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04" r:id="rId2"/>
  </p:sldMasterIdLst>
  <p:notesMasterIdLst>
    <p:notesMasterId r:id="rId26"/>
  </p:notesMasterIdLst>
  <p:sldIdLst>
    <p:sldId id="2111723449" r:id="rId3"/>
    <p:sldId id="2111723505" r:id="rId4"/>
    <p:sldId id="2111723509" r:id="rId5"/>
    <p:sldId id="2111723438" r:id="rId6"/>
    <p:sldId id="2111723461" r:id="rId7"/>
    <p:sldId id="2111723510" r:id="rId8"/>
    <p:sldId id="2111723511" r:id="rId9"/>
    <p:sldId id="2111723373" r:id="rId10"/>
    <p:sldId id="2111723447" r:id="rId11"/>
    <p:sldId id="2111723445" r:id="rId12"/>
    <p:sldId id="2111723512" r:id="rId13"/>
    <p:sldId id="2111723525" r:id="rId14"/>
    <p:sldId id="2111723519" r:id="rId15"/>
    <p:sldId id="2111723524" r:id="rId16"/>
    <p:sldId id="2111723507" r:id="rId17"/>
    <p:sldId id="2111723508" r:id="rId18"/>
    <p:sldId id="2111723514" r:id="rId19"/>
    <p:sldId id="2111723523" r:id="rId20"/>
    <p:sldId id="2111723522" r:id="rId21"/>
    <p:sldId id="2111723516" r:id="rId22"/>
    <p:sldId id="2111723518" r:id="rId23"/>
    <p:sldId id="2111723517" r:id="rId24"/>
    <p:sldId id="2111723368" r:id="rId25"/>
  </p:sldIdLst>
  <p:sldSz cx="12192000" cy="6858000"/>
  <p:notesSz cx="6858000" cy="9144000"/>
  <p:embeddedFontLst>
    <p:embeddedFont>
      <p:font typeface="Roboto" panose="02000000000000000000" pitchFamily="2" charset="0"/>
      <p:regular r:id="rId27"/>
      <p:bold r:id="rId28"/>
      <p:italic r:id="rId29"/>
      <p:boldItalic r:id="rId30"/>
    </p:embeddedFont>
    <p:embeddedFont>
      <p:font typeface="Roboto Light" panose="02000000000000000000" pitchFamily="2" charset="0"/>
      <p:regular r:id="rId31"/>
      <p:italic r:id="rId3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3840">
          <p15:clr>
            <a:srgbClr val="A4A3A4"/>
          </p15:clr>
        </p15:guide>
        <p15:guide id="9" orient="horz" pos="35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8B2723-6AF2-34F7-ED28-84DF881830F9}" name="RD" initials="RD" userId="RD" providerId="None"/>
  <p188:author id="{82178974-43CC-F428-8FA6-E98796411F98}" name="Guest User" initials="GU" userId="S::urn:spo:anon#85ba53a40d01ca8533c75c00d26034490418ab35651f74f4392b422f214b685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 Atanassov" initials="MA" lastIdx="33" clrIdx="0">
    <p:extLst>
      <p:ext uri="{19B8F6BF-5375-455C-9EA6-DF929625EA0E}">
        <p15:presenceInfo xmlns:p15="http://schemas.microsoft.com/office/powerpoint/2012/main" userId="S-1-5-21-3754234946-1255656804-1886851710-4580" providerId="AD"/>
      </p:ext>
    </p:extLst>
  </p:cmAuthor>
  <p:cmAuthor id="2" name="Ronen Daniel" initials="RD" lastIdx="11" clrIdx="1">
    <p:extLst>
      <p:ext uri="{19B8F6BF-5375-455C-9EA6-DF929625EA0E}">
        <p15:presenceInfo xmlns:p15="http://schemas.microsoft.com/office/powerpoint/2012/main" userId="S::rdaniel@celltick.com::62e6bf61-1d47-40ca-a7b5-85eb3bd3cfd1" providerId="AD"/>
      </p:ext>
    </p:extLst>
  </p:cmAuthor>
  <p:cmAuthor id="3" name="Christoph Boddem" initials="CB" lastIdx="4" clrIdx="2">
    <p:extLst>
      <p:ext uri="{19B8F6BF-5375-455C-9EA6-DF929625EA0E}">
        <p15:presenceInfo xmlns:p15="http://schemas.microsoft.com/office/powerpoint/2012/main" userId="S::christoph.boddem@utimaco.onmicrosoft.com::7426e56a-93ee-4dd5-ae9b-631531af9824" providerId="AD"/>
      </p:ext>
    </p:extLst>
  </p:cmAuthor>
  <p:cmAuthor id="4" name="Helga Nowaczinski" initials="HN" lastIdx="1" clrIdx="3">
    <p:extLst>
      <p:ext uri="{19B8F6BF-5375-455C-9EA6-DF929625EA0E}">
        <p15:presenceInfo xmlns:p15="http://schemas.microsoft.com/office/powerpoint/2012/main" userId="ddb21f86b5c5fecd" providerId="Windows Live"/>
      </p:ext>
    </p:extLst>
  </p:cmAuthor>
  <p:cmAuthor id="5" name="Thomas Vondenhoff" initials="TV" lastIdx="4" clrIdx="4">
    <p:extLst>
      <p:ext uri="{19B8F6BF-5375-455C-9EA6-DF929625EA0E}">
        <p15:presenceInfo xmlns:p15="http://schemas.microsoft.com/office/powerpoint/2012/main" userId="S-1-5-21-3754234946-1255656804-1886851710-77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FF"/>
    <a:srgbClr val="FF9999"/>
    <a:srgbClr val="CC3300"/>
    <a:srgbClr val="8A9CA4"/>
    <a:srgbClr val="CCCCFF"/>
    <a:srgbClr val="0068B4"/>
    <a:srgbClr val="FFFFFF"/>
    <a:srgbClr val="EFF0F1"/>
    <a:srgbClr val="E7F3FC"/>
    <a:srgbClr val="E5F3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058F85-FBBD-4EDB-B04C-81027C517F98}" v="3" dt="2024-10-31T16:03:19.890"/>
  </p1510:revLst>
</p1510:revInfo>
</file>

<file path=ppt/tableStyles.xml><?xml version="1.0" encoding="utf-8"?>
<a:tblStyleLst xmlns:a="http://schemas.openxmlformats.org/drawingml/2006/main" def="{5C22544A-7EE6-4342-B048-85BDC9FD1C3A}">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6" d="100"/>
          <a:sy n="126" d="100"/>
        </p:scale>
        <p:origin x="672" y="79"/>
      </p:cViewPr>
      <p:guideLst>
        <p:guide pos="3840"/>
        <p:guide orient="horz" pos="3576"/>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9" Type="http://schemas.microsoft.com/office/2018/10/relationships/authors" Target="authors.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6.fntdata"/><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2.fntdata"/><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6217C0-B63C-4E9D-95C0-83CA6E4ED6BD}"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44F66381-F0A5-489D-B79A-DA6DEAEC320E}">
      <dgm:prSet phldrT="[Text]" custT="1"/>
      <dgm:spPr>
        <a:solidFill>
          <a:schemeClr val="bg1">
            <a:lumMod val="75000"/>
          </a:schemeClr>
        </a:solidFill>
      </dgm:spPr>
      <dgm:t>
        <a:bodyPr lIns="914400"/>
        <a:lstStyle/>
        <a:p>
          <a:r>
            <a:rPr lang="en-US" sz="1600" dirty="0">
              <a:solidFill>
                <a:schemeClr val="tx1"/>
              </a:solidFill>
              <a:latin typeface="+mn-lt"/>
            </a:rPr>
            <a:t>Yes/no  </a:t>
          </a:r>
          <a:r>
            <a:rPr lang="en-US" sz="1600" dirty="0">
              <a:solidFill>
                <a:schemeClr val="tx1"/>
              </a:solidFill>
              <a:latin typeface="+mn-lt"/>
              <a:cs typeface="Times New Roman" panose="02020603050405020304" pitchFamily="18" charset="0"/>
            </a:rPr>
            <a:t>♦ Time limit  ♦  Historical  </a:t>
          </a:r>
          <a:r>
            <a:rPr lang="en-US" sz="1600" dirty="0">
              <a:solidFill>
                <a:schemeClr val="tx1"/>
              </a:solidFill>
              <a:latin typeface="+mn-lt"/>
            </a:rPr>
            <a:t> </a:t>
          </a:r>
        </a:p>
      </dgm:t>
    </dgm:pt>
    <dgm:pt modelId="{AE45AF1F-1533-40BA-A858-F38829300290}" type="parTrans" cxnId="{CA79B931-934E-4908-8421-2ED0506A9C2E}">
      <dgm:prSet/>
      <dgm:spPr/>
      <dgm:t>
        <a:bodyPr/>
        <a:lstStyle/>
        <a:p>
          <a:endParaRPr lang="en-US"/>
        </a:p>
      </dgm:t>
    </dgm:pt>
    <dgm:pt modelId="{887FB52D-22C0-49BA-A758-9B8AD36DF6C8}" type="sibTrans" cxnId="{CA79B931-934E-4908-8421-2ED0506A9C2E}">
      <dgm:prSet/>
      <dgm:spPr/>
      <dgm:t>
        <a:bodyPr/>
        <a:lstStyle/>
        <a:p>
          <a:endParaRPr lang="en-US"/>
        </a:p>
      </dgm:t>
    </dgm:pt>
    <dgm:pt modelId="{242FEBDF-DA0A-49D4-BA3D-68E375594104}">
      <dgm:prSet phldrT="[Text]" custT="1"/>
      <dgm:spPr>
        <a:solidFill>
          <a:schemeClr val="bg1">
            <a:lumMod val="75000"/>
          </a:schemeClr>
        </a:solidFill>
      </dgm:spPr>
      <dgm:t>
        <a:bodyPr lIns="914400"/>
        <a:lstStyle/>
        <a:p>
          <a:r>
            <a:rPr lang="en-US" sz="1600" dirty="0">
              <a:solidFill>
                <a:schemeClr val="tx1"/>
              </a:solidFill>
              <a:latin typeface="+mn-lt"/>
            </a:rPr>
            <a:t>HTTP/HTTPS  </a:t>
          </a:r>
          <a:r>
            <a:rPr lang="en-US" sz="1600" dirty="0">
              <a:solidFill>
                <a:schemeClr val="tx1"/>
              </a:solidFill>
              <a:latin typeface="+mn-lt"/>
              <a:cs typeface="Times New Roman" panose="02020603050405020304" pitchFamily="18" charset="0"/>
            </a:rPr>
            <a:t>♦ Signatures (one/both direction) ♦ Authentication (y/n)    </a:t>
          </a:r>
          <a:endParaRPr lang="en-US" sz="1600" dirty="0">
            <a:solidFill>
              <a:schemeClr val="tx1"/>
            </a:solidFill>
            <a:latin typeface="+mn-lt"/>
          </a:endParaRPr>
        </a:p>
      </dgm:t>
    </dgm:pt>
    <dgm:pt modelId="{AEB6C7C7-259B-4969-A15E-A6BA08FC5DAD}" type="parTrans" cxnId="{3B253614-C0DE-43A8-B17D-05DCCC92F9B9}">
      <dgm:prSet/>
      <dgm:spPr/>
      <dgm:t>
        <a:bodyPr/>
        <a:lstStyle/>
        <a:p>
          <a:endParaRPr lang="en-US"/>
        </a:p>
      </dgm:t>
    </dgm:pt>
    <dgm:pt modelId="{5B6079B0-3E7B-4EED-978F-3B519477405A}" type="sibTrans" cxnId="{3B253614-C0DE-43A8-B17D-05DCCC92F9B9}">
      <dgm:prSet/>
      <dgm:spPr/>
      <dgm:t>
        <a:bodyPr/>
        <a:lstStyle/>
        <a:p>
          <a:endParaRPr lang="en-US"/>
        </a:p>
      </dgm:t>
    </dgm:pt>
    <dgm:pt modelId="{E5F17657-D985-42AE-832A-FCFFDB1767C2}">
      <dgm:prSet phldrT="[Text]" custT="1"/>
      <dgm:spPr>
        <a:solidFill>
          <a:schemeClr val="bg1">
            <a:lumMod val="75000"/>
          </a:schemeClr>
        </a:solidFill>
      </dgm:spPr>
      <dgm:t>
        <a:bodyPr lIns="914400"/>
        <a:lstStyle/>
        <a:p>
          <a:r>
            <a:rPr lang="en-US" sz="1600" dirty="0">
              <a:solidFill>
                <a:schemeClr val="tx1"/>
              </a:solidFill>
              <a:latin typeface="+mn-lt"/>
            </a:rPr>
            <a:t>Drills  </a:t>
          </a:r>
          <a:r>
            <a:rPr lang="en-US" sz="1600" dirty="0">
              <a:solidFill>
                <a:schemeClr val="tx1"/>
              </a:solidFill>
              <a:latin typeface="+mn-lt"/>
              <a:cs typeface="Times New Roman" panose="02020603050405020304" pitchFamily="18" charset="0"/>
            </a:rPr>
            <a:t>♦  </a:t>
          </a:r>
          <a:r>
            <a:rPr lang="en-US" sz="1600" dirty="0">
              <a:solidFill>
                <a:schemeClr val="tx1"/>
              </a:solidFill>
              <a:latin typeface="+mn-lt"/>
            </a:rPr>
            <a:t>RMT  </a:t>
          </a:r>
          <a:r>
            <a:rPr lang="en-US" sz="1600" dirty="0">
              <a:solidFill>
                <a:schemeClr val="tx1"/>
              </a:solidFill>
              <a:latin typeface="+mn-lt"/>
              <a:cs typeface="Times New Roman" panose="02020603050405020304" pitchFamily="18" charset="0"/>
            </a:rPr>
            <a:t>♦  Technical testing   ♦  Logging</a:t>
          </a:r>
          <a:endParaRPr lang="en-US" sz="1600" dirty="0">
            <a:solidFill>
              <a:schemeClr val="tx1"/>
            </a:solidFill>
            <a:latin typeface="+mn-lt"/>
          </a:endParaRPr>
        </a:p>
      </dgm:t>
    </dgm:pt>
    <dgm:pt modelId="{F58B307A-EA26-48FA-BDCC-F98AA8DB1B94}" type="parTrans" cxnId="{61937FA5-59A8-46BF-A686-969D333F06D5}">
      <dgm:prSet/>
      <dgm:spPr/>
      <dgm:t>
        <a:bodyPr/>
        <a:lstStyle/>
        <a:p>
          <a:endParaRPr lang="en-US"/>
        </a:p>
      </dgm:t>
    </dgm:pt>
    <dgm:pt modelId="{F38173AA-D10C-4ED1-AD0D-E29ABCC6F472}" type="sibTrans" cxnId="{61937FA5-59A8-46BF-A686-969D333F06D5}">
      <dgm:prSet/>
      <dgm:spPr/>
      <dgm:t>
        <a:bodyPr/>
        <a:lstStyle/>
        <a:p>
          <a:endParaRPr lang="en-US"/>
        </a:p>
      </dgm:t>
    </dgm:pt>
    <dgm:pt modelId="{C8BD0309-B053-460E-8859-AFA02E74CC29}">
      <dgm:prSet custT="1"/>
      <dgm:spPr>
        <a:solidFill>
          <a:schemeClr val="bg1">
            <a:lumMod val="85000"/>
          </a:schemeClr>
        </a:solidFill>
      </dgm:spPr>
      <dgm:t>
        <a:bodyPr lIns="914400"/>
        <a:lstStyle/>
        <a:p>
          <a:r>
            <a:rPr lang="en-US" sz="1600" dirty="0">
              <a:solidFill>
                <a:schemeClr val="tx1"/>
              </a:solidFill>
            </a:rPr>
            <a:t>Repetition  </a:t>
          </a:r>
          <a:r>
            <a:rPr lang="en-US" sz="1600" dirty="0">
              <a:solidFill>
                <a:schemeClr val="tx1"/>
              </a:solidFill>
              <a:latin typeface="Times New Roman" panose="02020603050405020304" pitchFamily="18" charset="0"/>
              <a:cs typeface="Times New Roman" panose="02020603050405020304" pitchFamily="18" charset="0"/>
            </a:rPr>
            <a:t>♦</a:t>
          </a:r>
          <a:r>
            <a:rPr lang="en-US" sz="1600" dirty="0">
              <a:solidFill>
                <a:schemeClr val="tx1"/>
              </a:solidFill>
            </a:rPr>
            <a:t>  Geographical scope  </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a:solidFill>
                <a:schemeClr val="tx1"/>
              </a:solidFill>
            </a:rPr>
            <a:t>Channel selection</a:t>
          </a:r>
        </a:p>
      </dgm:t>
    </dgm:pt>
    <dgm:pt modelId="{5C1DD2A7-3994-4554-A413-54D5166A52D0}" type="parTrans" cxnId="{BB6905A8-E1B5-40A2-92E9-B3DEB559E370}">
      <dgm:prSet/>
      <dgm:spPr/>
      <dgm:t>
        <a:bodyPr/>
        <a:lstStyle/>
        <a:p>
          <a:endParaRPr lang="en-US"/>
        </a:p>
      </dgm:t>
    </dgm:pt>
    <dgm:pt modelId="{FE5F2178-7BC5-4642-8609-CCCC770C8C2C}" type="sibTrans" cxnId="{BB6905A8-E1B5-40A2-92E9-B3DEB559E370}">
      <dgm:prSet/>
      <dgm:spPr/>
      <dgm:t>
        <a:bodyPr/>
        <a:lstStyle/>
        <a:p>
          <a:endParaRPr lang="en-US"/>
        </a:p>
      </dgm:t>
    </dgm:pt>
    <dgm:pt modelId="{87AF1205-DFFA-467E-A24C-ADDC79F2ECB5}">
      <dgm:prSet custT="1"/>
      <dgm:spPr>
        <a:solidFill>
          <a:schemeClr val="bg1">
            <a:lumMod val="75000"/>
          </a:schemeClr>
        </a:solidFill>
      </dgm:spPr>
      <dgm:t>
        <a:bodyPr lIns="914400"/>
        <a:lstStyle/>
        <a:p>
          <a:r>
            <a:rPr lang="en-US" sz="1600" dirty="0">
              <a:solidFill>
                <a:schemeClr val="tx1"/>
              </a:solidFill>
            </a:rPr>
            <a:t>Follow original/latest alert  </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a:solidFill>
                <a:schemeClr val="tx1"/>
              </a:solidFill>
            </a:rPr>
            <a:t>Enabled fields</a:t>
          </a:r>
        </a:p>
      </dgm:t>
    </dgm:pt>
    <dgm:pt modelId="{846F2C44-4400-4823-B8DF-5C54E4A1AE7A}" type="parTrans" cxnId="{5F47849C-85AB-423B-8AB4-D3E4DA3CA59B}">
      <dgm:prSet/>
      <dgm:spPr/>
      <dgm:t>
        <a:bodyPr/>
        <a:lstStyle/>
        <a:p>
          <a:endParaRPr lang="en-US"/>
        </a:p>
      </dgm:t>
    </dgm:pt>
    <dgm:pt modelId="{E04037BC-E35A-4777-ACED-C631C92D40F4}" type="sibTrans" cxnId="{5F47849C-85AB-423B-8AB4-D3E4DA3CA59B}">
      <dgm:prSet/>
      <dgm:spPr/>
      <dgm:t>
        <a:bodyPr/>
        <a:lstStyle/>
        <a:p>
          <a:endParaRPr lang="en-US"/>
        </a:p>
      </dgm:t>
    </dgm:pt>
    <dgm:pt modelId="{A5CEC0AD-F1C1-4084-B9B5-746CC2794DAC}">
      <dgm:prSet custT="1"/>
      <dgm:spPr>
        <a:solidFill>
          <a:schemeClr val="bg1">
            <a:lumMod val="75000"/>
          </a:schemeClr>
        </a:solidFill>
      </dgm:spPr>
      <dgm:t>
        <a:bodyPr lIns="914400"/>
        <a:lstStyle/>
        <a:p>
          <a:r>
            <a:rPr lang="en-US" sz="1600" dirty="0">
              <a:solidFill>
                <a:schemeClr val="tx1"/>
              </a:solidFill>
            </a:rPr>
            <a:t>Yes/No</a:t>
          </a:r>
        </a:p>
      </dgm:t>
    </dgm:pt>
    <dgm:pt modelId="{0DDDDCE3-48AF-4925-8BD4-B3C878CDEBAF}" type="parTrans" cxnId="{57EFB103-A159-404D-8B6E-1852D4462C90}">
      <dgm:prSet/>
      <dgm:spPr/>
      <dgm:t>
        <a:bodyPr/>
        <a:lstStyle/>
        <a:p>
          <a:endParaRPr lang="en-US"/>
        </a:p>
      </dgm:t>
    </dgm:pt>
    <dgm:pt modelId="{97D73BC0-3DF2-4BC4-BC2F-A5FCFD05968B}" type="sibTrans" cxnId="{57EFB103-A159-404D-8B6E-1852D4462C90}">
      <dgm:prSet/>
      <dgm:spPr/>
      <dgm:t>
        <a:bodyPr/>
        <a:lstStyle/>
        <a:p>
          <a:endParaRPr lang="en-US"/>
        </a:p>
      </dgm:t>
    </dgm:pt>
    <dgm:pt modelId="{F36BA5DC-D29D-4A42-BB70-108B0997AD6B}">
      <dgm:prSet custT="1"/>
      <dgm:spPr>
        <a:solidFill>
          <a:schemeClr val="bg1">
            <a:lumMod val="75000"/>
          </a:schemeClr>
        </a:solidFill>
      </dgm:spPr>
      <dgm:t>
        <a:bodyPr lIns="914400"/>
        <a:lstStyle/>
        <a:p>
          <a:r>
            <a:rPr lang="en-US" sz="1600" dirty="0">
              <a:solidFill>
                <a:schemeClr val="tx1"/>
              </a:solidFill>
            </a:rPr>
            <a:t>Data coding scheme</a:t>
          </a:r>
        </a:p>
      </dgm:t>
    </dgm:pt>
    <dgm:pt modelId="{92AE6055-4E46-4F65-A597-DEFF8583FA14}" type="parTrans" cxnId="{B0932997-5A54-4BBF-BC24-D83C0CEA1ED7}">
      <dgm:prSet/>
      <dgm:spPr/>
      <dgm:t>
        <a:bodyPr/>
        <a:lstStyle/>
        <a:p>
          <a:endParaRPr lang="en-US"/>
        </a:p>
      </dgm:t>
    </dgm:pt>
    <dgm:pt modelId="{167F3670-0EBA-40C2-AB8D-8227DFB24F2C}" type="sibTrans" cxnId="{B0932997-5A54-4BBF-BC24-D83C0CEA1ED7}">
      <dgm:prSet/>
      <dgm:spPr/>
      <dgm:t>
        <a:bodyPr/>
        <a:lstStyle/>
        <a:p>
          <a:endParaRPr lang="en-US"/>
        </a:p>
      </dgm:t>
    </dgm:pt>
    <dgm:pt modelId="{C5117AC1-6429-4F70-859F-C00525E451FB}" type="pres">
      <dgm:prSet presAssocID="{736217C0-B63C-4E9D-95C0-83CA6E4ED6BD}" presName="Name0" presStyleCnt="0">
        <dgm:presLayoutVars>
          <dgm:chMax val="7"/>
          <dgm:chPref val="7"/>
          <dgm:dir/>
        </dgm:presLayoutVars>
      </dgm:prSet>
      <dgm:spPr/>
    </dgm:pt>
    <dgm:pt modelId="{24AC2C63-2336-485F-B9B7-E7F70D9CD740}" type="pres">
      <dgm:prSet presAssocID="{736217C0-B63C-4E9D-95C0-83CA6E4ED6BD}" presName="Name1" presStyleCnt="0"/>
      <dgm:spPr/>
    </dgm:pt>
    <dgm:pt modelId="{22237A6E-DF4D-4A15-8457-B477A7FD2495}" type="pres">
      <dgm:prSet presAssocID="{736217C0-B63C-4E9D-95C0-83CA6E4ED6BD}" presName="cycle" presStyleCnt="0"/>
      <dgm:spPr/>
    </dgm:pt>
    <dgm:pt modelId="{52BA449B-4EEE-4B81-AC99-C5F7341AC7A6}" type="pres">
      <dgm:prSet presAssocID="{736217C0-B63C-4E9D-95C0-83CA6E4ED6BD}" presName="srcNode" presStyleLbl="node1" presStyleIdx="0" presStyleCnt="7"/>
      <dgm:spPr/>
    </dgm:pt>
    <dgm:pt modelId="{E7559209-B3CF-4BFF-81D8-57BD80E5CB16}" type="pres">
      <dgm:prSet presAssocID="{736217C0-B63C-4E9D-95C0-83CA6E4ED6BD}" presName="conn" presStyleLbl="parChTrans1D2" presStyleIdx="0" presStyleCnt="1"/>
      <dgm:spPr/>
    </dgm:pt>
    <dgm:pt modelId="{445AC8EE-811C-4844-85C0-631DEBC34220}" type="pres">
      <dgm:prSet presAssocID="{736217C0-B63C-4E9D-95C0-83CA6E4ED6BD}" presName="extraNode" presStyleLbl="node1" presStyleIdx="0" presStyleCnt="7"/>
      <dgm:spPr/>
    </dgm:pt>
    <dgm:pt modelId="{52E067F3-B028-41AD-9EFE-0B45F03191E8}" type="pres">
      <dgm:prSet presAssocID="{736217C0-B63C-4E9D-95C0-83CA6E4ED6BD}" presName="dstNode" presStyleLbl="node1" presStyleIdx="0" presStyleCnt="7"/>
      <dgm:spPr/>
    </dgm:pt>
    <dgm:pt modelId="{67B2528E-F451-4F7E-8F84-643ADE040D1C}" type="pres">
      <dgm:prSet presAssocID="{C8BD0309-B053-460E-8859-AFA02E74CC29}" presName="text_1" presStyleLbl="node1" presStyleIdx="0" presStyleCnt="7" custScaleX="85998">
        <dgm:presLayoutVars>
          <dgm:bulletEnabled val="1"/>
        </dgm:presLayoutVars>
      </dgm:prSet>
      <dgm:spPr/>
    </dgm:pt>
    <dgm:pt modelId="{28AA13A1-FD35-42F5-967F-8DD0D38CAE25}" type="pres">
      <dgm:prSet presAssocID="{C8BD0309-B053-460E-8859-AFA02E74CC29}" presName="accent_1" presStyleCnt="0"/>
      <dgm:spPr/>
    </dgm:pt>
    <dgm:pt modelId="{77AA06CE-505A-4367-A5BD-FA623E1BE077}" type="pres">
      <dgm:prSet presAssocID="{C8BD0309-B053-460E-8859-AFA02E74CC29}" presName="accentRepeatNode" presStyleLbl="solidFgAcc1" presStyleIdx="0" presStyleCnt="7" custScaleX="354550"/>
      <dgm:spPr>
        <a:solidFill>
          <a:schemeClr val="accent1"/>
        </a:solidFill>
      </dgm:spPr>
    </dgm:pt>
    <dgm:pt modelId="{C5D62EDE-ADFC-4A9B-98A6-2C23746C583D}" type="pres">
      <dgm:prSet presAssocID="{F36BA5DC-D29D-4A42-BB70-108B0997AD6B}" presName="text_2" presStyleLbl="node1" presStyleIdx="1" presStyleCnt="7" custScaleX="85998">
        <dgm:presLayoutVars>
          <dgm:bulletEnabled val="1"/>
        </dgm:presLayoutVars>
      </dgm:prSet>
      <dgm:spPr/>
    </dgm:pt>
    <dgm:pt modelId="{CDD9A7E7-E27C-4E50-87CF-EE210DABE8D8}" type="pres">
      <dgm:prSet presAssocID="{F36BA5DC-D29D-4A42-BB70-108B0997AD6B}" presName="accent_2" presStyleCnt="0"/>
      <dgm:spPr/>
    </dgm:pt>
    <dgm:pt modelId="{57BD31C7-0379-40AB-80AD-3C24F59EA2FC}" type="pres">
      <dgm:prSet presAssocID="{F36BA5DC-D29D-4A42-BB70-108B0997AD6B}" presName="accentRepeatNode" presStyleLbl="solidFgAcc1" presStyleIdx="1" presStyleCnt="7" custScaleX="354550"/>
      <dgm:spPr>
        <a:solidFill>
          <a:schemeClr val="accent1"/>
        </a:solidFill>
      </dgm:spPr>
    </dgm:pt>
    <dgm:pt modelId="{C30B3858-4A6E-41E7-8380-DDFF68EE1A9C}" type="pres">
      <dgm:prSet presAssocID="{A5CEC0AD-F1C1-4084-B9B5-746CC2794DAC}" presName="text_3" presStyleLbl="node1" presStyleIdx="2" presStyleCnt="7" custScaleX="85998">
        <dgm:presLayoutVars>
          <dgm:bulletEnabled val="1"/>
        </dgm:presLayoutVars>
      </dgm:prSet>
      <dgm:spPr/>
    </dgm:pt>
    <dgm:pt modelId="{F031862A-DD53-41F9-B2D0-58C7519226A2}" type="pres">
      <dgm:prSet presAssocID="{A5CEC0AD-F1C1-4084-B9B5-746CC2794DAC}" presName="accent_3" presStyleCnt="0"/>
      <dgm:spPr/>
    </dgm:pt>
    <dgm:pt modelId="{48FCBFC4-3B0B-40D1-B553-6AA4BECDC060}" type="pres">
      <dgm:prSet presAssocID="{A5CEC0AD-F1C1-4084-B9B5-746CC2794DAC}" presName="accentRepeatNode" presStyleLbl="solidFgAcc1" presStyleIdx="2" presStyleCnt="7" custScaleX="354550"/>
      <dgm:spPr>
        <a:solidFill>
          <a:schemeClr val="accent1"/>
        </a:solidFill>
      </dgm:spPr>
    </dgm:pt>
    <dgm:pt modelId="{5DACEE05-23FB-4C6F-B6EC-6C4755AE73CE}" type="pres">
      <dgm:prSet presAssocID="{87AF1205-DFFA-467E-A24C-ADDC79F2ECB5}" presName="text_4" presStyleLbl="node1" presStyleIdx="3" presStyleCnt="7" custScaleX="85998">
        <dgm:presLayoutVars>
          <dgm:bulletEnabled val="1"/>
        </dgm:presLayoutVars>
      </dgm:prSet>
      <dgm:spPr/>
    </dgm:pt>
    <dgm:pt modelId="{71B67A60-CBE5-4B29-8C5B-26721D9433EA}" type="pres">
      <dgm:prSet presAssocID="{87AF1205-DFFA-467E-A24C-ADDC79F2ECB5}" presName="accent_4" presStyleCnt="0"/>
      <dgm:spPr/>
    </dgm:pt>
    <dgm:pt modelId="{3446BEBE-B02B-4C54-880D-206D1260D07D}" type="pres">
      <dgm:prSet presAssocID="{87AF1205-DFFA-467E-A24C-ADDC79F2ECB5}" presName="accentRepeatNode" presStyleLbl="solidFgAcc1" presStyleIdx="3" presStyleCnt="7" custScaleX="354550"/>
      <dgm:spPr>
        <a:solidFill>
          <a:schemeClr val="accent1"/>
        </a:solidFill>
      </dgm:spPr>
    </dgm:pt>
    <dgm:pt modelId="{87DDAA7F-B85C-4F22-B12A-20DD9F111A24}" type="pres">
      <dgm:prSet presAssocID="{44F66381-F0A5-489D-B79A-DA6DEAEC320E}" presName="text_5" presStyleLbl="node1" presStyleIdx="4" presStyleCnt="7" custScaleX="85998">
        <dgm:presLayoutVars>
          <dgm:bulletEnabled val="1"/>
        </dgm:presLayoutVars>
      </dgm:prSet>
      <dgm:spPr/>
    </dgm:pt>
    <dgm:pt modelId="{1C089508-717C-4446-BC39-48502BA457C1}" type="pres">
      <dgm:prSet presAssocID="{44F66381-F0A5-489D-B79A-DA6DEAEC320E}" presName="accent_5" presStyleCnt="0"/>
      <dgm:spPr/>
    </dgm:pt>
    <dgm:pt modelId="{7DFE2596-222D-4014-938C-0E08AD17515F}" type="pres">
      <dgm:prSet presAssocID="{44F66381-F0A5-489D-B79A-DA6DEAEC320E}" presName="accentRepeatNode" presStyleLbl="solidFgAcc1" presStyleIdx="4" presStyleCnt="7" custScaleX="354550"/>
      <dgm:spPr>
        <a:solidFill>
          <a:schemeClr val="accent1"/>
        </a:solidFill>
      </dgm:spPr>
    </dgm:pt>
    <dgm:pt modelId="{47C633DB-A180-4163-BF89-7AA781BA0E2A}" type="pres">
      <dgm:prSet presAssocID="{242FEBDF-DA0A-49D4-BA3D-68E375594104}" presName="text_6" presStyleLbl="node1" presStyleIdx="5" presStyleCnt="7" custScaleX="85998">
        <dgm:presLayoutVars>
          <dgm:bulletEnabled val="1"/>
        </dgm:presLayoutVars>
      </dgm:prSet>
      <dgm:spPr/>
    </dgm:pt>
    <dgm:pt modelId="{2A64A8EC-6984-4912-B12B-BC2F61D96FE0}" type="pres">
      <dgm:prSet presAssocID="{242FEBDF-DA0A-49D4-BA3D-68E375594104}" presName="accent_6" presStyleCnt="0"/>
      <dgm:spPr/>
    </dgm:pt>
    <dgm:pt modelId="{325DA6E0-9CAC-4523-8FA4-BCBB431217F6}" type="pres">
      <dgm:prSet presAssocID="{242FEBDF-DA0A-49D4-BA3D-68E375594104}" presName="accentRepeatNode" presStyleLbl="solidFgAcc1" presStyleIdx="5" presStyleCnt="7" custScaleX="354550"/>
      <dgm:spPr>
        <a:solidFill>
          <a:schemeClr val="accent1"/>
        </a:solidFill>
      </dgm:spPr>
    </dgm:pt>
    <dgm:pt modelId="{497BD632-74D3-4B6D-B01E-5B69C88E219D}" type="pres">
      <dgm:prSet presAssocID="{E5F17657-D985-42AE-832A-FCFFDB1767C2}" presName="text_7" presStyleLbl="node1" presStyleIdx="6" presStyleCnt="7" custScaleX="85998">
        <dgm:presLayoutVars>
          <dgm:bulletEnabled val="1"/>
        </dgm:presLayoutVars>
      </dgm:prSet>
      <dgm:spPr/>
    </dgm:pt>
    <dgm:pt modelId="{B47982E7-B8DA-4D2E-8C92-C14A5AECAAE1}" type="pres">
      <dgm:prSet presAssocID="{E5F17657-D985-42AE-832A-FCFFDB1767C2}" presName="accent_7" presStyleCnt="0"/>
      <dgm:spPr/>
    </dgm:pt>
    <dgm:pt modelId="{36857DE3-B214-4AF5-B7E3-8BEF185D7694}" type="pres">
      <dgm:prSet presAssocID="{E5F17657-D985-42AE-832A-FCFFDB1767C2}" presName="accentRepeatNode" presStyleLbl="solidFgAcc1" presStyleIdx="6" presStyleCnt="7" custScaleX="354550"/>
      <dgm:spPr>
        <a:solidFill>
          <a:schemeClr val="accent1"/>
        </a:solidFill>
      </dgm:spPr>
    </dgm:pt>
  </dgm:ptLst>
  <dgm:cxnLst>
    <dgm:cxn modelId="{57EFB103-A159-404D-8B6E-1852D4462C90}" srcId="{736217C0-B63C-4E9D-95C0-83CA6E4ED6BD}" destId="{A5CEC0AD-F1C1-4084-B9B5-746CC2794DAC}" srcOrd="2" destOrd="0" parTransId="{0DDDDCE3-48AF-4925-8BD4-B3C878CDEBAF}" sibTransId="{97D73BC0-3DF2-4BC4-BC2F-A5FCFD05968B}"/>
    <dgm:cxn modelId="{3B253614-C0DE-43A8-B17D-05DCCC92F9B9}" srcId="{736217C0-B63C-4E9D-95C0-83CA6E4ED6BD}" destId="{242FEBDF-DA0A-49D4-BA3D-68E375594104}" srcOrd="5" destOrd="0" parTransId="{AEB6C7C7-259B-4969-A15E-A6BA08FC5DAD}" sibTransId="{5B6079B0-3E7B-4EED-978F-3B519477405A}"/>
    <dgm:cxn modelId="{C70C6214-2A81-44CE-9094-17DCA8D39F40}" type="presOf" srcId="{A5CEC0AD-F1C1-4084-B9B5-746CC2794DAC}" destId="{C30B3858-4A6E-41E7-8380-DDFF68EE1A9C}" srcOrd="0" destOrd="0" presId="urn:microsoft.com/office/officeart/2008/layout/VerticalCurvedList"/>
    <dgm:cxn modelId="{D9DD4D19-CCA0-4338-B95C-B7DF7F0E9737}" type="presOf" srcId="{E5F17657-D985-42AE-832A-FCFFDB1767C2}" destId="{497BD632-74D3-4B6D-B01E-5B69C88E219D}" srcOrd="0" destOrd="0" presId="urn:microsoft.com/office/officeart/2008/layout/VerticalCurvedList"/>
    <dgm:cxn modelId="{7F645F2C-634A-4332-94FF-A798182F9942}" type="presOf" srcId="{87AF1205-DFFA-467E-A24C-ADDC79F2ECB5}" destId="{5DACEE05-23FB-4C6F-B6EC-6C4755AE73CE}" srcOrd="0" destOrd="0" presId="urn:microsoft.com/office/officeart/2008/layout/VerticalCurvedList"/>
    <dgm:cxn modelId="{CA79B931-934E-4908-8421-2ED0506A9C2E}" srcId="{736217C0-B63C-4E9D-95C0-83CA6E4ED6BD}" destId="{44F66381-F0A5-489D-B79A-DA6DEAEC320E}" srcOrd="4" destOrd="0" parTransId="{AE45AF1F-1533-40BA-A858-F38829300290}" sibTransId="{887FB52D-22C0-49BA-A758-9B8AD36DF6C8}"/>
    <dgm:cxn modelId="{0E09D554-0364-4C58-9E3D-C7316DB2836A}" type="presOf" srcId="{44F66381-F0A5-489D-B79A-DA6DEAEC320E}" destId="{87DDAA7F-B85C-4F22-B12A-20DD9F111A24}" srcOrd="0" destOrd="0" presId="urn:microsoft.com/office/officeart/2008/layout/VerticalCurvedList"/>
    <dgm:cxn modelId="{5CDF7986-5936-4BC7-A6CF-DFE462FBF64B}" type="presOf" srcId="{FE5F2178-7BC5-4642-8609-CCCC770C8C2C}" destId="{E7559209-B3CF-4BFF-81D8-57BD80E5CB16}" srcOrd="0" destOrd="0" presId="urn:microsoft.com/office/officeart/2008/layout/VerticalCurvedList"/>
    <dgm:cxn modelId="{B0932997-5A54-4BBF-BC24-D83C0CEA1ED7}" srcId="{736217C0-B63C-4E9D-95C0-83CA6E4ED6BD}" destId="{F36BA5DC-D29D-4A42-BB70-108B0997AD6B}" srcOrd="1" destOrd="0" parTransId="{92AE6055-4E46-4F65-A597-DEFF8583FA14}" sibTransId="{167F3670-0EBA-40C2-AB8D-8227DFB24F2C}"/>
    <dgm:cxn modelId="{5F47849C-85AB-423B-8AB4-D3E4DA3CA59B}" srcId="{736217C0-B63C-4E9D-95C0-83CA6E4ED6BD}" destId="{87AF1205-DFFA-467E-A24C-ADDC79F2ECB5}" srcOrd="3" destOrd="0" parTransId="{846F2C44-4400-4823-B8DF-5C54E4A1AE7A}" sibTransId="{E04037BC-E35A-4777-ACED-C631C92D40F4}"/>
    <dgm:cxn modelId="{61937FA5-59A8-46BF-A686-969D333F06D5}" srcId="{736217C0-B63C-4E9D-95C0-83CA6E4ED6BD}" destId="{E5F17657-D985-42AE-832A-FCFFDB1767C2}" srcOrd="6" destOrd="0" parTransId="{F58B307A-EA26-48FA-BDCC-F98AA8DB1B94}" sibTransId="{F38173AA-D10C-4ED1-AD0D-E29ABCC6F472}"/>
    <dgm:cxn modelId="{BB6905A8-E1B5-40A2-92E9-B3DEB559E370}" srcId="{736217C0-B63C-4E9D-95C0-83CA6E4ED6BD}" destId="{C8BD0309-B053-460E-8859-AFA02E74CC29}" srcOrd="0" destOrd="0" parTransId="{5C1DD2A7-3994-4554-A413-54D5166A52D0}" sibTransId="{FE5F2178-7BC5-4642-8609-CCCC770C8C2C}"/>
    <dgm:cxn modelId="{001BF6AF-5151-433B-BEED-2764B2E09BF2}" type="presOf" srcId="{736217C0-B63C-4E9D-95C0-83CA6E4ED6BD}" destId="{C5117AC1-6429-4F70-859F-C00525E451FB}" srcOrd="0" destOrd="0" presId="urn:microsoft.com/office/officeart/2008/layout/VerticalCurvedList"/>
    <dgm:cxn modelId="{AD98B4B1-451A-45C9-9D8A-30D784F62066}" type="presOf" srcId="{C8BD0309-B053-460E-8859-AFA02E74CC29}" destId="{67B2528E-F451-4F7E-8F84-643ADE040D1C}" srcOrd="0" destOrd="0" presId="urn:microsoft.com/office/officeart/2008/layout/VerticalCurvedList"/>
    <dgm:cxn modelId="{EC6396BB-FB6F-4AB0-8F51-46BE353BC96C}" type="presOf" srcId="{F36BA5DC-D29D-4A42-BB70-108B0997AD6B}" destId="{C5D62EDE-ADFC-4A9B-98A6-2C23746C583D}" srcOrd="0" destOrd="0" presId="urn:microsoft.com/office/officeart/2008/layout/VerticalCurvedList"/>
    <dgm:cxn modelId="{8F9357DB-E905-4624-A38C-35A17CFDE455}" type="presOf" srcId="{242FEBDF-DA0A-49D4-BA3D-68E375594104}" destId="{47C633DB-A180-4163-BF89-7AA781BA0E2A}" srcOrd="0" destOrd="0" presId="urn:microsoft.com/office/officeart/2008/layout/VerticalCurvedList"/>
    <dgm:cxn modelId="{0DE78954-6231-4277-A685-B1CDE8175CB2}" type="presParOf" srcId="{C5117AC1-6429-4F70-859F-C00525E451FB}" destId="{24AC2C63-2336-485F-B9B7-E7F70D9CD740}" srcOrd="0" destOrd="0" presId="urn:microsoft.com/office/officeart/2008/layout/VerticalCurvedList"/>
    <dgm:cxn modelId="{10E12533-347E-468A-97C2-023C1B7826C6}" type="presParOf" srcId="{24AC2C63-2336-485F-B9B7-E7F70D9CD740}" destId="{22237A6E-DF4D-4A15-8457-B477A7FD2495}" srcOrd="0" destOrd="0" presId="urn:microsoft.com/office/officeart/2008/layout/VerticalCurvedList"/>
    <dgm:cxn modelId="{FEF5233D-6E65-4605-91E0-6369EA14E9C3}" type="presParOf" srcId="{22237A6E-DF4D-4A15-8457-B477A7FD2495}" destId="{52BA449B-4EEE-4B81-AC99-C5F7341AC7A6}" srcOrd="0" destOrd="0" presId="urn:microsoft.com/office/officeart/2008/layout/VerticalCurvedList"/>
    <dgm:cxn modelId="{9A3DA39D-0DA8-4BA4-904C-8994CD65C4F6}" type="presParOf" srcId="{22237A6E-DF4D-4A15-8457-B477A7FD2495}" destId="{E7559209-B3CF-4BFF-81D8-57BD80E5CB16}" srcOrd="1" destOrd="0" presId="urn:microsoft.com/office/officeart/2008/layout/VerticalCurvedList"/>
    <dgm:cxn modelId="{C7C1AECB-4D62-4F47-AC9A-BDDD9222CB17}" type="presParOf" srcId="{22237A6E-DF4D-4A15-8457-B477A7FD2495}" destId="{445AC8EE-811C-4844-85C0-631DEBC34220}" srcOrd="2" destOrd="0" presId="urn:microsoft.com/office/officeart/2008/layout/VerticalCurvedList"/>
    <dgm:cxn modelId="{9E88A9C1-1D32-4C41-AD4F-FE45889914C2}" type="presParOf" srcId="{22237A6E-DF4D-4A15-8457-B477A7FD2495}" destId="{52E067F3-B028-41AD-9EFE-0B45F03191E8}" srcOrd="3" destOrd="0" presId="urn:microsoft.com/office/officeart/2008/layout/VerticalCurvedList"/>
    <dgm:cxn modelId="{E617E0E9-9359-4EC3-8634-021AE2094398}" type="presParOf" srcId="{24AC2C63-2336-485F-B9B7-E7F70D9CD740}" destId="{67B2528E-F451-4F7E-8F84-643ADE040D1C}" srcOrd="1" destOrd="0" presId="urn:microsoft.com/office/officeart/2008/layout/VerticalCurvedList"/>
    <dgm:cxn modelId="{D3C9372B-EB58-4E64-A427-3F7C0A781D93}" type="presParOf" srcId="{24AC2C63-2336-485F-B9B7-E7F70D9CD740}" destId="{28AA13A1-FD35-42F5-967F-8DD0D38CAE25}" srcOrd="2" destOrd="0" presId="urn:microsoft.com/office/officeart/2008/layout/VerticalCurvedList"/>
    <dgm:cxn modelId="{7EDF7EBB-0919-41F8-8064-99D1AAF239CA}" type="presParOf" srcId="{28AA13A1-FD35-42F5-967F-8DD0D38CAE25}" destId="{77AA06CE-505A-4367-A5BD-FA623E1BE077}" srcOrd="0" destOrd="0" presId="urn:microsoft.com/office/officeart/2008/layout/VerticalCurvedList"/>
    <dgm:cxn modelId="{A43127BC-9265-43EC-9715-F9F634F23B54}" type="presParOf" srcId="{24AC2C63-2336-485F-B9B7-E7F70D9CD740}" destId="{C5D62EDE-ADFC-4A9B-98A6-2C23746C583D}" srcOrd="3" destOrd="0" presId="urn:microsoft.com/office/officeart/2008/layout/VerticalCurvedList"/>
    <dgm:cxn modelId="{1562C7C2-054E-4690-963F-F40105E59F62}" type="presParOf" srcId="{24AC2C63-2336-485F-B9B7-E7F70D9CD740}" destId="{CDD9A7E7-E27C-4E50-87CF-EE210DABE8D8}" srcOrd="4" destOrd="0" presId="urn:microsoft.com/office/officeart/2008/layout/VerticalCurvedList"/>
    <dgm:cxn modelId="{6470DED7-5D1E-48BF-AAE4-6DAA9C6A4791}" type="presParOf" srcId="{CDD9A7E7-E27C-4E50-87CF-EE210DABE8D8}" destId="{57BD31C7-0379-40AB-80AD-3C24F59EA2FC}" srcOrd="0" destOrd="0" presId="urn:microsoft.com/office/officeart/2008/layout/VerticalCurvedList"/>
    <dgm:cxn modelId="{9DE5F839-566E-4624-8F94-98D34E55C0A5}" type="presParOf" srcId="{24AC2C63-2336-485F-B9B7-E7F70D9CD740}" destId="{C30B3858-4A6E-41E7-8380-DDFF68EE1A9C}" srcOrd="5" destOrd="0" presId="urn:microsoft.com/office/officeart/2008/layout/VerticalCurvedList"/>
    <dgm:cxn modelId="{64385970-AAC8-4F8B-A6DC-9AB76469FC1C}" type="presParOf" srcId="{24AC2C63-2336-485F-B9B7-E7F70D9CD740}" destId="{F031862A-DD53-41F9-B2D0-58C7519226A2}" srcOrd="6" destOrd="0" presId="urn:microsoft.com/office/officeart/2008/layout/VerticalCurvedList"/>
    <dgm:cxn modelId="{60CF81E9-5788-4D57-BD3E-52002EE87F7C}" type="presParOf" srcId="{F031862A-DD53-41F9-B2D0-58C7519226A2}" destId="{48FCBFC4-3B0B-40D1-B553-6AA4BECDC060}" srcOrd="0" destOrd="0" presId="urn:microsoft.com/office/officeart/2008/layout/VerticalCurvedList"/>
    <dgm:cxn modelId="{5A9A3826-5500-45ED-8CC2-6B30ABB24072}" type="presParOf" srcId="{24AC2C63-2336-485F-B9B7-E7F70D9CD740}" destId="{5DACEE05-23FB-4C6F-B6EC-6C4755AE73CE}" srcOrd="7" destOrd="0" presId="urn:microsoft.com/office/officeart/2008/layout/VerticalCurvedList"/>
    <dgm:cxn modelId="{F1500433-A3CC-49CC-A697-CE126581B500}" type="presParOf" srcId="{24AC2C63-2336-485F-B9B7-E7F70D9CD740}" destId="{71B67A60-CBE5-4B29-8C5B-26721D9433EA}" srcOrd="8" destOrd="0" presId="urn:microsoft.com/office/officeart/2008/layout/VerticalCurvedList"/>
    <dgm:cxn modelId="{744CDCCE-83A8-4A52-B078-9E0578A8DDCB}" type="presParOf" srcId="{71B67A60-CBE5-4B29-8C5B-26721D9433EA}" destId="{3446BEBE-B02B-4C54-880D-206D1260D07D}" srcOrd="0" destOrd="0" presId="urn:microsoft.com/office/officeart/2008/layout/VerticalCurvedList"/>
    <dgm:cxn modelId="{F03DEA4D-2277-48FC-98A3-A521B5A2C5B5}" type="presParOf" srcId="{24AC2C63-2336-485F-B9B7-E7F70D9CD740}" destId="{87DDAA7F-B85C-4F22-B12A-20DD9F111A24}" srcOrd="9" destOrd="0" presId="urn:microsoft.com/office/officeart/2008/layout/VerticalCurvedList"/>
    <dgm:cxn modelId="{95D596AB-592C-4956-AA93-82A7A8628D8C}" type="presParOf" srcId="{24AC2C63-2336-485F-B9B7-E7F70D9CD740}" destId="{1C089508-717C-4446-BC39-48502BA457C1}" srcOrd="10" destOrd="0" presId="urn:microsoft.com/office/officeart/2008/layout/VerticalCurvedList"/>
    <dgm:cxn modelId="{94C6AE7A-F4FD-4CEC-AC87-E7B2513B42B3}" type="presParOf" srcId="{1C089508-717C-4446-BC39-48502BA457C1}" destId="{7DFE2596-222D-4014-938C-0E08AD17515F}" srcOrd="0" destOrd="0" presId="urn:microsoft.com/office/officeart/2008/layout/VerticalCurvedList"/>
    <dgm:cxn modelId="{6AA30193-0D72-4666-886B-A904AC1504C0}" type="presParOf" srcId="{24AC2C63-2336-485F-B9B7-E7F70D9CD740}" destId="{47C633DB-A180-4163-BF89-7AA781BA0E2A}" srcOrd="11" destOrd="0" presId="urn:microsoft.com/office/officeart/2008/layout/VerticalCurvedList"/>
    <dgm:cxn modelId="{09271FCC-233E-476C-964D-C2EEBE3CE1C9}" type="presParOf" srcId="{24AC2C63-2336-485F-B9B7-E7F70D9CD740}" destId="{2A64A8EC-6984-4912-B12B-BC2F61D96FE0}" srcOrd="12" destOrd="0" presId="urn:microsoft.com/office/officeart/2008/layout/VerticalCurvedList"/>
    <dgm:cxn modelId="{BE6493E4-C7FA-4659-B997-7BB7D2637D82}" type="presParOf" srcId="{2A64A8EC-6984-4912-B12B-BC2F61D96FE0}" destId="{325DA6E0-9CAC-4523-8FA4-BCBB431217F6}" srcOrd="0" destOrd="0" presId="urn:microsoft.com/office/officeart/2008/layout/VerticalCurvedList"/>
    <dgm:cxn modelId="{3F7E6D88-6137-4B78-BB39-99BE8BD7B779}" type="presParOf" srcId="{24AC2C63-2336-485F-B9B7-E7F70D9CD740}" destId="{497BD632-74D3-4B6D-B01E-5B69C88E219D}" srcOrd="13" destOrd="0" presId="urn:microsoft.com/office/officeart/2008/layout/VerticalCurvedList"/>
    <dgm:cxn modelId="{059E6E31-4A4F-4F45-AFEA-1FCCB0A710CF}" type="presParOf" srcId="{24AC2C63-2336-485F-B9B7-E7F70D9CD740}" destId="{B47982E7-B8DA-4D2E-8C92-C14A5AECAAE1}" srcOrd="14" destOrd="0" presId="urn:microsoft.com/office/officeart/2008/layout/VerticalCurvedList"/>
    <dgm:cxn modelId="{647ABBC2-D7D6-4EBB-B1AA-155D1510EB92}" type="presParOf" srcId="{B47982E7-B8DA-4D2E-8C92-C14A5AECAAE1}" destId="{36857DE3-B214-4AF5-B7E3-8BEF185D769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59209-B3CF-4BFF-81D8-57BD80E5CB16}">
      <dsp:nvSpPr>
        <dsp:cNvPr id="0" name=""/>
        <dsp:cNvSpPr/>
      </dsp:nvSpPr>
      <dsp:spPr>
        <a:xfrm>
          <a:off x="-5703182" y="-988566"/>
          <a:ext cx="7693215" cy="7693215"/>
        </a:xfrm>
        <a:prstGeom prst="blockArc">
          <a:avLst>
            <a:gd name="adj1" fmla="val 18900000"/>
            <a:gd name="adj2" fmla="val 2700000"/>
            <a:gd name="adj3" fmla="val 281"/>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7B2528E-F451-4F7E-8F84-643ADE040D1C}">
      <dsp:nvSpPr>
        <dsp:cNvPr id="0" name=""/>
        <dsp:cNvSpPr/>
      </dsp:nvSpPr>
      <dsp:spPr>
        <a:xfrm>
          <a:off x="1897232" y="259853"/>
          <a:ext cx="9101333" cy="519477"/>
        </a:xfrm>
        <a:prstGeom prst="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Repetition  </a:t>
          </a:r>
          <a:r>
            <a:rPr lang="en-US" sz="1600" kern="1200" dirty="0">
              <a:solidFill>
                <a:schemeClr val="tx1"/>
              </a:solidFill>
              <a:latin typeface="Times New Roman" panose="02020603050405020304" pitchFamily="18" charset="0"/>
              <a:cs typeface="Times New Roman" panose="02020603050405020304" pitchFamily="18" charset="0"/>
            </a:rPr>
            <a:t>♦</a:t>
          </a:r>
          <a:r>
            <a:rPr lang="en-US" sz="1600" kern="1200" dirty="0">
              <a:solidFill>
                <a:schemeClr val="tx1"/>
              </a:solidFill>
            </a:rPr>
            <a:t>  Geographical scope  </a:t>
          </a:r>
          <a:r>
            <a:rPr lang="en-US" sz="1600" kern="1200" dirty="0">
              <a:solidFill>
                <a:schemeClr val="tx1"/>
              </a:solidFill>
              <a:latin typeface="Times New Roman" panose="02020603050405020304" pitchFamily="18" charset="0"/>
              <a:cs typeface="Times New Roman" panose="02020603050405020304" pitchFamily="18" charset="0"/>
            </a:rPr>
            <a:t>♦  </a:t>
          </a:r>
          <a:r>
            <a:rPr lang="en-US" sz="1600" kern="1200" dirty="0">
              <a:solidFill>
                <a:schemeClr val="tx1"/>
              </a:solidFill>
            </a:rPr>
            <a:t>Channel selection</a:t>
          </a:r>
        </a:p>
      </dsp:txBody>
      <dsp:txXfrm>
        <a:off x="1897232" y="259853"/>
        <a:ext cx="9101333" cy="519477"/>
      </dsp:txXfrm>
    </dsp:sp>
    <dsp:sp modelId="{77AA06CE-505A-4367-A5BD-FA623E1BE077}">
      <dsp:nvSpPr>
        <dsp:cNvPr id="0" name=""/>
        <dsp:cNvSpPr/>
      </dsp:nvSpPr>
      <dsp:spPr>
        <a:xfrm>
          <a:off x="5173" y="194918"/>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5D62EDE-ADFC-4A9B-98A6-2C23746C583D}">
      <dsp:nvSpPr>
        <dsp:cNvPr id="0" name=""/>
        <dsp:cNvSpPr/>
      </dsp:nvSpPr>
      <dsp:spPr>
        <a:xfrm>
          <a:off x="2334730" y="1039526"/>
          <a:ext cx="8696770"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Data coding scheme</a:t>
          </a:r>
        </a:p>
      </dsp:txBody>
      <dsp:txXfrm>
        <a:off x="2334730" y="1039526"/>
        <a:ext cx="8696770" cy="519477"/>
      </dsp:txXfrm>
    </dsp:sp>
    <dsp:sp modelId="{57BD31C7-0379-40AB-80AD-3C24F59EA2FC}">
      <dsp:nvSpPr>
        <dsp:cNvPr id="0" name=""/>
        <dsp:cNvSpPr/>
      </dsp:nvSpPr>
      <dsp:spPr>
        <a:xfrm>
          <a:off x="475606" y="974592"/>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0B3858-4A6E-41E7-8380-DDFF68EE1A9C}">
      <dsp:nvSpPr>
        <dsp:cNvPr id="0" name=""/>
        <dsp:cNvSpPr/>
      </dsp:nvSpPr>
      <dsp:spPr>
        <a:xfrm>
          <a:off x="2574478" y="1818628"/>
          <a:ext cx="8475071"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Yes/No</a:t>
          </a:r>
        </a:p>
      </dsp:txBody>
      <dsp:txXfrm>
        <a:off x="2574478" y="1818628"/>
        <a:ext cx="8475071" cy="519477"/>
      </dsp:txXfrm>
    </dsp:sp>
    <dsp:sp modelId="{48FCBFC4-3B0B-40D1-B553-6AA4BECDC060}">
      <dsp:nvSpPr>
        <dsp:cNvPr id="0" name=""/>
        <dsp:cNvSpPr/>
      </dsp:nvSpPr>
      <dsp:spPr>
        <a:xfrm>
          <a:off x="733402" y="1753694"/>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ACEE05-23FB-4C6F-B6EC-6C4755AE73CE}">
      <dsp:nvSpPr>
        <dsp:cNvPr id="0" name=""/>
        <dsp:cNvSpPr/>
      </dsp:nvSpPr>
      <dsp:spPr>
        <a:xfrm>
          <a:off x="2651027" y="2598302"/>
          <a:ext cx="8404284"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Follow original/latest alert  </a:t>
          </a:r>
          <a:r>
            <a:rPr lang="en-US" sz="1600" kern="1200" dirty="0">
              <a:solidFill>
                <a:schemeClr val="tx1"/>
              </a:solidFill>
              <a:latin typeface="Times New Roman" panose="02020603050405020304" pitchFamily="18" charset="0"/>
              <a:cs typeface="Times New Roman" panose="02020603050405020304" pitchFamily="18" charset="0"/>
            </a:rPr>
            <a:t>♦ </a:t>
          </a:r>
          <a:r>
            <a:rPr lang="en-US" sz="1600" kern="1200" dirty="0">
              <a:solidFill>
                <a:schemeClr val="tx1"/>
              </a:solidFill>
            </a:rPr>
            <a:t>Enabled fields</a:t>
          </a:r>
        </a:p>
      </dsp:txBody>
      <dsp:txXfrm>
        <a:off x="2651027" y="2598302"/>
        <a:ext cx="8404284" cy="519477"/>
      </dsp:txXfrm>
    </dsp:sp>
    <dsp:sp modelId="{3446BEBE-B02B-4C54-880D-206D1260D07D}">
      <dsp:nvSpPr>
        <dsp:cNvPr id="0" name=""/>
        <dsp:cNvSpPr/>
      </dsp:nvSpPr>
      <dsp:spPr>
        <a:xfrm>
          <a:off x="815713" y="2533367"/>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DDAA7F-B85C-4F22-B12A-20DD9F111A24}">
      <dsp:nvSpPr>
        <dsp:cNvPr id="0" name=""/>
        <dsp:cNvSpPr/>
      </dsp:nvSpPr>
      <dsp:spPr>
        <a:xfrm>
          <a:off x="2574478" y="3377976"/>
          <a:ext cx="8475071"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latin typeface="+mn-lt"/>
            </a:rPr>
            <a:t>Yes/no  </a:t>
          </a:r>
          <a:r>
            <a:rPr lang="en-US" sz="1600" kern="1200" dirty="0">
              <a:solidFill>
                <a:schemeClr val="tx1"/>
              </a:solidFill>
              <a:latin typeface="+mn-lt"/>
              <a:cs typeface="Times New Roman" panose="02020603050405020304" pitchFamily="18" charset="0"/>
            </a:rPr>
            <a:t>♦ Time limit  ♦  Historical  </a:t>
          </a:r>
          <a:r>
            <a:rPr lang="en-US" sz="1600" kern="1200" dirty="0">
              <a:solidFill>
                <a:schemeClr val="tx1"/>
              </a:solidFill>
              <a:latin typeface="+mn-lt"/>
            </a:rPr>
            <a:t> </a:t>
          </a:r>
        </a:p>
      </dsp:txBody>
      <dsp:txXfrm>
        <a:off x="2574478" y="3377976"/>
        <a:ext cx="8475071" cy="519477"/>
      </dsp:txXfrm>
    </dsp:sp>
    <dsp:sp modelId="{7DFE2596-222D-4014-938C-0E08AD17515F}">
      <dsp:nvSpPr>
        <dsp:cNvPr id="0" name=""/>
        <dsp:cNvSpPr/>
      </dsp:nvSpPr>
      <dsp:spPr>
        <a:xfrm>
          <a:off x="733402" y="3313041"/>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C633DB-A180-4163-BF89-7AA781BA0E2A}">
      <dsp:nvSpPr>
        <dsp:cNvPr id="0" name=""/>
        <dsp:cNvSpPr/>
      </dsp:nvSpPr>
      <dsp:spPr>
        <a:xfrm>
          <a:off x="2334730" y="4157078"/>
          <a:ext cx="8696770"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latin typeface="+mn-lt"/>
            </a:rPr>
            <a:t>HTTP/HTTPS  </a:t>
          </a:r>
          <a:r>
            <a:rPr lang="en-US" sz="1600" kern="1200" dirty="0">
              <a:solidFill>
                <a:schemeClr val="tx1"/>
              </a:solidFill>
              <a:latin typeface="+mn-lt"/>
              <a:cs typeface="Times New Roman" panose="02020603050405020304" pitchFamily="18" charset="0"/>
            </a:rPr>
            <a:t>♦ Signatures (one/both direction) ♦ Authentication (y/n)    </a:t>
          </a:r>
          <a:endParaRPr lang="en-US" sz="1600" kern="1200" dirty="0">
            <a:solidFill>
              <a:schemeClr val="tx1"/>
            </a:solidFill>
            <a:latin typeface="+mn-lt"/>
          </a:endParaRPr>
        </a:p>
      </dsp:txBody>
      <dsp:txXfrm>
        <a:off x="2334730" y="4157078"/>
        <a:ext cx="8696770" cy="519477"/>
      </dsp:txXfrm>
    </dsp:sp>
    <dsp:sp modelId="{325DA6E0-9CAC-4523-8FA4-BCBB431217F6}">
      <dsp:nvSpPr>
        <dsp:cNvPr id="0" name=""/>
        <dsp:cNvSpPr/>
      </dsp:nvSpPr>
      <dsp:spPr>
        <a:xfrm>
          <a:off x="475606" y="4092143"/>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7BD632-74D3-4B6D-B01E-5B69C88E219D}">
      <dsp:nvSpPr>
        <dsp:cNvPr id="0" name=""/>
        <dsp:cNvSpPr/>
      </dsp:nvSpPr>
      <dsp:spPr>
        <a:xfrm>
          <a:off x="1897232" y="4936752"/>
          <a:ext cx="9101333" cy="519477"/>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0"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latin typeface="+mn-lt"/>
            </a:rPr>
            <a:t>Drills  </a:t>
          </a:r>
          <a:r>
            <a:rPr lang="en-US" sz="1600" kern="1200" dirty="0">
              <a:solidFill>
                <a:schemeClr val="tx1"/>
              </a:solidFill>
              <a:latin typeface="+mn-lt"/>
              <a:cs typeface="Times New Roman" panose="02020603050405020304" pitchFamily="18" charset="0"/>
            </a:rPr>
            <a:t>♦  </a:t>
          </a:r>
          <a:r>
            <a:rPr lang="en-US" sz="1600" kern="1200" dirty="0">
              <a:solidFill>
                <a:schemeClr val="tx1"/>
              </a:solidFill>
              <a:latin typeface="+mn-lt"/>
            </a:rPr>
            <a:t>RMT  </a:t>
          </a:r>
          <a:r>
            <a:rPr lang="en-US" sz="1600" kern="1200" dirty="0">
              <a:solidFill>
                <a:schemeClr val="tx1"/>
              </a:solidFill>
              <a:latin typeface="+mn-lt"/>
              <a:cs typeface="Times New Roman" panose="02020603050405020304" pitchFamily="18" charset="0"/>
            </a:rPr>
            <a:t>♦  Technical testing   ♦  Logging</a:t>
          </a:r>
          <a:endParaRPr lang="en-US" sz="1600" kern="1200" dirty="0">
            <a:solidFill>
              <a:schemeClr val="tx1"/>
            </a:solidFill>
            <a:latin typeface="+mn-lt"/>
          </a:endParaRPr>
        </a:p>
      </dsp:txBody>
      <dsp:txXfrm>
        <a:off x="1897232" y="4936752"/>
        <a:ext cx="9101333" cy="519477"/>
      </dsp:txXfrm>
    </dsp:sp>
    <dsp:sp modelId="{36857DE3-B214-4AF5-B7E3-8BEF185D7694}">
      <dsp:nvSpPr>
        <dsp:cNvPr id="0" name=""/>
        <dsp:cNvSpPr/>
      </dsp:nvSpPr>
      <dsp:spPr>
        <a:xfrm>
          <a:off x="5173" y="4871817"/>
          <a:ext cx="2302259" cy="649347"/>
        </a:xfrm>
        <a:prstGeom prst="ellipse">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Roboto" panose="02000000000000000000" pitchFamily="2" charset="0"/>
              </a:defRPr>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Roboto" panose="02000000000000000000" pitchFamily="2" charset="0"/>
              </a:defRPr>
            </a:lvl1pPr>
          </a:lstStyle>
          <a:p>
            <a:fld id="{1EFE03DD-8BA7-4C6A-864A-9E468C413819}" type="datetimeFigureOut">
              <a:rPr lang="en-US" smtClean="0"/>
              <a:pPr/>
              <a:t>10/31/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Roboto" panose="02000000000000000000" pitchFamily="2" charset="0"/>
              </a:defRPr>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Roboto" panose="02000000000000000000" pitchFamily="2" charset="0"/>
              </a:defRPr>
            </a:lvl1pPr>
          </a:lstStyle>
          <a:p>
            <a:fld id="{E3DB082B-95AF-4513-95FA-724313BA6F3A}" type="slidenum">
              <a:rPr lang="en-US" smtClean="0"/>
              <a:pPr/>
              <a:t>‹#›</a:t>
            </a:fld>
            <a:endParaRPr lang="en-US"/>
          </a:p>
        </p:txBody>
      </p:sp>
    </p:spTree>
    <p:extLst>
      <p:ext uri="{BB962C8B-B14F-4D97-AF65-F5344CB8AC3E}">
        <p14:creationId xmlns:p14="http://schemas.microsoft.com/office/powerpoint/2010/main" val="255572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Roboto" panose="02000000000000000000" pitchFamily="2" charset="0"/>
        <a:ea typeface="+mn-ea"/>
        <a:cs typeface="+mn-cs"/>
      </a:defRPr>
    </a:lvl1pPr>
    <a:lvl2pPr marL="457200" algn="l" defTabSz="914400" rtl="0" eaLnBrk="1" latinLnBrk="0" hangingPunct="1">
      <a:defRPr sz="1200" kern="1200">
        <a:solidFill>
          <a:schemeClr val="tx1"/>
        </a:solidFill>
        <a:latin typeface="Roboto" panose="02000000000000000000" pitchFamily="2" charset="0"/>
        <a:ea typeface="+mn-ea"/>
        <a:cs typeface="+mn-cs"/>
      </a:defRPr>
    </a:lvl2pPr>
    <a:lvl3pPr marL="914400" algn="l" defTabSz="914400" rtl="0" eaLnBrk="1" latinLnBrk="0" hangingPunct="1">
      <a:defRPr sz="1200" kern="1200">
        <a:solidFill>
          <a:schemeClr val="tx1"/>
        </a:solidFill>
        <a:latin typeface="Roboto" panose="02000000000000000000" pitchFamily="2" charset="0"/>
        <a:ea typeface="+mn-ea"/>
        <a:cs typeface="+mn-cs"/>
      </a:defRPr>
    </a:lvl3pPr>
    <a:lvl4pPr marL="1371600" algn="l" defTabSz="914400" rtl="0" eaLnBrk="1" latinLnBrk="0" hangingPunct="1">
      <a:defRPr sz="1200" kern="1200">
        <a:solidFill>
          <a:schemeClr val="tx1"/>
        </a:solidFill>
        <a:latin typeface="Roboto" panose="02000000000000000000" pitchFamily="2" charset="0"/>
        <a:ea typeface="+mn-ea"/>
        <a:cs typeface="+mn-cs"/>
      </a:defRPr>
    </a:lvl4pPr>
    <a:lvl5pPr marL="1828800" algn="l" defTabSz="914400" rtl="0" eaLnBrk="1" latinLnBrk="0" hangingPunct="1">
      <a:defRPr sz="1200" kern="1200">
        <a:solidFill>
          <a:schemeClr val="tx1"/>
        </a:solidFill>
        <a:latin typeface="Roboto"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E3DB082B-95AF-4513-95FA-724313BA6F3A}" type="slidenum">
              <a:rPr lang="en-US" smtClean="0"/>
              <a:t>1</a:t>
            </a:fld>
            <a:endParaRPr lang="en-US"/>
          </a:p>
        </p:txBody>
      </p:sp>
    </p:spTree>
    <p:extLst>
      <p:ext uri="{BB962C8B-B14F-4D97-AF65-F5344CB8AC3E}">
        <p14:creationId xmlns:p14="http://schemas.microsoft.com/office/powerpoint/2010/main" val="3643010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9D4771-CA99-48C6-98EC-E52A18E13DAC}" type="slidenum">
              <a:rPr kumimoji="0" lang="en-US" sz="1200" b="0" i="0" u="none" strike="noStrike" kern="1200" cap="none" spc="0" normalizeH="0" baseline="0" noProof="0" smtClean="0">
                <a:ln>
                  <a:noFill/>
                </a:ln>
                <a:solidFill>
                  <a:prstClr val="black"/>
                </a:solidFill>
                <a:effectLst/>
                <a:uLnTx/>
                <a:uFillTx/>
                <a:latin typeface="Roboto" panose="020000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1375951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CD1330-B717-4F65-9953-31B6ED6A145C}" type="slidenum">
              <a:rPr lang="en-US" smtClean="0"/>
              <a:pPr/>
              <a:t>5</a:t>
            </a:fld>
            <a:endParaRPr lang="en-US"/>
          </a:p>
        </p:txBody>
      </p:sp>
    </p:spTree>
    <p:extLst>
      <p:ext uri="{BB962C8B-B14F-4D97-AF65-F5344CB8AC3E}">
        <p14:creationId xmlns:p14="http://schemas.microsoft.com/office/powerpoint/2010/main" val="315320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3DB082B-95AF-4513-95FA-724313BA6F3A}" type="slidenum">
              <a:rPr lang="en-US" smtClean="0"/>
              <a:pPr/>
              <a:t>6</a:t>
            </a:fld>
            <a:endParaRPr lang="en-US"/>
          </a:p>
        </p:txBody>
      </p:sp>
    </p:spTree>
    <p:extLst>
      <p:ext uri="{BB962C8B-B14F-4D97-AF65-F5344CB8AC3E}">
        <p14:creationId xmlns:p14="http://schemas.microsoft.com/office/powerpoint/2010/main" val="2243440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DB082B-95AF-4513-95FA-724313BA6F3A}" type="slidenum">
              <a:rPr lang="en-US" smtClean="0"/>
              <a:pPr/>
              <a:t>10</a:t>
            </a:fld>
            <a:endParaRPr lang="en-US"/>
          </a:p>
        </p:txBody>
      </p:sp>
    </p:spTree>
    <p:extLst>
      <p:ext uri="{BB962C8B-B14F-4D97-AF65-F5344CB8AC3E}">
        <p14:creationId xmlns:p14="http://schemas.microsoft.com/office/powerpoint/2010/main" val="119426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DB082B-95AF-4513-95FA-724313BA6F3A}" type="slidenum">
              <a:rPr lang="en-US" smtClean="0"/>
              <a:pPr/>
              <a:t>13</a:t>
            </a:fld>
            <a:endParaRPr lang="en-US"/>
          </a:p>
        </p:txBody>
      </p:sp>
    </p:spTree>
    <p:extLst>
      <p:ext uri="{BB962C8B-B14F-4D97-AF65-F5344CB8AC3E}">
        <p14:creationId xmlns:p14="http://schemas.microsoft.com/office/powerpoint/2010/main" val="2872516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hyperlink" Target="mailto:li-contact@utimaco.com" TargetMode="External"/><Relationship Id="rId5" Type="http://schemas.openxmlformats.org/officeDocument/2006/relationships/hyperlink" Target="https://lims.utimaco.com/" TargetMode="External"/><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hyperlink" Target="mailto:info@utimaco.co.uk" TargetMode="External"/><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hyperlink" Target="mailto:li-contact@utimaco.com" TargetMode="External"/><Relationship Id="rId5" Type="http://schemas.openxmlformats.org/officeDocument/2006/relationships/hyperlink" Target="https://lims.utimaco.com/" TargetMode="External"/><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1.emf"/><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1.emf"/><Relationship Id="rId4" Type="http://schemas.openxmlformats.org/officeDocument/2006/relationships/image" Target="../media/image2.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Mai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129155D-09D4-4040-A647-079C05D3FD2E}"/>
              </a:ext>
            </a:extLst>
          </p:cNvPr>
          <p:cNvSpPr/>
          <p:nvPr userDrawn="1"/>
        </p:nvSpPr>
        <p:spPr>
          <a:xfrm>
            <a:off x="0" y="-1"/>
            <a:ext cx="12192000" cy="4716935"/>
          </a:xfrm>
          <a:prstGeom prst="rect">
            <a:avLst/>
          </a:prstGeom>
          <a:gradFill flip="none" rotWithShape="1">
            <a:gsLst>
              <a:gs pos="50000">
                <a:srgbClr val="0068B4"/>
              </a:gs>
              <a:gs pos="0">
                <a:srgbClr val="A2D3F3"/>
              </a:gs>
              <a:gs pos="25000">
                <a:srgbClr val="59A1D8"/>
              </a:gs>
              <a:gs pos="100000">
                <a:srgbClr val="003E77"/>
              </a:gs>
              <a:gs pos="75000">
                <a:srgbClr val="00529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uppieren 3">
            <a:extLst>
              <a:ext uri="{FF2B5EF4-FFF2-40B4-BE49-F238E27FC236}">
                <a16:creationId xmlns:a16="http://schemas.microsoft.com/office/drawing/2014/main" id="{9E014B91-9050-4F01-B2B5-8ED5C9596C25}"/>
              </a:ext>
            </a:extLst>
          </p:cNvPr>
          <p:cNvGrpSpPr/>
          <p:nvPr userDrawn="1"/>
        </p:nvGrpSpPr>
        <p:grpSpPr>
          <a:xfrm>
            <a:off x="7078715" y="-283795"/>
            <a:ext cx="5278640" cy="4621207"/>
            <a:chOff x="8130181" y="350072"/>
            <a:chExt cx="4582106" cy="4011424"/>
          </a:xfrm>
        </p:grpSpPr>
        <p:sp>
          <p:nvSpPr>
            <p:cNvPr id="5" name="Freihandform: Form 4">
              <a:extLst>
                <a:ext uri="{FF2B5EF4-FFF2-40B4-BE49-F238E27FC236}">
                  <a16:creationId xmlns:a16="http://schemas.microsoft.com/office/drawing/2014/main" id="{3504F988-2FC6-42D2-8EB5-A92963BBBB74}"/>
                </a:ext>
              </a:extLst>
            </p:cNvPr>
            <p:cNvSpPr/>
            <p:nvPr/>
          </p:nvSpPr>
          <p:spPr>
            <a:xfrm rot="18900000">
              <a:off x="10156042" y="612649"/>
              <a:ext cx="1485491" cy="1485491"/>
            </a:xfrm>
            <a:custGeom>
              <a:avLst/>
              <a:gdLst>
                <a:gd name="connsiteX0" fmla="*/ 0 w 640073"/>
                <a:gd name="connsiteY0" fmla="*/ 0 h 640073"/>
                <a:gd name="connsiteX1" fmla="*/ 640074 w 640073"/>
                <a:gd name="connsiteY1" fmla="*/ 0 h 640073"/>
                <a:gd name="connsiteX2" fmla="*/ 640074 w 640073"/>
                <a:gd name="connsiteY2" fmla="*/ 640074 h 640073"/>
                <a:gd name="connsiteX3" fmla="*/ 0 w 640073"/>
                <a:gd name="connsiteY3" fmla="*/ 640074 h 640073"/>
              </a:gdLst>
              <a:ahLst/>
              <a:cxnLst>
                <a:cxn ang="0">
                  <a:pos x="connsiteX0" y="connsiteY0"/>
                </a:cxn>
                <a:cxn ang="0">
                  <a:pos x="connsiteX1" y="connsiteY1"/>
                </a:cxn>
                <a:cxn ang="0">
                  <a:pos x="connsiteX2" y="connsiteY2"/>
                </a:cxn>
                <a:cxn ang="0">
                  <a:pos x="connsiteX3" y="connsiteY3"/>
                </a:cxn>
              </a:cxnLst>
              <a:rect l="l" t="t" r="r" b="b"/>
              <a:pathLst>
                <a:path w="640073" h="640073">
                  <a:moveTo>
                    <a:pt x="0" y="0"/>
                  </a:moveTo>
                  <a:lnTo>
                    <a:pt x="640074" y="0"/>
                  </a:lnTo>
                  <a:lnTo>
                    <a:pt x="640074" y="640074"/>
                  </a:lnTo>
                  <a:lnTo>
                    <a:pt x="0" y="640074"/>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 name="Freihandform: Form 5">
              <a:extLst>
                <a:ext uri="{FF2B5EF4-FFF2-40B4-BE49-F238E27FC236}">
                  <a16:creationId xmlns:a16="http://schemas.microsoft.com/office/drawing/2014/main" id="{B07DB059-F06C-457B-9381-4EBE1A101147}"/>
                </a:ext>
              </a:extLst>
            </p:cNvPr>
            <p:cNvSpPr/>
            <p:nvPr/>
          </p:nvSpPr>
          <p:spPr>
            <a:xfrm>
              <a:off x="11461336" y="2787335"/>
              <a:ext cx="856251" cy="85389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 name="Freihandform: Form 6">
              <a:extLst>
                <a:ext uri="{FF2B5EF4-FFF2-40B4-BE49-F238E27FC236}">
                  <a16:creationId xmlns:a16="http://schemas.microsoft.com/office/drawing/2014/main" id="{DA5CE365-71EB-4ADC-A071-08CF1586406E}"/>
                </a:ext>
              </a:extLst>
            </p:cNvPr>
            <p:cNvSpPr/>
            <p:nvPr/>
          </p:nvSpPr>
          <p:spPr>
            <a:xfrm>
              <a:off x="8996351" y="1062325"/>
              <a:ext cx="478962" cy="475744"/>
            </a:xfrm>
            <a:custGeom>
              <a:avLst/>
              <a:gdLst>
                <a:gd name="connsiteX0" fmla="*/ 354330 w 708659"/>
                <a:gd name="connsiteY0" fmla="*/ 0 h 703897"/>
                <a:gd name="connsiteX1" fmla="*/ 0 w 708659"/>
                <a:gd name="connsiteY1" fmla="*/ 352425 h 703897"/>
                <a:gd name="connsiteX2" fmla="*/ 354330 w 708659"/>
                <a:gd name="connsiteY2" fmla="*/ 703898 h 703897"/>
                <a:gd name="connsiteX3" fmla="*/ 708660 w 708659"/>
                <a:gd name="connsiteY3" fmla="*/ 352425 h 703897"/>
              </a:gdLst>
              <a:ahLst/>
              <a:cxnLst>
                <a:cxn ang="0">
                  <a:pos x="connsiteX0" y="connsiteY0"/>
                </a:cxn>
                <a:cxn ang="0">
                  <a:pos x="connsiteX1" y="connsiteY1"/>
                </a:cxn>
                <a:cxn ang="0">
                  <a:pos x="connsiteX2" y="connsiteY2"/>
                </a:cxn>
                <a:cxn ang="0">
                  <a:pos x="connsiteX3" y="connsiteY3"/>
                </a:cxn>
              </a:cxnLst>
              <a:rect l="l" t="t" r="r" b="b"/>
              <a:pathLst>
                <a:path w="708659" h="703897">
                  <a:moveTo>
                    <a:pt x="354330" y="0"/>
                  </a:moveTo>
                  <a:lnTo>
                    <a:pt x="0" y="352425"/>
                  </a:lnTo>
                  <a:lnTo>
                    <a:pt x="354330" y="703898"/>
                  </a:lnTo>
                  <a:lnTo>
                    <a:pt x="708660" y="352425"/>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 name="Freihandform: Form 7">
              <a:extLst>
                <a:ext uri="{FF2B5EF4-FFF2-40B4-BE49-F238E27FC236}">
                  <a16:creationId xmlns:a16="http://schemas.microsoft.com/office/drawing/2014/main" id="{8C5725F9-4FA3-469D-BD7D-348A0206E1E7}"/>
                </a:ext>
              </a:extLst>
            </p:cNvPr>
            <p:cNvSpPr/>
            <p:nvPr/>
          </p:nvSpPr>
          <p:spPr>
            <a:xfrm>
              <a:off x="8130181" y="1197238"/>
              <a:ext cx="877420" cy="888384"/>
            </a:xfrm>
            <a:custGeom>
              <a:avLst/>
              <a:gdLst>
                <a:gd name="connsiteX0" fmla="*/ 114300 w 228600"/>
                <a:gd name="connsiteY0" fmla="*/ 0 h 231457"/>
                <a:gd name="connsiteX1" fmla="*/ 0 w 228600"/>
                <a:gd name="connsiteY1" fmla="*/ 115253 h 231457"/>
                <a:gd name="connsiteX2" fmla="*/ 114300 w 228600"/>
                <a:gd name="connsiteY2" fmla="*/ 231458 h 231457"/>
                <a:gd name="connsiteX3" fmla="*/ 228600 w 228600"/>
                <a:gd name="connsiteY3" fmla="*/ 115253 h 231457"/>
              </a:gdLst>
              <a:ahLst/>
              <a:cxnLst>
                <a:cxn ang="0">
                  <a:pos x="connsiteX0" y="connsiteY0"/>
                </a:cxn>
                <a:cxn ang="0">
                  <a:pos x="connsiteX1" y="connsiteY1"/>
                </a:cxn>
                <a:cxn ang="0">
                  <a:pos x="connsiteX2" y="connsiteY2"/>
                </a:cxn>
                <a:cxn ang="0">
                  <a:pos x="connsiteX3" y="connsiteY3"/>
                </a:cxn>
              </a:cxnLst>
              <a:rect l="l" t="t" r="r" b="b"/>
              <a:pathLst>
                <a:path w="228600" h="231457">
                  <a:moveTo>
                    <a:pt x="114300" y="0"/>
                  </a:moveTo>
                  <a:lnTo>
                    <a:pt x="0" y="115253"/>
                  </a:lnTo>
                  <a:lnTo>
                    <a:pt x="114300" y="231458"/>
                  </a:lnTo>
                  <a:lnTo>
                    <a:pt x="228600" y="115253"/>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 name="Freihandform: Form 8">
              <a:extLst>
                <a:ext uri="{FF2B5EF4-FFF2-40B4-BE49-F238E27FC236}">
                  <a16:creationId xmlns:a16="http://schemas.microsoft.com/office/drawing/2014/main" id="{DBF2A090-47AF-4C37-B2F7-4B3927CDFBB0}"/>
                </a:ext>
              </a:extLst>
            </p:cNvPr>
            <p:cNvSpPr/>
            <p:nvPr/>
          </p:nvSpPr>
          <p:spPr>
            <a:xfrm rot="18899514">
              <a:off x="9839470" y="350072"/>
              <a:ext cx="419865" cy="419865"/>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 name="Freihandform: Form 9">
              <a:extLst>
                <a:ext uri="{FF2B5EF4-FFF2-40B4-BE49-F238E27FC236}">
                  <a16:creationId xmlns:a16="http://schemas.microsoft.com/office/drawing/2014/main" id="{B7F257E4-5115-479D-93CF-7E645B5FEFB6}"/>
                </a:ext>
              </a:extLst>
            </p:cNvPr>
            <p:cNvSpPr/>
            <p:nvPr/>
          </p:nvSpPr>
          <p:spPr>
            <a:xfrm>
              <a:off x="10382907" y="2488499"/>
              <a:ext cx="359720" cy="363259"/>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 name="Freihandform: Form 10">
              <a:extLst>
                <a:ext uri="{FF2B5EF4-FFF2-40B4-BE49-F238E27FC236}">
                  <a16:creationId xmlns:a16="http://schemas.microsoft.com/office/drawing/2014/main" id="{6EEEFBA6-135B-47CA-B759-B85FCAA68F6D}"/>
                </a:ext>
              </a:extLst>
            </p:cNvPr>
            <p:cNvSpPr/>
            <p:nvPr/>
          </p:nvSpPr>
          <p:spPr>
            <a:xfrm>
              <a:off x="12047628" y="1434517"/>
              <a:ext cx="300749" cy="30310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 name="Freihandform: Form 11">
              <a:extLst>
                <a:ext uri="{FF2B5EF4-FFF2-40B4-BE49-F238E27FC236}">
                  <a16:creationId xmlns:a16="http://schemas.microsoft.com/office/drawing/2014/main" id="{CD2253AE-9A2E-4C53-990C-89A366401D2E}"/>
                </a:ext>
              </a:extLst>
            </p:cNvPr>
            <p:cNvSpPr/>
            <p:nvPr/>
          </p:nvSpPr>
          <p:spPr>
            <a:xfrm>
              <a:off x="11348587" y="3855766"/>
              <a:ext cx="300749" cy="303108"/>
            </a:xfrm>
            <a:custGeom>
              <a:avLst/>
              <a:gdLst>
                <a:gd name="connsiteX0" fmla="*/ 121920 w 242887"/>
                <a:gd name="connsiteY0" fmla="*/ 244793 h 244792"/>
                <a:gd name="connsiteX1" fmla="*/ 0 w 242887"/>
                <a:gd name="connsiteY1" fmla="*/ 121920 h 244792"/>
                <a:gd name="connsiteX2" fmla="*/ 121920 w 242887"/>
                <a:gd name="connsiteY2" fmla="*/ 0 h 244792"/>
                <a:gd name="connsiteX3" fmla="*/ 242888 w 242887"/>
                <a:gd name="connsiteY3" fmla="*/ 121920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1920" y="244793"/>
                  </a:moveTo>
                  <a:lnTo>
                    <a:pt x="0" y="121920"/>
                  </a:lnTo>
                  <a:lnTo>
                    <a:pt x="121920" y="0"/>
                  </a:lnTo>
                  <a:lnTo>
                    <a:pt x="242888" y="121920"/>
                  </a:lnTo>
                  <a:close/>
                </a:path>
              </a:pathLst>
            </a:cu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 name="Freihandform: Form 12">
              <a:extLst>
                <a:ext uri="{FF2B5EF4-FFF2-40B4-BE49-F238E27FC236}">
                  <a16:creationId xmlns:a16="http://schemas.microsoft.com/office/drawing/2014/main" id="{C94ADDB0-AB64-4280-B317-A219A4A9D04A}"/>
                </a:ext>
              </a:extLst>
            </p:cNvPr>
            <p:cNvSpPr/>
            <p:nvPr/>
          </p:nvSpPr>
          <p:spPr>
            <a:xfrm>
              <a:off x="9592529" y="2037137"/>
              <a:ext cx="593588" cy="599209"/>
            </a:xfrm>
            <a:custGeom>
              <a:avLst/>
              <a:gdLst>
                <a:gd name="connsiteX0" fmla="*/ 0 w 502919"/>
                <a:gd name="connsiteY0" fmla="*/ 254317 h 507682"/>
                <a:gd name="connsiteX1" fmla="*/ 251460 w 502919"/>
                <a:gd name="connsiteY1" fmla="*/ 507683 h 507682"/>
                <a:gd name="connsiteX2" fmla="*/ 502920 w 502919"/>
                <a:gd name="connsiteY2" fmla="*/ 254317 h 507682"/>
                <a:gd name="connsiteX3" fmla="*/ 251460 w 502919"/>
                <a:gd name="connsiteY3" fmla="*/ 0 h 507682"/>
              </a:gdLst>
              <a:ahLst/>
              <a:cxnLst>
                <a:cxn ang="0">
                  <a:pos x="connsiteX0" y="connsiteY0"/>
                </a:cxn>
                <a:cxn ang="0">
                  <a:pos x="connsiteX1" y="connsiteY1"/>
                </a:cxn>
                <a:cxn ang="0">
                  <a:pos x="connsiteX2" y="connsiteY2"/>
                </a:cxn>
                <a:cxn ang="0">
                  <a:pos x="connsiteX3" y="connsiteY3"/>
                </a:cxn>
              </a:cxnLst>
              <a:rect l="l" t="t" r="r" b="b"/>
              <a:pathLst>
                <a:path w="502919" h="507682">
                  <a:moveTo>
                    <a:pt x="0" y="254317"/>
                  </a:moveTo>
                  <a:lnTo>
                    <a:pt x="251460" y="507683"/>
                  </a:lnTo>
                  <a:lnTo>
                    <a:pt x="502920" y="254317"/>
                  </a:lnTo>
                  <a:lnTo>
                    <a:pt x="251460" y="0"/>
                  </a:lnTo>
                  <a:close/>
                </a:path>
              </a:pathLst>
            </a:custGeom>
            <a:solidFill>
              <a:srgbClr val="00B4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 name="Freihandform: Form 13">
              <a:extLst>
                <a:ext uri="{FF2B5EF4-FFF2-40B4-BE49-F238E27FC236}">
                  <a16:creationId xmlns:a16="http://schemas.microsoft.com/office/drawing/2014/main" id="{60AC3D7C-D55E-4B52-982E-6A91DCF0D995}"/>
                </a:ext>
              </a:extLst>
            </p:cNvPr>
            <p:cNvSpPr/>
            <p:nvPr/>
          </p:nvSpPr>
          <p:spPr>
            <a:xfrm>
              <a:off x="10070273" y="3572952"/>
              <a:ext cx="790721" cy="78854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 name="Freihandform: Form 14">
              <a:extLst>
                <a:ext uri="{FF2B5EF4-FFF2-40B4-BE49-F238E27FC236}">
                  <a16:creationId xmlns:a16="http://schemas.microsoft.com/office/drawing/2014/main" id="{1A2CAB63-646D-4CFB-8482-1E2135FF5EAE}"/>
                </a:ext>
              </a:extLst>
            </p:cNvPr>
            <p:cNvSpPr/>
            <p:nvPr/>
          </p:nvSpPr>
          <p:spPr>
            <a:xfrm>
              <a:off x="9819952" y="2923576"/>
              <a:ext cx="467570" cy="47123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 name="Freihandform: Form 15">
              <a:extLst>
                <a:ext uri="{FF2B5EF4-FFF2-40B4-BE49-F238E27FC236}">
                  <a16:creationId xmlns:a16="http://schemas.microsoft.com/office/drawing/2014/main" id="{E72659B1-9140-4DD7-82B6-917AE85191C7}"/>
                </a:ext>
              </a:extLst>
            </p:cNvPr>
            <p:cNvSpPr/>
            <p:nvPr/>
          </p:nvSpPr>
          <p:spPr>
            <a:xfrm>
              <a:off x="11293117" y="2090232"/>
              <a:ext cx="593588" cy="599428"/>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 name="Freihandform: Form 16">
              <a:extLst>
                <a:ext uri="{FF2B5EF4-FFF2-40B4-BE49-F238E27FC236}">
                  <a16:creationId xmlns:a16="http://schemas.microsoft.com/office/drawing/2014/main" id="{3A8F46B5-C30C-477C-9C78-8ADE672C4969}"/>
                </a:ext>
              </a:extLst>
            </p:cNvPr>
            <p:cNvSpPr/>
            <p:nvPr/>
          </p:nvSpPr>
          <p:spPr>
            <a:xfrm rot="18899514">
              <a:off x="8283923" y="2772681"/>
              <a:ext cx="1084084" cy="1084084"/>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 name="Freihandform: Form 17">
              <a:extLst>
                <a:ext uri="{FF2B5EF4-FFF2-40B4-BE49-F238E27FC236}">
                  <a16:creationId xmlns:a16="http://schemas.microsoft.com/office/drawing/2014/main" id="{BC5EA122-F1B2-4098-8EAA-E4E066C0BE04}"/>
                </a:ext>
              </a:extLst>
            </p:cNvPr>
            <p:cNvSpPr/>
            <p:nvPr/>
          </p:nvSpPr>
          <p:spPr>
            <a:xfrm rot="18899514">
              <a:off x="12056480" y="394168"/>
              <a:ext cx="655807" cy="655807"/>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59A1D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pic>
        <p:nvPicPr>
          <p:cNvPr id="19" name="Grafik 18">
            <a:extLst>
              <a:ext uri="{FF2B5EF4-FFF2-40B4-BE49-F238E27FC236}">
                <a16:creationId xmlns:a16="http://schemas.microsoft.com/office/drawing/2014/main" id="{0167E75C-35CD-4DB9-8B7C-CC46985C806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20" name="Gruppieren 19">
            <a:extLst>
              <a:ext uri="{FF2B5EF4-FFF2-40B4-BE49-F238E27FC236}">
                <a16:creationId xmlns:a16="http://schemas.microsoft.com/office/drawing/2014/main" id="{70C0D4D5-6F30-4FE2-8597-4651DD55614E}"/>
              </a:ext>
            </a:extLst>
          </p:cNvPr>
          <p:cNvGrpSpPr/>
          <p:nvPr userDrawn="1"/>
        </p:nvGrpSpPr>
        <p:grpSpPr>
          <a:xfrm>
            <a:off x="1" y="5042376"/>
            <a:ext cx="12191998" cy="36000"/>
            <a:chOff x="1" y="5042376"/>
            <a:chExt cx="12191998" cy="36000"/>
          </a:xfrm>
        </p:grpSpPr>
        <p:sp>
          <p:nvSpPr>
            <p:cNvPr id="21" name="Rechteck 20">
              <a:extLst>
                <a:ext uri="{FF2B5EF4-FFF2-40B4-BE49-F238E27FC236}">
                  <a16:creationId xmlns:a16="http://schemas.microsoft.com/office/drawing/2014/main" id="{DE0EE4B5-435F-4C5B-8C3B-4A1183CB5442}"/>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22" name="Rechteck 21">
              <a:extLst>
                <a:ext uri="{FF2B5EF4-FFF2-40B4-BE49-F238E27FC236}">
                  <a16:creationId xmlns:a16="http://schemas.microsoft.com/office/drawing/2014/main" id="{78F763E1-265C-4AC9-A9AD-47FC6AB5E7F1}"/>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3" name="Grafik 22">
            <a:extLst>
              <a:ext uri="{FF2B5EF4-FFF2-40B4-BE49-F238E27FC236}">
                <a16:creationId xmlns:a16="http://schemas.microsoft.com/office/drawing/2014/main" id="{793421E3-6FA2-4D4D-A0A4-7C55501AE14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sp>
        <p:nvSpPr>
          <p:cNvPr id="26" name="Titel 25">
            <a:extLst>
              <a:ext uri="{FF2B5EF4-FFF2-40B4-BE49-F238E27FC236}">
                <a16:creationId xmlns:a16="http://schemas.microsoft.com/office/drawing/2014/main" id="{9376D129-73BE-4338-8F4F-FE4684BC6E84}"/>
              </a:ext>
            </a:extLst>
          </p:cNvPr>
          <p:cNvSpPr>
            <a:spLocks noGrp="1"/>
          </p:cNvSpPr>
          <p:nvPr>
            <p:ph type="title" hasCustomPrompt="1"/>
          </p:nvPr>
        </p:nvSpPr>
        <p:spPr>
          <a:xfrm>
            <a:off x="947738" y="300070"/>
            <a:ext cx="6130977" cy="4116794"/>
          </a:xfrm>
        </p:spPr>
        <p:txBody>
          <a:bodyPr>
            <a:normAutofit/>
          </a:bodyPr>
          <a:lstStyle>
            <a:lvl1pPr>
              <a:lnSpc>
                <a:spcPct val="100000"/>
              </a:lnSpc>
              <a:spcAft>
                <a:spcPts val="600"/>
              </a:spcAft>
              <a:defRPr lang="de-DE" sz="6600" kern="1200" smtClean="0">
                <a:solidFill>
                  <a:schemeClr val="bg1"/>
                </a:solidFill>
                <a:latin typeface="+mj-lt"/>
                <a:ea typeface="+mn-ea"/>
                <a:cs typeface="Arial" panose="020B0604020202020204" pitchFamily="34" charset="0"/>
              </a:defRPr>
            </a:lvl1pPr>
          </a:lstStyle>
          <a:p>
            <a:r>
              <a:rPr lang="de-DE"/>
              <a:t>Add Title</a:t>
            </a:r>
            <a:br>
              <a:rPr lang="de-DE"/>
            </a:br>
            <a:r>
              <a:rPr lang="de-DE" err="1"/>
              <a:t>here</a:t>
            </a:r>
            <a:endParaRPr lang="en-US"/>
          </a:p>
        </p:txBody>
      </p:sp>
    </p:spTree>
    <p:extLst>
      <p:ext uri="{BB962C8B-B14F-4D97-AF65-F5344CB8AC3E}">
        <p14:creationId xmlns:p14="http://schemas.microsoft.com/office/powerpoint/2010/main" val="14882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3" name="Content Placeholder 2"/>
          <p:cNvSpPr>
            <a:spLocks noGrp="1"/>
          </p:cNvSpPr>
          <p:nvPr>
            <p:ph idx="13"/>
          </p:nvPr>
        </p:nvSpPr>
        <p:spPr>
          <a:xfrm>
            <a:off x="947738" y="1337185"/>
            <a:ext cx="10296525" cy="5008053"/>
          </a:xfrm>
          <a:effectLst/>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p:cNvSpPr>
            <a:spLocks noGrp="1"/>
          </p:cNvSpPr>
          <p:nvPr>
            <p:ph sz="quarter" idx="14" hasCustomPrompt="1"/>
          </p:nvPr>
        </p:nvSpPr>
        <p:spPr>
          <a:xfrm>
            <a:off x="947737" y="762409"/>
            <a:ext cx="10296525" cy="427294"/>
          </a:xfrm>
        </p:spPr>
        <p:txBody>
          <a:bodyPr anchor="ctr">
            <a:noAutofit/>
          </a:bodyPr>
          <a:lstStyle>
            <a:lvl1pPr marL="0" indent="0">
              <a:buNone/>
              <a:defRPr sz="2000" baseline="0">
                <a:solidFill>
                  <a:srgbClr val="8A9CA4"/>
                </a:solidFill>
              </a:defRPr>
            </a:lvl1pPr>
          </a:lstStyle>
          <a:p>
            <a:pPr lvl="0"/>
            <a:r>
              <a:rPr lang="en-US"/>
              <a:t>Click to edit Subtitle style</a:t>
            </a:r>
          </a:p>
        </p:txBody>
      </p:sp>
      <p:sp>
        <p:nvSpPr>
          <p:cNvPr id="5" name="Title 1"/>
          <p:cNvSpPr>
            <a:spLocks noGrp="1"/>
          </p:cNvSpPr>
          <p:nvPr>
            <p:ph type="title"/>
          </p:nvPr>
        </p:nvSpPr>
        <p:spPr>
          <a:xfrm>
            <a:off x="947737" y="74087"/>
            <a:ext cx="9468000" cy="545346"/>
          </a:xfrm>
        </p:spPr>
        <p:txBody>
          <a:bodyPr>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19091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Subtitle-Free-Content">
    <p:spTree>
      <p:nvGrpSpPr>
        <p:cNvPr id="1" name=""/>
        <p:cNvGrpSpPr/>
        <p:nvPr/>
      </p:nvGrpSpPr>
      <p:grpSpPr>
        <a:xfrm>
          <a:off x="0" y="0"/>
          <a:ext cx="0" cy="0"/>
          <a:chOff x="0" y="0"/>
          <a:chExt cx="0" cy="0"/>
        </a:xfrm>
      </p:grpSpPr>
      <p:sp>
        <p:nvSpPr>
          <p:cNvPr id="4" name="Content Placeholder 18"/>
          <p:cNvSpPr>
            <a:spLocks noGrp="1"/>
          </p:cNvSpPr>
          <p:nvPr>
            <p:ph sz="quarter" idx="14" hasCustomPrompt="1"/>
          </p:nvPr>
        </p:nvSpPr>
        <p:spPr>
          <a:xfrm>
            <a:off x="947738" y="762409"/>
            <a:ext cx="10296526" cy="427294"/>
          </a:xfrm>
        </p:spPr>
        <p:txBody>
          <a:bodyPr anchor="ctr">
            <a:noAutofit/>
          </a:bodyPr>
          <a:lstStyle>
            <a:lvl1pPr marL="0" indent="0">
              <a:buNone/>
              <a:defRPr sz="2000" baseline="0">
                <a:solidFill>
                  <a:srgbClr val="8A9CA4"/>
                </a:solidFill>
              </a:defRPr>
            </a:lvl1pPr>
          </a:lstStyle>
          <a:p>
            <a:pPr lvl="0"/>
            <a:r>
              <a:rPr lang="en-US"/>
              <a:t>Click to edit Subtitle style</a:t>
            </a:r>
          </a:p>
        </p:txBody>
      </p:sp>
      <p:sp>
        <p:nvSpPr>
          <p:cNvPr id="5" name="Title 1"/>
          <p:cNvSpPr>
            <a:spLocks noGrp="1"/>
          </p:cNvSpPr>
          <p:nvPr>
            <p:ph type="title"/>
          </p:nvPr>
        </p:nvSpPr>
        <p:spPr>
          <a:xfrm>
            <a:off x="947738" y="74087"/>
            <a:ext cx="9468000" cy="545346"/>
          </a:xfrm>
        </p:spPr>
        <p:txBody>
          <a:bodyPr>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302953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Subtitle-Free-Content">
    <p:spTree>
      <p:nvGrpSpPr>
        <p:cNvPr id="1" name=""/>
        <p:cNvGrpSpPr/>
        <p:nvPr/>
      </p:nvGrpSpPr>
      <p:grpSpPr>
        <a:xfrm>
          <a:off x="0" y="0"/>
          <a:ext cx="0" cy="0"/>
          <a:chOff x="0" y="0"/>
          <a:chExt cx="0" cy="0"/>
        </a:xfrm>
      </p:grpSpPr>
      <p:sp>
        <p:nvSpPr>
          <p:cNvPr id="5" name="Title 1"/>
          <p:cNvSpPr>
            <a:spLocks noGrp="1"/>
          </p:cNvSpPr>
          <p:nvPr>
            <p:ph type="title"/>
          </p:nvPr>
        </p:nvSpPr>
        <p:spPr>
          <a:xfrm>
            <a:off x="1562100" y="74087"/>
            <a:ext cx="8853637" cy="545346"/>
          </a:xfrm>
        </p:spPr>
        <p:txBody>
          <a:bodyPr>
            <a:noAutofit/>
          </a:bodyPr>
          <a:lstStyle>
            <a:lvl1pPr>
              <a:defRPr sz="2800">
                <a:solidFill>
                  <a:srgbClr val="0068B4"/>
                </a:solidFill>
              </a:defRPr>
            </a:lvl1pPr>
          </a:lstStyle>
          <a:p>
            <a:r>
              <a:rPr lang="en-US"/>
              <a:t>Click to edit Master title style</a:t>
            </a:r>
          </a:p>
        </p:txBody>
      </p:sp>
      <p:pic>
        <p:nvPicPr>
          <p:cNvPr id="2" name="Grafik 5">
            <a:extLst>
              <a:ext uri="{FF2B5EF4-FFF2-40B4-BE49-F238E27FC236}">
                <a16:creationId xmlns:a16="http://schemas.microsoft.com/office/drawing/2014/main" id="{5ED73003-1C93-C2FB-EE01-144102E5210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7738" y="74085"/>
            <a:ext cx="426052" cy="545347"/>
          </a:xfrm>
          <a:prstGeom prst="rect">
            <a:avLst/>
          </a:prstGeom>
        </p:spPr>
      </p:pic>
    </p:spTree>
    <p:extLst>
      <p:ext uri="{BB962C8B-B14F-4D97-AF65-F5344CB8AC3E}">
        <p14:creationId xmlns:p14="http://schemas.microsoft.com/office/powerpoint/2010/main" val="330846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only-Free-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947738" y="74087"/>
            <a:ext cx="9468000" cy="545346"/>
          </a:xfrm>
        </p:spPr>
        <p:txBody>
          <a:bodyPr lIns="0">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275043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74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47738" y="1332680"/>
            <a:ext cx="5003800" cy="5004000"/>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0462" y="1332680"/>
            <a:ext cx="5003799" cy="5004000"/>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8"/>
          <p:cNvSpPr>
            <a:spLocks noGrp="1"/>
          </p:cNvSpPr>
          <p:nvPr>
            <p:ph sz="quarter" idx="13" hasCustomPrompt="1"/>
          </p:nvPr>
        </p:nvSpPr>
        <p:spPr>
          <a:xfrm>
            <a:off x="947737" y="762409"/>
            <a:ext cx="10296527" cy="427294"/>
          </a:xfrm>
        </p:spPr>
        <p:txBody>
          <a:bodyPr>
            <a:noAutofit/>
          </a:bodyPr>
          <a:lstStyle>
            <a:lvl1pPr marL="0" indent="0">
              <a:buNone/>
              <a:defRPr sz="2000" baseline="0">
                <a:solidFill>
                  <a:srgbClr val="8A9CA4"/>
                </a:solidFill>
              </a:defRPr>
            </a:lvl1pPr>
          </a:lstStyle>
          <a:p>
            <a:pPr lvl="0"/>
            <a:r>
              <a:rPr lang="en-US"/>
              <a:t>Click to edit Subtitle style</a:t>
            </a:r>
          </a:p>
        </p:txBody>
      </p:sp>
      <p:sp>
        <p:nvSpPr>
          <p:cNvPr id="11" name="Title 1"/>
          <p:cNvSpPr>
            <a:spLocks noGrp="1"/>
          </p:cNvSpPr>
          <p:nvPr>
            <p:ph type="title"/>
          </p:nvPr>
        </p:nvSpPr>
        <p:spPr>
          <a:xfrm>
            <a:off x="947738" y="74087"/>
            <a:ext cx="9468000" cy="545346"/>
          </a:xfrm>
        </p:spPr>
        <p:txBody>
          <a:bodyPr>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292052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Content_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47737" y="3146323"/>
            <a:ext cx="5003801" cy="3204000"/>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0463" y="3146323"/>
            <a:ext cx="5003802" cy="3198915"/>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3"/>
          </p:nvPr>
        </p:nvSpPr>
        <p:spPr>
          <a:xfrm>
            <a:off x="947738" y="1337186"/>
            <a:ext cx="10296525" cy="1720647"/>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p:cNvSpPr>
            <a:spLocks noGrp="1"/>
          </p:cNvSpPr>
          <p:nvPr>
            <p:ph sz="quarter" idx="14" hasCustomPrompt="1"/>
          </p:nvPr>
        </p:nvSpPr>
        <p:spPr>
          <a:xfrm>
            <a:off x="947737" y="762409"/>
            <a:ext cx="10296525" cy="427294"/>
          </a:xfrm>
        </p:spPr>
        <p:txBody>
          <a:bodyPr anchor="ctr">
            <a:noAutofit/>
          </a:bodyPr>
          <a:lstStyle>
            <a:lvl1pPr marL="0" indent="0">
              <a:buNone/>
              <a:defRPr sz="2000" baseline="0">
                <a:solidFill>
                  <a:srgbClr val="8A9CA4"/>
                </a:solidFill>
              </a:defRPr>
            </a:lvl1pPr>
          </a:lstStyle>
          <a:p>
            <a:pPr lvl="0"/>
            <a:r>
              <a:rPr lang="en-US"/>
              <a:t>Click to edit Subtitle style</a:t>
            </a:r>
          </a:p>
        </p:txBody>
      </p:sp>
      <p:sp>
        <p:nvSpPr>
          <p:cNvPr id="12" name="Title 1"/>
          <p:cNvSpPr>
            <a:spLocks noGrp="1"/>
          </p:cNvSpPr>
          <p:nvPr>
            <p:ph type="title"/>
          </p:nvPr>
        </p:nvSpPr>
        <p:spPr>
          <a:xfrm>
            <a:off x="947737" y="74087"/>
            <a:ext cx="9468000" cy="545346"/>
          </a:xfrm>
        </p:spPr>
        <p:txBody>
          <a:bodyPr>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71740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Contents-One-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47737" y="1337186"/>
            <a:ext cx="5003801" cy="3030640"/>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40463" y="1337186"/>
            <a:ext cx="5003802" cy="3030640"/>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3"/>
          </p:nvPr>
        </p:nvSpPr>
        <p:spPr>
          <a:xfrm>
            <a:off x="947738" y="4454011"/>
            <a:ext cx="10296526" cy="1891227"/>
          </a:xfrm>
          <a:effectLst/>
        </p:spPr>
        <p:txBody>
          <a:bodyPr>
            <a:no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p:cNvSpPr>
            <a:spLocks noGrp="1"/>
          </p:cNvSpPr>
          <p:nvPr>
            <p:ph sz="quarter" idx="14" hasCustomPrompt="1"/>
          </p:nvPr>
        </p:nvSpPr>
        <p:spPr>
          <a:xfrm>
            <a:off x="947738" y="762409"/>
            <a:ext cx="10296526" cy="427294"/>
          </a:xfrm>
        </p:spPr>
        <p:txBody>
          <a:bodyPr anchor="ctr">
            <a:noAutofit/>
          </a:bodyPr>
          <a:lstStyle>
            <a:lvl1pPr marL="0" indent="0">
              <a:buNone/>
              <a:defRPr sz="2000" baseline="0">
                <a:solidFill>
                  <a:srgbClr val="8A9CA4"/>
                </a:solidFill>
              </a:defRPr>
            </a:lvl1pPr>
          </a:lstStyle>
          <a:p>
            <a:pPr lvl="0"/>
            <a:r>
              <a:rPr lang="en-US"/>
              <a:t>Click to edit Subtitle style</a:t>
            </a:r>
          </a:p>
        </p:txBody>
      </p:sp>
      <p:sp>
        <p:nvSpPr>
          <p:cNvPr id="12" name="Title 1"/>
          <p:cNvSpPr>
            <a:spLocks noGrp="1"/>
          </p:cNvSpPr>
          <p:nvPr>
            <p:ph type="title"/>
          </p:nvPr>
        </p:nvSpPr>
        <p:spPr>
          <a:xfrm>
            <a:off x="947737" y="74087"/>
            <a:ext cx="9468000" cy="545346"/>
          </a:xfrm>
        </p:spPr>
        <p:txBody>
          <a:bodyPr>
            <a:noAutofit/>
          </a:bodyPr>
          <a:lstStyle>
            <a:lvl1pPr>
              <a:defRPr sz="2800">
                <a:solidFill>
                  <a:srgbClr val="0068B4"/>
                </a:solidFill>
              </a:defRPr>
            </a:lvl1pPr>
          </a:lstStyle>
          <a:p>
            <a:r>
              <a:rPr lang="en-US"/>
              <a:t>Click to edit Master title style</a:t>
            </a:r>
          </a:p>
        </p:txBody>
      </p:sp>
    </p:spTree>
    <p:extLst>
      <p:ext uri="{BB962C8B-B14F-4D97-AF65-F5344CB8AC3E}">
        <p14:creationId xmlns:p14="http://schemas.microsoft.com/office/powerpoint/2010/main" val="4001439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TS – DE">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FEE914A0-87B2-444E-82FE-9CB6C9DA6B5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13" t="1926"/>
          <a:stretch/>
        </p:blipFill>
        <p:spPr>
          <a:xfrm>
            <a:off x="0" y="-11393"/>
            <a:ext cx="9298728" cy="6210542"/>
          </a:xfrm>
          <a:prstGeom prst="rect">
            <a:avLst/>
          </a:prstGeom>
        </p:spPr>
      </p:pic>
      <p:sp>
        <p:nvSpPr>
          <p:cNvPr id="21" name="Rechteck 20">
            <a:extLst>
              <a:ext uri="{FF2B5EF4-FFF2-40B4-BE49-F238E27FC236}">
                <a16:creationId xmlns:a16="http://schemas.microsoft.com/office/drawing/2014/main" id="{8C3DC03C-5E39-4246-9A7E-05B1B7D2EE3F}"/>
              </a:ext>
            </a:extLst>
          </p:cNvPr>
          <p:cNvSpPr/>
          <p:nvPr userDrawn="1"/>
        </p:nvSpPr>
        <p:spPr>
          <a:xfrm>
            <a:off x="0" y="4740743"/>
            <a:ext cx="12192000" cy="2117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fik 45">
            <a:extLst>
              <a:ext uri="{FF2B5EF4-FFF2-40B4-BE49-F238E27FC236}">
                <a16:creationId xmlns:a16="http://schemas.microsoft.com/office/drawing/2014/main" id="{8762C689-B4FB-4E59-91AB-51F8C2A44C49}"/>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77820" y="5336695"/>
            <a:ext cx="2070215" cy="462676"/>
          </a:xfrm>
          <a:prstGeom prst="rect">
            <a:avLst/>
          </a:prstGeom>
        </p:spPr>
      </p:pic>
      <p:sp>
        <p:nvSpPr>
          <p:cNvPr id="66" name="Untertitel 2">
            <a:extLst>
              <a:ext uri="{FF2B5EF4-FFF2-40B4-BE49-F238E27FC236}">
                <a16:creationId xmlns:a16="http://schemas.microsoft.com/office/drawing/2014/main" id="{8FB40196-9313-47AD-99B3-2AA42BC6799A}"/>
              </a:ext>
            </a:extLst>
          </p:cNvPr>
          <p:cNvSpPr txBox="1">
            <a:spLocks/>
          </p:cNvSpPr>
          <p:nvPr userDrawn="1"/>
        </p:nvSpPr>
        <p:spPr>
          <a:xfrm>
            <a:off x="947738" y="5285305"/>
            <a:ext cx="4736782" cy="900371"/>
          </a:xfrm>
          <a:prstGeom prst="rect">
            <a:avLst/>
          </a:prstGeom>
        </p:spPr>
        <p:txBody>
          <a:bodyPr lIns="0" tIns="0" rIns="0" bIns="0" numCol="2"/>
          <a:lstStyle/>
          <a:p>
            <a:pPr lvl="0" algn="l" eaLnBrk="0" hangingPunct="0">
              <a:lnSpc>
                <a:spcPct val="100000"/>
              </a:lnSpc>
              <a:spcBef>
                <a:spcPts val="0"/>
              </a:spcBef>
              <a:spcAft>
                <a:spcPts val="300"/>
              </a:spcAft>
              <a:buNone/>
              <a:tabLst>
                <a:tab pos="555625" algn="l"/>
              </a:tabLst>
              <a:defRPr/>
            </a:pPr>
            <a:r>
              <a:rPr lang="de-DE" sz="1400" b="1" i="0" kern="0">
                <a:solidFill>
                  <a:schemeClr val="accent1"/>
                </a:solidFill>
                <a:latin typeface="Roboto" panose="02000000000000000000" pitchFamily="2" charset="0"/>
                <a:sym typeface="Wingdings" pitchFamily="-65" charset="2"/>
              </a:rPr>
              <a:t>UTIMACO TS GmbH</a:t>
            </a:r>
          </a:p>
          <a:p>
            <a:pPr lvl="0" algn="l" eaLnBrk="0" hangingPunct="0">
              <a:lnSpc>
                <a:spcPct val="100000"/>
              </a:lnSpc>
              <a:spcBef>
                <a:spcPts val="0"/>
              </a:spcBef>
              <a:spcAft>
                <a:spcPts val="300"/>
              </a:spcAft>
              <a:buNone/>
              <a:tabLst>
                <a:tab pos="555625" algn="l"/>
              </a:tabLst>
              <a:defRPr/>
            </a:pPr>
            <a:r>
              <a:rPr lang="en-US" sz="1200" b="0" i="0" kern="0" err="1">
                <a:solidFill>
                  <a:schemeClr val="tx1"/>
                </a:solidFill>
                <a:latin typeface="Roboto" panose="02000000000000000000" pitchFamily="2" charset="0"/>
                <a:sym typeface="Wingdings" pitchFamily="-65" charset="2"/>
              </a:rPr>
              <a:t>Germanusstraße</a:t>
            </a:r>
            <a:r>
              <a:rPr lang="en-US" sz="1200" b="0" i="0" kern="0">
                <a:solidFill>
                  <a:schemeClr val="tx1"/>
                </a:solidFill>
                <a:latin typeface="Roboto" panose="02000000000000000000" pitchFamily="2" charset="0"/>
                <a:sym typeface="Wingdings" pitchFamily="-65" charset="2"/>
              </a:rPr>
              <a:t> 4</a:t>
            </a:r>
            <a:br>
              <a:rPr lang="en-US" sz="1200" b="0" i="0" kern="0">
                <a:solidFill>
                  <a:schemeClr val="tx1"/>
                </a:solidFill>
                <a:latin typeface="Roboto" panose="02000000000000000000" pitchFamily="2" charset="0"/>
                <a:sym typeface="Wingdings" pitchFamily="-65" charset="2"/>
              </a:rPr>
            </a:br>
            <a:r>
              <a:rPr lang="en-US" sz="1200" b="0" i="0" kern="0">
                <a:solidFill>
                  <a:schemeClr val="tx1"/>
                </a:solidFill>
                <a:latin typeface="Roboto" panose="02000000000000000000" pitchFamily="2" charset="0"/>
                <a:sym typeface="Wingdings" pitchFamily="-65" charset="2"/>
              </a:rPr>
              <a:t>52080 Aachen</a:t>
            </a:r>
            <a:br>
              <a:rPr lang="en-US" sz="1200" b="0" i="0" kern="0">
                <a:solidFill>
                  <a:schemeClr val="tx1"/>
                </a:solidFill>
                <a:latin typeface="Roboto" panose="02000000000000000000" pitchFamily="2" charset="0"/>
                <a:sym typeface="Wingdings" pitchFamily="-65" charset="2"/>
              </a:rPr>
            </a:br>
            <a:r>
              <a:rPr lang="en-US" sz="1200" b="0" i="0" kern="0">
                <a:solidFill>
                  <a:schemeClr val="tx1"/>
                </a:solidFill>
                <a:latin typeface="Roboto" panose="02000000000000000000" pitchFamily="2" charset="0"/>
                <a:sym typeface="Wingdings" pitchFamily="-65" charset="2"/>
              </a:rPr>
              <a:t>Germany</a:t>
            </a:r>
            <a:br>
              <a:rPr lang="en-US" sz="1200" b="0" i="0" kern="0">
                <a:solidFill>
                  <a:schemeClr val="tx1"/>
                </a:solidFill>
                <a:latin typeface="Roboto" panose="02000000000000000000" pitchFamily="2" charset="0"/>
                <a:sym typeface="Wingdings" pitchFamily="-65" charset="2"/>
              </a:rPr>
            </a:br>
            <a:endParaRPr lang="en-US" sz="1400" b="0" i="0" kern="0">
              <a:solidFill>
                <a:schemeClr val="tx1"/>
              </a:solidFill>
              <a:latin typeface="Roboto" panose="02000000000000000000" pitchFamily="2" charset="0"/>
              <a:sym typeface="Wingdings" pitchFamily="-65" charset="2"/>
            </a:endParaRPr>
          </a:p>
          <a:p>
            <a:pPr lvl="0" algn="l" eaLnBrk="0" hangingPunct="0">
              <a:lnSpc>
                <a:spcPct val="100000"/>
              </a:lnSpc>
              <a:spcBef>
                <a:spcPts val="0"/>
              </a:spcBef>
              <a:spcAft>
                <a:spcPts val="300"/>
              </a:spcAft>
              <a:buNone/>
              <a:tabLst>
                <a:tab pos="555625" algn="l"/>
              </a:tabLst>
              <a:defRPr/>
            </a:pPr>
            <a:r>
              <a:rPr lang="en-US" sz="1200" b="0" i="0" kern="0">
                <a:solidFill>
                  <a:schemeClr val="tx1"/>
                </a:solidFill>
                <a:latin typeface="Roboto" panose="02000000000000000000" pitchFamily="2" charset="0"/>
                <a:sym typeface="Wingdings" pitchFamily="-65" charset="2"/>
              </a:rPr>
              <a:t>Phone	+49 241 1696-0</a:t>
            </a:r>
            <a:br>
              <a:rPr lang="en-US" sz="1200" b="0" i="0" kern="0">
                <a:solidFill>
                  <a:schemeClr val="tx1"/>
                </a:solidFill>
                <a:latin typeface="Roboto" panose="02000000000000000000" pitchFamily="2" charset="0"/>
                <a:sym typeface="Wingdings" pitchFamily="-65" charset="2"/>
              </a:rPr>
            </a:br>
            <a:r>
              <a:rPr lang="en-US" sz="1200" b="0" i="0" kern="0">
                <a:solidFill>
                  <a:schemeClr val="tx1"/>
                </a:solidFill>
                <a:latin typeface="Roboto" panose="02000000000000000000" pitchFamily="2" charset="0"/>
                <a:sym typeface="Wingdings" pitchFamily="-65" charset="2"/>
              </a:rPr>
              <a:t>Web	</a:t>
            </a:r>
            <a:r>
              <a:rPr lang="de-DE" sz="1200" b="0" i="0" kern="0">
                <a:solidFill>
                  <a:schemeClr val="accent1"/>
                </a:solidFill>
                <a:latin typeface="Roboto" panose="02000000000000000000" pitchFamily="2" charset="0"/>
                <a:sym typeface="Wingdings" pitchFamily="-65" charset="2"/>
                <a:hlinkClick r:id="rId5"/>
              </a:rPr>
              <a:t>lims.utimaco.com</a:t>
            </a:r>
            <a:br>
              <a:rPr lang="de-DE" sz="1200" b="0" i="0" kern="0">
                <a:solidFill>
                  <a:schemeClr val="tx1"/>
                </a:solidFill>
                <a:latin typeface="Roboto" panose="02000000000000000000" pitchFamily="2" charset="0"/>
                <a:sym typeface="Wingdings" pitchFamily="-65" charset="2"/>
              </a:rPr>
            </a:br>
            <a:r>
              <a:rPr lang="de-DE" sz="1200" b="0" i="0" kern="0">
                <a:solidFill>
                  <a:schemeClr val="tx1"/>
                </a:solidFill>
                <a:latin typeface="Roboto" panose="02000000000000000000" pitchFamily="2" charset="0"/>
                <a:sym typeface="Wingdings" pitchFamily="-65" charset="2"/>
              </a:rPr>
              <a:t>E-Mail	</a:t>
            </a:r>
            <a:r>
              <a:rPr lang="de-DE" sz="1200" b="0" i="0" kern="0">
                <a:solidFill>
                  <a:schemeClr val="accent1"/>
                </a:solidFill>
                <a:latin typeface="Roboto" panose="02000000000000000000" pitchFamily="2" charset="0"/>
                <a:sym typeface="Wingdings" pitchFamily="-65" charset="2"/>
                <a:hlinkClick r:id="rId6"/>
              </a:rPr>
              <a:t>li-contact@utimaco.com</a:t>
            </a:r>
            <a:r>
              <a:rPr lang="de-DE" sz="1200" b="0" i="0" kern="0">
                <a:solidFill>
                  <a:schemeClr val="accent1"/>
                </a:solidFill>
                <a:latin typeface="Roboto" panose="02000000000000000000" pitchFamily="2" charset="0"/>
                <a:sym typeface="Wingdings" pitchFamily="-65" charset="2"/>
              </a:rPr>
              <a:t> </a:t>
            </a:r>
            <a:endParaRPr lang="de-DE" sz="960" b="0" i="0" kern="0">
              <a:solidFill>
                <a:schemeClr val="accent1"/>
              </a:solidFill>
              <a:latin typeface="Roboto" panose="02000000000000000000" pitchFamily="2" charset="0"/>
              <a:sym typeface="Wingdings" pitchFamily="-65" charset="2"/>
            </a:endParaRPr>
          </a:p>
        </p:txBody>
      </p:sp>
      <p:sp>
        <p:nvSpPr>
          <p:cNvPr id="18" name="Textfeld 17">
            <a:extLst>
              <a:ext uri="{FF2B5EF4-FFF2-40B4-BE49-F238E27FC236}">
                <a16:creationId xmlns:a16="http://schemas.microsoft.com/office/drawing/2014/main" id="{934B1EF4-0773-4492-94DE-EA2A1564CA6E}"/>
              </a:ext>
            </a:extLst>
          </p:cNvPr>
          <p:cNvSpPr txBox="1"/>
          <p:nvPr userDrawn="1"/>
        </p:nvSpPr>
        <p:spPr>
          <a:xfrm>
            <a:off x="3642360" y="2187136"/>
            <a:ext cx="7601903" cy="2417789"/>
          </a:xfrm>
          <a:prstGeom prst="rect">
            <a:avLst/>
          </a:prstGeom>
        </p:spPr>
        <p:txBody>
          <a:bodyPr vert="horz" wrap="square" lIns="0" tIns="0" rIns="0" bIns="0" rtlCol="0" anchor="t">
            <a:noAutofit/>
          </a:bodyPr>
          <a:lstStyle/>
          <a:p>
            <a:pPr algn="r">
              <a:spcAft>
                <a:spcPts val="600"/>
              </a:spcAft>
            </a:pPr>
            <a:r>
              <a:rPr lang="de-DE" sz="7200" b="1" err="1">
                <a:solidFill>
                  <a:schemeClr val="accent1"/>
                </a:solidFill>
                <a:latin typeface="+mn-lt"/>
              </a:rPr>
              <a:t>Thank</a:t>
            </a:r>
            <a:r>
              <a:rPr lang="de-DE" sz="7200" b="1">
                <a:solidFill>
                  <a:schemeClr val="accent1"/>
                </a:solidFill>
                <a:latin typeface="+mn-lt"/>
              </a:rPr>
              <a:t> </a:t>
            </a:r>
            <a:r>
              <a:rPr lang="de-DE" sz="7200" b="1" err="1">
                <a:solidFill>
                  <a:schemeClr val="accent1"/>
                </a:solidFill>
                <a:latin typeface="+mn-lt"/>
              </a:rPr>
              <a:t>you</a:t>
            </a:r>
            <a:r>
              <a:rPr lang="de-DE" sz="7200" b="1">
                <a:solidFill>
                  <a:schemeClr val="accent1"/>
                </a:solidFill>
                <a:latin typeface="+mn-lt"/>
              </a:rPr>
              <a:t> </a:t>
            </a:r>
            <a:br>
              <a:rPr lang="de-DE" sz="7200" b="0">
                <a:solidFill>
                  <a:schemeClr val="accent1"/>
                </a:solidFill>
                <a:latin typeface="+mn-lt"/>
              </a:rPr>
            </a:br>
            <a:r>
              <a:rPr lang="de-DE" sz="5400" b="0" err="1">
                <a:solidFill>
                  <a:schemeClr val="accent1"/>
                </a:solidFill>
                <a:latin typeface="+mj-lt"/>
              </a:rPr>
              <a:t>for</a:t>
            </a:r>
            <a:r>
              <a:rPr lang="de-DE" sz="5400" b="0">
                <a:solidFill>
                  <a:schemeClr val="accent1"/>
                </a:solidFill>
                <a:latin typeface="+mj-lt"/>
              </a:rPr>
              <a:t> </a:t>
            </a:r>
            <a:r>
              <a:rPr lang="de-DE" sz="5400" b="0" err="1">
                <a:solidFill>
                  <a:schemeClr val="accent1"/>
                </a:solidFill>
                <a:latin typeface="+mj-lt"/>
              </a:rPr>
              <a:t>your</a:t>
            </a:r>
            <a:r>
              <a:rPr lang="de-DE" sz="5400" b="0">
                <a:solidFill>
                  <a:schemeClr val="accent1"/>
                </a:solidFill>
                <a:latin typeface="+mj-lt"/>
              </a:rPr>
              <a:t> </a:t>
            </a:r>
            <a:r>
              <a:rPr lang="de-DE" sz="5400" b="0" err="1">
                <a:solidFill>
                  <a:schemeClr val="accent1"/>
                </a:solidFill>
                <a:latin typeface="+mj-lt"/>
              </a:rPr>
              <a:t>attention</a:t>
            </a:r>
            <a:r>
              <a:rPr lang="de-DE" sz="5400" b="0">
                <a:solidFill>
                  <a:schemeClr val="accent1"/>
                </a:solidFill>
                <a:latin typeface="+mj-lt"/>
              </a:rPr>
              <a:t>!</a:t>
            </a:r>
            <a:endParaRPr lang="en-US" sz="7200" b="0" err="1">
              <a:solidFill>
                <a:schemeClr val="accent1"/>
              </a:solidFill>
              <a:latin typeface="+mj-lt"/>
            </a:endParaRPr>
          </a:p>
        </p:txBody>
      </p:sp>
      <p:grpSp>
        <p:nvGrpSpPr>
          <p:cNvPr id="6" name="Gruppieren 5">
            <a:extLst>
              <a:ext uri="{FF2B5EF4-FFF2-40B4-BE49-F238E27FC236}">
                <a16:creationId xmlns:a16="http://schemas.microsoft.com/office/drawing/2014/main" id="{46A316B6-1465-437A-867F-3EC6D3B1FEE3}"/>
              </a:ext>
            </a:extLst>
          </p:cNvPr>
          <p:cNvGrpSpPr/>
          <p:nvPr userDrawn="1"/>
        </p:nvGrpSpPr>
        <p:grpSpPr>
          <a:xfrm>
            <a:off x="-1" y="4651679"/>
            <a:ext cx="12192000" cy="426697"/>
            <a:chOff x="-1" y="4651679"/>
            <a:chExt cx="12192000" cy="426697"/>
          </a:xfrm>
        </p:grpSpPr>
        <p:grpSp>
          <p:nvGrpSpPr>
            <p:cNvPr id="22" name="Gruppieren 21">
              <a:extLst>
                <a:ext uri="{FF2B5EF4-FFF2-40B4-BE49-F238E27FC236}">
                  <a16:creationId xmlns:a16="http://schemas.microsoft.com/office/drawing/2014/main" id="{B6A23740-0216-4BA7-B69E-C8E3B4798D08}"/>
                </a:ext>
              </a:extLst>
            </p:cNvPr>
            <p:cNvGrpSpPr/>
            <p:nvPr userDrawn="1"/>
          </p:nvGrpSpPr>
          <p:grpSpPr>
            <a:xfrm>
              <a:off x="1" y="5042376"/>
              <a:ext cx="12191998" cy="36000"/>
              <a:chOff x="1" y="5042376"/>
              <a:chExt cx="12191998" cy="36000"/>
            </a:xfrm>
          </p:grpSpPr>
          <p:sp>
            <p:nvSpPr>
              <p:cNvPr id="23" name="Rechteck 22">
                <a:extLst>
                  <a:ext uri="{FF2B5EF4-FFF2-40B4-BE49-F238E27FC236}">
                    <a16:creationId xmlns:a16="http://schemas.microsoft.com/office/drawing/2014/main" id="{B79754F7-B60C-4C38-9279-D179A1202DA5}"/>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24" name="Rechteck 23">
                <a:extLst>
                  <a:ext uri="{FF2B5EF4-FFF2-40B4-BE49-F238E27FC236}">
                    <a16:creationId xmlns:a16="http://schemas.microsoft.com/office/drawing/2014/main" id="{817B8115-3969-4B87-83FB-BE99E48F14E2}"/>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sp>
          <p:nvSpPr>
            <p:cNvPr id="25" name="Freihandform: Form 24">
              <a:extLst>
                <a:ext uri="{FF2B5EF4-FFF2-40B4-BE49-F238E27FC236}">
                  <a16:creationId xmlns:a16="http://schemas.microsoft.com/office/drawing/2014/main" id="{A4F54886-832D-449E-8B09-157C9380FFD2}"/>
                </a:ext>
              </a:extLst>
            </p:cNvPr>
            <p:cNvSpPr/>
            <p:nvPr userDrawn="1"/>
          </p:nvSpPr>
          <p:spPr>
            <a:xfrm>
              <a:off x="-1" y="4651679"/>
              <a:ext cx="12191999" cy="354374"/>
            </a:xfrm>
            <a:custGeom>
              <a:avLst/>
              <a:gdLst>
                <a:gd name="connsiteX0" fmla="*/ 0 w 12192000"/>
                <a:gd name="connsiteY0" fmla="*/ 0 h 439299"/>
                <a:gd name="connsiteX1" fmla="*/ 12192000 w 12192000"/>
                <a:gd name="connsiteY1" fmla="*/ 0 h 439299"/>
                <a:gd name="connsiteX2" fmla="*/ 12192000 w 12192000"/>
                <a:gd name="connsiteY2" fmla="*/ 439299 h 439299"/>
                <a:gd name="connsiteX3" fmla="*/ 0 w 12192000"/>
                <a:gd name="connsiteY3" fmla="*/ 439299 h 439299"/>
              </a:gdLst>
              <a:ahLst/>
              <a:cxnLst>
                <a:cxn ang="0">
                  <a:pos x="connsiteX0" y="connsiteY0"/>
                </a:cxn>
                <a:cxn ang="0">
                  <a:pos x="connsiteX1" y="connsiteY1"/>
                </a:cxn>
                <a:cxn ang="0">
                  <a:pos x="connsiteX2" y="connsiteY2"/>
                </a:cxn>
                <a:cxn ang="0">
                  <a:pos x="connsiteX3" y="connsiteY3"/>
                </a:cxn>
              </a:cxnLst>
              <a:rect l="l" t="t" r="r" b="b"/>
              <a:pathLst>
                <a:path w="12192000" h="439299">
                  <a:moveTo>
                    <a:pt x="0" y="0"/>
                  </a:moveTo>
                  <a:lnTo>
                    <a:pt x="12192000" y="0"/>
                  </a:lnTo>
                  <a:lnTo>
                    <a:pt x="12192000" y="439299"/>
                  </a:lnTo>
                  <a:lnTo>
                    <a:pt x="0" y="439299"/>
                  </a:lnTo>
                  <a:close/>
                </a:path>
              </a:pathLst>
            </a:custGeom>
            <a:solidFill>
              <a:srgbClr val="EFF0F1"/>
            </a:solidFill>
            <a:ln w="19352" cap="flat">
              <a:noFill/>
              <a:prstDash val="solid"/>
              <a:miter/>
            </a:ln>
          </p:spPr>
          <p:txBody>
            <a:bodyPr rtlCol="0" anchor="ctr"/>
            <a:lstStyle/>
            <a:p>
              <a:endParaRPr lang="en-US"/>
            </a:p>
          </p:txBody>
        </p:sp>
        <p:sp>
          <p:nvSpPr>
            <p:cNvPr id="4" name="Freihandform: Form 3">
              <a:extLst>
                <a:ext uri="{FF2B5EF4-FFF2-40B4-BE49-F238E27FC236}">
                  <a16:creationId xmlns:a16="http://schemas.microsoft.com/office/drawing/2014/main" id="{31302832-4BE6-4FB4-943A-8E8AA04E5AC8}"/>
                </a:ext>
              </a:extLst>
            </p:cNvPr>
            <p:cNvSpPr/>
            <p:nvPr userDrawn="1"/>
          </p:nvSpPr>
          <p:spPr>
            <a:xfrm>
              <a:off x="10707629" y="4731296"/>
              <a:ext cx="196701" cy="198262"/>
            </a:xfrm>
            <a:custGeom>
              <a:avLst/>
              <a:gdLst>
                <a:gd name="connsiteX0" fmla="*/ 135467 w 243840"/>
                <a:gd name="connsiteY0" fmla="*/ 160625 h 245775"/>
                <a:gd name="connsiteX1" fmla="*/ 166431 w 243840"/>
                <a:gd name="connsiteY1" fmla="*/ 123855 h 245775"/>
                <a:gd name="connsiteX2" fmla="*/ 193524 w 243840"/>
                <a:gd name="connsiteY2" fmla="*/ 160625 h 245775"/>
                <a:gd name="connsiteX3" fmla="*/ 193524 w 243840"/>
                <a:gd name="connsiteY3" fmla="*/ 245775 h 245775"/>
                <a:gd name="connsiteX4" fmla="*/ 243840 w 243840"/>
                <a:gd name="connsiteY4" fmla="*/ 245775 h 245775"/>
                <a:gd name="connsiteX5" fmla="*/ 243840 w 243840"/>
                <a:gd name="connsiteY5" fmla="*/ 143208 h 245775"/>
                <a:gd name="connsiteX6" fmla="*/ 183848 w 243840"/>
                <a:gd name="connsiteY6" fmla="*/ 77410 h 245775"/>
                <a:gd name="connsiteX7" fmla="*/ 135467 w 243840"/>
                <a:gd name="connsiteY7" fmla="*/ 104503 h 245775"/>
                <a:gd name="connsiteX8" fmla="*/ 135467 w 243840"/>
                <a:gd name="connsiteY8" fmla="*/ 83215 h 245775"/>
                <a:gd name="connsiteX9" fmla="*/ 87086 w 243840"/>
                <a:gd name="connsiteY9" fmla="*/ 83215 h 245775"/>
                <a:gd name="connsiteX10" fmla="*/ 87086 w 243840"/>
                <a:gd name="connsiteY10" fmla="*/ 245775 h 245775"/>
                <a:gd name="connsiteX11" fmla="*/ 135467 w 243840"/>
                <a:gd name="connsiteY11" fmla="*/ 245775 h 245775"/>
                <a:gd name="connsiteX12" fmla="*/ 135467 w 243840"/>
                <a:gd name="connsiteY12" fmla="*/ 160625 h 245775"/>
                <a:gd name="connsiteX13" fmla="*/ 29029 w 243840"/>
                <a:gd name="connsiteY13" fmla="*/ 61928 h 245775"/>
                <a:gd name="connsiteX14" fmla="*/ 58057 w 243840"/>
                <a:gd name="connsiteY14" fmla="*/ 30964 h 245775"/>
                <a:gd name="connsiteX15" fmla="*/ 29029 w 243840"/>
                <a:gd name="connsiteY15" fmla="*/ 0 h 245775"/>
                <a:gd name="connsiteX16" fmla="*/ 0 w 243840"/>
                <a:gd name="connsiteY16" fmla="*/ 30964 h 245775"/>
                <a:gd name="connsiteX17" fmla="*/ 29029 w 243840"/>
                <a:gd name="connsiteY17" fmla="*/ 61928 h 245775"/>
                <a:gd name="connsiteX18" fmla="*/ 3871 w 243840"/>
                <a:gd name="connsiteY18" fmla="*/ 83215 h 245775"/>
                <a:gd name="connsiteX19" fmla="*/ 54187 w 243840"/>
                <a:gd name="connsiteY19" fmla="*/ 83215 h 245775"/>
                <a:gd name="connsiteX20" fmla="*/ 54187 w 243840"/>
                <a:gd name="connsiteY20" fmla="*/ 245775 h 245775"/>
                <a:gd name="connsiteX21" fmla="*/ 3871 w 243840"/>
                <a:gd name="connsiteY21" fmla="*/ 245775 h 245775"/>
                <a:gd name="connsiteX22" fmla="*/ 3871 w 243840"/>
                <a:gd name="connsiteY22" fmla="*/ 83215 h 24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3840" h="245775">
                  <a:moveTo>
                    <a:pt x="135467" y="160625"/>
                  </a:moveTo>
                  <a:cubicBezTo>
                    <a:pt x="135467" y="137402"/>
                    <a:pt x="145143" y="123855"/>
                    <a:pt x="166431" y="123855"/>
                  </a:cubicBezTo>
                  <a:cubicBezTo>
                    <a:pt x="185783" y="123855"/>
                    <a:pt x="193524" y="137402"/>
                    <a:pt x="193524" y="160625"/>
                  </a:cubicBezTo>
                  <a:lnTo>
                    <a:pt x="193524" y="245775"/>
                  </a:lnTo>
                  <a:lnTo>
                    <a:pt x="243840" y="245775"/>
                  </a:lnTo>
                  <a:lnTo>
                    <a:pt x="243840" y="143208"/>
                  </a:lnTo>
                  <a:cubicBezTo>
                    <a:pt x="243840" y="98697"/>
                    <a:pt x="218682" y="77410"/>
                    <a:pt x="183848" y="77410"/>
                  </a:cubicBezTo>
                  <a:cubicBezTo>
                    <a:pt x="149014" y="77410"/>
                    <a:pt x="135467" y="104503"/>
                    <a:pt x="135467" y="104503"/>
                  </a:cubicBezTo>
                  <a:lnTo>
                    <a:pt x="135467" y="83215"/>
                  </a:lnTo>
                  <a:lnTo>
                    <a:pt x="87086" y="83215"/>
                  </a:lnTo>
                  <a:lnTo>
                    <a:pt x="87086" y="245775"/>
                  </a:lnTo>
                  <a:lnTo>
                    <a:pt x="135467" y="245775"/>
                  </a:lnTo>
                  <a:lnTo>
                    <a:pt x="135467" y="160625"/>
                  </a:lnTo>
                  <a:close/>
                  <a:moveTo>
                    <a:pt x="29029" y="61928"/>
                  </a:moveTo>
                  <a:cubicBezTo>
                    <a:pt x="46446" y="61928"/>
                    <a:pt x="58057" y="48381"/>
                    <a:pt x="58057" y="30964"/>
                  </a:cubicBezTo>
                  <a:cubicBezTo>
                    <a:pt x="58057" y="13547"/>
                    <a:pt x="44511" y="0"/>
                    <a:pt x="29029" y="0"/>
                  </a:cubicBezTo>
                  <a:cubicBezTo>
                    <a:pt x="13547" y="0"/>
                    <a:pt x="0" y="13547"/>
                    <a:pt x="0" y="30964"/>
                  </a:cubicBezTo>
                  <a:cubicBezTo>
                    <a:pt x="0" y="48381"/>
                    <a:pt x="11612" y="61928"/>
                    <a:pt x="29029" y="61928"/>
                  </a:cubicBezTo>
                  <a:moveTo>
                    <a:pt x="3871" y="83215"/>
                  </a:moveTo>
                  <a:lnTo>
                    <a:pt x="54187" y="83215"/>
                  </a:lnTo>
                  <a:lnTo>
                    <a:pt x="54187" y="245775"/>
                  </a:lnTo>
                  <a:lnTo>
                    <a:pt x="3871" y="245775"/>
                  </a:lnTo>
                  <a:lnTo>
                    <a:pt x="3871" y="83215"/>
                  </a:lnTo>
                  <a:close/>
                </a:path>
              </a:pathLst>
            </a:custGeom>
            <a:solidFill>
              <a:srgbClr val="8A9CA4"/>
            </a:solidFill>
            <a:ln w="19352" cap="flat">
              <a:noFill/>
              <a:prstDash val="solid"/>
              <a:miter/>
            </a:ln>
          </p:spPr>
          <p:txBody>
            <a:bodyPr rtlCol="0" anchor="ctr"/>
            <a:lstStyle/>
            <a:p>
              <a:endParaRPr lang="en-US"/>
            </a:p>
          </p:txBody>
        </p:sp>
        <p:sp>
          <p:nvSpPr>
            <p:cNvPr id="5" name="Freihandform: Form 4">
              <a:extLst>
                <a:ext uri="{FF2B5EF4-FFF2-40B4-BE49-F238E27FC236}">
                  <a16:creationId xmlns:a16="http://schemas.microsoft.com/office/drawing/2014/main" id="{673E7EEC-921F-4C28-8DD5-9ECBF85C1674}"/>
                </a:ext>
              </a:extLst>
            </p:cNvPr>
            <p:cNvSpPr/>
            <p:nvPr userDrawn="1"/>
          </p:nvSpPr>
          <p:spPr>
            <a:xfrm>
              <a:off x="11054589" y="4718807"/>
              <a:ext cx="189674" cy="221679"/>
            </a:xfrm>
            <a:custGeom>
              <a:avLst/>
              <a:gdLst>
                <a:gd name="connsiteX0" fmla="*/ 18342 w 189674"/>
                <a:gd name="connsiteY0" fmla="*/ 42150 h 221679"/>
                <a:gd name="connsiteX1" fmla="*/ 49564 w 189674"/>
                <a:gd name="connsiteY1" fmla="*/ 42150 h 221679"/>
                <a:gd name="connsiteX2" fmla="*/ 58931 w 189674"/>
                <a:gd name="connsiteY2" fmla="*/ 48395 h 221679"/>
                <a:gd name="connsiteX3" fmla="*/ 80787 w 189674"/>
                <a:gd name="connsiteY3" fmla="*/ 84300 h 221679"/>
                <a:gd name="connsiteX4" fmla="*/ 46442 w 189674"/>
                <a:gd name="connsiteY4" fmla="*/ 145185 h 221679"/>
                <a:gd name="connsiteX5" fmla="*/ 37076 w 189674"/>
                <a:gd name="connsiteY5" fmla="*/ 151429 h 221679"/>
                <a:gd name="connsiteX6" fmla="*/ 5853 w 189674"/>
                <a:gd name="connsiteY6" fmla="*/ 151429 h 221679"/>
                <a:gd name="connsiteX7" fmla="*/ 1170 w 189674"/>
                <a:gd name="connsiteY7" fmla="*/ 149868 h 221679"/>
                <a:gd name="connsiteX8" fmla="*/ 1170 w 189674"/>
                <a:gd name="connsiteY8" fmla="*/ 145185 h 221679"/>
                <a:gd name="connsiteX9" fmla="*/ 35514 w 189674"/>
                <a:gd name="connsiteY9" fmla="*/ 85862 h 221679"/>
                <a:gd name="connsiteX10" fmla="*/ 13659 w 189674"/>
                <a:gd name="connsiteY10" fmla="*/ 48395 h 221679"/>
                <a:gd name="connsiteX11" fmla="*/ 13659 w 189674"/>
                <a:gd name="connsiteY11" fmla="*/ 43711 h 221679"/>
                <a:gd name="connsiteX12" fmla="*/ 18342 w 189674"/>
                <a:gd name="connsiteY12" fmla="*/ 42150 h 221679"/>
                <a:gd name="connsiteX13" fmla="*/ 151037 w 189674"/>
                <a:gd name="connsiteY13" fmla="*/ 0 h 221679"/>
                <a:gd name="connsiteX14" fmla="*/ 183821 w 189674"/>
                <a:gd name="connsiteY14" fmla="*/ 0 h 221679"/>
                <a:gd name="connsiteX15" fmla="*/ 188504 w 189674"/>
                <a:gd name="connsiteY15" fmla="*/ 1561 h 221679"/>
                <a:gd name="connsiteX16" fmla="*/ 188504 w 189674"/>
                <a:gd name="connsiteY16" fmla="*/ 6245 h 221679"/>
                <a:gd name="connsiteX17" fmla="*/ 118254 w 189674"/>
                <a:gd name="connsiteY17" fmla="*/ 132695 h 221679"/>
                <a:gd name="connsiteX18" fmla="*/ 163526 w 189674"/>
                <a:gd name="connsiteY18" fmla="*/ 215435 h 221679"/>
                <a:gd name="connsiteX19" fmla="*/ 163526 w 189674"/>
                <a:gd name="connsiteY19" fmla="*/ 220118 h 221679"/>
                <a:gd name="connsiteX20" fmla="*/ 158843 w 189674"/>
                <a:gd name="connsiteY20" fmla="*/ 221679 h 221679"/>
                <a:gd name="connsiteX21" fmla="*/ 127620 w 189674"/>
                <a:gd name="connsiteY21" fmla="*/ 221679 h 221679"/>
                <a:gd name="connsiteX22" fmla="*/ 118254 w 189674"/>
                <a:gd name="connsiteY22" fmla="*/ 215435 h 221679"/>
                <a:gd name="connsiteX23" fmla="*/ 72981 w 189674"/>
                <a:gd name="connsiteY23" fmla="*/ 132695 h 221679"/>
                <a:gd name="connsiteX24" fmla="*/ 143232 w 189674"/>
                <a:gd name="connsiteY24" fmla="*/ 6245 h 221679"/>
                <a:gd name="connsiteX25" fmla="*/ 151037 w 189674"/>
                <a:gd name="connsiteY25" fmla="*/ 0 h 2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674" h="221679">
                  <a:moveTo>
                    <a:pt x="18342" y="42150"/>
                  </a:moveTo>
                  <a:lnTo>
                    <a:pt x="49564" y="42150"/>
                  </a:lnTo>
                  <a:cubicBezTo>
                    <a:pt x="54248" y="42150"/>
                    <a:pt x="57371" y="45272"/>
                    <a:pt x="58931" y="48395"/>
                  </a:cubicBezTo>
                  <a:cubicBezTo>
                    <a:pt x="58931" y="48395"/>
                    <a:pt x="80787" y="87423"/>
                    <a:pt x="80787" y="84300"/>
                  </a:cubicBezTo>
                  <a:cubicBezTo>
                    <a:pt x="79226" y="85862"/>
                    <a:pt x="46442" y="145185"/>
                    <a:pt x="46442" y="145185"/>
                  </a:cubicBezTo>
                  <a:cubicBezTo>
                    <a:pt x="44881" y="148306"/>
                    <a:pt x="41759" y="151429"/>
                    <a:pt x="37076" y="151429"/>
                  </a:cubicBezTo>
                  <a:lnTo>
                    <a:pt x="5853" y="151429"/>
                  </a:lnTo>
                  <a:cubicBezTo>
                    <a:pt x="2730" y="151429"/>
                    <a:pt x="2730" y="151429"/>
                    <a:pt x="1170" y="149868"/>
                  </a:cubicBezTo>
                  <a:cubicBezTo>
                    <a:pt x="-391" y="148306"/>
                    <a:pt x="-391" y="146745"/>
                    <a:pt x="1170" y="145185"/>
                  </a:cubicBezTo>
                  <a:lnTo>
                    <a:pt x="35514" y="85862"/>
                  </a:lnTo>
                  <a:lnTo>
                    <a:pt x="13659" y="48395"/>
                  </a:lnTo>
                  <a:cubicBezTo>
                    <a:pt x="13659" y="46834"/>
                    <a:pt x="12098" y="45272"/>
                    <a:pt x="13659" y="43711"/>
                  </a:cubicBezTo>
                  <a:cubicBezTo>
                    <a:pt x="15220" y="42150"/>
                    <a:pt x="16781" y="42150"/>
                    <a:pt x="18342" y="42150"/>
                  </a:cubicBezTo>
                  <a:close/>
                  <a:moveTo>
                    <a:pt x="151037" y="0"/>
                  </a:moveTo>
                  <a:lnTo>
                    <a:pt x="183821" y="0"/>
                  </a:lnTo>
                  <a:cubicBezTo>
                    <a:pt x="186944" y="0"/>
                    <a:pt x="186944" y="0"/>
                    <a:pt x="188504" y="1561"/>
                  </a:cubicBezTo>
                  <a:cubicBezTo>
                    <a:pt x="190065" y="3122"/>
                    <a:pt x="190065" y="4684"/>
                    <a:pt x="188504" y="6245"/>
                  </a:cubicBezTo>
                  <a:lnTo>
                    <a:pt x="118254" y="132695"/>
                  </a:lnTo>
                  <a:lnTo>
                    <a:pt x="163526" y="215435"/>
                  </a:lnTo>
                  <a:cubicBezTo>
                    <a:pt x="165088" y="216995"/>
                    <a:pt x="165088" y="218556"/>
                    <a:pt x="163526" y="220118"/>
                  </a:cubicBezTo>
                  <a:cubicBezTo>
                    <a:pt x="161965" y="221679"/>
                    <a:pt x="160404" y="221679"/>
                    <a:pt x="158843" y="221679"/>
                  </a:cubicBezTo>
                  <a:lnTo>
                    <a:pt x="127620" y="221679"/>
                  </a:lnTo>
                  <a:cubicBezTo>
                    <a:pt x="122937" y="221679"/>
                    <a:pt x="119815" y="218556"/>
                    <a:pt x="118254" y="215435"/>
                  </a:cubicBezTo>
                  <a:cubicBezTo>
                    <a:pt x="118254" y="215435"/>
                    <a:pt x="72981" y="132695"/>
                    <a:pt x="72981" y="132695"/>
                  </a:cubicBezTo>
                  <a:cubicBezTo>
                    <a:pt x="74542" y="128012"/>
                    <a:pt x="143232" y="6245"/>
                    <a:pt x="143232" y="6245"/>
                  </a:cubicBezTo>
                  <a:cubicBezTo>
                    <a:pt x="144793" y="3122"/>
                    <a:pt x="146354" y="0"/>
                    <a:pt x="151037" y="0"/>
                  </a:cubicBezTo>
                  <a:close/>
                </a:path>
              </a:pathLst>
            </a:custGeom>
            <a:solidFill>
              <a:srgbClr val="8A9CA4"/>
            </a:solidFill>
            <a:ln w="19352" cap="flat">
              <a:noFill/>
              <a:prstDash val="solid"/>
              <a:miter/>
            </a:ln>
          </p:spPr>
          <p:txBody>
            <a:bodyPr wrap="square" rtlCol="0" anchor="ctr">
              <a:noAutofit/>
            </a:bodyPr>
            <a:lstStyle/>
            <a:p>
              <a:endParaRPr lang="en-US"/>
            </a:p>
          </p:txBody>
        </p:sp>
      </p:grpSp>
      <p:sp>
        <p:nvSpPr>
          <p:cNvPr id="7" name="Untertitel 2">
            <a:extLst>
              <a:ext uri="{FF2B5EF4-FFF2-40B4-BE49-F238E27FC236}">
                <a16:creationId xmlns:a16="http://schemas.microsoft.com/office/drawing/2014/main" id="{7B9C1B24-1803-4FA9-A66F-6C52721BD8DB}"/>
              </a:ext>
            </a:extLst>
          </p:cNvPr>
          <p:cNvSpPr txBox="1">
            <a:spLocks/>
          </p:cNvSpPr>
          <p:nvPr userDrawn="1"/>
        </p:nvSpPr>
        <p:spPr>
          <a:xfrm>
            <a:off x="947738" y="6311783"/>
            <a:ext cx="10909300" cy="439300"/>
          </a:xfrm>
          <a:prstGeom prst="rect">
            <a:avLst/>
          </a:prstGeom>
          <a:noFill/>
        </p:spPr>
        <p:txBody>
          <a:bodyPr lIns="0" tIns="0" rIns="0" bIns="0" anchor="ctr"/>
          <a:lstStyle/>
          <a:p>
            <a:pPr lvl="0" algn="l" eaLnBrk="0" hangingPunct="0">
              <a:lnSpc>
                <a:spcPct val="100000"/>
              </a:lnSpc>
              <a:spcBef>
                <a:spcPts val="0"/>
              </a:spcBef>
              <a:spcAft>
                <a:spcPts val="300"/>
              </a:spcAft>
              <a:buNone/>
              <a:defRPr/>
            </a:pPr>
            <a:r>
              <a:rPr lang="de-DE" sz="800" b="0" i="0" kern="0">
                <a:solidFill>
                  <a:srgbClr val="414042"/>
                </a:solidFill>
                <a:latin typeface="Roboto" panose="02000000000000000000" pitchFamily="2" charset="0"/>
                <a:ea typeface="Roboto" panose="02000000000000000000" pitchFamily="2" charset="0"/>
                <a:sym typeface="Wingdings" pitchFamily="-65" charset="2"/>
              </a:rPr>
              <a:t>Copyright © 2020 – UTIMACO GmbH</a:t>
            </a:r>
          </a:p>
          <a:p>
            <a:pPr lvl="0" algn="l" eaLnBrk="0" hangingPunct="0">
              <a:lnSpc>
                <a:spcPct val="100000"/>
              </a:lnSpc>
              <a:spcBef>
                <a:spcPts val="0"/>
              </a:spcBef>
              <a:spcAft>
                <a:spcPts val="300"/>
              </a:spcAft>
              <a:buNone/>
              <a:defRPr/>
            </a:pPr>
            <a:r>
              <a:rPr lang="en-US" sz="800" b="0" i="0" kern="0">
                <a:solidFill>
                  <a:srgbClr val="414042"/>
                </a:solidFill>
                <a:latin typeface="Roboto" panose="02000000000000000000" pitchFamily="2" charset="0"/>
                <a:ea typeface="Roboto" panose="02000000000000000000" pitchFamily="2" charset="0"/>
                <a:sym typeface="Wingdings" pitchFamily="-65" charset="2"/>
              </a:rPr>
              <a:t>UTIMACO</a:t>
            </a:r>
            <a:r>
              <a:rPr lang="en-US" sz="800" b="0" i="0" kern="0" baseline="30000">
                <a:solidFill>
                  <a:srgbClr val="414042"/>
                </a:solidFill>
                <a:latin typeface="Roboto" panose="02000000000000000000" pitchFamily="2" charset="0"/>
                <a:ea typeface="Roboto" panose="02000000000000000000" pitchFamily="2" charset="0"/>
                <a:sym typeface="Wingdings" pitchFamily="-65" charset="2"/>
              </a:rPr>
              <a:t>®</a:t>
            </a:r>
            <a:r>
              <a:rPr lang="en-US" sz="800" b="0" i="0" kern="0">
                <a:solidFill>
                  <a:srgbClr val="414042"/>
                </a:solidFill>
                <a:latin typeface="Roboto" panose="02000000000000000000" pitchFamily="2" charset="0"/>
                <a:ea typeface="Roboto" panose="02000000000000000000" pitchFamily="2" charset="0"/>
                <a:sym typeface="Wingdings" pitchFamily="-65" charset="2"/>
              </a:rPr>
              <a:t> is a trademark of UTIMACO GmbH. All other named Trademarks are Trademarks of the particular copyright holder. </a:t>
            </a:r>
            <a:br>
              <a:rPr lang="en-US" sz="800" b="0" i="0" kern="0">
                <a:solidFill>
                  <a:srgbClr val="414042"/>
                </a:solidFill>
                <a:latin typeface="Roboto" panose="02000000000000000000" pitchFamily="2" charset="0"/>
                <a:ea typeface="Roboto" panose="02000000000000000000" pitchFamily="2" charset="0"/>
                <a:sym typeface="Wingdings" pitchFamily="-65" charset="2"/>
              </a:rPr>
            </a:br>
            <a:r>
              <a:rPr lang="en-US" sz="800" b="0" i="0" kern="0">
                <a:solidFill>
                  <a:srgbClr val="414042"/>
                </a:solidFill>
                <a:latin typeface="Roboto" panose="02000000000000000000" pitchFamily="2" charset="0"/>
                <a:ea typeface="Roboto" panose="02000000000000000000" pitchFamily="2" charset="0"/>
                <a:sym typeface="Wingdings" pitchFamily="-65" charset="2"/>
              </a:rPr>
              <a:t>All rights reserved. Specifications are subject to change without notice.</a:t>
            </a:r>
          </a:p>
        </p:txBody>
      </p:sp>
    </p:spTree>
    <p:extLst>
      <p:ext uri="{BB962C8B-B14F-4D97-AF65-F5344CB8AC3E}">
        <p14:creationId xmlns:p14="http://schemas.microsoft.com/office/powerpoint/2010/main" val="160972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554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TS – all">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860D8FD-1FC0-4137-B090-8FE4B6F3EA7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213" t="1926"/>
          <a:stretch/>
        </p:blipFill>
        <p:spPr>
          <a:xfrm>
            <a:off x="0" y="-11393"/>
            <a:ext cx="8796338" cy="5875000"/>
          </a:xfrm>
          <a:prstGeom prst="rect">
            <a:avLst/>
          </a:prstGeom>
        </p:spPr>
      </p:pic>
      <p:grpSp>
        <p:nvGrpSpPr>
          <p:cNvPr id="8" name="Gruppieren 7">
            <a:extLst>
              <a:ext uri="{FF2B5EF4-FFF2-40B4-BE49-F238E27FC236}">
                <a16:creationId xmlns:a16="http://schemas.microsoft.com/office/drawing/2014/main" id="{E25FE2ED-B9D8-4B9A-A8E4-BF551CF68BAA}"/>
              </a:ext>
            </a:extLst>
          </p:cNvPr>
          <p:cNvGrpSpPr/>
          <p:nvPr userDrawn="1"/>
        </p:nvGrpSpPr>
        <p:grpSpPr>
          <a:xfrm>
            <a:off x="-1" y="4299798"/>
            <a:ext cx="12192001" cy="2206321"/>
            <a:chOff x="-1" y="4651679"/>
            <a:chExt cx="12192001" cy="2206321"/>
          </a:xfrm>
        </p:grpSpPr>
        <p:grpSp>
          <p:nvGrpSpPr>
            <p:cNvPr id="7" name="Gruppieren 6">
              <a:extLst>
                <a:ext uri="{FF2B5EF4-FFF2-40B4-BE49-F238E27FC236}">
                  <a16:creationId xmlns:a16="http://schemas.microsoft.com/office/drawing/2014/main" id="{7A167594-4D30-4D2C-88CF-0B7AE9265D0B}"/>
                </a:ext>
              </a:extLst>
            </p:cNvPr>
            <p:cNvGrpSpPr/>
            <p:nvPr userDrawn="1"/>
          </p:nvGrpSpPr>
          <p:grpSpPr>
            <a:xfrm>
              <a:off x="0" y="4740743"/>
              <a:ext cx="12192000" cy="2117257"/>
              <a:chOff x="0" y="4740743"/>
              <a:chExt cx="12192000" cy="2117257"/>
            </a:xfrm>
          </p:grpSpPr>
          <p:sp>
            <p:nvSpPr>
              <p:cNvPr id="74" name="Rechteck 73">
                <a:extLst>
                  <a:ext uri="{FF2B5EF4-FFF2-40B4-BE49-F238E27FC236}">
                    <a16:creationId xmlns:a16="http://schemas.microsoft.com/office/drawing/2014/main" id="{EF8ADDDF-B774-4469-9BB7-FA6EEF94E4FF}"/>
                  </a:ext>
                </a:extLst>
              </p:cNvPr>
              <p:cNvSpPr/>
              <p:nvPr/>
            </p:nvSpPr>
            <p:spPr>
              <a:xfrm>
                <a:off x="0" y="4740743"/>
                <a:ext cx="12192000" cy="2117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uppieren 47">
                <a:extLst>
                  <a:ext uri="{FF2B5EF4-FFF2-40B4-BE49-F238E27FC236}">
                    <a16:creationId xmlns:a16="http://schemas.microsoft.com/office/drawing/2014/main" id="{39630B44-5819-4D36-8E95-9CB527E750C9}"/>
                  </a:ext>
                </a:extLst>
              </p:cNvPr>
              <p:cNvGrpSpPr/>
              <p:nvPr userDrawn="1"/>
            </p:nvGrpSpPr>
            <p:grpSpPr>
              <a:xfrm>
                <a:off x="1" y="5042376"/>
                <a:ext cx="12191998" cy="36000"/>
                <a:chOff x="1" y="5042376"/>
                <a:chExt cx="12191998" cy="36000"/>
              </a:xfrm>
            </p:grpSpPr>
            <p:sp>
              <p:nvSpPr>
                <p:cNvPr id="49" name="Rechteck 48">
                  <a:extLst>
                    <a:ext uri="{FF2B5EF4-FFF2-40B4-BE49-F238E27FC236}">
                      <a16:creationId xmlns:a16="http://schemas.microsoft.com/office/drawing/2014/main" id="{09F36062-ABE7-4D55-960A-8CE9A5A5C951}"/>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50" name="Rechteck 49">
                  <a:extLst>
                    <a:ext uri="{FF2B5EF4-FFF2-40B4-BE49-F238E27FC236}">
                      <a16:creationId xmlns:a16="http://schemas.microsoft.com/office/drawing/2014/main" id="{D6210C40-A451-4401-B75E-64B884529DEF}"/>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grpSp>
        <p:grpSp>
          <p:nvGrpSpPr>
            <p:cNvPr id="5" name="Gruppieren 4">
              <a:extLst>
                <a:ext uri="{FF2B5EF4-FFF2-40B4-BE49-F238E27FC236}">
                  <a16:creationId xmlns:a16="http://schemas.microsoft.com/office/drawing/2014/main" id="{C98EC787-6AF2-4DE7-85BB-0FF47F3777F2}"/>
                </a:ext>
              </a:extLst>
            </p:cNvPr>
            <p:cNvGrpSpPr/>
            <p:nvPr userDrawn="1"/>
          </p:nvGrpSpPr>
          <p:grpSpPr>
            <a:xfrm>
              <a:off x="-1" y="4651679"/>
              <a:ext cx="12191999" cy="354374"/>
              <a:chOff x="-1" y="4651679"/>
              <a:chExt cx="12191999" cy="354374"/>
            </a:xfrm>
          </p:grpSpPr>
          <p:sp>
            <p:nvSpPr>
              <p:cNvPr id="15" name="Freihandform: Form 14">
                <a:extLst>
                  <a:ext uri="{FF2B5EF4-FFF2-40B4-BE49-F238E27FC236}">
                    <a16:creationId xmlns:a16="http://schemas.microsoft.com/office/drawing/2014/main" id="{D91617DC-61D3-4964-B875-BF6A5089CC12}"/>
                  </a:ext>
                </a:extLst>
              </p:cNvPr>
              <p:cNvSpPr/>
              <p:nvPr/>
            </p:nvSpPr>
            <p:spPr>
              <a:xfrm>
                <a:off x="-1" y="4651679"/>
                <a:ext cx="12191999" cy="354374"/>
              </a:xfrm>
              <a:custGeom>
                <a:avLst/>
                <a:gdLst>
                  <a:gd name="connsiteX0" fmla="*/ 0 w 12192000"/>
                  <a:gd name="connsiteY0" fmla="*/ 0 h 439299"/>
                  <a:gd name="connsiteX1" fmla="*/ 12192000 w 12192000"/>
                  <a:gd name="connsiteY1" fmla="*/ 0 h 439299"/>
                  <a:gd name="connsiteX2" fmla="*/ 12192000 w 12192000"/>
                  <a:gd name="connsiteY2" fmla="*/ 439299 h 439299"/>
                  <a:gd name="connsiteX3" fmla="*/ 0 w 12192000"/>
                  <a:gd name="connsiteY3" fmla="*/ 439299 h 439299"/>
                </a:gdLst>
                <a:ahLst/>
                <a:cxnLst>
                  <a:cxn ang="0">
                    <a:pos x="connsiteX0" y="connsiteY0"/>
                  </a:cxn>
                  <a:cxn ang="0">
                    <a:pos x="connsiteX1" y="connsiteY1"/>
                  </a:cxn>
                  <a:cxn ang="0">
                    <a:pos x="connsiteX2" y="connsiteY2"/>
                  </a:cxn>
                  <a:cxn ang="0">
                    <a:pos x="connsiteX3" y="connsiteY3"/>
                  </a:cxn>
                </a:cxnLst>
                <a:rect l="l" t="t" r="r" b="b"/>
                <a:pathLst>
                  <a:path w="12192000" h="439299">
                    <a:moveTo>
                      <a:pt x="0" y="0"/>
                    </a:moveTo>
                    <a:lnTo>
                      <a:pt x="12192000" y="0"/>
                    </a:lnTo>
                    <a:lnTo>
                      <a:pt x="12192000" y="439299"/>
                    </a:lnTo>
                    <a:lnTo>
                      <a:pt x="0" y="439299"/>
                    </a:lnTo>
                    <a:close/>
                  </a:path>
                </a:pathLst>
              </a:custGeom>
              <a:solidFill>
                <a:srgbClr val="EFF0F1"/>
              </a:solidFill>
              <a:ln w="19352" cap="flat">
                <a:noFill/>
                <a:prstDash val="solid"/>
                <a:miter/>
              </a:ln>
            </p:spPr>
            <p:txBody>
              <a:bodyPr rtlCol="0" anchor="ctr"/>
              <a:lstStyle/>
              <a:p>
                <a:endParaRPr lang="en-US"/>
              </a:p>
            </p:txBody>
          </p:sp>
          <p:grpSp>
            <p:nvGrpSpPr>
              <p:cNvPr id="2" name="Gruppieren 1">
                <a:extLst>
                  <a:ext uri="{FF2B5EF4-FFF2-40B4-BE49-F238E27FC236}">
                    <a16:creationId xmlns:a16="http://schemas.microsoft.com/office/drawing/2014/main" id="{2E53342E-90DC-4E49-AFB0-1FB6A79EF2EA}"/>
                  </a:ext>
                </a:extLst>
              </p:cNvPr>
              <p:cNvGrpSpPr/>
              <p:nvPr userDrawn="1"/>
            </p:nvGrpSpPr>
            <p:grpSpPr>
              <a:xfrm>
                <a:off x="10707629" y="4718807"/>
                <a:ext cx="536634" cy="221679"/>
                <a:chOff x="9958414" y="4718807"/>
                <a:chExt cx="536634" cy="221679"/>
              </a:xfrm>
            </p:grpSpPr>
            <p:sp>
              <p:nvSpPr>
                <p:cNvPr id="17" name="Freihandform: Form 16">
                  <a:extLst>
                    <a:ext uri="{FF2B5EF4-FFF2-40B4-BE49-F238E27FC236}">
                      <a16:creationId xmlns:a16="http://schemas.microsoft.com/office/drawing/2014/main" id="{A8027508-1A0E-44E4-B9A7-7AA89EC29EBE}"/>
                    </a:ext>
                  </a:extLst>
                </p:cNvPr>
                <p:cNvSpPr/>
                <p:nvPr/>
              </p:nvSpPr>
              <p:spPr>
                <a:xfrm>
                  <a:off x="9958414" y="4731296"/>
                  <a:ext cx="196701" cy="198262"/>
                </a:xfrm>
                <a:custGeom>
                  <a:avLst/>
                  <a:gdLst>
                    <a:gd name="connsiteX0" fmla="*/ 135467 w 243840"/>
                    <a:gd name="connsiteY0" fmla="*/ 160625 h 245775"/>
                    <a:gd name="connsiteX1" fmla="*/ 166431 w 243840"/>
                    <a:gd name="connsiteY1" fmla="*/ 123855 h 245775"/>
                    <a:gd name="connsiteX2" fmla="*/ 193524 w 243840"/>
                    <a:gd name="connsiteY2" fmla="*/ 160625 h 245775"/>
                    <a:gd name="connsiteX3" fmla="*/ 193524 w 243840"/>
                    <a:gd name="connsiteY3" fmla="*/ 245775 h 245775"/>
                    <a:gd name="connsiteX4" fmla="*/ 243840 w 243840"/>
                    <a:gd name="connsiteY4" fmla="*/ 245775 h 245775"/>
                    <a:gd name="connsiteX5" fmla="*/ 243840 w 243840"/>
                    <a:gd name="connsiteY5" fmla="*/ 143208 h 245775"/>
                    <a:gd name="connsiteX6" fmla="*/ 183848 w 243840"/>
                    <a:gd name="connsiteY6" fmla="*/ 77410 h 245775"/>
                    <a:gd name="connsiteX7" fmla="*/ 135467 w 243840"/>
                    <a:gd name="connsiteY7" fmla="*/ 104503 h 245775"/>
                    <a:gd name="connsiteX8" fmla="*/ 135467 w 243840"/>
                    <a:gd name="connsiteY8" fmla="*/ 83215 h 245775"/>
                    <a:gd name="connsiteX9" fmla="*/ 87086 w 243840"/>
                    <a:gd name="connsiteY9" fmla="*/ 83215 h 245775"/>
                    <a:gd name="connsiteX10" fmla="*/ 87086 w 243840"/>
                    <a:gd name="connsiteY10" fmla="*/ 245775 h 245775"/>
                    <a:gd name="connsiteX11" fmla="*/ 135467 w 243840"/>
                    <a:gd name="connsiteY11" fmla="*/ 245775 h 245775"/>
                    <a:gd name="connsiteX12" fmla="*/ 135467 w 243840"/>
                    <a:gd name="connsiteY12" fmla="*/ 160625 h 245775"/>
                    <a:gd name="connsiteX13" fmla="*/ 29029 w 243840"/>
                    <a:gd name="connsiteY13" fmla="*/ 61928 h 245775"/>
                    <a:gd name="connsiteX14" fmla="*/ 58057 w 243840"/>
                    <a:gd name="connsiteY14" fmla="*/ 30964 h 245775"/>
                    <a:gd name="connsiteX15" fmla="*/ 29029 w 243840"/>
                    <a:gd name="connsiteY15" fmla="*/ 0 h 245775"/>
                    <a:gd name="connsiteX16" fmla="*/ 0 w 243840"/>
                    <a:gd name="connsiteY16" fmla="*/ 30964 h 245775"/>
                    <a:gd name="connsiteX17" fmla="*/ 29029 w 243840"/>
                    <a:gd name="connsiteY17" fmla="*/ 61928 h 245775"/>
                    <a:gd name="connsiteX18" fmla="*/ 3871 w 243840"/>
                    <a:gd name="connsiteY18" fmla="*/ 83215 h 245775"/>
                    <a:gd name="connsiteX19" fmla="*/ 54187 w 243840"/>
                    <a:gd name="connsiteY19" fmla="*/ 83215 h 245775"/>
                    <a:gd name="connsiteX20" fmla="*/ 54187 w 243840"/>
                    <a:gd name="connsiteY20" fmla="*/ 245775 h 245775"/>
                    <a:gd name="connsiteX21" fmla="*/ 3871 w 243840"/>
                    <a:gd name="connsiteY21" fmla="*/ 245775 h 245775"/>
                    <a:gd name="connsiteX22" fmla="*/ 3871 w 243840"/>
                    <a:gd name="connsiteY22" fmla="*/ 83215 h 24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3840" h="245775">
                      <a:moveTo>
                        <a:pt x="135467" y="160625"/>
                      </a:moveTo>
                      <a:cubicBezTo>
                        <a:pt x="135467" y="137402"/>
                        <a:pt x="145143" y="123855"/>
                        <a:pt x="166431" y="123855"/>
                      </a:cubicBezTo>
                      <a:cubicBezTo>
                        <a:pt x="185783" y="123855"/>
                        <a:pt x="193524" y="137402"/>
                        <a:pt x="193524" y="160625"/>
                      </a:cubicBezTo>
                      <a:lnTo>
                        <a:pt x="193524" y="245775"/>
                      </a:lnTo>
                      <a:lnTo>
                        <a:pt x="243840" y="245775"/>
                      </a:lnTo>
                      <a:lnTo>
                        <a:pt x="243840" y="143208"/>
                      </a:lnTo>
                      <a:cubicBezTo>
                        <a:pt x="243840" y="98697"/>
                        <a:pt x="218682" y="77410"/>
                        <a:pt x="183848" y="77410"/>
                      </a:cubicBezTo>
                      <a:cubicBezTo>
                        <a:pt x="149014" y="77410"/>
                        <a:pt x="135467" y="104503"/>
                        <a:pt x="135467" y="104503"/>
                      </a:cubicBezTo>
                      <a:lnTo>
                        <a:pt x="135467" y="83215"/>
                      </a:lnTo>
                      <a:lnTo>
                        <a:pt x="87086" y="83215"/>
                      </a:lnTo>
                      <a:lnTo>
                        <a:pt x="87086" y="245775"/>
                      </a:lnTo>
                      <a:lnTo>
                        <a:pt x="135467" y="245775"/>
                      </a:lnTo>
                      <a:lnTo>
                        <a:pt x="135467" y="160625"/>
                      </a:lnTo>
                      <a:close/>
                      <a:moveTo>
                        <a:pt x="29029" y="61928"/>
                      </a:moveTo>
                      <a:cubicBezTo>
                        <a:pt x="46446" y="61928"/>
                        <a:pt x="58057" y="48381"/>
                        <a:pt x="58057" y="30964"/>
                      </a:cubicBezTo>
                      <a:cubicBezTo>
                        <a:pt x="58057" y="13547"/>
                        <a:pt x="44511" y="0"/>
                        <a:pt x="29029" y="0"/>
                      </a:cubicBezTo>
                      <a:cubicBezTo>
                        <a:pt x="13547" y="0"/>
                        <a:pt x="0" y="13547"/>
                        <a:pt x="0" y="30964"/>
                      </a:cubicBezTo>
                      <a:cubicBezTo>
                        <a:pt x="0" y="48381"/>
                        <a:pt x="11612" y="61928"/>
                        <a:pt x="29029" y="61928"/>
                      </a:cubicBezTo>
                      <a:moveTo>
                        <a:pt x="3871" y="83215"/>
                      </a:moveTo>
                      <a:lnTo>
                        <a:pt x="54187" y="83215"/>
                      </a:lnTo>
                      <a:lnTo>
                        <a:pt x="54187" y="245775"/>
                      </a:lnTo>
                      <a:lnTo>
                        <a:pt x="3871" y="245775"/>
                      </a:lnTo>
                      <a:lnTo>
                        <a:pt x="3871" y="83215"/>
                      </a:lnTo>
                      <a:close/>
                    </a:path>
                  </a:pathLst>
                </a:custGeom>
                <a:solidFill>
                  <a:srgbClr val="8A9CA4"/>
                </a:solidFill>
                <a:ln w="19352" cap="flat">
                  <a:noFill/>
                  <a:prstDash val="solid"/>
                  <a:miter/>
                </a:ln>
              </p:spPr>
              <p:txBody>
                <a:bodyPr rtlCol="0" anchor="ctr"/>
                <a:lstStyle/>
                <a:p>
                  <a:endParaRPr lang="en-US"/>
                </a:p>
              </p:txBody>
            </p:sp>
            <p:sp>
              <p:nvSpPr>
                <p:cNvPr id="26" name="Freihandform: Form 25">
                  <a:extLst>
                    <a:ext uri="{FF2B5EF4-FFF2-40B4-BE49-F238E27FC236}">
                      <a16:creationId xmlns:a16="http://schemas.microsoft.com/office/drawing/2014/main" id="{9EA16583-8EFC-4012-86FC-9B06CA1B85BF}"/>
                    </a:ext>
                  </a:extLst>
                </p:cNvPr>
                <p:cNvSpPr/>
                <p:nvPr/>
              </p:nvSpPr>
              <p:spPr>
                <a:xfrm>
                  <a:off x="10305374" y="4718807"/>
                  <a:ext cx="189674" cy="221679"/>
                </a:xfrm>
                <a:custGeom>
                  <a:avLst/>
                  <a:gdLst>
                    <a:gd name="connsiteX0" fmla="*/ 18342 w 189674"/>
                    <a:gd name="connsiteY0" fmla="*/ 42150 h 221679"/>
                    <a:gd name="connsiteX1" fmla="*/ 49564 w 189674"/>
                    <a:gd name="connsiteY1" fmla="*/ 42150 h 221679"/>
                    <a:gd name="connsiteX2" fmla="*/ 58931 w 189674"/>
                    <a:gd name="connsiteY2" fmla="*/ 48395 h 221679"/>
                    <a:gd name="connsiteX3" fmla="*/ 80787 w 189674"/>
                    <a:gd name="connsiteY3" fmla="*/ 84300 h 221679"/>
                    <a:gd name="connsiteX4" fmla="*/ 46442 w 189674"/>
                    <a:gd name="connsiteY4" fmla="*/ 145185 h 221679"/>
                    <a:gd name="connsiteX5" fmla="*/ 37076 w 189674"/>
                    <a:gd name="connsiteY5" fmla="*/ 151429 h 221679"/>
                    <a:gd name="connsiteX6" fmla="*/ 5853 w 189674"/>
                    <a:gd name="connsiteY6" fmla="*/ 151429 h 221679"/>
                    <a:gd name="connsiteX7" fmla="*/ 1170 w 189674"/>
                    <a:gd name="connsiteY7" fmla="*/ 149868 h 221679"/>
                    <a:gd name="connsiteX8" fmla="*/ 1170 w 189674"/>
                    <a:gd name="connsiteY8" fmla="*/ 145185 h 221679"/>
                    <a:gd name="connsiteX9" fmla="*/ 35514 w 189674"/>
                    <a:gd name="connsiteY9" fmla="*/ 85862 h 221679"/>
                    <a:gd name="connsiteX10" fmla="*/ 13659 w 189674"/>
                    <a:gd name="connsiteY10" fmla="*/ 48395 h 221679"/>
                    <a:gd name="connsiteX11" fmla="*/ 13659 w 189674"/>
                    <a:gd name="connsiteY11" fmla="*/ 43711 h 221679"/>
                    <a:gd name="connsiteX12" fmla="*/ 18342 w 189674"/>
                    <a:gd name="connsiteY12" fmla="*/ 42150 h 221679"/>
                    <a:gd name="connsiteX13" fmla="*/ 151037 w 189674"/>
                    <a:gd name="connsiteY13" fmla="*/ 0 h 221679"/>
                    <a:gd name="connsiteX14" fmla="*/ 183821 w 189674"/>
                    <a:gd name="connsiteY14" fmla="*/ 0 h 221679"/>
                    <a:gd name="connsiteX15" fmla="*/ 188504 w 189674"/>
                    <a:gd name="connsiteY15" fmla="*/ 1561 h 221679"/>
                    <a:gd name="connsiteX16" fmla="*/ 188504 w 189674"/>
                    <a:gd name="connsiteY16" fmla="*/ 6245 h 221679"/>
                    <a:gd name="connsiteX17" fmla="*/ 118254 w 189674"/>
                    <a:gd name="connsiteY17" fmla="*/ 132695 h 221679"/>
                    <a:gd name="connsiteX18" fmla="*/ 163526 w 189674"/>
                    <a:gd name="connsiteY18" fmla="*/ 215435 h 221679"/>
                    <a:gd name="connsiteX19" fmla="*/ 163526 w 189674"/>
                    <a:gd name="connsiteY19" fmla="*/ 220118 h 221679"/>
                    <a:gd name="connsiteX20" fmla="*/ 158843 w 189674"/>
                    <a:gd name="connsiteY20" fmla="*/ 221679 h 221679"/>
                    <a:gd name="connsiteX21" fmla="*/ 127620 w 189674"/>
                    <a:gd name="connsiteY21" fmla="*/ 221679 h 221679"/>
                    <a:gd name="connsiteX22" fmla="*/ 118254 w 189674"/>
                    <a:gd name="connsiteY22" fmla="*/ 215435 h 221679"/>
                    <a:gd name="connsiteX23" fmla="*/ 72981 w 189674"/>
                    <a:gd name="connsiteY23" fmla="*/ 132695 h 221679"/>
                    <a:gd name="connsiteX24" fmla="*/ 143232 w 189674"/>
                    <a:gd name="connsiteY24" fmla="*/ 6245 h 221679"/>
                    <a:gd name="connsiteX25" fmla="*/ 151037 w 189674"/>
                    <a:gd name="connsiteY25" fmla="*/ 0 h 22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674" h="221679">
                      <a:moveTo>
                        <a:pt x="18342" y="42150"/>
                      </a:moveTo>
                      <a:lnTo>
                        <a:pt x="49564" y="42150"/>
                      </a:lnTo>
                      <a:cubicBezTo>
                        <a:pt x="54248" y="42150"/>
                        <a:pt x="57371" y="45272"/>
                        <a:pt x="58931" y="48395"/>
                      </a:cubicBezTo>
                      <a:cubicBezTo>
                        <a:pt x="58931" y="48395"/>
                        <a:pt x="80787" y="87423"/>
                        <a:pt x="80787" y="84300"/>
                      </a:cubicBezTo>
                      <a:cubicBezTo>
                        <a:pt x="79226" y="85862"/>
                        <a:pt x="46442" y="145185"/>
                        <a:pt x="46442" y="145185"/>
                      </a:cubicBezTo>
                      <a:cubicBezTo>
                        <a:pt x="44881" y="148306"/>
                        <a:pt x="41759" y="151429"/>
                        <a:pt x="37076" y="151429"/>
                      </a:cubicBezTo>
                      <a:lnTo>
                        <a:pt x="5853" y="151429"/>
                      </a:lnTo>
                      <a:cubicBezTo>
                        <a:pt x="2730" y="151429"/>
                        <a:pt x="2730" y="151429"/>
                        <a:pt x="1170" y="149868"/>
                      </a:cubicBezTo>
                      <a:cubicBezTo>
                        <a:pt x="-391" y="148306"/>
                        <a:pt x="-391" y="146745"/>
                        <a:pt x="1170" y="145185"/>
                      </a:cubicBezTo>
                      <a:lnTo>
                        <a:pt x="35514" y="85862"/>
                      </a:lnTo>
                      <a:lnTo>
                        <a:pt x="13659" y="48395"/>
                      </a:lnTo>
                      <a:cubicBezTo>
                        <a:pt x="13659" y="46834"/>
                        <a:pt x="12098" y="45272"/>
                        <a:pt x="13659" y="43711"/>
                      </a:cubicBezTo>
                      <a:cubicBezTo>
                        <a:pt x="15220" y="42150"/>
                        <a:pt x="16781" y="42150"/>
                        <a:pt x="18342" y="42150"/>
                      </a:cubicBezTo>
                      <a:close/>
                      <a:moveTo>
                        <a:pt x="151037" y="0"/>
                      </a:moveTo>
                      <a:lnTo>
                        <a:pt x="183821" y="0"/>
                      </a:lnTo>
                      <a:cubicBezTo>
                        <a:pt x="186944" y="0"/>
                        <a:pt x="186944" y="0"/>
                        <a:pt x="188504" y="1561"/>
                      </a:cubicBezTo>
                      <a:cubicBezTo>
                        <a:pt x="190065" y="3122"/>
                        <a:pt x="190065" y="4684"/>
                        <a:pt x="188504" y="6245"/>
                      </a:cubicBezTo>
                      <a:lnTo>
                        <a:pt x="118254" y="132695"/>
                      </a:lnTo>
                      <a:lnTo>
                        <a:pt x="163526" y="215435"/>
                      </a:lnTo>
                      <a:cubicBezTo>
                        <a:pt x="165088" y="216995"/>
                        <a:pt x="165088" y="218556"/>
                        <a:pt x="163526" y="220118"/>
                      </a:cubicBezTo>
                      <a:cubicBezTo>
                        <a:pt x="161965" y="221679"/>
                        <a:pt x="160404" y="221679"/>
                        <a:pt x="158843" y="221679"/>
                      </a:cubicBezTo>
                      <a:lnTo>
                        <a:pt x="127620" y="221679"/>
                      </a:lnTo>
                      <a:cubicBezTo>
                        <a:pt x="122937" y="221679"/>
                        <a:pt x="119815" y="218556"/>
                        <a:pt x="118254" y="215435"/>
                      </a:cubicBezTo>
                      <a:cubicBezTo>
                        <a:pt x="118254" y="215435"/>
                        <a:pt x="72981" y="132695"/>
                        <a:pt x="72981" y="132695"/>
                      </a:cubicBezTo>
                      <a:cubicBezTo>
                        <a:pt x="74542" y="128012"/>
                        <a:pt x="143232" y="6245"/>
                        <a:pt x="143232" y="6245"/>
                      </a:cubicBezTo>
                      <a:cubicBezTo>
                        <a:pt x="144793" y="3122"/>
                        <a:pt x="146354" y="0"/>
                        <a:pt x="151037" y="0"/>
                      </a:cubicBezTo>
                      <a:close/>
                    </a:path>
                  </a:pathLst>
                </a:custGeom>
                <a:solidFill>
                  <a:srgbClr val="8A9CA4"/>
                </a:solidFill>
                <a:ln w="19352" cap="flat">
                  <a:noFill/>
                  <a:prstDash val="solid"/>
                  <a:miter/>
                </a:ln>
              </p:spPr>
              <p:txBody>
                <a:bodyPr wrap="square" rtlCol="0" anchor="ctr">
                  <a:noAutofit/>
                </a:bodyPr>
                <a:lstStyle/>
                <a:p>
                  <a:endParaRPr lang="en-US"/>
                </a:p>
              </p:txBody>
            </p:sp>
          </p:grpSp>
        </p:grpSp>
      </p:grpSp>
      <p:pic>
        <p:nvPicPr>
          <p:cNvPr id="46" name="Grafik 45">
            <a:extLst>
              <a:ext uri="{FF2B5EF4-FFF2-40B4-BE49-F238E27FC236}">
                <a16:creationId xmlns:a16="http://schemas.microsoft.com/office/drawing/2014/main" id="{8762C689-B4FB-4E59-91AB-51F8C2A44C49}"/>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82689" y="5645935"/>
            <a:ext cx="2070215" cy="462676"/>
          </a:xfrm>
          <a:prstGeom prst="rect">
            <a:avLst/>
          </a:prstGeom>
        </p:spPr>
      </p:pic>
      <p:sp>
        <p:nvSpPr>
          <p:cNvPr id="18" name="Textfeld 17">
            <a:extLst>
              <a:ext uri="{FF2B5EF4-FFF2-40B4-BE49-F238E27FC236}">
                <a16:creationId xmlns:a16="http://schemas.microsoft.com/office/drawing/2014/main" id="{934B1EF4-0773-4492-94DE-EA2A1564CA6E}"/>
              </a:ext>
            </a:extLst>
          </p:cNvPr>
          <p:cNvSpPr txBox="1"/>
          <p:nvPr/>
        </p:nvSpPr>
        <p:spPr>
          <a:xfrm>
            <a:off x="3642360" y="1989624"/>
            <a:ext cx="7601903" cy="2417789"/>
          </a:xfrm>
          <a:prstGeom prst="rect">
            <a:avLst/>
          </a:prstGeom>
        </p:spPr>
        <p:txBody>
          <a:bodyPr vert="horz" wrap="square" lIns="0" tIns="0" rIns="0" bIns="0" rtlCol="0" anchor="t">
            <a:noAutofit/>
          </a:bodyPr>
          <a:lstStyle/>
          <a:p>
            <a:pPr algn="r">
              <a:spcAft>
                <a:spcPts val="600"/>
              </a:spcAft>
            </a:pPr>
            <a:r>
              <a:rPr lang="de-DE" sz="7200" b="1" err="1">
                <a:solidFill>
                  <a:schemeClr val="accent1"/>
                </a:solidFill>
                <a:latin typeface="+mn-lt"/>
              </a:rPr>
              <a:t>Thank</a:t>
            </a:r>
            <a:r>
              <a:rPr lang="de-DE" sz="7200" b="1">
                <a:solidFill>
                  <a:schemeClr val="accent1"/>
                </a:solidFill>
                <a:latin typeface="+mn-lt"/>
              </a:rPr>
              <a:t> </a:t>
            </a:r>
            <a:r>
              <a:rPr lang="de-DE" sz="7200" b="1" err="1">
                <a:solidFill>
                  <a:schemeClr val="accent1"/>
                </a:solidFill>
                <a:latin typeface="+mn-lt"/>
              </a:rPr>
              <a:t>you</a:t>
            </a:r>
            <a:r>
              <a:rPr lang="de-DE" sz="7200" b="1">
                <a:solidFill>
                  <a:schemeClr val="accent1"/>
                </a:solidFill>
                <a:latin typeface="+mn-lt"/>
              </a:rPr>
              <a:t> </a:t>
            </a:r>
            <a:br>
              <a:rPr lang="de-DE" sz="7200" b="0">
                <a:solidFill>
                  <a:schemeClr val="accent1"/>
                </a:solidFill>
                <a:latin typeface="+mn-lt"/>
              </a:rPr>
            </a:br>
            <a:r>
              <a:rPr lang="de-DE" sz="5400" b="0" err="1">
                <a:solidFill>
                  <a:schemeClr val="accent1"/>
                </a:solidFill>
                <a:latin typeface="+mj-lt"/>
              </a:rPr>
              <a:t>for</a:t>
            </a:r>
            <a:r>
              <a:rPr lang="de-DE" sz="5400" b="0">
                <a:solidFill>
                  <a:schemeClr val="accent1"/>
                </a:solidFill>
                <a:latin typeface="+mj-lt"/>
              </a:rPr>
              <a:t> </a:t>
            </a:r>
            <a:r>
              <a:rPr lang="de-DE" sz="5400" b="0" err="1">
                <a:solidFill>
                  <a:schemeClr val="accent1"/>
                </a:solidFill>
                <a:latin typeface="+mj-lt"/>
              </a:rPr>
              <a:t>your</a:t>
            </a:r>
            <a:r>
              <a:rPr lang="de-DE" sz="5400" b="0">
                <a:solidFill>
                  <a:schemeClr val="accent1"/>
                </a:solidFill>
                <a:latin typeface="+mj-lt"/>
              </a:rPr>
              <a:t> </a:t>
            </a:r>
            <a:r>
              <a:rPr lang="de-DE" sz="5400" b="0" err="1">
                <a:solidFill>
                  <a:schemeClr val="accent1"/>
                </a:solidFill>
                <a:latin typeface="+mj-lt"/>
              </a:rPr>
              <a:t>attention</a:t>
            </a:r>
            <a:r>
              <a:rPr lang="de-DE" sz="5400" b="0">
                <a:solidFill>
                  <a:schemeClr val="accent1"/>
                </a:solidFill>
                <a:latin typeface="+mj-lt"/>
              </a:rPr>
              <a:t>!</a:t>
            </a:r>
            <a:endParaRPr lang="en-US" sz="7200" b="0" err="1">
              <a:solidFill>
                <a:schemeClr val="accent1"/>
              </a:solidFill>
              <a:latin typeface="+mj-lt"/>
            </a:endParaRPr>
          </a:p>
        </p:txBody>
      </p:sp>
      <p:sp>
        <p:nvSpPr>
          <p:cNvPr id="9" name="Untertitel 2">
            <a:extLst>
              <a:ext uri="{FF2B5EF4-FFF2-40B4-BE49-F238E27FC236}">
                <a16:creationId xmlns:a16="http://schemas.microsoft.com/office/drawing/2014/main" id="{F55A9ACE-1BFC-4D58-AE26-23122A43D904}"/>
              </a:ext>
            </a:extLst>
          </p:cNvPr>
          <p:cNvSpPr txBox="1">
            <a:spLocks/>
          </p:cNvSpPr>
          <p:nvPr userDrawn="1"/>
        </p:nvSpPr>
        <p:spPr>
          <a:xfrm>
            <a:off x="947738" y="6311783"/>
            <a:ext cx="10909300" cy="439300"/>
          </a:xfrm>
          <a:prstGeom prst="rect">
            <a:avLst/>
          </a:prstGeom>
          <a:noFill/>
        </p:spPr>
        <p:txBody>
          <a:bodyPr lIns="0" tIns="0" rIns="0" bIns="0" anchor="ctr"/>
          <a:lstStyle/>
          <a:p>
            <a:pPr lvl="0" algn="l" eaLnBrk="0" hangingPunct="0">
              <a:lnSpc>
                <a:spcPct val="100000"/>
              </a:lnSpc>
              <a:spcBef>
                <a:spcPts val="0"/>
              </a:spcBef>
              <a:spcAft>
                <a:spcPts val="300"/>
              </a:spcAft>
              <a:buNone/>
              <a:defRPr/>
            </a:pPr>
            <a:r>
              <a:rPr lang="de-DE" sz="800" b="0" i="0" kern="0">
                <a:solidFill>
                  <a:srgbClr val="414042"/>
                </a:solidFill>
                <a:latin typeface="Roboto" panose="02000000000000000000" pitchFamily="2" charset="0"/>
                <a:ea typeface="Roboto" panose="02000000000000000000" pitchFamily="2" charset="0"/>
                <a:sym typeface="Wingdings" pitchFamily="-65" charset="2"/>
              </a:rPr>
              <a:t>Copyright © 2020 – UTIMACO GmbH</a:t>
            </a:r>
          </a:p>
          <a:p>
            <a:pPr lvl="0" algn="l" eaLnBrk="0" hangingPunct="0">
              <a:lnSpc>
                <a:spcPct val="100000"/>
              </a:lnSpc>
              <a:spcBef>
                <a:spcPts val="0"/>
              </a:spcBef>
              <a:spcAft>
                <a:spcPts val="300"/>
              </a:spcAft>
              <a:buNone/>
              <a:defRPr/>
            </a:pPr>
            <a:r>
              <a:rPr lang="en-US" sz="800" b="0" i="0" kern="0">
                <a:solidFill>
                  <a:srgbClr val="414042"/>
                </a:solidFill>
                <a:latin typeface="Roboto" panose="02000000000000000000" pitchFamily="2" charset="0"/>
                <a:ea typeface="Roboto" panose="02000000000000000000" pitchFamily="2" charset="0"/>
                <a:sym typeface="Wingdings" pitchFamily="-65" charset="2"/>
              </a:rPr>
              <a:t>UTIMACO</a:t>
            </a:r>
            <a:r>
              <a:rPr lang="en-US" sz="800" b="0" i="0" kern="0" baseline="30000">
                <a:solidFill>
                  <a:srgbClr val="414042"/>
                </a:solidFill>
                <a:latin typeface="Roboto" panose="02000000000000000000" pitchFamily="2" charset="0"/>
                <a:ea typeface="Roboto" panose="02000000000000000000" pitchFamily="2" charset="0"/>
                <a:sym typeface="Wingdings" pitchFamily="-65" charset="2"/>
              </a:rPr>
              <a:t>®</a:t>
            </a:r>
            <a:r>
              <a:rPr lang="en-US" sz="800" b="0" i="0" kern="0">
                <a:solidFill>
                  <a:srgbClr val="414042"/>
                </a:solidFill>
                <a:latin typeface="Roboto" panose="02000000000000000000" pitchFamily="2" charset="0"/>
                <a:ea typeface="Roboto" panose="02000000000000000000" pitchFamily="2" charset="0"/>
                <a:sym typeface="Wingdings" pitchFamily="-65" charset="2"/>
              </a:rPr>
              <a:t> is a trademark of UTIMACO GmbH. All other named Trademarks are Trademarks of the particular copyright holder. </a:t>
            </a:r>
            <a:br>
              <a:rPr lang="en-US" sz="800" b="0" i="0" kern="0">
                <a:solidFill>
                  <a:srgbClr val="414042"/>
                </a:solidFill>
                <a:latin typeface="Roboto" panose="02000000000000000000" pitchFamily="2" charset="0"/>
                <a:ea typeface="Roboto" panose="02000000000000000000" pitchFamily="2" charset="0"/>
                <a:sym typeface="Wingdings" pitchFamily="-65" charset="2"/>
              </a:rPr>
            </a:br>
            <a:r>
              <a:rPr lang="en-US" sz="800" b="0" i="0" kern="0">
                <a:solidFill>
                  <a:srgbClr val="414042"/>
                </a:solidFill>
                <a:latin typeface="Roboto" panose="02000000000000000000" pitchFamily="2" charset="0"/>
                <a:ea typeface="Roboto" panose="02000000000000000000" pitchFamily="2" charset="0"/>
                <a:sym typeface="Wingdings" pitchFamily="-65" charset="2"/>
              </a:rPr>
              <a:t>All rights reserved. Specifications are subject to change without notice.</a:t>
            </a:r>
          </a:p>
        </p:txBody>
      </p:sp>
      <p:sp>
        <p:nvSpPr>
          <p:cNvPr id="3" name="Untertitel 2">
            <a:extLst>
              <a:ext uri="{FF2B5EF4-FFF2-40B4-BE49-F238E27FC236}">
                <a16:creationId xmlns:a16="http://schemas.microsoft.com/office/drawing/2014/main" id="{AF467A61-9BCD-4D99-AA48-33CDBEAF56EF}"/>
              </a:ext>
            </a:extLst>
          </p:cNvPr>
          <p:cNvSpPr txBox="1">
            <a:spLocks/>
          </p:cNvSpPr>
          <p:nvPr userDrawn="1"/>
        </p:nvSpPr>
        <p:spPr>
          <a:xfrm>
            <a:off x="947738" y="4955805"/>
            <a:ext cx="1658003" cy="818519"/>
          </a:xfrm>
          <a:prstGeom prst="rect">
            <a:avLst/>
          </a:prstGeom>
        </p:spPr>
        <p:txBody>
          <a:bodyPr lIns="0" tIns="0" rIns="0" bIns="0" numCol="1"/>
          <a:lstStyle/>
          <a:p>
            <a:pPr lvl="0" algn="l" eaLnBrk="0" hangingPunct="0">
              <a:lnSpc>
                <a:spcPct val="100000"/>
              </a:lnSpc>
              <a:spcBef>
                <a:spcPts val="0"/>
              </a:spcBef>
              <a:spcAft>
                <a:spcPts val="300"/>
              </a:spcAft>
              <a:buNone/>
              <a:tabLst>
                <a:tab pos="555625" algn="l"/>
              </a:tabLst>
              <a:defRPr/>
            </a:pPr>
            <a:r>
              <a:rPr lang="de-DE" sz="900" b="1" i="0" kern="0">
                <a:solidFill>
                  <a:schemeClr val="accent1"/>
                </a:solidFill>
                <a:latin typeface="Roboto" panose="02000000000000000000" pitchFamily="2" charset="0"/>
                <a:sym typeface="Wingdings" pitchFamily="-65" charset="2"/>
              </a:rPr>
              <a:t>Headquarters</a:t>
            </a:r>
          </a:p>
          <a:p>
            <a:pPr lvl="0" algn="l" eaLnBrk="0" hangingPunct="0">
              <a:lnSpc>
                <a:spcPct val="100000"/>
              </a:lnSpc>
              <a:spcBef>
                <a:spcPts val="0"/>
              </a:spcBef>
              <a:spcAft>
                <a:spcPts val="300"/>
              </a:spcAft>
              <a:buNone/>
              <a:tabLst>
                <a:tab pos="555625" algn="l"/>
              </a:tabLst>
              <a:defRPr/>
            </a:pPr>
            <a:r>
              <a:rPr lang="en-US" sz="900" b="1" i="0" kern="0">
                <a:solidFill>
                  <a:schemeClr val="tx1"/>
                </a:solidFill>
                <a:latin typeface="Roboto" panose="02000000000000000000" pitchFamily="2" charset="0"/>
                <a:sym typeface="Wingdings" pitchFamily="-65" charset="2"/>
              </a:rPr>
              <a:t>UTIMACO TS GmbH</a:t>
            </a:r>
            <a:br>
              <a:rPr lang="en-US" sz="900" b="0" i="0" kern="0">
                <a:solidFill>
                  <a:schemeClr val="tx1"/>
                </a:solidFill>
                <a:latin typeface="Roboto" panose="02000000000000000000" pitchFamily="2" charset="0"/>
                <a:sym typeface="Wingdings" pitchFamily="-65" charset="2"/>
              </a:rPr>
            </a:br>
            <a:r>
              <a:rPr lang="en-US" sz="900" b="0" i="0" kern="0" err="1">
                <a:solidFill>
                  <a:schemeClr val="tx1"/>
                </a:solidFill>
                <a:latin typeface="Roboto" panose="02000000000000000000" pitchFamily="2" charset="0"/>
                <a:sym typeface="Wingdings" pitchFamily="-65" charset="2"/>
              </a:rPr>
              <a:t>Germanusstraße</a:t>
            </a:r>
            <a:r>
              <a:rPr lang="en-US" sz="900" b="0" i="0" kern="0">
                <a:solidFill>
                  <a:schemeClr val="tx1"/>
                </a:solidFill>
                <a:latin typeface="Roboto" panose="02000000000000000000" pitchFamily="2" charset="0"/>
                <a:sym typeface="Wingdings" pitchFamily="-65" charset="2"/>
              </a:rPr>
              <a:t> 4</a:t>
            </a:r>
            <a:br>
              <a:rPr lang="en-US" sz="900" b="0" i="0" kern="0">
                <a:solidFill>
                  <a:schemeClr val="tx1"/>
                </a:solidFill>
                <a:latin typeface="Roboto" panose="02000000000000000000" pitchFamily="2" charset="0"/>
                <a:sym typeface="Wingdings" pitchFamily="-65" charset="2"/>
              </a:rPr>
            </a:br>
            <a:r>
              <a:rPr lang="en-US" sz="900" b="0" i="0" kern="0">
                <a:solidFill>
                  <a:schemeClr val="tx1"/>
                </a:solidFill>
                <a:latin typeface="Roboto" panose="02000000000000000000" pitchFamily="2" charset="0"/>
                <a:sym typeface="Wingdings" pitchFamily="-65" charset="2"/>
              </a:rPr>
              <a:t>52080 Aachen, </a:t>
            </a:r>
            <a:br>
              <a:rPr lang="en-US" sz="900" b="0" i="0" kern="0">
                <a:solidFill>
                  <a:schemeClr val="tx1"/>
                </a:solidFill>
                <a:latin typeface="Roboto" panose="02000000000000000000" pitchFamily="2" charset="0"/>
                <a:sym typeface="Wingdings" pitchFamily="-65" charset="2"/>
              </a:rPr>
            </a:br>
            <a:r>
              <a:rPr lang="en-US" sz="900" b="0" i="0" kern="0">
                <a:solidFill>
                  <a:schemeClr val="tx1"/>
                </a:solidFill>
                <a:latin typeface="Roboto" panose="02000000000000000000" pitchFamily="2" charset="0"/>
                <a:sym typeface="Wingdings" pitchFamily="-65" charset="2"/>
              </a:rPr>
              <a:t>Germany</a:t>
            </a:r>
          </a:p>
          <a:p>
            <a:pPr lvl="0" algn="l" eaLnBrk="0" hangingPunct="0">
              <a:lnSpc>
                <a:spcPct val="100000"/>
              </a:lnSpc>
              <a:spcBef>
                <a:spcPts val="0"/>
              </a:spcBef>
              <a:spcAft>
                <a:spcPts val="300"/>
              </a:spcAft>
              <a:buNone/>
              <a:tabLst>
                <a:tab pos="382588" algn="l"/>
              </a:tabLst>
              <a:defRPr/>
            </a:pPr>
            <a:r>
              <a:rPr lang="en-US" sz="900" b="0" i="0" kern="0">
                <a:solidFill>
                  <a:schemeClr val="tx1"/>
                </a:solidFill>
                <a:latin typeface="Roboto" panose="02000000000000000000" pitchFamily="2" charset="0"/>
                <a:sym typeface="Wingdings" pitchFamily="-65" charset="2"/>
              </a:rPr>
              <a:t>Phone	+49 241 1696-0</a:t>
            </a:r>
            <a:br>
              <a:rPr lang="en-US" sz="900" b="0" i="0" kern="0">
                <a:solidFill>
                  <a:schemeClr val="tx1"/>
                </a:solidFill>
                <a:latin typeface="Roboto" panose="02000000000000000000" pitchFamily="2" charset="0"/>
                <a:sym typeface="Wingdings" pitchFamily="-65" charset="2"/>
              </a:rPr>
            </a:br>
            <a:r>
              <a:rPr lang="en-US" sz="900" b="0" i="0" kern="0">
                <a:solidFill>
                  <a:schemeClr val="tx1"/>
                </a:solidFill>
                <a:latin typeface="Roboto" panose="02000000000000000000" pitchFamily="2" charset="0"/>
                <a:sym typeface="Wingdings" pitchFamily="-65" charset="2"/>
              </a:rPr>
              <a:t>Web	</a:t>
            </a:r>
            <a:r>
              <a:rPr lang="de-DE" sz="900" b="0" i="0" kern="0">
                <a:solidFill>
                  <a:schemeClr val="accent1"/>
                </a:solidFill>
                <a:latin typeface="Roboto" panose="02000000000000000000" pitchFamily="2" charset="0"/>
                <a:sym typeface="Wingdings" pitchFamily="-65" charset="2"/>
                <a:hlinkClick r:id="rId5">
                  <a:extLst>
                    <a:ext uri="{A12FA001-AC4F-418D-AE19-62706E023703}">
                      <ahyp:hlinkClr xmlns:ahyp="http://schemas.microsoft.com/office/drawing/2018/hyperlinkcolor" val="tx"/>
                    </a:ext>
                  </a:extLst>
                </a:hlinkClick>
              </a:rPr>
              <a:t>lims.utimaco.com</a:t>
            </a:r>
            <a:br>
              <a:rPr lang="de-DE" sz="900" b="0" i="0" kern="0">
                <a:solidFill>
                  <a:schemeClr val="tx1"/>
                </a:solidFill>
                <a:latin typeface="Roboto" panose="02000000000000000000" pitchFamily="2" charset="0"/>
                <a:sym typeface="Wingdings" pitchFamily="-65" charset="2"/>
              </a:rPr>
            </a:br>
            <a:r>
              <a:rPr lang="de-DE" sz="900" b="0" i="0" kern="0">
                <a:solidFill>
                  <a:schemeClr val="tx1"/>
                </a:solidFill>
                <a:latin typeface="Roboto" panose="02000000000000000000" pitchFamily="2" charset="0"/>
                <a:sym typeface="Wingdings" pitchFamily="-65" charset="2"/>
              </a:rPr>
              <a:t>E-Mail	</a:t>
            </a:r>
            <a:r>
              <a:rPr lang="de-DE" sz="900" b="0" i="0" kern="0">
                <a:solidFill>
                  <a:schemeClr val="accent1"/>
                </a:solidFill>
                <a:latin typeface="Roboto" panose="02000000000000000000" pitchFamily="2" charset="0"/>
                <a:sym typeface="Wingdings" pitchFamily="-65" charset="2"/>
                <a:hlinkClick r:id="rId6"/>
              </a:rPr>
              <a:t>li-contact@utimaco.com</a:t>
            </a:r>
            <a:r>
              <a:rPr lang="de-DE" sz="900" b="0" i="0" kern="0">
                <a:solidFill>
                  <a:schemeClr val="accent1"/>
                </a:solidFill>
                <a:latin typeface="Roboto" panose="02000000000000000000" pitchFamily="2" charset="0"/>
                <a:sym typeface="Wingdings" pitchFamily="-65" charset="2"/>
              </a:rPr>
              <a:t> </a:t>
            </a:r>
          </a:p>
        </p:txBody>
      </p:sp>
      <p:sp>
        <p:nvSpPr>
          <p:cNvPr id="6" name="Untertitel 2">
            <a:extLst>
              <a:ext uri="{FF2B5EF4-FFF2-40B4-BE49-F238E27FC236}">
                <a16:creationId xmlns:a16="http://schemas.microsoft.com/office/drawing/2014/main" id="{8761EF6F-90A4-4812-8EEE-7AE4ADFCCCC1}"/>
              </a:ext>
            </a:extLst>
          </p:cNvPr>
          <p:cNvSpPr txBox="1">
            <a:spLocks/>
          </p:cNvSpPr>
          <p:nvPr userDrawn="1"/>
        </p:nvSpPr>
        <p:spPr>
          <a:xfrm>
            <a:off x="3009717" y="4955805"/>
            <a:ext cx="1424218" cy="818519"/>
          </a:xfrm>
          <a:prstGeom prst="rect">
            <a:avLst/>
          </a:prstGeom>
        </p:spPr>
        <p:txBody>
          <a:bodyPr lIns="0" tIns="0" rIns="0" bIns="0" numCol="1"/>
          <a:lstStyle/>
          <a:p>
            <a:pPr marL="0" marR="0" lvl="0" indent="0" algn="l" defTabSz="914400" rtl="0" eaLnBrk="0" fontAlgn="auto" latinLnBrk="0" hangingPunct="0">
              <a:lnSpc>
                <a:spcPct val="100000"/>
              </a:lnSpc>
              <a:spcBef>
                <a:spcPts val="0"/>
              </a:spcBef>
              <a:spcAft>
                <a:spcPts val="300"/>
              </a:spcAft>
              <a:buClrTx/>
              <a:buSzTx/>
              <a:buFontTx/>
              <a:buNone/>
              <a:tabLst>
                <a:tab pos="382588" algn="l"/>
              </a:tabLst>
              <a:defRPr/>
            </a:pPr>
            <a:r>
              <a:rPr kumimoji="0" lang="de-DE" sz="900" b="1" i="0" u="none" strike="noStrike" kern="0" cap="none" spc="0" normalizeH="0" baseline="0" noProof="0">
                <a:ln>
                  <a:noFill/>
                </a:ln>
                <a:solidFill>
                  <a:srgbClr val="0068B4"/>
                </a:solidFill>
                <a:effectLst/>
                <a:uLnTx/>
                <a:uFillTx/>
                <a:latin typeface="Roboto" panose="02000000000000000000" pitchFamily="2" charset="0"/>
                <a:ea typeface="+mn-ea"/>
                <a:cs typeface="+mn-cs"/>
                <a:sym typeface="Wingdings" pitchFamily="-65" charset="2"/>
              </a:rPr>
              <a:t>Office UK</a:t>
            </a:r>
          </a:p>
          <a:p>
            <a:pPr marL="0" marR="0" lvl="0" indent="0" algn="l" defTabSz="914400" rtl="0" eaLnBrk="0" fontAlgn="auto" latinLnBrk="0" hangingPunct="0">
              <a:lnSpc>
                <a:spcPct val="100000"/>
              </a:lnSpc>
              <a:spcBef>
                <a:spcPts val="0"/>
              </a:spcBef>
              <a:spcAft>
                <a:spcPts val="300"/>
              </a:spcAft>
              <a:buClrTx/>
              <a:buSzTx/>
              <a:buFontTx/>
              <a:buNone/>
              <a:tabLst>
                <a:tab pos="382588" algn="l"/>
              </a:tabLst>
              <a:defRPr/>
            </a:pPr>
            <a:r>
              <a:rPr kumimoji="0" lang="en-US" sz="900" b="1"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UTIMACO TS UK Ltd.</a:t>
            </a:r>
            <a:b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Cody Technology Park, </a:t>
            </a:r>
            <a:b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Old </a:t>
            </a:r>
            <a:r>
              <a:rPr kumimoji="0" lang="en-US" sz="900" b="0" i="0" u="none" strike="noStrike" kern="0" cap="none" spc="0" normalizeH="0" baseline="0" noProof="0" err="1">
                <a:ln>
                  <a:noFill/>
                </a:ln>
                <a:solidFill>
                  <a:srgbClr val="414042"/>
                </a:solidFill>
                <a:effectLst/>
                <a:uLnTx/>
                <a:uFillTx/>
                <a:latin typeface="Roboto" panose="02000000000000000000" pitchFamily="2" charset="0"/>
                <a:ea typeface="+mn-ea"/>
                <a:cs typeface="+mn-cs"/>
                <a:sym typeface="Wingdings" pitchFamily="-65" charset="2"/>
              </a:rPr>
              <a:t>Ively</a:t>
            </a:r>
            <a: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 Road,</a:t>
            </a:r>
            <a:b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GU14 0LX Farnborough, </a:t>
            </a:r>
            <a:b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United Kingdom</a:t>
            </a:r>
          </a:p>
          <a:p>
            <a:pPr lvl="0" algn="l" eaLnBrk="0" hangingPunct="0">
              <a:lnSpc>
                <a:spcPct val="100000"/>
              </a:lnSpc>
              <a:spcBef>
                <a:spcPts val="0"/>
              </a:spcBef>
              <a:spcAft>
                <a:spcPts val="300"/>
              </a:spcAft>
              <a:buNone/>
              <a:tabLst>
                <a:tab pos="382588" algn="l"/>
              </a:tabLst>
              <a:defRPr/>
            </a:pPr>
            <a:r>
              <a:rPr lang="en-US" sz="900" b="0" i="0" kern="0">
                <a:solidFill>
                  <a:schemeClr val="tx1"/>
                </a:solidFill>
                <a:latin typeface="Roboto" panose="02000000000000000000" pitchFamily="2" charset="0"/>
                <a:sym typeface="Wingdings" pitchFamily="-65" charset="2"/>
              </a:rPr>
              <a:t>Web	</a:t>
            </a:r>
            <a:r>
              <a:rPr lang="de-DE" sz="900" b="0" i="0" kern="0">
                <a:solidFill>
                  <a:schemeClr val="accent1"/>
                </a:solidFill>
                <a:latin typeface="Roboto" panose="02000000000000000000" pitchFamily="2" charset="0"/>
                <a:sym typeface="Wingdings" pitchFamily="-65" charset="2"/>
                <a:hlinkClick r:id="rId5">
                  <a:extLst>
                    <a:ext uri="{A12FA001-AC4F-418D-AE19-62706E023703}">
                      <ahyp:hlinkClr xmlns:ahyp="http://schemas.microsoft.com/office/drawing/2018/hyperlinkcolor" val="tx"/>
                    </a:ext>
                  </a:extLst>
                </a:hlinkClick>
              </a:rPr>
              <a:t>lims.utimaco.com</a:t>
            </a:r>
            <a:br>
              <a:rPr lang="de-DE" sz="900" b="0" i="0" kern="0">
                <a:solidFill>
                  <a:schemeClr val="tx1"/>
                </a:solidFill>
                <a:latin typeface="Roboto" panose="02000000000000000000" pitchFamily="2" charset="0"/>
                <a:sym typeface="Wingdings" pitchFamily="-65" charset="2"/>
              </a:rPr>
            </a:br>
            <a:r>
              <a:rPr lang="de-DE" sz="900" b="0" i="0" kern="0">
                <a:solidFill>
                  <a:schemeClr val="tx1"/>
                </a:solidFill>
                <a:latin typeface="Roboto" panose="02000000000000000000" pitchFamily="2" charset="0"/>
                <a:sym typeface="Wingdings" pitchFamily="-65" charset="2"/>
              </a:rPr>
              <a:t>E-Mail	</a:t>
            </a:r>
            <a:r>
              <a:rPr lang="de-DE" sz="900" b="0" i="0" kern="0">
                <a:solidFill>
                  <a:schemeClr val="accent1"/>
                </a:solidFill>
                <a:latin typeface="Roboto" panose="02000000000000000000" pitchFamily="2" charset="0"/>
                <a:sym typeface="Wingdings" pitchFamily="-65" charset="2"/>
                <a:hlinkClick r:id="rId7"/>
              </a:rPr>
              <a:t>info@utimaco.co.uk</a:t>
            </a:r>
            <a:r>
              <a:rPr lang="de-DE" sz="900" b="0" i="0" kern="0">
                <a:solidFill>
                  <a:schemeClr val="accent1"/>
                </a:solidFill>
                <a:latin typeface="Roboto" panose="02000000000000000000" pitchFamily="2" charset="0"/>
                <a:sym typeface="Wingdings" pitchFamily="-65" charset="2"/>
              </a:rPr>
              <a:t>  </a:t>
            </a:r>
          </a:p>
          <a:p>
            <a:pPr marL="0" marR="0" lvl="0" indent="0" algn="l" defTabSz="914400" rtl="0" eaLnBrk="0" fontAlgn="auto" latinLnBrk="0" hangingPunct="0">
              <a:lnSpc>
                <a:spcPct val="100000"/>
              </a:lnSpc>
              <a:spcBef>
                <a:spcPts val="0"/>
              </a:spcBef>
              <a:spcAft>
                <a:spcPts val="300"/>
              </a:spcAft>
              <a:buClrTx/>
              <a:buSzTx/>
              <a:buFontTx/>
              <a:buNone/>
              <a:tabLst>
                <a:tab pos="382588" algn="l"/>
              </a:tabLst>
              <a:defRPr/>
            </a:pPr>
            <a:endParaRPr lang="de-DE" sz="900" b="0" i="0" kern="0">
              <a:solidFill>
                <a:schemeClr val="accent1"/>
              </a:solidFill>
              <a:latin typeface="Roboto" panose="02000000000000000000" pitchFamily="2" charset="0"/>
              <a:sym typeface="Wingdings" pitchFamily="-65" charset="2"/>
            </a:endParaRPr>
          </a:p>
        </p:txBody>
      </p:sp>
      <p:sp>
        <p:nvSpPr>
          <p:cNvPr id="10" name="Untertitel 2">
            <a:extLst>
              <a:ext uri="{FF2B5EF4-FFF2-40B4-BE49-F238E27FC236}">
                <a16:creationId xmlns:a16="http://schemas.microsoft.com/office/drawing/2014/main" id="{A2B86E81-5979-4826-AA69-3BDFF57A98AA}"/>
              </a:ext>
            </a:extLst>
          </p:cNvPr>
          <p:cNvSpPr txBox="1">
            <a:spLocks/>
          </p:cNvSpPr>
          <p:nvPr userDrawn="1"/>
        </p:nvSpPr>
        <p:spPr>
          <a:xfrm>
            <a:off x="4837911" y="4955805"/>
            <a:ext cx="1424218" cy="818519"/>
          </a:xfrm>
          <a:prstGeom prst="rect">
            <a:avLst/>
          </a:prstGeom>
        </p:spPr>
        <p:txBody>
          <a:bodyPr lIns="0" tIns="0" rIns="0" bIns="0" numCol="1"/>
          <a:lstStyle/>
          <a:p>
            <a:pPr marL="0" marR="0" lvl="0" indent="0" algn="l" defTabSz="914400" rtl="0" eaLnBrk="0" fontAlgn="auto" latinLnBrk="0" hangingPunct="0">
              <a:lnSpc>
                <a:spcPct val="100000"/>
              </a:lnSpc>
              <a:spcBef>
                <a:spcPts val="0"/>
              </a:spcBef>
              <a:spcAft>
                <a:spcPts val="300"/>
              </a:spcAft>
              <a:buClrTx/>
              <a:buSzTx/>
              <a:buFontTx/>
              <a:buNone/>
              <a:tabLst>
                <a:tab pos="388938" algn="l"/>
              </a:tabLst>
              <a:defRPr/>
            </a:pPr>
            <a:r>
              <a:rPr kumimoji="0" lang="de-DE" sz="900" b="1" i="0" u="none" strike="noStrike" kern="0" cap="none" spc="0" normalizeH="0" baseline="0" noProof="0">
                <a:ln>
                  <a:noFill/>
                </a:ln>
                <a:solidFill>
                  <a:srgbClr val="0068B4"/>
                </a:solidFill>
                <a:effectLst/>
                <a:uLnTx/>
                <a:uFillTx/>
                <a:latin typeface="Roboto" panose="02000000000000000000" pitchFamily="2" charset="0"/>
                <a:ea typeface="+mn-ea"/>
                <a:cs typeface="+mn-cs"/>
                <a:sym typeface="Wingdings" pitchFamily="-65" charset="2"/>
              </a:rPr>
              <a:t>Office </a:t>
            </a:r>
            <a:r>
              <a:rPr kumimoji="0" lang="de-DE" sz="900" b="1" i="0" u="none" strike="noStrike" kern="0" cap="none" spc="0" normalizeH="0" baseline="0" noProof="0" err="1">
                <a:ln>
                  <a:noFill/>
                </a:ln>
                <a:solidFill>
                  <a:srgbClr val="0068B4"/>
                </a:solidFill>
                <a:effectLst/>
                <a:uLnTx/>
                <a:uFillTx/>
                <a:latin typeface="Roboto" panose="02000000000000000000" pitchFamily="2" charset="0"/>
                <a:ea typeface="+mn-ea"/>
                <a:cs typeface="+mn-cs"/>
                <a:sym typeface="Wingdings" pitchFamily="-65" charset="2"/>
              </a:rPr>
              <a:t>Italy</a:t>
            </a:r>
            <a:endParaRPr kumimoji="0" lang="de-DE" sz="900" b="1" i="0" u="none" strike="noStrike" kern="0" cap="none" spc="0" normalizeH="0" baseline="0" noProof="0">
              <a:ln>
                <a:noFill/>
              </a:ln>
              <a:solidFill>
                <a:srgbClr val="0068B4"/>
              </a:solidFill>
              <a:effectLst/>
              <a:uLnTx/>
              <a:uFillTx/>
              <a:latin typeface="Roboto" panose="02000000000000000000" pitchFamily="2" charset="0"/>
              <a:ea typeface="+mn-ea"/>
              <a:cs typeface="+mn-cs"/>
              <a:sym typeface="Wingdings" pitchFamily="-65" charset="2"/>
            </a:endParaRPr>
          </a:p>
          <a:p>
            <a:pPr marL="0" marR="0" lvl="0" indent="0" algn="l" defTabSz="914400" rtl="0" eaLnBrk="0" fontAlgn="auto" latinLnBrk="0" hangingPunct="0">
              <a:lnSpc>
                <a:spcPct val="100000"/>
              </a:lnSpc>
              <a:spcBef>
                <a:spcPts val="0"/>
              </a:spcBef>
              <a:spcAft>
                <a:spcPts val="300"/>
              </a:spcAft>
              <a:buClrTx/>
              <a:buSzTx/>
              <a:buFontTx/>
              <a:buNone/>
              <a:tabLst>
                <a:tab pos="388938" algn="l"/>
              </a:tabLst>
              <a:defRPr/>
            </a:pPr>
            <a:r>
              <a:rPr kumimoji="0" lang="en-US" sz="900" b="1"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UTIMACO TS S.R.L.</a:t>
            </a:r>
            <a:br>
              <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Milano Fiori, Strada 6, </a:t>
            </a:r>
            <a:b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Ed. A, Scala 13</a:t>
            </a:r>
            <a:b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t>20057 Assago (MI), </a:t>
            </a:r>
            <a:br>
              <a:rPr kumimoji="0" lang="it-IT"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rPr>
            </a:br>
            <a:r>
              <a:rPr kumimoji="0" lang="it-IT" sz="900" b="0" i="0" u="none" strike="noStrike" kern="0" cap="none" spc="0" normalizeH="0" baseline="0" noProof="0" err="1">
                <a:ln>
                  <a:noFill/>
                </a:ln>
                <a:solidFill>
                  <a:srgbClr val="414042"/>
                </a:solidFill>
                <a:effectLst/>
                <a:uLnTx/>
                <a:uFillTx/>
                <a:latin typeface="Roboto" panose="02000000000000000000" pitchFamily="2" charset="0"/>
                <a:ea typeface="+mn-ea"/>
                <a:cs typeface="+mn-cs"/>
                <a:sym typeface="Wingdings" pitchFamily="-65" charset="2"/>
              </a:rPr>
              <a:t>Italy</a:t>
            </a:r>
            <a:endParaRPr kumimoji="0" lang="en-US" sz="900" b="0" i="0" u="none" strike="noStrike" kern="0" cap="none" spc="0" normalizeH="0" baseline="0" noProof="0">
              <a:ln>
                <a:noFill/>
              </a:ln>
              <a:solidFill>
                <a:srgbClr val="414042"/>
              </a:solidFill>
              <a:effectLst/>
              <a:uLnTx/>
              <a:uFillTx/>
              <a:latin typeface="Roboto" panose="02000000000000000000" pitchFamily="2" charset="0"/>
              <a:ea typeface="+mn-ea"/>
              <a:cs typeface="+mn-cs"/>
              <a:sym typeface="Wingdings" pitchFamily="-65" charset="2"/>
            </a:endParaRPr>
          </a:p>
          <a:p>
            <a:pPr lvl="0" algn="l" eaLnBrk="0" hangingPunct="0">
              <a:lnSpc>
                <a:spcPct val="100000"/>
              </a:lnSpc>
              <a:spcBef>
                <a:spcPts val="0"/>
              </a:spcBef>
              <a:spcAft>
                <a:spcPts val="300"/>
              </a:spcAft>
              <a:buNone/>
              <a:tabLst>
                <a:tab pos="388938" algn="l"/>
              </a:tabLst>
              <a:defRPr/>
            </a:pPr>
            <a:r>
              <a:rPr lang="en-US" sz="900" b="0" i="0" kern="0">
                <a:solidFill>
                  <a:schemeClr val="tx1"/>
                </a:solidFill>
                <a:latin typeface="Roboto" panose="02000000000000000000" pitchFamily="2" charset="0"/>
                <a:sym typeface="Wingdings" pitchFamily="-65" charset="2"/>
              </a:rPr>
              <a:t>Web	</a:t>
            </a:r>
            <a:r>
              <a:rPr lang="de-DE" sz="900" b="0" i="0" kern="0">
                <a:solidFill>
                  <a:schemeClr val="accent1"/>
                </a:solidFill>
                <a:latin typeface="Roboto" panose="02000000000000000000" pitchFamily="2" charset="0"/>
                <a:sym typeface="Wingdings" pitchFamily="-65" charset="2"/>
                <a:hlinkClick r:id="rId5">
                  <a:extLst>
                    <a:ext uri="{A12FA001-AC4F-418D-AE19-62706E023703}">
                      <ahyp:hlinkClr xmlns:ahyp="http://schemas.microsoft.com/office/drawing/2018/hyperlinkcolor" val="tx"/>
                    </a:ext>
                  </a:extLst>
                </a:hlinkClick>
              </a:rPr>
              <a:t>lims.utimaco.com</a:t>
            </a:r>
            <a:br>
              <a:rPr lang="de-DE" sz="900" b="0" i="0" kern="0">
                <a:solidFill>
                  <a:schemeClr val="tx1"/>
                </a:solidFill>
                <a:latin typeface="Roboto" panose="02000000000000000000" pitchFamily="2" charset="0"/>
                <a:sym typeface="Wingdings" pitchFamily="-65" charset="2"/>
              </a:rPr>
            </a:br>
            <a:r>
              <a:rPr lang="de-DE" sz="900" b="0" i="0" kern="0">
                <a:solidFill>
                  <a:schemeClr val="tx1"/>
                </a:solidFill>
                <a:latin typeface="Roboto" panose="02000000000000000000" pitchFamily="2" charset="0"/>
                <a:sym typeface="Wingdings" pitchFamily="-65" charset="2"/>
              </a:rPr>
              <a:t>E-Mail	</a:t>
            </a:r>
            <a:r>
              <a:rPr lang="de-DE" sz="900" b="0" i="0" kern="0">
                <a:solidFill>
                  <a:schemeClr val="accent1"/>
                </a:solidFill>
                <a:latin typeface="Roboto" panose="02000000000000000000" pitchFamily="2" charset="0"/>
                <a:sym typeface="Wingdings" pitchFamily="-65" charset="2"/>
              </a:rPr>
              <a:t>info@utimaco.it </a:t>
            </a:r>
          </a:p>
        </p:txBody>
      </p:sp>
    </p:spTree>
    <p:extLst>
      <p:ext uri="{BB962C8B-B14F-4D97-AF65-F5344CB8AC3E}">
        <p14:creationId xmlns:p14="http://schemas.microsoft.com/office/powerpoint/2010/main" val="416206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5541">
          <p15:clr>
            <a:srgbClr val="FBAE40"/>
          </p15:clr>
        </p15:guide>
        <p15:guide id="4" orient="horz" pos="344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Main_Date_Nam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129155D-09D4-4040-A647-079C05D3FD2E}"/>
              </a:ext>
            </a:extLst>
          </p:cNvPr>
          <p:cNvSpPr/>
          <p:nvPr userDrawn="1"/>
        </p:nvSpPr>
        <p:spPr>
          <a:xfrm>
            <a:off x="0" y="-1"/>
            <a:ext cx="12192000" cy="4716935"/>
          </a:xfrm>
          <a:prstGeom prst="rect">
            <a:avLst/>
          </a:prstGeom>
          <a:gradFill flip="none" rotWithShape="1">
            <a:gsLst>
              <a:gs pos="50000">
                <a:srgbClr val="0068B4"/>
              </a:gs>
              <a:gs pos="0">
                <a:srgbClr val="A2D3F3"/>
              </a:gs>
              <a:gs pos="25000">
                <a:srgbClr val="59A1D8"/>
              </a:gs>
              <a:gs pos="100000">
                <a:srgbClr val="003E77"/>
              </a:gs>
              <a:gs pos="75000">
                <a:srgbClr val="00529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uppieren 3">
            <a:extLst>
              <a:ext uri="{FF2B5EF4-FFF2-40B4-BE49-F238E27FC236}">
                <a16:creationId xmlns:a16="http://schemas.microsoft.com/office/drawing/2014/main" id="{9E014B91-9050-4F01-B2B5-8ED5C9596C25}"/>
              </a:ext>
            </a:extLst>
          </p:cNvPr>
          <p:cNvGrpSpPr/>
          <p:nvPr userDrawn="1"/>
        </p:nvGrpSpPr>
        <p:grpSpPr>
          <a:xfrm>
            <a:off x="7078715" y="-283795"/>
            <a:ext cx="5278640" cy="4621207"/>
            <a:chOff x="8130181" y="350072"/>
            <a:chExt cx="4582106" cy="4011424"/>
          </a:xfrm>
        </p:grpSpPr>
        <p:sp>
          <p:nvSpPr>
            <p:cNvPr id="5" name="Freihandform: Form 4">
              <a:extLst>
                <a:ext uri="{FF2B5EF4-FFF2-40B4-BE49-F238E27FC236}">
                  <a16:creationId xmlns:a16="http://schemas.microsoft.com/office/drawing/2014/main" id="{3504F988-2FC6-42D2-8EB5-A92963BBBB74}"/>
                </a:ext>
              </a:extLst>
            </p:cNvPr>
            <p:cNvSpPr/>
            <p:nvPr/>
          </p:nvSpPr>
          <p:spPr>
            <a:xfrm rot="18900000">
              <a:off x="10156042" y="612649"/>
              <a:ext cx="1485491" cy="1485491"/>
            </a:xfrm>
            <a:custGeom>
              <a:avLst/>
              <a:gdLst>
                <a:gd name="connsiteX0" fmla="*/ 0 w 640073"/>
                <a:gd name="connsiteY0" fmla="*/ 0 h 640073"/>
                <a:gd name="connsiteX1" fmla="*/ 640074 w 640073"/>
                <a:gd name="connsiteY1" fmla="*/ 0 h 640073"/>
                <a:gd name="connsiteX2" fmla="*/ 640074 w 640073"/>
                <a:gd name="connsiteY2" fmla="*/ 640074 h 640073"/>
                <a:gd name="connsiteX3" fmla="*/ 0 w 640073"/>
                <a:gd name="connsiteY3" fmla="*/ 640074 h 640073"/>
              </a:gdLst>
              <a:ahLst/>
              <a:cxnLst>
                <a:cxn ang="0">
                  <a:pos x="connsiteX0" y="connsiteY0"/>
                </a:cxn>
                <a:cxn ang="0">
                  <a:pos x="connsiteX1" y="connsiteY1"/>
                </a:cxn>
                <a:cxn ang="0">
                  <a:pos x="connsiteX2" y="connsiteY2"/>
                </a:cxn>
                <a:cxn ang="0">
                  <a:pos x="connsiteX3" y="connsiteY3"/>
                </a:cxn>
              </a:cxnLst>
              <a:rect l="l" t="t" r="r" b="b"/>
              <a:pathLst>
                <a:path w="640073" h="640073">
                  <a:moveTo>
                    <a:pt x="0" y="0"/>
                  </a:moveTo>
                  <a:lnTo>
                    <a:pt x="640074" y="0"/>
                  </a:lnTo>
                  <a:lnTo>
                    <a:pt x="640074" y="640074"/>
                  </a:lnTo>
                  <a:lnTo>
                    <a:pt x="0" y="640074"/>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 name="Freihandform: Form 5">
              <a:extLst>
                <a:ext uri="{FF2B5EF4-FFF2-40B4-BE49-F238E27FC236}">
                  <a16:creationId xmlns:a16="http://schemas.microsoft.com/office/drawing/2014/main" id="{B07DB059-F06C-457B-9381-4EBE1A101147}"/>
                </a:ext>
              </a:extLst>
            </p:cNvPr>
            <p:cNvSpPr/>
            <p:nvPr/>
          </p:nvSpPr>
          <p:spPr>
            <a:xfrm>
              <a:off x="11461336" y="2787335"/>
              <a:ext cx="856251" cy="85389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 name="Freihandform: Form 6">
              <a:extLst>
                <a:ext uri="{FF2B5EF4-FFF2-40B4-BE49-F238E27FC236}">
                  <a16:creationId xmlns:a16="http://schemas.microsoft.com/office/drawing/2014/main" id="{DA5CE365-71EB-4ADC-A071-08CF1586406E}"/>
                </a:ext>
              </a:extLst>
            </p:cNvPr>
            <p:cNvSpPr/>
            <p:nvPr/>
          </p:nvSpPr>
          <p:spPr>
            <a:xfrm>
              <a:off x="8996351" y="1062325"/>
              <a:ext cx="478962" cy="475744"/>
            </a:xfrm>
            <a:custGeom>
              <a:avLst/>
              <a:gdLst>
                <a:gd name="connsiteX0" fmla="*/ 354330 w 708659"/>
                <a:gd name="connsiteY0" fmla="*/ 0 h 703897"/>
                <a:gd name="connsiteX1" fmla="*/ 0 w 708659"/>
                <a:gd name="connsiteY1" fmla="*/ 352425 h 703897"/>
                <a:gd name="connsiteX2" fmla="*/ 354330 w 708659"/>
                <a:gd name="connsiteY2" fmla="*/ 703898 h 703897"/>
                <a:gd name="connsiteX3" fmla="*/ 708660 w 708659"/>
                <a:gd name="connsiteY3" fmla="*/ 352425 h 703897"/>
              </a:gdLst>
              <a:ahLst/>
              <a:cxnLst>
                <a:cxn ang="0">
                  <a:pos x="connsiteX0" y="connsiteY0"/>
                </a:cxn>
                <a:cxn ang="0">
                  <a:pos x="connsiteX1" y="connsiteY1"/>
                </a:cxn>
                <a:cxn ang="0">
                  <a:pos x="connsiteX2" y="connsiteY2"/>
                </a:cxn>
                <a:cxn ang="0">
                  <a:pos x="connsiteX3" y="connsiteY3"/>
                </a:cxn>
              </a:cxnLst>
              <a:rect l="l" t="t" r="r" b="b"/>
              <a:pathLst>
                <a:path w="708659" h="703897">
                  <a:moveTo>
                    <a:pt x="354330" y="0"/>
                  </a:moveTo>
                  <a:lnTo>
                    <a:pt x="0" y="352425"/>
                  </a:lnTo>
                  <a:lnTo>
                    <a:pt x="354330" y="703898"/>
                  </a:lnTo>
                  <a:lnTo>
                    <a:pt x="708660" y="352425"/>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 name="Freihandform: Form 7">
              <a:extLst>
                <a:ext uri="{FF2B5EF4-FFF2-40B4-BE49-F238E27FC236}">
                  <a16:creationId xmlns:a16="http://schemas.microsoft.com/office/drawing/2014/main" id="{8C5725F9-4FA3-469D-BD7D-348A0206E1E7}"/>
                </a:ext>
              </a:extLst>
            </p:cNvPr>
            <p:cNvSpPr/>
            <p:nvPr/>
          </p:nvSpPr>
          <p:spPr>
            <a:xfrm>
              <a:off x="8130181" y="1197238"/>
              <a:ext cx="877420" cy="888384"/>
            </a:xfrm>
            <a:custGeom>
              <a:avLst/>
              <a:gdLst>
                <a:gd name="connsiteX0" fmla="*/ 114300 w 228600"/>
                <a:gd name="connsiteY0" fmla="*/ 0 h 231457"/>
                <a:gd name="connsiteX1" fmla="*/ 0 w 228600"/>
                <a:gd name="connsiteY1" fmla="*/ 115253 h 231457"/>
                <a:gd name="connsiteX2" fmla="*/ 114300 w 228600"/>
                <a:gd name="connsiteY2" fmla="*/ 231458 h 231457"/>
                <a:gd name="connsiteX3" fmla="*/ 228600 w 228600"/>
                <a:gd name="connsiteY3" fmla="*/ 115253 h 231457"/>
              </a:gdLst>
              <a:ahLst/>
              <a:cxnLst>
                <a:cxn ang="0">
                  <a:pos x="connsiteX0" y="connsiteY0"/>
                </a:cxn>
                <a:cxn ang="0">
                  <a:pos x="connsiteX1" y="connsiteY1"/>
                </a:cxn>
                <a:cxn ang="0">
                  <a:pos x="connsiteX2" y="connsiteY2"/>
                </a:cxn>
                <a:cxn ang="0">
                  <a:pos x="connsiteX3" y="connsiteY3"/>
                </a:cxn>
              </a:cxnLst>
              <a:rect l="l" t="t" r="r" b="b"/>
              <a:pathLst>
                <a:path w="228600" h="231457">
                  <a:moveTo>
                    <a:pt x="114300" y="0"/>
                  </a:moveTo>
                  <a:lnTo>
                    <a:pt x="0" y="115253"/>
                  </a:lnTo>
                  <a:lnTo>
                    <a:pt x="114300" y="231458"/>
                  </a:lnTo>
                  <a:lnTo>
                    <a:pt x="228600" y="115253"/>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 name="Freihandform: Form 8">
              <a:extLst>
                <a:ext uri="{FF2B5EF4-FFF2-40B4-BE49-F238E27FC236}">
                  <a16:creationId xmlns:a16="http://schemas.microsoft.com/office/drawing/2014/main" id="{DBF2A090-47AF-4C37-B2F7-4B3927CDFBB0}"/>
                </a:ext>
              </a:extLst>
            </p:cNvPr>
            <p:cNvSpPr/>
            <p:nvPr/>
          </p:nvSpPr>
          <p:spPr>
            <a:xfrm rot="18899514">
              <a:off x="9839470" y="350072"/>
              <a:ext cx="419865" cy="419865"/>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 name="Freihandform: Form 9">
              <a:extLst>
                <a:ext uri="{FF2B5EF4-FFF2-40B4-BE49-F238E27FC236}">
                  <a16:creationId xmlns:a16="http://schemas.microsoft.com/office/drawing/2014/main" id="{B7F257E4-5115-479D-93CF-7E645B5FEFB6}"/>
                </a:ext>
              </a:extLst>
            </p:cNvPr>
            <p:cNvSpPr/>
            <p:nvPr/>
          </p:nvSpPr>
          <p:spPr>
            <a:xfrm>
              <a:off x="10382907" y="2488499"/>
              <a:ext cx="359720" cy="363259"/>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 name="Freihandform: Form 10">
              <a:extLst>
                <a:ext uri="{FF2B5EF4-FFF2-40B4-BE49-F238E27FC236}">
                  <a16:creationId xmlns:a16="http://schemas.microsoft.com/office/drawing/2014/main" id="{6EEEFBA6-135B-47CA-B759-B85FCAA68F6D}"/>
                </a:ext>
              </a:extLst>
            </p:cNvPr>
            <p:cNvSpPr/>
            <p:nvPr/>
          </p:nvSpPr>
          <p:spPr>
            <a:xfrm>
              <a:off x="12047628" y="1434517"/>
              <a:ext cx="300749" cy="30310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 name="Freihandform: Form 11">
              <a:extLst>
                <a:ext uri="{FF2B5EF4-FFF2-40B4-BE49-F238E27FC236}">
                  <a16:creationId xmlns:a16="http://schemas.microsoft.com/office/drawing/2014/main" id="{CD2253AE-9A2E-4C53-990C-89A366401D2E}"/>
                </a:ext>
              </a:extLst>
            </p:cNvPr>
            <p:cNvSpPr/>
            <p:nvPr/>
          </p:nvSpPr>
          <p:spPr>
            <a:xfrm>
              <a:off x="11348587" y="3855766"/>
              <a:ext cx="300749" cy="303108"/>
            </a:xfrm>
            <a:custGeom>
              <a:avLst/>
              <a:gdLst>
                <a:gd name="connsiteX0" fmla="*/ 121920 w 242887"/>
                <a:gd name="connsiteY0" fmla="*/ 244793 h 244792"/>
                <a:gd name="connsiteX1" fmla="*/ 0 w 242887"/>
                <a:gd name="connsiteY1" fmla="*/ 121920 h 244792"/>
                <a:gd name="connsiteX2" fmla="*/ 121920 w 242887"/>
                <a:gd name="connsiteY2" fmla="*/ 0 h 244792"/>
                <a:gd name="connsiteX3" fmla="*/ 242888 w 242887"/>
                <a:gd name="connsiteY3" fmla="*/ 121920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1920" y="244793"/>
                  </a:moveTo>
                  <a:lnTo>
                    <a:pt x="0" y="121920"/>
                  </a:lnTo>
                  <a:lnTo>
                    <a:pt x="121920" y="0"/>
                  </a:lnTo>
                  <a:lnTo>
                    <a:pt x="242888" y="121920"/>
                  </a:lnTo>
                  <a:close/>
                </a:path>
              </a:pathLst>
            </a:cu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 name="Freihandform: Form 12">
              <a:extLst>
                <a:ext uri="{FF2B5EF4-FFF2-40B4-BE49-F238E27FC236}">
                  <a16:creationId xmlns:a16="http://schemas.microsoft.com/office/drawing/2014/main" id="{C94ADDB0-AB64-4280-B317-A219A4A9D04A}"/>
                </a:ext>
              </a:extLst>
            </p:cNvPr>
            <p:cNvSpPr/>
            <p:nvPr/>
          </p:nvSpPr>
          <p:spPr>
            <a:xfrm>
              <a:off x="9592529" y="2037137"/>
              <a:ext cx="593588" cy="599209"/>
            </a:xfrm>
            <a:custGeom>
              <a:avLst/>
              <a:gdLst>
                <a:gd name="connsiteX0" fmla="*/ 0 w 502919"/>
                <a:gd name="connsiteY0" fmla="*/ 254317 h 507682"/>
                <a:gd name="connsiteX1" fmla="*/ 251460 w 502919"/>
                <a:gd name="connsiteY1" fmla="*/ 507683 h 507682"/>
                <a:gd name="connsiteX2" fmla="*/ 502920 w 502919"/>
                <a:gd name="connsiteY2" fmla="*/ 254317 h 507682"/>
                <a:gd name="connsiteX3" fmla="*/ 251460 w 502919"/>
                <a:gd name="connsiteY3" fmla="*/ 0 h 507682"/>
              </a:gdLst>
              <a:ahLst/>
              <a:cxnLst>
                <a:cxn ang="0">
                  <a:pos x="connsiteX0" y="connsiteY0"/>
                </a:cxn>
                <a:cxn ang="0">
                  <a:pos x="connsiteX1" y="connsiteY1"/>
                </a:cxn>
                <a:cxn ang="0">
                  <a:pos x="connsiteX2" y="connsiteY2"/>
                </a:cxn>
                <a:cxn ang="0">
                  <a:pos x="connsiteX3" y="connsiteY3"/>
                </a:cxn>
              </a:cxnLst>
              <a:rect l="l" t="t" r="r" b="b"/>
              <a:pathLst>
                <a:path w="502919" h="507682">
                  <a:moveTo>
                    <a:pt x="0" y="254317"/>
                  </a:moveTo>
                  <a:lnTo>
                    <a:pt x="251460" y="507683"/>
                  </a:lnTo>
                  <a:lnTo>
                    <a:pt x="502920" y="254317"/>
                  </a:lnTo>
                  <a:lnTo>
                    <a:pt x="251460" y="0"/>
                  </a:lnTo>
                  <a:close/>
                </a:path>
              </a:pathLst>
            </a:custGeom>
            <a:solidFill>
              <a:srgbClr val="00B4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 name="Freihandform: Form 13">
              <a:extLst>
                <a:ext uri="{FF2B5EF4-FFF2-40B4-BE49-F238E27FC236}">
                  <a16:creationId xmlns:a16="http://schemas.microsoft.com/office/drawing/2014/main" id="{60AC3D7C-D55E-4B52-982E-6A91DCF0D995}"/>
                </a:ext>
              </a:extLst>
            </p:cNvPr>
            <p:cNvSpPr/>
            <p:nvPr/>
          </p:nvSpPr>
          <p:spPr>
            <a:xfrm>
              <a:off x="10070273" y="3572952"/>
              <a:ext cx="790721" cy="78854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 name="Freihandform: Form 14">
              <a:extLst>
                <a:ext uri="{FF2B5EF4-FFF2-40B4-BE49-F238E27FC236}">
                  <a16:creationId xmlns:a16="http://schemas.microsoft.com/office/drawing/2014/main" id="{1A2CAB63-646D-4CFB-8482-1E2135FF5EAE}"/>
                </a:ext>
              </a:extLst>
            </p:cNvPr>
            <p:cNvSpPr/>
            <p:nvPr/>
          </p:nvSpPr>
          <p:spPr>
            <a:xfrm>
              <a:off x="9819952" y="2923576"/>
              <a:ext cx="467570" cy="47123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 name="Freihandform: Form 15">
              <a:extLst>
                <a:ext uri="{FF2B5EF4-FFF2-40B4-BE49-F238E27FC236}">
                  <a16:creationId xmlns:a16="http://schemas.microsoft.com/office/drawing/2014/main" id="{E72659B1-9140-4DD7-82B6-917AE85191C7}"/>
                </a:ext>
              </a:extLst>
            </p:cNvPr>
            <p:cNvSpPr/>
            <p:nvPr/>
          </p:nvSpPr>
          <p:spPr>
            <a:xfrm>
              <a:off x="11293117" y="2090232"/>
              <a:ext cx="593588" cy="599428"/>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 name="Freihandform: Form 16">
              <a:extLst>
                <a:ext uri="{FF2B5EF4-FFF2-40B4-BE49-F238E27FC236}">
                  <a16:creationId xmlns:a16="http://schemas.microsoft.com/office/drawing/2014/main" id="{3A8F46B5-C30C-477C-9C78-8ADE672C4969}"/>
                </a:ext>
              </a:extLst>
            </p:cNvPr>
            <p:cNvSpPr/>
            <p:nvPr/>
          </p:nvSpPr>
          <p:spPr>
            <a:xfrm rot="18899514">
              <a:off x="8283923" y="2772681"/>
              <a:ext cx="1084084" cy="1084084"/>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 name="Freihandform: Form 17">
              <a:extLst>
                <a:ext uri="{FF2B5EF4-FFF2-40B4-BE49-F238E27FC236}">
                  <a16:creationId xmlns:a16="http://schemas.microsoft.com/office/drawing/2014/main" id="{BC5EA122-F1B2-4098-8EAA-E4E066C0BE04}"/>
                </a:ext>
              </a:extLst>
            </p:cNvPr>
            <p:cNvSpPr/>
            <p:nvPr/>
          </p:nvSpPr>
          <p:spPr>
            <a:xfrm rot="18899514">
              <a:off x="12056480" y="394168"/>
              <a:ext cx="655807" cy="655807"/>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59A1D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pic>
        <p:nvPicPr>
          <p:cNvPr id="19" name="Grafik 18">
            <a:extLst>
              <a:ext uri="{FF2B5EF4-FFF2-40B4-BE49-F238E27FC236}">
                <a16:creationId xmlns:a16="http://schemas.microsoft.com/office/drawing/2014/main" id="{0167E75C-35CD-4DB9-8B7C-CC46985C806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20" name="Gruppieren 19">
            <a:extLst>
              <a:ext uri="{FF2B5EF4-FFF2-40B4-BE49-F238E27FC236}">
                <a16:creationId xmlns:a16="http://schemas.microsoft.com/office/drawing/2014/main" id="{70C0D4D5-6F30-4FE2-8597-4651DD55614E}"/>
              </a:ext>
            </a:extLst>
          </p:cNvPr>
          <p:cNvGrpSpPr/>
          <p:nvPr userDrawn="1"/>
        </p:nvGrpSpPr>
        <p:grpSpPr>
          <a:xfrm>
            <a:off x="1" y="5042376"/>
            <a:ext cx="12191998" cy="36000"/>
            <a:chOff x="1" y="5042376"/>
            <a:chExt cx="12191998" cy="36000"/>
          </a:xfrm>
        </p:grpSpPr>
        <p:sp>
          <p:nvSpPr>
            <p:cNvPr id="21" name="Rechteck 20">
              <a:extLst>
                <a:ext uri="{FF2B5EF4-FFF2-40B4-BE49-F238E27FC236}">
                  <a16:creationId xmlns:a16="http://schemas.microsoft.com/office/drawing/2014/main" id="{DE0EE4B5-435F-4C5B-8C3B-4A1183CB5442}"/>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22" name="Rechteck 21">
              <a:extLst>
                <a:ext uri="{FF2B5EF4-FFF2-40B4-BE49-F238E27FC236}">
                  <a16:creationId xmlns:a16="http://schemas.microsoft.com/office/drawing/2014/main" id="{78F763E1-265C-4AC9-A9AD-47FC6AB5E7F1}"/>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3" name="Grafik 22">
            <a:extLst>
              <a:ext uri="{FF2B5EF4-FFF2-40B4-BE49-F238E27FC236}">
                <a16:creationId xmlns:a16="http://schemas.microsoft.com/office/drawing/2014/main" id="{793421E3-6FA2-4D4D-A0A4-7C55501AE14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sp>
        <p:nvSpPr>
          <p:cNvPr id="26" name="Titel 25">
            <a:extLst>
              <a:ext uri="{FF2B5EF4-FFF2-40B4-BE49-F238E27FC236}">
                <a16:creationId xmlns:a16="http://schemas.microsoft.com/office/drawing/2014/main" id="{9376D129-73BE-4338-8F4F-FE4684BC6E84}"/>
              </a:ext>
            </a:extLst>
          </p:cNvPr>
          <p:cNvSpPr>
            <a:spLocks noGrp="1"/>
          </p:cNvSpPr>
          <p:nvPr>
            <p:ph type="title" hasCustomPrompt="1"/>
          </p:nvPr>
        </p:nvSpPr>
        <p:spPr>
          <a:xfrm>
            <a:off x="947738" y="300071"/>
            <a:ext cx="6130977" cy="2690816"/>
          </a:xfrm>
        </p:spPr>
        <p:txBody>
          <a:bodyPr>
            <a:normAutofit/>
          </a:bodyPr>
          <a:lstStyle>
            <a:lvl1pPr>
              <a:lnSpc>
                <a:spcPct val="100000"/>
              </a:lnSpc>
              <a:spcAft>
                <a:spcPts val="600"/>
              </a:spcAft>
              <a:defRPr lang="de-DE" sz="6600" kern="1200" smtClean="0">
                <a:solidFill>
                  <a:schemeClr val="bg1"/>
                </a:solidFill>
                <a:latin typeface="+mj-lt"/>
                <a:ea typeface="+mn-ea"/>
                <a:cs typeface="Arial" panose="020B0604020202020204" pitchFamily="34" charset="0"/>
              </a:defRPr>
            </a:lvl1pPr>
          </a:lstStyle>
          <a:p>
            <a:r>
              <a:rPr lang="de-DE"/>
              <a:t>Add Title</a:t>
            </a:r>
            <a:br>
              <a:rPr lang="de-DE"/>
            </a:br>
            <a:r>
              <a:rPr lang="de-DE" err="1"/>
              <a:t>here</a:t>
            </a:r>
            <a:endParaRPr lang="en-US"/>
          </a:p>
        </p:txBody>
      </p:sp>
      <p:sp>
        <p:nvSpPr>
          <p:cNvPr id="25" name="Textplatzhalter 26">
            <a:extLst>
              <a:ext uri="{FF2B5EF4-FFF2-40B4-BE49-F238E27FC236}">
                <a16:creationId xmlns:a16="http://schemas.microsoft.com/office/drawing/2014/main" id="{3300F73B-E3F5-4866-B2D8-0342A2179505}"/>
              </a:ext>
            </a:extLst>
          </p:cNvPr>
          <p:cNvSpPr>
            <a:spLocks noGrp="1"/>
          </p:cNvSpPr>
          <p:nvPr>
            <p:ph type="body" sz="quarter" idx="10" hasCustomPrompt="1"/>
          </p:nvPr>
        </p:nvSpPr>
        <p:spPr>
          <a:xfrm>
            <a:off x="947736" y="3843652"/>
            <a:ext cx="4043363" cy="475678"/>
          </a:xfrm>
        </p:spPr>
        <p:txBody>
          <a:bodyPr anchor="b">
            <a:normAutofit/>
          </a:bodyPr>
          <a:lstStyle>
            <a:lvl1pPr marL="0" indent="0">
              <a:buFont typeface="Arial" panose="020B0604020202020204" pitchFamily="34" charset="0"/>
              <a:buNone/>
              <a:defRPr sz="2800">
                <a:solidFill>
                  <a:schemeClr val="bg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a:t>Date</a:t>
            </a:r>
          </a:p>
        </p:txBody>
      </p:sp>
      <p:sp>
        <p:nvSpPr>
          <p:cNvPr id="28" name="Textplatzhalter 26">
            <a:extLst>
              <a:ext uri="{FF2B5EF4-FFF2-40B4-BE49-F238E27FC236}">
                <a16:creationId xmlns:a16="http://schemas.microsoft.com/office/drawing/2014/main" id="{AFFF099E-2B7D-4F89-A642-6164C637A1F9}"/>
              </a:ext>
            </a:extLst>
          </p:cNvPr>
          <p:cNvSpPr>
            <a:spLocks noGrp="1"/>
          </p:cNvSpPr>
          <p:nvPr>
            <p:ph type="body" sz="quarter" idx="11" hasCustomPrompt="1"/>
          </p:nvPr>
        </p:nvSpPr>
        <p:spPr>
          <a:xfrm>
            <a:off x="947736" y="3329466"/>
            <a:ext cx="6130977" cy="475678"/>
          </a:xfrm>
        </p:spPr>
        <p:txBody>
          <a:bodyPr anchor="b">
            <a:normAutofit/>
          </a:bodyPr>
          <a:lstStyle>
            <a:lvl1pPr marL="0" indent="0">
              <a:buFont typeface="Arial" panose="020B0604020202020204" pitchFamily="34" charset="0"/>
              <a:buNone/>
              <a:defRPr sz="2800">
                <a:solidFill>
                  <a:schemeClr val="bg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a:t>
            </a:r>
            <a:r>
              <a:rPr lang="de-DE" err="1"/>
              <a:t>Presenter</a:t>
            </a:r>
            <a:r>
              <a:rPr lang="de-DE"/>
              <a:t> Title</a:t>
            </a:r>
            <a:endParaRPr lang="en-US"/>
          </a:p>
        </p:txBody>
      </p:sp>
    </p:spTree>
    <p:extLst>
      <p:ext uri="{BB962C8B-B14F-4D97-AF65-F5344CB8AC3E}">
        <p14:creationId xmlns:p14="http://schemas.microsoft.com/office/powerpoint/2010/main" val="170164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Product">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5A07C47D-3C55-486E-B8ED-D76B4DF8D388}"/>
              </a:ext>
            </a:extLst>
          </p:cNvPr>
          <p:cNvSpPr/>
          <p:nvPr userDrawn="1"/>
        </p:nvSpPr>
        <p:spPr>
          <a:xfrm>
            <a:off x="0" y="2093054"/>
            <a:ext cx="12192000" cy="2623880"/>
          </a:xfrm>
          <a:prstGeom prst="rect">
            <a:avLst/>
          </a:prstGeom>
          <a:gradFill flip="none" rotWithShape="1">
            <a:gsLst>
              <a:gs pos="0">
                <a:schemeClr val="tx2">
                  <a:lumMod val="50000"/>
                  <a:lumOff val="5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grpSp>
        <p:nvGrpSpPr>
          <p:cNvPr id="2" name="Gruppieren 1">
            <a:extLst>
              <a:ext uri="{FF2B5EF4-FFF2-40B4-BE49-F238E27FC236}">
                <a16:creationId xmlns:a16="http://schemas.microsoft.com/office/drawing/2014/main" id="{291BFB33-B8C5-4FF5-A599-2DF8031BD459}"/>
              </a:ext>
            </a:extLst>
          </p:cNvPr>
          <p:cNvGrpSpPr/>
          <p:nvPr userDrawn="1"/>
        </p:nvGrpSpPr>
        <p:grpSpPr>
          <a:xfrm>
            <a:off x="8982731" y="182880"/>
            <a:ext cx="4034527" cy="4337058"/>
            <a:chOff x="8982731" y="182880"/>
            <a:chExt cx="4034527" cy="4337058"/>
          </a:xfrm>
        </p:grpSpPr>
        <p:sp>
          <p:nvSpPr>
            <p:cNvPr id="25" name="Raute 24">
              <a:extLst>
                <a:ext uri="{FF2B5EF4-FFF2-40B4-BE49-F238E27FC236}">
                  <a16:creationId xmlns:a16="http://schemas.microsoft.com/office/drawing/2014/main" id="{9908AE13-6D07-41C2-9BD5-7B992EF26247}"/>
                </a:ext>
              </a:extLst>
            </p:cNvPr>
            <p:cNvSpPr/>
            <p:nvPr userDrawn="1"/>
          </p:nvSpPr>
          <p:spPr>
            <a:xfrm>
              <a:off x="9815077" y="629042"/>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289EA645-A91C-43A0-91D9-9056A198D73A}"/>
                </a:ext>
              </a:extLst>
            </p:cNvPr>
            <p:cNvSpPr/>
            <p:nvPr userDrawn="1"/>
          </p:nvSpPr>
          <p:spPr>
            <a:xfrm>
              <a:off x="10466926" y="2488689"/>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71D9247F-7FAB-44EB-9684-0CACA8EE6F1C}"/>
                </a:ext>
              </a:extLst>
            </p:cNvPr>
            <p:cNvSpPr/>
            <p:nvPr userDrawn="1"/>
          </p:nvSpPr>
          <p:spPr>
            <a:xfrm>
              <a:off x="8982731" y="880304"/>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 name="Raute 27">
              <a:extLst>
                <a:ext uri="{FF2B5EF4-FFF2-40B4-BE49-F238E27FC236}">
                  <a16:creationId xmlns:a16="http://schemas.microsoft.com/office/drawing/2014/main" id="{F9AA3ECD-4F92-45D6-ADD5-B60FAA7D01D2}"/>
                </a:ext>
              </a:extLst>
            </p:cNvPr>
            <p:cNvSpPr/>
            <p:nvPr userDrawn="1"/>
          </p:nvSpPr>
          <p:spPr>
            <a:xfrm>
              <a:off x="11639629" y="182880"/>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 name="Raute 28">
              <a:extLst>
                <a:ext uri="{FF2B5EF4-FFF2-40B4-BE49-F238E27FC236}">
                  <a16:creationId xmlns:a16="http://schemas.microsoft.com/office/drawing/2014/main" id="{895F3B9E-993E-476F-8527-BD047CAE790F}"/>
                </a:ext>
              </a:extLst>
            </p:cNvPr>
            <p:cNvSpPr/>
            <p:nvPr userDrawn="1"/>
          </p:nvSpPr>
          <p:spPr>
            <a:xfrm rot="21599514">
              <a:off x="9723329" y="636382"/>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 name="Raute 29">
              <a:extLst>
                <a:ext uri="{FF2B5EF4-FFF2-40B4-BE49-F238E27FC236}">
                  <a16:creationId xmlns:a16="http://schemas.microsoft.com/office/drawing/2014/main" id="{AA1CA5E2-E351-4446-8F76-49C1CE31E568}"/>
                </a:ext>
              </a:extLst>
            </p:cNvPr>
            <p:cNvSpPr/>
            <p:nvPr userDrawn="1"/>
          </p:nvSpPr>
          <p:spPr>
            <a:xfrm>
              <a:off x="10950373" y="31751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 name="Raute 30">
              <a:extLst>
                <a:ext uri="{FF2B5EF4-FFF2-40B4-BE49-F238E27FC236}">
                  <a16:creationId xmlns:a16="http://schemas.microsoft.com/office/drawing/2014/main" id="{73D028C0-BF86-4321-BF58-89A021A72291}"/>
                </a:ext>
              </a:extLst>
            </p:cNvPr>
            <p:cNvSpPr/>
            <p:nvPr userDrawn="1"/>
          </p:nvSpPr>
          <p:spPr>
            <a:xfrm>
              <a:off x="11637011" y="1387479"/>
              <a:ext cx="300749" cy="303108"/>
            </a:xfrm>
            <a:prstGeom prst="diamond">
              <a:avLst/>
            </a:pr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 name="Raute 31">
              <a:extLst>
                <a:ext uri="{FF2B5EF4-FFF2-40B4-BE49-F238E27FC236}">
                  <a16:creationId xmlns:a16="http://schemas.microsoft.com/office/drawing/2014/main" id="{7E7A76E9-3D94-4BD0-8386-AD3D986EF42E}"/>
                </a:ext>
              </a:extLst>
            </p:cNvPr>
            <p:cNvSpPr/>
            <p:nvPr userDrawn="1"/>
          </p:nvSpPr>
          <p:spPr>
            <a:xfrm>
              <a:off x="11376361" y="2004206"/>
              <a:ext cx="300749" cy="303108"/>
            </a:xfrm>
            <a:prstGeom prst="diamond">
              <a:avLst/>
            </a:pr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 name="Raute 32">
              <a:extLst>
                <a:ext uri="{FF2B5EF4-FFF2-40B4-BE49-F238E27FC236}">
                  <a16:creationId xmlns:a16="http://schemas.microsoft.com/office/drawing/2014/main" id="{7C19ED72-098D-4CED-8214-1ADFDD002FA9}"/>
                </a:ext>
              </a:extLst>
            </p:cNvPr>
            <p:cNvSpPr/>
            <p:nvPr userDrawn="1"/>
          </p:nvSpPr>
          <p:spPr>
            <a:xfrm>
              <a:off x="9122600" y="1853439"/>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 name="Raute 33">
              <a:extLst>
                <a:ext uri="{FF2B5EF4-FFF2-40B4-BE49-F238E27FC236}">
                  <a16:creationId xmlns:a16="http://schemas.microsoft.com/office/drawing/2014/main" id="{77FA9B61-81F7-45C5-9935-925A241999CF}"/>
                </a:ext>
              </a:extLst>
            </p:cNvPr>
            <p:cNvSpPr/>
            <p:nvPr userDrawn="1"/>
          </p:nvSpPr>
          <p:spPr>
            <a:xfrm>
              <a:off x="11132671" y="2865738"/>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 name="Raute 34">
              <a:extLst>
                <a:ext uri="{FF2B5EF4-FFF2-40B4-BE49-F238E27FC236}">
                  <a16:creationId xmlns:a16="http://schemas.microsoft.com/office/drawing/2014/main" id="{28B60A42-FAD0-4EDB-9263-906537CF91BA}"/>
                </a:ext>
              </a:extLst>
            </p:cNvPr>
            <p:cNvSpPr/>
            <p:nvPr userDrawn="1"/>
          </p:nvSpPr>
          <p:spPr>
            <a:xfrm>
              <a:off x="9819952" y="2923576"/>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 name="Raute 35">
              <a:extLst>
                <a:ext uri="{FF2B5EF4-FFF2-40B4-BE49-F238E27FC236}">
                  <a16:creationId xmlns:a16="http://schemas.microsoft.com/office/drawing/2014/main" id="{6A7A675B-6CBF-4558-B773-3A92B7F325EB}"/>
                </a:ext>
              </a:extLst>
            </p:cNvPr>
            <p:cNvSpPr/>
            <p:nvPr userDrawn="1"/>
          </p:nvSpPr>
          <p:spPr>
            <a:xfrm>
              <a:off x="10251237" y="3544421"/>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
        <p:nvSpPr>
          <p:cNvPr id="22" name="Titel 25">
            <a:extLst>
              <a:ext uri="{FF2B5EF4-FFF2-40B4-BE49-F238E27FC236}">
                <a16:creationId xmlns:a16="http://schemas.microsoft.com/office/drawing/2014/main" id="{50E56BAA-165A-4180-8DEC-E4B4A4CE3040}"/>
              </a:ext>
            </a:extLst>
          </p:cNvPr>
          <p:cNvSpPr>
            <a:spLocks noGrp="1"/>
          </p:cNvSpPr>
          <p:nvPr>
            <p:ph type="title" hasCustomPrompt="1"/>
          </p:nvPr>
        </p:nvSpPr>
        <p:spPr>
          <a:xfrm>
            <a:off x="947738" y="300070"/>
            <a:ext cx="6130977" cy="4116794"/>
          </a:xfrm>
        </p:spPr>
        <p:txBody>
          <a:bodyPr>
            <a:normAutofit/>
          </a:bodyPr>
          <a:lstStyle>
            <a:lvl1pPr>
              <a:lnSpc>
                <a:spcPct val="100000"/>
              </a:lnSpc>
              <a:spcAft>
                <a:spcPts val="600"/>
              </a:spcAft>
              <a:defRPr lang="de-DE" sz="6600" kern="1200" smtClean="0">
                <a:solidFill>
                  <a:schemeClr val="tx1"/>
                </a:solidFill>
                <a:latin typeface="+mj-lt"/>
                <a:ea typeface="+mn-ea"/>
                <a:cs typeface="Arial" panose="020B0604020202020204" pitchFamily="34" charset="0"/>
              </a:defRPr>
            </a:lvl1pPr>
          </a:lstStyle>
          <a:p>
            <a:r>
              <a:rPr lang="de-DE"/>
              <a:t>Add Title</a:t>
            </a:r>
            <a:br>
              <a:rPr lang="de-DE"/>
            </a:br>
            <a:r>
              <a:rPr lang="de-DE" err="1"/>
              <a:t>here</a:t>
            </a:r>
            <a:endParaRPr lang="en-US"/>
          </a:p>
        </p:txBody>
      </p:sp>
    </p:spTree>
    <p:extLst>
      <p:ext uri="{BB962C8B-B14F-4D97-AF65-F5344CB8AC3E}">
        <p14:creationId xmlns:p14="http://schemas.microsoft.com/office/powerpoint/2010/main" val="81073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_Product_with_Icon">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5A07C47D-3C55-486E-B8ED-D76B4DF8D388}"/>
              </a:ext>
            </a:extLst>
          </p:cNvPr>
          <p:cNvSpPr/>
          <p:nvPr userDrawn="1"/>
        </p:nvSpPr>
        <p:spPr>
          <a:xfrm>
            <a:off x="0" y="2093054"/>
            <a:ext cx="12192000" cy="2623880"/>
          </a:xfrm>
          <a:prstGeom prst="rect">
            <a:avLst/>
          </a:prstGeom>
          <a:gradFill flip="none" rotWithShape="1">
            <a:gsLst>
              <a:gs pos="0">
                <a:schemeClr val="tx2">
                  <a:lumMod val="50000"/>
                  <a:lumOff val="5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grpSp>
        <p:nvGrpSpPr>
          <p:cNvPr id="2" name="Gruppieren 1">
            <a:extLst>
              <a:ext uri="{FF2B5EF4-FFF2-40B4-BE49-F238E27FC236}">
                <a16:creationId xmlns:a16="http://schemas.microsoft.com/office/drawing/2014/main" id="{291BFB33-B8C5-4FF5-A599-2DF8031BD459}"/>
              </a:ext>
            </a:extLst>
          </p:cNvPr>
          <p:cNvGrpSpPr/>
          <p:nvPr userDrawn="1"/>
        </p:nvGrpSpPr>
        <p:grpSpPr>
          <a:xfrm>
            <a:off x="8982731" y="182880"/>
            <a:ext cx="4034527" cy="4337058"/>
            <a:chOff x="8982731" y="182880"/>
            <a:chExt cx="4034527" cy="4337058"/>
          </a:xfrm>
        </p:grpSpPr>
        <p:sp>
          <p:nvSpPr>
            <p:cNvPr id="25" name="Raute 24">
              <a:extLst>
                <a:ext uri="{FF2B5EF4-FFF2-40B4-BE49-F238E27FC236}">
                  <a16:creationId xmlns:a16="http://schemas.microsoft.com/office/drawing/2014/main" id="{9908AE13-6D07-41C2-9BD5-7B992EF26247}"/>
                </a:ext>
              </a:extLst>
            </p:cNvPr>
            <p:cNvSpPr/>
            <p:nvPr userDrawn="1"/>
          </p:nvSpPr>
          <p:spPr>
            <a:xfrm>
              <a:off x="9815077" y="629042"/>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289EA645-A91C-43A0-91D9-9056A198D73A}"/>
                </a:ext>
              </a:extLst>
            </p:cNvPr>
            <p:cNvSpPr/>
            <p:nvPr userDrawn="1"/>
          </p:nvSpPr>
          <p:spPr>
            <a:xfrm>
              <a:off x="10466926" y="2488689"/>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71D9247F-7FAB-44EB-9684-0CACA8EE6F1C}"/>
                </a:ext>
              </a:extLst>
            </p:cNvPr>
            <p:cNvSpPr/>
            <p:nvPr userDrawn="1"/>
          </p:nvSpPr>
          <p:spPr>
            <a:xfrm>
              <a:off x="8982731" y="880304"/>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 name="Raute 27">
              <a:extLst>
                <a:ext uri="{FF2B5EF4-FFF2-40B4-BE49-F238E27FC236}">
                  <a16:creationId xmlns:a16="http://schemas.microsoft.com/office/drawing/2014/main" id="{F9AA3ECD-4F92-45D6-ADD5-B60FAA7D01D2}"/>
                </a:ext>
              </a:extLst>
            </p:cNvPr>
            <p:cNvSpPr/>
            <p:nvPr userDrawn="1"/>
          </p:nvSpPr>
          <p:spPr>
            <a:xfrm>
              <a:off x="11639629" y="182880"/>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 name="Raute 28">
              <a:extLst>
                <a:ext uri="{FF2B5EF4-FFF2-40B4-BE49-F238E27FC236}">
                  <a16:creationId xmlns:a16="http://schemas.microsoft.com/office/drawing/2014/main" id="{895F3B9E-993E-476F-8527-BD047CAE790F}"/>
                </a:ext>
              </a:extLst>
            </p:cNvPr>
            <p:cNvSpPr/>
            <p:nvPr userDrawn="1"/>
          </p:nvSpPr>
          <p:spPr>
            <a:xfrm rot="21599514">
              <a:off x="9723329" y="636382"/>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 name="Raute 29">
              <a:extLst>
                <a:ext uri="{FF2B5EF4-FFF2-40B4-BE49-F238E27FC236}">
                  <a16:creationId xmlns:a16="http://schemas.microsoft.com/office/drawing/2014/main" id="{AA1CA5E2-E351-4446-8F76-49C1CE31E568}"/>
                </a:ext>
              </a:extLst>
            </p:cNvPr>
            <p:cNvSpPr/>
            <p:nvPr userDrawn="1"/>
          </p:nvSpPr>
          <p:spPr>
            <a:xfrm>
              <a:off x="10950373" y="31751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 name="Raute 30">
              <a:extLst>
                <a:ext uri="{FF2B5EF4-FFF2-40B4-BE49-F238E27FC236}">
                  <a16:creationId xmlns:a16="http://schemas.microsoft.com/office/drawing/2014/main" id="{73D028C0-BF86-4321-BF58-89A021A72291}"/>
                </a:ext>
              </a:extLst>
            </p:cNvPr>
            <p:cNvSpPr/>
            <p:nvPr userDrawn="1"/>
          </p:nvSpPr>
          <p:spPr>
            <a:xfrm>
              <a:off x="11637011" y="1387479"/>
              <a:ext cx="300749" cy="303108"/>
            </a:xfrm>
            <a:prstGeom prst="diamond">
              <a:avLst/>
            </a:pr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 name="Raute 31">
              <a:extLst>
                <a:ext uri="{FF2B5EF4-FFF2-40B4-BE49-F238E27FC236}">
                  <a16:creationId xmlns:a16="http://schemas.microsoft.com/office/drawing/2014/main" id="{7E7A76E9-3D94-4BD0-8386-AD3D986EF42E}"/>
                </a:ext>
              </a:extLst>
            </p:cNvPr>
            <p:cNvSpPr/>
            <p:nvPr userDrawn="1"/>
          </p:nvSpPr>
          <p:spPr>
            <a:xfrm>
              <a:off x="11376361" y="2004206"/>
              <a:ext cx="300749" cy="303108"/>
            </a:xfrm>
            <a:prstGeom prst="diamond">
              <a:avLst/>
            </a:pr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 name="Raute 32">
              <a:extLst>
                <a:ext uri="{FF2B5EF4-FFF2-40B4-BE49-F238E27FC236}">
                  <a16:creationId xmlns:a16="http://schemas.microsoft.com/office/drawing/2014/main" id="{7C19ED72-098D-4CED-8214-1ADFDD002FA9}"/>
                </a:ext>
              </a:extLst>
            </p:cNvPr>
            <p:cNvSpPr/>
            <p:nvPr userDrawn="1"/>
          </p:nvSpPr>
          <p:spPr>
            <a:xfrm>
              <a:off x="9122600" y="1853439"/>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 name="Raute 33">
              <a:extLst>
                <a:ext uri="{FF2B5EF4-FFF2-40B4-BE49-F238E27FC236}">
                  <a16:creationId xmlns:a16="http://schemas.microsoft.com/office/drawing/2014/main" id="{77FA9B61-81F7-45C5-9935-925A241999CF}"/>
                </a:ext>
              </a:extLst>
            </p:cNvPr>
            <p:cNvSpPr/>
            <p:nvPr userDrawn="1"/>
          </p:nvSpPr>
          <p:spPr>
            <a:xfrm>
              <a:off x="11132671" y="2865738"/>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 name="Raute 34">
              <a:extLst>
                <a:ext uri="{FF2B5EF4-FFF2-40B4-BE49-F238E27FC236}">
                  <a16:creationId xmlns:a16="http://schemas.microsoft.com/office/drawing/2014/main" id="{28B60A42-FAD0-4EDB-9263-906537CF91BA}"/>
                </a:ext>
              </a:extLst>
            </p:cNvPr>
            <p:cNvSpPr/>
            <p:nvPr userDrawn="1"/>
          </p:nvSpPr>
          <p:spPr>
            <a:xfrm>
              <a:off x="9819952" y="2923576"/>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 name="Raute 35">
              <a:extLst>
                <a:ext uri="{FF2B5EF4-FFF2-40B4-BE49-F238E27FC236}">
                  <a16:creationId xmlns:a16="http://schemas.microsoft.com/office/drawing/2014/main" id="{6A7A675B-6CBF-4558-B773-3A92B7F325EB}"/>
                </a:ext>
              </a:extLst>
            </p:cNvPr>
            <p:cNvSpPr/>
            <p:nvPr userDrawn="1"/>
          </p:nvSpPr>
          <p:spPr>
            <a:xfrm>
              <a:off x="10251237" y="3544421"/>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
        <p:nvSpPr>
          <p:cNvPr id="22" name="Titel 25">
            <a:extLst>
              <a:ext uri="{FF2B5EF4-FFF2-40B4-BE49-F238E27FC236}">
                <a16:creationId xmlns:a16="http://schemas.microsoft.com/office/drawing/2014/main" id="{50E56BAA-165A-4180-8DEC-E4B4A4CE3040}"/>
              </a:ext>
            </a:extLst>
          </p:cNvPr>
          <p:cNvSpPr>
            <a:spLocks noGrp="1"/>
          </p:cNvSpPr>
          <p:nvPr>
            <p:ph type="title" hasCustomPrompt="1"/>
          </p:nvPr>
        </p:nvSpPr>
        <p:spPr>
          <a:xfrm>
            <a:off x="947738" y="1482724"/>
            <a:ext cx="6130977" cy="2934139"/>
          </a:xfrm>
        </p:spPr>
        <p:txBody>
          <a:bodyPr>
            <a:normAutofit/>
          </a:bodyPr>
          <a:lstStyle>
            <a:lvl1pPr>
              <a:lnSpc>
                <a:spcPct val="100000"/>
              </a:lnSpc>
              <a:spcAft>
                <a:spcPts val="600"/>
              </a:spcAft>
              <a:defRPr lang="de-DE" sz="6600" kern="1200" smtClean="0">
                <a:solidFill>
                  <a:schemeClr val="tx1"/>
                </a:solidFill>
                <a:latin typeface="+mj-lt"/>
                <a:ea typeface="+mn-ea"/>
                <a:cs typeface="Arial" panose="020B0604020202020204" pitchFamily="34" charset="0"/>
              </a:defRPr>
            </a:lvl1pPr>
          </a:lstStyle>
          <a:p>
            <a:r>
              <a:rPr lang="de-DE"/>
              <a:t>Add Title</a:t>
            </a:r>
            <a:br>
              <a:rPr lang="de-DE"/>
            </a:br>
            <a:r>
              <a:rPr lang="de-DE" err="1"/>
              <a:t>here</a:t>
            </a:r>
            <a:endParaRPr lang="en-US"/>
          </a:p>
        </p:txBody>
      </p:sp>
      <p:sp>
        <p:nvSpPr>
          <p:cNvPr id="5" name="Textfeld 4">
            <a:extLst>
              <a:ext uri="{FF2B5EF4-FFF2-40B4-BE49-F238E27FC236}">
                <a16:creationId xmlns:a16="http://schemas.microsoft.com/office/drawing/2014/main" id="{825F35A6-4E31-4857-9B74-17F5C9BF1844}"/>
              </a:ext>
            </a:extLst>
          </p:cNvPr>
          <p:cNvSpPr txBox="1"/>
          <p:nvPr userDrawn="1"/>
        </p:nvSpPr>
        <p:spPr>
          <a:xfrm>
            <a:off x="1767892" y="844547"/>
            <a:ext cx="2215515" cy="279029"/>
          </a:xfrm>
          <a:prstGeom prst="rect">
            <a:avLst/>
          </a:prstGeom>
          <a:noFill/>
        </p:spPr>
        <p:txBody>
          <a:bodyPr wrap="square" lIns="0" tIns="0" rIns="0" bIns="0" anchor="t">
            <a:noAutofit/>
          </a:bodyPr>
          <a:lstStyle/>
          <a:p>
            <a:pPr marL="0" marR="0" lvl="0" indent="0" algn="l" defTabSz="914400" rtl="0" eaLnBrk="1" fontAlgn="auto" latinLnBrk="0" hangingPunct="1">
              <a:lnSpc>
                <a:spcPct val="90000"/>
              </a:lnSpc>
              <a:spcBef>
                <a:spcPts val="0"/>
              </a:spcBef>
              <a:buClr>
                <a:srgbClr val="0068B4"/>
              </a:buClr>
              <a:buSzPct val="100000"/>
              <a:buFont typeface="Wingdings" panose="05000000000000000000" pitchFamily="2" charset="2"/>
              <a:buNone/>
              <a:tabLst/>
              <a:defRPr/>
            </a:pPr>
            <a:r>
              <a:rPr lang="en-US" sz="2100">
                <a:solidFill>
                  <a:srgbClr val="414042"/>
                </a:solidFill>
                <a:latin typeface="Roboto Light"/>
              </a:rPr>
              <a:t>UTIMACO</a:t>
            </a:r>
            <a:endParaRPr lang="en-US" sz="3200">
              <a:solidFill>
                <a:srgbClr val="414042"/>
              </a:solidFill>
              <a:ea typeface="Roboto" panose="02000000000000000000" pitchFamily="2" charset="0"/>
            </a:endParaRPr>
          </a:p>
        </p:txBody>
      </p:sp>
      <p:sp>
        <p:nvSpPr>
          <p:cNvPr id="12" name="Textfeld 11">
            <a:extLst>
              <a:ext uri="{FF2B5EF4-FFF2-40B4-BE49-F238E27FC236}">
                <a16:creationId xmlns:a16="http://schemas.microsoft.com/office/drawing/2014/main" id="{47C9ECFB-ACAF-4B8E-9749-D086F1BACF55}"/>
              </a:ext>
            </a:extLst>
          </p:cNvPr>
          <p:cNvSpPr txBox="1"/>
          <p:nvPr userDrawn="1"/>
        </p:nvSpPr>
        <p:spPr>
          <a:xfrm>
            <a:off x="4213010" y="1048295"/>
            <a:ext cx="3042781" cy="1068102"/>
          </a:xfrm>
          <a:prstGeom prst="rect">
            <a:avLst/>
          </a:prstGeom>
          <a:effectLst/>
        </p:spPr>
        <p:txBody>
          <a:bodyPr vert="horz" wrap="square" lIns="0" tIns="0" rIns="0" bIns="0" rtlCol="0">
            <a:noAutofit/>
          </a:bodyPr>
          <a:lstStyle/>
          <a:p>
            <a:pPr marL="182563" indent="-182563" algn="l">
              <a:lnSpc>
                <a:spcPct val="100000"/>
              </a:lnSpc>
              <a:spcBef>
                <a:spcPts val="0"/>
              </a:spcBef>
              <a:spcAft>
                <a:spcPts val="600"/>
              </a:spcAft>
            </a:pPr>
            <a:endParaRPr lang="en-US" sz="1400"/>
          </a:p>
        </p:txBody>
      </p:sp>
      <p:sp>
        <p:nvSpPr>
          <p:cNvPr id="14" name="Inhaltsplatzhalter 13">
            <a:extLst>
              <a:ext uri="{FF2B5EF4-FFF2-40B4-BE49-F238E27FC236}">
                <a16:creationId xmlns:a16="http://schemas.microsoft.com/office/drawing/2014/main" id="{86CE26AB-9E5B-492A-A835-CE237EAF086D}"/>
              </a:ext>
            </a:extLst>
          </p:cNvPr>
          <p:cNvSpPr>
            <a:spLocks noGrp="1"/>
          </p:cNvSpPr>
          <p:nvPr>
            <p:ph sz="quarter" idx="10" hasCustomPrompt="1"/>
          </p:nvPr>
        </p:nvSpPr>
        <p:spPr>
          <a:xfrm>
            <a:off x="1761542" y="1056277"/>
            <a:ext cx="4626932" cy="514339"/>
          </a:xfrm>
        </p:spPr>
        <p:txBody>
          <a:bodyPr anchor="b"/>
          <a:lstStyle>
            <a:lvl1pPr marL="0" indent="0">
              <a:buFont typeface="Arial" panose="020B0604020202020204" pitchFamily="34" charset="0"/>
              <a:buNone/>
              <a:defRPr sz="3200"/>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lvl="0"/>
            <a:r>
              <a:rPr lang="de-DE" err="1"/>
              <a:t>Product</a:t>
            </a:r>
            <a:r>
              <a:rPr lang="de-DE"/>
              <a:t> Name</a:t>
            </a:r>
            <a:endParaRPr lang="en-US"/>
          </a:p>
        </p:txBody>
      </p:sp>
      <p:sp>
        <p:nvSpPr>
          <p:cNvPr id="18" name="Bildplatzhalter 17">
            <a:extLst>
              <a:ext uri="{FF2B5EF4-FFF2-40B4-BE49-F238E27FC236}">
                <a16:creationId xmlns:a16="http://schemas.microsoft.com/office/drawing/2014/main" id="{6A329D2A-3BEA-4892-B2F7-B3F928554850}"/>
              </a:ext>
            </a:extLst>
          </p:cNvPr>
          <p:cNvSpPr>
            <a:spLocks noGrp="1"/>
          </p:cNvSpPr>
          <p:nvPr>
            <p:ph type="pic" sz="quarter" idx="11" hasCustomPrompt="1"/>
          </p:nvPr>
        </p:nvSpPr>
        <p:spPr>
          <a:xfrm>
            <a:off x="947738" y="873125"/>
            <a:ext cx="608400" cy="608400"/>
          </a:xfrm>
        </p:spPr>
        <p:txBody>
          <a:bodyPr anchor="ctr"/>
          <a:lstStyle>
            <a:lvl1pPr marL="0" indent="0" algn="ctr">
              <a:buFont typeface="Arial" panose="020B0604020202020204" pitchFamily="34" charset="0"/>
              <a:buNone/>
              <a:defRPr sz="1400"/>
            </a:lvl1pPr>
          </a:lstStyle>
          <a:p>
            <a:r>
              <a:rPr lang="de-DE"/>
              <a:t>Icon</a:t>
            </a:r>
            <a:endParaRPr lang="en-US"/>
          </a:p>
        </p:txBody>
      </p:sp>
    </p:spTree>
    <p:extLst>
      <p:ext uri="{BB962C8B-B14F-4D97-AF65-F5344CB8AC3E}">
        <p14:creationId xmlns:p14="http://schemas.microsoft.com/office/powerpoint/2010/main" val="58778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_Product_Date_Name">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5A07C47D-3C55-486E-B8ED-D76B4DF8D388}"/>
              </a:ext>
            </a:extLst>
          </p:cNvPr>
          <p:cNvSpPr/>
          <p:nvPr userDrawn="1"/>
        </p:nvSpPr>
        <p:spPr>
          <a:xfrm>
            <a:off x="0" y="2093054"/>
            <a:ext cx="12192000" cy="2623880"/>
          </a:xfrm>
          <a:prstGeom prst="rect">
            <a:avLst/>
          </a:prstGeom>
          <a:gradFill flip="none" rotWithShape="1">
            <a:gsLst>
              <a:gs pos="0">
                <a:schemeClr val="tx2">
                  <a:lumMod val="50000"/>
                  <a:lumOff val="5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sp>
        <p:nvSpPr>
          <p:cNvPr id="25" name="Raute 24">
            <a:extLst>
              <a:ext uri="{FF2B5EF4-FFF2-40B4-BE49-F238E27FC236}">
                <a16:creationId xmlns:a16="http://schemas.microsoft.com/office/drawing/2014/main" id="{9908AE13-6D07-41C2-9BD5-7B992EF26247}"/>
              </a:ext>
            </a:extLst>
          </p:cNvPr>
          <p:cNvSpPr/>
          <p:nvPr userDrawn="1"/>
        </p:nvSpPr>
        <p:spPr>
          <a:xfrm>
            <a:off x="9815077" y="629042"/>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289EA645-A91C-43A0-91D9-9056A198D73A}"/>
              </a:ext>
            </a:extLst>
          </p:cNvPr>
          <p:cNvSpPr/>
          <p:nvPr userDrawn="1"/>
        </p:nvSpPr>
        <p:spPr>
          <a:xfrm>
            <a:off x="10466926" y="2488689"/>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71D9247F-7FAB-44EB-9684-0CACA8EE6F1C}"/>
              </a:ext>
            </a:extLst>
          </p:cNvPr>
          <p:cNvSpPr/>
          <p:nvPr userDrawn="1"/>
        </p:nvSpPr>
        <p:spPr>
          <a:xfrm>
            <a:off x="8982731" y="880304"/>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 name="Raute 27">
            <a:extLst>
              <a:ext uri="{FF2B5EF4-FFF2-40B4-BE49-F238E27FC236}">
                <a16:creationId xmlns:a16="http://schemas.microsoft.com/office/drawing/2014/main" id="{F9AA3ECD-4F92-45D6-ADD5-B60FAA7D01D2}"/>
              </a:ext>
            </a:extLst>
          </p:cNvPr>
          <p:cNvSpPr/>
          <p:nvPr userDrawn="1"/>
        </p:nvSpPr>
        <p:spPr>
          <a:xfrm>
            <a:off x="11639629" y="182880"/>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 name="Raute 28">
            <a:extLst>
              <a:ext uri="{FF2B5EF4-FFF2-40B4-BE49-F238E27FC236}">
                <a16:creationId xmlns:a16="http://schemas.microsoft.com/office/drawing/2014/main" id="{895F3B9E-993E-476F-8527-BD047CAE790F}"/>
              </a:ext>
            </a:extLst>
          </p:cNvPr>
          <p:cNvSpPr/>
          <p:nvPr userDrawn="1"/>
        </p:nvSpPr>
        <p:spPr>
          <a:xfrm rot="21599514">
            <a:off x="9723329" y="636382"/>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 name="Raute 29">
            <a:extLst>
              <a:ext uri="{FF2B5EF4-FFF2-40B4-BE49-F238E27FC236}">
                <a16:creationId xmlns:a16="http://schemas.microsoft.com/office/drawing/2014/main" id="{AA1CA5E2-E351-4446-8F76-49C1CE31E568}"/>
              </a:ext>
            </a:extLst>
          </p:cNvPr>
          <p:cNvSpPr/>
          <p:nvPr userDrawn="1"/>
        </p:nvSpPr>
        <p:spPr>
          <a:xfrm>
            <a:off x="10950373" y="31751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 name="Raute 30">
            <a:extLst>
              <a:ext uri="{FF2B5EF4-FFF2-40B4-BE49-F238E27FC236}">
                <a16:creationId xmlns:a16="http://schemas.microsoft.com/office/drawing/2014/main" id="{73D028C0-BF86-4321-BF58-89A021A72291}"/>
              </a:ext>
            </a:extLst>
          </p:cNvPr>
          <p:cNvSpPr/>
          <p:nvPr userDrawn="1"/>
        </p:nvSpPr>
        <p:spPr>
          <a:xfrm>
            <a:off x="11637011" y="1387479"/>
            <a:ext cx="300749" cy="303108"/>
          </a:xfrm>
          <a:prstGeom prst="diamond">
            <a:avLst/>
          </a:pr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 name="Raute 31">
            <a:extLst>
              <a:ext uri="{FF2B5EF4-FFF2-40B4-BE49-F238E27FC236}">
                <a16:creationId xmlns:a16="http://schemas.microsoft.com/office/drawing/2014/main" id="{7E7A76E9-3D94-4BD0-8386-AD3D986EF42E}"/>
              </a:ext>
            </a:extLst>
          </p:cNvPr>
          <p:cNvSpPr/>
          <p:nvPr userDrawn="1"/>
        </p:nvSpPr>
        <p:spPr>
          <a:xfrm>
            <a:off x="11376361" y="2004206"/>
            <a:ext cx="300749" cy="303108"/>
          </a:xfrm>
          <a:prstGeom prst="diamond">
            <a:avLst/>
          </a:pr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 name="Raute 32">
            <a:extLst>
              <a:ext uri="{FF2B5EF4-FFF2-40B4-BE49-F238E27FC236}">
                <a16:creationId xmlns:a16="http://schemas.microsoft.com/office/drawing/2014/main" id="{7C19ED72-098D-4CED-8214-1ADFDD002FA9}"/>
              </a:ext>
            </a:extLst>
          </p:cNvPr>
          <p:cNvSpPr/>
          <p:nvPr userDrawn="1"/>
        </p:nvSpPr>
        <p:spPr>
          <a:xfrm>
            <a:off x="9122600" y="1853439"/>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 name="Raute 33">
            <a:extLst>
              <a:ext uri="{FF2B5EF4-FFF2-40B4-BE49-F238E27FC236}">
                <a16:creationId xmlns:a16="http://schemas.microsoft.com/office/drawing/2014/main" id="{77FA9B61-81F7-45C5-9935-925A241999CF}"/>
              </a:ext>
            </a:extLst>
          </p:cNvPr>
          <p:cNvSpPr/>
          <p:nvPr userDrawn="1"/>
        </p:nvSpPr>
        <p:spPr>
          <a:xfrm>
            <a:off x="11132671" y="2865738"/>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 name="Raute 34">
            <a:extLst>
              <a:ext uri="{FF2B5EF4-FFF2-40B4-BE49-F238E27FC236}">
                <a16:creationId xmlns:a16="http://schemas.microsoft.com/office/drawing/2014/main" id="{28B60A42-FAD0-4EDB-9263-906537CF91BA}"/>
              </a:ext>
            </a:extLst>
          </p:cNvPr>
          <p:cNvSpPr/>
          <p:nvPr userDrawn="1"/>
        </p:nvSpPr>
        <p:spPr>
          <a:xfrm>
            <a:off x="9819952" y="2923576"/>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 name="Raute 35">
            <a:extLst>
              <a:ext uri="{FF2B5EF4-FFF2-40B4-BE49-F238E27FC236}">
                <a16:creationId xmlns:a16="http://schemas.microsoft.com/office/drawing/2014/main" id="{6A7A675B-6CBF-4558-B773-3A92B7F325EB}"/>
              </a:ext>
            </a:extLst>
          </p:cNvPr>
          <p:cNvSpPr/>
          <p:nvPr userDrawn="1"/>
        </p:nvSpPr>
        <p:spPr>
          <a:xfrm>
            <a:off x="10251237" y="3544421"/>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 name="Textplatzhalter 26">
            <a:extLst>
              <a:ext uri="{FF2B5EF4-FFF2-40B4-BE49-F238E27FC236}">
                <a16:creationId xmlns:a16="http://schemas.microsoft.com/office/drawing/2014/main" id="{A07FD424-A435-4E73-BF98-3BD98123B9FC}"/>
              </a:ext>
            </a:extLst>
          </p:cNvPr>
          <p:cNvSpPr>
            <a:spLocks noGrp="1"/>
          </p:cNvSpPr>
          <p:nvPr>
            <p:ph type="body" sz="quarter" idx="10" hasCustomPrompt="1"/>
          </p:nvPr>
        </p:nvSpPr>
        <p:spPr>
          <a:xfrm>
            <a:off x="947736" y="3843652"/>
            <a:ext cx="4043363" cy="475678"/>
          </a:xfrm>
        </p:spPr>
        <p:txBody>
          <a:bodyPr anchor="b">
            <a:normAutofit/>
          </a:bodyPr>
          <a:lstStyle>
            <a:lvl1pPr marL="0" indent="0">
              <a:buFont typeface="Arial" panose="020B0604020202020204" pitchFamily="34" charset="0"/>
              <a:buNone/>
              <a:defRPr sz="28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a:t>Date</a:t>
            </a:r>
          </a:p>
        </p:txBody>
      </p:sp>
      <p:sp>
        <p:nvSpPr>
          <p:cNvPr id="37" name="Textplatzhalter 26">
            <a:extLst>
              <a:ext uri="{FF2B5EF4-FFF2-40B4-BE49-F238E27FC236}">
                <a16:creationId xmlns:a16="http://schemas.microsoft.com/office/drawing/2014/main" id="{62D2A741-49FF-4CA7-A0B4-D1827E611D4F}"/>
              </a:ext>
            </a:extLst>
          </p:cNvPr>
          <p:cNvSpPr>
            <a:spLocks noGrp="1"/>
          </p:cNvSpPr>
          <p:nvPr>
            <p:ph type="body" sz="quarter" idx="11" hasCustomPrompt="1"/>
          </p:nvPr>
        </p:nvSpPr>
        <p:spPr>
          <a:xfrm>
            <a:off x="947736" y="3329466"/>
            <a:ext cx="5148264" cy="475678"/>
          </a:xfrm>
        </p:spPr>
        <p:txBody>
          <a:bodyPr anchor="b">
            <a:normAutofit/>
          </a:bodyPr>
          <a:lstStyle>
            <a:lvl1pPr marL="0" indent="0">
              <a:buFont typeface="Arial" panose="020B0604020202020204" pitchFamily="34" charset="0"/>
              <a:buNone/>
              <a:defRPr sz="28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a:t>
            </a:r>
            <a:r>
              <a:rPr lang="de-DE" err="1"/>
              <a:t>Presenter</a:t>
            </a:r>
            <a:r>
              <a:rPr lang="de-DE"/>
              <a:t> Title</a:t>
            </a:r>
            <a:endParaRPr lang="en-US"/>
          </a:p>
        </p:txBody>
      </p:sp>
      <p:sp>
        <p:nvSpPr>
          <p:cNvPr id="38" name="Titel 25">
            <a:extLst>
              <a:ext uri="{FF2B5EF4-FFF2-40B4-BE49-F238E27FC236}">
                <a16:creationId xmlns:a16="http://schemas.microsoft.com/office/drawing/2014/main" id="{D90B18D2-78F9-4AF6-B61A-D50B3D7F11C9}"/>
              </a:ext>
            </a:extLst>
          </p:cNvPr>
          <p:cNvSpPr>
            <a:spLocks noGrp="1"/>
          </p:cNvSpPr>
          <p:nvPr>
            <p:ph type="title" hasCustomPrompt="1"/>
          </p:nvPr>
        </p:nvSpPr>
        <p:spPr>
          <a:xfrm>
            <a:off x="947738" y="300071"/>
            <a:ext cx="6130977" cy="2690816"/>
          </a:xfrm>
        </p:spPr>
        <p:txBody>
          <a:bodyPr>
            <a:normAutofit/>
          </a:bodyPr>
          <a:lstStyle>
            <a:lvl1pPr>
              <a:lnSpc>
                <a:spcPct val="100000"/>
              </a:lnSpc>
              <a:spcAft>
                <a:spcPts val="600"/>
              </a:spcAft>
              <a:defRPr lang="de-DE" sz="6600" kern="1200" smtClean="0">
                <a:solidFill>
                  <a:schemeClr val="tx1"/>
                </a:solidFill>
                <a:latin typeface="+mj-lt"/>
                <a:ea typeface="+mn-ea"/>
                <a:cs typeface="Arial" panose="020B0604020202020204" pitchFamily="34" charset="0"/>
              </a:defRPr>
            </a:lvl1pPr>
          </a:lstStyle>
          <a:p>
            <a:r>
              <a:rPr lang="de-DE"/>
              <a:t>Add Title</a:t>
            </a:r>
            <a:br>
              <a:rPr lang="de-DE"/>
            </a:br>
            <a:r>
              <a:rPr lang="de-DE" err="1"/>
              <a:t>here</a:t>
            </a:r>
            <a:endParaRPr lang="en-US"/>
          </a:p>
        </p:txBody>
      </p:sp>
    </p:spTree>
    <p:extLst>
      <p:ext uri="{BB962C8B-B14F-4D97-AF65-F5344CB8AC3E}">
        <p14:creationId xmlns:p14="http://schemas.microsoft.com/office/powerpoint/2010/main" val="3722969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_Product_Date_2Names">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5A07C47D-3C55-486E-B8ED-D76B4DF8D388}"/>
              </a:ext>
            </a:extLst>
          </p:cNvPr>
          <p:cNvSpPr/>
          <p:nvPr userDrawn="1"/>
        </p:nvSpPr>
        <p:spPr>
          <a:xfrm>
            <a:off x="0" y="2093054"/>
            <a:ext cx="12192000" cy="2623880"/>
          </a:xfrm>
          <a:prstGeom prst="rect">
            <a:avLst/>
          </a:prstGeom>
          <a:gradFill flip="none" rotWithShape="1">
            <a:gsLst>
              <a:gs pos="0">
                <a:schemeClr val="tx2">
                  <a:lumMod val="50000"/>
                  <a:lumOff val="50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sp>
        <p:nvSpPr>
          <p:cNvPr id="25" name="Raute 24">
            <a:extLst>
              <a:ext uri="{FF2B5EF4-FFF2-40B4-BE49-F238E27FC236}">
                <a16:creationId xmlns:a16="http://schemas.microsoft.com/office/drawing/2014/main" id="{9908AE13-6D07-41C2-9BD5-7B992EF26247}"/>
              </a:ext>
            </a:extLst>
          </p:cNvPr>
          <p:cNvSpPr/>
          <p:nvPr userDrawn="1"/>
        </p:nvSpPr>
        <p:spPr>
          <a:xfrm>
            <a:off x="9815077" y="629042"/>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289EA645-A91C-43A0-91D9-9056A198D73A}"/>
              </a:ext>
            </a:extLst>
          </p:cNvPr>
          <p:cNvSpPr/>
          <p:nvPr userDrawn="1"/>
        </p:nvSpPr>
        <p:spPr>
          <a:xfrm>
            <a:off x="10466926" y="2488689"/>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71D9247F-7FAB-44EB-9684-0CACA8EE6F1C}"/>
              </a:ext>
            </a:extLst>
          </p:cNvPr>
          <p:cNvSpPr/>
          <p:nvPr userDrawn="1"/>
        </p:nvSpPr>
        <p:spPr>
          <a:xfrm>
            <a:off x="8982731" y="880304"/>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 name="Raute 27">
            <a:extLst>
              <a:ext uri="{FF2B5EF4-FFF2-40B4-BE49-F238E27FC236}">
                <a16:creationId xmlns:a16="http://schemas.microsoft.com/office/drawing/2014/main" id="{F9AA3ECD-4F92-45D6-ADD5-B60FAA7D01D2}"/>
              </a:ext>
            </a:extLst>
          </p:cNvPr>
          <p:cNvSpPr/>
          <p:nvPr userDrawn="1"/>
        </p:nvSpPr>
        <p:spPr>
          <a:xfrm>
            <a:off x="11639629" y="182880"/>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 name="Raute 28">
            <a:extLst>
              <a:ext uri="{FF2B5EF4-FFF2-40B4-BE49-F238E27FC236}">
                <a16:creationId xmlns:a16="http://schemas.microsoft.com/office/drawing/2014/main" id="{895F3B9E-993E-476F-8527-BD047CAE790F}"/>
              </a:ext>
            </a:extLst>
          </p:cNvPr>
          <p:cNvSpPr/>
          <p:nvPr userDrawn="1"/>
        </p:nvSpPr>
        <p:spPr>
          <a:xfrm rot="21599514">
            <a:off x="9723329" y="636382"/>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 name="Raute 29">
            <a:extLst>
              <a:ext uri="{FF2B5EF4-FFF2-40B4-BE49-F238E27FC236}">
                <a16:creationId xmlns:a16="http://schemas.microsoft.com/office/drawing/2014/main" id="{AA1CA5E2-E351-4446-8F76-49C1CE31E568}"/>
              </a:ext>
            </a:extLst>
          </p:cNvPr>
          <p:cNvSpPr/>
          <p:nvPr userDrawn="1"/>
        </p:nvSpPr>
        <p:spPr>
          <a:xfrm>
            <a:off x="10950373" y="31751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 name="Raute 30">
            <a:extLst>
              <a:ext uri="{FF2B5EF4-FFF2-40B4-BE49-F238E27FC236}">
                <a16:creationId xmlns:a16="http://schemas.microsoft.com/office/drawing/2014/main" id="{73D028C0-BF86-4321-BF58-89A021A72291}"/>
              </a:ext>
            </a:extLst>
          </p:cNvPr>
          <p:cNvSpPr/>
          <p:nvPr userDrawn="1"/>
        </p:nvSpPr>
        <p:spPr>
          <a:xfrm>
            <a:off x="11637011" y="1387479"/>
            <a:ext cx="300749" cy="303108"/>
          </a:xfrm>
          <a:prstGeom prst="diamond">
            <a:avLst/>
          </a:pr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 name="Raute 31">
            <a:extLst>
              <a:ext uri="{FF2B5EF4-FFF2-40B4-BE49-F238E27FC236}">
                <a16:creationId xmlns:a16="http://schemas.microsoft.com/office/drawing/2014/main" id="{7E7A76E9-3D94-4BD0-8386-AD3D986EF42E}"/>
              </a:ext>
            </a:extLst>
          </p:cNvPr>
          <p:cNvSpPr/>
          <p:nvPr userDrawn="1"/>
        </p:nvSpPr>
        <p:spPr>
          <a:xfrm>
            <a:off x="11376361" y="2004206"/>
            <a:ext cx="300749" cy="303108"/>
          </a:xfrm>
          <a:prstGeom prst="diamond">
            <a:avLst/>
          </a:pr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 name="Raute 32">
            <a:extLst>
              <a:ext uri="{FF2B5EF4-FFF2-40B4-BE49-F238E27FC236}">
                <a16:creationId xmlns:a16="http://schemas.microsoft.com/office/drawing/2014/main" id="{7C19ED72-098D-4CED-8214-1ADFDD002FA9}"/>
              </a:ext>
            </a:extLst>
          </p:cNvPr>
          <p:cNvSpPr/>
          <p:nvPr userDrawn="1"/>
        </p:nvSpPr>
        <p:spPr>
          <a:xfrm>
            <a:off x="9122600" y="1853439"/>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 name="Raute 33">
            <a:extLst>
              <a:ext uri="{FF2B5EF4-FFF2-40B4-BE49-F238E27FC236}">
                <a16:creationId xmlns:a16="http://schemas.microsoft.com/office/drawing/2014/main" id="{77FA9B61-81F7-45C5-9935-925A241999CF}"/>
              </a:ext>
            </a:extLst>
          </p:cNvPr>
          <p:cNvSpPr/>
          <p:nvPr userDrawn="1"/>
        </p:nvSpPr>
        <p:spPr>
          <a:xfrm>
            <a:off x="11132671" y="2865738"/>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 name="Raute 34">
            <a:extLst>
              <a:ext uri="{FF2B5EF4-FFF2-40B4-BE49-F238E27FC236}">
                <a16:creationId xmlns:a16="http://schemas.microsoft.com/office/drawing/2014/main" id="{28B60A42-FAD0-4EDB-9263-906537CF91BA}"/>
              </a:ext>
            </a:extLst>
          </p:cNvPr>
          <p:cNvSpPr/>
          <p:nvPr userDrawn="1"/>
        </p:nvSpPr>
        <p:spPr>
          <a:xfrm>
            <a:off x="9819952" y="2923576"/>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 name="Raute 35">
            <a:extLst>
              <a:ext uri="{FF2B5EF4-FFF2-40B4-BE49-F238E27FC236}">
                <a16:creationId xmlns:a16="http://schemas.microsoft.com/office/drawing/2014/main" id="{6A7A675B-6CBF-4558-B773-3A92B7F325EB}"/>
              </a:ext>
            </a:extLst>
          </p:cNvPr>
          <p:cNvSpPr/>
          <p:nvPr userDrawn="1"/>
        </p:nvSpPr>
        <p:spPr>
          <a:xfrm>
            <a:off x="10251237" y="3544421"/>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 name="Titel 25">
            <a:extLst>
              <a:ext uri="{FF2B5EF4-FFF2-40B4-BE49-F238E27FC236}">
                <a16:creationId xmlns:a16="http://schemas.microsoft.com/office/drawing/2014/main" id="{56F2B0A2-3D08-4F6C-9925-DE2A003D6A6D}"/>
              </a:ext>
            </a:extLst>
          </p:cNvPr>
          <p:cNvSpPr>
            <a:spLocks noGrp="1"/>
          </p:cNvSpPr>
          <p:nvPr>
            <p:ph type="title" hasCustomPrompt="1"/>
          </p:nvPr>
        </p:nvSpPr>
        <p:spPr>
          <a:xfrm>
            <a:off x="947738" y="-1"/>
            <a:ext cx="8034993" cy="2865739"/>
          </a:xfrm>
        </p:spPr>
        <p:txBody>
          <a:bodyPr>
            <a:normAutofit/>
          </a:bodyPr>
          <a:lstStyle>
            <a:lvl1pPr>
              <a:lnSpc>
                <a:spcPct val="100000"/>
              </a:lnSpc>
              <a:spcAft>
                <a:spcPts val="600"/>
              </a:spcAft>
              <a:defRPr lang="de-DE" sz="6600" kern="1200" smtClean="0">
                <a:solidFill>
                  <a:schemeClr val="tx1"/>
                </a:solidFill>
                <a:latin typeface="+mj-lt"/>
                <a:ea typeface="+mn-ea"/>
                <a:cs typeface="Arial" panose="020B0604020202020204" pitchFamily="34" charset="0"/>
              </a:defRPr>
            </a:lvl1pPr>
          </a:lstStyle>
          <a:p>
            <a:r>
              <a:rPr lang="de-DE"/>
              <a:t>Add Title</a:t>
            </a:r>
            <a:br>
              <a:rPr lang="de-DE"/>
            </a:br>
            <a:r>
              <a:rPr lang="de-DE" err="1"/>
              <a:t>here</a:t>
            </a:r>
            <a:endParaRPr lang="en-US"/>
          </a:p>
        </p:txBody>
      </p:sp>
      <p:sp>
        <p:nvSpPr>
          <p:cNvPr id="23" name="Textplatzhalter 26">
            <a:extLst>
              <a:ext uri="{FF2B5EF4-FFF2-40B4-BE49-F238E27FC236}">
                <a16:creationId xmlns:a16="http://schemas.microsoft.com/office/drawing/2014/main" id="{A07FD424-A435-4E73-BF98-3BD98123B9FC}"/>
              </a:ext>
            </a:extLst>
          </p:cNvPr>
          <p:cNvSpPr>
            <a:spLocks noGrp="1"/>
          </p:cNvSpPr>
          <p:nvPr>
            <p:ph type="body" sz="quarter" idx="10" hasCustomPrompt="1"/>
          </p:nvPr>
        </p:nvSpPr>
        <p:spPr>
          <a:xfrm>
            <a:off x="947737" y="3843652"/>
            <a:ext cx="2392364" cy="475678"/>
          </a:xfrm>
        </p:spPr>
        <p:txBody>
          <a:bodyPr anchor="b">
            <a:normAutofit/>
          </a:bodyPr>
          <a:lstStyle>
            <a:lvl1pPr marL="0" indent="0">
              <a:buFont typeface="Arial" panose="020B0604020202020204" pitchFamily="34" charset="0"/>
              <a:buNone/>
              <a:defRPr sz="24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a:t>Date</a:t>
            </a:r>
          </a:p>
        </p:txBody>
      </p:sp>
      <p:sp>
        <p:nvSpPr>
          <p:cNvPr id="37" name="Textplatzhalter 26">
            <a:extLst>
              <a:ext uri="{FF2B5EF4-FFF2-40B4-BE49-F238E27FC236}">
                <a16:creationId xmlns:a16="http://schemas.microsoft.com/office/drawing/2014/main" id="{62D2A741-49FF-4CA7-A0B4-D1827E611D4F}"/>
              </a:ext>
            </a:extLst>
          </p:cNvPr>
          <p:cNvSpPr>
            <a:spLocks noGrp="1"/>
          </p:cNvSpPr>
          <p:nvPr>
            <p:ph type="body" sz="quarter" idx="11" hasCustomPrompt="1"/>
          </p:nvPr>
        </p:nvSpPr>
        <p:spPr>
          <a:xfrm>
            <a:off x="947736" y="3391978"/>
            <a:ext cx="2392364" cy="371328"/>
          </a:xfrm>
        </p:spPr>
        <p:txBody>
          <a:bodyPr anchor="ctr">
            <a:normAutofit/>
          </a:bodyPr>
          <a:lstStyle>
            <a:lvl1pPr marL="0" indent="0">
              <a:buFont typeface="Arial" panose="020B0604020202020204" pitchFamily="34" charset="0"/>
              <a:buNone/>
              <a:defRPr sz="18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Title</a:t>
            </a:r>
            <a:endParaRPr lang="en-US"/>
          </a:p>
        </p:txBody>
      </p:sp>
      <p:sp>
        <p:nvSpPr>
          <p:cNvPr id="38" name="Textplatzhalter 26">
            <a:extLst>
              <a:ext uri="{FF2B5EF4-FFF2-40B4-BE49-F238E27FC236}">
                <a16:creationId xmlns:a16="http://schemas.microsoft.com/office/drawing/2014/main" id="{E83D7FCA-BEDF-4867-8056-43D902C04B84}"/>
              </a:ext>
            </a:extLst>
          </p:cNvPr>
          <p:cNvSpPr>
            <a:spLocks noGrp="1"/>
          </p:cNvSpPr>
          <p:nvPr>
            <p:ph type="body" sz="quarter" idx="12" hasCustomPrompt="1"/>
          </p:nvPr>
        </p:nvSpPr>
        <p:spPr>
          <a:xfrm>
            <a:off x="947736" y="2899674"/>
            <a:ext cx="2392364" cy="475678"/>
          </a:xfrm>
        </p:spPr>
        <p:txBody>
          <a:bodyPr anchor="b">
            <a:normAutofit/>
          </a:bodyPr>
          <a:lstStyle>
            <a:lvl1pPr marL="0" indent="0">
              <a:buFont typeface="Arial" panose="020B0604020202020204" pitchFamily="34" charset="0"/>
              <a:buNone/>
              <a:defRPr sz="24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1</a:t>
            </a:r>
            <a:endParaRPr lang="en-US"/>
          </a:p>
        </p:txBody>
      </p:sp>
      <p:sp>
        <p:nvSpPr>
          <p:cNvPr id="42" name="Textplatzhalter 26">
            <a:extLst>
              <a:ext uri="{FF2B5EF4-FFF2-40B4-BE49-F238E27FC236}">
                <a16:creationId xmlns:a16="http://schemas.microsoft.com/office/drawing/2014/main" id="{B607CD2B-B55F-4DB7-86DA-8978E086ABB0}"/>
              </a:ext>
            </a:extLst>
          </p:cNvPr>
          <p:cNvSpPr>
            <a:spLocks noGrp="1"/>
          </p:cNvSpPr>
          <p:nvPr>
            <p:ph type="body" sz="quarter" idx="14" hasCustomPrompt="1"/>
          </p:nvPr>
        </p:nvSpPr>
        <p:spPr>
          <a:xfrm>
            <a:off x="3444079" y="3391978"/>
            <a:ext cx="2392364" cy="371328"/>
          </a:xfrm>
        </p:spPr>
        <p:txBody>
          <a:bodyPr anchor="ctr">
            <a:normAutofit/>
          </a:bodyPr>
          <a:lstStyle>
            <a:lvl1pPr marL="0" indent="0">
              <a:buFont typeface="Arial" panose="020B0604020202020204" pitchFamily="34" charset="0"/>
              <a:buNone/>
              <a:defRPr sz="18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Title</a:t>
            </a:r>
            <a:endParaRPr lang="en-US"/>
          </a:p>
        </p:txBody>
      </p:sp>
      <p:sp>
        <p:nvSpPr>
          <p:cNvPr id="43" name="Textplatzhalter 26">
            <a:extLst>
              <a:ext uri="{FF2B5EF4-FFF2-40B4-BE49-F238E27FC236}">
                <a16:creationId xmlns:a16="http://schemas.microsoft.com/office/drawing/2014/main" id="{20F5B832-E623-4EFD-96EE-4F4E2061E966}"/>
              </a:ext>
            </a:extLst>
          </p:cNvPr>
          <p:cNvSpPr>
            <a:spLocks noGrp="1"/>
          </p:cNvSpPr>
          <p:nvPr>
            <p:ph type="body" sz="quarter" idx="15" hasCustomPrompt="1"/>
          </p:nvPr>
        </p:nvSpPr>
        <p:spPr>
          <a:xfrm>
            <a:off x="3444079" y="2899674"/>
            <a:ext cx="2392364" cy="475678"/>
          </a:xfrm>
        </p:spPr>
        <p:txBody>
          <a:bodyPr anchor="b">
            <a:normAutofit/>
          </a:bodyPr>
          <a:lstStyle>
            <a:lvl1pPr marL="0" indent="0">
              <a:buFont typeface="Arial" panose="020B0604020202020204" pitchFamily="34" charset="0"/>
              <a:buNone/>
              <a:defRPr sz="2400">
                <a:solidFill>
                  <a:schemeClr val="tx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1</a:t>
            </a:r>
            <a:endParaRPr lang="en-US"/>
          </a:p>
        </p:txBody>
      </p:sp>
    </p:spTree>
    <p:extLst>
      <p:ext uri="{BB962C8B-B14F-4D97-AF65-F5344CB8AC3E}">
        <p14:creationId xmlns:p14="http://schemas.microsoft.com/office/powerpoint/2010/main" val="355445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Imag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59961C-A149-4F1F-8C26-EA7EB56F6CD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1998" cy="4716936"/>
          </a:xfrm>
          <a:prstGeom prst="rect">
            <a:avLst/>
          </a:prstGeom>
        </p:spPr>
      </p:pic>
      <p:sp>
        <p:nvSpPr>
          <p:cNvPr id="30" name="Untertitel 9">
            <a:extLst>
              <a:ext uri="{FF2B5EF4-FFF2-40B4-BE49-F238E27FC236}">
                <a16:creationId xmlns:a16="http://schemas.microsoft.com/office/drawing/2014/main" id="{B193FE29-17EE-42F2-B869-D227F8AA7EA6}"/>
              </a:ext>
            </a:extLst>
          </p:cNvPr>
          <p:cNvSpPr txBox="1">
            <a:spLocks/>
          </p:cNvSpPr>
          <p:nvPr userDrawn="1"/>
        </p:nvSpPr>
        <p:spPr>
          <a:xfrm>
            <a:off x="-1" y="0"/>
            <a:ext cx="8861206" cy="4716936"/>
          </a:xfrm>
          <a:prstGeom prst="rect">
            <a:avLst/>
          </a:prstGeom>
          <a:gradFill>
            <a:gsLst>
              <a:gs pos="0">
                <a:schemeClr val="accent1">
                  <a:lumMod val="50000"/>
                  <a:alpha val="80000"/>
                </a:schemeClr>
              </a:gs>
              <a:gs pos="100000">
                <a:schemeClr val="accent1">
                  <a:lumMod val="50000"/>
                  <a:alpha val="0"/>
                </a:schemeClr>
              </a:gs>
            </a:gsLst>
            <a:lin ang="0" scaled="0"/>
          </a:gradFill>
          <a:effectLst/>
        </p:spPr>
        <p:txBody>
          <a:bodyPr vert="horz" lIns="936000" tIns="180000" rIns="0" bIns="0" rtlCol="0" anchor="ctr" anchorCtr="0">
            <a:noAutofit/>
          </a:bodyPr>
          <a:lstStyle>
            <a:lvl1pPr marL="0" indent="0" algn="l" defTabSz="914400" rtl="0" eaLnBrk="1" latinLnBrk="0" hangingPunct="1">
              <a:lnSpc>
                <a:spcPct val="90000"/>
              </a:lnSpc>
              <a:spcBef>
                <a:spcPts val="1000"/>
              </a:spcBef>
              <a:buClr>
                <a:srgbClr val="0068B4"/>
              </a:buClr>
              <a:buSzPct val="100000"/>
              <a:buFont typeface="Wingdings" panose="05000000000000000000" pitchFamily="2" charset="2"/>
              <a:buNone/>
              <a:defRPr sz="2000" kern="1200">
                <a:solidFill>
                  <a:schemeClr val="bg2"/>
                </a:solidFill>
                <a:latin typeface="Roboto" panose="020000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800" kern="1200">
                <a:solidFill>
                  <a:srgbClr val="3C3C3C"/>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600" kern="1200">
                <a:solidFill>
                  <a:srgbClr val="3C3C3C"/>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800"/>
              </a:spcAft>
            </a:pPr>
            <a:endParaRPr lang="de-DE" sz="2000">
              <a:latin typeface="Roboto" panose="02000000000000000000" pitchFamily="2" charset="0"/>
              <a:ea typeface="Roboto" panose="02000000000000000000" pitchFamily="2" charset="0"/>
            </a:endParaRPr>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grpSp>
        <p:nvGrpSpPr>
          <p:cNvPr id="2" name="Gruppieren 1">
            <a:extLst>
              <a:ext uri="{FF2B5EF4-FFF2-40B4-BE49-F238E27FC236}">
                <a16:creationId xmlns:a16="http://schemas.microsoft.com/office/drawing/2014/main" id="{5009B8C2-FF0A-4BE4-9679-575A95C28F59}"/>
              </a:ext>
            </a:extLst>
          </p:cNvPr>
          <p:cNvGrpSpPr/>
          <p:nvPr userDrawn="1"/>
        </p:nvGrpSpPr>
        <p:grpSpPr>
          <a:xfrm>
            <a:off x="8894385" y="-1412520"/>
            <a:ext cx="4387907" cy="4716936"/>
            <a:chOff x="9628765" y="-1165992"/>
            <a:chExt cx="4034527" cy="4337058"/>
          </a:xfrm>
        </p:grpSpPr>
        <p:sp>
          <p:nvSpPr>
            <p:cNvPr id="11" name="Raute 10">
              <a:extLst>
                <a:ext uri="{FF2B5EF4-FFF2-40B4-BE49-F238E27FC236}">
                  <a16:creationId xmlns:a16="http://schemas.microsoft.com/office/drawing/2014/main" id="{2DC5F660-2EBF-4DE2-AA97-7D36AC006F1C}"/>
                </a:ext>
              </a:extLst>
            </p:cNvPr>
            <p:cNvSpPr/>
            <p:nvPr userDrawn="1"/>
          </p:nvSpPr>
          <p:spPr>
            <a:xfrm>
              <a:off x="10461111" y="-719830"/>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 name="Raute 11">
              <a:extLst>
                <a:ext uri="{FF2B5EF4-FFF2-40B4-BE49-F238E27FC236}">
                  <a16:creationId xmlns:a16="http://schemas.microsoft.com/office/drawing/2014/main" id="{BFC520C5-B5E6-4540-9249-DE17E5F961EC}"/>
                </a:ext>
              </a:extLst>
            </p:cNvPr>
            <p:cNvSpPr/>
            <p:nvPr userDrawn="1"/>
          </p:nvSpPr>
          <p:spPr>
            <a:xfrm>
              <a:off x="11112960" y="1139817"/>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 name="Raute 12">
              <a:extLst>
                <a:ext uri="{FF2B5EF4-FFF2-40B4-BE49-F238E27FC236}">
                  <a16:creationId xmlns:a16="http://schemas.microsoft.com/office/drawing/2014/main" id="{91C3F9F6-323D-49D8-8CC1-3278EC4F863F}"/>
                </a:ext>
              </a:extLst>
            </p:cNvPr>
            <p:cNvSpPr/>
            <p:nvPr userDrawn="1"/>
          </p:nvSpPr>
          <p:spPr>
            <a:xfrm>
              <a:off x="9628765" y="-468568"/>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 name="Raute 13">
              <a:extLst>
                <a:ext uri="{FF2B5EF4-FFF2-40B4-BE49-F238E27FC236}">
                  <a16:creationId xmlns:a16="http://schemas.microsoft.com/office/drawing/2014/main" id="{BB39DD87-F68B-429F-A5CC-4212765EE425}"/>
                </a:ext>
              </a:extLst>
            </p:cNvPr>
            <p:cNvSpPr/>
            <p:nvPr userDrawn="1"/>
          </p:nvSpPr>
          <p:spPr>
            <a:xfrm>
              <a:off x="12285663" y="-1165992"/>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 name="Raute 17">
              <a:extLst>
                <a:ext uri="{FF2B5EF4-FFF2-40B4-BE49-F238E27FC236}">
                  <a16:creationId xmlns:a16="http://schemas.microsoft.com/office/drawing/2014/main" id="{3EBAA297-7765-427D-A7C4-5F41122D247A}"/>
                </a:ext>
              </a:extLst>
            </p:cNvPr>
            <p:cNvSpPr/>
            <p:nvPr userDrawn="1"/>
          </p:nvSpPr>
          <p:spPr>
            <a:xfrm rot="21599514">
              <a:off x="10369363" y="-712490"/>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 name="Raute 20">
              <a:extLst>
                <a:ext uri="{FF2B5EF4-FFF2-40B4-BE49-F238E27FC236}">
                  <a16:creationId xmlns:a16="http://schemas.microsoft.com/office/drawing/2014/main" id="{90A7FDCB-2FDE-4AF6-B7BF-A901B737347A}"/>
                </a:ext>
              </a:extLst>
            </p:cNvPr>
            <p:cNvSpPr/>
            <p:nvPr userDrawn="1"/>
          </p:nvSpPr>
          <p:spPr>
            <a:xfrm>
              <a:off x="11596407" y="-103135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 name="Raute 21">
              <a:extLst>
                <a:ext uri="{FF2B5EF4-FFF2-40B4-BE49-F238E27FC236}">
                  <a16:creationId xmlns:a16="http://schemas.microsoft.com/office/drawing/2014/main" id="{BAD53B92-11A2-4239-8885-2BBAFA101356}"/>
                </a:ext>
              </a:extLst>
            </p:cNvPr>
            <p:cNvSpPr/>
            <p:nvPr userDrawn="1"/>
          </p:nvSpPr>
          <p:spPr>
            <a:xfrm>
              <a:off x="12283045" y="38607"/>
              <a:ext cx="300749" cy="303108"/>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 name="Raute 22">
              <a:extLst>
                <a:ext uri="{FF2B5EF4-FFF2-40B4-BE49-F238E27FC236}">
                  <a16:creationId xmlns:a16="http://schemas.microsoft.com/office/drawing/2014/main" id="{CFA3B38F-246A-4D91-A0D4-7A52E90F1B79}"/>
                </a:ext>
              </a:extLst>
            </p:cNvPr>
            <p:cNvSpPr/>
            <p:nvPr userDrawn="1"/>
          </p:nvSpPr>
          <p:spPr>
            <a:xfrm>
              <a:off x="12022395" y="655334"/>
              <a:ext cx="300749" cy="303108"/>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 name="Raute 23">
              <a:extLst>
                <a:ext uri="{FF2B5EF4-FFF2-40B4-BE49-F238E27FC236}">
                  <a16:creationId xmlns:a16="http://schemas.microsoft.com/office/drawing/2014/main" id="{BA89887F-5094-4F3D-A4E7-AB55EE05B7B8}"/>
                </a:ext>
              </a:extLst>
            </p:cNvPr>
            <p:cNvSpPr/>
            <p:nvPr userDrawn="1"/>
          </p:nvSpPr>
          <p:spPr>
            <a:xfrm>
              <a:off x="9768634" y="504567"/>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 name="Raute 24">
              <a:extLst>
                <a:ext uri="{FF2B5EF4-FFF2-40B4-BE49-F238E27FC236}">
                  <a16:creationId xmlns:a16="http://schemas.microsoft.com/office/drawing/2014/main" id="{79C64353-EDE5-4CE0-B075-7135C31E16AC}"/>
                </a:ext>
              </a:extLst>
            </p:cNvPr>
            <p:cNvSpPr/>
            <p:nvPr userDrawn="1"/>
          </p:nvSpPr>
          <p:spPr>
            <a:xfrm>
              <a:off x="11778705" y="1516866"/>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BD68A0B8-90E0-42D9-83EF-EBC0AA72539E}"/>
                </a:ext>
              </a:extLst>
            </p:cNvPr>
            <p:cNvSpPr/>
            <p:nvPr userDrawn="1"/>
          </p:nvSpPr>
          <p:spPr>
            <a:xfrm>
              <a:off x="10465986" y="1574704"/>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E647E84C-ED3A-40C0-95A2-DD8263EE334B}"/>
                </a:ext>
              </a:extLst>
            </p:cNvPr>
            <p:cNvSpPr/>
            <p:nvPr userDrawn="1"/>
          </p:nvSpPr>
          <p:spPr>
            <a:xfrm>
              <a:off x="10897271" y="2195549"/>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
        <p:nvSpPr>
          <p:cNvPr id="29" name="Titel 25">
            <a:extLst>
              <a:ext uri="{FF2B5EF4-FFF2-40B4-BE49-F238E27FC236}">
                <a16:creationId xmlns:a16="http://schemas.microsoft.com/office/drawing/2014/main" id="{6FE7BE43-DC66-4AF9-9E5F-910E056A9CC1}"/>
              </a:ext>
            </a:extLst>
          </p:cNvPr>
          <p:cNvSpPr>
            <a:spLocks noGrp="1"/>
          </p:cNvSpPr>
          <p:nvPr>
            <p:ph type="title" hasCustomPrompt="1"/>
          </p:nvPr>
        </p:nvSpPr>
        <p:spPr>
          <a:xfrm>
            <a:off x="947738" y="300070"/>
            <a:ext cx="5321579" cy="4116794"/>
          </a:xfrm>
        </p:spPr>
        <p:txBody>
          <a:bodyPr>
            <a:normAutofit/>
          </a:bodyPr>
          <a:lstStyle>
            <a:lvl1pPr>
              <a:lnSpc>
                <a:spcPct val="100000"/>
              </a:lnSpc>
              <a:spcAft>
                <a:spcPts val="600"/>
              </a:spcAft>
              <a:defRPr lang="de-DE" sz="6600" kern="1200" smtClean="0">
                <a:solidFill>
                  <a:schemeClr val="bg1"/>
                </a:solidFill>
                <a:latin typeface="+mj-lt"/>
                <a:ea typeface="+mn-ea"/>
                <a:cs typeface="Arial" panose="020B0604020202020204" pitchFamily="34" charset="0"/>
              </a:defRPr>
            </a:lvl1pPr>
          </a:lstStyle>
          <a:p>
            <a:r>
              <a:rPr lang="de-DE"/>
              <a:t>Add Title</a:t>
            </a:r>
            <a:br>
              <a:rPr lang="de-DE"/>
            </a:br>
            <a:r>
              <a:rPr lang="de-DE" err="1"/>
              <a:t>here</a:t>
            </a:r>
            <a:endParaRPr lang="en-US"/>
          </a:p>
        </p:txBody>
      </p:sp>
    </p:spTree>
    <p:extLst>
      <p:ext uri="{BB962C8B-B14F-4D97-AF65-F5344CB8AC3E}">
        <p14:creationId xmlns:p14="http://schemas.microsoft.com/office/powerpoint/2010/main" val="148106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_Image_Date_Nam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6F59961C-A149-4F1F-8C26-EA7EB56F6CD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1998" cy="4716936"/>
          </a:xfrm>
          <a:prstGeom prst="rect">
            <a:avLst/>
          </a:prstGeom>
        </p:spPr>
      </p:pic>
      <p:sp>
        <p:nvSpPr>
          <p:cNvPr id="32" name="Untertitel 9">
            <a:extLst>
              <a:ext uri="{FF2B5EF4-FFF2-40B4-BE49-F238E27FC236}">
                <a16:creationId xmlns:a16="http://schemas.microsoft.com/office/drawing/2014/main" id="{C3FB3F78-1E96-4142-B493-4B3CDF8035FF}"/>
              </a:ext>
            </a:extLst>
          </p:cNvPr>
          <p:cNvSpPr txBox="1">
            <a:spLocks/>
          </p:cNvSpPr>
          <p:nvPr userDrawn="1"/>
        </p:nvSpPr>
        <p:spPr>
          <a:xfrm>
            <a:off x="-1" y="0"/>
            <a:ext cx="8861206" cy="4716936"/>
          </a:xfrm>
          <a:prstGeom prst="rect">
            <a:avLst/>
          </a:prstGeom>
          <a:gradFill>
            <a:gsLst>
              <a:gs pos="0">
                <a:schemeClr val="accent1">
                  <a:lumMod val="50000"/>
                  <a:alpha val="80000"/>
                </a:schemeClr>
              </a:gs>
              <a:gs pos="100000">
                <a:schemeClr val="accent1">
                  <a:lumMod val="50000"/>
                  <a:alpha val="0"/>
                </a:schemeClr>
              </a:gs>
            </a:gsLst>
            <a:lin ang="0" scaled="0"/>
          </a:gradFill>
          <a:effectLst/>
        </p:spPr>
        <p:txBody>
          <a:bodyPr vert="horz" lIns="936000" tIns="180000" rIns="0" bIns="0" rtlCol="0" anchor="ctr" anchorCtr="0">
            <a:noAutofit/>
          </a:bodyPr>
          <a:lstStyle>
            <a:lvl1pPr marL="0" indent="0" algn="l" defTabSz="914400" rtl="0" eaLnBrk="1" latinLnBrk="0" hangingPunct="1">
              <a:lnSpc>
                <a:spcPct val="90000"/>
              </a:lnSpc>
              <a:spcBef>
                <a:spcPts val="1000"/>
              </a:spcBef>
              <a:buClr>
                <a:srgbClr val="0068B4"/>
              </a:buClr>
              <a:buSzPct val="100000"/>
              <a:buFont typeface="Wingdings" panose="05000000000000000000" pitchFamily="2" charset="2"/>
              <a:buNone/>
              <a:defRPr sz="2000" kern="1200">
                <a:solidFill>
                  <a:schemeClr val="bg2"/>
                </a:solidFill>
                <a:latin typeface="Roboto" panose="02000000000000000000" pitchFamily="2"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800" kern="1200">
                <a:solidFill>
                  <a:srgbClr val="3C3C3C"/>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600" kern="1200">
                <a:solidFill>
                  <a:srgbClr val="3C3C3C"/>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1800"/>
              </a:spcAft>
            </a:pPr>
            <a:endParaRPr lang="de-DE" sz="2000">
              <a:latin typeface="Roboto" panose="02000000000000000000" pitchFamily="2" charset="0"/>
              <a:ea typeface="Roboto" panose="02000000000000000000" pitchFamily="2" charset="0"/>
            </a:endParaRPr>
          </a:p>
        </p:txBody>
      </p:sp>
      <p:pic>
        <p:nvPicPr>
          <p:cNvPr id="16" name="Grafik 15">
            <a:extLst>
              <a:ext uri="{FF2B5EF4-FFF2-40B4-BE49-F238E27FC236}">
                <a16:creationId xmlns:a16="http://schemas.microsoft.com/office/drawing/2014/main" id="{FE35C255-BCB6-4167-AC28-E680A2D7FF6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811145" y="5571823"/>
            <a:ext cx="2571127" cy="574626"/>
          </a:xfrm>
          <a:prstGeom prst="rect">
            <a:avLst/>
          </a:prstGeom>
        </p:spPr>
      </p:pic>
      <p:grpSp>
        <p:nvGrpSpPr>
          <p:cNvPr id="4" name="Gruppieren 3">
            <a:extLst>
              <a:ext uri="{FF2B5EF4-FFF2-40B4-BE49-F238E27FC236}">
                <a16:creationId xmlns:a16="http://schemas.microsoft.com/office/drawing/2014/main" id="{7832622F-60CE-4A41-9B35-D5796CD98592}"/>
              </a:ext>
            </a:extLst>
          </p:cNvPr>
          <p:cNvGrpSpPr/>
          <p:nvPr userDrawn="1"/>
        </p:nvGrpSpPr>
        <p:grpSpPr>
          <a:xfrm>
            <a:off x="1" y="5042376"/>
            <a:ext cx="12191998" cy="36000"/>
            <a:chOff x="1" y="5042376"/>
            <a:chExt cx="12191998" cy="36000"/>
          </a:xfrm>
        </p:grpSpPr>
        <p:sp>
          <p:nvSpPr>
            <p:cNvPr id="17" name="Rechteck 16">
              <a:extLst>
                <a:ext uri="{FF2B5EF4-FFF2-40B4-BE49-F238E27FC236}">
                  <a16:creationId xmlns:a16="http://schemas.microsoft.com/office/drawing/2014/main" id="{D3276864-C096-4B33-97D9-0FC7B574BAB6}"/>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19" name="Rechteck 18">
              <a:extLst>
                <a:ext uri="{FF2B5EF4-FFF2-40B4-BE49-F238E27FC236}">
                  <a16:creationId xmlns:a16="http://schemas.microsoft.com/office/drawing/2014/main" id="{D69491A5-6FF3-4FD7-829A-D2353D32CA0A}"/>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0" name="Grafik 19">
            <a:extLst>
              <a:ext uri="{FF2B5EF4-FFF2-40B4-BE49-F238E27FC236}">
                <a16:creationId xmlns:a16="http://schemas.microsoft.com/office/drawing/2014/main" id="{4C743B49-9A04-4EE2-9409-1F376DC4393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grpSp>
        <p:nvGrpSpPr>
          <p:cNvPr id="2" name="Gruppieren 1">
            <a:extLst>
              <a:ext uri="{FF2B5EF4-FFF2-40B4-BE49-F238E27FC236}">
                <a16:creationId xmlns:a16="http://schemas.microsoft.com/office/drawing/2014/main" id="{5009B8C2-FF0A-4BE4-9679-575A95C28F59}"/>
              </a:ext>
            </a:extLst>
          </p:cNvPr>
          <p:cNvGrpSpPr/>
          <p:nvPr userDrawn="1"/>
        </p:nvGrpSpPr>
        <p:grpSpPr>
          <a:xfrm>
            <a:off x="8894385" y="-1412520"/>
            <a:ext cx="4387907" cy="4716936"/>
            <a:chOff x="9628765" y="-1165992"/>
            <a:chExt cx="4034527" cy="4337058"/>
          </a:xfrm>
        </p:grpSpPr>
        <p:sp>
          <p:nvSpPr>
            <p:cNvPr id="11" name="Raute 10">
              <a:extLst>
                <a:ext uri="{FF2B5EF4-FFF2-40B4-BE49-F238E27FC236}">
                  <a16:creationId xmlns:a16="http://schemas.microsoft.com/office/drawing/2014/main" id="{2DC5F660-2EBF-4DE2-AA97-7D36AC006F1C}"/>
                </a:ext>
              </a:extLst>
            </p:cNvPr>
            <p:cNvSpPr/>
            <p:nvPr userDrawn="1"/>
          </p:nvSpPr>
          <p:spPr>
            <a:xfrm>
              <a:off x="10461111" y="-719830"/>
              <a:ext cx="1485491" cy="1485491"/>
            </a:xfrm>
            <a:prstGeom prst="diamond">
              <a:avLst/>
            </a:pr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 name="Raute 11">
              <a:extLst>
                <a:ext uri="{FF2B5EF4-FFF2-40B4-BE49-F238E27FC236}">
                  <a16:creationId xmlns:a16="http://schemas.microsoft.com/office/drawing/2014/main" id="{BFC520C5-B5E6-4540-9249-DE17E5F961EC}"/>
                </a:ext>
              </a:extLst>
            </p:cNvPr>
            <p:cNvSpPr/>
            <p:nvPr userDrawn="1"/>
          </p:nvSpPr>
          <p:spPr>
            <a:xfrm>
              <a:off x="11112960" y="1139817"/>
              <a:ext cx="856251" cy="853894"/>
            </a:xfrm>
            <a:prstGeom prst="diamond">
              <a:avLst/>
            </a:pr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 name="Raute 12">
              <a:extLst>
                <a:ext uri="{FF2B5EF4-FFF2-40B4-BE49-F238E27FC236}">
                  <a16:creationId xmlns:a16="http://schemas.microsoft.com/office/drawing/2014/main" id="{91C3F9F6-323D-49D8-8CC1-3278EC4F863F}"/>
                </a:ext>
              </a:extLst>
            </p:cNvPr>
            <p:cNvSpPr/>
            <p:nvPr userDrawn="1"/>
          </p:nvSpPr>
          <p:spPr>
            <a:xfrm>
              <a:off x="9628765" y="-468568"/>
              <a:ext cx="478962" cy="475744"/>
            </a:xfrm>
            <a:prstGeom prst="diamond">
              <a:avLst/>
            </a:pr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 name="Raute 13">
              <a:extLst>
                <a:ext uri="{FF2B5EF4-FFF2-40B4-BE49-F238E27FC236}">
                  <a16:creationId xmlns:a16="http://schemas.microsoft.com/office/drawing/2014/main" id="{BB39DD87-F68B-429F-A5CC-4212765EE425}"/>
                </a:ext>
              </a:extLst>
            </p:cNvPr>
            <p:cNvSpPr/>
            <p:nvPr userDrawn="1"/>
          </p:nvSpPr>
          <p:spPr>
            <a:xfrm>
              <a:off x="12285663" y="-1165992"/>
              <a:ext cx="1377629" cy="1394846"/>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 name="Raute 17">
              <a:extLst>
                <a:ext uri="{FF2B5EF4-FFF2-40B4-BE49-F238E27FC236}">
                  <a16:creationId xmlns:a16="http://schemas.microsoft.com/office/drawing/2014/main" id="{3EBAA297-7765-427D-A7C4-5F41122D247A}"/>
                </a:ext>
              </a:extLst>
            </p:cNvPr>
            <p:cNvSpPr/>
            <p:nvPr userDrawn="1"/>
          </p:nvSpPr>
          <p:spPr>
            <a:xfrm rot="21599514">
              <a:off x="10369363" y="-712490"/>
              <a:ext cx="419865" cy="419865"/>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 name="Raute 20">
              <a:extLst>
                <a:ext uri="{FF2B5EF4-FFF2-40B4-BE49-F238E27FC236}">
                  <a16:creationId xmlns:a16="http://schemas.microsoft.com/office/drawing/2014/main" id="{90A7FDCB-2FDE-4AF6-B7BF-A901B737347A}"/>
                </a:ext>
              </a:extLst>
            </p:cNvPr>
            <p:cNvSpPr/>
            <p:nvPr userDrawn="1"/>
          </p:nvSpPr>
          <p:spPr>
            <a:xfrm>
              <a:off x="11596407" y="-1031356"/>
              <a:ext cx="359720" cy="363259"/>
            </a:xfrm>
            <a:prstGeom prst="diamond">
              <a:avLst/>
            </a:prstGeom>
            <a:solidFill>
              <a:srgbClr val="5083B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 name="Raute 21">
              <a:extLst>
                <a:ext uri="{FF2B5EF4-FFF2-40B4-BE49-F238E27FC236}">
                  <a16:creationId xmlns:a16="http://schemas.microsoft.com/office/drawing/2014/main" id="{BAD53B92-11A2-4239-8885-2BBAFA101356}"/>
                </a:ext>
              </a:extLst>
            </p:cNvPr>
            <p:cNvSpPr/>
            <p:nvPr userDrawn="1"/>
          </p:nvSpPr>
          <p:spPr>
            <a:xfrm>
              <a:off x="12283045" y="38607"/>
              <a:ext cx="300749" cy="303108"/>
            </a:xfrm>
            <a:prstGeom prst="diamond">
              <a:avLst/>
            </a:pr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 name="Raute 22">
              <a:extLst>
                <a:ext uri="{FF2B5EF4-FFF2-40B4-BE49-F238E27FC236}">
                  <a16:creationId xmlns:a16="http://schemas.microsoft.com/office/drawing/2014/main" id="{CFA3B38F-246A-4D91-A0D4-7A52E90F1B79}"/>
                </a:ext>
              </a:extLst>
            </p:cNvPr>
            <p:cNvSpPr/>
            <p:nvPr userDrawn="1"/>
          </p:nvSpPr>
          <p:spPr>
            <a:xfrm>
              <a:off x="12022395" y="655334"/>
              <a:ext cx="300749" cy="303108"/>
            </a:xfrm>
            <a:prstGeom prst="diamond">
              <a:avLst/>
            </a:pr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 name="Raute 23">
              <a:extLst>
                <a:ext uri="{FF2B5EF4-FFF2-40B4-BE49-F238E27FC236}">
                  <a16:creationId xmlns:a16="http://schemas.microsoft.com/office/drawing/2014/main" id="{BA89887F-5094-4F3D-A4E7-AB55EE05B7B8}"/>
                </a:ext>
              </a:extLst>
            </p:cNvPr>
            <p:cNvSpPr/>
            <p:nvPr userDrawn="1"/>
          </p:nvSpPr>
          <p:spPr>
            <a:xfrm>
              <a:off x="9768634" y="504567"/>
              <a:ext cx="945546" cy="954501"/>
            </a:xfrm>
            <a:prstGeom prst="diamond">
              <a:avLst/>
            </a:prstGeom>
            <a:solidFill>
              <a:srgbClr val="0095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 name="Raute 24">
              <a:extLst>
                <a:ext uri="{FF2B5EF4-FFF2-40B4-BE49-F238E27FC236}">
                  <a16:creationId xmlns:a16="http://schemas.microsoft.com/office/drawing/2014/main" id="{79C64353-EDE5-4CE0-B075-7135C31E16AC}"/>
                </a:ext>
              </a:extLst>
            </p:cNvPr>
            <p:cNvSpPr/>
            <p:nvPr userDrawn="1"/>
          </p:nvSpPr>
          <p:spPr>
            <a:xfrm>
              <a:off x="11778705" y="1516866"/>
              <a:ext cx="1658766" cy="1654200"/>
            </a:xfrm>
            <a:prstGeom prst="diamond">
              <a:avLst/>
            </a:pr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Raute 25">
              <a:extLst>
                <a:ext uri="{FF2B5EF4-FFF2-40B4-BE49-F238E27FC236}">
                  <a16:creationId xmlns:a16="http://schemas.microsoft.com/office/drawing/2014/main" id="{BD68A0B8-90E0-42D9-83EF-EBC0AA72539E}"/>
                </a:ext>
              </a:extLst>
            </p:cNvPr>
            <p:cNvSpPr/>
            <p:nvPr userDrawn="1"/>
          </p:nvSpPr>
          <p:spPr>
            <a:xfrm>
              <a:off x="10465986" y="1574704"/>
              <a:ext cx="467570" cy="471238"/>
            </a:xfrm>
            <a:prstGeom prst="diamond">
              <a:avLst/>
            </a:pr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Raute 26">
              <a:extLst>
                <a:ext uri="{FF2B5EF4-FFF2-40B4-BE49-F238E27FC236}">
                  <a16:creationId xmlns:a16="http://schemas.microsoft.com/office/drawing/2014/main" id="{E647E84C-ED3A-40C0-95A2-DD8263EE334B}"/>
                </a:ext>
              </a:extLst>
            </p:cNvPr>
            <p:cNvSpPr/>
            <p:nvPr userDrawn="1"/>
          </p:nvSpPr>
          <p:spPr>
            <a:xfrm>
              <a:off x="10897271" y="2195549"/>
              <a:ext cx="737274" cy="744527"/>
            </a:xfrm>
            <a:prstGeom prst="diamond">
              <a:avLst/>
            </a:prstGeom>
            <a:solidFill>
              <a:srgbClr val="009AC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
        <p:nvSpPr>
          <p:cNvPr id="28" name="Textplatzhalter 26">
            <a:extLst>
              <a:ext uri="{FF2B5EF4-FFF2-40B4-BE49-F238E27FC236}">
                <a16:creationId xmlns:a16="http://schemas.microsoft.com/office/drawing/2014/main" id="{DF3A53BD-D4D7-4CE9-AEB2-8CEB73AF462A}"/>
              </a:ext>
            </a:extLst>
          </p:cNvPr>
          <p:cNvSpPr>
            <a:spLocks noGrp="1"/>
          </p:cNvSpPr>
          <p:nvPr>
            <p:ph type="body" sz="quarter" idx="10" hasCustomPrompt="1"/>
          </p:nvPr>
        </p:nvSpPr>
        <p:spPr>
          <a:xfrm>
            <a:off x="947736" y="3843652"/>
            <a:ext cx="4043363" cy="475678"/>
          </a:xfrm>
        </p:spPr>
        <p:txBody>
          <a:bodyPr anchor="b">
            <a:normAutofit/>
          </a:bodyPr>
          <a:lstStyle>
            <a:lvl1pPr marL="0" indent="0">
              <a:buFont typeface="Arial" panose="020B0604020202020204" pitchFamily="34" charset="0"/>
              <a:buNone/>
              <a:defRPr sz="2800">
                <a:solidFill>
                  <a:schemeClr val="bg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a:t>Date</a:t>
            </a:r>
          </a:p>
        </p:txBody>
      </p:sp>
      <p:sp>
        <p:nvSpPr>
          <p:cNvPr id="31" name="Textplatzhalter 26">
            <a:extLst>
              <a:ext uri="{FF2B5EF4-FFF2-40B4-BE49-F238E27FC236}">
                <a16:creationId xmlns:a16="http://schemas.microsoft.com/office/drawing/2014/main" id="{334D5EB7-5552-475D-B823-5466D2B34D2E}"/>
              </a:ext>
            </a:extLst>
          </p:cNvPr>
          <p:cNvSpPr>
            <a:spLocks noGrp="1"/>
          </p:cNvSpPr>
          <p:nvPr>
            <p:ph type="body" sz="quarter" idx="11" hasCustomPrompt="1"/>
          </p:nvPr>
        </p:nvSpPr>
        <p:spPr>
          <a:xfrm>
            <a:off x="947736" y="3329466"/>
            <a:ext cx="5326064" cy="475678"/>
          </a:xfrm>
        </p:spPr>
        <p:txBody>
          <a:bodyPr anchor="b">
            <a:normAutofit/>
          </a:bodyPr>
          <a:lstStyle>
            <a:lvl1pPr marL="0" indent="0">
              <a:buFont typeface="Arial" panose="020B0604020202020204" pitchFamily="34" charset="0"/>
              <a:buNone/>
              <a:defRPr sz="2800">
                <a:solidFill>
                  <a:schemeClr val="bg1"/>
                </a:solidFill>
              </a:defRPr>
            </a:lvl1pPr>
            <a:lvl2pPr marL="457200" indent="0">
              <a:buFont typeface="Arial" panose="020B0604020202020204" pitchFamily="34" charset="0"/>
              <a:buNone/>
              <a:defRPr>
                <a:solidFill>
                  <a:schemeClr val="bg1"/>
                </a:solidFill>
              </a:defRPr>
            </a:lvl2pPr>
            <a:lvl3pPr marL="914400" indent="0">
              <a:buFont typeface="Arial" panose="020B0604020202020204" pitchFamily="34" charset="0"/>
              <a:buNone/>
              <a:defRPr>
                <a:solidFill>
                  <a:schemeClr val="bg1"/>
                </a:solidFill>
              </a:defRPr>
            </a:lvl3pPr>
            <a:lvl4pPr marL="1371600" indent="0">
              <a:buFont typeface="Arial" panose="020B0604020202020204" pitchFamily="34" charset="0"/>
              <a:buNone/>
              <a:defRPr>
                <a:solidFill>
                  <a:schemeClr val="bg1"/>
                </a:solidFill>
              </a:defRPr>
            </a:lvl4pPr>
            <a:lvl5pPr marL="1828800" indent="0">
              <a:buFont typeface="Arial" panose="020B0604020202020204" pitchFamily="34" charset="0"/>
              <a:buNone/>
              <a:defRPr>
                <a:solidFill>
                  <a:schemeClr val="bg1"/>
                </a:solidFill>
              </a:defRPr>
            </a:lvl5pPr>
          </a:lstStyle>
          <a:p>
            <a:pPr lvl="0"/>
            <a:r>
              <a:rPr lang="de-DE" err="1"/>
              <a:t>Presenter</a:t>
            </a:r>
            <a:r>
              <a:rPr lang="de-DE"/>
              <a:t>, </a:t>
            </a:r>
            <a:r>
              <a:rPr lang="de-DE" err="1"/>
              <a:t>Presenter</a:t>
            </a:r>
            <a:r>
              <a:rPr lang="de-DE"/>
              <a:t> Title</a:t>
            </a:r>
            <a:endParaRPr lang="en-US"/>
          </a:p>
        </p:txBody>
      </p:sp>
      <p:sp>
        <p:nvSpPr>
          <p:cNvPr id="30" name="Titel 25">
            <a:extLst>
              <a:ext uri="{FF2B5EF4-FFF2-40B4-BE49-F238E27FC236}">
                <a16:creationId xmlns:a16="http://schemas.microsoft.com/office/drawing/2014/main" id="{26C5D580-CE7E-4D01-88F2-5C81F2F00B87}"/>
              </a:ext>
            </a:extLst>
          </p:cNvPr>
          <p:cNvSpPr>
            <a:spLocks noGrp="1"/>
          </p:cNvSpPr>
          <p:nvPr>
            <p:ph type="title" hasCustomPrompt="1"/>
          </p:nvPr>
        </p:nvSpPr>
        <p:spPr>
          <a:xfrm>
            <a:off x="947738" y="300071"/>
            <a:ext cx="6130977" cy="2690816"/>
          </a:xfrm>
        </p:spPr>
        <p:txBody>
          <a:bodyPr>
            <a:normAutofit/>
          </a:bodyPr>
          <a:lstStyle>
            <a:lvl1pPr>
              <a:lnSpc>
                <a:spcPct val="100000"/>
              </a:lnSpc>
              <a:spcAft>
                <a:spcPts val="600"/>
              </a:spcAft>
              <a:defRPr lang="de-DE" sz="6600" kern="1200" smtClean="0">
                <a:solidFill>
                  <a:schemeClr val="bg1"/>
                </a:solidFill>
                <a:latin typeface="+mj-lt"/>
                <a:ea typeface="+mn-ea"/>
                <a:cs typeface="Arial" panose="020B0604020202020204" pitchFamily="34" charset="0"/>
              </a:defRPr>
            </a:lvl1pPr>
          </a:lstStyle>
          <a:p>
            <a:r>
              <a:rPr lang="de-DE"/>
              <a:t>Add Title</a:t>
            </a:r>
            <a:br>
              <a:rPr lang="de-DE"/>
            </a:br>
            <a:r>
              <a:rPr lang="de-DE" err="1"/>
              <a:t>here</a:t>
            </a:r>
            <a:endParaRPr lang="en-US"/>
          </a:p>
        </p:txBody>
      </p:sp>
    </p:spTree>
    <p:extLst>
      <p:ext uri="{BB962C8B-B14F-4D97-AF65-F5344CB8AC3E}">
        <p14:creationId xmlns:p14="http://schemas.microsoft.com/office/powerpoint/2010/main" val="257225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Title">
    <p:spTree>
      <p:nvGrpSpPr>
        <p:cNvPr id="1" name=""/>
        <p:cNvGrpSpPr/>
        <p:nvPr/>
      </p:nvGrpSpPr>
      <p:grpSpPr>
        <a:xfrm>
          <a:off x="0" y="0"/>
          <a:ext cx="0" cy="0"/>
          <a:chOff x="0" y="0"/>
          <a:chExt cx="0" cy="0"/>
        </a:xfrm>
      </p:grpSpPr>
      <p:sp>
        <p:nvSpPr>
          <p:cNvPr id="24" name="Rechteck 23">
            <a:extLst>
              <a:ext uri="{FF2B5EF4-FFF2-40B4-BE49-F238E27FC236}">
                <a16:creationId xmlns:a16="http://schemas.microsoft.com/office/drawing/2014/main" id="{786E6AA1-4051-458A-889C-B2AE5EDA3CD3}"/>
              </a:ext>
            </a:extLst>
          </p:cNvPr>
          <p:cNvSpPr/>
          <p:nvPr userDrawn="1"/>
        </p:nvSpPr>
        <p:spPr>
          <a:xfrm>
            <a:off x="0" y="-1"/>
            <a:ext cx="12192000" cy="4716935"/>
          </a:xfrm>
          <a:prstGeom prst="rect">
            <a:avLst/>
          </a:prstGeom>
          <a:gradFill flip="none" rotWithShape="1">
            <a:gsLst>
              <a:gs pos="50000">
                <a:srgbClr val="0068B4"/>
              </a:gs>
              <a:gs pos="0">
                <a:srgbClr val="A2D3F3"/>
              </a:gs>
              <a:gs pos="25000">
                <a:srgbClr val="59A1D8"/>
              </a:gs>
              <a:gs pos="100000">
                <a:srgbClr val="003E77"/>
              </a:gs>
              <a:gs pos="75000">
                <a:srgbClr val="00529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fik 17">
            <a:extLst>
              <a:ext uri="{FF2B5EF4-FFF2-40B4-BE49-F238E27FC236}">
                <a16:creationId xmlns:a16="http://schemas.microsoft.com/office/drawing/2014/main" id="{D5CD3FB3-1E7E-463E-9CBD-1DB6A7976BD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11145" y="5571823"/>
            <a:ext cx="2571127" cy="574626"/>
          </a:xfrm>
          <a:prstGeom prst="rect">
            <a:avLst/>
          </a:prstGeom>
        </p:spPr>
      </p:pic>
      <p:grpSp>
        <p:nvGrpSpPr>
          <p:cNvPr id="19" name="Gruppieren 18">
            <a:extLst>
              <a:ext uri="{FF2B5EF4-FFF2-40B4-BE49-F238E27FC236}">
                <a16:creationId xmlns:a16="http://schemas.microsoft.com/office/drawing/2014/main" id="{829F8A49-7FD2-4553-B159-61837BD28208}"/>
              </a:ext>
            </a:extLst>
          </p:cNvPr>
          <p:cNvGrpSpPr/>
          <p:nvPr userDrawn="1"/>
        </p:nvGrpSpPr>
        <p:grpSpPr>
          <a:xfrm>
            <a:off x="1" y="5042376"/>
            <a:ext cx="12191998" cy="36000"/>
            <a:chOff x="1" y="5042376"/>
            <a:chExt cx="12191998" cy="36000"/>
          </a:xfrm>
        </p:grpSpPr>
        <p:sp>
          <p:nvSpPr>
            <p:cNvPr id="20" name="Rechteck 19">
              <a:extLst>
                <a:ext uri="{FF2B5EF4-FFF2-40B4-BE49-F238E27FC236}">
                  <a16:creationId xmlns:a16="http://schemas.microsoft.com/office/drawing/2014/main" id="{D5242D0D-92F8-44E6-B66F-BD768A65CC08}"/>
                </a:ext>
              </a:extLst>
            </p:cNvPr>
            <p:cNvSpPr/>
            <p:nvPr userDrawn="1"/>
          </p:nvSpPr>
          <p:spPr bwMode="auto">
            <a:xfrm flipV="1">
              <a:off x="1" y="5042536"/>
              <a:ext cx="900000" cy="35680"/>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21" name="Rechteck 20">
              <a:extLst>
                <a:ext uri="{FF2B5EF4-FFF2-40B4-BE49-F238E27FC236}">
                  <a16:creationId xmlns:a16="http://schemas.microsoft.com/office/drawing/2014/main" id="{0B03E43A-4BBC-47F1-B10D-0286D451270D}"/>
                </a:ext>
              </a:extLst>
            </p:cNvPr>
            <p:cNvSpPr/>
            <p:nvPr userDrawn="1"/>
          </p:nvSpPr>
          <p:spPr bwMode="auto">
            <a:xfrm flipV="1">
              <a:off x="947738" y="5042376"/>
              <a:ext cx="11244261" cy="36000"/>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22" name="Grafik 21">
            <a:extLst>
              <a:ext uri="{FF2B5EF4-FFF2-40B4-BE49-F238E27FC236}">
                <a16:creationId xmlns:a16="http://schemas.microsoft.com/office/drawing/2014/main" id="{E39F0A50-A681-4664-AEF8-4C55BAE69F6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9728" y="5600814"/>
            <a:ext cx="3403282" cy="732221"/>
          </a:xfrm>
          <a:prstGeom prst="rect">
            <a:avLst/>
          </a:prstGeom>
        </p:spPr>
      </p:pic>
      <p:sp>
        <p:nvSpPr>
          <p:cNvPr id="4" name="Titel 6">
            <a:extLst>
              <a:ext uri="{FF2B5EF4-FFF2-40B4-BE49-F238E27FC236}">
                <a16:creationId xmlns:a16="http://schemas.microsoft.com/office/drawing/2014/main" id="{40417672-33EE-455B-A384-56318C4910F0}"/>
              </a:ext>
            </a:extLst>
          </p:cNvPr>
          <p:cNvSpPr>
            <a:spLocks noGrp="1"/>
          </p:cNvSpPr>
          <p:nvPr>
            <p:ph type="title" hasCustomPrompt="1"/>
          </p:nvPr>
        </p:nvSpPr>
        <p:spPr>
          <a:xfrm>
            <a:off x="947738" y="300070"/>
            <a:ext cx="8030702" cy="4116794"/>
          </a:xfrm>
          <a:prstGeom prst="rect">
            <a:avLst/>
          </a:prstGeom>
          <a:noFill/>
          <a:ln>
            <a:noFill/>
          </a:ln>
        </p:spPr>
        <p:txBody>
          <a:bodyPr/>
          <a:lstStyle>
            <a:lvl1pPr algn="l">
              <a:lnSpc>
                <a:spcPct val="100000"/>
              </a:lnSpc>
              <a:defRPr sz="6600">
                <a:solidFill>
                  <a:schemeClr val="bg1"/>
                </a:solidFill>
                <a:latin typeface="+mj-lt"/>
              </a:defRPr>
            </a:lvl1pPr>
          </a:lstStyle>
          <a:p>
            <a:r>
              <a:rPr lang="de-DE"/>
              <a:t>Chapter </a:t>
            </a:r>
            <a:r>
              <a:rPr lang="de-DE" err="1"/>
              <a:t>name</a:t>
            </a:r>
            <a:endParaRPr lang="de-DE"/>
          </a:p>
        </p:txBody>
      </p:sp>
      <p:grpSp>
        <p:nvGrpSpPr>
          <p:cNvPr id="25" name="Gruppieren 24">
            <a:extLst>
              <a:ext uri="{FF2B5EF4-FFF2-40B4-BE49-F238E27FC236}">
                <a16:creationId xmlns:a16="http://schemas.microsoft.com/office/drawing/2014/main" id="{41E4655E-6F23-4677-A0F9-D5F49CD2C345}"/>
              </a:ext>
            </a:extLst>
          </p:cNvPr>
          <p:cNvGrpSpPr/>
          <p:nvPr userDrawn="1"/>
        </p:nvGrpSpPr>
        <p:grpSpPr>
          <a:xfrm>
            <a:off x="7532726" y="-283795"/>
            <a:ext cx="5072907" cy="4587694"/>
            <a:chOff x="8524283" y="350072"/>
            <a:chExt cx="4403520" cy="3982333"/>
          </a:xfrm>
        </p:grpSpPr>
        <p:sp>
          <p:nvSpPr>
            <p:cNvPr id="26" name="Freihandform: Form 25">
              <a:extLst>
                <a:ext uri="{FF2B5EF4-FFF2-40B4-BE49-F238E27FC236}">
                  <a16:creationId xmlns:a16="http://schemas.microsoft.com/office/drawing/2014/main" id="{4223CD62-3310-4AEF-9AEA-818333334F2A}"/>
                </a:ext>
              </a:extLst>
            </p:cNvPr>
            <p:cNvSpPr/>
            <p:nvPr/>
          </p:nvSpPr>
          <p:spPr>
            <a:xfrm rot="18900000">
              <a:off x="10156042" y="612649"/>
              <a:ext cx="1485491" cy="1485491"/>
            </a:xfrm>
            <a:custGeom>
              <a:avLst/>
              <a:gdLst>
                <a:gd name="connsiteX0" fmla="*/ 0 w 640073"/>
                <a:gd name="connsiteY0" fmla="*/ 0 h 640073"/>
                <a:gd name="connsiteX1" fmla="*/ 640074 w 640073"/>
                <a:gd name="connsiteY1" fmla="*/ 0 h 640073"/>
                <a:gd name="connsiteX2" fmla="*/ 640074 w 640073"/>
                <a:gd name="connsiteY2" fmla="*/ 640074 h 640073"/>
                <a:gd name="connsiteX3" fmla="*/ 0 w 640073"/>
                <a:gd name="connsiteY3" fmla="*/ 640074 h 640073"/>
              </a:gdLst>
              <a:ahLst/>
              <a:cxnLst>
                <a:cxn ang="0">
                  <a:pos x="connsiteX0" y="connsiteY0"/>
                </a:cxn>
                <a:cxn ang="0">
                  <a:pos x="connsiteX1" y="connsiteY1"/>
                </a:cxn>
                <a:cxn ang="0">
                  <a:pos x="connsiteX2" y="connsiteY2"/>
                </a:cxn>
                <a:cxn ang="0">
                  <a:pos x="connsiteX3" y="connsiteY3"/>
                </a:cxn>
              </a:cxnLst>
              <a:rect l="l" t="t" r="r" b="b"/>
              <a:pathLst>
                <a:path w="640073" h="640073">
                  <a:moveTo>
                    <a:pt x="0" y="0"/>
                  </a:moveTo>
                  <a:lnTo>
                    <a:pt x="640074" y="0"/>
                  </a:lnTo>
                  <a:lnTo>
                    <a:pt x="640074" y="640074"/>
                  </a:lnTo>
                  <a:lnTo>
                    <a:pt x="0" y="640074"/>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 name="Freihandform: Form 26">
              <a:extLst>
                <a:ext uri="{FF2B5EF4-FFF2-40B4-BE49-F238E27FC236}">
                  <a16:creationId xmlns:a16="http://schemas.microsoft.com/office/drawing/2014/main" id="{FC8B10B1-C8B0-487C-8319-86AE88007839}"/>
                </a:ext>
              </a:extLst>
            </p:cNvPr>
            <p:cNvSpPr/>
            <p:nvPr/>
          </p:nvSpPr>
          <p:spPr>
            <a:xfrm>
              <a:off x="12071552" y="2262713"/>
              <a:ext cx="856251" cy="85389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77B7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 name="Freihandform: Form 27">
              <a:extLst>
                <a:ext uri="{FF2B5EF4-FFF2-40B4-BE49-F238E27FC236}">
                  <a16:creationId xmlns:a16="http://schemas.microsoft.com/office/drawing/2014/main" id="{A6785C0E-A9FE-44B4-929C-ADCC0BCE77C1}"/>
                </a:ext>
              </a:extLst>
            </p:cNvPr>
            <p:cNvSpPr/>
            <p:nvPr/>
          </p:nvSpPr>
          <p:spPr>
            <a:xfrm>
              <a:off x="9050464" y="531030"/>
              <a:ext cx="478962" cy="475744"/>
            </a:xfrm>
            <a:custGeom>
              <a:avLst/>
              <a:gdLst>
                <a:gd name="connsiteX0" fmla="*/ 354330 w 708659"/>
                <a:gd name="connsiteY0" fmla="*/ 0 h 703897"/>
                <a:gd name="connsiteX1" fmla="*/ 0 w 708659"/>
                <a:gd name="connsiteY1" fmla="*/ 352425 h 703897"/>
                <a:gd name="connsiteX2" fmla="*/ 354330 w 708659"/>
                <a:gd name="connsiteY2" fmla="*/ 703898 h 703897"/>
                <a:gd name="connsiteX3" fmla="*/ 708660 w 708659"/>
                <a:gd name="connsiteY3" fmla="*/ 352425 h 703897"/>
              </a:gdLst>
              <a:ahLst/>
              <a:cxnLst>
                <a:cxn ang="0">
                  <a:pos x="connsiteX0" y="connsiteY0"/>
                </a:cxn>
                <a:cxn ang="0">
                  <a:pos x="connsiteX1" y="connsiteY1"/>
                </a:cxn>
                <a:cxn ang="0">
                  <a:pos x="connsiteX2" y="connsiteY2"/>
                </a:cxn>
                <a:cxn ang="0">
                  <a:pos x="connsiteX3" y="connsiteY3"/>
                </a:cxn>
              </a:cxnLst>
              <a:rect l="l" t="t" r="r" b="b"/>
              <a:pathLst>
                <a:path w="708659" h="703897">
                  <a:moveTo>
                    <a:pt x="354330" y="0"/>
                  </a:moveTo>
                  <a:lnTo>
                    <a:pt x="0" y="352425"/>
                  </a:lnTo>
                  <a:lnTo>
                    <a:pt x="354330" y="703898"/>
                  </a:lnTo>
                  <a:lnTo>
                    <a:pt x="708660" y="352425"/>
                  </a:lnTo>
                  <a:close/>
                </a:path>
              </a:pathLst>
            </a:custGeom>
            <a:solidFill>
              <a:srgbClr val="0068B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 name="Freihandform: Form 28">
              <a:extLst>
                <a:ext uri="{FF2B5EF4-FFF2-40B4-BE49-F238E27FC236}">
                  <a16:creationId xmlns:a16="http://schemas.microsoft.com/office/drawing/2014/main" id="{4151B5E0-6F98-4998-B4E7-DAE230AD69A7}"/>
                </a:ext>
              </a:extLst>
            </p:cNvPr>
            <p:cNvSpPr/>
            <p:nvPr/>
          </p:nvSpPr>
          <p:spPr>
            <a:xfrm>
              <a:off x="8524283" y="1140444"/>
              <a:ext cx="877420" cy="888384"/>
            </a:xfrm>
            <a:custGeom>
              <a:avLst/>
              <a:gdLst>
                <a:gd name="connsiteX0" fmla="*/ 114300 w 228600"/>
                <a:gd name="connsiteY0" fmla="*/ 0 h 231457"/>
                <a:gd name="connsiteX1" fmla="*/ 0 w 228600"/>
                <a:gd name="connsiteY1" fmla="*/ 115253 h 231457"/>
                <a:gd name="connsiteX2" fmla="*/ 114300 w 228600"/>
                <a:gd name="connsiteY2" fmla="*/ 231458 h 231457"/>
                <a:gd name="connsiteX3" fmla="*/ 228600 w 228600"/>
                <a:gd name="connsiteY3" fmla="*/ 115253 h 231457"/>
              </a:gdLst>
              <a:ahLst/>
              <a:cxnLst>
                <a:cxn ang="0">
                  <a:pos x="connsiteX0" y="connsiteY0"/>
                </a:cxn>
                <a:cxn ang="0">
                  <a:pos x="connsiteX1" y="connsiteY1"/>
                </a:cxn>
                <a:cxn ang="0">
                  <a:pos x="connsiteX2" y="connsiteY2"/>
                </a:cxn>
                <a:cxn ang="0">
                  <a:pos x="connsiteX3" y="connsiteY3"/>
                </a:cxn>
              </a:cxnLst>
              <a:rect l="l" t="t" r="r" b="b"/>
              <a:pathLst>
                <a:path w="228600" h="231457">
                  <a:moveTo>
                    <a:pt x="114300" y="0"/>
                  </a:moveTo>
                  <a:lnTo>
                    <a:pt x="0" y="115253"/>
                  </a:lnTo>
                  <a:lnTo>
                    <a:pt x="114300" y="231458"/>
                  </a:lnTo>
                  <a:lnTo>
                    <a:pt x="228600" y="115253"/>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 name="Freihandform: Form 29">
              <a:extLst>
                <a:ext uri="{FF2B5EF4-FFF2-40B4-BE49-F238E27FC236}">
                  <a16:creationId xmlns:a16="http://schemas.microsoft.com/office/drawing/2014/main" id="{DE5EA988-5623-4556-BCB5-C3E73286100E}"/>
                </a:ext>
              </a:extLst>
            </p:cNvPr>
            <p:cNvSpPr/>
            <p:nvPr/>
          </p:nvSpPr>
          <p:spPr>
            <a:xfrm rot="18899514">
              <a:off x="9839470" y="350072"/>
              <a:ext cx="419865" cy="419865"/>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003E7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 name="Freihandform: Form 30">
              <a:extLst>
                <a:ext uri="{FF2B5EF4-FFF2-40B4-BE49-F238E27FC236}">
                  <a16:creationId xmlns:a16="http://schemas.microsoft.com/office/drawing/2014/main" id="{6F68897F-A4FF-405F-8544-55BC5FDE8F23}"/>
                </a:ext>
              </a:extLst>
            </p:cNvPr>
            <p:cNvSpPr/>
            <p:nvPr/>
          </p:nvSpPr>
          <p:spPr>
            <a:xfrm>
              <a:off x="10382907" y="2488499"/>
              <a:ext cx="359720" cy="363259"/>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 name="Freihandform: Form 31">
              <a:extLst>
                <a:ext uri="{FF2B5EF4-FFF2-40B4-BE49-F238E27FC236}">
                  <a16:creationId xmlns:a16="http://schemas.microsoft.com/office/drawing/2014/main" id="{5AD14CA0-303F-4E5E-8ABE-805B372EFE4C}"/>
                </a:ext>
              </a:extLst>
            </p:cNvPr>
            <p:cNvSpPr/>
            <p:nvPr/>
          </p:nvSpPr>
          <p:spPr>
            <a:xfrm>
              <a:off x="12047628" y="1434517"/>
              <a:ext cx="300749" cy="30310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 name="Freihandform: Form 32">
              <a:extLst>
                <a:ext uri="{FF2B5EF4-FFF2-40B4-BE49-F238E27FC236}">
                  <a16:creationId xmlns:a16="http://schemas.microsoft.com/office/drawing/2014/main" id="{BEA45DF7-7CCA-42E8-AC98-1CFB5B5EA9E9}"/>
                </a:ext>
              </a:extLst>
            </p:cNvPr>
            <p:cNvSpPr/>
            <p:nvPr/>
          </p:nvSpPr>
          <p:spPr>
            <a:xfrm>
              <a:off x="11968269" y="4029297"/>
              <a:ext cx="300749" cy="303108"/>
            </a:xfrm>
            <a:custGeom>
              <a:avLst/>
              <a:gdLst>
                <a:gd name="connsiteX0" fmla="*/ 121920 w 242887"/>
                <a:gd name="connsiteY0" fmla="*/ 244793 h 244792"/>
                <a:gd name="connsiteX1" fmla="*/ 0 w 242887"/>
                <a:gd name="connsiteY1" fmla="*/ 121920 h 244792"/>
                <a:gd name="connsiteX2" fmla="*/ 121920 w 242887"/>
                <a:gd name="connsiteY2" fmla="*/ 0 h 244792"/>
                <a:gd name="connsiteX3" fmla="*/ 242888 w 242887"/>
                <a:gd name="connsiteY3" fmla="*/ 121920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1920" y="244793"/>
                  </a:moveTo>
                  <a:lnTo>
                    <a:pt x="0" y="121920"/>
                  </a:lnTo>
                  <a:lnTo>
                    <a:pt x="121920" y="0"/>
                  </a:lnTo>
                  <a:lnTo>
                    <a:pt x="242888" y="121920"/>
                  </a:lnTo>
                  <a:close/>
                </a:path>
              </a:pathLst>
            </a:custGeom>
            <a:solidFill>
              <a:srgbClr val="19BAD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 name="Freihandform: Form 33">
              <a:extLst>
                <a:ext uri="{FF2B5EF4-FFF2-40B4-BE49-F238E27FC236}">
                  <a16:creationId xmlns:a16="http://schemas.microsoft.com/office/drawing/2014/main" id="{E60841B8-8627-473B-8253-35365F65CEFA}"/>
                </a:ext>
              </a:extLst>
            </p:cNvPr>
            <p:cNvSpPr/>
            <p:nvPr/>
          </p:nvSpPr>
          <p:spPr>
            <a:xfrm>
              <a:off x="9592529" y="2037137"/>
              <a:ext cx="593588" cy="599209"/>
            </a:xfrm>
            <a:custGeom>
              <a:avLst/>
              <a:gdLst>
                <a:gd name="connsiteX0" fmla="*/ 0 w 502919"/>
                <a:gd name="connsiteY0" fmla="*/ 254317 h 507682"/>
                <a:gd name="connsiteX1" fmla="*/ 251460 w 502919"/>
                <a:gd name="connsiteY1" fmla="*/ 507683 h 507682"/>
                <a:gd name="connsiteX2" fmla="*/ 502920 w 502919"/>
                <a:gd name="connsiteY2" fmla="*/ 254317 h 507682"/>
                <a:gd name="connsiteX3" fmla="*/ 251460 w 502919"/>
                <a:gd name="connsiteY3" fmla="*/ 0 h 507682"/>
              </a:gdLst>
              <a:ahLst/>
              <a:cxnLst>
                <a:cxn ang="0">
                  <a:pos x="connsiteX0" y="connsiteY0"/>
                </a:cxn>
                <a:cxn ang="0">
                  <a:pos x="connsiteX1" y="connsiteY1"/>
                </a:cxn>
                <a:cxn ang="0">
                  <a:pos x="connsiteX2" y="connsiteY2"/>
                </a:cxn>
                <a:cxn ang="0">
                  <a:pos x="connsiteX3" y="connsiteY3"/>
                </a:cxn>
              </a:cxnLst>
              <a:rect l="l" t="t" r="r" b="b"/>
              <a:pathLst>
                <a:path w="502919" h="507682">
                  <a:moveTo>
                    <a:pt x="0" y="254317"/>
                  </a:moveTo>
                  <a:lnTo>
                    <a:pt x="251460" y="507683"/>
                  </a:lnTo>
                  <a:lnTo>
                    <a:pt x="502920" y="254317"/>
                  </a:lnTo>
                  <a:lnTo>
                    <a:pt x="251460" y="0"/>
                  </a:lnTo>
                  <a:close/>
                </a:path>
              </a:pathLst>
            </a:custGeom>
            <a:solidFill>
              <a:srgbClr val="00B4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 name="Freihandform: Form 34">
              <a:extLst>
                <a:ext uri="{FF2B5EF4-FFF2-40B4-BE49-F238E27FC236}">
                  <a16:creationId xmlns:a16="http://schemas.microsoft.com/office/drawing/2014/main" id="{73489025-19A9-4F7D-A266-6111689FE90A}"/>
                </a:ext>
              </a:extLst>
            </p:cNvPr>
            <p:cNvSpPr/>
            <p:nvPr/>
          </p:nvSpPr>
          <p:spPr>
            <a:xfrm>
              <a:off x="11293117" y="3012163"/>
              <a:ext cx="790721" cy="78854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A2D3F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 name="Freihandform: Form 35">
              <a:extLst>
                <a:ext uri="{FF2B5EF4-FFF2-40B4-BE49-F238E27FC236}">
                  <a16:creationId xmlns:a16="http://schemas.microsoft.com/office/drawing/2014/main" id="{F9BE69EA-3487-4BD1-8D61-4E1BE471291D}"/>
                </a:ext>
              </a:extLst>
            </p:cNvPr>
            <p:cNvSpPr/>
            <p:nvPr/>
          </p:nvSpPr>
          <p:spPr>
            <a:xfrm>
              <a:off x="10700280" y="3012163"/>
              <a:ext cx="467570" cy="47123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 name="Freihandform: Form 36">
              <a:extLst>
                <a:ext uri="{FF2B5EF4-FFF2-40B4-BE49-F238E27FC236}">
                  <a16:creationId xmlns:a16="http://schemas.microsoft.com/office/drawing/2014/main" id="{0B8E3495-FFA2-434E-BF4F-1EE1F4C62D0A}"/>
                </a:ext>
              </a:extLst>
            </p:cNvPr>
            <p:cNvSpPr/>
            <p:nvPr/>
          </p:nvSpPr>
          <p:spPr>
            <a:xfrm>
              <a:off x="11293117" y="2090232"/>
              <a:ext cx="593588" cy="599428"/>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519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 name="Freihandform: Form 37">
              <a:extLst>
                <a:ext uri="{FF2B5EF4-FFF2-40B4-BE49-F238E27FC236}">
                  <a16:creationId xmlns:a16="http://schemas.microsoft.com/office/drawing/2014/main" id="{2F86B2F6-F847-4D70-BD73-EF020F208627}"/>
                </a:ext>
              </a:extLst>
            </p:cNvPr>
            <p:cNvSpPr/>
            <p:nvPr/>
          </p:nvSpPr>
          <p:spPr>
            <a:xfrm rot="18899514">
              <a:off x="9499599" y="3156269"/>
              <a:ext cx="1084084" cy="1084084"/>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65B2E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 name="Freihandform: Form 38">
              <a:extLst>
                <a:ext uri="{FF2B5EF4-FFF2-40B4-BE49-F238E27FC236}">
                  <a16:creationId xmlns:a16="http://schemas.microsoft.com/office/drawing/2014/main" id="{627000B6-E59F-435C-A26C-D5DE26C3361A}"/>
                </a:ext>
              </a:extLst>
            </p:cNvPr>
            <p:cNvSpPr/>
            <p:nvPr/>
          </p:nvSpPr>
          <p:spPr>
            <a:xfrm rot="18899514">
              <a:off x="12056480" y="394168"/>
              <a:ext cx="655807" cy="655807"/>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59A1D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Tree>
    <p:extLst>
      <p:ext uri="{BB962C8B-B14F-4D97-AF65-F5344CB8AC3E}">
        <p14:creationId xmlns:p14="http://schemas.microsoft.com/office/powerpoint/2010/main" val="316084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6.png"/><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29" Type="http://schemas.openxmlformats.org/officeDocument/2006/relationships/image" Target="../media/image9.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28" Type="http://schemas.openxmlformats.org/officeDocument/2006/relationships/image" Target="../media/image8.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 Id="rId27" Type="http://schemas.openxmlformats.org/officeDocument/2006/relationships/image" Target="../media/image7.png"/><Relationship Id="rId30" Type="http://schemas.openxmlformats.org/officeDocument/2006/relationships/image" Target="../media/image10.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cNvSpPr/>
          <p:nvPr userDrawn="1"/>
        </p:nvSpPr>
        <p:spPr>
          <a:xfrm>
            <a:off x="0" y="6597384"/>
            <a:ext cx="12192000" cy="288000"/>
          </a:xfrm>
          <a:prstGeom prst="rect">
            <a:avLst/>
          </a:prstGeom>
          <a:no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Placeholder 1"/>
          <p:cNvSpPr>
            <a:spLocks noGrp="1"/>
          </p:cNvSpPr>
          <p:nvPr>
            <p:ph type="title"/>
          </p:nvPr>
        </p:nvSpPr>
        <p:spPr>
          <a:xfrm>
            <a:off x="947738" y="873125"/>
            <a:ext cx="10296525" cy="1293440"/>
          </a:xfrm>
          <a:prstGeom prst="rect">
            <a:avLst/>
          </a:prstGeom>
        </p:spPr>
        <p:txBody>
          <a:bodyPr vert="horz" lIns="0" tIns="0" rIns="0" bIns="0" rtlCol="0" anchor="ctr">
            <a:noAutofit/>
          </a:bodyPr>
          <a:lstStyle/>
          <a:p>
            <a:r>
              <a:rPr lang="de-DE" noProof="0"/>
              <a:t>Mastertitelformat bearbeiten</a:t>
            </a:r>
            <a:endParaRPr lang="en-US" noProof="0"/>
          </a:p>
        </p:txBody>
      </p:sp>
      <p:sp>
        <p:nvSpPr>
          <p:cNvPr id="3" name="Text Placeholder 2"/>
          <p:cNvSpPr>
            <a:spLocks noGrp="1"/>
          </p:cNvSpPr>
          <p:nvPr>
            <p:ph type="body" idx="1"/>
          </p:nvPr>
        </p:nvSpPr>
        <p:spPr>
          <a:xfrm>
            <a:off x="947738" y="2301501"/>
            <a:ext cx="10296525" cy="4043737"/>
          </a:xfrm>
          <a:prstGeom prst="rect">
            <a:avLst/>
          </a:prstGeom>
          <a:effectLst/>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20" name="Page N°"/>
          <p:cNvSpPr txBox="1"/>
          <p:nvPr userDrawn="1"/>
        </p:nvSpPr>
        <p:spPr>
          <a:xfrm>
            <a:off x="9213056" y="6604390"/>
            <a:ext cx="2643982" cy="288000"/>
          </a:xfrm>
          <a:prstGeom prst="rect">
            <a:avLst/>
          </a:prstGeom>
        </p:spPr>
        <p:txBody>
          <a:bodyPr vert="horz" wrap="square" lIns="0" tIns="0" rIns="0" bIns="0" rtlCol="0" anchor="ctr">
            <a:normAutofit/>
          </a:bodyPr>
          <a:lstStyle/>
          <a:p>
            <a:pPr algn="r"/>
            <a:r>
              <a:rPr lang="en-US" sz="800" b="0" i="0" kern="1200">
                <a:solidFill>
                  <a:schemeClr val="bg2">
                    <a:lumMod val="25000"/>
                  </a:schemeClr>
                </a:solidFill>
                <a:latin typeface="Roboto" panose="02000000000000000000" pitchFamily="2" charset="0"/>
                <a:ea typeface="+mn-ea"/>
                <a:cs typeface="Arial" panose="020B0604020202020204" pitchFamily="34" charset="0"/>
              </a:rPr>
              <a:t>Page </a:t>
            </a:r>
            <a:fld id="{5D1E2CFF-DC63-4689-905B-F42B50AEB7DB}" type="slidenum">
              <a:rPr lang="en-US" sz="800" b="0" i="0" kern="1200" smtClean="0">
                <a:solidFill>
                  <a:schemeClr val="bg2">
                    <a:lumMod val="25000"/>
                  </a:schemeClr>
                </a:solidFill>
                <a:latin typeface="Roboto" panose="02000000000000000000" pitchFamily="2" charset="0"/>
                <a:ea typeface="+mn-ea"/>
                <a:cs typeface="Arial" panose="020B0604020202020204" pitchFamily="34" charset="0"/>
              </a:rPr>
              <a:t>‹#›</a:t>
            </a:fld>
            <a:endParaRPr lang="en-US" sz="800" b="0" i="0" kern="1200">
              <a:solidFill>
                <a:schemeClr val="bg2">
                  <a:lumMod val="25000"/>
                </a:schemeClr>
              </a:solidFill>
              <a:latin typeface="Roboto" panose="02000000000000000000" pitchFamily="2" charset="0"/>
              <a:ea typeface="+mn-ea"/>
              <a:cs typeface="Arial" panose="020B0604020202020204" pitchFamily="34" charset="0"/>
            </a:endParaRPr>
          </a:p>
        </p:txBody>
      </p:sp>
      <p:grpSp>
        <p:nvGrpSpPr>
          <p:cNvPr id="17" name="UTIMACO Beam">
            <a:extLst>
              <a:ext uri="{FF2B5EF4-FFF2-40B4-BE49-F238E27FC236}">
                <a16:creationId xmlns:a16="http://schemas.microsoft.com/office/drawing/2014/main" id="{17784CAD-E1B4-4D21-90E7-A3E85CA32121}"/>
              </a:ext>
            </a:extLst>
          </p:cNvPr>
          <p:cNvGrpSpPr/>
          <p:nvPr userDrawn="1"/>
        </p:nvGrpSpPr>
        <p:grpSpPr>
          <a:xfrm>
            <a:off x="1" y="696005"/>
            <a:ext cx="12193968" cy="32408"/>
            <a:chOff x="0" y="696007"/>
            <a:chExt cx="12193969" cy="28268"/>
          </a:xfrm>
        </p:grpSpPr>
        <p:sp>
          <p:nvSpPr>
            <p:cNvPr id="21" name="UTIMACO Silver">
              <a:extLst>
                <a:ext uri="{FF2B5EF4-FFF2-40B4-BE49-F238E27FC236}">
                  <a16:creationId xmlns:a16="http://schemas.microsoft.com/office/drawing/2014/main" id="{D1D32507-1D1D-4214-915B-EE4DD4543B15}"/>
                </a:ext>
              </a:extLst>
            </p:cNvPr>
            <p:cNvSpPr/>
            <p:nvPr userDrawn="1"/>
          </p:nvSpPr>
          <p:spPr bwMode="auto">
            <a:xfrm flipV="1">
              <a:off x="0" y="696259"/>
              <a:ext cx="900000" cy="28016"/>
            </a:xfrm>
            <a:prstGeom prst="rect">
              <a:avLst/>
            </a:prstGeom>
            <a:solidFill>
              <a:srgbClr val="8A9CA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endParaRPr>
            </a:p>
          </p:txBody>
        </p:sp>
        <p:sp>
          <p:nvSpPr>
            <p:cNvPr id="23" name="UTIMACO Blue">
              <a:extLst>
                <a:ext uri="{FF2B5EF4-FFF2-40B4-BE49-F238E27FC236}">
                  <a16:creationId xmlns:a16="http://schemas.microsoft.com/office/drawing/2014/main" id="{F60C7620-AC29-43C6-9AE1-2822AE4445F1}"/>
                </a:ext>
              </a:extLst>
            </p:cNvPr>
            <p:cNvSpPr/>
            <p:nvPr userDrawn="1"/>
          </p:nvSpPr>
          <p:spPr bwMode="auto">
            <a:xfrm flipV="1">
              <a:off x="947738" y="696007"/>
              <a:ext cx="11246231" cy="28261"/>
            </a:xfrm>
            <a:prstGeom prst="rect">
              <a:avLst/>
            </a:prstGeom>
            <a:solidFill>
              <a:srgbClr val="0068B4"/>
            </a:solidFill>
            <a:ln w="9525" cap="flat" cmpd="sng" algn="ctr">
              <a:noFill/>
              <a:prstDash val="solid"/>
              <a:round/>
              <a:headEnd type="none" w="med" len="med"/>
              <a:tailEnd type="none" w="med" len="med"/>
            </a:ln>
            <a:effectLst/>
          </p:spPr>
          <p:txBody>
            <a:bodyPr wrap="none" anchor="ctr">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de-DE" sz="684" b="0" i="0" u="none" strike="noStrike" kern="0" cap="none" spc="0" normalizeH="0" baseline="0" noProof="0">
                  <a:ln>
                    <a:noFill/>
                  </a:ln>
                  <a:solidFill>
                    <a:srgbClr val="000000"/>
                  </a:solidFill>
                  <a:effectLst/>
                  <a:uLnTx/>
                  <a:uFillTx/>
                  <a:latin typeface="Roboto" panose="02000000000000000000" pitchFamily="2" charset="0"/>
                  <a:ea typeface="ＭＳ Ｐゴシック" pitchFamily="34" charset="-128"/>
                </a:rPr>
                <a:t> </a:t>
              </a:r>
            </a:p>
          </p:txBody>
        </p:sp>
      </p:grpSp>
      <p:pic>
        <p:nvPicPr>
          <p:cNvPr id="14" name="UTIMACO Logo">
            <a:extLst>
              <a:ext uri="{FF2B5EF4-FFF2-40B4-BE49-F238E27FC236}">
                <a16:creationId xmlns:a16="http://schemas.microsoft.com/office/drawing/2014/main" id="{3F440437-B29F-4FA0-BDA2-DF0B0056A7BB}"/>
              </a:ext>
            </a:extLst>
          </p:cNvPr>
          <p:cNvPicPr>
            <a:picLocks noChangeAspect="1"/>
          </p:cNvPicPr>
          <p:nvPr userDrawn="1"/>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861510" y="6651628"/>
            <a:ext cx="750193" cy="167662"/>
          </a:xfrm>
          <a:prstGeom prst="rect">
            <a:avLst/>
          </a:prstGeom>
        </p:spPr>
      </p:pic>
      <p:grpSp>
        <p:nvGrpSpPr>
          <p:cNvPr id="27" name="COMPANY STRICTLY CONFIDENTIAL" hidden="1">
            <a:extLst>
              <a:ext uri="{FF2B5EF4-FFF2-40B4-BE49-F238E27FC236}">
                <a16:creationId xmlns:a16="http://schemas.microsoft.com/office/drawing/2014/main" id="{81A65BC9-D0EB-4E1E-AC2E-95B30AC35BEE}"/>
              </a:ext>
            </a:extLst>
          </p:cNvPr>
          <p:cNvGrpSpPr/>
          <p:nvPr userDrawn="1"/>
        </p:nvGrpSpPr>
        <p:grpSpPr>
          <a:xfrm>
            <a:off x="3801980" y="6609926"/>
            <a:ext cx="7682162" cy="257939"/>
            <a:chOff x="3801980" y="6609926"/>
            <a:chExt cx="7682162" cy="257939"/>
          </a:xfrm>
        </p:grpSpPr>
        <p:sp>
          <p:nvSpPr>
            <p:cNvPr id="28" name="TextBox 3">
              <a:extLst>
                <a:ext uri="{FF2B5EF4-FFF2-40B4-BE49-F238E27FC236}">
                  <a16:creationId xmlns:a16="http://schemas.microsoft.com/office/drawing/2014/main" id="{B09526AE-D9C5-4E6C-BFDA-297AC3F17036}"/>
                </a:ext>
              </a:extLst>
            </p:cNvPr>
            <p:cNvSpPr txBox="1"/>
            <p:nvPr/>
          </p:nvSpPr>
          <p:spPr>
            <a:xfrm>
              <a:off x="6394824" y="6609926"/>
              <a:ext cx="5089318" cy="257939"/>
            </a:xfrm>
            <a:prstGeom prst="rect">
              <a:avLst/>
            </a:prstGeom>
          </p:spPr>
          <p:txBody>
            <a:bodyPr vert="horz" wrap="square" lIns="91440" tIns="45720" rIns="91440" bIns="45720" rtlCol="0" anchor="ctr">
              <a:normAutofit/>
            </a:bodyPr>
            <a:lstStyle/>
            <a:p>
              <a:pPr algn="ctr"/>
              <a:r>
                <a:rPr lang="de-DE" sz="1000" b="1" spc="100">
                  <a:solidFill>
                    <a:srgbClr val="C00000"/>
                  </a:solidFill>
                  <a:sym typeface="Wingdings 2" panose="05020102010507070707" pitchFamily="18" charset="2"/>
                </a:rPr>
                <a:t></a:t>
              </a:r>
              <a:r>
                <a:rPr lang="de-DE" sz="1000" b="1" spc="100">
                  <a:solidFill>
                    <a:srgbClr val="C00000"/>
                  </a:solidFill>
                </a:rPr>
                <a:t> COMPANY STRICTLY CONFIDENTIAL</a:t>
              </a:r>
              <a:r>
                <a:rPr lang="en-US" sz="1000" b="1" spc="100">
                  <a:solidFill>
                    <a:srgbClr val="C00000"/>
                  </a:solidFill>
                </a:rPr>
                <a:t> </a:t>
              </a:r>
              <a:r>
                <a:rPr lang="de-DE" sz="1000" b="1" spc="100">
                  <a:solidFill>
                    <a:srgbClr val="C00000"/>
                  </a:solidFill>
                  <a:sym typeface="Wingdings 2" panose="05020102010507070707" pitchFamily="18" charset="2"/>
                </a:rPr>
                <a:t></a:t>
              </a:r>
              <a:endParaRPr lang="en-US" sz="1000" b="1" spc="100">
                <a:solidFill>
                  <a:srgbClr val="C00000"/>
                </a:solidFill>
              </a:endParaRPr>
            </a:p>
          </p:txBody>
        </p:sp>
        <p:pic>
          <p:nvPicPr>
            <p:cNvPr id="29" name="Grafik 28">
              <a:extLst>
                <a:ext uri="{FF2B5EF4-FFF2-40B4-BE49-F238E27FC236}">
                  <a16:creationId xmlns:a16="http://schemas.microsoft.com/office/drawing/2014/main" id="{1EED066E-35B7-481B-B1F6-049182A9F6C4}"/>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801980" y="6651627"/>
              <a:ext cx="1059531" cy="176589"/>
            </a:xfrm>
            <a:prstGeom prst="rect">
              <a:avLst/>
            </a:prstGeom>
          </p:spPr>
        </p:pic>
      </p:grpSp>
      <p:grpSp>
        <p:nvGrpSpPr>
          <p:cNvPr id="24" name="COMPANY CONFIDENTIAL" hidden="1">
            <a:extLst>
              <a:ext uri="{FF2B5EF4-FFF2-40B4-BE49-F238E27FC236}">
                <a16:creationId xmlns:a16="http://schemas.microsoft.com/office/drawing/2014/main" id="{28DBC8C2-B144-4F90-9B77-CCC64E2841B1}"/>
              </a:ext>
            </a:extLst>
          </p:cNvPr>
          <p:cNvGrpSpPr/>
          <p:nvPr userDrawn="1"/>
        </p:nvGrpSpPr>
        <p:grpSpPr>
          <a:xfrm>
            <a:off x="3801980" y="6609926"/>
            <a:ext cx="7682162" cy="257939"/>
            <a:chOff x="3801980" y="6609926"/>
            <a:chExt cx="7682162" cy="257939"/>
          </a:xfrm>
        </p:grpSpPr>
        <p:sp>
          <p:nvSpPr>
            <p:cNvPr id="25" name="TextBox 3">
              <a:extLst>
                <a:ext uri="{FF2B5EF4-FFF2-40B4-BE49-F238E27FC236}">
                  <a16:creationId xmlns:a16="http://schemas.microsoft.com/office/drawing/2014/main" id="{E783F060-01B1-4625-B266-6C21AC8939E6}"/>
                </a:ext>
              </a:extLst>
            </p:cNvPr>
            <p:cNvSpPr txBox="1"/>
            <p:nvPr/>
          </p:nvSpPr>
          <p:spPr>
            <a:xfrm>
              <a:off x="6394824" y="6609926"/>
              <a:ext cx="5089318" cy="257939"/>
            </a:xfrm>
            <a:prstGeom prst="rect">
              <a:avLst/>
            </a:prstGeom>
          </p:spPr>
          <p:txBody>
            <a:bodyPr vert="horz" wrap="square" lIns="91440" tIns="45720" rIns="91440" bIns="45720" rtlCol="0" anchor="ctr">
              <a:normAutofit/>
            </a:bodyPr>
            <a:lstStyle/>
            <a:p>
              <a:pPr algn="ctr"/>
              <a:r>
                <a:rPr lang="de-DE" sz="1000" b="1" spc="100">
                  <a:solidFill>
                    <a:schemeClr val="accent1"/>
                  </a:solidFill>
                  <a:sym typeface="Wingdings 2" panose="05020102010507070707" pitchFamily="18" charset="2"/>
                </a:rPr>
                <a:t></a:t>
              </a:r>
              <a:r>
                <a:rPr lang="de-DE" sz="1000" b="1" spc="100">
                  <a:solidFill>
                    <a:schemeClr val="accent1"/>
                  </a:solidFill>
                </a:rPr>
                <a:t> COMPANY CONFIDENTIAL</a:t>
              </a:r>
              <a:r>
                <a:rPr lang="en-US" sz="1000" b="1" spc="100">
                  <a:solidFill>
                    <a:schemeClr val="accent1"/>
                  </a:solidFill>
                </a:rPr>
                <a:t> </a:t>
              </a:r>
              <a:r>
                <a:rPr lang="de-DE" sz="1000" b="1" spc="100">
                  <a:solidFill>
                    <a:schemeClr val="accent1"/>
                  </a:solidFill>
                  <a:sym typeface="Wingdings 2" panose="05020102010507070707" pitchFamily="18" charset="2"/>
                </a:rPr>
                <a:t></a:t>
              </a:r>
              <a:endParaRPr lang="en-US" sz="1000" b="1" spc="100">
                <a:solidFill>
                  <a:schemeClr val="accent1"/>
                </a:solidFill>
              </a:endParaRPr>
            </a:p>
          </p:txBody>
        </p:sp>
        <p:pic>
          <p:nvPicPr>
            <p:cNvPr id="26" name="Grafik 25">
              <a:extLst>
                <a:ext uri="{FF2B5EF4-FFF2-40B4-BE49-F238E27FC236}">
                  <a16:creationId xmlns:a16="http://schemas.microsoft.com/office/drawing/2014/main" id="{D956503B-782C-4DBC-BD47-E53ACBA09503}"/>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801980" y="6651627"/>
              <a:ext cx="1059531" cy="176589"/>
            </a:xfrm>
            <a:prstGeom prst="rect">
              <a:avLst/>
            </a:prstGeom>
          </p:spPr>
        </p:pic>
      </p:grpSp>
      <p:grpSp>
        <p:nvGrpSpPr>
          <p:cNvPr id="15" name="COMPANY RESTRICTED" hidden="1">
            <a:extLst>
              <a:ext uri="{FF2B5EF4-FFF2-40B4-BE49-F238E27FC236}">
                <a16:creationId xmlns:a16="http://schemas.microsoft.com/office/drawing/2014/main" id="{606173F7-0E46-426F-B191-6B120ACD41BE}"/>
              </a:ext>
            </a:extLst>
          </p:cNvPr>
          <p:cNvGrpSpPr/>
          <p:nvPr userDrawn="1"/>
        </p:nvGrpSpPr>
        <p:grpSpPr>
          <a:xfrm>
            <a:off x="3801980" y="6609926"/>
            <a:ext cx="7682162" cy="257939"/>
            <a:chOff x="3801980" y="6609926"/>
            <a:chExt cx="7682162" cy="257939"/>
          </a:xfrm>
        </p:grpSpPr>
        <p:sp>
          <p:nvSpPr>
            <p:cNvPr id="16" name="TextBox 3">
              <a:extLst>
                <a:ext uri="{FF2B5EF4-FFF2-40B4-BE49-F238E27FC236}">
                  <a16:creationId xmlns:a16="http://schemas.microsoft.com/office/drawing/2014/main" id="{397B2193-6546-45AA-A6E0-EA3FF979EE6C}"/>
                </a:ext>
              </a:extLst>
            </p:cNvPr>
            <p:cNvSpPr txBox="1"/>
            <p:nvPr/>
          </p:nvSpPr>
          <p:spPr>
            <a:xfrm>
              <a:off x="6394824" y="6609926"/>
              <a:ext cx="5089318" cy="257939"/>
            </a:xfrm>
            <a:prstGeom prst="rect">
              <a:avLst/>
            </a:prstGeom>
          </p:spPr>
          <p:txBody>
            <a:bodyPr vert="horz" wrap="square" lIns="91440" tIns="45720" rIns="91440" bIns="45720" rtlCol="0" anchor="ctr">
              <a:normAutofit/>
            </a:bodyPr>
            <a:lstStyle/>
            <a:p>
              <a:pPr algn="ctr"/>
              <a:r>
                <a:rPr lang="de-DE" sz="1000" b="1" spc="100">
                  <a:solidFill>
                    <a:schemeClr val="accent1"/>
                  </a:solidFill>
                  <a:sym typeface="Wingdings 2" panose="05020102010507070707" pitchFamily="18" charset="2"/>
                </a:rPr>
                <a:t></a:t>
              </a:r>
              <a:r>
                <a:rPr lang="de-DE" sz="1000" b="1" spc="100">
                  <a:solidFill>
                    <a:schemeClr val="accent1"/>
                  </a:solidFill>
                </a:rPr>
                <a:t> </a:t>
              </a:r>
              <a:r>
                <a:rPr lang="de-DE" sz="1000" b="1" spc="100"/>
                <a:t>COMPANY RESTRICTED</a:t>
              </a:r>
              <a:r>
                <a:rPr lang="en-US" sz="1000" b="1" spc="100">
                  <a:solidFill>
                    <a:schemeClr val="accent1"/>
                  </a:solidFill>
                </a:rPr>
                <a:t> </a:t>
              </a:r>
              <a:r>
                <a:rPr lang="de-DE" sz="1000" b="1" spc="100">
                  <a:solidFill>
                    <a:schemeClr val="accent1"/>
                  </a:solidFill>
                  <a:sym typeface="Wingdings 2" panose="05020102010507070707" pitchFamily="18" charset="2"/>
                </a:rPr>
                <a:t></a:t>
              </a:r>
              <a:endParaRPr lang="en-US" sz="1000" b="1" spc="100">
                <a:solidFill>
                  <a:schemeClr val="accent1"/>
                </a:solidFill>
              </a:endParaRPr>
            </a:p>
          </p:txBody>
        </p:sp>
        <p:pic>
          <p:nvPicPr>
            <p:cNvPr id="22" name="Grafik 21">
              <a:extLst>
                <a:ext uri="{FF2B5EF4-FFF2-40B4-BE49-F238E27FC236}">
                  <a16:creationId xmlns:a16="http://schemas.microsoft.com/office/drawing/2014/main" id="{201108FD-7E18-4753-878A-B89C02E44867}"/>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801980" y="6651627"/>
              <a:ext cx="1059531" cy="176589"/>
            </a:xfrm>
            <a:prstGeom prst="rect">
              <a:avLst/>
            </a:prstGeom>
          </p:spPr>
        </p:pic>
      </p:grpSp>
      <p:sp>
        <p:nvSpPr>
          <p:cNvPr id="4" name="UNRESTRICTED">
            <a:extLst>
              <a:ext uri="{FF2B5EF4-FFF2-40B4-BE49-F238E27FC236}">
                <a16:creationId xmlns:a16="http://schemas.microsoft.com/office/drawing/2014/main" id="{BD16ADBE-47A3-4F8E-A7A8-DBDA7D999FB0}"/>
              </a:ext>
            </a:extLst>
          </p:cNvPr>
          <p:cNvSpPr txBox="1"/>
          <p:nvPr userDrawn="1"/>
        </p:nvSpPr>
        <p:spPr>
          <a:xfrm>
            <a:off x="6394824" y="6609926"/>
            <a:ext cx="5089318" cy="257939"/>
          </a:xfrm>
          <a:prstGeom prst="rect">
            <a:avLst/>
          </a:prstGeom>
        </p:spPr>
        <p:txBody>
          <a:bodyPr vert="horz" wrap="square" lIns="91440" tIns="45720" rIns="91440" bIns="45720" rtlCol="0" anchor="ctr">
            <a:normAutofit/>
          </a:bodyPr>
          <a:lstStyle/>
          <a:p>
            <a:pPr algn="ctr"/>
            <a:r>
              <a:rPr lang="de-DE" sz="1000" b="1" spc="100" dirty="0">
                <a:solidFill>
                  <a:schemeClr val="tx2"/>
                </a:solidFill>
                <a:sym typeface="Wingdings 2" panose="05020102010507070707" pitchFamily="18" charset="2"/>
              </a:rPr>
              <a:t></a:t>
            </a:r>
            <a:r>
              <a:rPr lang="de-DE" sz="1000" b="1" spc="100" dirty="0">
                <a:solidFill>
                  <a:schemeClr val="tx2"/>
                </a:solidFill>
              </a:rPr>
              <a:t> U</a:t>
            </a:r>
            <a:r>
              <a:rPr lang="en-US" sz="1000" b="1" spc="100" dirty="0">
                <a:solidFill>
                  <a:schemeClr val="tx2"/>
                </a:solidFill>
              </a:rPr>
              <a:t>NRESTRICTED </a:t>
            </a:r>
            <a:r>
              <a:rPr lang="de-DE" sz="1000" b="1" spc="100" dirty="0">
                <a:solidFill>
                  <a:schemeClr val="tx2"/>
                </a:solidFill>
                <a:sym typeface="Wingdings 2" panose="05020102010507070707" pitchFamily="18" charset="2"/>
              </a:rPr>
              <a:t></a:t>
            </a:r>
            <a:endParaRPr lang="en-US" sz="1000" b="1" spc="100" dirty="0">
              <a:solidFill>
                <a:schemeClr val="tx2"/>
              </a:solidFill>
            </a:endParaRPr>
          </a:p>
        </p:txBody>
      </p:sp>
      <p:pic>
        <p:nvPicPr>
          <p:cNvPr id="1028" name="Picture 4" descr="Associations - EENA">
            <a:extLst>
              <a:ext uri="{FF2B5EF4-FFF2-40B4-BE49-F238E27FC236}">
                <a16:creationId xmlns:a16="http://schemas.microsoft.com/office/drawing/2014/main" id="{C9526C0C-8646-32F7-A3A4-A7AB5FBC051C}"/>
              </a:ext>
            </a:extLst>
          </p:cNvPr>
          <p:cNvPicPr>
            <a:picLocks noChangeAspect="1" noChangeArrowheads="1"/>
          </p:cNvPicPr>
          <p:nvPr userDrawn="1"/>
        </p:nvPicPr>
        <p:blipFill>
          <a:blip r:embed="rId25" cstate="hqprint">
            <a:extLst>
              <a:ext uri="{28A0092B-C50C-407E-A947-70E740481C1C}">
                <a14:useLocalDpi xmlns:a14="http://schemas.microsoft.com/office/drawing/2010/main" val="0"/>
              </a:ext>
            </a:extLst>
          </a:blip>
          <a:srcRect/>
          <a:stretch>
            <a:fillRect/>
          </a:stretch>
        </p:blipFill>
        <p:spPr bwMode="auto">
          <a:xfrm>
            <a:off x="10901300" y="200388"/>
            <a:ext cx="955738" cy="41763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C71ACAB-BCF3-4E30-508E-7E934E7AE1C0}"/>
              </a:ext>
            </a:extLst>
          </p:cNvPr>
          <p:cNvPicPr>
            <a:picLocks noChangeAspect="1"/>
          </p:cNvPicPr>
          <p:nvPr userDrawn="1"/>
        </p:nvPicPr>
        <p:blipFill>
          <a:blip r:embed="rId26"/>
          <a:stretch>
            <a:fillRect/>
          </a:stretch>
        </p:blipFill>
        <p:spPr>
          <a:xfrm>
            <a:off x="145749" y="6585184"/>
            <a:ext cx="917638" cy="248010"/>
          </a:xfrm>
          <a:prstGeom prst="rect">
            <a:avLst/>
          </a:prstGeom>
        </p:spPr>
      </p:pic>
    </p:spTree>
    <p:extLst>
      <p:ext uri="{BB962C8B-B14F-4D97-AF65-F5344CB8AC3E}">
        <p14:creationId xmlns:p14="http://schemas.microsoft.com/office/powerpoint/2010/main" val="2069322835"/>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28" r:id="rId12"/>
    <p:sldLayoutId id="2147483716" r:id="rId13"/>
    <p:sldLayoutId id="2147483717" r:id="rId14"/>
    <p:sldLayoutId id="2147483718" r:id="rId15"/>
    <p:sldLayoutId id="2147483719" r:id="rId16"/>
    <p:sldLayoutId id="2147483720" r:id="rId17"/>
    <p:sldLayoutId id="2147483726" r:id="rId18"/>
    <p:sldLayoutId id="214748372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rgbClr val="0068B4"/>
          </a:solidFill>
          <a:latin typeface="Roboto" panose="02000000000000000000" pitchFamily="2" charset="0"/>
          <a:ea typeface="+mj-ea"/>
          <a:cs typeface="Arial" panose="020B0604020202020204" pitchFamily="34" charset="0"/>
        </a:defRPr>
      </a:lvl1pPr>
    </p:titleStyle>
    <p:bodyStyle>
      <a:lvl1pPr marL="265113" indent="-265113" algn="l" defTabSz="914400" rtl="0" eaLnBrk="1" latinLnBrk="0" hangingPunct="1">
        <a:lnSpc>
          <a:spcPct val="100000"/>
        </a:lnSpc>
        <a:spcBef>
          <a:spcPts val="0"/>
        </a:spcBef>
        <a:spcAft>
          <a:spcPts val="600"/>
        </a:spcAft>
        <a:buClr>
          <a:srgbClr val="0068B4"/>
        </a:buClr>
        <a:buSzPct val="100000"/>
        <a:buFontTx/>
        <a:buBlip>
          <a:blip r:embed="rId27">
            <a:extLst>
              <a:ext uri="{96DAC541-7B7A-43D3-8B79-37D633B846F1}">
                <asvg:svgBlip xmlns:asvg="http://schemas.microsoft.com/office/drawing/2016/SVG/main" r:embed="rId28"/>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29">
            <a:extLst>
              <a:ext uri="{96DAC541-7B7A-43D3-8B79-37D633B846F1}">
                <asvg:svgBlip xmlns:asvg="http://schemas.microsoft.com/office/drawing/2016/SVG/main" r:embed="rId30"/>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29">
            <a:extLst>
              <a:ext uri="{96DAC541-7B7A-43D3-8B79-37D633B846F1}">
                <asvg:svgBlip xmlns:asvg="http://schemas.microsoft.com/office/drawing/2016/SVG/main" r:embed="rId30"/>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29">
            <a:extLst>
              <a:ext uri="{96DAC541-7B7A-43D3-8B79-37D633B846F1}">
                <asvg:svgBlip xmlns:asvg="http://schemas.microsoft.com/office/drawing/2016/SVG/main" r:embed="rId30"/>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29">
            <a:extLst>
              <a:ext uri="{96DAC541-7B7A-43D3-8B79-37D633B846F1}">
                <asvg:svgBlip xmlns:asvg="http://schemas.microsoft.com/office/drawing/2016/SVG/main" r:embed="rId30"/>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6">
          <p15:clr>
            <a:srgbClr val="F26B43"/>
          </p15:clr>
        </p15:guide>
        <p15:guide id="2" pos="597">
          <p15:clr>
            <a:srgbClr val="F26B43"/>
          </p15:clr>
        </p15:guide>
        <p15:guide id="3" orient="horz" pos="455">
          <p15:clr>
            <a:srgbClr val="F26B43"/>
          </p15:clr>
        </p15:guide>
        <p15:guide id="4" orient="horz" pos="3997">
          <p15:clr>
            <a:srgbClr val="F26B43"/>
          </p15:clr>
        </p15:guide>
        <p15:guide id="5" orient="horz" pos="4088">
          <p15:clr>
            <a:srgbClr val="F26B43"/>
          </p15:clr>
        </p15:guide>
        <p15:guide id="6" pos="7469">
          <p15:clr>
            <a:srgbClr val="F26B43"/>
          </p15:clr>
        </p15:guide>
        <p15:guide id="7" orient="horz" pos="550">
          <p15:clr>
            <a:srgbClr val="F26B43"/>
          </p15:clr>
        </p15:guide>
        <p15:guide id="10" pos="7083">
          <p15:clr>
            <a:srgbClr val="F26B43"/>
          </p15:clr>
        </p15:guide>
        <p15:guide id="11" pos="3840">
          <p15:clr>
            <a:srgbClr val="F26B43"/>
          </p15:clr>
        </p15:guide>
        <p15:guide id="12" orient="horz" pos="2160">
          <p15:clr>
            <a:srgbClr val="F26B43"/>
          </p15:clr>
        </p15:guide>
        <p15:guide id="13" pos="1527">
          <p15:clr>
            <a:srgbClr val="F26B43"/>
          </p15:clr>
        </p15:guide>
        <p15:guide id="14" pos="1708">
          <p15:clr>
            <a:srgbClr val="F26B43"/>
          </p15:clr>
        </p15:guide>
        <p15:guide id="15" pos="2638">
          <p15:clr>
            <a:srgbClr val="F26B43"/>
          </p15:clr>
        </p15:guide>
        <p15:guide id="16" pos="2819">
          <p15:clr>
            <a:srgbClr val="F26B43"/>
          </p15:clr>
        </p15:guide>
        <p15:guide id="17" pos="3749">
          <p15:clr>
            <a:srgbClr val="F26B43"/>
          </p15:clr>
        </p15:guide>
        <p15:guide id="18" pos="4861">
          <p15:clr>
            <a:srgbClr val="F26B43"/>
          </p15:clr>
        </p15:guide>
        <p15:guide id="19" pos="5042">
          <p15:clr>
            <a:srgbClr val="F26B43"/>
          </p15:clr>
        </p15:guide>
        <p15:guide id="20" pos="5972">
          <p15:clr>
            <a:srgbClr val="F26B43"/>
          </p15:clr>
        </p15:guide>
        <p15:guide id="21" pos="6153">
          <p15:clr>
            <a:srgbClr val="F26B43"/>
          </p15:clr>
        </p15:guide>
        <p15:guide id="22" pos="393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9.svg"/><Relationship Id="rId11" Type="http://schemas.openxmlformats.org/officeDocument/2006/relationships/image" Target="../media/image22.png"/><Relationship Id="rId5" Type="http://schemas.openxmlformats.org/officeDocument/2006/relationships/image" Target="../media/image18.png"/><Relationship Id="rId10" Type="http://schemas.openxmlformats.org/officeDocument/2006/relationships/image" Target="../media/image21.png"/><Relationship Id="rId4" Type="http://schemas.openxmlformats.org/officeDocument/2006/relationships/image" Target="../media/image17.png"/><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7.png"/><Relationship Id="rId7" Type="http://schemas.openxmlformats.org/officeDocument/2006/relationships/image" Target="../media/image110.png"/><Relationship Id="rId12" Type="http://schemas.openxmlformats.org/officeDocument/2006/relationships/image" Target="../media/image115.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0" Type="http://schemas.openxmlformats.org/officeDocument/2006/relationships/image" Target="../media/image113.png"/><Relationship Id="rId4" Type="http://schemas.openxmlformats.org/officeDocument/2006/relationships/hyperlink" Target="https://www.youtube.com/watch?v=3c_Wbv2HvCs" TargetMode="External"/><Relationship Id="rId9" Type="http://schemas.openxmlformats.org/officeDocument/2006/relationships/image" Target="../media/image112.jpeg"/></Relationships>
</file>

<file path=ppt/slides/_rels/slide1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1.xml"/><Relationship Id="rId4" Type="http://schemas.openxmlformats.org/officeDocument/2006/relationships/image" Target="../media/image118.png"/></Relationships>
</file>

<file path=ppt/slides/_rels/slide1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1.xml"/><Relationship Id="rId4" Type="http://schemas.openxmlformats.org/officeDocument/2006/relationships/image" Target="../media/image121.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22.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23.png"/><Relationship Id="rId1" Type="http://schemas.openxmlformats.org/officeDocument/2006/relationships/slideLayout" Target="../slideLayouts/slideLayout10.xml"/><Relationship Id="rId4" Type="http://schemas.openxmlformats.org/officeDocument/2006/relationships/image" Target="../media/image124.png"/></Relationships>
</file>

<file path=ppt/slides/_rels/slide1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0.xml"/><Relationship Id="rId6" Type="http://schemas.openxmlformats.org/officeDocument/2006/relationships/image" Target="../media/image131.jpeg"/><Relationship Id="rId5" Type="http://schemas.openxmlformats.org/officeDocument/2006/relationships/image" Target="../media/image130.png"/><Relationship Id="rId4" Type="http://schemas.openxmlformats.org/officeDocument/2006/relationships/image" Target="../media/image12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sv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10.xml"/><Relationship Id="rId6" Type="http://schemas.openxmlformats.org/officeDocument/2006/relationships/image" Target="../media/image140.png"/><Relationship Id="rId5" Type="http://schemas.openxmlformats.org/officeDocument/2006/relationships/image" Target="../media/image139.svg"/><Relationship Id="rId10" Type="http://schemas.openxmlformats.org/officeDocument/2006/relationships/image" Target="../media/image19.svg"/><Relationship Id="rId4" Type="http://schemas.openxmlformats.org/officeDocument/2006/relationships/image" Target="../media/image138.png"/><Relationship Id="rId9" Type="http://schemas.openxmlformats.org/officeDocument/2006/relationships/image" Target="../media/image1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6.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10.svg"/><Relationship Id="rId2" Type="http://schemas.openxmlformats.org/officeDocument/2006/relationships/hyperlink" Target="https://www.brs.dk/en/" TargetMode="External"/><Relationship Id="rId1" Type="http://schemas.openxmlformats.org/officeDocument/2006/relationships/slideLayout" Target="../slideLayouts/slideLayout10.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18" Type="http://schemas.openxmlformats.org/officeDocument/2006/relationships/image" Target="../media/image38.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7.png"/><Relationship Id="rId2" Type="http://schemas.openxmlformats.org/officeDocument/2006/relationships/notesSlide" Target="../notesSlides/notesSlide2.xml"/><Relationship Id="rId16"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5.jpeg"/><Relationship Id="rId10" Type="http://schemas.openxmlformats.org/officeDocument/2006/relationships/image" Target="../media/image31.svg"/><Relationship Id="rId4" Type="http://schemas.openxmlformats.org/officeDocument/2006/relationships/image" Target="../media/image25.png"/><Relationship Id="rId9" Type="http://schemas.openxmlformats.org/officeDocument/2006/relationships/image" Target="../media/image30.png"/><Relationship Id="rId1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slideLayout" Target="../slideLayouts/slideLayout13.xml"/><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svg"/><Relationship Id="rId2" Type="http://schemas.openxmlformats.org/officeDocument/2006/relationships/tags" Target="../tags/tag2.xml"/><Relationship Id="rId16" Type="http://schemas.openxmlformats.org/officeDocument/2006/relationships/image" Target="../media/image49.png"/><Relationship Id="rId20" Type="http://schemas.openxmlformats.org/officeDocument/2006/relationships/image" Target="../media/image53.svg"/><Relationship Id="rId1" Type="http://schemas.openxmlformats.org/officeDocument/2006/relationships/tags" Target="../tags/tag1.xml"/><Relationship Id="rId6" Type="http://schemas.openxmlformats.org/officeDocument/2006/relationships/image" Target="../media/image39.emf"/><Relationship Id="rId11" Type="http://schemas.openxmlformats.org/officeDocument/2006/relationships/image" Target="../media/image44.svg"/><Relationship Id="rId24" Type="http://schemas.openxmlformats.org/officeDocument/2006/relationships/image" Target="../media/image57.png"/><Relationship Id="rId5" Type="http://schemas.openxmlformats.org/officeDocument/2006/relationships/oleObject" Target="../embeddings/oleObject1.bin"/><Relationship Id="rId15" Type="http://schemas.openxmlformats.org/officeDocument/2006/relationships/image" Target="../media/image48.svg"/><Relationship Id="rId23" Type="http://schemas.openxmlformats.org/officeDocument/2006/relationships/image" Target="../media/image56.png"/><Relationship Id="rId28" Type="http://schemas.openxmlformats.org/officeDocument/2006/relationships/image" Target="../media/image61.sv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notesSlide" Target="../notesSlides/notesSlide3.xml"/><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svg"/><Relationship Id="rId27" Type="http://schemas.openxmlformats.org/officeDocument/2006/relationships/image" Target="../media/image60.png"/></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10.sv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svg"/><Relationship Id="rId18" Type="http://schemas.openxmlformats.org/officeDocument/2006/relationships/image" Target="../media/image79.png"/><Relationship Id="rId26" Type="http://schemas.openxmlformats.org/officeDocument/2006/relationships/image" Target="../media/image87.png"/><Relationship Id="rId3" Type="http://schemas.openxmlformats.org/officeDocument/2006/relationships/image" Target="../media/image64.svg"/><Relationship Id="rId21" Type="http://schemas.openxmlformats.org/officeDocument/2006/relationships/image" Target="../media/image82.svg"/><Relationship Id="rId7" Type="http://schemas.openxmlformats.org/officeDocument/2006/relationships/image" Target="../media/image68.svg"/><Relationship Id="rId12" Type="http://schemas.openxmlformats.org/officeDocument/2006/relationships/image" Target="../media/image73.png"/><Relationship Id="rId17" Type="http://schemas.openxmlformats.org/officeDocument/2006/relationships/image" Target="../media/image78.svg"/><Relationship Id="rId25" Type="http://schemas.openxmlformats.org/officeDocument/2006/relationships/image" Target="../media/image86.png"/><Relationship Id="rId2" Type="http://schemas.openxmlformats.org/officeDocument/2006/relationships/image" Target="../media/image63.png"/><Relationship Id="rId16" Type="http://schemas.openxmlformats.org/officeDocument/2006/relationships/image" Target="../media/image77.png"/><Relationship Id="rId20" Type="http://schemas.openxmlformats.org/officeDocument/2006/relationships/image" Target="../media/image81.png"/><Relationship Id="rId1" Type="http://schemas.openxmlformats.org/officeDocument/2006/relationships/slideLayout" Target="../slideLayouts/slideLayout13.xml"/><Relationship Id="rId6" Type="http://schemas.openxmlformats.org/officeDocument/2006/relationships/image" Target="../media/image67.png"/><Relationship Id="rId11" Type="http://schemas.openxmlformats.org/officeDocument/2006/relationships/image" Target="../media/image72.svg"/><Relationship Id="rId24" Type="http://schemas.openxmlformats.org/officeDocument/2006/relationships/image" Target="../media/image85.png"/><Relationship Id="rId5" Type="http://schemas.openxmlformats.org/officeDocument/2006/relationships/image" Target="../media/image66.svg"/><Relationship Id="rId15" Type="http://schemas.openxmlformats.org/officeDocument/2006/relationships/image" Target="../media/image76.svg"/><Relationship Id="rId23" Type="http://schemas.openxmlformats.org/officeDocument/2006/relationships/image" Target="../media/image84.svg"/><Relationship Id="rId28" Type="http://schemas.openxmlformats.org/officeDocument/2006/relationships/image" Target="../media/image89.png"/><Relationship Id="rId10" Type="http://schemas.openxmlformats.org/officeDocument/2006/relationships/image" Target="../media/image71.png"/><Relationship Id="rId19" Type="http://schemas.openxmlformats.org/officeDocument/2006/relationships/image" Target="../media/image80.svg"/><Relationship Id="rId4" Type="http://schemas.openxmlformats.org/officeDocument/2006/relationships/image" Target="../media/image65.png"/><Relationship Id="rId9" Type="http://schemas.openxmlformats.org/officeDocument/2006/relationships/image" Target="../media/image70.svg"/><Relationship Id="rId14" Type="http://schemas.openxmlformats.org/officeDocument/2006/relationships/image" Target="../media/image75.png"/><Relationship Id="rId22" Type="http://schemas.openxmlformats.org/officeDocument/2006/relationships/image" Target="../media/image83.png"/><Relationship Id="rId27" Type="http://schemas.openxmlformats.org/officeDocument/2006/relationships/image" Target="../media/image88.png"/></Relationships>
</file>

<file path=ppt/slides/_rels/slide9.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18" Type="http://schemas.openxmlformats.org/officeDocument/2006/relationships/image" Target="../media/image102.svg"/><Relationship Id="rId3" Type="http://schemas.openxmlformats.org/officeDocument/2006/relationships/image" Target="../media/image7.png"/><Relationship Id="rId21" Type="http://schemas.openxmlformats.org/officeDocument/2006/relationships/image" Target="../media/image105.png"/><Relationship Id="rId7" Type="http://schemas.openxmlformats.org/officeDocument/2006/relationships/image" Target="../media/image91.png"/><Relationship Id="rId12" Type="http://schemas.openxmlformats.org/officeDocument/2006/relationships/image" Target="../media/image96.svg"/><Relationship Id="rId17" Type="http://schemas.openxmlformats.org/officeDocument/2006/relationships/image" Target="../media/image101.png"/><Relationship Id="rId2" Type="http://schemas.openxmlformats.org/officeDocument/2006/relationships/image" Target="../media/image90.jpeg"/><Relationship Id="rId16" Type="http://schemas.openxmlformats.org/officeDocument/2006/relationships/image" Target="../media/image100.svg"/><Relationship Id="rId20" Type="http://schemas.openxmlformats.org/officeDocument/2006/relationships/image" Target="../media/image104.svg"/><Relationship Id="rId1" Type="http://schemas.openxmlformats.org/officeDocument/2006/relationships/slideLayout" Target="../slideLayouts/slideLayout13.xml"/><Relationship Id="rId6" Type="http://schemas.openxmlformats.org/officeDocument/2006/relationships/image" Target="../media/image10.svg"/><Relationship Id="rId11" Type="http://schemas.openxmlformats.org/officeDocument/2006/relationships/image" Target="../media/image95.png"/><Relationship Id="rId5" Type="http://schemas.openxmlformats.org/officeDocument/2006/relationships/image" Target="../media/image9.png"/><Relationship Id="rId15" Type="http://schemas.openxmlformats.org/officeDocument/2006/relationships/image" Target="../media/image99.png"/><Relationship Id="rId10" Type="http://schemas.openxmlformats.org/officeDocument/2006/relationships/image" Target="../media/image94.svg"/><Relationship Id="rId19" Type="http://schemas.openxmlformats.org/officeDocument/2006/relationships/image" Target="../media/image103.png"/><Relationship Id="rId4" Type="http://schemas.openxmlformats.org/officeDocument/2006/relationships/image" Target="../media/image8.svg"/><Relationship Id="rId9" Type="http://schemas.openxmlformats.org/officeDocument/2006/relationships/image" Target="../media/image93.png"/><Relationship Id="rId14" Type="http://schemas.openxmlformats.org/officeDocument/2006/relationships/image" Target="../media/image98.svg"/><Relationship Id="rId22" Type="http://schemas.openxmlformats.org/officeDocument/2006/relationships/image" Target="../media/image10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C74D40-B34E-4DBD-826C-E0E80D77278E}"/>
              </a:ext>
            </a:extLst>
          </p:cNvPr>
          <p:cNvSpPr>
            <a:spLocks noGrp="1"/>
          </p:cNvSpPr>
          <p:nvPr>
            <p:ph type="title"/>
          </p:nvPr>
        </p:nvSpPr>
        <p:spPr>
          <a:xfrm>
            <a:off x="774391" y="300070"/>
            <a:ext cx="8663190" cy="4116794"/>
          </a:xfrm>
        </p:spPr>
        <p:txBody>
          <a:bodyPr lIns="0" tIns="0" rIns="0" bIns="0">
            <a:normAutofit fontScale="90000"/>
          </a:bodyPr>
          <a:lstStyle/>
          <a:p>
            <a:br>
              <a:rPr lang="en-US"/>
            </a:br>
            <a:br>
              <a:rPr lang="en-US"/>
            </a:br>
            <a:r>
              <a:rPr lang="en-US" sz="3100"/>
              <a:t>Mitigating Disasters with Utimaco’s</a:t>
            </a:r>
            <a:br>
              <a:rPr lang="en-US"/>
            </a:br>
            <a:r>
              <a:rPr lang="en-US" sz="4900"/>
              <a:t>Public Warning systems</a:t>
            </a:r>
            <a:br>
              <a:rPr lang="en-US" sz="4900"/>
            </a:br>
            <a:r>
              <a:rPr lang="en-US" sz="4900"/>
              <a:t>&amp; Event Management</a:t>
            </a:r>
            <a:br>
              <a:rPr lang="en-US"/>
            </a:br>
            <a:endParaRPr lang="en-US"/>
          </a:p>
        </p:txBody>
      </p:sp>
      <p:sp>
        <p:nvSpPr>
          <p:cNvPr id="5" name="TextBox 4">
            <a:extLst>
              <a:ext uri="{FF2B5EF4-FFF2-40B4-BE49-F238E27FC236}">
                <a16:creationId xmlns:a16="http://schemas.microsoft.com/office/drawing/2014/main" id="{80DA8867-1D64-75C8-9486-E9297DD913FC}"/>
              </a:ext>
            </a:extLst>
          </p:cNvPr>
          <p:cNvSpPr txBox="1"/>
          <p:nvPr/>
        </p:nvSpPr>
        <p:spPr>
          <a:xfrm>
            <a:off x="820094" y="1481389"/>
            <a:ext cx="583660" cy="301557"/>
          </a:xfrm>
          <a:prstGeom prst="rect">
            <a:avLst/>
          </a:prstGeom>
          <a:effectLst/>
        </p:spPr>
        <p:txBody>
          <a:bodyPr vert="horz" wrap="none" lIns="0" tIns="0" rIns="0" bIns="0" rtlCol="0">
            <a:noAutofit/>
          </a:bodyPr>
          <a:lstStyle/>
          <a:p>
            <a:pPr algn="l">
              <a:lnSpc>
                <a:spcPct val="100000"/>
              </a:lnSpc>
              <a:spcBef>
                <a:spcPts val="0"/>
              </a:spcBef>
              <a:spcAft>
                <a:spcPts val="600"/>
              </a:spcAft>
            </a:pPr>
            <a:r>
              <a:rPr lang="en-US" sz="1600">
                <a:solidFill>
                  <a:schemeClr val="bg1"/>
                </a:solidFill>
              </a:rPr>
              <a:t>u.warn</a:t>
            </a:r>
          </a:p>
        </p:txBody>
      </p:sp>
      <p:pic>
        <p:nvPicPr>
          <p:cNvPr id="6" name="Picture 5" descr="Icon&#10;&#10;Description automatically generated">
            <a:extLst>
              <a:ext uri="{FF2B5EF4-FFF2-40B4-BE49-F238E27FC236}">
                <a16:creationId xmlns:a16="http://schemas.microsoft.com/office/drawing/2014/main" id="{3E5946CD-1DCB-E91C-B53D-0500E912A6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391" y="695204"/>
            <a:ext cx="675066" cy="773671"/>
          </a:xfrm>
          <a:prstGeom prst="rect">
            <a:avLst/>
          </a:prstGeom>
        </p:spPr>
      </p:pic>
      <p:pic>
        <p:nvPicPr>
          <p:cNvPr id="4" name="Picture 3">
            <a:extLst>
              <a:ext uri="{FF2B5EF4-FFF2-40B4-BE49-F238E27FC236}">
                <a16:creationId xmlns:a16="http://schemas.microsoft.com/office/drawing/2014/main" id="{42C11A16-A4DE-6C9F-5E0D-B8F9C12BF1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02" y="0"/>
            <a:ext cx="12189198" cy="4693920"/>
          </a:xfrm>
          <a:prstGeom prst="rect">
            <a:avLst/>
          </a:prstGeom>
        </p:spPr>
      </p:pic>
      <p:sp>
        <p:nvSpPr>
          <p:cNvPr id="7" name="TextBox 6">
            <a:extLst>
              <a:ext uri="{FF2B5EF4-FFF2-40B4-BE49-F238E27FC236}">
                <a16:creationId xmlns:a16="http://schemas.microsoft.com/office/drawing/2014/main" id="{32623383-5EB0-2A57-56CE-9F66FF6E216F}"/>
              </a:ext>
            </a:extLst>
          </p:cNvPr>
          <p:cNvSpPr txBox="1"/>
          <p:nvPr/>
        </p:nvSpPr>
        <p:spPr>
          <a:xfrm>
            <a:off x="0" y="3070708"/>
            <a:ext cx="12192000" cy="1632616"/>
          </a:xfrm>
          <a:prstGeom prst="rect">
            <a:avLst/>
          </a:prstGeom>
          <a:solidFill>
            <a:schemeClr val="accent2">
              <a:lumMod val="75000"/>
              <a:alpha val="87000"/>
            </a:schemeClr>
          </a:solidFill>
          <a:effectLst/>
        </p:spPr>
        <p:txBody>
          <a:bodyPr vert="horz" wrap="none" lIns="0" tIns="0" rIns="0" bIns="0" rtlCol="0" anchor="ctr" anchorCtr="0">
            <a:noAutofit/>
          </a:bodyPr>
          <a:lstStyle/>
          <a:p>
            <a:pPr algn="l">
              <a:lnSpc>
                <a:spcPct val="100000"/>
              </a:lnSpc>
              <a:spcBef>
                <a:spcPts val="0"/>
              </a:spcBef>
              <a:spcAft>
                <a:spcPts val="600"/>
              </a:spcAft>
            </a:pPr>
            <a:r>
              <a:rPr lang="en-US" sz="4800" dirty="0">
                <a:solidFill>
                  <a:schemeClr val="bg1"/>
                </a:solidFill>
              </a:rPr>
              <a:t>      </a:t>
            </a:r>
            <a:r>
              <a:rPr lang="en-US" sz="3200" dirty="0">
                <a:solidFill>
                  <a:schemeClr val="bg1"/>
                </a:solidFill>
              </a:rPr>
              <a:t>Public Warning Systems</a:t>
            </a:r>
          </a:p>
          <a:p>
            <a:pPr algn="l">
              <a:lnSpc>
                <a:spcPct val="100000"/>
              </a:lnSpc>
              <a:spcBef>
                <a:spcPts val="0"/>
              </a:spcBef>
              <a:spcAft>
                <a:spcPts val="600"/>
              </a:spcAft>
            </a:pPr>
            <a:r>
              <a:rPr lang="en-US" sz="3200" dirty="0">
                <a:solidFill>
                  <a:schemeClr val="bg1"/>
                </a:solidFill>
              </a:rPr>
              <a:t>         Deployment in Denmark</a:t>
            </a:r>
            <a:endParaRPr lang="en-US" sz="4800" dirty="0">
              <a:solidFill>
                <a:schemeClr val="bg1"/>
              </a:solidFill>
            </a:endParaRPr>
          </a:p>
        </p:txBody>
      </p:sp>
      <p:grpSp>
        <p:nvGrpSpPr>
          <p:cNvPr id="15" name="Group 14">
            <a:extLst>
              <a:ext uri="{FF2B5EF4-FFF2-40B4-BE49-F238E27FC236}">
                <a16:creationId xmlns:a16="http://schemas.microsoft.com/office/drawing/2014/main" id="{7E47F0B6-3902-5D0C-50E2-7F4BDF4AF74C}"/>
              </a:ext>
            </a:extLst>
          </p:cNvPr>
          <p:cNvGrpSpPr/>
          <p:nvPr/>
        </p:nvGrpSpPr>
        <p:grpSpPr>
          <a:xfrm>
            <a:off x="11156238" y="300070"/>
            <a:ext cx="914400" cy="899357"/>
            <a:chOff x="5645427" y="5479359"/>
            <a:chExt cx="914400" cy="899357"/>
          </a:xfrm>
        </p:grpSpPr>
        <p:pic>
          <p:nvPicPr>
            <p:cNvPr id="12" name="Grafik 20">
              <a:extLst>
                <a:ext uri="{FF2B5EF4-FFF2-40B4-BE49-F238E27FC236}">
                  <a16:creationId xmlns:a16="http://schemas.microsoft.com/office/drawing/2014/main" id="{31597DCE-6397-8A91-239F-DE9273D27B7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91200" y="5479359"/>
              <a:ext cx="609600" cy="609600"/>
            </a:xfrm>
            <a:prstGeom prst="rect">
              <a:avLst/>
            </a:prstGeom>
          </p:spPr>
        </p:pic>
        <p:sp>
          <p:nvSpPr>
            <p:cNvPr id="14" name="TextBox 13">
              <a:extLst>
                <a:ext uri="{FF2B5EF4-FFF2-40B4-BE49-F238E27FC236}">
                  <a16:creationId xmlns:a16="http://schemas.microsoft.com/office/drawing/2014/main" id="{3F2D147B-9140-B7D9-37C1-963E645C0C9C}"/>
                </a:ext>
              </a:extLst>
            </p:cNvPr>
            <p:cNvSpPr txBox="1"/>
            <p:nvPr/>
          </p:nvSpPr>
          <p:spPr>
            <a:xfrm>
              <a:off x="5645427" y="6140616"/>
              <a:ext cx="914400" cy="238100"/>
            </a:xfrm>
            <a:prstGeom prst="rect">
              <a:avLst/>
            </a:prstGeom>
            <a:effectLst/>
          </p:spPr>
          <p:txBody>
            <a:bodyPr vert="horz" wrap="none" lIns="0" tIns="0" rIns="0" bIns="0" rtlCol="0">
              <a:noAutofit/>
            </a:bodyPr>
            <a:lstStyle/>
            <a:p>
              <a:pPr algn="ctr">
                <a:lnSpc>
                  <a:spcPct val="100000"/>
                </a:lnSpc>
                <a:spcBef>
                  <a:spcPts val="0"/>
                </a:spcBef>
                <a:spcAft>
                  <a:spcPts val="600"/>
                </a:spcAft>
              </a:pPr>
              <a:r>
                <a:rPr lang="en-US" sz="1400" dirty="0">
                  <a:solidFill>
                    <a:schemeClr val="bg1"/>
                  </a:solidFill>
                </a:rPr>
                <a:t>u.warn</a:t>
              </a:r>
            </a:p>
          </p:txBody>
        </p:sp>
      </p:grpSp>
      <p:sp>
        <p:nvSpPr>
          <p:cNvPr id="11" name="Rectangle 10">
            <a:extLst>
              <a:ext uri="{FF2B5EF4-FFF2-40B4-BE49-F238E27FC236}">
                <a16:creationId xmlns:a16="http://schemas.microsoft.com/office/drawing/2014/main" id="{90DA1373-45A6-630F-8D03-D41226A9C9F3}"/>
              </a:ext>
            </a:extLst>
          </p:cNvPr>
          <p:cNvSpPr/>
          <p:nvPr/>
        </p:nvSpPr>
        <p:spPr>
          <a:xfrm>
            <a:off x="936068" y="5577407"/>
            <a:ext cx="2977217" cy="6760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4" descr="Associations - EENA">
            <a:extLst>
              <a:ext uri="{FF2B5EF4-FFF2-40B4-BE49-F238E27FC236}">
                <a16:creationId xmlns:a16="http://schemas.microsoft.com/office/drawing/2014/main" id="{86D534F8-FD2C-B9BC-22D5-D6F8DD476215}"/>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936068" y="5615083"/>
            <a:ext cx="1649308" cy="72071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E7B31FDC-D3AF-3E74-A157-A9AE24000D04}"/>
              </a:ext>
            </a:extLst>
          </p:cNvPr>
          <p:cNvPicPr>
            <a:picLocks noChangeAspect="1"/>
          </p:cNvPicPr>
          <p:nvPr/>
        </p:nvPicPr>
        <p:blipFill>
          <a:blip r:embed="rId8"/>
          <a:stretch>
            <a:fillRect/>
          </a:stretch>
        </p:blipFill>
        <p:spPr>
          <a:xfrm>
            <a:off x="4419434" y="5403609"/>
            <a:ext cx="2791754" cy="754528"/>
          </a:xfrm>
          <a:prstGeom prst="rect">
            <a:avLst/>
          </a:prstGeom>
        </p:spPr>
      </p:pic>
      <p:grpSp>
        <p:nvGrpSpPr>
          <p:cNvPr id="32" name="Group 31">
            <a:extLst>
              <a:ext uri="{FF2B5EF4-FFF2-40B4-BE49-F238E27FC236}">
                <a16:creationId xmlns:a16="http://schemas.microsoft.com/office/drawing/2014/main" id="{4923BEE5-6462-2C85-5540-03B6D2514E2D}"/>
              </a:ext>
            </a:extLst>
          </p:cNvPr>
          <p:cNvGrpSpPr/>
          <p:nvPr/>
        </p:nvGrpSpPr>
        <p:grpSpPr>
          <a:xfrm>
            <a:off x="6070121" y="3568624"/>
            <a:ext cx="2991541" cy="921037"/>
            <a:chOff x="6013782" y="3568624"/>
            <a:chExt cx="2991541" cy="921037"/>
          </a:xfrm>
        </p:grpSpPr>
        <p:sp>
          <p:nvSpPr>
            <p:cNvPr id="13" name="TextBox 12">
              <a:extLst>
                <a:ext uri="{FF2B5EF4-FFF2-40B4-BE49-F238E27FC236}">
                  <a16:creationId xmlns:a16="http://schemas.microsoft.com/office/drawing/2014/main" id="{458FE231-3E2E-7491-061F-CDF7E7447876}"/>
                </a:ext>
              </a:extLst>
            </p:cNvPr>
            <p:cNvSpPr txBox="1"/>
            <p:nvPr/>
          </p:nvSpPr>
          <p:spPr>
            <a:xfrm>
              <a:off x="6699820" y="3575261"/>
              <a:ext cx="2305503" cy="914400"/>
            </a:xfrm>
            <a:prstGeom prst="rect">
              <a:avLst/>
            </a:prstGeom>
            <a:effectLst/>
          </p:spPr>
          <p:txBody>
            <a:bodyPr vert="horz" wrap="none" lIns="0" tIns="0" rIns="0" bIns="0" rtlCol="0">
              <a:noAutofit/>
            </a:bodyPr>
            <a:lstStyle/>
            <a:p>
              <a:pPr algn="l">
                <a:lnSpc>
                  <a:spcPct val="100000"/>
                </a:lnSpc>
                <a:spcBef>
                  <a:spcPts val="0"/>
                </a:spcBef>
              </a:pPr>
              <a:r>
                <a:rPr lang="en-US" sz="1200" dirty="0">
                  <a:solidFill>
                    <a:schemeClr val="bg1"/>
                  </a:solidFill>
                </a:rPr>
                <a:t>Bjarne </a:t>
              </a:r>
              <a:r>
                <a:rPr lang="en-GB" sz="1200" dirty="0">
                  <a:solidFill>
                    <a:schemeClr val="bg1"/>
                  </a:solidFill>
                </a:rPr>
                <a:t>Siewertsen</a:t>
              </a:r>
              <a:endParaRPr lang="en-US" sz="1200" dirty="0">
                <a:solidFill>
                  <a:schemeClr val="bg1"/>
                </a:solidFill>
              </a:endParaRPr>
            </a:p>
            <a:p>
              <a:pPr algn="l">
                <a:lnSpc>
                  <a:spcPct val="100000"/>
                </a:lnSpc>
                <a:spcBef>
                  <a:spcPts val="0"/>
                </a:spcBef>
              </a:pPr>
              <a:r>
                <a:rPr lang="en-GB" sz="1200" dirty="0">
                  <a:solidFill>
                    <a:schemeClr val="bg1"/>
                  </a:solidFill>
                </a:rPr>
                <a:t>Deputy head, </a:t>
              </a:r>
            </a:p>
            <a:p>
              <a:pPr algn="l">
                <a:lnSpc>
                  <a:spcPct val="100000"/>
                </a:lnSpc>
                <a:spcBef>
                  <a:spcPts val="0"/>
                </a:spcBef>
              </a:pPr>
              <a:r>
                <a:rPr lang="en-GB" sz="1200" dirty="0">
                  <a:solidFill>
                    <a:schemeClr val="bg1"/>
                  </a:solidFill>
                </a:rPr>
                <a:t>Communications &amp; warning,</a:t>
              </a:r>
            </a:p>
            <a:p>
              <a:pPr algn="l">
                <a:lnSpc>
                  <a:spcPct val="100000"/>
                </a:lnSpc>
                <a:spcBef>
                  <a:spcPts val="0"/>
                </a:spcBef>
              </a:pPr>
              <a:r>
                <a:rPr lang="en-GB" sz="1200" dirty="0">
                  <a:solidFill>
                    <a:schemeClr val="bg1"/>
                  </a:solidFill>
                </a:rPr>
                <a:t>Danish Emergency Management Agency</a:t>
              </a:r>
              <a:endParaRPr lang="en-US" sz="1200" dirty="0">
                <a:solidFill>
                  <a:schemeClr val="bg1"/>
                </a:solidFill>
              </a:endParaRPr>
            </a:p>
          </p:txBody>
        </p:sp>
        <p:pic>
          <p:nvPicPr>
            <p:cNvPr id="28" name="Picture 27" descr="A person smiling for a picture&#10;&#10;Description automatically generated">
              <a:extLst>
                <a:ext uri="{FF2B5EF4-FFF2-40B4-BE49-F238E27FC236}">
                  <a16:creationId xmlns:a16="http://schemas.microsoft.com/office/drawing/2014/main" id="{D0E41D32-7D4E-39B3-8635-E36ADA84436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013782" y="3568624"/>
              <a:ext cx="648722" cy="696775"/>
            </a:xfrm>
            <a:prstGeom prst="rect">
              <a:avLst/>
            </a:prstGeom>
          </p:spPr>
        </p:pic>
      </p:grpSp>
      <p:grpSp>
        <p:nvGrpSpPr>
          <p:cNvPr id="31" name="Group 30">
            <a:extLst>
              <a:ext uri="{FF2B5EF4-FFF2-40B4-BE49-F238E27FC236}">
                <a16:creationId xmlns:a16="http://schemas.microsoft.com/office/drawing/2014/main" id="{5A801D2B-890B-FCF2-1AF0-356280169AC3}"/>
              </a:ext>
            </a:extLst>
          </p:cNvPr>
          <p:cNvGrpSpPr/>
          <p:nvPr/>
        </p:nvGrpSpPr>
        <p:grpSpPr>
          <a:xfrm>
            <a:off x="9817484" y="3468661"/>
            <a:ext cx="2368599" cy="1034003"/>
            <a:chOff x="9592140" y="3468661"/>
            <a:chExt cx="2368599" cy="1034003"/>
          </a:xfrm>
        </p:grpSpPr>
        <p:sp>
          <p:nvSpPr>
            <p:cNvPr id="16" name="TextBox 15">
              <a:extLst>
                <a:ext uri="{FF2B5EF4-FFF2-40B4-BE49-F238E27FC236}">
                  <a16:creationId xmlns:a16="http://schemas.microsoft.com/office/drawing/2014/main" id="{E5BE3F29-42EF-7371-481E-4BA0E13DB751}"/>
                </a:ext>
              </a:extLst>
            </p:cNvPr>
            <p:cNvSpPr txBox="1"/>
            <p:nvPr/>
          </p:nvSpPr>
          <p:spPr>
            <a:xfrm>
              <a:off x="10439628" y="3588264"/>
              <a:ext cx="1521111" cy="914400"/>
            </a:xfrm>
            <a:prstGeom prst="rect">
              <a:avLst/>
            </a:prstGeom>
            <a:effectLst/>
          </p:spPr>
          <p:txBody>
            <a:bodyPr vert="horz" wrap="none" lIns="0" tIns="0" rIns="0" bIns="0" rtlCol="0">
              <a:noAutofit/>
            </a:bodyPr>
            <a:lstStyle/>
            <a:p>
              <a:pPr algn="l">
                <a:lnSpc>
                  <a:spcPct val="100000"/>
                </a:lnSpc>
                <a:spcBef>
                  <a:spcPts val="0"/>
                </a:spcBef>
              </a:pPr>
              <a:r>
                <a:rPr lang="en-US" sz="1200" dirty="0">
                  <a:solidFill>
                    <a:schemeClr val="bg1"/>
                  </a:solidFill>
                </a:rPr>
                <a:t>Ronen Daniel</a:t>
              </a:r>
            </a:p>
            <a:p>
              <a:pPr algn="l">
                <a:lnSpc>
                  <a:spcPct val="100000"/>
                </a:lnSpc>
                <a:spcBef>
                  <a:spcPts val="0"/>
                </a:spcBef>
              </a:pPr>
              <a:r>
                <a:rPr lang="en-US" sz="1200" dirty="0">
                  <a:solidFill>
                    <a:schemeClr val="bg1"/>
                  </a:solidFill>
                </a:rPr>
                <a:t>Head, </a:t>
              </a:r>
            </a:p>
            <a:p>
              <a:pPr algn="l">
                <a:lnSpc>
                  <a:spcPct val="100000"/>
                </a:lnSpc>
                <a:spcBef>
                  <a:spcPts val="0"/>
                </a:spcBef>
              </a:pPr>
              <a:r>
                <a:rPr lang="en-US" sz="1200" dirty="0">
                  <a:solidFill>
                    <a:schemeClr val="bg1"/>
                  </a:solidFill>
                </a:rPr>
                <a:t>Warning Solutions</a:t>
              </a:r>
            </a:p>
            <a:p>
              <a:pPr algn="l">
                <a:lnSpc>
                  <a:spcPct val="100000"/>
                </a:lnSpc>
                <a:spcBef>
                  <a:spcPts val="0"/>
                </a:spcBef>
              </a:pPr>
              <a:r>
                <a:rPr lang="en-US" sz="1200" dirty="0">
                  <a:solidFill>
                    <a:schemeClr val="bg1"/>
                  </a:solidFill>
                </a:rPr>
                <a:t>Utimaco</a:t>
              </a:r>
            </a:p>
          </p:txBody>
        </p:sp>
        <p:pic>
          <p:nvPicPr>
            <p:cNvPr id="30" name="Picture 29" descr="A person in a suit&#10;&#10;Description automatically generated">
              <a:extLst>
                <a:ext uri="{FF2B5EF4-FFF2-40B4-BE49-F238E27FC236}">
                  <a16:creationId xmlns:a16="http://schemas.microsoft.com/office/drawing/2014/main" id="{13AB68E2-5591-72FF-7DA1-C364D49F5928}"/>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9592140" y="3468661"/>
              <a:ext cx="813123" cy="811497"/>
            </a:xfrm>
            <a:prstGeom prst="rect">
              <a:avLst/>
            </a:prstGeom>
          </p:spPr>
        </p:pic>
      </p:grpSp>
      <p:pic>
        <p:nvPicPr>
          <p:cNvPr id="9" name="Picture 8" descr="A hand holding a red card&#10;&#10;Description automatically generated">
            <a:extLst>
              <a:ext uri="{FF2B5EF4-FFF2-40B4-BE49-F238E27FC236}">
                <a16:creationId xmlns:a16="http://schemas.microsoft.com/office/drawing/2014/main" id="{16B6E078-21A9-B5FF-3D79-DBC2E815AF1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87917" y="1148228"/>
            <a:ext cx="2878021" cy="1572337"/>
          </a:xfrm>
          <a:prstGeom prst="rect">
            <a:avLst/>
          </a:prstGeom>
        </p:spPr>
      </p:pic>
    </p:spTree>
    <p:extLst>
      <p:ext uri="{BB962C8B-B14F-4D97-AF65-F5344CB8AC3E}">
        <p14:creationId xmlns:p14="http://schemas.microsoft.com/office/powerpoint/2010/main" val="2789893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electronics&#10;&#10;Description automatically generated">
            <a:extLst>
              <a:ext uri="{FF2B5EF4-FFF2-40B4-BE49-F238E27FC236}">
                <a16:creationId xmlns:a16="http://schemas.microsoft.com/office/drawing/2014/main" id="{8B4CD7D5-0C3F-D911-2505-21A33B922D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3652" y="1171575"/>
            <a:ext cx="5183670" cy="5141056"/>
          </a:xfrm>
          <a:prstGeom prst="rect">
            <a:avLst/>
          </a:prstGeom>
        </p:spPr>
      </p:pic>
      <p:sp>
        <p:nvSpPr>
          <p:cNvPr id="2" name="Title 1">
            <a:extLst>
              <a:ext uri="{FF2B5EF4-FFF2-40B4-BE49-F238E27FC236}">
                <a16:creationId xmlns:a16="http://schemas.microsoft.com/office/drawing/2014/main" id="{2A67DC06-1731-CFC4-9E82-C9E7ECCBF9C4}"/>
              </a:ext>
            </a:extLst>
          </p:cNvPr>
          <p:cNvSpPr>
            <a:spLocks noGrp="1"/>
          </p:cNvSpPr>
          <p:nvPr>
            <p:ph type="title"/>
          </p:nvPr>
        </p:nvSpPr>
        <p:spPr/>
        <p:txBody>
          <a:bodyPr/>
          <a:lstStyle/>
          <a:p>
            <a:r>
              <a:rPr lang="en-US"/>
              <a:t>u.warn CBC</a:t>
            </a:r>
          </a:p>
        </p:txBody>
      </p:sp>
      <p:sp>
        <p:nvSpPr>
          <p:cNvPr id="68" name="Rechteck 14">
            <a:extLst>
              <a:ext uri="{FF2B5EF4-FFF2-40B4-BE49-F238E27FC236}">
                <a16:creationId xmlns:a16="http://schemas.microsoft.com/office/drawing/2014/main" id="{31B4F3AC-9058-BD61-3372-878637D4C0E3}"/>
              </a:ext>
            </a:extLst>
          </p:cNvPr>
          <p:cNvSpPr>
            <a:spLocks/>
          </p:cNvSpPr>
          <p:nvPr/>
        </p:nvSpPr>
        <p:spPr>
          <a:xfrm>
            <a:off x="947739" y="1171575"/>
            <a:ext cx="1476275" cy="1340958"/>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Realtime &amp; location-based </a:t>
            </a:r>
            <a:r>
              <a:rPr lang="en-US" sz="1400">
                <a:solidFill>
                  <a:schemeClr val="accent1"/>
                </a:solidFill>
                <a:latin typeface="Roboto" panose="02000000000000000000" pitchFamily="2" charset="0"/>
                <a:ea typeface="Roboto" panose="02000000000000000000" pitchFamily="2" charset="0"/>
                <a:cs typeface="Lato Light" panose="020F0502020204030203" pitchFamily="34" charset="0"/>
              </a:rPr>
              <a:t>alerts</a:t>
            </a:r>
          </a:p>
        </p:txBody>
      </p:sp>
      <p:sp>
        <p:nvSpPr>
          <p:cNvPr id="69" name="Rechteck 18">
            <a:extLst>
              <a:ext uri="{FF2B5EF4-FFF2-40B4-BE49-F238E27FC236}">
                <a16:creationId xmlns:a16="http://schemas.microsoft.com/office/drawing/2014/main" id="{278A27B5-BB4E-148F-8DA7-B8A47AF23AD9}"/>
              </a:ext>
            </a:extLst>
          </p:cNvPr>
          <p:cNvSpPr>
            <a:spLocks/>
          </p:cNvSpPr>
          <p:nvPr/>
        </p:nvSpPr>
        <p:spPr>
          <a:xfrm>
            <a:off x="2712013" y="1171575"/>
            <a:ext cx="1476275" cy="1340958"/>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a:solidFill>
                  <a:schemeClr val="accent1"/>
                </a:solidFill>
                <a:latin typeface="Roboto" panose="02000000000000000000" pitchFamily="2" charset="0"/>
                <a:ea typeface="Roboto" panose="02000000000000000000" pitchFamily="2" charset="0"/>
                <a:cs typeface="Lato Light" panose="020F0502020204030203" pitchFamily="34" charset="0"/>
              </a:rPr>
              <a:t>Works also when the </a:t>
            </a: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network is jammed </a:t>
            </a:r>
          </a:p>
        </p:txBody>
      </p:sp>
      <p:sp>
        <p:nvSpPr>
          <p:cNvPr id="70" name="Rechteck 19">
            <a:extLst>
              <a:ext uri="{FF2B5EF4-FFF2-40B4-BE49-F238E27FC236}">
                <a16:creationId xmlns:a16="http://schemas.microsoft.com/office/drawing/2014/main" id="{4F7264CC-D1AB-D658-3EFD-7B571CC99D89}"/>
              </a:ext>
            </a:extLst>
          </p:cNvPr>
          <p:cNvSpPr>
            <a:spLocks/>
          </p:cNvSpPr>
          <p:nvPr/>
        </p:nvSpPr>
        <p:spPr>
          <a:xfrm>
            <a:off x="4476288" y="1171575"/>
            <a:ext cx="1476275" cy="1340958"/>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Does not exhaust </a:t>
            </a:r>
            <a:r>
              <a:rPr lang="en-US" sz="1400">
                <a:solidFill>
                  <a:schemeClr val="accent1"/>
                </a:solidFill>
                <a:latin typeface="Roboto" panose="02000000000000000000" pitchFamily="2" charset="0"/>
                <a:ea typeface="Roboto" panose="02000000000000000000" pitchFamily="2" charset="0"/>
                <a:cs typeface="Lato Light" panose="020F0502020204030203" pitchFamily="34" charset="0"/>
              </a:rPr>
              <a:t>network resources</a:t>
            </a:r>
          </a:p>
        </p:txBody>
      </p:sp>
      <p:sp>
        <p:nvSpPr>
          <p:cNvPr id="71" name="Rechteck 21">
            <a:extLst>
              <a:ext uri="{FF2B5EF4-FFF2-40B4-BE49-F238E27FC236}">
                <a16:creationId xmlns:a16="http://schemas.microsoft.com/office/drawing/2014/main" id="{CD28B5AF-5A70-314B-5803-1718DAB9A3FD}"/>
              </a:ext>
            </a:extLst>
          </p:cNvPr>
          <p:cNvSpPr>
            <a:spLocks/>
          </p:cNvSpPr>
          <p:nvPr/>
        </p:nvSpPr>
        <p:spPr>
          <a:xfrm>
            <a:off x="947739" y="2861025"/>
            <a:ext cx="1476275" cy="1340958"/>
          </a:xfrm>
          <a:prstGeom prst="rect">
            <a:avLst/>
          </a:prstGeom>
          <a:solidFill>
            <a:schemeClr val="accent1"/>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t>Compatible with all networks </a:t>
            </a:r>
            <a:b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br>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5G; 4G; 3G; 2G </a:t>
            </a:r>
          </a:p>
        </p:txBody>
      </p:sp>
      <p:sp>
        <p:nvSpPr>
          <p:cNvPr id="72" name="Rechteck 22">
            <a:extLst>
              <a:ext uri="{FF2B5EF4-FFF2-40B4-BE49-F238E27FC236}">
                <a16:creationId xmlns:a16="http://schemas.microsoft.com/office/drawing/2014/main" id="{BA449258-BCF3-E081-3071-45E5B61D3589}"/>
              </a:ext>
            </a:extLst>
          </p:cNvPr>
          <p:cNvSpPr>
            <a:spLocks/>
          </p:cNvSpPr>
          <p:nvPr/>
        </p:nvSpPr>
        <p:spPr>
          <a:xfrm>
            <a:off x="2712013" y="2861025"/>
            <a:ext cx="1476275" cy="1340958"/>
          </a:xfrm>
          <a:prstGeom prst="rect">
            <a:avLst/>
          </a:prstGeom>
          <a:solidFill>
            <a:schemeClr val="accent1"/>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Supports</a:t>
            </a:r>
            <a:b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t>all RAN/core vendors</a:t>
            </a:r>
          </a:p>
        </p:txBody>
      </p:sp>
      <p:sp>
        <p:nvSpPr>
          <p:cNvPr id="73" name="Rechteck 23">
            <a:extLst>
              <a:ext uri="{FF2B5EF4-FFF2-40B4-BE49-F238E27FC236}">
                <a16:creationId xmlns:a16="http://schemas.microsoft.com/office/drawing/2014/main" id="{1E01B509-8139-5D41-FD5A-0B99045A0366}"/>
              </a:ext>
            </a:extLst>
          </p:cNvPr>
          <p:cNvSpPr>
            <a:spLocks/>
          </p:cNvSpPr>
          <p:nvPr/>
        </p:nvSpPr>
        <p:spPr>
          <a:xfrm>
            <a:off x="4476288" y="2861025"/>
            <a:ext cx="1476275" cy="1340958"/>
          </a:xfrm>
          <a:prstGeom prst="rect">
            <a:avLst/>
          </a:prstGeom>
          <a:solidFill>
            <a:schemeClr val="accent1"/>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t>Best of breed </a:t>
            </a:r>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performance wise</a:t>
            </a:r>
          </a:p>
        </p:txBody>
      </p:sp>
      <p:sp>
        <p:nvSpPr>
          <p:cNvPr id="74" name="Rechteck 114">
            <a:extLst>
              <a:ext uri="{FF2B5EF4-FFF2-40B4-BE49-F238E27FC236}">
                <a16:creationId xmlns:a16="http://schemas.microsoft.com/office/drawing/2014/main" id="{64955EFB-2351-F477-52DF-1F5E27FF32DE}"/>
              </a:ext>
            </a:extLst>
          </p:cNvPr>
          <p:cNvSpPr>
            <a:spLocks/>
          </p:cNvSpPr>
          <p:nvPr/>
        </p:nvSpPr>
        <p:spPr>
          <a:xfrm>
            <a:off x="6240563" y="1171575"/>
            <a:ext cx="1476275" cy="1340958"/>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Does not require </a:t>
            </a:r>
            <a:r>
              <a:rPr lang="en-US" sz="1400">
                <a:solidFill>
                  <a:schemeClr val="accent1"/>
                </a:solidFill>
                <a:latin typeface="Roboto" panose="02000000000000000000" pitchFamily="2" charset="0"/>
                <a:ea typeface="Roboto" panose="02000000000000000000" pitchFamily="2" charset="0"/>
                <a:cs typeface="Lato Light" panose="020F0502020204030203" pitchFamily="34" charset="0"/>
              </a:rPr>
              <a:t>data</a:t>
            </a:r>
          </a:p>
        </p:txBody>
      </p:sp>
      <p:sp>
        <p:nvSpPr>
          <p:cNvPr id="75" name="Rechteck 115">
            <a:extLst>
              <a:ext uri="{FF2B5EF4-FFF2-40B4-BE49-F238E27FC236}">
                <a16:creationId xmlns:a16="http://schemas.microsoft.com/office/drawing/2014/main" id="{79D55647-21B4-EE91-F649-9729DA68876C}"/>
              </a:ext>
            </a:extLst>
          </p:cNvPr>
          <p:cNvSpPr>
            <a:spLocks/>
          </p:cNvSpPr>
          <p:nvPr/>
        </p:nvSpPr>
        <p:spPr>
          <a:xfrm>
            <a:off x="6240563" y="2860658"/>
            <a:ext cx="1476275" cy="1340958"/>
          </a:xfrm>
          <a:prstGeom prst="rect">
            <a:avLst/>
          </a:prstGeom>
          <a:solidFill>
            <a:schemeClr val="accent1"/>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t>Full geo-redundancy </a:t>
            </a:r>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active-active)</a:t>
            </a:r>
          </a:p>
        </p:txBody>
      </p:sp>
      <p:sp>
        <p:nvSpPr>
          <p:cNvPr id="76" name="Rechteck 116">
            <a:extLst>
              <a:ext uri="{FF2B5EF4-FFF2-40B4-BE49-F238E27FC236}">
                <a16:creationId xmlns:a16="http://schemas.microsoft.com/office/drawing/2014/main" id="{72CD9830-5B02-CB30-1CCD-FC830581782C}"/>
              </a:ext>
            </a:extLst>
          </p:cNvPr>
          <p:cNvSpPr>
            <a:spLocks/>
          </p:cNvSpPr>
          <p:nvPr/>
        </p:nvSpPr>
        <p:spPr>
          <a:xfrm>
            <a:off x="947737" y="4549741"/>
            <a:ext cx="6769101" cy="640080"/>
          </a:xfrm>
          <a:prstGeom prst="rect">
            <a:avLst/>
          </a:prstGeom>
          <a:solidFill>
            <a:schemeClr val="accent1"/>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Complies with </a:t>
            </a:r>
            <a:r>
              <a:rPr lang="en-US" sz="1400" b="1">
                <a:solidFill>
                  <a:schemeClr val="bg1"/>
                </a:solidFill>
                <a:latin typeface="Roboto" panose="02000000000000000000" pitchFamily="2" charset="0"/>
                <a:ea typeface="Roboto" panose="02000000000000000000" pitchFamily="2" charset="0"/>
                <a:cs typeface="Lato Light" panose="020F0502020204030203" pitchFamily="34" charset="0"/>
              </a:rPr>
              <a:t>all emergency standards </a:t>
            </a:r>
            <a:r>
              <a:rPr lang="en-US" sz="1400">
                <a:solidFill>
                  <a:schemeClr val="bg1"/>
                </a:solidFill>
                <a:latin typeface="Roboto" panose="02000000000000000000" pitchFamily="2" charset="0"/>
                <a:ea typeface="Roboto" panose="02000000000000000000" pitchFamily="2" charset="0"/>
                <a:cs typeface="Lato Light" panose="020F0502020204030203" pitchFamily="34" charset="0"/>
              </a:rPr>
              <a:t>(CMAS, EU-Alert…)</a:t>
            </a:r>
          </a:p>
        </p:txBody>
      </p:sp>
      <p:grpSp>
        <p:nvGrpSpPr>
          <p:cNvPr id="77" name="Gruppieren 123">
            <a:extLst>
              <a:ext uri="{FF2B5EF4-FFF2-40B4-BE49-F238E27FC236}">
                <a16:creationId xmlns:a16="http://schemas.microsoft.com/office/drawing/2014/main" id="{80D62711-D298-93B9-9EE3-FEEFD037562A}"/>
              </a:ext>
            </a:extLst>
          </p:cNvPr>
          <p:cNvGrpSpPr/>
          <p:nvPr/>
        </p:nvGrpSpPr>
        <p:grpSpPr>
          <a:xfrm>
            <a:off x="8025378" y="1171575"/>
            <a:ext cx="648602" cy="648602"/>
            <a:chOff x="11188863" y="1428547"/>
            <a:chExt cx="730760" cy="730760"/>
          </a:xfrm>
        </p:grpSpPr>
        <p:sp>
          <p:nvSpPr>
            <p:cNvPr id="78" name="Ellipse 122">
              <a:extLst>
                <a:ext uri="{FF2B5EF4-FFF2-40B4-BE49-F238E27FC236}">
                  <a16:creationId xmlns:a16="http://schemas.microsoft.com/office/drawing/2014/main" id="{231B8F72-CBF5-5D63-9E7F-44D2CCB891EF}"/>
                </a:ext>
              </a:extLst>
            </p:cNvPr>
            <p:cNvSpPr/>
            <p:nvPr/>
          </p:nvSpPr>
          <p:spPr>
            <a:xfrm>
              <a:off x="11188863" y="1428547"/>
              <a:ext cx="730760" cy="73076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Grafik 121">
              <a:hlinkClick r:id="rId4"/>
              <a:extLst>
                <a:ext uri="{FF2B5EF4-FFF2-40B4-BE49-F238E27FC236}">
                  <a16:creationId xmlns:a16="http://schemas.microsoft.com/office/drawing/2014/main" id="{3421E31B-6683-CCCC-674A-67946A717A9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9443" y="1489127"/>
              <a:ext cx="609600" cy="609600"/>
            </a:xfrm>
            <a:prstGeom prst="rect">
              <a:avLst/>
            </a:prstGeom>
          </p:spPr>
        </p:pic>
      </p:grpSp>
      <p:grpSp>
        <p:nvGrpSpPr>
          <p:cNvPr id="5" name="Group 4">
            <a:extLst>
              <a:ext uri="{FF2B5EF4-FFF2-40B4-BE49-F238E27FC236}">
                <a16:creationId xmlns:a16="http://schemas.microsoft.com/office/drawing/2014/main" id="{A999DC32-D2B1-8002-02FB-EBC7E9E844F4}"/>
              </a:ext>
            </a:extLst>
          </p:cNvPr>
          <p:cNvGrpSpPr/>
          <p:nvPr/>
        </p:nvGrpSpPr>
        <p:grpSpPr>
          <a:xfrm>
            <a:off x="872643" y="5863572"/>
            <a:ext cx="6774245" cy="496035"/>
            <a:chOff x="947738" y="5761978"/>
            <a:chExt cx="6774245" cy="496035"/>
          </a:xfrm>
        </p:grpSpPr>
        <p:pic>
          <p:nvPicPr>
            <p:cNvPr id="6" name="Picture 3">
              <a:extLst>
                <a:ext uri="{FF2B5EF4-FFF2-40B4-BE49-F238E27FC236}">
                  <a16:creationId xmlns:a16="http://schemas.microsoft.com/office/drawing/2014/main" id="{EDC544E8-6249-6CB2-BFBE-12DA9B3AD4F4}"/>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30232" y="5840794"/>
              <a:ext cx="832312" cy="321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rgbClr val="CC0000"/>
                  </a:solidFill>
                  <a:miter lim="800000"/>
                  <a:headEnd/>
                  <a:tailEnd/>
                </a14:hiddenLine>
              </a:ext>
            </a:extLst>
          </p:spPr>
        </p:pic>
        <p:pic>
          <p:nvPicPr>
            <p:cNvPr id="7" name="Picture 2" descr="×ª××¦××ª ×ª××× × ×¢×××¨ âªcmas alerting protocolâ¬â">
              <a:extLst>
                <a:ext uri="{FF2B5EF4-FFF2-40B4-BE49-F238E27FC236}">
                  <a16:creationId xmlns:a16="http://schemas.microsoft.com/office/drawing/2014/main" id="{14D0854F-7952-A616-0639-9921593FC883}"/>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025812" y="5865959"/>
              <a:ext cx="1057411" cy="30482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ª××¦××ª ×ª××× × ×¢×××¨ âªcommercial mobile alert systemâ¬â">
              <a:extLst>
                <a:ext uri="{FF2B5EF4-FFF2-40B4-BE49-F238E27FC236}">
                  <a16:creationId xmlns:a16="http://schemas.microsoft.com/office/drawing/2014/main" id="{93D50031-EA33-ACBF-71E5-D0A302F476FF}"/>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655518" y="5761978"/>
              <a:ext cx="845538" cy="4791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atis logo png">
              <a:extLst>
                <a:ext uri="{FF2B5EF4-FFF2-40B4-BE49-F238E27FC236}">
                  <a16:creationId xmlns:a16="http://schemas.microsoft.com/office/drawing/2014/main" id="{C01362D9-BD3C-EA0F-1723-8ABDC2E11CA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769993" y="5778726"/>
              <a:ext cx="951990" cy="36186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99B94213-4ACB-6476-FD1B-4DF103F3FA93}"/>
                </a:ext>
              </a:extLst>
            </p:cNvPr>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3323342" y="5814571"/>
              <a:ext cx="1150437" cy="40759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Directory Listing /ftp/Inbox/Marcoms/Logos/3GPP_logo">
              <a:extLst>
                <a:ext uri="{FF2B5EF4-FFF2-40B4-BE49-F238E27FC236}">
                  <a16:creationId xmlns:a16="http://schemas.microsoft.com/office/drawing/2014/main" id="{59FBA796-84BC-5DBE-D6E6-A4A92DE58E46}"/>
                </a:ext>
              </a:extLst>
            </p:cNvPr>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947738" y="5778726"/>
              <a:ext cx="817229" cy="479287"/>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2">
            <a:extLst>
              <a:ext uri="{FF2B5EF4-FFF2-40B4-BE49-F238E27FC236}">
                <a16:creationId xmlns:a16="http://schemas.microsoft.com/office/drawing/2014/main" id="{D798EFEB-5893-21FD-D4A6-B171C30FF1A4}"/>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812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2C950C-F80E-35FC-889E-3B02F646768C}"/>
              </a:ext>
            </a:extLst>
          </p:cNvPr>
          <p:cNvSpPr>
            <a:spLocks noGrp="1"/>
          </p:cNvSpPr>
          <p:nvPr>
            <p:ph type="title"/>
          </p:nvPr>
        </p:nvSpPr>
        <p:spPr/>
        <p:txBody>
          <a:bodyPr/>
          <a:lstStyle/>
          <a:p>
            <a:r>
              <a:rPr lang="en-US" dirty="0"/>
              <a:t>System architecture </a:t>
            </a:r>
            <a:r>
              <a:rPr lang="en-US" kern="1200" dirty="0">
                <a:latin typeface="Roboto" panose="02000000000000000000" pitchFamily="2" charset="0"/>
                <a:ea typeface="+mj-ea"/>
                <a:cs typeface="Arial" panose="020B0604020202020204" pitchFamily="34" charset="0"/>
              </a:rPr>
              <a:t>accents</a:t>
            </a:r>
            <a:endParaRPr lang="en-US" dirty="0"/>
          </a:p>
        </p:txBody>
      </p:sp>
      <p:sp>
        <p:nvSpPr>
          <p:cNvPr id="4" name="TextBox 3">
            <a:extLst>
              <a:ext uri="{FF2B5EF4-FFF2-40B4-BE49-F238E27FC236}">
                <a16:creationId xmlns:a16="http://schemas.microsoft.com/office/drawing/2014/main" id="{18EE7B70-2A9C-E7EF-8683-6A6461FA75AC}"/>
              </a:ext>
            </a:extLst>
          </p:cNvPr>
          <p:cNvSpPr txBox="1"/>
          <p:nvPr/>
        </p:nvSpPr>
        <p:spPr>
          <a:xfrm>
            <a:off x="433629" y="1132343"/>
            <a:ext cx="2747533" cy="578176"/>
          </a:xfrm>
          <a:prstGeom prst="rect">
            <a:avLst/>
          </a:prstGeom>
          <a:effectLst/>
        </p:spPr>
        <p:txBody>
          <a:bodyPr vert="horz" wrap="none" lIns="0" tIns="0" rIns="0" bIns="0" rtlCol="0">
            <a:noAutofit/>
          </a:bodyPr>
          <a:lstStyle/>
          <a:p>
            <a:pPr algn="ctr">
              <a:lnSpc>
                <a:spcPct val="100000"/>
              </a:lnSpc>
              <a:spcBef>
                <a:spcPts val="0"/>
              </a:spcBef>
              <a:spcAft>
                <a:spcPts val="600"/>
              </a:spcAft>
            </a:pPr>
            <a:r>
              <a:rPr lang="en-US" sz="2800" dirty="0"/>
              <a:t>3 Systems</a:t>
            </a:r>
          </a:p>
        </p:txBody>
      </p:sp>
      <p:sp>
        <p:nvSpPr>
          <p:cNvPr id="10" name="Rechteck 83">
            <a:extLst>
              <a:ext uri="{FF2B5EF4-FFF2-40B4-BE49-F238E27FC236}">
                <a16:creationId xmlns:a16="http://schemas.microsoft.com/office/drawing/2014/main" id="{6D85876F-B023-336B-7EF5-6DBA82284041}"/>
              </a:ext>
            </a:extLst>
          </p:cNvPr>
          <p:cNvSpPr>
            <a:spLocks/>
          </p:cNvSpPr>
          <p:nvPr/>
        </p:nvSpPr>
        <p:spPr>
          <a:xfrm>
            <a:off x="947738" y="2379799"/>
            <a:ext cx="2490957" cy="234498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hteck 87">
            <a:extLst>
              <a:ext uri="{FF2B5EF4-FFF2-40B4-BE49-F238E27FC236}">
                <a16:creationId xmlns:a16="http://schemas.microsoft.com/office/drawing/2014/main" id="{9BE9BDB4-CC7F-1D45-DB27-77B90830B2F0}"/>
              </a:ext>
            </a:extLst>
          </p:cNvPr>
          <p:cNvSpPr>
            <a:spLocks/>
          </p:cNvSpPr>
          <p:nvPr/>
        </p:nvSpPr>
        <p:spPr>
          <a:xfrm>
            <a:off x="947738" y="1916272"/>
            <a:ext cx="2490957" cy="4643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DEMO</a:t>
            </a:r>
          </a:p>
        </p:txBody>
      </p:sp>
      <p:sp>
        <p:nvSpPr>
          <p:cNvPr id="12" name="Textfeld 4">
            <a:extLst>
              <a:ext uri="{FF2B5EF4-FFF2-40B4-BE49-F238E27FC236}">
                <a16:creationId xmlns:a16="http://schemas.microsoft.com/office/drawing/2014/main" id="{9B19AC5E-20E4-7162-C658-90380B6EB384}"/>
              </a:ext>
            </a:extLst>
          </p:cNvPr>
          <p:cNvSpPr txBox="1">
            <a:spLocks/>
          </p:cNvSpPr>
          <p:nvPr/>
        </p:nvSpPr>
        <p:spPr>
          <a:xfrm>
            <a:off x="947738" y="4727734"/>
            <a:ext cx="2490957" cy="725001"/>
          </a:xfrm>
          <a:prstGeom prst="rect">
            <a:avLst/>
          </a:prstGeom>
          <a:solidFill>
            <a:schemeClr val="accent2">
              <a:alpha val="50000"/>
            </a:schemeClr>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400" b="1" dirty="0">
              <a:solidFill>
                <a:schemeClr val="bg1"/>
              </a:solidFill>
            </a:endParaRPr>
          </a:p>
        </p:txBody>
      </p:sp>
      <p:sp>
        <p:nvSpPr>
          <p:cNvPr id="13" name="Rechteck 84">
            <a:extLst>
              <a:ext uri="{FF2B5EF4-FFF2-40B4-BE49-F238E27FC236}">
                <a16:creationId xmlns:a16="http://schemas.microsoft.com/office/drawing/2014/main" id="{DD77B162-2933-5627-5A8A-715D3B0A7700}"/>
              </a:ext>
            </a:extLst>
          </p:cNvPr>
          <p:cNvSpPr>
            <a:spLocks/>
          </p:cNvSpPr>
          <p:nvPr/>
        </p:nvSpPr>
        <p:spPr>
          <a:xfrm>
            <a:off x="4527903" y="2379798"/>
            <a:ext cx="2490957" cy="234498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hteck 89">
            <a:extLst>
              <a:ext uri="{FF2B5EF4-FFF2-40B4-BE49-F238E27FC236}">
                <a16:creationId xmlns:a16="http://schemas.microsoft.com/office/drawing/2014/main" id="{D0F8E104-47DA-26C9-093D-66AD5BAAEF92}"/>
              </a:ext>
            </a:extLst>
          </p:cNvPr>
          <p:cNvSpPr>
            <a:spLocks/>
          </p:cNvSpPr>
          <p:nvPr/>
        </p:nvSpPr>
        <p:spPr>
          <a:xfrm>
            <a:off x="4528365" y="1916272"/>
            <a:ext cx="2490957" cy="464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STAGING</a:t>
            </a:r>
          </a:p>
        </p:txBody>
      </p:sp>
      <p:sp>
        <p:nvSpPr>
          <p:cNvPr id="15" name="Textfeld 98">
            <a:extLst>
              <a:ext uri="{FF2B5EF4-FFF2-40B4-BE49-F238E27FC236}">
                <a16:creationId xmlns:a16="http://schemas.microsoft.com/office/drawing/2014/main" id="{81B1A7C1-3363-4AA1-AACE-6031A2AD0A29}"/>
              </a:ext>
            </a:extLst>
          </p:cNvPr>
          <p:cNvSpPr txBox="1">
            <a:spLocks/>
          </p:cNvSpPr>
          <p:nvPr/>
        </p:nvSpPr>
        <p:spPr>
          <a:xfrm>
            <a:off x="4527903" y="4727734"/>
            <a:ext cx="2490957" cy="725001"/>
          </a:xfrm>
          <a:prstGeom prst="rect">
            <a:avLst/>
          </a:prstGeom>
          <a:solidFill>
            <a:schemeClr val="accent1">
              <a:alpha val="50000"/>
            </a:schemeClr>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200" b="1" dirty="0">
              <a:solidFill>
                <a:schemeClr val="bg1"/>
              </a:solidFill>
            </a:endParaRPr>
          </a:p>
        </p:txBody>
      </p:sp>
      <p:sp>
        <p:nvSpPr>
          <p:cNvPr id="16" name="Rechteck 84">
            <a:extLst>
              <a:ext uri="{FF2B5EF4-FFF2-40B4-BE49-F238E27FC236}">
                <a16:creationId xmlns:a16="http://schemas.microsoft.com/office/drawing/2014/main" id="{92AD26E1-A70A-1163-99C3-D5230C89F665}"/>
              </a:ext>
            </a:extLst>
          </p:cNvPr>
          <p:cNvSpPr>
            <a:spLocks/>
          </p:cNvSpPr>
          <p:nvPr/>
        </p:nvSpPr>
        <p:spPr>
          <a:xfrm>
            <a:off x="8255523" y="2379797"/>
            <a:ext cx="2490957" cy="234498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hteck 89">
            <a:extLst>
              <a:ext uri="{FF2B5EF4-FFF2-40B4-BE49-F238E27FC236}">
                <a16:creationId xmlns:a16="http://schemas.microsoft.com/office/drawing/2014/main" id="{D251682A-54A9-9DAC-8743-2E12D76E9CA6}"/>
              </a:ext>
            </a:extLst>
          </p:cNvPr>
          <p:cNvSpPr>
            <a:spLocks/>
          </p:cNvSpPr>
          <p:nvPr/>
        </p:nvSpPr>
        <p:spPr>
          <a:xfrm>
            <a:off x="8255985" y="1916272"/>
            <a:ext cx="2490957" cy="46433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PRODUCTION</a:t>
            </a:r>
          </a:p>
        </p:txBody>
      </p:sp>
      <p:sp>
        <p:nvSpPr>
          <p:cNvPr id="18" name="Textfeld 98">
            <a:extLst>
              <a:ext uri="{FF2B5EF4-FFF2-40B4-BE49-F238E27FC236}">
                <a16:creationId xmlns:a16="http://schemas.microsoft.com/office/drawing/2014/main" id="{5C9B3366-732E-78EF-CFD6-AA0A1F83D7AF}"/>
              </a:ext>
            </a:extLst>
          </p:cNvPr>
          <p:cNvSpPr txBox="1">
            <a:spLocks/>
          </p:cNvSpPr>
          <p:nvPr/>
        </p:nvSpPr>
        <p:spPr>
          <a:xfrm>
            <a:off x="8255523" y="4727734"/>
            <a:ext cx="2490957" cy="725001"/>
          </a:xfrm>
          <a:prstGeom prst="rect">
            <a:avLst/>
          </a:prstGeom>
          <a:solidFill>
            <a:schemeClr val="accent5">
              <a:lumMod val="75000"/>
              <a:alpha val="50000"/>
            </a:schemeClr>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200" b="1" dirty="0">
              <a:solidFill>
                <a:schemeClr val="bg1"/>
              </a:solidFill>
            </a:endParaRPr>
          </a:p>
        </p:txBody>
      </p:sp>
      <p:sp>
        <p:nvSpPr>
          <p:cNvPr id="22" name="Textfeld 97">
            <a:extLst>
              <a:ext uri="{FF2B5EF4-FFF2-40B4-BE49-F238E27FC236}">
                <a16:creationId xmlns:a16="http://schemas.microsoft.com/office/drawing/2014/main" id="{0577A238-F21E-2012-BD73-F7DBE2677DC0}"/>
              </a:ext>
            </a:extLst>
          </p:cNvPr>
          <p:cNvSpPr txBox="1"/>
          <p:nvPr/>
        </p:nvSpPr>
        <p:spPr>
          <a:xfrm>
            <a:off x="1115557" y="2590408"/>
            <a:ext cx="2220686" cy="1754326"/>
          </a:xfrm>
          <a:prstGeom prst="rect">
            <a:avLst/>
          </a:prstGeom>
          <a:effectLst/>
        </p:spPr>
        <p:txBody>
          <a:bodyPr vert="horz" wrap="square" lIns="0" tIns="0" rIns="0" bIns="0" rtlCol="0">
            <a:spAutoFit/>
          </a:bodyPr>
          <a:lstStyle/>
          <a:p>
            <a:pPr marL="285750" indent="-285750">
              <a:spcBef>
                <a:spcPts val="0"/>
              </a:spcBef>
              <a:spcAft>
                <a:spcPts val="600"/>
              </a:spcAft>
              <a:buFont typeface="Wingdings" panose="05000000000000000000" pitchFamily="2" charset="2"/>
              <a:buChar char="q"/>
            </a:pPr>
            <a:r>
              <a:rPr lang="en-US" sz="1400" dirty="0"/>
              <a:t>Demonstration and testing of new features</a:t>
            </a:r>
          </a:p>
          <a:p>
            <a:pPr marL="285750" indent="-285750">
              <a:spcBef>
                <a:spcPts val="1200"/>
              </a:spcBef>
              <a:spcAft>
                <a:spcPts val="600"/>
              </a:spcAft>
              <a:buFont typeface="Wingdings" panose="05000000000000000000" pitchFamily="2" charset="2"/>
              <a:buChar char="q"/>
            </a:pPr>
            <a:r>
              <a:rPr lang="en-US" sz="1400" dirty="0"/>
              <a:t>Training</a:t>
            </a:r>
          </a:p>
          <a:p>
            <a:pPr marL="285750" indent="-285750">
              <a:spcBef>
                <a:spcPts val="1200"/>
              </a:spcBef>
              <a:spcAft>
                <a:spcPts val="600"/>
              </a:spcAft>
              <a:buFont typeface="Wingdings" panose="05000000000000000000" pitchFamily="2" charset="2"/>
              <a:buChar char="q"/>
            </a:pPr>
            <a:r>
              <a:rPr lang="en-US" sz="1400" dirty="0"/>
              <a:t>Connected only to simulators and not to any live equipment</a:t>
            </a:r>
          </a:p>
        </p:txBody>
      </p:sp>
      <p:sp>
        <p:nvSpPr>
          <p:cNvPr id="23" name="Textfeld 97">
            <a:extLst>
              <a:ext uri="{FF2B5EF4-FFF2-40B4-BE49-F238E27FC236}">
                <a16:creationId xmlns:a16="http://schemas.microsoft.com/office/drawing/2014/main" id="{9AEEDA3B-BEFA-C9A3-6F21-130276E06541}"/>
              </a:ext>
            </a:extLst>
          </p:cNvPr>
          <p:cNvSpPr txBox="1"/>
          <p:nvPr/>
        </p:nvSpPr>
        <p:spPr>
          <a:xfrm>
            <a:off x="4663038" y="2590408"/>
            <a:ext cx="2220686" cy="1969770"/>
          </a:xfrm>
          <a:prstGeom prst="rect">
            <a:avLst/>
          </a:prstGeom>
          <a:effectLst/>
        </p:spPr>
        <p:txBody>
          <a:bodyPr vert="horz" wrap="square" lIns="0" tIns="0" rIns="0" bIns="0" rtlCol="0">
            <a:spAutoFit/>
          </a:bodyPr>
          <a:lstStyle/>
          <a:p>
            <a:pPr marL="285750" indent="-285750">
              <a:spcBef>
                <a:spcPts val="0"/>
              </a:spcBef>
              <a:spcAft>
                <a:spcPts val="600"/>
              </a:spcAft>
              <a:buFont typeface="Wingdings" panose="05000000000000000000" pitchFamily="2" charset="2"/>
              <a:buChar char="q"/>
            </a:pPr>
            <a:r>
              <a:rPr lang="en-US" sz="1400" dirty="0"/>
              <a:t>Full mirroring of the production system</a:t>
            </a:r>
          </a:p>
          <a:p>
            <a:pPr marL="285750" indent="-285750">
              <a:spcBef>
                <a:spcPts val="1200"/>
              </a:spcBef>
              <a:spcAft>
                <a:spcPts val="600"/>
              </a:spcAft>
              <a:buFont typeface="Wingdings" panose="05000000000000000000" pitchFamily="2" charset="2"/>
              <a:buChar char="q"/>
            </a:pPr>
            <a:r>
              <a:rPr lang="en-US" sz="1400" dirty="0"/>
              <a:t>Integrated to MNOs’ staging CBCs</a:t>
            </a:r>
          </a:p>
          <a:p>
            <a:pPr marL="285750" indent="-285750">
              <a:spcBef>
                <a:spcPts val="1200"/>
              </a:spcBef>
              <a:spcAft>
                <a:spcPts val="600"/>
              </a:spcAft>
              <a:buFont typeface="Wingdings" panose="05000000000000000000" pitchFamily="2" charset="2"/>
              <a:buChar char="q"/>
            </a:pPr>
            <a:r>
              <a:rPr lang="en-US" sz="1400" dirty="0"/>
              <a:t>Utilized for testing new SW versions before production</a:t>
            </a:r>
          </a:p>
        </p:txBody>
      </p:sp>
      <p:sp>
        <p:nvSpPr>
          <p:cNvPr id="24" name="Textfeld 97">
            <a:extLst>
              <a:ext uri="{FF2B5EF4-FFF2-40B4-BE49-F238E27FC236}">
                <a16:creationId xmlns:a16="http://schemas.microsoft.com/office/drawing/2014/main" id="{76E54D8C-BB80-C145-ED6A-73C1CAE2E5D2}"/>
              </a:ext>
            </a:extLst>
          </p:cNvPr>
          <p:cNvSpPr txBox="1"/>
          <p:nvPr/>
        </p:nvSpPr>
        <p:spPr>
          <a:xfrm>
            <a:off x="8390658" y="2451716"/>
            <a:ext cx="2220686" cy="1891543"/>
          </a:xfrm>
          <a:prstGeom prst="rect">
            <a:avLst/>
          </a:prstGeom>
          <a:effectLst/>
        </p:spPr>
        <p:txBody>
          <a:bodyPr vert="horz" wrap="square" lIns="0" tIns="0" rIns="0" bIns="0" rtlCol="0">
            <a:spAutoFit/>
          </a:bodyPr>
          <a:lstStyle/>
          <a:p>
            <a:pPr marL="285750" indent="-285750">
              <a:lnSpc>
                <a:spcPct val="200000"/>
              </a:lnSpc>
              <a:spcBef>
                <a:spcPts val="0"/>
              </a:spcBef>
              <a:spcAft>
                <a:spcPts val="600"/>
              </a:spcAft>
              <a:buFont typeface="Wingdings" panose="05000000000000000000" pitchFamily="2" charset="2"/>
              <a:buChar char="q"/>
            </a:pPr>
            <a:r>
              <a:rPr lang="en-US" sz="1400" dirty="0"/>
              <a:t>Gates locking/unlocking</a:t>
            </a:r>
          </a:p>
          <a:p>
            <a:pPr marL="285750" indent="-285750">
              <a:lnSpc>
                <a:spcPct val="200000"/>
              </a:lnSpc>
              <a:spcBef>
                <a:spcPts val="0"/>
              </a:spcBef>
              <a:spcAft>
                <a:spcPts val="600"/>
              </a:spcAft>
              <a:buFont typeface="Wingdings" panose="05000000000000000000" pitchFamily="2" charset="2"/>
              <a:buChar char="q"/>
            </a:pPr>
            <a:r>
              <a:rPr lang="en-US" sz="1400" dirty="0"/>
              <a:t>Power outlets</a:t>
            </a:r>
          </a:p>
          <a:p>
            <a:pPr marL="285750" indent="-285750">
              <a:lnSpc>
                <a:spcPct val="200000"/>
              </a:lnSpc>
              <a:spcBef>
                <a:spcPts val="0"/>
              </a:spcBef>
              <a:spcAft>
                <a:spcPts val="600"/>
              </a:spcAft>
              <a:buFont typeface="Wingdings" panose="05000000000000000000" pitchFamily="2" charset="2"/>
              <a:buChar char="q"/>
            </a:pPr>
            <a:r>
              <a:rPr lang="en-US" sz="1400" dirty="0"/>
              <a:t>Cameras / drones</a:t>
            </a:r>
          </a:p>
          <a:p>
            <a:pPr marL="285750" indent="-285750">
              <a:lnSpc>
                <a:spcPct val="200000"/>
              </a:lnSpc>
              <a:spcBef>
                <a:spcPts val="0"/>
              </a:spcBef>
              <a:spcAft>
                <a:spcPts val="600"/>
              </a:spcAft>
              <a:buFont typeface="Wingdings" panose="05000000000000000000" pitchFamily="2" charset="2"/>
              <a:buChar char="q"/>
            </a:pPr>
            <a:r>
              <a:rPr lang="en-US" sz="1400" dirty="0"/>
              <a:t>Pumps</a:t>
            </a:r>
          </a:p>
        </p:txBody>
      </p:sp>
      <p:pic>
        <p:nvPicPr>
          <p:cNvPr id="1028" name="Picture 4" descr="Arrows, refresh, system, system update, update icon - Download on Iconfinder">
            <a:extLst>
              <a:ext uri="{FF2B5EF4-FFF2-40B4-BE49-F238E27FC236}">
                <a16:creationId xmlns:a16="http://schemas.microsoft.com/office/drawing/2014/main" id="{A0BE0A94-5BA5-8FE2-2F6D-557904673BF8}"/>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5459468" y="4805736"/>
            <a:ext cx="611045" cy="61104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roduction Vector Icons free download in SVG, PNG Format">
            <a:extLst>
              <a:ext uri="{FF2B5EF4-FFF2-40B4-BE49-F238E27FC236}">
                <a16:creationId xmlns:a16="http://schemas.microsoft.com/office/drawing/2014/main" id="{921E8721-8EF2-451D-EE74-1E5AAADD9CBD}"/>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182200" y="4789129"/>
            <a:ext cx="637602" cy="63760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emo - Free computer icons">
            <a:extLst>
              <a:ext uri="{FF2B5EF4-FFF2-40B4-BE49-F238E27FC236}">
                <a16:creationId xmlns:a16="http://schemas.microsoft.com/office/drawing/2014/main" id="{5F60BE2D-893E-6FF6-0F7D-7EFF18F7FB37}"/>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807396" y="4704414"/>
            <a:ext cx="771640" cy="77164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CAE2A5C-61D1-E75C-E43E-DBB98B023863}"/>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6767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038202-588B-79F2-3657-97827A3371E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EE6DC84-39A7-5C79-B0E4-8583C502D8D5}"/>
              </a:ext>
            </a:extLst>
          </p:cNvPr>
          <p:cNvSpPr>
            <a:spLocks noGrp="1"/>
          </p:cNvSpPr>
          <p:nvPr>
            <p:ph type="title"/>
          </p:nvPr>
        </p:nvSpPr>
        <p:spPr/>
        <p:txBody>
          <a:bodyPr/>
          <a:lstStyle/>
          <a:p>
            <a:r>
              <a:rPr lang="en-US" dirty="0"/>
              <a:t>High Resilience</a:t>
            </a:r>
          </a:p>
        </p:txBody>
      </p:sp>
      <p:sp>
        <p:nvSpPr>
          <p:cNvPr id="2" name="Rectangle 1">
            <a:extLst>
              <a:ext uri="{FF2B5EF4-FFF2-40B4-BE49-F238E27FC236}">
                <a16:creationId xmlns:a16="http://schemas.microsoft.com/office/drawing/2014/main" id="{0DB9C706-998D-9E7F-7223-BBF0BCF33351}"/>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83">
            <a:extLst>
              <a:ext uri="{FF2B5EF4-FFF2-40B4-BE49-F238E27FC236}">
                <a16:creationId xmlns:a16="http://schemas.microsoft.com/office/drawing/2014/main" id="{B9848399-8E8B-2D54-0B29-C2C80841C3F2}"/>
              </a:ext>
            </a:extLst>
          </p:cNvPr>
          <p:cNvSpPr>
            <a:spLocks/>
          </p:cNvSpPr>
          <p:nvPr/>
        </p:nvSpPr>
        <p:spPr>
          <a:xfrm>
            <a:off x="1034175" y="2015857"/>
            <a:ext cx="2490957" cy="2344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hteck 87">
            <a:extLst>
              <a:ext uri="{FF2B5EF4-FFF2-40B4-BE49-F238E27FC236}">
                <a16:creationId xmlns:a16="http://schemas.microsoft.com/office/drawing/2014/main" id="{4D354385-30F8-915C-4F57-E6152791A44C}"/>
              </a:ext>
            </a:extLst>
          </p:cNvPr>
          <p:cNvSpPr>
            <a:spLocks/>
          </p:cNvSpPr>
          <p:nvPr/>
        </p:nvSpPr>
        <p:spPr>
          <a:xfrm>
            <a:off x="1034175" y="1552330"/>
            <a:ext cx="2490957" cy="4643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GEO REDUNDANCY</a:t>
            </a:r>
          </a:p>
        </p:txBody>
      </p:sp>
      <p:sp>
        <p:nvSpPr>
          <p:cNvPr id="7" name="Textfeld 4">
            <a:extLst>
              <a:ext uri="{FF2B5EF4-FFF2-40B4-BE49-F238E27FC236}">
                <a16:creationId xmlns:a16="http://schemas.microsoft.com/office/drawing/2014/main" id="{BBCB1FFD-7A5A-B0A9-044A-CD119C9F435F}"/>
              </a:ext>
            </a:extLst>
          </p:cNvPr>
          <p:cNvSpPr txBox="1">
            <a:spLocks/>
          </p:cNvSpPr>
          <p:nvPr/>
        </p:nvSpPr>
        <p:spPr>
          <a:xfrm>
            <a:off x="1034175" y="4577604"/>
            <a:ext cx="2490957" cy="725001"/>
          </a:xfrm>
          <a:prstGeom prst="rect">
            <a:avLst/>
          </a:prstGeom>
          <a:solidFill>
            <a:schemeClr val="bg1">
              <a:lumMod val="50000"/>
              <a:alpha val="50000"/>
            </a:schemeClr>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400" b="1" dirty="0">
              <a:solidFill>
                <a:schemeClr val="bg1"/>
              </a:solidFill>
            </a:endParaRPr>
          </a:p>
        </p:txBody>
      </p:sp>
      <p:sp>
        <p:nvSpPr>
          <p:cNvPr id="8" name="Rechteck 84">
            <a:extLst>
              <a:ext uri="{FF2B5EF4-FFF2-40B4-BE49-F238E27FC236}">
                <a16:creationId xmlns:a16="http://schemas.microsoft.com/office/drawing/2014/main" id="{8CD8AAF3-FD0D-0BE5-2A57-85BBC8460E2F}"/>
              </a:ext>
            </a:extLst>
          </p:cNvPr>
          <p:cNvSpPr>
            <a:spLocks/>
          </p:cNvSpPr>
          <p:nvPr/>
        </p:nvSpPr>
        <p:spPr>
          <a:xfrm>
            <a:off x="8645028" y="2015856"/>
            <a:ext cx="2490957" cy="2344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hteck 89">
            <a:extLst>
              <a:ext uri="{FF2B5EF4-FFF2-40B4-BE49-F238E27FC236}">
                <a16:creationId xmlns:a16="http://schemas.microsoft.com/office/drawing/2014/main" id="{187B6AD4-D93A-4AC8-6A31-41255C72308E}"/>
              </a:ext>
            </a:extLst>
          </p:cNvPr>
          <p:cNvSpPr>
            <a:spLocks/>
          </p:cNvSpPr>
          <p:nvPr/>
        </p:nvSpPr>
        <p:spPr>
          <a:xfrm>
            <a:off x="8645490" y="1552330"/>
            <a:ext cx="2490957" cy="464331"/>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DISASTER RECOVERY</a:t>
            </a:r>
          </a:p>
        </p:txBody>
      </p:sp>
      <p:sp>
        <p:nvSpPr>
          <p:cNvPr id="19" name="Textfeld 98">
            <a:extLst>
              <a:ext uri="{FF2B5EF4-FFF2-40B4-BE49-F238E27FC236}">
                <a16:creationId xmlns:a16="http://schemas.microsoft.com/office/drawing/2014/main" id="{F1D0A988-E160-DB12-EAA2-F88B255383F8}"/>
              </a:ext>
            </a:extLst>
          </p:cNvPr>
          <p:cNvSpPr txBox="1">
            <a:spLocks/>
          </p:cNvSpPr>
          <p:nvPr/>
        </p:nvSpPr>
        <p:spPr>
          <a:xfrm>
            <a:off x="8645028" y="4577604"/>
            <a:ext cx="2490957" cy="725001"/>
          </a:xfrm>
          <a:prstGeom prst="rect">
            <a:avLst/>
          </a:prstGeom>
          <a:solidFill>
            <a:srgbClr val="CC99FF"/>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200" b="1" dirty="0">
              <a:solidFill>
                <a:schemeClr val="bg1"/>
              </a:solidFill>
            </a:endParaRPr>
          </a:p>
        </p:txBody>
      </p:sp>
      <p:sp>
        <p:nvSpPr>
          <p:cNvPr id="20" name="Rechteck 84">
            <a:extLst>
              <a:ext uri="{FF2B5EF4-FFF2-40B4-BE49-F238E27FC236}">
                <a16:creationId xmlns:a16="http://schemas.microsoft.com/office/drawing/2014/main" id="{4577CF4D-506D-11ED-6FB4-57284FF25992}"/>
              </a:ext>
            </a:extLst>
          </p:cNvPr>
          <p:cNvSpPr>
            <a:spLocks/>
          </p:cNvSpPr>
          <p:nvPr/>
        </p:nvSpPr>
        <p:spPr>
          <a:xfrm>
            <a:off x="4775327" y="2015855"/>
            <a:ext cx="2490957" cy="2344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hteck 89">
            <a:extLst>
              <a:ext uri="{FF2B5EF4-FFF2-40B4-BE49-F238E27FC236}">
                <a16:creationId xmlns:a16="http://schemas.microsoft.com/office/drawing/2014/main" id="{CDFAA04E-A9F8-F341-8882-A78E5582366F}"/>
              </a:ext>
            </a:extLst>
          </p:cNvPr>
          <p:cNvSpPr>
            <a:spLocks/>
          </p:cNvSpPr>
          <p:nvPr/>
        </p:nvSpPr>
        <p:spPr>
          <a:xfrm>
            <a:off x="4775789" y="1552330"/>
            <a:ext cx="2490957" cy="46433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08000" rtlCol="0" anchor="t" anchorCtr="0">
            <a:spAutoFit/>
          </a:bodyPr>
          <a:lstStyle/>
          <a:p>
            <a:pPr algn="ctr"/>
            <a:r>
              <a:rPr lang="en-US" sz="1600" b="1" dirty="0"/>
              <a:t>CI/CD</a:t>
            </a:r>
          </a:p>
        </p:txBody>
      </p:sp>
      <p:sp>
        <p:nvSpPr>
          <p:cNvPr id="27" name="Textfeld 98">
            <a:extLst>
              <a:ext uri="{FF2B5EF4-FFF2-40B4-BE49-F238E27FC236}">
                <a16:creationId xmlns:a16="http://schemas.microsoft.com/office/drawing/2014/main" id="{D92A68DF-B6E0-9FFD-ED9B-CFFAD070A7DD}"/>
              </a:ext>
            </a:extLst>
          </p:cNvPr>
          <p:cNvSpPr txBox="1">
            <a:spLocks/>
          </p:cNvSpPr>
          <p:nvPr/>
        </p:nvSpPr>
        <p:spPr>
          <a:xfrm>
            <a:off x="4775327" y="4577604"/>
            <a:ext cx="2490957" cy="725001"/>
          </a:xfrm>
          <a:prstGeom prst="rect">
            <a:avLst/>
          </a:prstGeom>
          <a:solidFill>
            <a:schemeClr val="bg1">
              <a:lumMod val="50000"/>
              <a:alpha val="50000"/>
            </a:schemeClr>
          </a:solidFill>
          <a:effectLst/>
        </p:spPr>
        <p:txBody>
          <a:bodyPr vert="horz" wrap="square" lIns="144000" tIns="72000" rIns="144000" bIns="108000" rtlCol="0" anchor="t" anchorCtr="0">
            <a:noAutofit/>
          </a:bodyPr>
          <a:lstStyle/>
          <a:p>
            <a:pPr>
              <a:lnSpc>
                <a:spcPct val="100000"/>
              </a:lnSpc>
              <a:spcBef>
                <a:spcPts val="0"/>
              </a:spcBef>
              <a:spcAft>
                <a:spcPts val="600"/>
              </a:spcAft>
            </a:pPr>
            <a:endParaRPr lang="en-US" sz="1200" b="1" dirty="0">
              <a:solidFill>
                <a:schemeClr val="bg1"/>
              </a:solidFill>
            </a:endParaRPr>
          </a:p>
        </p:txBody>
      </p:sp>
      <p:sp>
        <p:nvSpPr>
          <p:cNvPr id="28" name="Textfeld 97">
            <a:extLst>
              <a:ext uri="{FF2B5EF4-FFF2-40B4-BE49-F238E27FC236}">
                <a16:creationId xmlns:a16="http://schemas.microsoft.com/office/drawing/2014/main" id="{14EF4F1F-9404-0AFC-E507-E72D0637777D}"/>
              </a:ext>
            </a:extLst>
          </p:cNvPr>
          <p:cNvSpPr txBox="1"/>
          <p:nvPr/>
        </p:nvSpPr>
        <p:spPr>
          <a:xfrm>
            <a:off x="1201994" y="2226466"/>
            <a:ext cx="2220686" cy="2616101"/>
          </a:xfrm>
          <a:prstGeom prst="rect">
            <a:avLst/>
          </a:prstGeom>
          <a:effectLst/>
        </p:spPr>
        <p:txBody>
          <a:bodyPr vert="horz" wrap="square" lIns="0" tIns="0" rIns="0" bIns="0" rtlCol="0">
            <a:spAutoFit/>
          </a:bodyPr>
          <a:lstStyle/>
          <a:p>
            <a:pPr marL="285750" indent="-285750">
              <a:spcBef>
                <a:spcPts val="0"/>
              </a:spcBef>
              <a:spcAft>
                <a:spcPts val="600"/>
              </a:spcAft>
              <a:buFont typeface="Wingdings" panose="05000000000000000000" pitchFamily="2" charset="2"/>
              <a:buChar char="q"/>
            </a:pPr>
            <a:r>
              <a:rPr lang="en-US" sz="1400" dirty="0"/>
              <a:t>All dynamic information (databases, cache memory, etc.) are continuously replicated online, or stored in a cluster-based setup</a:t>
            </a:r>
          </a:p>
          <a:p>
            <a:pPr marL="285750" indent="-285750">
              <a:spcBef>
                <a:spcPts val="1200"/>
              </a:spcBef>
              <a:spcAft>
                <a:spcPts val="600"/>
              </a:spcAft>
              <a:buFont typeface="Wingdings" panose="05000000000000000000" pitchFamily="2" charset="2"/>
              <a:buChar char="q"/>
            </a:pPr>
            <a:r>
              <a:rPr lang="en-US" sz="1400" dirty="0"/>
              <a:t>This avoid any loss of data at any given moment</a:t>
            </a:r>
          </a:p>
          <a:p>
            <a:pPr>
              <a:spcBef>
                <a:spcPts val="1200"/>
              </a:spcBef>
              <a:spcAft>
                <a:spcPts val="600"/>
              </a:spcAft>
            </a:pPr>
            <a:endParaRPr lang="en-US" sz="1400" dirty="0"/>
          </a:p>
        </p:txBody>
      </p:sp>
      <p:sp>
        <p:nvSpPr>
          <p:cNvPr id="29" name="Textfeld 97">
            <a:extLst>
              <a:ext uri="{FF2B5EF4-FFF2-40B4-BE49-F238E27FC236}">
                <a16:creationId xmlns:a16="http://schemas.microsoft.com/office/drawing/2014/main" id="{E268A778-5F0B-AA91-AA3A-0094C0BFEB2B}"/>
              </a:ext>
            </a:extLst>
          </p:cNvPr>
          <p:cNvSpPr txBox="1"/>
          <p:nvPr/>
        </p:nvSpPr>
        <p:spPr>
          <a:xfrm>
            <a:off x="8780163" y="2226466"/>
            <a:ext cx="2220686" cy="1738938"/>
          </a:xfrm>
          <a:prstGeom prst="rect">
            <a:avLst/>
          </a:prstGeom>
          <a:effectLst/>
        </p:spPr>
        <p:txBody>
          <a:bodyPr vert="horz" wrap="square" lIns="0" tIns="0" rIns="0" bIns="0" rtlCol="0">
            <a:spAutoFit/>
          </a:bodyPr>
          <a:lstStyle/>
          <a:p>
            <a:pPr marL="285750" indent="-285750">
              <a:spcAft>
                <a:spcPts val="600"/>
              </a:spcAft>
              <a:buFont typeface="Wingdings" panose="05000000000000000000" pitchFamily="2" charset="2"/>
              <a:buChar char="q"/>
            </a:pPr>
            <a:r>
              <a:rPr lang="en-US" sz="1400" dirty="0"/>
              <a:t>All data and configurations are stored in a secured location</a:t>
            </a:r>
          </a:p>
          <a:p>
            <a:pPr marL="285750" indent="-285750">
              <a:spcBef>
                <a:spcPts val="1200"/>
              </a:spcBef>
              <a:spcAft>
                <a:spcPts val="600"/>
              </a:spcAft>
              <a:buFont typeface="Wingdings" panose="05000000000000000000" pitchFamily="2" charset="2"/>
              <a:buChar char="q"/>
            </a:pPr>
            <a:r>
              <a:rPr lang="en-US" sz="1400" dirty="0"/>
              <a:t>1 hour recovery from full system (both GR sites) failure</a:t>
            </a:r>
          </a:p>
        </p:txBody>
      </p:sp>
      <p:sp>
        <p:nvSpPr>
          <p:cNvPr id="30" name="Textfeld 97">
            <a:extLst>
              <a:ext uri="{FF2B5EF4-FFF2-40B4-BE49-F238E27FC236}">
                <a16:creationId xmlns:a16="http://schemas.microsoft.com/office/drawing/2014/main" id="{A13B2943-0FD1-00B1-6895-4ABC96F8F7FE}"/>
              </a:ext>
            </a:extLst>
          </p:cNvPr>
          <p:cNvSpPr txBox="1"/>
          <p:nvPr/>
        </p:nvSpPr>
        <p:spPr>
          <a:xfrm>
            <a:off x="4910462" y="2196956"/>
            <a:ext cx="2220686" cy="2677656"/>
          </a:xfrm>
          <a:prstGeom prst="rect">
            <a:avLst/>
          </a:prstGeom>
          <a:effectLst/>
        </p:spPr>
        <p:txBody>
          <a:bodyPr vert="horz" wrap="square" lIns="0" tIns="0" rIns="0" bIns="0" rtlCol="0">
            <a:spAutoFit/>
          </a:bodyPr>
          <a:lstStyle/>
          <a:p>
            <a:pPr marL="285750" indent="-285750">
              <a:spcBef>
                <a:spcPts val="0"/>
              </a:spcBef>
              <a:spcAft>
                <a:spcPts val="600"/>
              </a:spcAft>
              <a:buFont typeface="Wingdings" panose="05000000000000000000" pitchFamily="2" charset="2"/>
              <a:buChar char="q"/>
            </a:pPr>
            <a:r>
              <a:rPr lang="en-US" sz="1400" dirty="0"/>
              <a:t>Both sites of the production and staging systems can work independently</a:t>
            </a:r>
          </a:p>
          <a:p>
            <a:pPr marL="285750" indent="-285750">
              <a:spcBef>
                <a:spcPts val="0"/>
              </a:spcBef>
              <a:spcAft>
                <a:spcPts val="600"/>
              </a:spcAft>
              <a:buFont typeface="Wingdings" panose="05000000000000000000" pitchFamily="2" charset="2"/>
              <a:buChar char="q"/>
            </a:pPr>
            <a:r>
              <a:rPr lang="en-US" sz="1400" dirty="0"/>
              <a:t>This allows SW and OS upgrades without bringing the service down</a:t>
            </a:r>
          </a:p>
          <a:p>
            <a:pPr marL="285750" indent="-285750">
              <a:spcBef>
                <a:spcPts val="0"/>
              </a:spcBef>
              <a:spcAft>
                <a:spcPts val="600"/>
              </a:spcAft>
              <a:buFont typeface="Wingdings" panose="05000000000000000000" pitchFamily="2" charset="2"/>
              <a:buChar char="q"/>
            </a:pPr>
            <a:r>
              <a:rPr lang="en-US" sz="1400" dirty="0"/>
              <a:t>Service is always on</a:t>
            </a:r>
          </a:p>
          <a:p>
            <a:pPr>
              <a:spcBef>
                <a:spcPts val="0"/>
              </a:spcBef>
              <a:spcAft>
                <a:spcPts val="600"/>
              </a:spcAft>
            </a:pPr>
            <a:endParaRPr lang="en-US" sz="1400" dirty="0"/>
          </a:p>
          <a:p>
            <a:pPr>
              <a:spcBef>
                <a:spcPts val="0"/>
              </a:spcBef>
              <a:spcAft>
                <a:spcPts val="600"/>
              </a:spcAft>
            </a:pPr>
            <a:endParaRPr lang="en-US" sz="1400" dirty="0"/>
          </a:p>
        </p:txBody>
      </p:sp>
      <p:cxnSp>
        <p:nvCxnSpPr>
          <p:cNvPr id="35" name="Straight Connector 34">
            <a:extLst>
              <a:ext uri="{FF2B5EF4-FFF2-40B4-BE49-F238E27FC236}">
                <a16:creationId xmlns:a16="http://schemas.microsoft.com/office/drawing/2014/main" id="{2138FE86-93D0-4E47-4890-AF2E2D3D3C93}"/>
              </a:ext>
            </a:extLst>
          </p:cNvPr>
          <p:cNvCxnSpPr>
            <a:cxnSpLocks/>
          </p:cNvCxnSpPr>
          <p:nvPr/>
        </p:nvCxnSpPr>
        <p:spPr>
          <a:xfrm>
            <a:off x="2242782" y="5427259"/>
            <a:ext cx="0" cy="555009"/>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8063EE2-524B-A194-4146-93E0034BBC7D}"/>
              </a:ext>
            </a:extLst>
          </p:cNvPr>
          <p:cNvCxnSpPr>
            <a:cxnSpLocks/>
          </p:cNvCxnSpPr>
          <p:nvPr/>
        </p:nvCxnSpPr>
        <p:spPr>
          <a:xfrm>
            <a:off x="6009564" y="5427259"/>
            <a:ext cx="0" cy="555009"/>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E6585A4-A6B0-28D4-5AD2-ABCAD33D333A}"/>
              </a:ext>
            </a:extLst>
          </p:cNvPr>
          <p:cNvCxnSpPr>
            <a:cxnSpLocks/>
          </p:cNvCxnSpPr>
          <p:nvPr/>
        </p:nvCxnSpPr>
        <p:spPr>
          <a:xfrm flipH="1">
            <a:off x="2233684" y="5982268"/>
            <a:ext cx="1119117"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2F8107A-DF51-885C-7639-B5BFCAEA556D}"/>
              </a:ext>
            </a:extLst>
          </p:cNvPr>
          <p:cNvSpPr txBox="1"/>
          <p:nvPr/>
        </p:nvSpPr>
        <p:spPr>
          <a:xfrm>
            <a:off x="3543864" y="5882186"/>
            <a:ext cx="1201003" cy="286603"/>
          </a:xfrm>
          <a:prstGeom prst="rect">
            <a:avLst/>
          </a:prstGeom>
          <a:effectLst/>
        </p:spPr>
        <p:txBody>
          <a:bodyPr vert="horz" wrap="none" lIns="0" tIns="0" rIns="0" bIns="0" rtlCol="0">
            <a:noAutofit/>
          </a:bodyPr>
          <a:lstStyle/>
          <a:p>
            <a:pPr algn="l">
              <a:lnSpc>
                <a:spcPct val="100000"/>
              </a:lnSpc>
              <a:spcBef>
                <a:spcPts val="0"/>
              </a:spcBef>
              <a:spcAft>
                <a:spcPts val="600"/>
              </a:spcAft>
            </a:pPr>
            <a:r>
              <a:rPr lang="en-US" sz="1400" b="1" dirty="0"/>
              <a:t>Zero downtime</a:t>
            </a:r>
          </a:p>
        </p:txBody>
      </p:sp>
      <p:cxnSp>
        <p:nvCxnSpPr>
          <p:cNvPr id="42" name="Straight Connector 41">
            <a:extLst>
              <a:ext uri="{FF2B5EF4-FFF2-40B4-BE49-F238E27FC236}">
                <a16:creationId xmlns:a16="http://schemas.microsoft.com/office/drawing/2014/main" id="{E988DB31-9485-C2A9-EAC0-CA0C3D02F020}"/>
              </a:ext>
            </a:extLst>
          </p:cNvPr>
          <p:cNvCxnSpPr>
            <a:cxnSpLocks/>
          </p:cNvCxnSpPr>
          <p:nvPr/>
        </p:nvCxnSpPr>
        <p:spPr>
          <a:xfrm flipH="1">
            <a:off x="4899545" y="5982268"/>
            <a:ext cx="1119117"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pic>
        <p:nvPicPr>
          <p:cNvPr id="2050" name="Picture 2" descr="disaster recovery Icon - Free PNG &amp; SVG 3683430 - Noun Project">
            <a:extLst>
              <a:ext uri="{FF2B5EF4-FFF2-40B4-BE49-F238E27FC236}">
                <a16:creationId xmlns:a16="http://schemas.microsoft.com/office/drawing/2014/main" id="{BF6E2230-8BD4-1B8D-40CA-9054408116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69499" y="4622853"/>
            <a:ext cx="637602" cy="63760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descr="A black and white outline of a cloud server&#10;&#10;Description automatically generated">
            <a:extLst>
              <a:ext uri="{FF2B5EF4-FFF2-40B4-BE49-F238E27FC236}">
                <a16:creationId xmlns:a16="http://schemas.microsoft.com/office/drawing/2014/main" id="{A996BED6-5644-3AA7-864F-8871CECA9D5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959131" y="4643015"/>
            <a:ext cx="549105" cy="627549"/>
          </a:xfrm>
          <a:prstGeom prst="rect">
            <a:avLst/>
          </a:prstGeom>
        </p:spPr>
      </p:pic>
      <p:pic>
        <p:nvPicPr>
          <p:cNvPr id="46" name="Picture 45" descr="A black recycle symbol with arrows&#10;&#10;Description automatically generated">
            <a:extLst>
              <a:ext uri="{FF2B5EF4-FFF2-40B4-BE49-F238E27FC236}">
                <a16:creationId xmlns:a16="http://schemas.microsoft.com/office/drawing/2014/main" id="{9EE31363-AF77-2E3F-755C-850CDC57D91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674482" y="4710890"/>
            <a:ext cx="688359" cy="484760"/>
          </a:xfrm>
          <a:prstGeom prst="rect">
            <a:avLst/>
          </a:prstGeom>
        </p:spPr>
      </p:pic>
      <p:sp>
        <p:nvSpPr>
          <p:cNvPr id="48" name="Rectangle 47">
            <a:extLst>
              <a:ext uri="{FF2B5EF4-FFF2-40B4-BE49-F238E27FC236}">
                <a16:creationId xmlns:a16="http://schemas.microsoft.com/office/drawing/2014/main" id="{4518850F-4430-FD22-1F45-AAD4C78FC98E}"/>
              </a:ext>
            </a:extLst>
          </p:cNvPr>
          <p:cNvSpPr/>
          <p:nvPr/>
        </p:nvSpPr>
        <p:spPr>
          <a:xfrm>
            <a:off x="5404513" y="4643015"/>
            <a:ext cx="1160060" cy="617440"/>
          </a:xfrm>
          <a:prstGeom prst="rect">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6D90FA3B-C20E-7084-EE45-0027D31492AE}"/>
              </a:ext>
            </a:extLst>
          </p:cNvPr>
          <p:cNvSpPr/>
          <p:nvPr/>
        </p:nvSpPr>
        <p:spPr>
          <a:xfrm>
            <a:off x="9444251" y="4577604"/>
            <a:ext cx="923498" cy="725001"/>
          </a:xfrm>
          <a:prstGeom prst="rect">
            <a:avLst/>
          </a:prstGeom>
          <a:solidFill>
            <a:srgbClr val="CC99FF">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781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7DC06-1731-CFC4-9E82-C9E7ECCBF9C4}"/>
              </a:ext>
            </a:extLst>
          </p:cNvPr>
          <p:cNvSpPr>
            <a:spLocks noGrp="1"/>
          </p:cNvSpPr>
          <p:nvPr>
            <p:ph type="title"/>
          </p:nvPr>
        </p:nvSpPr>
        <p:spPr/>
        <p:txBody>
          <a:bodyPr/>
          <a:lstStyle/>
          <a:p>
            <a:r>
              <a:rPr lang="en-US"/>
              <a:t>Zero Downtime – Active/Active Configuration</a:t>
            </a:r>
          </a:p>
        </p:txBody>
      </p:sp>
      <p:sp>
        <p:nvSpPr>
          <p:cNvPr id="3" name="Content Placeholder 1">
            <a:extLst>
              <a:ext uri="{FF2B5EF4-FFF2-40B4-BE49-F238E27FC236}">
                <a16:creationId xmlns:a16="http://schemas.microsoft.com/office/drawing/2014/main" id="{574AD050-7B02-7188-2149-A4A5AED89E7B}"/>
              </a:ext>
            </a:extLst>
          </p:cNvPr>
          <p:cNvSpPr txBox="1">
            <a:spLocks/>
          </p:cNvSpPr>
          <p:nvPr/>
        </p:nvSpPr>
        <p:spPr>
          <a:xfrm>
            <a:off x="947738" y="896471"/>
            <a:ext cx="10296525" cy="5448767"/>
          </a:xfrm>
          <a:prstGeom prst="rect">
            <a:avLst/>
          </a:prstGeom>
        </p:spPr>
        <p:txBody>
          <a:bodyPr/>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3">
                  <a:extLst>
                    <a:ext uri="{96DAC541-7B7A-43D3-8B79-37D633B846F1}">
                      <asvg:svgBlip xmlns:asvg="http://schemas.microsoft.com/office/drawing/2016/SVG/main" r:embed="rId4"/>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5">
                  <a:extLst>
                    <a:ext uri="{96DAC541-7B7A-43D3-8B79-37D633B846F1}">
                      <asvg:svgBlip xmlns:asvg="http://schemas.microsoft.com/office/drawing/2016/SVG/main" r:embed="rId6"/>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5">
                  <a:extLst>
                    <a:ext uri="{96DAC541-7B7A-43D3-8B79-37D633B846F1}">
                      <asvg:svgBlip xmlns:asvg="http://schemas.microsoft.com/office/drawing/2016/SVG/main" r:embed="rId6"/>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5">
                  <a:extLst>
                    <a:ext uri="{96DAC541-7B7A-43D3-8B79-37D633B846F1}">
                      <asvg:svgBlip xmlns:asvg="http://schemas.microsoft.com/office/drawing/2016/SVG/main" r:embed="rId6"/>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5">
                  <a:extLst>
                    <a:ext uri="{96DAC541-7B7A-43D3-8B79-37D633B846F1}">
                      <asvg:svgBlip xmlns:asvg="http://schemas.microsoft.com/office/drawing/2016/SVG/main" r:embed="rId6"/>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800" dirty="0"/>
          </a:p>
        </p:txBody>
      </p:sp>
      <p:sp>
        <p:nvSpPr>
          <p:cNvPr id="4" name="Rectangle 3">
            <a:extLst>
              <a:ext uri="{FF2B5EF4-FFF2-40B4-BE49-F238E27FC236}">
                <a16:creationId xmlns:a16="http://schemas.microsoft.com/office/drawing/2014/main" id="{F02BC34A-5CD6-5D61-F987-F3F999FCF738}"/>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DA77CCEB-233F-8A3E-7034-1E98740064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1572" y="818443"/>
            <a:ext cx="10885895" cy="5486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367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26DC8-8051-4377-786A-9BB8A3B8237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B8204FD-CBDD-E6A8-05BF-292744E46805}"/>
              </a:ext>
            </a:extLst>
          </p:cNvPr>
          <p:cNvSpPr>
            <a:spLocks noGrp="1"/>
          </p:cNvSpPr>
          <p:nvPr>
            <p:ph idx="13"/>
          </p:nvPr>
        </p:nvSpPr>
        <p:spPr>
          <a:xfrm>
            <a:off x="947738" y="945777"/>
            <a:ext cx="10545100" cy="4086448"/>
          </a:xfrm>
        </p:spPr>
        <p:txBody>
          <a:bodyPr/>
          <a:lstStyle/>
          <a:p>
            <a:pPr>
              <a:spcAft>
                <a:spcPts val="1800"/>
              </a:spcAft>
            </a:pPr>
            <a:r>
              <a:rPr lang="en-US" sz="1700" dirty="0"/>
              <a:t>As to cell broadcast, a good cooperation with the MNOs is crucial for the project success.</a:t>
            </a:r>
          </a:p>
          <a:p>
            <a:pPr>
              <a:spcAft>
                <a:spcPts val="1800"/>
              </a:spcAft>
            </a:pPr>
            <a:r>
              <a:rPr lang="en-US" sz="1700" dirty="0"/>
              <a:t>In Denmark, complying with PWS is obliged by the MNOs license</a:t>
            </a:r>
          </a:p>
          <a:p>
            <a:pPr>
              <a:spcAft>
                <a:spcPts val="1800"/>
              </a:spcAft>
            </a:pPr>
            <a:r>
              <a:rPr lang="en-US" sz="1700" dirty="0"/>
              <a:t>We wanted to work with the MNOs as our partners from the very beginning </a:t>
            </a:r>
          </a:p>
          <a:p>
            <a:pPr>
              <a:spcAft>
                <a:spcPts val="1800"/>
              </a:spcAft>
            </a:pPr>
            <a:r>
              <a:rPr lang="en-US" sz="1700" dirty="0"/>
              <a:t>We have agreed together on reasonable timelines for the CBCs installation and integration</a:t>
            </a:r>
          </a:p>
          <a:p>
            <a:pPr>
              <a:spcAft>
                <a:spcPts val="1800"/>
              </a:spcAft>
            </a:pPr>
            <a:r>
              <a:rPr lang="en-US" sz="1700" dirty="0"/>
              <a:t>We have made it clear to them at the very beginning that we will carry out all their project related expanses</a:t>
            </a:r>
          </a:p>
          <a:p>
            <a:pPr>
              <a:spcAft>
                <a:spcPts val="1800"/>
              </a:spcAft>
            </a:pPr>
            <a:r>
              <a:rPr lang="en-US" sz="1700" dirty="0"/>
              <a:t>We gave the freedom to the MNOs to select their CBC vendors</a:t>
            </a:r>
          </a:p>
          <a:p>
            <a:pPr lvl="1">
              <a:spcAft>
                <a:spcPts val="1800"/>
              </a:spcAft>
            </a:pPr>
            <a:r>
              <a:rPr lang="en-US" sz="1500" dirty="0"/>
              <a:t>We ended up with 3 different CBC vendors for the 3 MNOs </a:t>
            </a:r>
            <a:r>
              <a:rPr lang="en-US" sz="1500" dirty="0">
                <a:sym typeface="Wingdings" panose="05000000000000000000" pitchFamily="2" charset="2"/>
              </a:rPr>
              <a:t></a:t>
            </a:r>
          </a:p>
          <a:p>
            <a:pPr>
              <a:spcAft>
                <a:spcPts val="1800"/>
              </a:spcAft>
            </a:pPr>
            <a:r>
              <a:rPr lang="en-US" sz="1700" dirty="0">
                <a:sym typeface="Wingdings" panose="05000000000000000000" pitchFamily="2" charset="2"/>
              </a:rPr>
              <a:t>Luckily, one of the MNOs had also selected the Utimaco CBC, which helped a lot in finalizing the CAP interface and all CBCs integration down the road.  </a:t>
            </a:r>
            <a:endParaRPr lang="en-US" sz="1700" dirty="0"/>
          </a:p>
        </p:txBody>
      </p:sp>
      <p:sp>
        <p:nvSpPr>
          <p:cNvPr id="4" name="Title 3">
            <a:extLst>
              <a:ext uri="{FF2B5EF4-FFF2-40B4-BE49-F238E27FC236}">
                <a16:creationId xmlns:a16="http://schemas.microsoft.com/office/drawing/2014/main" id="{83DEBBA1-BB96-550F-4A6D-B2E35D613C68}"/>
              </a:ext>
            </a:extLst>
          </p:cNvPr>
          <p:cNvSpPr>
            <a:spLocks noGrp="1"/>
          </p:cNvSpPr>
          <p:nvPr>
            <p:ph type="title"/>
          </p:nvPr>
        </p:nvSpPr>
        <p:spPr/>
        <p:txBody>
          <a:bodyPr/>
          <a:lstStyle/>
          <a:p>
            <a:r>
              <a:rPr lang="en-US" dirty="0"/>
              <a:t>Cooperation with the MNOs</a:t>
            </a:r>
          </a:p>
        </p:txBody>
      </p:sp>
      <p:sp>
        <p:nvSpPr>
          <p:cNvPr id="5" name="Rectangle 4">
            <a:extLst>
              <a:ext uri="{FF2B5EF4-FFF2-40B4-BE49-F238E27FC236}">
                <a16:creationId xmlns:a16="http://schemas.microsoft.com/office/drawing/2014/main" id="{AE70E3F0-84F3-8B4B-BC02-EDA6D4BFB297}"/>
              </a:ext>
            </a:extLst>
          </p:cNvPr>
          <p:cNvSpPr/>
          <p:nvPr/>
        </p:nvSpPr>
        <p:spPr>
          <a:xfrm>
            <a:off x="0" y="5271642"/>
            <a:ext cx="12192000" cy="1277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2" descr="TDC NET Holding: Interim Financial Report H1 2022">
            <a:extLst>
              <a:ext uri="{FF2B5EF4-FFF2-40B4-BE49-F238E27FC236}">
                <a16:creationId xmlns:a16="http://schemas.microsoft.com/office/drawing/2014/main" id="{A2CCC16E-6748-1214-93C5-2BB42191B4C0}"/>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609024" y="5637471"/>
            <a:ext cx="1929670" cy="5495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Tre | Sammenlign leverandører &amp; priser | businesswith.dk">
            <a:extLst>
              <a:ext uri="{FF2B5EF4-FFF2-40B4-BE49-F238E27FC236}">
                <a16:creationId xmlns:a16="http://schemas.microsoft.com/office/drawing/2014/main" id="{56FF76FD-FE3B-A713-E7A6-D425C8E8E6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0213" y="5624217"/>
            <a:ext cx="1160990" cy="58049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0714867-1914-21FD-4663-C0C25EC8F4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65579" y="5772770"/>
            <a:ext cx="2656030" cy="278905"/>
          </a:xfrm>
          <a:prstGeom prst="rect">
            <a:avLst/>
          </a:prstGeom>
        </p:spPr>
      </p:pic>
      <p:sp>
        <p:nvSpPr>
          <p:cNvPr id="3" name="Rectangle 2">
            <a:extLst>
              <a:ext uri="{FF2B5EF4-FFF2-40B4-BE49-F238E27FC236}">
                <a16:creationId xmlns:a16="http://schemas.microsoft.com/office/drawing/2014/main" id="{FB53B4A1-F592-E415-B370-D62411E7EC37}"/>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754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66CE07-D9A2-CB30-9AFD-94966401A74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4B6C8B27-B715-8D2E-C3C5-949D4F577BFF}"/>
              </a:ext>
            </a:extLst>
          </p:cNvPr>
          <p:cNvSpPr/>
          <p:nvPr/>
        </p:nvSpPr>
        <p:spPr>
          <a:xfrm>
            <a:off x="0" y="5271642"/>
            <a:ext cx="12192000" cy="1277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a:extLst>
              <a:ext uri="{FF2B5EF4-FFF2-40B4-BE49-F238E27FC236}">
                <a16:creationId xmlns:a16="http://schemas.microsoft.com/office/drawing/2014/main" id="{729A1156-E9C7-0D92-FD01-459DC95A4DCD}"/>
              </a:ext>
            </a:extLst>
          </p:cNvPr>
          <p:cNvSpPr>
            <a:spLocks noGrp="1"/>
          </p:cNvSpPr>
          <p:nvPr>
            <p:ph idx="13"/>
          </p:nvPr>
        </p:nvSpPr>
        <p:spPr>
          <a:xfrm>
            <a:off x="947737" y="1408436"/>
            <a:ext cx="10020581" cy="5001328"/>
          </a:xfrm>
        </p:spPr>
        <p:txBody>
          <a:bodyPr/>
          <a:lstStyle/>
          <a:p>
            <a:pPr>
              <a:lnSpc>
                <a:spcPct val="150000"/>
              </a:lnSpc>
            </a:pPr>
            <a:r>
              <a:rPr lang="en-US" sz="1600" dirty="0"/>
              <a:t>CAP 1.2 is often used as the primary interface between the various components of Public Warning Systems</a:t>
            </a:r>
          </a:p>
          <a:p>
            <a:pPr>
              <a:lnSpc>
                <a:spcPct val="150000"/>
              </a:lnSpc>
            </a:pPr>
            <a:r>
              <a:rPr lang="en-US" sz="1600" dirty="0"/>
              <a:t>Reason for choosing CAP are:</a:t>
            </a:r>
          </a:p>
          <a:p>
            <a:pPr lvl="1">
              <a:lnSpc>
                <a:spcPct val="150000"/>
              </a:lnSpc>
            </a:pPr>
            <a:r>
              <a:rPr lang="en-US" sz="1400" dirty="0"/>
              <a:t>An international standard, by OASIS and ITU</a:t>
            </a:r>
          </a:p>
          <a:p>
            <a:pPr lvl="1">
              <a:lnSpc>
                <a:spcPct val="150000"/>
              </a:lnSpc>
            </a:pPr>
            <a:r>
              <a:rPr lang="en-US" sz="1400" dirty="0"/>
              <a:t>Multi-channel Distribution capabilities</a:t>
            </a:r>
          </a:p>
          <a:p>
            <a:pPr lvl="1">
              <a:lnSpc>
                <a:spcPct val="150000"/>
              </a:lnSpc>
            </a:pPr>
            <a:r>
              <a:rPr lang="en-US" sz="1400" dirty="0"/>
              <a:t>XML-based format allowing an easier integration</a:t>
            </a:r>
          </a:p>
          <a:p>
            <a:pPr lvl="1">
              <a:lnSpc>
                <a:spcPct val="150000"/>
              </a:lnSpc>
            </a:pPr>
            <a:r>
              <a:rPr lang="en-US" sz="1400" dirty="0"/>
              <a:t>Supports Geolocation, allowing precise targeting of alerts to specific geographic areas</a:t>
            </a:r>
          </a:p>
          <a:p>
            <a:pPr>
              <a:lnSpc>
                <a:spcPct val="150000"/>
              </a:lnSpc>
            </a:pPr>
            <a:r>
              <a:rPr lang="en-US" sz="1600" dirty="0"/>
              <a:t>Since CAP is rather generic, using it as the CBE-CBC interface for cell broadcast, requires customization and fine-tuning</a:t>
            </a:r>
          </a:p>
          <a:p>
            <a:pPr>
              <a:lnSpc>
                <a:spcPct val="150000"/>
              </a:lnSpc>
            </a:pPr>
            <a:r>
              <a:rPr lang="en-US" sz="1600" dirty="0"/>
              <a:t>CAP finalization is done in a country level to support the authorities’ specific requirements</a:t>
            </a:r>
          </a:p>
        </p:txBody>
      </p:sp>
      <p:sp>
        <p:nvSpPr>
          <p:cNvPr id="4" name="Title 3">
            <a:extLst>
              <a:ext uri="{FF2B5EF4-FFF2-40B4-BE49-F238E27FC236}">
                <a16:creationId xmlns:a16="http://schemas.microsoft.com/office/drawing/2014/main" id="{A5C6E9C4-76DF-C63D-1B4F-A151FF7D9189}"/>
              </a:ext>
            </a:extLst>
          </p:cNvPr>
          <p:cNvSpPr>
            <a:spLocks noGrp="1"/>
          </p:cNvSpPr>
          <p:nvPr>
            <p:ph type="title"/>
          </p:nvPr>
        </p:nvSpPr>
        <p:spPr/>
        <p:txBody>
          <a:bodyPr/>
          <a:lstStyle/>
          <a:p>
            <a:r>
              <a:rPr lang="en-US" dirty="0"/>
              <a:t>CAP customization</a:t>
            </a:r>
          </a:p>
        </p:txBody>
      </p:sp>
      <p:sp>
        <p:nvSpPr>
          <p:cNvPr id="3" name="Content Placeholder 2">
            <a:extLst>
              <a:ext uri="{FF2B5EF4-FFF2-40B4-BE49-F238E27FC236}">
                <a16:creationId xmlns:a16="http://schemas.microsoft.com/office/drawing/2014/main" id="{449F10A9-4119-E3B4-3E2E-60A0E8295F68}"/>
              </a:ext>
            </a:extLst>
          </p:cNvPr>
          <p:cNvSpPr>
            <a:spLocks noGrp="1"/>
          </p:cNvSpPr>
          <p:nvPr>
            <p:ph sz="quarter" idx="14"/>
          </p:nvPr>
        </p:nvSpPr>
        <p:spPr>
          <a:xfrm>
            <a:off x="947737" y="762409"/>
            <a:ext cx="10296525" cy="427294"/>
          </a:xfrm>
        </p:spPr>
        <p:txBody>
          <a:bodyPr/>
          <a:lstStyle/>
          <a:p>
            <a:r>
              <a:rPr lang="en-US" dirty="0"/>
              <a:t>CAP – Common Alerting Protocol</a:t>
            </a:r>
          </a:p>
        </p:txBody>
      </p:sp>
      <p:pic>
        <p:nvPicPr>
          <p:cNvPr id="1026" name="Picture 2">
            <a:extLst>
              <a:ext uri="{FF2B5EF4-FFF2-40B4-BE49-F238E27FC236}">
                <a16:creationId xmlns:a16="http://schemas.microsoft.com/office/drawing/2014/main" id="{4A29E44C-1823-AC87-8EE1-BDC518E4FFFF}"/>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7029382" y="5368853"/>
            <a:ext cx="957534" cy="10560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bout Us - OASIS Open">
            <a:extLst>
              <a:ext uri="{FF2B5EF4-FFF2-40B4-BE49-F238E27FC236}">
                <a16:creationId xmlns:a16="http://schemas.microsoft.com/office/drawing/2014/main" id="{AF5FE324-173F-0CDB-1D68-1ABB5BB62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4937" y="5646524"/>
            <a:ext cx="3023620" cy="6047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A4EC34A-736F-DB65-FCBF-6C5424C676B1}"/>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816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16907-D7C4-E0DB-FEAB-7AB99BACA90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64667BD-B6CE-F989-6ACE-3131226597A0}"/>
              </a:ext>
            </a:extLst>
          </p:cNvPr>
          <p:cNvSpPr>
            <a:spLocks noGrp="1"/>
          </p:cNvSpPr>
          <p:nvPr>
            <p:ph type="title"/>
          </p:nvPr>
        </p:nvSpPr>
        <p:spPr/>
        <p:txBody>
          <a:bodyPr/>
          <a:lstStyle/>
          <a:p>
            <a:r>
              <a:rPr lang="en-US" dirty="0"/>
              <a:t>CAP adaptation to cell broadcast - examples</a:t>
            </a:r>
          </a:p>
        </p:txBody>
      </p:sp>
      <p:graphicFrame>
        <p:nvGraphicFramePr>
          <p:cNvPr id="7" name="Content Placeholder 6">
            <a:extLst>
              <a:ext uri="{FF2B5EF4-FFF2-40B4-BE49-F238E27FC236}">
                <a16:creationId xmlns:a16="http://schemas.microsoft.com/office/drawing/2014/main" id="{18F1012A-B0F4-0994-2BEA-DCC264F65B71}"/>
              </a:ext>
            </a:extLst>
          </p:cNvPr>
          <p:cNvGraphicFramePr>
            <a:graphicFrameLocks noGrp="1"/>
          </p:cNvGraphicFramePr>
          <p:nvPr>
            <p:ph idx="13"/>
            <p:extLst>
              <p:ext uri="{D42A27DB-BD31-4B8C-83A1-F6EECF244321}">
                <p14:modId xmlns:p14="http://schemas.microsoft.com/office/powerpoint/2010/main" val="3346808742"/>
              </p:ext>
            </p:extLst>
          </p:nvPr>
        </p:nvGraphicFramePr>
        <p:xfrm>
          <a:off x="947738" y="840728"/>
          <a:ext cx="11060485" cy="57160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99C6E097-9D86-9BE4-29D2-D2470FE3280F}"/>
              </a:ext>
            </a:extLst>
          </p:cNvPr>
          <p:cNvSpPr txBox="1"/>
          <p:nvPr/>
        </p:nvSpPr>
        <p:spPr>
          <a:xfrm>
            <a:off x="936813" y="1047008"/>
            <a:ext cx="2304757" cy="660450"/>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CB Specific</a:t>
            </a:r>
          </a:p>
        </p:txBody>
      </p:sp>
      <p:sp>
        <p:nvSpPr>
          <p:cNvPr id="12" name="TextBox 11">
            <a:extLst>
              <a:ext uri="{FF2B5EF4-FFF2-40B4-BE49-F238E27FC236}">
                <a16:creationId xmlns:a16="http://schemas.microsoft.com/office/drawing/2014/main" id="{5846FEE8-1C35-4E02-7FF6-CDECC7ED9F9D}"/>
              </a:ext>
            </a:extLst>
          </p:cNvPr>
          <p:cNvSpPr txBox="1"/>
          <p:nvPr/>
        </p:nvSpPr>
        <p:spPr>
          <a:xfrm>
            <a:off x="1425771" y="1759702"/>
            <a:ext cx="2304757" cy="714632"/>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Alert Languages</a:t>
            </a:r>
          </a:p>
        </p:txBody>
      </p:sp>
      <p:sp>
        <p:nvSpPr>
          <p:cNvPr id="13" name="TextBox 12">
            <a:extLst>
              <a:ext uri="{FF2B5EF4-FFF2-40B4-BE49-F238E27FC236}">
                <a16:creationId xmlns:a16="http://schemas.microsoft.com/office/drawing/2014/main" id="{63AF11B6-B620-6596-2209-F2FBB923F650}"/>
              </a:ext>
            </a:extLst>
          </p:cNvPr>
          <p:cNvSpPr txBox="1"/>
          <p:nvPr/>
        </p:nvSpPr>
        <p:spPr>
          <a:xfrm>
            <a:off x="1660531" y="2591522"/>
            <a:ext cx="2304757" cy="667382"/>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Alert Scheduling</a:t>
            </a:r>
          </a:p>
        </p:txBody>
      </p:sp>
      <p:sp>
        <p:nvSpPr>
          <p:cNvPr id="14" name="TextBox 13">
            <a:extLst>
              <a:ext uri="{FF2B5EF4-FFF2-40B4-BE49-F238E27FC236}">
                <a16:creationId xmlns:a16="http://schemas.microsoft.com/office/drawing/2014/main" id="{0F70DBDC-F3B0-FBB0-D597-F667681DA137}"/>
              </a:ext>
            </a:extLst>
          </p:cNvPr>
          <p:cNvSpPr txBox="1"/>
          <p:nvPr/>
        </p:nvSpPr>
        <p:spPr>
          <a:xfrm>
            <a:off x="1727175" y="3376092"/>
            <a:ext cx="2337788" cy="667382"/>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Update Policy</a:t>
            </a:r>
          </a:p>
        </p:txBody>
      </p:sp>
      <p:sp>
        <p:nvSpPr>
          <p:cNvPr id="15" name="TextBox 14">
            <a:extLst>
              <a:ext uri="{FF2B5EF4-FFF2-40B4-BE49-F238E27FC236}">
                <a16:creationId xmlns:a16="http://schemas.microsoft.com/office/drawing/2014/main" id="{F6FE0112-162F-D962-AAE6-EB0345D27B3E}"/>
              </a:ext>
            </a:extLst>
          </p:cNvPr>
          <p:cNvSpPr txBox="1"/>
          <p:nvPr/>
        </p:nvSpPr>
        <p:spPr>
          <a:xfrm>
            <a:off x="1660531" y="4160662"/>
            <a:ext cx="2313359" cy="632354"/>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Statistics</a:t>
            </a:r>
          </a:p>
        </p:txBody>
      </p:sp>
      <p:sp>
        <p:nvSpPr>
          <p:cNvPr id="16" name="TextBox 15">
            <a:extLst>
              <a:ext uri="{FF2B5EF4-FFF2-40B4-BE49-F238E27FC236}">
                <a16:creationId xmlns:a16="http://schemas.microsoft.com/office/drawing/2014/main" id="{A7034079-B8CC-E65F-FEBB-B2DA5891C3D2}"/>
              </a:ext>
            </a:extLst>
          </p:cNvPr>
          <p:cNvSpPr txBox="1"/>
          <p:nvPr/>
        </p:nvSpPr>
        <p:spPr>
          <a:xfrm>
            <a:off x="1394014" y="4931900"/>
            <a:ext cx="2336513" cy="667382"/>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Security</a:t>
            </a:r>
            <a:endParaRPr lang="en-US" sz="1400" dirty="0">
              <a:solidFill>
                <a:schemeClr val="bg1"/>
              </a:solidFill>
            </a:endParaRPr>
          </a:p>
        </p:txBody>
      </p:sp>
      <p:sp>
        <p:nvSpPr>
          <p:cNvPr id="17" name="TextBox 16">
            <a:extLst>
              <a:ext uri="{FF2B5EF4-FFF2-40B4-BE49-F238E27FC236}">
                <a16:creationId xmlns:a16="http://schemas.microsoft.com/office/drawing/2014/main" id="{FEBF4ED1-261E-B6F0-78ED-85CAFAD96BF8}"/>
              </a:ext>
            </a:extLst>
          </p:cNvPr>
          <p:cNvSpPr txBox="1"/>
          <p:nvPr/>
        </p:nvSpPr>
        <p:spPr>
          <a:xfrm>
            <a:off x="947737" y="5716470"/>
            <a:ext cx="2304757" cy="660450"/>
          </a:xfrm>
          <a:prstGeom prst="rect">
            <a:avLst/>
          </a:prstGeom>
          <a:effectLst/>
        </p:spPr>
        <p:txBody>
          <a:bodyPr vert="horz" wrap="square" lIns="0" tIns="0" rIns="0" bIns="0" rtlCol="0" anchor="ctr" anchorCtr="0">
            <a:noAutofit/>
          </a:bodyPr>
          <a:lstStyle/>
          <a:p>
            <a:pPr algn="ctr">
              <a:lnSpc>
                <a:spcPct val="100000"/>
              </a:lnSpc>
              <a:spcBef>
                <a:spcPts val="0"/>
              </a:spcBef>
              <a:spcAft>
                <a:spcPts val="600"/>
              </a:spcAft>
            </a:pPr>
            <a:r>
              <a:rPr lang="en-US" dirty="0">
                <a:solidFill>
                  <a:schemeClr val="bg1"/>
                </a:solidFill>
              </a:rPr>
              <a:t>Testing</a:t>
            </a:r>
            <a:endParaRPr lang="en-US" sz="1400" dirty="0">
              <a:solidFill>
                <a:schemeClr val="bg1"/>
              </a:solidFill>
            </a:endParaRPr>
          </a:p>
        </p:txBody>
      </p:sp>
      <p:sp>
        <p:nvSpPr>
          <p:cNvPr id="2" name="Rectangle 1">
            <a:extLst>
              <a:ext uri="{FF2B5EF4-FFF2-40B4-BE49-F238E27FC236}">
                <a16:creationId xmlns:a16="http://schemas.microsoft.com/office/drawing/2014/main" id="{EE6C40E2-C014-76A5-6DF1-52C6004D0459}"/>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562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31BA0-AC54-F3C5-F4BC-82EFC3D3521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AFAE752-9AB0-5C64-2748-F7612E16F5E3}"/>
              </a:ext>
            </a:extLst>
          </p:cNvPr>
          <p:cNvSpPr>
            <a:spLocks noGrp="1"/>
          </p:cNvSpPr>
          <p:nvPr>
            <p:ph idx="13"/>
          </p:nvPr>
        </p:nvSpPr>
        <p:spPr>
          <a:xfrm>
            <a:off x="947738" y="945777"/>
            <a:ext cx="10296525" cy="5399462"/>
          </a:xfrm>
        </p:spPr>
        <p:txBody>
          <a:bodyPr/>
          <a:lstStyle/>
          <a:p>
            <a:pPr>
              <a:spcBef>
                <a:spcPts val="600"/>
              </a:spcBef>
            </a:pPr>
            <a:r>
              <a:rPr lang="en-US" sz="1800" dirty="0"/>
              <a:t>Direct connection from DEMA/DALO with both</a:t>
            </a:r>
          </a:p>
          <a:p>
            <a:pPr>
              <a:spcBef>
                <a:spcPts val="600"/>
              </a:spcBef>
            </a:pPr>
            <a:r>
              <a:rPr lang="en-US" sz="1800" dirty="0"/>
              <a:t>Apple has insisted to perform the testing on the very final system, stretching the timelines  </a:t>
            </a:r>
          </a:p>
          <a:p>
            <a:pPr>
              <a:spcBef>
                <a:spcPts val="600"/>
              </a:spcBef>
            </a:pPr>
            <a:r>
              <a:rPr lang="en-US" sz="1800" dirty="0"/>
              <a:t>Specifying behavior of all channels</a:t>
            </a:r>
          </a:p>
          <a:p>
            <a:pPr>
              <a:spcBef>
                <a:spcPts val="600"/>
              </a:spcBef>
            </a:pPr>
            <a:endParaRPr lang="en-US" sz="1800" dirty="0"/>
          </a:p>
        </p:txBody>
      </p:sp>
      <p:sp>
        <p:nvSpPr>
          <p:cNvPr id="4" name="Title 3">
            <a:extLst>
              <a:ext uri="{FF2B5EF4-FFF2-40B4-BE49-F238E27FC236}">
                <a16:creationId xmlns:a16="http://schemas.microsoft.com/office/drawing/2014/main" id="{5DBFC5B8-13A5-A03C-F0C2-5113DF327223}"/>
              </a:ext>
            </a:extLst>
          </p:cNvPr>
          <p:cNvSpPr>
            <a:spLocks noGrp="1"/>
          </p:cNvSpPr>
          <p:nvPr>
            <p:ph type="title"/>
          </p:nvPr>
        </p:nvSpPr>
        <p:spPr/>
        <p:txBody>
          <a:bodyPr/>
          <a:lstStyle/>
          <a:p>
            <a:r>
              <a:rPr lang="en-US" dirty="0"/>
              <a:t>Working with Apple and Google</a:t>
            </a:r>
          </a:p>
        </p:txBody>
      </p:sp>
      <p:sp>
        <p:nvSpPr>
          <p:cNvPr id="3" name="Rectangle 2">
            <a:extLst>
              <a:ext uri="{FF2B5EF4-FFF2-40B4-BE49-F238E27FC236}">
                <a16:creationId xmlns:a16="http://schemas.microsoft.com/office/drawing/2014/main" id="{7A9EB69B-C8BA-AA2A-9FD4-793AF6C9D23F}"/>
              </a:ext>
            </a:extLst>
          </p:cNvPr>
          <p:cNvSpPr/>
          <p:nvPr/>
        </p:nvSpPr>
        <p:spPr>
          <a:xfrm>
            <a:off x="0" y="5271642"/>
            <a:ext cx="12192000" cy="12770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descr="Apple logo - Free logo icons">
            <a:extLst>
              <a:ext uri="{FF2B5EF4-FFF2-40B4-BE49-F238E27FC236}">
                <a16:creationId xmlns:a16="http://schemas.microsoft.com/office/drawing/2014/main" id="{9B5401DC-DB42-0513-F5B3-C9E77CF4F176}"/>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2124636" y="5493764"/>
            <a:ext cx="832831" cy="8328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oogle logo - Wikipedia">
            <a:extLst>
              <a:ext uri="{FF2B5EF4-FFF2-40B4-BE49-F238E27FC236}">
                <a16:creationId xmlns:a16="http://schemas.microsoft.com/office/drawing/2014/main" id="{31CF38C0-4E3A-AC48-4988-02802BB59F22}"/>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6273524" y="5755590"/>
            <a:ext cx="1864659" cy="63087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OS Logo - PNG and Vector - Logo Download">
            <a:extLst>
              <a:ext uri="{FF2B5EF4-FFF2-40B4-BE49-F238E27FC236}">
                <a16:creationId xmlns:a16="http://schemas.microsoft.com/office/drawing/2014/main" id="{A8428B34-C1CE-1CFE-B531-10A71D659414}"/>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3974074" y="5212976"/>
            <a:ext cx="1515035" cy="151503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Android Logo PNG Transparent &amp; SVG Vector - Freebie Supply">
            <a:extLst>
              <a:ext uri="{FF2B5EF4-FFF2-40B4-BE49-F238E27FC236}">
                <a16:creationId xmlns:a16="http://schemas.microsoft.com/office/drawing/2014/main" id="{F8363E8E-9771-AD61-8BCF-53364B650B6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9004207" y="5596686"/>
            <a:ext cx="748365" cy="8382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7D7EBDF-5596-DA7B-5C76-24E4B16D7F86}"/>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Billede 5"/>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2872154" y="2194777"/>
            <a:ext cx="6447692" cy="2901461"/>
          </a:xfrm>
          <a:prstGeom prst="rect">
            <a:avLst/>
          </a:prstGeom>
        </p:spPr>
      </p:pic>
    </p:spTree>
    <p:extLst>
      <p:ext uri="{BB962C8B-B14F-4D97-AF65-F5344CB8AC3E}">
        <p14:creationId xmlns:p14="http://schemas.microsoft.com/office/powerpoint/2010/main" val="192174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60DCA2-42B3-6EBB-22C3-DADFB835193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CD7ACC-431A-09AB-4E2A-3F9A19112614}"/>
              </a:ext>
            </a:extLst>
          </p:cNvPr>
          <p:cNvSpPr>
            <a:spLocks noGrp="1"/>
          </p:cNvSpPr>
          <p:nvPr>
            <p:ph idx="13"/>
          </p:nvPr>
        </p:nvSpPr>
        <p:spPr>
          <a:xfrm>
            <a:off x="947738" y="1129553"/>
            <a:ext cx="10296525" cy="5215686"/>
          </a:xfrm>
        </p:spPr>
        <p:txBody>
          <a:bodyPr/>
          <a:lstStyle/>
          <a:p>
            <a:r>
              <a:rPr lang="en-US" sz="1600" dirty="0"/>
              <a:t>Platform changes – we had to change platforms to comply with all stakeholders and timelines. Started with an on-prem solution, all the way up to a distributed cloud-based solution.</a:t>
            </a:r>
          </a:p>
          <a:p>
            <a:endParaRPr lang="en-US" sz="1600" dirty="0"/>
          </a:p>
          <a:p>
            <a:r>
              <a:rPr lang="en-US" sz="1600" dirty="0"/>
              <a:t>CAP DK definition – managed together with Utimaco’s CAP expert, almost from scratch</a:t>
            </a:r>
          </a:p>
          <a:p>
            <a:pPr marL="0" indent="0">
              <a:buNone/>
            </a:pPr>
            <a:endParaRPr lang="en-US" sz="1600" dirty="0"/>
          </a:p>
          <a:p>
            <a:r>
              <a:rPr lang="en-US" sz="1600" dirty="0"/>
              <a:t>MNOs day-to-day communication – we had to establish direct relationships between Utimaco and the MNOs and even their CBC vendors, according to the pre-defined playbook. </a:t>
            </a:r>
          </a:p>
          <a:p>
            <a:pPr marL="0" indent="0">
              <a:buNone/>
            </a:pPr>
            <a:endParaRPr lang="en-US" sz="1600" dirty="0"/>
          </a:p>
          <a:p>
            <a:r>
              <a:rPr lang="en-US" sz="1600" dirty="0"/>
              <a:t>Enhanced security level to comply with the highest cyber security.</a:t>
            </a:r>
          </a:p>
          <a:p>
            <a:pPr marL="0" indent="0">
              <a:buNone/>
            </a:pPr>
            <a:endParaRPr lang="en-US" sz="1600" dirty="0"/>
          </a:p>
          <a:p>
            <a:r>
              <a:rPr lang="en-US" sz="1600" dirty="0"/>
              <a:t>Communication with Apple and Google resulted in numerous meetings.</a:t>
            </a:r>
          </a:p>
          <a:p>
            <a:pPr marL="0" indent="0">
              <a:buNone/>
            </a:pPr>
            <a:endParaRPr lang="en-US" sz="1600" dirty="0"/>
          </a:p>
          <a:p>
            <a:pPr marL="0" indent="0">
              <a:buNone/>
            </a:pPr>
            <a:r>
              <a:rPr lang="en-US" sz="1600" dirty="0"/>
              <a:t> </a:t>
            </a:r>
          </a:p>
        </p:txBody>
      </p:sp>
      <p:sp>
        <p:nvSpPr>
          <p:cNvPr id="4" name="Title 3">
            <a:extLst>
              <a:ext uri="{FF2B5EF4-FFF2-40B4-BE49-F238E27FC236}">
                <a16:creationId xmlns:a16="http://schemas.microsoft.com/office/drawing/2014/main" id="{8B932855-8438-25FB-FC33-B788ADC4F779}"/>
              </a:ext>
            </a:extLst>
          </p:cNvPr>
          <p:cNvSpPr>
            <a:spLocks noGrp="1"/>
          </p:cNvSpPr>
          <p:nvPr>
            <p:ph type="title"/>
          </p:nvPr>
        </p:nvSpPr>
        <p:spPr/>
        <p:txBody>
          <a:bodyPr/>
          <a:lstStyle/>
          <a:p>
            <a:r>
              <a:rPr lang="en-US" dirty="0"/>
              <a:t>Deployment challenges that we crossed together</a:t>
            </a:r>
          </a:p>
        </p:txBody>
      </p:sp>
      <p:sp>
        <p:nvSpPr>
          <p:cNvPr id="3" name="Rectangle 2">
            <a:extLst>
              <a:ext uri="{FF2B5EF4-FFF2-40B4-BE49-F238E27FC236}">
                <a16:creationId xmlns:a16="http://schemas.microsoft.com/office/drawing/2014/main" id="{250E70F0-1D65-E84A-7C16-7A920AAF454A}"/>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62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66DF9-5AC0-1795-17D9-06C706278A76}"/>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A592B6F8-AD82-80BC-C47E-2633EAF5F094}"/>
              </a:ext>
            </a:extLst>
          </p:cNvPr>
          <p:cNvPicPr>
            <a:picLocks noChangeAspect="1"/>
          </p:cNvPicPr>
          <p:nvPr/>
        </p:nvPicPr>
        <p:blipFill>
          <a:blip r:embed="rId2"/>
          <a:stretch>
            <a:fillRect/>
          </a:stretch>
        </p:blipFill>
        <p:spPr>
          <a:xfrm>
            <a:off x="6033247" y="729518"/>
            <a:ext cx="6158753" cy="5862476"/>
          </a:xfrm>
          <a:prstGeom prst="rect">
            <a:avLst/>
          </a:prstGeom>
        </p:spPr>
      </p:pic>
      <p:sp>
        <p:nvSpPr>
          <p:cNvPr id="4" name="Title 3">
            <a:extLst>
              <a:ext uri="{FF2B5EF4-FFF2-40B4-BE49-F238E27FC236}">
                <a16:creationId xmlns:a16="http://schemas.microsoft.com/office/drawing/2014/main" id="{D4D0A38C-700F-788A-993B-ED3019909513}"/>
              </a:ext>
            </a:extLst>
          </p:cNvPr>
          <p:cNvSpPr>
            <a:spLocks noGrp="1"/>
          </p:cNvSpPr>
          <p:nvPr>
            <p:ph type="title"/>
          </p:nvPr>
        </p:nvSpPr>
        <p:spPr>
          <a:xfrm>
            <a:off x="947737" y="74087"/>
            <a:ext cx="9661036" cy="545346"/>
          </a:xfrm>
        </p:spPr>
        <p:txBody>
          <a:bodyPr anchor="ctr">
            <a:normAutofit/>
          </a:bodyPr>
          <a:lstStyle/>
          <a:p>
            <a:r>
              <a:rPr lang="en-US" dirty="0"/>
              <a:t>Cooperation with the Germany</a:t>
            </a:r>
          </a:p>
        </p:txBody>
      </p:sp>
      <p:sp>
        <p:nvSpPr>
          <p:cNvPr id="8" name="Shape 7">
            <a:extLst>
              <a:ext uri="{FF2B5EF4-FFF2-40B4-BE49-F238E27FC236}">
                <a16:creationId xmlns:a16="http://schemas.microsoft.com/office/drawing/2014/main" id="{55BCC071-6DBF-B6DB-EF42-968D548812DB}"/>
              </a:ext>
            </a:extLst>
          </p:cNvPr>
          <p:cNvSpPr/>
          <p:nvPr/>
        </p:nvSpPr>
        <p:spPr>
          <a:xfrm rot="9545755">
            <a:off x="9044859" y="3565400"/>
            <a:ext cx="1613128" cy="859183"/>
          </a:xfrm>
          <a:prstGeom prst="swooshArrow">
            <a:avLst>
              <a:gd name="adj1" fmla="val 25000"/>
              <a:gd name="adj2" fmla="val 25000"/>
            </a:avLst>
          </a:prstGeom>
          <a:gradFill>
            <a:gsLst>
              <a:gs pos="92718">
                <a:srgbClr val="FF0000"/>
              </a:gs>
              <a:gs pos="60000">
                <a:schemeClr val="bg1"/>
              </a:gs>
              <a:gs pos="50000">
                <a:srgbClr val="FF0000"/>
              </a:gs>
            </a:gsLst>
            <a:lin ang="13500000" scaled="1"/>
          </a:gra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9" name="Shape 8">
            <a:extLst>
              <a:ext uri="{FF2B5EF4-FFF2-40B4-BE49-F238E27FC236}">
                <a16:creationId xmlns:a16="http://schemas.microsoft.com/office/drawing/2014/main" id="{1CF1F7D3-C882-FE23-2EDC-14540148D15B}"/>
              </a:ext>
            </a:extLst>
          </p:cNvPr>
          <p:cNvSpPr/>
          <p:nvPr/>
        </p:nvSpPr>
        <p:spPr>
          <a:xfrm rot="19791701">
            <a:off x="6653248" y="2359469"/>
            <a:ext cx="1613128" cy="859183"/>
          </a:xfrm>
          <a:prstGeom prst="swooshArrow">
            <a:avLst>
              <a:gd name="adj1" fmla="val 25000"/>
              <a:gd name="adj2" fmla="val 25000"/>
            </a:avLst>
          </a:prstGeom>
          <a:gradFill flip="none" rotWithShape="1">
            <a:gsLst>
              <a:gs pos="92718">
                <a:srgbClr val="FF0000"/>
              </a:gs>
              <a:gs pos="34951">
                <a:schemeClr val="tx1"/>
              </a:gs>
              <a:gs pos="43000">
                <a:schemeClr val="tx1"/>
              </a:gs>
              <a:gs pos="60000">
                <a:srgbClr val="FFFF00"/>
              </a:gs>
              <a:gs pos="96000">
                <a:srgbClr val="FFFF00"/>
              </a:gs>
              <a:gs pos="52000">
                <a:srgbClr val="FF0000"/>
              </a:gs>
            </a:gsLst>
            <a:lin ang="13500000" scaled="1"/>
            <a:tileRect/>
          </a:gradFill>
          <a:ln>
            <a:solidFill>
              <a:schemeClr val="tx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 name="Content Placeholder 1">
            <a:extLst>
              <a:ext uri="{FF2B5EF4-FFF2-40B4-BE49-F238E27FC236}">
                <a16:creationId xmlns:a16="http://schemas.microsoft.com/office/drawing/2014/main" id="{25FF5928-C9EB-685C-8854-6D41185CFC6E}"/>
              </a:ext>
            </a:extLst>
          </p:cNvPr>
          <p:cNvSpPr>
            <a:spLocks noGrp="1"/>
          </p:cNvSpPr>
          <p:nvPr>
            <p:ph idx="13"/>
          </p:nvPr>
        </p:nvSpPr>
        <p:spPr>
          <a:xfrm>
            <a:off x="947736" y="2012576"/>
            <a:ext cx="4579005" cy="4463442"/>
          </a:xfrm>
        </p:spPr>
        <p:txBody>
          <a:bodyPr/>
          <a:lstStyle/>
          <a:p>
            <a:pPr>
              <a:spcAft>
                <a:spcPts val="2400"/>
              </a:spcAft>
            </a:pPr>
            <a:r>
              <a:rPr lang="en-US" sz="1600" dirty="0"/>
              <a:t>Realtime data sharing on close-border incidents that may cross over</a:t>
            </a:r>
          </a:p>
          <a:p>
            <a:pPr>
              <a:spcAft>
                <a:spcPts val="2400"/>
              </a:spcAft>
            </a:pPr>
            <a:r>
              <a:rPr lang="en-US" sz="1600" dirty="0"/>
              <a:t>In case of an alert being disseminated in either Germany or in Denmark close to the border area, the alert information will be automatically shared with both CBEs, and the other party can decide whether to create a parallel alert at its own area.</a:t>
            </a:r>
          </a:p>
          <a:p>
            <a:pPr>
              <a:spcAft>
                <a:spcPts val="2400"/>
              </a:spcAft>
            </a:pPr>
            <a:r>
              <a:rPr lang="en-US" sz="1600" dirty="0"/>
              <a:t>In any case, the information kept on our Command Post, allows the system operator to act according to the procedure.  </a:t>
            </a:r>
          </a:p>
          <a:p>
            <a:pPr marL="0" indent="0">
              <a:spcAft>
                <a:spcPts val="2400"/>
              </a:spcAft>
              <a:buNone/>
            </a:pPr>
            <a:endParaRPr lang="en-US" sz="1600" dirty="0"/>
          </a:p>
          <a:p>
            <a:pPr marL="0" indent="0">
              <a:spcAft>
                <a:spcPts val="2400"/>
              </a:spcAft>
              <a:buNone/>
            </a:pPr>
            <a:endParaRPr lang="en-US" sz="1600" dirty="0"/>
          </a:p>
          <a:p>
            <a:pPr marL="0" indent="0">
              <a:spcAft>
                <a:spcPts val="2400"/>
              </a:spcAft>
              <a:buNone/>
            </a:pPr>
            <a:endParaRPr lang="en-US" sz="1600" dirty="0"/>
          </a:p>
          <a:p>
            <a:pPr marL="0" indent="0">
              <a:spcAft>
                <a:spcPts val="2400"/>
              </a:spcAft>
              <a:buNone/>
            </a:pPr>
            <a:r>
              <a:rPr lang="en-US" sz="1600" dirty="0"/>
              <a:t> </a:t>
            </a:r>
          </a:p>
        </p:txBody>
      </p:sp>
      <p:sp>
        <p:nvSpPr>
          <p:cNvPr id="3" name="Content Placeholder 2">
            <a:extLst>
              <a:ext uri="{FF2B5EF4-FFF2-40B4-BE49-F238E27FC236}">
                <a16:creationId xmlns:a16="http://schemas.microsoft.com/office/drawing/2014/main" id="{0F3465EC-B6F0-75A0-EECA-F3E54B2E81D4}"/>
              </a:ext>
            </a:extLst>
          </p:cNvPr>
          <p:cNvSpPr>
            <a:spLocks noGrp="1"/>
          </p:cNvSpPr>
          <p:nvPr>
            <p:ph sz="quarter" idx="14"/>
          </p:nvPr>
        </p:nvSpPr>
        <p:spPr>
          <a:xfrm>
            <a:off x="934289" y="766485"/>
            <a:ext cx="4838982" cy="1098176"/>
          </a:xfrm>
        </p:spPr>
        <p:txBody>
          <a:bodyPr/>
          <a:lstStyle/>
          <a:p>
            <a:r>
              <a:rPr lang="en-US" dirty="0"/>
              <a:t>Unique cooperation with the German Civil Protection and Disaster Assistance – BBK </a:t>
            </a:r>
          </a:p>
        </p:txBody>
      </p:sp>
      <p:pic>
        <p:nvPicPr>
          <p:cNvPr id="1026" name="Picture 2" descr="Storm - Free nature icons">
            <a:extLst>
              <a:ext uri="{FF2B5EF4-FFF2-40B4-BE49-F238E27FC236}">
                <a16:creationId xmlns:a16="http://schemas.microsoft.com/office/drawing/2014/main" id="{608A8178-0286-84A3-42B7-4613014DC9E6}"/>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092452" y="2516841"/>
            <a:ext cx="589430" cy="5894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Storm - Free nature icons">
            <a:extLst>
              <a:ext uri="{FF2B5EF4-FFF2-40B4-BE49-F238E27FC236}">
                <a16:creationId xmlns:a16="http://schemas.microsoft.com/office/drawing/2014/main" id="{54EE0DC6-326B-9A5D-D445-9E81A186B206}"/>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8373034" y="2655794"/>
            <a:ext cx="589430" cy="5894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Storm - Free nature icons">
            <a:extLst>
              <a:ext uri="{FF2B5EF4-FFF2-40B4-BE49-F238E27FC236}">
                <a16:creationId xmlns:a16="http://schemas.microsoft.com/office/drawing/2014/main" id="{B8BF945B-9946-5899-5700-F285C5D6836A}"/>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9180670" y="3127827"/>
            <a:ext cx="589430" cy="58943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Storm - Free nature icons">
            <a:extLst>
              <a:ext uri="{FF2B5EF4-FFF2-40B4-BE49-F238E27FC236}">
                <a16:creationId xmlns:a16="http://schemas.microsoft.com/office/drawing/2014/main" id="{711FD41A-7CD3-43E1-8E0A-F8DB2F143010}"/>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674501" y="2884394"/>
            <a:ext cx="589430" cy="5894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Storm - Free nature icons">
            <a:extLst>
              <a:ext uri="{FF2B5EF4-FFF2-40B4-BE49-F238E27FC236}">
                <a16:creationId xmlns:a16="http://schemas.microsoft.com/office/drawing/2014/main" id="{12F8C4C8-A9C8-F52D-4CF6-6A3CDFD32C74}"/>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8427585" y="3318062"/>
            <a:ext cx="589430" cy="58943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C9582EC-63F0-F0DE-DC3B-3E4931B45FFE}"/>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245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26B73-8CB6-3EA0-6C4E-78ACAACE9A0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C3F07D7-C943-FDC7-1F06-01B27DD18AF4}"/>
              </a:ext>
            </a:extLst>
          </p:cNvPr>
          <p:cNvSpPr>
            <a:spLocks noGrp="1"/>
          </p:cNvSpPr>
          <p:nvPr>
            <p:ph type="title"/>
          </p:nvPr>
        </p:nvSpPr>
        <p:spPr/>
        <p:txBody>
          <a:bodyPr/>
          <a:lstStyle/>
          <a:p>
            <a:r>
              <a:rPr lang="en-US" dirty="0"/>
              <a:t>Agenda</a:t>
            </a:r>
          </a:p>
        </p:txBody>
      </p:sp>
      <p:grpSp>
        <p:nvGrpSpPr>
          <p:cNvPr id="2" name="Group 1">
            <a:extLst>
              <a:ext uri="{FF2B5EF4-FFF2-40B4-BE49-F238E27FC236}">
                <a16:creationId xmlns:a16="http://schemas.microsoft.com/office/drawing/2014/main" id="{16E1EA64-E595-79EB-9961-174CE08C6CEA}"/>
              </a:ext>
            </a:extLst>
          </p:cNvPr>
          <p:cNvGrpSpPr/>
          <p:nvPr/>
        </p:nvGrpSpPr>
        <p:grpSpPr>
          <a:xfrm>
            <a:off x="7983681" y="2255765"/>
            <a:ext cx="4337058" cy="4034527"/>
            <a:chOff x="7983681" y="2255765"/>
            <a:chExt cx="4337058" cy="4034527"/>
          </a:xfrm>
        </p:grpSpPr>
        <p:grpSp>
          <p:nvGrpSpPr>
            <p:cNvPr id="7" name="Group 6">
              <a:extLst>
                <a:ext uri="{FF2B5EF4-FFF2-40B4-BE49-F238E27FC236}">
                  <a16:creationId xmlns:a16="http://schemas.microsoft.com/office/drawing/2014/main" id="{60C2AF57-A40E-66C6-7F06-EB93D11C8C33}"/>
                </a:ext>
              </a:extLst>
            </p:cNvPr>
            <p:cNvGrpSpPr/>
            <p:nvPr/>
          </p:nvGrpSpPr>
          <p:grpSpPr>
            <a:xfrm rot="5400000">
              <a:off x="8134946" y="2104500"/>
              <a:ext cx="4034527" cy="4337058"/>
              <a:chOff x="6342167" y="1451845"/>
              <a:chExt cx="4034527" cy="4337058"/>
            </a:xfrm>
          </p:grpSpPr>
          <p:sp>
            <p:nvSpPr>
              <p:cNvPr id="8" name="Freihandform: Form 7">
                <a:extLst>
                  <a:ext uri="{FF2B5EF4-FFF2-40B4-BE49-F238E27FC236}">
                    <a16:creationId xmlns:a16="http://schemas.microsoft.com/office/drawing/2014/main" id="{87F4499C-9902-8DDC-88E9-E228A6F644F4}"/>
                  </a:ext>
                </a:extLst>
              </p:cNvPr>
              <p:cNvSpPr/>
              <p:nvPr/>
            </p:nvSpPr>
            <p:spPr>
              <a:xfrm rot="18900000">
                <a:off x="7174513" y="1898007"/>
                <a:ext cx="1485491" cy="1485491"/>
              </a:xfrm>
              <a:custGeom>
                <a:avLst/>
                <a:gdLst>
                  <a:gd name="connsiteX0" fmla="*/ 0 w 640073"/>
                  <a:gd name="connsiteY0" fmla="*/ 0 h 640073"/>
                  <a:gd name="connsiteX1" fmla="*/ 640074 w 640073"/>
                  <a:gd name="connsiteY1" fmla="*/ 0 h 640073"/>
                  <a:gd name="connsiteX2" fmla="*/ 640074 w 640073"/>
                  <a:gd name="connsiteY2" fmla="*/ 640074 h 640073"/>
                  <a:gd name="connsiteX3" fmla="*/ 0 w 640073"/>
                  <a:gd name="connsiteY3" fmla="*/ 640074 h 640073"/>
                </a:gdLst>
                <a:ahLst/>
                <a:cxnLst>
                  <a:cxn ang="0">
                    <a:pos x="connsiteX0" y="connsiteY0"/>
                  </a:cxn>
                  <a:cxn ang="0">
                    <a:pos x="connsiteX1" y="connsiteY1"/>
                  </a:cxn>
                  <a:cxn ang="0">
                    <a:pos x="connsiteX2" y="connsiteY2"/>
                  </a:cxn>
                  <a:cxn ang="0">
                    <a:pos x="connsiteX3" y="connsiteY3"/>
                  </a:cxn>
                </a:cxnLst>
                <a:rect l="l" t="t" r="r" b="b"/>
                <a:pathLst>
                  <a:path w="640073" h="640073">
                    <a:moveTo>
                      <a:pt x="0" y="0"/>
                    </a:moveTo>
                    <a:lnTo>
                      <a:pt x="640074" y="0"/>
                    </a:lnTo>
                    <a:lnTo>
                      <a:pt x="640074" y="640074"/>
                    </a:lnTo>
                    <a:lnTo>
                      <a:pt x="0" y="640074"/>
                    </a:lnTo>
                    <a:close/>
                  </a:path>
                </a:pathLst>
              </a:custGeom>
              <a:solidFill>
                <a:srgbClr val="91D3F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 name="Freihandform: Form 8">
                <a:extLst>
                  <a:ext uri="{FF2B5EF4-FFF2-40B4-BE49-F238E27FC236}">
                    <a16:creationId xmlns:a16="http://schemas.microsoft.com/office/drawing/2014/main" id="{BC5172CA-8866-1CBD-0A9E-832B7AFAB074}"/>
                  </a:ext>
                </a:extLst>
              </p:cNvPr>
              <p:cNvSpPr/>
              <p:nvPr/>
            </p:nvSpPr>
            <p:spPr>
              <a:xfrm>
                <a:off x="7826362" y="3757654"/>
                <a:ext cx="856251" cy="853894"/>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2"/>
                  </a:solidFill>
                  <a:effectLst/>
                  <a:uLnTx/>
                  <a:uFillTx/>
                  <a:latin typeface="Roboto"/>
                  <a:ea typeface="+mn-ea"/>
                  <a:cs typeface="+mn-cs"/>
                </a:endParaRPr>
              </a:p>
            </p:txBody>
          </p:sp>
          <p:sp>
            <p:nvSpPr>
              <p:cNvPr id="10" name="Freihandform: Form 9">
                <a:extLst>
                  <a:ext uri="{FF2B5EF4-FFF2-40B4-BE49-F238E27FC236}">
                    <a16:creationId xmlns:a16="http://schemas.microsoft.com/office/drawing/2014/main" id="{BFAE1363-CB1E-EEAD-05FC-32AFBD2CE007}"/>
                  </a:ext>
                </a:extLst>
              </p:cNvPr>
              <p:cNvSpPr/>
              <p:nvPr/>
            </p:nvSpPr>
            <p:spPr>
              <a:xfrm>
                <a:off x="6342167" y="2149269"/>
                <a:ext cx="478962" cy="475744"/>
              </a:xfrm>
              <a:custGeom>
                <a:avLst/>
                <a:gdLst>
                  <a:gd name="connsiteX0" fmla="*/ 354330 w 708659"/>
                  <a:gd name="connsiteY0" fmla="*/ 0 h 703897"/>
                  <a:gd name="connsiteX1" fmla="*/ 0 w 708659"/>
                  <a:gd name="connsiteY1" fmla="*/ 352425 h 703897"/>
                  <a:gd name="connsiteX2" fmla="*/ 354330 w 708659"/>
                  <a:gd name="connsiteY2" fmla="*/ 703898 h 703897"/>
                  <a:gd name="connsiteX3" fmla="*/ 708660 w 708659"/>
                  <a:gd name="connsiteY3" fmla="*/ 352425 h 703897"/>
                </a:gdLst>
                <a:ahLst/>
                <a:cxnLst>
                  <a:cxn ang="0">
                    <a:pos x="connsiteX0" y="connsiteY0"/>
                  </a:cxn>
                  <a:cxn ang="0">
                    <a:pos x="connsiteX1" y="connsiteY1"/>
                  </a:cxn>
                  <a:cxn ang="0">
                    <a:pos x="connsiteX2" y="connsiteY2"/>
                  </a:cxn>
                  <a:cxn ang="0">
                    <a:pos x="connsiteX3" y="connsiteY3"/>
                  </a:cxn>
                </a:cxnLst>
                <a:rect l="l" t="t" r="r" b="b"/>
                <a:pathLst>
                  <a:path w="708659" h="703897">
                    <a:moveTo>
                      <a:pt x="354330" y="0"/>
                    </a:moveTo>
                    <a:lnTo>
                      <a:pt x="0" y="352425"/>
                    </a:lnTo>
                    <a:lnTo>
                      <a:pt x="354330" y="703898"/>
                    </a:lnTo>
                    <a:lnTo>
                      <a:pt x="708660" y="352425"/>
                    </a:lnTo>
                    <a:close/>
                  </a:path>
                </a:pathLst>
              </a:cu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 name="Freihandform: Form 10">
                <a:extLst>
                  <a:ext uri="{FF2B5EF4-FFF2-40B4-BE49-F238E27FC236}">
                    <a16:creationId xmlns:a16="http://schemas.microsoft.com/office/drawing/2014/main" id="{E0372FD5-E664-BF53-7D3C-2B5962E834F0}"/>
                  </a:ext>
                </a:extLst>
              </p:cNvPr>
              <p:cNvSpPr/>
              <p:nvPr/>
            </p:nvSpPr>
            <p:spPr>
              <a:xfrm>
                <a:off x="8999065" y="1451845"/>
                <a:ext cx="1377629" cy="1394846"/>
              </a:xfrm>
              <a:custGeom>
                <a:avLst/>
                <a:gdLst>
                  <a:gd name="connsiteX0" fmla="*/ 114300 w 228600"/>
                  <a:gd name="connsiteY0" fmla="*/ 0 h 231457"/>
                  <a:gd name="connsiteX1" fmla="*/ 0 w 228600"/>
                  <a:gd name="connsiteY1" fmla="*/ 115253 h 231457"/>
                  <a:gd name="connsiteX2" fmla="*/ 114300 w 228600"/>
                  <a:gd name="connsiteY2" fmla="*/ 231458 h 231457"/>
                  <a:gd name="connsiteX3" fmla="*/ 228600 w 228600"/>
                  <a:gd name="connsiteY3" fmla="*/ 115253 h 231457"/>
                </a:gdLst>
                <a:ahLst/>
                <a:cxnLst>
                  <a:cxn ang="0">
                    <a:pos x="connsiteX0" y="connsiteY0"/>
                  </a:cxn>
                  <a:cxn ang="0">
                    <a:pos x="connsiteX1" y="connsiteY1"/>
                  </a:cxn>
                  <a:cxn ang="0">
                    <a:pos x="connsiteX2" y="connsiteY2"/>
                  </a:cxn>
                  <a:cxn ang="0">
                    <a:pos x="connsiteX3" y="connsiteY3"/>
                  </a:cxn>
                </a:cxnLst>
                <a:rect l="l" t="t" r="r" b="b"/>
                <a:pathLst>
                  <a:path w="228600" h="231457">
                    <a:moveTo>
                      <a:pt x="114300" y="0"/>
                    </a:moveTo>
                    <a:lnTo>
                      <a:pt x="0" y="115253"/>
                    </a:lnTo>
                    <a:lnTo>
                      <a:pt x="114300" y="231458"/>
                    </a:lnTo>
                    <a:lnTo>
                      <a:pt x="228600" y="115253"/>
                    </a:lnTo>
                    <a:close/>
                  </a:path>
                </a:pathLst>
              </a:custGeom>
              <a:solidFill>
                <a:srgbClr val="91D3F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 name="Freihandform: Form 11">
                <a:extLst>
                  <a:ext uri="{FF2B5EF4-FFF2-40B4-BE49-F238E27FC236}">
                    <a16:creationId xmlns:a16="http://schemas.microsoft.com/office/drawing/2014/main" id="{66483EA2-1CF5-A537-0BF4-E22AC38FBDA0}"/>
                  </a:ext>
                </a:extLst>
              </p:cNvPr>
              <p:cNvSpPr/>
              <p:nvPr/>
            </p:nvSpPr>
            <p:spPr>
              <a:xfrm rot="18899514">
                <a:off x="7082765" y="1905347"/>
                <a:ext cx="419865" cy="419865"/>
              </a:xfrm>
              <a:custGeom>
                <a:avLst/>
                <a:gdLst>
                  <a:gd name="connsiteX0" fmla="*/ 0 w 339086"/>
                  <a:gd name="connsiteY0" fmla="*/ 0 h 339086"/>
                  <a:gd name="connsiteX1" fmla="*/ 339087 w 339086"/>
                  <a:gd name="connsiteY1" fmla="*/ 0 h 339086"/>
                  <a:gd name="connsiteX2" fmla="*/ 339087 w 339086"/>
                  <a:gd name="connsiteY2" fmla="*/ 339087 h 339086"/>
                  <a:gd name="connsiteX3" fmla="*/ 0 w 339086"/>
                  <a:gd name="connsiteY3" fmla="*/ 339087 h 339086"/>
                </a:gdLst>
                <a:ahLst/>
                <a:cxnLst>
                  <a:cxn ang="0">
                    <a:pos x="connsiteX0" y="connsiteY0"/>
                  </a:cxn>
                  <a:cxn ang="0">
                    <a:pos x="connsiteX1" y="connsiteY1"/>
                  </a:cxn>
                  <a:cxn ang="0">
                    <a:pos x="connsiteX2" y="connsiteY2"/>
                  </a:cxn>
                  <a:cxn ang="0">
                    <a:pos x="connsiteX3" y="connsiteY3"/>
                  </a:cxn>
                </a:cxnLst>
                <a:rect l="l" t="t" r="r" b="b"/>
                <a:pathLst>
                  <a:path w="339086" h="339086">
                    <a:moveTo>
                      <a:pt x="0" y="0"/>
                    </a:moveTo>
                    <a:lnTo>
                      <a:pt x="339087" y="0"/>
                    </a:lnTo>
                    <a:lnTo>
                      <a:pt x="339087" y="339087"/>
                    </a:lnTo>
                    <a:lnTo>
                      <a:pt x="0" y="339087"/>
                    </a:lnTo>
                    <a:close/>
                  </a:path>
                </a:pathLst>
              </a:custGeom>
              <a:solidFill>
                <a:srgbClr val="0091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 name="Freihandform: Form 12">
                <a:extLst>
                  <a:ext uri="{FF2B5EF4-FFF2-40B4-BE49-F238E27FC236}">
                    <a16:creationId xmlns:a16="http://schemas.microsoft.com/office/drawing/2014/main" id="{5A3A480A-A6E5-E73F-C303-73CEE1E0D01B}"/>
                  </a:ext>
                </a:extLst>
              </p:cNvPr>
              <p:cNvSpPr/>
              <p:nvPr/>
            </p:nvSpPr>
            <p:spPr>
              <a:xfrm>
                <a:off x="8309809" y="1586481"/>
                <a:ext cx="359720" cy="363259"/>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91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 name="Freihandform: Form 13">
                <a:extLst>
                  <a:ext uri="{FF2B5EF4-FFF2-40B4-BE49-F238E27FC236}">
                    <a16:creationId xmlns:a16="http://schemas.microsoft.com/office/drawing/2014/main" id="{23A646DC-B05D-B35B-8EE6-F56A2C0D6B5F}"/>
                  </a:ext>
                </a:extLst>
              </p:cNvPr>
              <p:cNvSpPr/>
              <p:nvPr/>
            </p:nvSpPr>
            <p:spPr>
              <a:xfrm>
                <a:off x="8996447" y="2656444"/>
                <a:ext cx="300749" cy="30310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004E8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 name="Freihandform: Form 14">
                <a:extLst>
                  <a:ext uri="{FF2B5EF4-FFF2-40B4-BE49-F238E27FC236}">
                    <a16:creationId xmlns:a16="http://schemas.microsoft.com/office/drawing/2014/main" id="{FA9867E9-E264-CA55-3697-D72E0BA825E3}"/>
                  </a:ext>
                </a:extLst>
              </p:cNvPr>
              <p:cNvSpPr/>
              <p:nvPr/>
            </p:nvSpPr>
            <p:spPr>
              <a:xfrm>
                <a:off x="8735797" y="3273171"/>
                <a:ext cx="300749" cy="303108"/>
              </a:xfrm>
              <a:custGeom>
                <a:avLst/>
                <a:gdLst>
                  <a:gd name="connsiteX0" fmla="*/ 121920 w 242887"/>
                  <a:gd name="connsiteY0" fmla="*/ 244793 h 244792"/>
                  <a:gd name="connsiteX1" fmla="*/ 0 w 242887"/>
                  <a:gd name="connsiteY1" fmla="*/ 121920 h 244792"/>
                  <a:gd name="connsiteX2" fmla="*/ 121920 w 242887"/>
                  <a:gd name="connsiteY2" fmla="*/ 0 h 244792"/>
                  <a:gd name="connsiteX3" fmla="*/ 242888 w 242887"/>
                  <a:gd name="connsiteY3" fmla="*/ 121920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1920" y="244793"/>
                    </a:moveTo>
                    <a:lnTo>
                      <a:pt x="0" y="121920"/>
                    </a:lnTo>
                    <a:lnTo>
                      <a:pt x="121920" y="0"/>
                    </a:lnTo>
                    <a:lnTo>
                      <a:pt x="242888" y="121920"/>
                    </a:lnTo>
                    <a:close/>
                  </a:path>
                </a:pathLst>
              </a:custGeom>
              <a:solidFill>
                <a:schemeClr val="accent4">
                  <a:lumMod val="60000"/>
                  <a:lumOff val="40000"/>
                  <a:alpha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 name="Freihandform: Form 17">
                <a:extLst>
                  <a:ext uri="{FF2B5EF4-FFF2-40B4-BE49-F238E27FC236}">
                    <a16:creationId xmlns:a16="http://schemas.microsoft.com/office/drawing/2014/main" id="{CA4B4BC6-B622-D496-7A5D-DC219D004E9A}"/>
                  </a:ext>
                </a:extLst>
              </p:cNvPr>
              <p:cNvSpPr/>
              <p:nvPr/>
            </p:nvSpPr>
            <p:spPr>
              <a:xfrm>
                <a:off x="6482036" y="3122404"/>
                <a:ext cx="945546" cy="954501"/>
              </a:xfrm>
              <a:custGeom>
                <a:avLst/>
                <a:gdLst>
                  <a:gd name="connsiteX0" fmla="*/ 0 w 502919"/>
                  <a:gd name="connsiteY0" fmla="*/ 254317 h 507682"/>
                  <a:gd name="connsiteX1" fmla="*/ 251460 w 502919"/>
                  <a:gd name="connsiteY1" fmla="*/ 507683 h 507682"/>
                  <a:gd name="connsiteX2" fmla="*/ 502920 w 502919"/>
                  <a:gd name="connsiteY2" fmla="*/ 254317 h 507682"/>
                  <a:gd name="connsiteX3" fmla="*/ 251460 w 502919"/>
                  <a:gd name="connsiteY3" fmla="*/ 0 h 507682"/>
                </a:gdLst>
                <a:ahLst/>
                <a:cxnLst>
                  <a:cxn ang="0">
                    <a:pos x="connsiteX0" y="connsiteY0"/>
                  </a:cxn>
                  <a:cxn ang="0">
                    <a:pos x="connsiteX1" y="connsiteY1"/>
                  </a:cxn>
                  <a:cxn ang="0">
                    <a:pos x="connsiteX2" y="connsiteY2"/>
                  </a:cxn>
                  <a:cxn ang="0">
                    <a:pos x="connsiteX3" y="connsiteY3"/>
                  </a:cxn>
                </a:cxnLst>
                <a:rect l="l" t="t" r="r" b="b"/>
                <a:pathLst>
                  <a:path w="502919" h="507682">
                    <a:moveTo>
                      <a:pt x="0" y="254317"/>
                    </a:moveTo>
                    <a:lnTo>
                      <a:pt x="251460" y="507683"/>
                    </a:lnTo>
                    <a:lnTo>
                      <a:pt x="502920" y="254317"/>
                    </a:lnTo>
                    <a:lnTo>
                      <a:pt x="251460" y="0"/>
                    </a:lnTo>
                    <a:close/>
                  </a:path>
                </a:pathLst>
              </a:custGeom>
              <a:solidFill>
                <a:srgbClr val="00B4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 name="Freihandform: Form 20">
                <a:extLst>
                  <a:ext uri="{FF2B5EF4-FFF2-40B4-BE49-F238E27FC236}">
                    <a16:creationId xmlns:a16="http://schemas.microsoft.com/office/drawing/2014/main" id="{5FF60584-5AD2-F5BF-CB7F-7E463AD19CA9}"/>
                  </a:ext>
                </a:extLst>
              </p:cNvPr>
              <p:cNvSpPr/>
              <p:nvPr/>
            </p:nvSpPr>
            <p:spPr>
              <a:xfrm>
                <a:off x="8492107" y="4134703"/>
                <a:ext cx="1658766" cy="1654200"/>
              </a:xfrm>
              <a:custGeom>
                <a:avLst/>
                <a:gdLst>
                  <a:gd name="connsiteX0" fmla="*/ 345757 w 691514"/>
                  <a:gd name="connsiteY0" fmla="*/ 0 h 689610"/>
                  <a:gd name="connsiteX1" fmla="*/ 0 w 691514"/>
                  <a:gd name="connsiteY1" fmla="*/ 344805 h 689610"/>
                  <a:gd name="connsiteX2" fmla="*/ 345757 w 691514"/>
                  <a:gd name="connsiteY2" fmla="*/ 689610 h 689610"/>
                  <a:gd name="connsiteX3" fmla="*/ 691515 w 691514"/>
                  <a:gd name="connsiteY3" fmla="*/ 344805 h 689610"/>
                </a:gdLst>
                <a:ahLst/>
                <a:cxnLst>
                  <a:cxn ang="0">
                    <a:pos x="connsiteX0" y="connsiteY0"/>
                  </a:cxn>
                  <a:cxn ang="0">
                    <a:pos x="connsiteX1" y="connsiteY1"/>
                  </a:cxn>
                  <a:cxn ang="0">
                    <a:pos x="connsiteX2" y="connsiteY2"/>
                  </a:cxn>
                  <a:cxn ang="0">
                    <a:pos x="connsiteX3" y="connsiteY3"/>
                  </a:cxn>
                </a:cxnLst>
                <a:rect l="l" t="t" r="r" b="b"/>
                <a:pathLst>
                  <a:path w="691514" h="689610">
                    <a:moveTo>
                      <a:pt x="345757" y="0"/>
                    </a:moveTo>
                    <a:lnTo>
                      <a:pt x="0" y="344805"/>
                    </a:lnTo>
                    <a:lnTo>
                      <a:pt x="345757" y="689610"/>
                    </a:lnTo>
                    <a:lnTo>
                      <a:pt x="691515" y="344805"/>
                    </a:lnTo>
                    <a:close/>
                  </a:path>
                </a:pathLst>
              </a:custGeom>
              <a:solidFill>
                <a:srgbClr val="458C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2"/>
                  </a:solidFill>
                  <a:effectLst/>
                  <a:uLnTx/>
                  <a:uFillTx/>
                  <a:latin typeface="Roboto"/>
                  <a:ea typeface="+mn-ea"/>
                  <a:cs typeface="+mn-cs"/>
                </a:endParaRPr>
              </a:p>
            </p:txBody>
          </p:sp>
          <p:sp>
            <p:nvSpPr>
              <p:cNvPr id="18" name="Freihandform: Form 21">
                <a:extLst>
                  <a:ext uri="{FF2B5EF4-FFF2-40B4-BE49-F238E27FC236}">
                    <a16:creationId xmlns:a16="http://schemas.microsoft.com/office/drawing/2014/main" id="{DF4F21AC-4998-B6AE-1024-14D0E8EF65C9}"/>
                  </a:ext>
                </a:extLst>
              </p:cNvPr>
              <p:cNvSpPr/>
              <p:nvPr/>
            </p:nvSpPr>
            <p:spPr>
              <a:xfrm>
                <a:off x="7179388" y="4192541"/>
                <a:ext cx="467570" cy="47123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 name="Freihandform: Form 22">
                <a:extLst>
                  <a:ext uri="{FF2B5EF4-FFF2-40B4-BE49-F238E27FC236}">
                    <a16:creationId xmlns:a16="http://schemas.microsoft.com/office/drawing/2014/main" id="{1C596E32-7119-408C-86D2-29E0664DD1BB}"/>
                  </a:ext>
                </a:extLst>
              </p:cNvPr>
              <p:cNvSpPr/>
              <p:nvPr/>
            </p:nvSpPr>
            <p:spPr>
              <a:xfrm>
                <a:off x="7610673" y="4813386"/>
                <a:ext cx="737274" cy="744527"/>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91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sp>
          <p:nvSpPr>
            <p:cNvPr id="20" name="Diamond 19">
              <a:extLst>
                <a:ext uri="{FF2B5EF4-FFF2-40B4-BE49-F238E27FC236}">
                  <a16:creationId xmlns:a16="http://schemas.microsoft.com/office/drawing/2014/main" id="{0A87CA94-FC84-2C11-4000-E0DE7DA091EA}"/>
                </a:ext>
              </a:extLst>
            </p:cNvPr>
            <p:cNvSpPr/>
            <p:nvPr/>
          </p:nvSpPr>
          <p:spPr>
            <a:xfrm>
              <a:off x="9164837" y="3739959"/>
              <a:ext cx="853895" cy="856252"/>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Diamond 20">
              <a:extLst>
                <a:ext uri="{FF2B5EF4-FFF2-40B4-BE49-F238E27FC236}">
                  <a16:creationId xmlns:a16="http://schemas.microsoft.com/office/drawing/2014/main" id="{CF464D89-0370-83E3-2ACD-36D934238CFF}"/>
                </a:ext>
              </a:extLst>
            </p:cNvPr>
            <p:cNvSpPr/>
            <p:nvPr/>
          </p:nvSpPr>
          <p:spPr>
            <a:xfrm>
              <a:off x="11116140" y="2255766"/>
              <a:ext cx="550044" cy="524689"/>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iamond 21">
              <a:extLst>
                <a:ext uri="{FF2B5EF4-FFF2-40B4-BE49-F238E27FC236}">
                  <a16:creationId xmlns:a16="http://schemas.microsoft.com/office/drawing/2014/main" id="{217ED3B3-0F23-A3F8-AD63-42B858ABD667}"/>
                </a:ext>
              </a:extLst>
            </p:cNvPr>
            <p:cNvSpPr/>
            <p:nvPr/>
          </p:nvSpPr>
          <p:spPr>
            <a:xfrm>
              <a:off x="11809767" y="4192611"/>
              <a:ext cx="435164" cy="426189"/>
            </a:xfrm>
            <a:prstGeom prst="diamond">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feld 6">
            <a:extLst>
              <a:ext uri="{FF2B5EF4-FFF2-40B4-BE49-F238E27FC236}">
                <a16:creationId xmlns:a16="http://schemas.microsoft.com/office/drawing/2014/main" id="{F869FCD5-872B-D701-25C8-3F1F5ACC3651}"/>
              </a:ext>
            </a:extLst>
          </p:cNvPr>
          <p:cNvSpPr txBox="1"/>
          <p:nvPr/>
        </p:nvSpPr>
        <p:spPr>
          <a:xfrm>
            <a:off x="947738" y="939706"/>
            <a:ext cx="6883166" cy="5438682"/>
          </a:xfrm>
          <a:prstGeom prst="rect">
            <a:avLst/>
          </a:prstGeom>
        </p:spPr>
        <p:txBody>
          <a:bodyPr vert="horz" wrap="square" lIns="0" tIns="0" rIns="0" bIns="0" rtlCol="0" anchor="t">
            <a:noAutofit/>
          </a:bodyPr>
          <a:lstStyle/>
          <a:p>
            <a:pPr marL="342900" indent="-342900">
              <a:spcBef>
                <a:spcPts val="600"/>
              </a:spcBef>
              <a:spcAft>
                <a:spcPts val="600"/>
              </a:spcAft>
              <a:buFont typeface="+mj-lt"/>
              <a:buAutoNum type="arabicPeriod"/>
              <a:tabLst>
                <a:tab pos="542925" algn="l"/>
                <a:tab pos="10766425" algn="r"/>
              </a:tabLst>
            </a:pPr>
            <a:r>
              <a:rPr lang="en-US" sz="1800" dirty="0">
                <a:effectLst/>
                <a:latin typeface="+mj-lt"/>
                <a:ea typeface="Times New Roman" panose="02020603050405020304" pitchFamily="18" charset="0"/>
                <a:cs typeface="Aptos" panose="020B0004020202020204" pitchFamily="34" charset="0"/>
              </a:rPr>
              <a:t>Intro to DEMA and Utimaco</a:t>
            </a:r>
          </a:p>
          <a:p>
            <a:pPr marL="342900" indent="-342900">
              <a:spcBef>
                <a:spcPts val="600"/>
              </a:spcBef>
              <a:spcAft>
                <a:spcPts val="600"/>
              </a:spcAft>
              <a:buFont typeface="+mj-lt"/>
              <a:buAutoNum type="arabicPeriod"/>
              <a:tabLst>
                <a:tab pos="542925" algn="l"/>
                <a:tab pos="10766425" algn="r"/>
              </a:tabLst>
            </a:pPr>
            <a:r>
              <a:rPr lang="en-US" sz="1800" dirty="0">
                <a:effectLst/>
                <a:latin typeface="+mj-lt"/>
                <a:ea typeface="Times New Roman" panose="02020603050405020304" pitchFamily="18" charset="0"/>
                <a:cs typeface="Aptos" panose="020B0004020202020204" pitchFamily="34" charset="0"/>
              </a:rPr>
              <a:t>Project objectives and timelines</a:t>
            </a:r>
            <a:endParaRPr lang="de-DE" dirty="0">
              <a:latin typeface="+mj-lt"/>
            </a:endParaRPr>
          </a:p>
          <a:p>
            <a:pPr marL="342900" indent="-342900">
              <a:spcBef>
                <a:spcPts val="600"/>
              </a:spcBef>
              <a:spcAft>
                <a:spcPts val="600"/>
              </a:spcAft>
              <a:buFont typeface="+mj-lt"/>
              <a:buAutoNum type="arabicPeriod"/>
              <a:tabLst>
                <a:tab pos="542925" algn="l"/>
                <a:tab pos="10766425" algn="r"/>
              </a:tabLst>
            </a:pPr>
            <a:r>
              <a:rPr lang="de-DE" dirty="0">
                <a:latin typeface="+mj-lt"/>
              </a:rPr>
              <a:t>Vendor selection process and reasons for selecting Utimaco</a:t>
            </a:r>
          </a:p>
          <a:p>
            <a:pPr marL="342900" indent="-342900">
              <a:spcBef>
                <a:spcPts val="600"/>
              </a:spcBef>
              <a:spcAft>
                <a:spcPts val="600"/>
              </a:spcAft>
              <a:buFont typeface="+mj-lt"/>
              <a:buAutoNum type="arabicPeriod"/>
              <a:tabLst>
                <a:tab pos="542925" algn="l"/>
                <a:tab pos="10766425" algn="r"/>
              </a:tabLst>
            </a:pPr>
            <a:r>
              <a:rPr lang="de-DE" dirty="0">
                <a:latin typeface="+mj-lt"/>
              </a:rPr>
              <a:t>System topology and architecture</a:t>
            </a:r>
          </a:p>
          <a:p>
            <a:pPr marL="342900" marR="0" lvl="0" indent="-342900">
              <a:spcBef>
                <a:spcPts val="600"/>
              </a:spcBef>
              <a:spcAft>
                <a:spcPts val="600"/>
              </a:spcAft>
              <a:buFont typeface="+mj-lt"/>
              <a:buAutoNum type="arabicPeriod"/>
            </a:pPr>
            <a:r>
              <a:rPr lang="en-US" sz="1800" dirty="0">
                <a:effectLst/>
                <a:latin typeface="+mj-lt"/>
                <a:ea typeface="Times New Roman" panose="02020603050405020304" pitchFamily="18" charset="0"/>
                <a:cs typeface="Aptos" panose="020B0004020202020204" pitchFamily="34" charset="0"/>
              </a:rPr>
              <a:t>Cooperation with the MNOs</a:t>
            </a:r>
            <a:endParaRPr lang="he-IL" sz="1800" dirty="0">
              <a:effectLst/>
              <a:latin typeface="+mj-lt"/>
              <a:ea typeface="Times New Roman" panose="02020603050405020304" pitchFamily="18" charset="0"/>
              <a:cs typeface="Aptos" panose="020B0004020202020204" pitchFamily="34" charset="0"/>
            </a:endParaRPr>
          </a:p>
          <a:p>
            <a:pPr marL="342900" marR="0" lvl="0" indent="-342900">
              <a:spcBef>
                <a:spcPts val="600"/>
              </a:spcBef>
              <a:spcAft>
                <a:spcPts val="600"/>
              </a:spcAft>
              <a:buFont typeface="+mj-lt"/>
              <a:buAutoNum type="arabicPeriod"/>
            </a:pPr>
            <a:r>
              <a:rPr lang="en-US" dirty="0">
                <a:latin typeface="+mj-lt"/>
                <a:ea typeface="Aptos" panose="020B0004020202020204" pitchFamily="34" charset="0"/>
                <a:cs typeface="Aptos" panose="020B0004020202020204" pitchFamily="34" charset="0"/>
              </a:rPr>
              <a:t>CAP Customizations</a:t>
            </a:r>
          </a:p>
          <a:p>
            <a:pPr marL="342900" marR="0" lvl="0" indent="-342900">
              <a:spcBef>
                <a:spcPts val="600"/>
              </a:spcBef>
              <a:spcAft>
                <a:spcPts val="600"/>
              </a:spcAft>
              <a:buFont typeface="+mj-lt"/>
              <a:buAutoNum type="arabicPeriod"/>
            </a:pPr>
            <a:r>
              <a:rPr lang="en-US" sz="1800" dirty="0">
                <a:effectLst/>
                <a:latin typeface="+mj-lt"/>
                <a:ea typeface="Aptos" panose="020B0004020202020204" pitchFamily="34" charset="0"/>
                <a:cs typeface="Aptos" panose="020B0004020202020204" pitchFamily="34" charset="0"/>
              </a:rPr>
              <a:t>Working with Apple and Google</a:t>
            </a:r>
          </a:p>
          <a:p>
            <a:pPr marL="342900" indent="-342900">
              <a:spcBef>
                <a:spcPts val="600"/>
              </a:spcBef>
              <a:spcAft>
                <a:spcPts val="600"/>
              </a:spcAft>
              <a:buFont typeface="+mj-lt"/>
              <a:buAutoNum type="arabicPeriod"/>
              <a:tabLst>
                <a:tab pos="542925" algn="l"/>
                <a:tab pos="10766425" algn="r"/>
              </a:tabLst>
            </a:pPr>
            <a:r>
              <a:rPr lang="de-DE" dirty="0">
                <a:latin typeface="+mj-lt"/>
              </a:rPr>
              <a:t>Deployment challenges</a:t>
            </a:r>
          </a:p>
          <a:p>
            <a:pPr marL="342900" indent="-342900">
              <a:spcBef>
                <a:spcPts val="600"/>
              </a:spcBef>
              <a:spcAft>
                <a:spcPts val="600"/>
              </a:spcAft>
              <a:buFont typeface="+mj-lt"/>
              <a:buAutoNum type="arabicPeriod"/>
              <a:tabLst>
                <a:tab pos="542925" algn="l"/>
                <a:tab pos="10766425" algn="r"/>
              </a:tabLst>
            </a:pPr>
            <a:r>
              <a:rPr lang="de-DE" dirty="0">
                <a:latin typeface="+mj-lt"/>
              </a:rPr>
              <a:t>Cooperation with other governments in the region</a:t>
            </a:r>
          </a:p>
          <a:p>
            <a:pPr marL="342900" indent="-342900">
              <a:spcBef>
                <a:spcPts val="600"/>
              </a:spcBef>
              <a:spcAft>
                <a:spcPts val="600"/>
              </a:spcAft>
              <a:buFont typeface="+mj-lt"/>
              <a:buAutoNum type="arabicPeriod"/>
              <a:tabLst>
                <a:tab pos="542925" algn="l"/>
                <a:tab pos="10766425" algn="r"/>
              </a:tabLst>
            </a:pPr>
            <a:r>
              <a:rPr lang="en-US" sz="1800" dirty="0">
                <a:effectLst/>
                <a:latin typeface="+mj-lt"/>
                <a:ea typeface="Times New Roman" panose="02020603050405020304" pitchFamily="18" charset="0"/>
                <a:cs typeface="Aptos" panose="020B0004020202020204" pitchFamily="34" charset="0"/>
              </a:rPr>
              <a:t>System activation post commissioning</a:t>
            </a:r>
            <a:endParaRPr lang="en-US" sz="1800" dirty="0">
              <a:effectLst/>
              <a:latin typeface="+mj-lt"/>
              <a:ea typeface="Aptos" panose="020B0004020202020204" pitchFamily="34" charset="0"/>
              <a:cs typeface="Aptos" panose="020B0004020202020204" pitchFamily="34" charset="0"/>
            </a:endParaRPr>
          </a:p>
          <a:p>
            <a:pPr marL="342900" indent="-342900">
              <a:spcBef>
                <a:spcPts val="600"/>
              </a:spcBef>
              <a:spcAft>
                <a:spcPts val="600"/>
              </a:spcAft>
              <a:buFont typeface="+mj-lt"/>
              <a:buAutoNum type="arabicPeriod"/>
              <a:tabLst>
                <a:tab pos="542925" algn="l"/>
                <a:tab pos="10766425" algn="r"/>
              </a:tabLst>
            </a:pPr>
            <a:r>
              <a:rPr lang="de-DE" dirty="0">
                <a:latin typeface="+mj-lt"/>
              </a:rPr>
              <a:t>Beyond cell broadcast</a:t>
            </a:r>
          </a:p>
          <a:p>
            <a:pPr marL="342900" indent="-342900">
              <a:spcBef>
                <a:spcPts val="600"/>
              </a:spcBef>
              <a:spcAft>
                <a:spcPts val="600"/>
              </a:spcAft>
              <a:buFont typeface="+mj-lt"/>
              <a:buAutoNum type="arabicPeriod"/>
              <a:tabLst>
                <a:tab pos="542925" algn="l"/>
                <a:tab pos="10766425" algn="r"/>
              </a:tabLst>
            </a:pPr>
            <a:r>
              <a:rPr lang="de-DE" dirty="0">
                <a:latin typeface="+mj-lt"/>
              </a:rPr>
              <a:t>Project summary and conclusions</a:t>
            </a:r>
          </a:p>
          <a:p>
            <a:pPr marL="342900" indent="-342900">
              <a:spcBef>
                <a:spcPts val="600"/>
              </a:spcBef>
              <a:spcAft>
                <a:spcPts val="600"/>
              </a:spcAft>
              <a:buFont typeface="+mj-lt"/>
              <a:buAutoNum type="arabicPeriod"/>
              <a:tabLst>
                <a:tab pos="542925" algn="l"/>
                <a:tab pos="10766425" algn="r"/>
              </a:tabLst>
            </a:pPr>
            <a:r>
              <a:rPr lang="de-DE" dirty="0">
                <a:latin typeface="+mj-lt"/>
              </a:rPr>
              <a:t>Q&amp;A</a:t>
            </a:r>
            <a:br>
              <a:rPr lang="de-DE" dirty="0">
                <a:latin typeface="+mj-lt"/>
              </a:rPr>
            </a:br>
            <a:endParaRPr lang="de-DE" dirty="0">
              <a:latin typeface="+mj-lt"/>
            </a:endParaRPr>
          </a:p>
          <a:p>
            <a:pPr>
              <a:spcBef>
                <a:spcPts val="600"/>
              </a:spcBef>
              <a:spcAft>
                <a:spcPts val="600"/>
              </a:spcAft>
            </a:pPr>
            <a:br>
              <a:rPr lang="de-DE" dirty="0">
                <a:latin typeface="+mj-lt"/>
              </a:rPr>
            </a:br>
            <a:br>
              <a:rPr lang="de-DE" dirty="0">
                <a:latin typeface="+mj-lt"/>
              </a:rPr>
            </a:br>
            <a:endParaRPr lang="de-DE" dirty="0">
              <a:latin typeface="+mj-lt"/>
            </a:endParaRPr>
          </a:p>
          <a:p>
            <a:pPr>
              <a:spcBef>
                <a:spcPts val="600"/>
              </a:spcBef>
              <a:spcAft>
                <a:spcPts val="600"/>
              </a:spcAft>
            </a:pPr>
            <a:br>
              <a:rPr lang="de-DE" dirty="0">
                <a:latin typeface="+mj-lt"/>
              </a:rPr>
            </a:br>
            <a:endParaRPr lang="de-DE" dirty="0">
              <a:latin typeface="+mj-lt"/>
            </a:endParaRPr>
          </a:p>
          <a:p>
            <a:pPr marL="514350" indent="-514350">
              <a:spcBef>
                <a:spcPts val="600"/>
              </a:spcBef>
              <a:spcAft>
                <a:spcPts val="600"/>
              </a:spcAft>
              <a:buFont typeface="+mj-lt"/>
              <a:buAutoNum type="arabicPeriod"/>
            </a:pPr>
            <a:endParaRPr lang="de-DE" dirty="0">
              <a:latin typeface="+mj-lt"/>
            </a:endParaRPr>
          </a:p>
          <a:p>
            <a:pPr>
              <a:spcBef>
                <a:spcPts val="600"/>
              </a:spcBef>
              <a:spcAft>
                <a:spcPts val="600"/>
              </a:spcAft>
            </a:pPr>
            <a:br>
              <a:rPr lang="de-DE" dirty="0">
                <a:latin typeface="+mj-lt"/>
              </a:rPr>
            </a:br>
            <a:endParaRPr lang="en-US" dirty="0">
              <a:latin typeface="+mj-lt"/>
            </a:endParaRPr>
          </a:p>
          <a:p>
            <a:pPr marL="514350" indent="-514350">
              <a:spcBef>
                <a:spcPts val="600"/>
              </a:spcBef>
              <a:spcAft>
                <a:spcPts val="600"/>
              </a:spcAft>
              <a:buFontTx/>
              <a:buAutoNum type="arabicPeriod"/>
              <a:tabLst>
                <a:tab pos="542925" algn="l"/>
                <a:tab pos="10766425" algn="r"/>
              </a:tabLst>
            </a:pPr>
            <a:endParaRPr lang="de-DE" dirty="0">
              <a:latin typeface="+mj-lt"/>
            </a:endParaRPr>
          </a:p>
        </p:txBody>
      </p:sp>
      <p:sp>
        <p:nvSpPr>
          <p:cNvPr id="3" name="Rectangle 2">
            <a:extLst>
              <a:ext uri="{FF2B5EF4-FFF2-40B4-BE49-F238E27FC236}">
                <a16:creationId xmlns:a16="http://schemas.microsoft.com/office/drawing/2014/main" id="{CB40F9CC-4984-396E-E3B6-2F375364B80D}"/>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felt 5"/>
          <p:cNvSpPr txBox="1"/>
          <p:nvPr/>
        </p:nvSpPr>
        <p:spPr>
          <a:xfrm>
            <a:off x="4868985" y="406400"/>
            <a:ext cx="2524369" cy="299985"/>
          </a:xfrm>
          <a:prstGeom prst="rect">
            <a:avLst/>
          </a:prstGeom>
          <a:effectLst/>
        </p:spPr>
        <p:txBody>
          <a:bodyPr vert="horz" wrap="square" lIns="0" tIns="0" rIns="0" bIns="0" rtlCol="0">
            <a:noAutofit/>
          </a:bodyPr>
          <a:lstStyle/>
          <a:p>
            <a:pPr algn="l">
              <a:lnSpc>
                <a:spcPct val="100000"/>
              </a:lnSpc>
              <a:spcBef>
                <a:spcPts val="0"/>
              </a:spcBef>
              <a:spcAft>
                <a:spcPts val="600"/>
              </a:spcAft>
            </a:pPr>
            <a:endParaRPr lang="da-DK" sz="1400" dirty="0"/>
          </a:p>
        </p:txBody>
      </p:sp>
    </p:spTree>
    <p:extLst>
      <p:ext uri="{BB962C8B-B14F-4D97-AF65-F5344CB8AC3E}">
        <p14:creationId xmlns:p14="http://schemas.microsoft.com/office/powerpoint/2010/main" val="100144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C02486-C23D-208B-A307-0AE183E9B1F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4DC870-7586-6620-E95E-6FA5D93467B8}"/>
              </a:ext>
            </a:extLst>
          </p:cNvPr>
          <p:cNvSpPr>
            <a:spLocks noGrp="1"/>
          </p:cNvSpPr>
          <p:nvPr>
            <p:ph idx="13"/>
          </p:nvPr>
        </p:nvSpPr>
        <p:spPr>
          <a:xfrm>
            <a:off x="947738" y="945777"/>
            <a:ext cx="7174285" cy="5399462"/>
          </a:xfrm>
        </p:spPr>
        <p:txBody>
          <a:bodyPr/>
          <a:lstStyle/>
          <a:p>
            <a:r>
              <a:rPr lang="en-US" dirty="0"/>
              <a:t>5 operational activations in the past year</a:t>
            </a:r>
          </a:p>
          <a:p>
            <a:pPr lvl="1"/>
            <a:r>
              <a:rPr lang="en-US" dirty="0"/>
              <a:t>1 flooding event</a:t>
            </a:r>
          </a:p>
          <a:p>
            <a:pPr lvl="1"/>
            <a:r>
              <a:rPr lang="en-US" dirty="0"/>
              <a:t>2 large fires in residential areas</a:t>
            </a:r>
          </a:p>
          <a:p>
            <a:pPr lvl="1"/>
            <a:r>
              <a:rPr lang="en-US" dirty="0"/>
              <a:t>2 large fires on garbage ships (month apart in the same city)</a:t>
            </a:r>
          </a:p>
          <a:p>
            <a:pPr lvl="1"/>
            <a:endParaRPr lang="en-US" dirty="0"/>
          </a:p>
          <a:p>
            <a:r>
              <a:rPr lang="en-US" dirty="0"/>
              <a:t>2 nationwide tests as part of the annual national emergency alerting testing day </a:t>
            </a:r>
          </a:p>
        </p:txBody>
      </p:sp>
      <p:sp>
        <p:nvSpPr>
          <p:cNvPr id="4" name="Title 3">
            <a:extLst>
              <a:ext uri="{FF2B5EF4-FFF2-40B4-BE49-F238E27FC236}">
                <a16:creationId xmlns:a16="http://schemas.microsoft.com/office/drawing/2014/main" id="{BAF9ED2C-F718-5472-BB55-D99C688E29DC}"/>
              </a:ext>
            </a:extLst>
          </p:cNvPr>
          <p:cNvSpPr>
            <a:spLocks noGrp="1"/>
          </p:cNvSpPr>
          <p:nvPr>
            <p:ph type="title"/>
          </p:nvPr>
        </p:nvSpPr>
        <p:spPr/>
        <p:txBody>
          <a:bodyPr/>
          <a:lstStyle/>
          <a:p>
            <a:r>
              <a:rPr lang="en-US" dirty="0"/>
              <a:t>System activations post commissioning</a:t>
            </a:r>
          </a:p>
        </p:txBody>
      </p:sp>
      <p:pic>
        <p:nvPicPr>
          <p:cNvPr id="7" name="Picture 6" descr="A screenshot of a phone&#10;&#10;Description automatically generated">
            <a:extLst>
              <a:ext uri="{FF2B5EF4-FFF2-40B4-BE49-F238E27FC236}">
                <a16:creationId xmlns:a16="http://schemas.microsoft.com/office/drawing/2014/main" id="{0DD3D8BF-A50F-64AE-275A-074D8AC15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8497" y="896473"/>
            <a:ext cx="2593154" cy="5606819"/>
          </a:xfrm>
          <a:prstGeom prst="rect">
            <a:avLst/>
          </a:prstGeom>
        </p:spPr>
      </p:pic>
      <p:pic>
        <p:nvPicPr>
          <p:cNvPr id="6146" name="Picture 2" descr="Stench from burning metal-waste ship blows across HK | The Standard">
            <a:extLst>
              <a:ext uri="{FF2B5EF4-FFF2-40B4-BE49-F238E27FC236}">
                <a16:creationId xmlns:a16="http://schemas.microsoft.com/office/drawing/2014/main" id="{5EE4BDAF-5AEA-21F6-86B8-4ED99B0D18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7982" y="3388915"/>
            <a:ext cx="5072278" cy="31143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5238B82-FC71-E5A8-94BB-CE618C060B39}"/>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127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4F3D85-B4D2-2AE1-3846-8A776063348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6D3351-97D0-E3F4-EF07-7F45D193D243}"/>
              </a:ext>
            </a:extLst>
          </p:cNvPr>
          <p:cNvSpPr>
            <a:spLocks noGrp="1"/>
          </p:cNvSpPr>
          <p:nvPr>
            <p:ph idx="13"/>
          </p:nvPr>
        </p:nvSpPr>
        <p:spPr>
          <a:xfrm>
            <a:off x="947737" y="1032450"/>
            <a:ext cx="7602553" cy="5399462"/>
          </a:xfrm>
        </p:spPr>
        <p:txBody>
          <a:bodyPr/>
          <a:lstStyle/>
          <a:p>
            <a:r>
              <a:rPr lang="en-US" sz="1800" dirty="0"/>
              <a:t>As part of our tender, we have requested an option to integrate the CBE with the following additional channels:</a:t>
            </a:r>
          </a:p>
          <a:p>
            <a:pPr lvl="1"/>
            <a:r>
              <a:rPr lang="en-US" sz="1600" dirty="0"/>
              <a:t>Sirens</a:t>
            </a:r>
          </a:p>
          <a:p>
            <a:pPr lvl="1"/>
            <a:r>
              <a:rPr lang="en-US" sz="1600" dirty="0"/>
              <a:t>Automated voice calling</a:t>
            </a:r>
          </a:p>
          <a:p>
            <a:pPr lvl="1"/>
            <a:r>
              <a:rPr lang="en-US" sz="1600" dirty="0"/>
              <a:t>Automated alert sources</a:t>
            </a:r>
          </a:p>
          <a:p>
            <a:pPr lvl="1"/>
            <a:r>
              <a:rPr lang="en-US" sz="1600" dirty="0"/>
              <a:t>SMS Gateway</a:t>
            </a:r>
          </a:p>
          <a:p>
            <a:pPr lvl="1"/>
            <a:r>
              <a:rPr lang="en-US" sz="1600" dirty="0"/>
              <a:t>Google public alert</a:t>
            </a:r>
          </a:p>
          <a:p>
            <a:endParaRPr lang="en-US" sz="1800" dirty="0"/>
          </a:p>
          <a:p>
            <a:r>
              <a:rPr lang="en-US" sz="1800" dirty="0"/>
              <a:t>Since then, priorities have slightly changed, and currently DEMA is working on building a new Siren system. </a:t>
            </a:r>
          </a:p>
          <a:p>
            <a:endParaRPr lang="en-US" sz="1800" dirty="0"/>
          </a:p>
          <a:p>
            <a:r>
              <a:rPr lang="en-US" sz="1800" dirty="0"/>
              <a:t>Also, being considered:</a:t>
            </a:r>
          </a:p>
          <a:p>
            <a:pPr lvl="1"/>
            <a:r>
              <a:rPr lang="en-US" sz="1600" dirty="0"/>
              <a:t>Integration to Galileo</a:t>
            </a:r>
          </a:p>
          <a:p>
            <a:pPr lvl="1"/>
            <a:r>
              <a:rPr lang="en-US" sz="1600" dirty="0"/>
              <a:t>Integration to first responders/emergency apps</a:t>
            </a:r>
            <a:endParaRPr lang="en-US" sz="1800" dirty="0"/>
          </a:p>
          <a:p>
            <a:endParaRPr lang="en-US" sz="1800" dirty="0"/>
          </a:p>
        </p:txBody>
      </p:sp>
      <p:sp>
        <p:nvSpPr>
          <p:cNvPr id="4" name="Title 3">
            <a:extLst>
              <a:ext uri="{FF2B5EF4-FFF2-40B4-BE49-F238E27FC236}">
                <a16:creationId xmlns:a16="http://schemas.microsoft.com/office/drawing/2014/main" id="{AAAB4C26-EACB-F30F-24C7-15016D6D278E}"/>
              </a:ext>
            </a:extLst>
          </p:cNvPr>
          <p:cNvSpPr>
            <a:spLocks noGrp="1"/>
          </p:cNvSpPr>
          <p:nvPr>
            <p:ph type="title"/>
          </p:nvPr>
        </p:nvSpPr>
        <p:spPr/>
        <p:txBody>
          <a:bodyPr/>
          <a:lstStyle/>
          <a:p>
            <a:r>
              <a:rPr lang="en-US" dirty="0"/>
              <a:t>Beyond </a:t>
            </a:r>
            <a:r>
              <a:rPr lang="en-US"/>
              <a:t>cell broadcast</a:t>
            </a:r>
            <a:endParaRPr lang="en-US" dirty="0"/>
          </a:p>
        </p:txBody>
      </p:sp>
      <p:pic>
        <p:nvPicPr>
          <p:cNvPr id="3" name="Grafik 58">
            <a:extLst>
              <a:ext uri="{FF2B5EF4-FFF2-40B4-BE49-F238E27FC236}">
                <a16:creationId xmlns:a16="http://schemas.microsoft.com/office/drawing/2014/main" id="{A1273EC5-5840-386D-2654-7177AAE2D57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243134" y="3681080"/>
            <a:ext cx="543062" cy="543062"/>
          </a:xfrm>
          <a:prstGeom prst="rect">
            <a:avLst/>
          </a:prstGeom>
        </p:spPr>
      </p:pic>
      <p:pic>
        <p:nvPicPr>
          <p:cNvPr id="5" name="Grafik 59">
            <a:extLst>
              <a:ext uri="{FF2B5EF4-FFF2-40B4-BE49-F238E27FC236}">
                <a16:creationId xmlns:a16="http://schemas.microsoft.com/office/drawing/2014/main" id="{673D62B3-935B-A6D7-FB7F-291CF266D49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37691" y="2946294"/>
            <a:ext cx="543062" cy="543062"/>
          </a:xfrm>
          <a:prstGeom prst="rect">
            <a:avLst/>
          </a:prstGeom>
        </p:spPr>
      </p:pic>
      <p:sp>
        <p:nvSpPr>
          <p:cNvPr id="6" name="Grafik 62">
            <a:extLst>
              <a:ext uri="{FF2B5EF4-FFF2-40B4-BE49-F238E27FC236}">
                <a16:creationId xmlns:a16="http://schemas.microsoft.com/office/drawing/2014/main" id="{E91AAA84-3CD6-48AB-33E3-6455BA22943D}"/>
              </a:ext>
            </a:extLst>
          </p:cNvPr>
          <p:cNvSpPr/>
          <p:nvPr/>
        </p:nvSpPr>
        <p:spPr>
          <a:xfrm>
            <a:off x="10121634" y="2024253"/>
            <a:ext cx="609600" cy="609600"/>
          </a:xfrm>
          <a:custGeom>
            <a:avLst/>
            <a:gdLst>
              <a:gd name="connsiteX0" fmla="*/ 571500 w 609600"/>
              <a:gd name="connsiteY0" fmla="*/ 0 h 609600"/>
              <a:gd name="connsiteX1" fmla="*/ 304800 w 609600"/>
              <a:gd name="connsiteY1" fmla="*/ 0 h 609600"/>
              <a:gd name="connsiteX2" fmla="*/ 266700 w 609600"/>
              <a:gd name="connsiteY2" fmla="*/ 38100 h 609600"/>
              <a:gd name="connsiteX3" fmla="*/ 266700 w 609600"/>
              <a:gd name="connsiteY3" fmla="*/ 571500 h 609600"/>
              <a:gd name="connsiteX4" fmla="*/ 304800 w 609600"/>
              <a:gd name="connsiteY4" fmla="*/ 609600 h 609600"/>
              <a:gd name="connsiteX5" fmla="*/ 571500 w 609600"/>
              <a:gd name="connsiteY5" fmla="*/ 609600 h 609600"/>
              <a:gd name="connsiteX6" fmla="*/ 609600 w 609600"/>
              <a:gd name="connsiteY6" fmla="*/ 571500 h 609600"/>
              <a:gd name="connsiteX7" fmla="*/ 609600 w 609600"/>
              <a:gd name="connsiteY7" fmla="*/ 38100 h 609600"/>
              <a:gd name="connsiteX8" fmla="*/ 571500 w 609600"/>
              <a:gd name="connsiteY8" fmla="*/ 0 h 609600"/>
              <a:gd name="connsiteX9" fmla="*/ 285750 w 609600"/>
              <a:gd name="connsiteY9" fmla="*/ 104775 h 609600"/>
              <a:gd name="connsiteX10" fmla="*/ 590550 w 609600"/>
              <a:gd name="connsiteY10" fmla="*/ 104775 h 609600"/>
              <a:gd name="connsiteX11" fmla="*/ 590550 w 609600"/>
              <a:gd name="connsiteY11" fmla="*/ 476250 h 609600"/>
              <a:gd name="connsiteX12" fmla="*/ 285750 w 609600"/>
              <a:gd name="connsiteY12" fmla="*/ 476250 h 609600"/>
              <a:gd name="connsiteX13" fmla="*/ 590550 w 609600"/>
              <a:gd name="connsiteY13" fmla="*/ 571500 h 609600"/>
              <a:gd name="connsiteX14" fmla="*/ 571500 w 609600"/>
              <a:gd name="connsiteY14" fmla="*/ 590550 h 609600"/>
              <a:gd name="connsiteX15" fmla="*/ 304800 w 609600"/>
              <a:gd name="connsiteY15" fmla="*/ 590550 h 609600"/>
              <a:gd name="connsiteX16" fmla="*/ 285750 w 609600"/>
              <a:gd name="connsiteY16" fmla="*/ 571500 h 609600"/>
              <a:gd name="connsiteX17" fmla="*/ 285750 w 609600"/>
              <a:gd name="connsiteY17" fmla="*/ 495300 h 609600"/>
              <a:gd name="connsiteX18" fmla="*/ 590550 w 609600"/>
              <a:gd name="connsiteY18" fmla="*/ 495300 h 609600"/>
              <a:gd name="connsiteX19" fmla="*/ 285750 w 609600"/>
              <a:gd name="connsiteY19" fmla="*/ 85725 h 609600"/>
              <a:gd name="connsiteX20" fmla="*/ 285750 w 609600"/>
              <a:gd name="connsiteY20" fmla="*/ 38100 h 609600"/>
              <a:gd name="connsiteX21" fmla="*/ 304800 w 609600"/>
              <a:gd name="connsiteY21" fmla="*/ 19050 h 609600"/>
              <a:gd name="connsiteX22" fmla="*/ 571500 w 609600"/>
              <a:gd name="connsiteY22" fmla="*/ 19050 h 609600"/>
              <a:gd name="connsiteX23" fmla="*/ 590550 w 609600"/>
              <a:gd name="connsiteY23" fmla="*/ 38100 h 609600"/>
              <a:gd name="connsiteX24" fmla="*/ 590550 w 609600"/>
              <a:gd name="connsiteY24" fmla="*/ 85725 h 609600"/>
              <a:gd name="connsiteX25" fmla="*/ 476250 w 609600"/>
              <a:gd name="connsiteY25" fmla="*/ 52388 h 609600"/>
              <a:gd name="connsiteX26" fmla="*/ 461963 w 609600"/>
              <a:gd name="connsiteY26" fmla="*/ 66675 h 609600"/>
              <a:gd name="connsiteX27" fmla="*/ 414338 w 609600"/>
              <a:gd name="connsiteY27" fmla="*/ 66675 h 609600"/>
              <a:gd name="connsiteX28" fmla="*/ 400050 w 609600"/>
              <a:gd name="connsiteY28" fmla="*/ 52388 h 609600"/>
              <a:gd name="connsiteX29" fmla="*/ 414338 w 609600"/>
              <a:gd name="connsiteY29" fmla="*/ 38100 h 609600"/>
              <a:gd name="connsiteX30" fmla="*/ 461963 w 609600"/>
              <a:gd name="connsiteY30" fmla="*/ 38100 h 609600"/>
              <a:gd name="connsiteX31" fmla="*/ 476250 w 609600"/>
              <a:gd name="connsiteY31" fmla="*/ 52388 h 609600"/>
              <a:gd name="connsiteX32" fmla="*/ 409575 w 609600"/>
              <a:gd name="connsiteY32" fmla="*/ 542925 h 609600"/>
              <a:gd name="connsiteX33" fmla="*/ 438150 w 609600"/>
              <a:gd name="connsiteY33" fmla="*/ 514350 h 609600"/>
              <a:gd name="connsiteX34" fmla="*/ 466725 w 609600"/>
              <a:gd name="connsiteY34" fmla="*/ 542925 h 609600"/>
              <a:gd name="connsiteX35" fmla="*/ 438150 w 609600"/>
              <a:gd name="connsiteY35" fmla="*/ 571500 h 609600"/>
              <a:gd name="connsiteX36" fmla="*/ 409575 w 609600"/>
              <a:gd name="connsiteY36" fmla="*/ 542925 h 609600"/>
              <a:gd name="connsiteX37" fmla="*/ 99822 w 609600"/>
              <a:gd name="connsiteY37" fmla="*/ 83915 h 609600"/>
              <a:gd name="connsiteX38" fmla="*/ 147447 w 609600"/>
              <a:gd name="connsiteY38" fmla="*/ 28575 h 609600"/>
              <a:gd name="connsiteX39" fmla="*/ 99822 w 609600"/>
              <a:gd name="connsiteY39" fmla="*/ 83915 h 609600"/>
              <a:gd name="connsiteX40" fmla="*/ 200025 w 609600"/>
              <a:gd name="connsiteY40" fmla="*/ 204788 h 609600"/>
              <a:gd name="connsiteX41" fmla="*/ 144304 w 609600"/>
              <a:gd name="connsiteY41" fmla="*/ 268510 h 609600"/>
              <a:gd name="connsiteX42" fmla="*/ 104680 w 609600"/>
              <a:gd name="connsiteY42" fmla="*/ 258985 h 609600"/>
              <a:gd name="connsiteX43" fmla="*/ 65342 w 609600"/>
              <a:gd name="connsiteY43" fmla="*/ 268510 h 609600"/>
              <a:gd name="connsiteX44" fmla="*/ 0 w 609600"/>
              <a:gd name="connsiteY44" fmla="*/ 158782 h 609600"/>
              <a:gd name="connsiteX45" fmla="*/ 62008 w 609600"/>
              <a:gd name="connsiteY45" fmla="*/ 87249 h 609600"/>
              <a:gd name="connsiteX46" fmla="*/ 101632 w 609600"/>
              <a:gd name="connsiteY46" fmla="*/ 97727 h 609600"/>
              <a:gd name="connsiteX47" fmla="*/ 147638 w 609600"/>
              <a:gd name="connsiteY47" fmla="*/ 86678 h 609600"/>
              <a:gd name="connsiteX48" fmla="*/ 191643 w 609600"/>
              <a:gd name="connsiteY48" fmla="*/ 110490 h 609600"/>
              <a:gd name="connsiteX49" fmla="*/ 200025 w 609600"/>
              <a:gd name="connsiteY49" fmla="*/ 204788 h 609600"/>
              <a:gd name="connsiteX50" fmla="*/ 198787 w 609600"/>
              <a:gd name="connsiteY50" fmla="*/ 437483 h 609600"/>
              <a:gd name="connsiteX51" fmla="*/ 198787 w 609600"/>
              <a:gd name="connsiteY51" fmla="*/ 497776 h 609600"/>
              <a:gd name="connsiteX52" fmla="*/ 182158 w 609600"/>
              <a:gd name="connsiteY52" fmla="*/ 509723 h 609600"/>
              <a:gd name="connsiteX53" fmla="*/ 170212 w 609600"/>
              <a:gd name="connsiteY53" fmla="*/ 497776 h 609600"/>
              <a:gd name="connsiteX54" fmla="*/ 170212 w 609600"/>
              <a:gd name="connsiteY54" fmla="*/ 437483 h 609600"/>
              <a:gd name="connsiteX55" fmla="*/ 182158 w 609600"/>
              <a:gd name="connsiteY55" fmla="*/ 420855 h 609600"/>
              <a:gd name="connsiteX56" fmla="*/ 198787 w 609600"/>
              <a:gd name="connsiteY56" fmla="*/ 432802 h 609600"/>
              <a:gd name="connsiteX57" fmla="*/ 198787 w 609600"/>
              <a:gd name="connsiteY57" fmla="*/ 437483 h 609600"/>
              <a:gd name="connsiteX58" fmla="*/ 30004 w 609600"/>
              <a:gd name="connsiteY58" fmla="*/ 437483 h 609600"/>
              <a:gd name="connsiteX59" fmla="*/ 30004 w 609600"/>
              <a:gd name="connsiteY59" fmla="*/ 497776 h 609600"/>
              <a:gd name="connsiteX60" fmla="*/ 13375 w 609600"/>
              <a:gd name="connsiteY60" fmla="*/ 509723 h 609600"/>
              <a:gd name="connsiteX61" fmla="*/ 1429 w 609600"/>
              <a:gd name="connsiteY61" fmla="*/ 497776 h 609600"/>
              <a:gd name="connsiteX62" fmla="*/ 1429 w 609600"/>
              <a:gd name="connsiteY62" fmla="*/ 437483 h 609600"/>
              <a:gd name="connsiteX63" fmla="*/ 18057 w 609600"/>
              <a:gd name="connsiteY63" fmla="*/ 425537 h 609600"/>
              <a:gd name="connsiteX64" fmla="*/ 30004 w 609600"/>
              <a:gd name="connsiteY64" fmla="*/ 437483 h 609600"/>
              <a:gd name="connsiteX65" fmla="*/ 40481 w 609600"/>
              <a:gd name="connsiteY65" fmla="*/ 420338 h 609600"/>
              <a:gd name="connsiteX66" fmla="*/ 159544 w 609600"/>
              <a:gd name="connsiteY66" fmla="*/ 420338 h 609600"/>
              <a:gd name="connsiteX67" fmla="*/ 129254 w 609600"/>
              <a:gd name="connsiteY67" fmla="*/ 372713 h 609600"/>
              <a:gd name="connsiteX68" fmla="*/ 141923 w 609600"/>
              <a:gd name="connsiteY68" fmla="*/ 349758 h 609600"/>
              <a:gd name="connsiteX69" fmla="*/ 141206 w 609600"/>
              <a:gd name="connsiteY69" fmla="*/ 347021 h 609600"/>
              <a:gd name="connsiteX70" fmla="*/ 141161 w 609600"/>
              <a:gd name="connsiteY70" fmla="*/ 346996 h 609600"/>
              <a:gd name="connsiteX71" fmla="*/ 140208 w 609600"/>
              <a:gd name="connsiteY71" fmla="*/ 346996 h 609600"/>
              <a:gd name="connsiteX72" fmla="*/ 138398 w 609600"/>
              <a:gd name="connsiteY72" fmla="*/ 348044 h 609600"/>
              <a:gd name="connsiteX73" fmla="*/ 125540 w 609600"/>
              <a:gd name="connsiteY73" fmla="*/ 371475 h 609600"/>
              <a:gd name="connsiteX74" fmla="*/ 74676 w 609600"/>
              <a:gd name="connsiteY74" fmla="*/ 371475 h 609600"/>
              <a:gd name="connsiteX75" fmla="*/ 61817 w 609600"/>
              <a:gd name="connsiteY75" fmla="*/ 348044 h 609600"/>
              <a:gd name="connsiteX76" fmla="*/ 59100 w 609600"/>
              <a:gd name="connsiteY76" fmla="*/ 347256 h 609600"/>
              <a:gd name="connsiteX77" fmla="*/ 59055 w 609600"/>
              <a:gd name="connsiteY77" fmla="*/ 347282 h 609600"/>
              <a:gd name="connsiteX78" fmla="*/ 58198 w 609600"/>
              <a:gd name="connsiteY78" fmla="*/ 350044 h 609600"/>
              <a:gd name="connsiteX79" fmla="*/ 70961 w 609600"/>
              <a:gd name="connsiteY79" fmla="*/ 372999 h 609600"/>
              <a:gd name="connsiteX80" fmla="*/ 40672 w 609600"/>
              <a:gd name="connsiteY80" fmla="*/ 420338 h 609600"/>
              <a:gd name="connsiteX81" fmla="*/ 129731 w 609600"/>
              <a:gd name="connsiteY81" fmla="*/ 385953 h 609600"/>
              <a:gd name="connsiteX82" fmla="*/ 134395 w 609600"/>
              <a:gd name="connsiteY82" fmla="*/ 392052 h 609600"/>
              <a:gd name="connsiteX83" fmla="*/ 129731 w 609600"/>
              <a:gd name="connsiteY83" fmla="*/ 396716 h 609600"/>
              <a:gd name="connsiteX84" fmla="*/ 123632 w 609600"/>
              <a:gd name="connsiteY84" fmla="*/ 392052 h 609600"/>
              <a:gd name="connsiteX85" fmla="*/ 128295 w 609600"/>
              <a:gd name="connsiteY85" fmla="*/ 385953 h 609600"/>
              <a:gd name="connsiteX86" fmla="*/ 129731 w 609600"/>
              <a:gd name="connsiteY86" fmla="*/ 385953 h 609600"/>
              <a:gd name="connsiteX87" fmla="*/ 70104 w 609600"/>
              <a:gd name="connsiteY87" fmla="*/ 385953 h 609600"/>
              <a:gd name="connsiteX88" fmla="*/ 76203 w 609600"/>
              <a:gd name="connsiteY88" fmla="*/ 390617 h 609600"/>
              <a:gd name="connsiteX89" fmla="*/ 71539 w 609600"/>
              <a:gd name="connsiteY89" fmla="*/ 396716 h 609600"/>
              <a:gd name="connsiteX90" fmla="*/ 70104 w 609600"/>
              <a:gd name="connsiteY90" fmla="*/ 396716 h 609600"/>
              <a:gd name="connsiteX91" fmla="*/ 65440 w 609600"/>
              <a:gd name="connsiteY91" fmla="*/ 390617 h 609600"/>
              <a:gd name="connsiteX92" fmla="*/ 70104 w 609600"/>
              <a:gd name="connsiteY92" fmla="*/ 385953 h 609600"/>
              <a:gd name="connsiteX93" fmla="*/ 40672 w 609600"/>
              <a:gd name="connsiteY93" fmla="*/ 425482 h 609600"/>
              <a:gd name="connsiteX94" fmla="*/ 159544 w 609600"/>
              <a:gd name="connsiteY94" fmla="*/ 425482 h 609600"/>
              <a:gd name="connsiteX95" fmla="*/ 159544 w 609600"/>
              <a:gd name="connsiteY95" fmla="*/ 519017 h 609600"/>
              <a:gd name="connsiteX96" fmla="*/ 149066 w 609600"/>
              <a:gd name="connsiteY96" fmla="*/ 529495 h 609600"/>
              <a:gd name="connsiteX97" fmla="*/ 138684 w 609600"/>
              <a:gd name="connsiteY97" fmla="*/ 529495 h 609600"/>
              <a:gd name="connsiteX98" fmla="*/ 138684 w 609600"/>
              <a:gd name="connsiteY98" fmla="*/ 566547 h 609600"/>
              <a:gd name="connsiteX99" fmla="*/ 122055 w 609600"/>
              <a:gd name="connsiteY99" fmla="*/ 578493 h 609600"/>
              <a:gd name="connsiteX100" fmla="*/ 110109 w 609600"/>
              <a:gd name="connsiteY100" fmla="*/ 566547 h 609600"/>
              <a:gd name="connsiteX101" fmla="*/ 110109 w 609600"/>
              <a:gd name="connsiteY101" fmla="*/ 529495 h 609600"/>
              <a:gd name="connsiteX102" fmla="*/ 91059 w 609600"/>
              <a:gd name="connsiteY102" fmla="*/ 529495 h 609600"/>
              <a:gd name="connsiteX103" fmla="*/ 91059 w 609600"/>
              <a:gd name="connsiteY103" fmla="*/ 566547 h 609600"/>
              <a:gd name="connsiteX104" fmla="*/ 74431 w 609600"/>
              <a:gd name="connsiteY104" fmla="*/ 578493 h 609600"/>
              <a:gd name="connsiteX105" fmla="*/ 62484 w 609600"/>
              <a:gd name="connsiteY105" fmla="*/ 566547 h 609600"/>
              <a:gd name="connsiteX106" fmla="*/ 62484 w 609600"/>
              <a:gd name="connsiteY106" fmla="*/ 529495 h 609600"/>
              <a:gd name="connsiteX107" fmla="*/ 51149 w 609600"/>
              <a:gd name="connsiteY107" fmla="*/ 529495 h 609600"/>
              <a:gd name="connsiteX108" fmla="*/ 40672 w 609600"/>
              <a:gd name="connsiteY108" fmla="*/ 519017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09600" h="609600">
                <a:moveTo>
                  <a:pt x="571500" y="0"/>
                </a:moveTo>
                <a:lnTo>
                  <a:pt x="304800" y="0"/>
                </a:lnTo>
                <a:cubicBezTo>
                  <a:pt x="283758" y="0"/>
                  <a:pt x="266700" y="17058"/>
                  <a:pt x="266700" y="38100"/>
                </a:cubicBezTo>
                <a:lnTo>
                  <a:pt x="266700" y="571500"/>
                </a:lnTo>
                <a:cubicBezTo>
                  <a:pt x="266700" y="592542"/>
                  <a:pt x="283758" y="609600"/>
                  <a:pt x="304800" y="609600"/>
                </a:cubicBezTo>
                <a:lnTo>
                  <a:pt x="571500" y="609600"/>
                </a:lnTo>
                <a:cubicBezTo>
                  <a:pt x="592542" y="609600"/>
                  <a:pt x="609600" y="592542"/>
                  <a:pt x="609600" y="571500"/>
                </a:cubicBezTo>
                <a:lnTo>
                  <a:pt x="609600" y="38100"/>
                </a:lnTo>
                <a:cubicBezTo>
                  <a:pt x="609600" y="17058"/>
                  <a:pt x="592542" y="0"/>
                  <a:pt x="571500" y="0"/>
                </a:cubicBezTo>
                <a:close/>
                <a:moveTo>
                  <a:pt x="285750" y="104775"/>
                </a:moveTo>
                <a:lnTo>
                  <a:pt x="590550" y="104775"/>
                </a:lnTo>
                <a:lnTo>
                  <a:pt x="590550" y="476250"/>
                </a:lnTo>
                <a:lnTo>
                  <a:pt x="285750" y="476250"/>
                </a:lnTo>
                <a:close/>
                <a:moveTo>
                  <a:pt x="590550" y="571500"/>
                </a:moveTo>
                <a:cubicBezTo>
                  <a:pt x="590550" y="582021"/>
                  <a:pt x="582021" y="590550"/>
                  <a:pt x="571500" y="590550"/>
                </a:cubicBezTo>
                <a:lnTo>
                  <a:pt x="304800" y="590550"/>
                </a:lnTo>
                <a:cubicBezTo>
                  <a:pt x="294279" y="590550"/>
                  <a:pt x="285750" y="582021"/>
                  <a:pt x="285750" y="571500"/>
                </a:cubicBezTo>
                <a:lnTo>
                  <a:pt x="285750" y="495300"/>
                </a:lnTo>
                <a:lnTo>
                  <a:pt x="590550" y="495300"/>
                </a:lnTo>
                <a:close/>
                <a:moveTo>
                  <a:pt x="285750" y="85725"/>
                </a:moveTo>
                <a:lnTo>
                  <a:pt x="285750" y="38100"/>
                </a:lnTo>
                <a:cubicBezTo>
                  <a:pt x="285750" y="27579"/>
                  <a:pt x="294279" y="19050"/>
                  <a:pt x="304800" y="19050"/>
                </a:cubicBezTo>
                <a:lnTo>
                  <a:pt x="571500" y="19050"/>
                </a:lnTo>
                <a:cubicBezTo>
                  <a:pt x="582021" y="19050"/>
                  <a:pt x="590550" y="27579"/>
                  <a:pt x="590550" y="38100"/>
                </a:cubicBezTo>
                <a:lnTo>
                  <a:pt x="590550" y="85725"/>
                </a:lnTo>
                <a:close/>
                <a:moveTo>
                  <a:pt x="476250" y="52388"/>
                </a:moveTo>
                <a:cubicBezTo>
                  <a:pt x="476250" y="60278"/>
                  <a:pt x="469853" y="66675"/>
                  <a:pt x="461963" y="66675"/>
                </a:cubicBezTo>
                <a:lnTo>
                  <a:pt x="414338" y="66675"/>
                </a:lnTo>
                <a:cubicBezTo>
                  <a:pt x="406447" y="66675"/>
                  <a:pt x="400050" y="60278"/>
                  <a:pt x="400050" y="52388"/>
                </a:cubicBezTo>
                <a:cubicBezTo>
                  <a:pt x="400050" y="44497"/>
                  <a:pt x="406447" y="38100"/>
                  <a:pt x="414338" y="38100"/>
                </a:cubicBezTo>
                <a:lnTo>
                  <a:pt x="461963" y="38100"/>
                </a:lnTo>
                <a:cubicBezTo>
                  <a:pt x="469853" y="38100"/>
                  <a:pt x="476250" y="44497"/>
                  <a:pt x="476250" y="52388"/>
                </a:cubicBezTo>
                <a:close/>
                <a:moveTo>
                  <a:pt x="409575" y="542925"/>
                </a:moveTo>
                <a:cubicBezTo>
                  <a:pt x="409575" y="527143"/>
                  <a:pt x="422368" y="514350"/>
                  <a:pt x="438150" y="514350"/>
                </a:cubicBezTo>
                <a:cubicBezTo>
                  <a:pt x="453932" y="514350"/>
                  <a:pt x="466725" y="527143"/>
                  <a:pt x="466725" y="542925"/>
                </a:cubicBezTo>
                <a:cubicBezTo>
                  <a:pt x="466725" y="558707"/>
                  <a:pt x="453932" y="571500"/>
                  <a:pt x="438150" y="571500"/>
                </a:cubicBezTo>
                <a:cubicBezTo>
                  <a:pt x="422368" y="571500"/>
                  <a:pt x="409575" y="558707"/>
                  <a:pt x="409575" y="542925"/>
                </a:cubicBezTo>
                <a:close/>
                <a:moveTo>
                  <a:pt x="99822" y="83915"/>
                </a:moveTo>
                <a:cubicBezTo>
                  <a:pt x="98510" y="55758"/>
                  <a:pt x="119409" y="31474"/>
                  <a:pt x="147447" y="28575"/>
                </a:cubicBezTo>
                <a:cubicBezTo>
                  <a:pt x="150971" y="57150"/>
                  <a:pt x="125921" y="85725"/>
                  <a:pt x="99822" y="83915"/>
                </a:cubicBezTo>
                <a:close/>
                <a:moveTo>
                  <a:pt x="200025" y="204788"/>
                </a:moveTo>
                <a:cubicBezTo>
                  <a:pt x="192119" y="227648"/>
                  <a:pt x="168593" y="268034"/>
                  <a:pt x="144304" y="268510"/>
                </a:cubicBezTo>
                <a:cubicBezTo>
                  <a:pt x="128207" y="268510"/>
                  <a:pt x="123063" y="258985"/>
                  <a:pt x="104680" y="258985"/>
                </a:cubicBezTo>
                <a:cubicBezTo>
                  <a:pt x="86297" y="258985"/>
                  <a:pt x="80486" y="268510"/>
                  <a:pt x="65342" y="268510"/>
                </a:cubicBezTo>
                <a:cubicBezTo>
                  <a:pt x="39719" y="269748"/>
                  <a:pt x="0" y="210503"/>
                  <a:pt x="0" y="158782"/>
                </a:cubicBezTo>
                <a:cubicBezTo>
                  <a:pt x="0" y="111157"/>
                  <a:pt x="33147" y="87630"/>
                  <a:pt x="62008" y="87249"/>
                </a:cubicBezTo>
                <a:cubicBezTo>
                  <a:pt x="77534" y="87249"/>
                  <a:pt x="92202" y="97727"/>
                  <a:pt x="101632" y="97727"/>
                </a:cubicBezTo>
                <a:cubicBezTo>
                  <a:pt x="111062" y="97727"/>
                  <a:pt x="128969" y="84773"/>
                  <a:pt x="147638" y="86678"/>
                </a:cubicBezTo>
                <a:cubicBezTo>
                  <a:pt x="165238" y="87243"/>
                  <a:pt x="181543" y="96065"/>
                  <a:pt x="191643" y="110490"/>
                </a:cubicBezTo>
                <a:cubicBezTo>
                  <a:pt x="154210" y="134874"/>
                  <a:pt x="160020" y="186023"/>
                  <a:pt x="200025" y="204788"/>
                </a:cubicBezTo>
                <a:close/>
                <a:moveTo>
                  <a:pt x="198787" y="437483"/>
                </a:moveTo>
                <a:lnTo>
                  <a:pt x="198787" y="497776"/>
                </a:lnTo>
                <a:cubicBezTo>
                  <a:pt x="197494" y="505667"/>
                  <a:pt x="190049" y="511016"/>
                  <a:pt x="182158" y="509723"/>
                </a:cubicBezTo>
                <a:cubicBezTo>
                  <a:pt x="176025" y="508718"/>
                  <a:pt x="171217" y="503911"/>
                  <a:pt x="170212" y="497776"/>
                </a:cubicBezTo>
                <a:lnTo>
                  <a:pt x="170212" y="437483"/>
                </a:lnTo>
                <a:cubicBezTo>
                  <a:pt x="168919" y="429593"/>
                  <a:pt x="174267" y="422148"/>
                  <a:pt x="182158" y="420855"/>
                </a:cubicBezTo>
                <a:cubicBezTo>
                  <a:pt x="190049" y="419562"/>
                  <a:pt x="197494" y="424910"/>
                  <a:pt x="198787" y="432802"/>
                </a:cubicBezTo>
                <a:cubicBezTo>
                  <a:pt x="199041" y="434351"/>
                  <a:pt x="199041" y="435933"/>
                  <a:pt x="198787" y="437483"/>
                </a:cubicBezTo>
                <a:close/>
                <a:moveTo>
                  <a:pt x="30004" y="437483"/>
                </a:moveTo>
                <a:lnTo>
                  <a:pt x="30004" y="497776"/>
                </a:lnTo>
                <a:cubicBezTo>
                  <a:pt x="28711" y="505667"/>
                  <a:pt x="21266" y="511016"/>
                  <a:pt x="13375" y="509723"/>
                </a:cubicBezTo>
                <a:cubicBezTo>
                  <a:pt x="7242" y="508718"/>
                  <a:pt x="2434" y="503911"/>
                  <a:pt x="1429" y="497776"/>
                </a:cubicBezTo>
                <a:lnTo>
                  <a:pt x="1429" y="437483"/>
                </a:lnTo>
                <a:cubicBezTo>
                  <a:pt x="2722" y="429593"/>
                  <a:pt x="10166" y="424244"/>
                  <a:pt x="18057" y="425537"/>
                </a:cubicBezTo>
                <a:cubicBezTo>
                  <a:pt x="24191" y="426542"/>
                  <a:pt x="28999" y="431349"/>
                  <a:pt x="30004" y="437483"/>
                </a:cubicBezTo>
                <a:close/>
                <a:moveTo>
                  <a:pt x="40481" y="420338"/>
                </a:moveTo>
                <a:lnTo>
                  <a:pt x="159544" y="420338"/>
                </a:lnTo>
                <a:cubicBezTo>
                  <a:pt x="159228" y="400024"/>
                  <a:pt x="147518" y="381612"/>
                  <a:pt x="129254" y="372713"/>
                </a:cubicBezTo>
                <a:lnTo>
                  <a:pt x="141923" y="349758"/>
                </a:lnTo>
                <a:cubicBezTo>
                  <a:pt x="142481" y="348805"/>
                  <a:pt x="142160" y="347580"/>
                  <a:pt x="141206" y="347021"/>
                </a:cubicBezTo>
                <a:cubicBezTo>
                  <a:pt x="141191" y="347013"/>
                  <a:pt x="141176" y="347004"/>
                  <a:pt x="141161" y="346996"/>
                </a:cubicBezTo>
                <a:cubicBezTo>
                  <a:pt x="140849" y="346911"/>
                  <a:pt x="140519" y="346911"/>
                  <a:pt x="140208" y="346996"/>
                </a:cubicBezTo>
                <a:cubicBezTo>
                  <a:pt x="139456" y="346977"/>
                  <a:pt x="138756" y="347382"/>
                  <a:pt x="138398" y="348044"/>
                </a:cubicBezTo>
                <a:lnTo>
                  <a:pt x="125540" y="371475"/>
                </a:lnTo>
                <a:cubicBezTo>
                  <a:pt x="109303" y="364495"/>
                  <a:pt x="90912" y="364495"/>
                  <a:pt x="74676" y="371475"/>
                </a:cubicBezTo>
                <a:lnTo>
                  <a:pt x="61817" y="348044"/>
                </a:lnTo>
                <a:cubicBezTo>
                  <a:pt x="61285" y="347076"/>
                  <a:pt x="60068" y="346723"/>
                  <a:pt x="59100" y="347256"/>
                </a:cubicBezTo>
                <a:cubicBezTo>
                  <a:pt x="59085" y="347264"/>
                  <a:pt x="59070" y="347273"/>
                  <a:pt x="59055" y="347282"/>
                </a:cubicBezTo>
                <a:cubicBezTo>
                  <a:pt x="58116" y="347856"/>
                  <a:pt x="57749" y="349039"/>
                  <a:pt x="58198" y="350044"/>
                </a:cubicBezTo>
                <a:lnTo>
                  <a:pt x="70961" y="372999"/>
                </a:lnTo>
                <a:cubicBezTo>
                  <a:pt x="52758" y="381818"/>
                  <a:pt x="41051" y="400115"/>
                  <a:pt x="40672" y="420338"/>
                </a:cubicBezTo>
                <a:close/>
                <a:moveTo>
                  <a:pt x="129731" y="385953"/>
                </a:moveTo>
                <a:cubicBezTo>
                  <a:pt x="132702" y="386349"/>
                  <a:pt x="134791" y="389080"/>
                  <a:pt x="134395" y="392052"/>
                </a:cubicBezTo>
                <a:cubicBezTo>
                  <a:pt x="134071" y="394482"/>
                  <a:pt x="132159" y="396392"/>
                  <a:pt x="129731" y="396716"/>
                </a:cubicBezTo>
                <a:cubicBezTo>
                  <a:pt x="126759" y="397113"/>
                  <a:pt x="124028" y="395025"/>
                  <a:pt x="123632" y="392052"/>
                </a:cubicBezTo>
                <a:cubicBezTo>
                  <a:pt x="123235" y="389080"/>
                  <a:pt x="125323" y="386349"/>
                  <a:pt x="128295" y="385953"/>
                </a:cubicBezTo>
                <a:cubicBezTo>
                  <a:pt x="128771" y="385889"/>
                  <a:pt x="129254" y="385889"/>
                  <a:pt x="129731" y="385953"/>
                </a:cubicBezTo>
                <a:close/>
                <a:moveTo>
                  <a:pt x="70104" y="385953"/>
                </a:moveTo>
                <a:cubicBezTo>
                  <a:pt x="73076" y="385557"/>
                  <a:pt x="75807" y="387645"/>
                  <a:pt x="76203" y="390617"/>
                </a:cubicBezTo>
                <a:cubicBezTo>
                  <a:pt x="76599" y="393589"/>
                  <a:pt x="74511" y="396320"/>
                  <a:pt x="71539" y="396716"/>
                </a:cubicBezTo>
                <a:cubicBezTo>
                  <a:pt x="71063" y="396780"/>
                  <a:pt x="70580" y="396780"/>
                  <a:pt x="70104" y="396716"/>
                </a:cubicBezTo>
                <a:cubicBezTo>
                  <a:pt x="67132" y="396320"/>
                  <a:pt x="65044" y="393589"/>
                  <a:pt x="65440" y="390617"/>
                </a:cubicBezTo>
                <a:cubicBezTo>
                  <a:pt x="65764" y="388188"/>
                  <a:pt x="67675" y="386277"/>
                  <a:pt x="70104" y="385953"/>
                </a:cubicBezTo>
                <a:close/>
                <a:moveTo>
                  <a:pt x="40672" y="425482"/>
                </a:moveTo>
                <a:lnTo>
                  <a:pt x="159544" y="425482"/>
                </a:lnTo>
                <a:lnTo>
                  <a:pt x="159544" y="519017"/>
                </a:lnTo>
                <a:cubicBezTo>
                  <a:pt x="159544" y="524804"/>
                  <a:pt x="154853" y="529495"/>
                  <a:pt x="149066" y="529495"/>
                </a:cubicBezTo>
                <a:lnTo>
                  <a:pt x="138684" y="529495"/>
                </a:lnTo>
                <a:lnTo>
                  <a:pt x="138684" y="566547"/>
                </a:lnTo>
                <a:cubicBezTo>
                  <a:pt x="137391" y="574438"/>
                  <a:pt x="129947" y="579787"/>
                  <a:pt x="122055" y="578493"/>
                </a:cubicBezTo>
                <a:cubicBezTo>
                  <a:pt x="115922" y="577488"/>
                  <a:pt x="111114" y="572681"/>
                  <a:pt x="110109" y="566547"/>
                </a:cubicBezTo>
                <a:lnTo>
                  <a:pt x="110109" y="529495"/>
                </a:lnTo>
                <a:lnTo>
                  <a:pt x="91059" y="529495"/>
                </a:lnTo>
                <a:lnTo>
                  <a:pt x="91059" y="566547"/>
                </a:lnTo>
                <a:cubicBezTo>
                  <a:pt x="89766" y="574438"/>
                  <a:pt x="82321" y="579787"/>
                  <a:pt x="74431" y="578493"/>
                </a:cubicBezTo>
                <a:cubicBezTo>
                  <a:pt x="68297" y="577488"/>
                  <a:pt x="63489" y="572681"/>
                  <a:pt x="62484" y="566547"/>
                </a:cubicBezTo>
                <a:lnTo>
                  <a:pt x="62484" y="529495"/>
                </a:lnTo>
                <a:lnTo>
                  <a:pt x="51149" y="529495"/>
                </a:lnTo>
                <a:cubicBezTo>
                  <a:pt x="45363" y="529495"/>
                  <a:pt x="40672" y="524804"/>
                  <a:pt x="40672" y="519017"/>
                </a:cubicBezTo>
                <a:close/>
              </a:path>
            </a:pathLst>
          </a:custGeom>
          <a:solidFill>
            <a:srgbClr val="8A9CA4"/>
          </a:solidFill>
          <a:ln w="9525" cap="flat">
            <a:noFill/>
            <a:prstDash val="solid"/>
            <a:miter/>
          </a:ln>
        </p:spPr>
        <p:txBody>
          <a:bodyPr rtlCol="0" anchor="ctr"/>
          <a:lstStyle/>
          <a:p>
            <a:endParaRPr lang="en-US"/>
          </a:p>
        </p:txBody>
      </p:sp>
      <p:pic>
        <p:nvPicPr>
          <p:cNvPr id="7" name="Picture 6">
            <a:extLst>
              <a:ext uri="{FF2B5EF4-FFF2-40B4-BE49-F238E27FC236}">
                <a16:creationId xmlns:a16="http://schemas.microsoft.com/office/drawing/2014/main" id="{895537CD-51DE-07C6-ADCB-49037703EE9A}"/>
              </a:ext>
            </a:extLst>
          </p:cNvPr>
          <p:cNvPicPr>
            <a:picLocks noChangeAspect="1"/>
          </p:cNvPicPr>
          <p:nvPr/>
        </p:nvPicPr>
        <p:blipFill>
          <a:blip r:embed="rId6"/>
          <a:stretch>
            <a:fillRect/>
          </a:stretch>
        </p:blipFill>
        <p:spPr>
          <a:xfrm>
            <a:off x="10126063" y="1214477"/>
            <a:ext cx="676288" cy="534633"/>
          </a:xfrm>
          <a:prstGeom prst="rect">
            <a:avLst/>
          </a:prstGeom>
        </p:spPr>
      </p:pic>
      <p:sp>
        <p:nvSpPr>
          <p:cNvPr id="8" name="Rectangle 7">
            <a:extLst>
              <a:ext uri="{FF2B5EF4-FFF2-40B4-BE49-F238E27FC236}">
                <a16:creationId xmlns:a16="http://schemas.microsoft.com/office/drawing/2014/main" id="{3645FE12-AEDD-F545-576B-CF6EECFA82EC}"/>
              </a:ext>
            </a:extLst>
          </p:cNvPr>
          <p:cNvSpPr/>
          <p:nvPr/>
        </p:nvSpPr>
        <p:spPr>
          <a:xfrm>
            <a:off x="10061772" y="1076134"/>
            <a:ext cx="783772" cy="609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4" descr="Billboard - Free signs icons">
            <a:extLst>
              <a:ext uri="{FF2B5EF4-FFF2-40B4-BE49-F238E27FC236}">
                <a16:creationId xmlns:a16="http://schemas.microsoft.com/office/drawing/2014/main" id="{921607B4-429B-F197-D2F4-8AE5784F70C1}"/>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0259289" y="4546498"/>
            <a:ext cx="543062" cy="54306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E7E50862-C958-F002-8C46-F6B0BA3A7535}"/>
              </a:ext>
            </a:extLst>
          </p:cNvPr>
          <p:cNvSpPr/>
          <p:nvPr/>
        </p:nvSpPr>
        <p:spPr>
          <a:xfrm>
            <a:off x="10132531" y="4505969"/>
            <a:ext cx="783772" cy="609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44541886-1EAF-F341-FB15-CD413A645AEF}"/>
              </a:ext>
            </a:extLst>
          </p:cNvPr>
          <p:cNvSpPr txBox="1"/>
          <p:nvPr/>
        </p:nvSpPr>
        <p:spPr>
          <a:xfrm>
            <a:off x="10886723" y="2024253"/>
            <a:ext cx="783772" cy="716549"/>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a:t>CB</a:t>
            </a:r>
          </a:p>
          <a:p>
            <a:pPr algn="l">
              <a:lnSpc>
                <a:spcPct val="100000"/>
              </a:lnSpc>
              <a:spcBef>
                <a:spcPts val="0"/>
              </a:spcBef>
              <a:spcAft>
                <a:spcPts val="300"/>
              </a:spcAft>
            </a:pPr>
            <a:r>
              <a:rPr lang="en-US" sz="1200"/>
              <a:t>LB-SMS</a:t>
            </a:r>
          </a:p>
          <a:p>
            <a:pPr algn="l">
              <a:lnSpc>
                <a:spcPct val="100000"/>
              </a:lnSpc>
              <a:spcBef>
                <a:spcPts val="0"/>
              </a:spcBef>
              <a:spcAft>
                <a:spcPts val="300"/>
              </a:spcAft>
            </a:pPr>
            <a:r>
              <a:rPr lang="en-US" sz="1200"/>
              <a:t>App</a:t>
            </a:r>
          </a:p>
        </p:txBody>
      </p:sp>
      <p:sp>
        <p:nvSpPr>
          <p:cNvPr id="12" name="TextBox 11">
            <a:extLst>
              <a:ext uri="{FF2B5EF4-FFF2-40B4-BE49-F238E27FC236}">
                <a16:creationId xmlns:a16="http://schemas.microsoft.com/office/drawing/2014/main" id="{BAF2B4D7-FB85-91DC-BBDC-5FFAFE4B13BB}"/>
              </a:ext>
            </a:extLst>
          </p:cNvPr>
          <p:cNvSpPr txBox="1"/>
          <p:nvPr/>
        </p:nvSpPr>
        <p:spPr>
          <a:xfrm>
            <a:off x="10886722" y="1393941"/>
            <a:ext cx="783772" cy="225754"/>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a:t>Sirens</a:t>
            </a:r>
          </a:p>
        </p:txBody>
      </p:sp>
      <p:sp>
        <p:nvSpPr>
          <p:cNvPr id="13" name="TextBox 12">
            <a:extLst>
              <a:ext uri="{FF2B5EF4-FFF2-40B4-BE49-F238E27FC236}">
                <a16:creationId xmlns:a16="http://schemas.microsoft.com/office/drawing/2014/main" id="{99AB5217-FE83-B6CB-9877-B04982468AAF}"/>
              </a:ext>
            </a:extLst>
          </p:cNvPr>
          <p:cNvSpPr txBox="1"/>
          <p:nvPr/>
        </p:nvSpPr>
        <p:spPr>
          <a:xfrm>
            <a:off x="10886722" y="3053107"/>
            <a:ext cx="783772" cy="225754"/>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a:t>TV</a:t>
            </a:r>
          </a:p>
        </p:txBody>
      </p:sp>
      <p:sp>
        <p:nvSpPr>
          <p:cNvPr id="14" name="TextBox 13">
            <a:extLst>
              <a:ext uri="{FF2B5EF4-FFF2-40B4-BE49-F238E27FC236}">
                <a16:creationId xmlns:a16="http://schemas.microsoft.com/office/drawing/2014/main" id="{733956BA-B8E8-7038-B9C8-EA6BCFA7953B}"/>
              </a:ext>
            </a:extLst>
          </p:cNvPr>
          <p:cNvSpPr txBox="1"/>
          <p:nvPr/>
        </p:nvSpPr>
        <p:spPr>
          <a:xfrm>
            <a:off x="10886722" y="3898999"/>
            <a:ext cx="783772" cy="225754"/>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a:t>Radio</a:t>
            </a:r>
          </a:p>
        </p:txBody>
      </p:sp>
      <p:sp>
        <p:nvSpPr>
          <p:cNvPr id="15" name="TextBox 14">
            <a:extLst>
              <a:ext uri="{FF2B5EF4-FFF2-40B4-BE49-F238E27FC236}">
                <a16:creationId xmlns:a16="http://schemas.microsoft.com/office/drawing/2014/main" id="{25E096BC-B745-2E5A-2C72-A10EA230750C}"/>
              </a:ext>
            </a:extLst>
          </p:cNvPr>
          <p:cNvSpPr txBox="1"/>
          <p:nvPr/>
        </p:nvSpPr>
        <p:spPr>
          <a:xfrm>
            <a:off x="10886722" y="4632014"/>
            <a:ext cx="783772" cy="225754"/>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dirty="0"/>
              <a:t>billboards</a:t>
            </a:r>
          </a:p>
        </p:txBody>
      </p:sp>
      <p:pic>
        <p:nvPicPr>
          <p:cNvPr id="18" name="Picture 2" descr="satellite icon">
            <a:extLst>
              <a:ext uri="{FF2B5EF4-FFF2-40B4-BE49-F238E27FC236}">
                <a16:creationId xmlns:a16="http://schemas.microsoft.com/office/drawing/2014/main" id="{56C9F119-9B69-D683-FEE5-0FA0460A240D}"/>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10289253" y="5391942"/>
            <a:ext cx="556291" cy="55629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C1C95CD-68EE-8B7F-D75E-6D76EF6AD033}"/>
              </a:ext>
            </a:extLst>
          </p:cNvPr>
          <p:cNvSpPr txBox="1"/>
          <p:nvPr/>
        </p:nvSpPr>
        <p:spPr>
          <a:xfrm>
            <a:off x="10886722" y="5548394"/>
            <a:ext cx="1143488" cy="225754"/>
          </a:xfrm>
          <a:prstGeom prst="rect">
            <a:avLst/>
          </a:prstGeom>
          <a:effectLst/>
        </p:spPr>
        <p:txBody>
          <a:bodyPr vert="horz" wrap="none" lIns="0" tIns="0" rIns="0" bIns="0" rtlCol="0">
            <a:noAutofit/>
          </a:bodyPr>
          <a:lstStyle/>
          <a:p>
            <a:pPr algn="l">
              <a:lnSpc>
                <a:spcPct val="100000"/>
              </a:lnSpc>
              <a:spcBef>
                <a:spcPts val="0"/>
              </a:spcBef>
              <a:spcAft>
                <a:spcPts val="300"/>
              </a:spcAft>
            </a:pPr>
            <a:r>
              <a:rPr lang="en-US" sz="1200" dirty="0"/>
              <a:t>Galileo EWSS</a:t>
            </a:r>
          </a:p>
        </p:txBody>
      </p:sp>
      <p:grpSp>
        <p:nvGrpSpPr>
          <p:cNvPr id="20" name="Group 19">
            <a:extLst>
              <a:ext uri="{FF2B5EF4-FFF2-40B4-BE49-F238E27FC236}">
                <a16:creationId xmlns:a16="http://schemas.microsoft.com/office/drawing/2014/main" id="{03844AED-90FD-0443-3362-F1F60B4DDEAD}"/>
              </a:ext>
            </a:extLst>
          </p:cNvPr>
          <p:cNvGrpSpPr/>
          <p:nvPr/>
        </p:nvGrpSpPr>
        <p:grpSpPr>
          <a:xfrm>
            <a:off x="8745888" y="3101814"/>
            <a:ext cx="914400" cy="899357"/>
            <a:chOff x="5645427" y="5676581"/>
            <a:chExt cx="914400" cy="899357"/>
          </a:xfrm>
        </p:grpSpPr>
        <p:pic>
          <p:nvPicPr>
            <p:cNvPr id="21" name="Grafik 20">
              <a:extLst>
                <a:ext uri="{FF2B5EF4-FFF2-40B4-BE49-F238E27FC236}">
                  <a16:creationId xmlns:a16="http://schemas.microsoft.com/office/drawing/2014/main" id="{4A2C384D-DC34-8581-63F0-7E1CE844D08D}"/>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91200" y="5676581"/>
              <a:ext cx="609600" cy="609600"/>
            </a:xfrm>
            <a:prstGeom prst="rect">
              <a:avLst/>
            </a:prstGeom>
          </p:spPr>
        </p:pic>
        <p:sp>
          <p:nvSpPr>
            <p:cNvPr id="22" name="TextBox 21">
              <a:extLst>
                <a:ext uri="{FF2B5EF4-FFF2-40B4-BE49-F238E27FC236}">
                  <a16:creationId xmlns:a16="http://schemas.microsoft.com/office/drawing/2014/main" id="{C8342AC2-8465-EF14-E1F9-33DE63647E3A}"/>
                </a:ext>
              </a:extLst>
            </p:cNvPr>
            <p:cNvSpPr txBox="1"/>
            <p:nvPr/>
          </p:nvSpPr>
          <p:spPr>
            <a:xfrm>
              <a:off x="5645427" y="6337838"/>
              <a:ext cx="914400" cy="238100"/>
            </a:xfrm>
            <a:prstGeom prst="rect">
              <a:avLst/>
            </a:prstGeom>
            <a:effectLst/>
          </p:spPr>
          <p:txBody>
            <a:bodyPr vert="horz" wrap="none" lIns="0" tIns="0" rIns="0" bIns="0" rtlCol="0">
              <a:noAutofit/>
            </a:bodyPr>
            <a:lstStyle/>
            <a:p>
              <a:pPr algn="ctr">
                <a:lnSpc>
                  <a:spcPct val="100000"/>
                </a:lnSpc>
                <a:spcBef>
                  <a:spcPts val="0"/>
                </a:spcBef>
              </a:pPr>
              <a:r>
                <a:rPr lang="en-US" sz="1400" dirty="0">
                  <a:solidFill>
                    <a:schemeClr val="accent2"/>
                  </a:solidFill>
                </a:rPr>
                <a:t>u.Warn</a:t>
              </a:r>
            </a:p>
            <a:p>
              <a:pPr algn="ctr">
                <a:lnSpc>
                  <a:spcPct val="100000"/>
                </a:lnSpc>
                <a:spcBef>
                  <a:spcPts val="0"/>
                </a:spcBef>
              </a:pPr>
              <a:r>
                <a:rPr lang="en-US" sz="1400" dirty="0">
                  <a:solidFill>
                    <a:schemeClr val="accent2"/>
                  </a:solidFill>
                </a:rPr>
                <a:t>Utimaco PWS</a:t>
              </a:r>
            </a:p>
          </p:txBody>
        </p:sp>
      </p:grpSp>
      <p:cxnSp>
        <p:nvCxnSpPr>
          <p:cNvPr id="24" name="Straight Connector 23">
            <a:extLst>
              <a:ext uri="{FF2B5EF4-FFF2-40B4-BE49-F238E27FC236}">
                <a16:creationId xmlns:a16="http://schemas.microsoft.com/office/drawing/2014/main" id="{6B82E85E-0319-2FEB-9182-EF29EF1A9177}"/>
              </a:ext>
            </a:extLst>
          </p:cNvPr>
          <p:cNvCxnSpPr>
            <a:cxnSpLocks/>
          </p:cNvCxnSpPr>
          <p:nvPr/>
        </p:nvCxnSpPr>
        <p:spPr>
          <a:xfrm flipV="1">
            <a:off x="9196461" y="1178753"/>
            <a:ext cx="0" cy="1767541"/>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8C90877-7C0F-5D9F-539E-F15AD696667E}"/>
              </a:ext>
            </a:extLst>
          </p:cNvPr>
          <p:cNvCxnSpPr>
            <a:cxnSpLocks/>
          </p:cNvCxnSpPr>
          <p:nvPr/>
        </p:nvCxnSpPr>
        <p:spPr>
          <a:xfrm flipV="1">
            <a:off x="9196461" y="4303059"/>
            <a:ext cx="0" cy="1726583"/>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CE82FAE-0EC0-24D5-94E9-1553C69C9CFE}"/>
              </a:ext>
            </a:extLst>
          </p:cNvPr>
          <p:cNvCxnSpPr>
            <a:cxnSpLocks/>
          </p:cNvCxnSpPr>
          <p:nvPr/>
        </p:nvCxnSpPr>
        <p:spPr>
          <a:xfrm>
            <a:off x="9191979" y="6029642"/>
            <a:ext cx="686017"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650E348-71B4-7FA5-73E6-9493542A02EE}"/>
              </a:ext>
            </a:extLst>
          </p:cNvPr>
          <p:cNvCxnSpPr>
            <a:cxnSpLocks/>
          </p:cNvCxnSpPr>
          <p:nvPr/>
        </p:nvCxnSpPr>
        <p:spPr>
          <a:xfrm>
            <a:off x="9191979" y="1178753"/>
            <a:ext cx="686017" cy="0"/>
          </a:xfrm>
          <a:prstGeom prst="line">
            <a:avLst/>
          </a:prstGeom>
          <a:ln w="22225"/>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48D1B37-4313-4975-24C1-228FB1FC905B}"/>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6447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A3ACB-2B3F-9CA4-BF13-40B213BC548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BDFA1-97BB-83E5-5E80-ED7D7B3B030E}"/>
              </a:ext>
            </a:extLst>
          </p:cNvPr>
          <p:cNvSpPr>
            <a:spLocks noGrp="1"/>
          </p:cNvSpPr>
          <p:nvPr>
            <p:ph idx="13"/>
          </p:nvPr>
        </p:nvSpPr>
        <p:spPr>
          <a:xfrm>
            <a:off x="947738" y="945777"/>
            <a:ext cx="10800509" cy="5399462"/>
          </a:xfrm>
        </p:spPr>
        <p:txBody>
          <a:bodyPr/>
          <a:lstStyle/>
          <a:p>
            <a:pPr>
              <a:spcAft>
                <a:spcPts val="1200"/>
              </a:spcAft>
            </a:pPr>
            <a:r>
              <a:rPr lang="en-US" dirty="0"/>
              <a:t>Project ended on time on budget.</a:t>
            </a:r>
          </a:p>
          <a:p>
            <a:pPr>
              <a:spcAft>
                <a:spcPts val="1200"/>
              </a:spcAft>
            </a:pPr>
            <a:r>
              <a:rPr lang="en-US" dirty="0"/>
              <a:t>Vendor selection is crucial </a:t>
            </a:r>
          </a:p>
          <a:p>
            <a:pPr>
              <a:spcAft>
                <a:spcPts val="1200"/>
              </a:spcAft>
            </a:pPr>
            <a:r>
              <a:rPr lang="en-US" dirty="0"/>
              <a:t>Once selecting a vendor, establish a long-term partnership</a:t>
            </a:r>
          </a:p>
          <a:p>
            <a:pPr>
              <a:spcAft>
                <a:spcPts val="1200"/>
              </a:spcAft>
            </a:pPr>
            <a:r>
              <a:rPr lang="en-US" dirty="0"/>
              <a:t>MNOs must be involved from the very beginning </a:t>
            </a:r>
          </a:p>
          <a:p>
            <a:pPr>
              <a:spcAft>
                <a:spcPts val="1200"/>
              </a:spcAft>
            </a:pPr>
            <a:r>
              <a:rPr lang="en-US" dirty="0"/>
              <a:t>Post deployment, we have decided to let Utimaco to run the service end-to-end for us</a:t>
            </a:r>
          </a:p>
          <a:p>
            <a:pPr lvl="1">
              <a:spcAft>
                <a:spcPts val="1200"/>
              </a:spcAft>
            </a:pPr>
            <a:r>
              <a:rPr lang="en-US" dirty="0"/>
              <a:t>Day-to-day communication with all MNOs, also those with other CBC vendors</a:t>
            </a:r>
          </a:p>
          <a:p>
            <a:pPr lvl="1">
              <a:spcAft>
                <a:spcPts val="1200"/>
              </a:spcAft>
            </a:pPr>
            <a:r>
              <a:rPr lang="en-US" dirty="0"/>
              <a:t>System 24x7 monitoring and support</a:t>
            </a:r>
          </a:p>
          <a:p>
            <a:pPr lvl="1">
              <a:spcAft>
                <a:spcPts val="1200"/>
              </a:spcAft>
            </a:pPr>
            <a:r>
              <a:rPr lang="en-US" dirty="0"/>
              <a:t>Fault analysis and correction responsibility</a:t>
            </a:r>
          </a:p>
          <a:p>
            <a:pPr lvl="1">
              <a:spcAft>
                <a:spcPts val="1200"/>
              </a:spcAft>
            </a:pPr>
            <a:r>
              <a:rPr lang="en-US" dirty="0"/>
              <a:t>Periodical reporting </a:t>
            </a:r>
          </a:p>
          <a:p>
            <a:pPr lvl="1">
              <a:spcAft>
                <a:spcPts val="1200"/>
              </a:spcAft>
            </a:pPr>
            <a:r>
              <a:rPr lang="en-US" dirty="0"/>
              <a:t>Monthly review meetings</a:t>
            </a:r>
          </a:p>
          <a:p>
            <a:pPr lvl="1">
              <a:spcAft>
                <a:spcPts val="1200"/>
              </a:spcAft>
            </a:pPr>
            <a:r>
              <a:rPr lang="en-US" dirty="0"/>
              <a:t>Maintain recent versions for all SW packages, including 3</a:t>
            </a:r>
            <a:r>
              <a:rPr lang="en-US" baseline="30000" dirty="0"/>
              <a:t>rd</a:t>
            </a:r>
            <a:r>
              <a:rPr lang="en-US" dirty="0"/>
              <a:t> parties</a:t>
            </a:r>
          </a:p>
          <a:p>
            <a:pPr marL="457200" lvl="1" indent="0">
              <a:spcAft>
                <a:spcPts val="1200"/>
              </a:spcAft>
              <a:buNone/>
            </a:pPr>
            <a:endParaRPr lang="en-US" strike="sngStrike" dirty="0">
              <a:solidFill>
                <a:srgbClr val="FF0000"/>
              </a:solidFill>
            </a:endParaRPr>
          </a:p>
          <a:p>
            <a:pPr lvl="1">
              <a:spcAft>
                <a:spcPts val="1200"/>
              </a:spcAft>
            </a:pPr>
            <a:endParaRPr lang="en-US" dirty="0"/>
          </a:p>
          <a:p>
            <a:pPr>
              <a:spcAft>
                <a:spcPts val="1200"/>
              </a:spcAft>
            </a:pPr>
            <a:endParaRPr lang="en-US" dirty="0"/>
          </a:p>
        </p:txBody>
      </p:sp>
      <p:sp>
        <p:nvSpPr>
          <p:cNvPr id="4" name="Title 3">
            <a:extLst>
              <a:ext uri="{FF2B5EF4-FFF2-40B4-BE49-F238E27FC236}">
                <a16:creationId xmlns:a16="http://schemas.microsoft.com/office/drawing/2014/main" id="{D632C0EC-A491-25DD-6C64-908F5C18FD52}"/>
              </a:ext>
            </a:extLst>
          </p:cNvPr>
          <p:cNvSpPr>
            <a:spLocks noGrp="1"/>
          </p:cNvSpPr>
          <p:nvPr>
            <p:ph type="title"/>
          </p:nvPr>
        </p:nvSpPr>
        <p:spPr/>
        <p:txBody>
          <a:bodyPr/>
          <a:lstStyle/>
          <a:p>
            <a:r>
              <a:rPr lang="en-US" dirty="0"/>
              <a:t>Project summary and conclusions</a:t>
            </a:r>
          </a:p>
        </p:txBody>
      </p:sp>
      <p:sp>
        <p:nvSpPr>
          <p:cNvPr id="3" name="Rectangle 2">
            <a:extLst>
              <a:ext uri="{FF2B5EF4-FFF2-40B4-BE49-F238E27FC236}">
                <a16:creationId xmlns:a16="http://schemas.microsoft.com/office/drawing/2014/main" id="{77D4C45E-EBB2-E53A-5BB6-CCDC4025E45C}"/>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221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DB8B11-5445-BDB7-F7FC-D1AA1343AC8C}"/>
              </a:ext>
            </a:extLst>
          </p:cNvPr>
          <p:cNvSpPr/>
          <p:nvPr/>
        </p:nvSpPr>
        <p:spPr>
          <a:xfrm>
            <a:off x="5729084" y="3302241"/>
            <a:ext cx="5815758" cy="801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8AEDC62-11DC-F4F0-5EC7-CC4147C87C7D}"/>
              </a:ext>
            </a:extLst>
          </p:cNvPr>
          <p:cNvSpPr/>
          <p:nvPr/>
        </p:nvSpPr>
        <p:spPr>
          <a:xfrm>
            <a:off x="0" y="4609749"/>
            <a:ext cx="12192000" cy="2248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66FB670-882E-44D9-1FEE-9FB4267F67B0}"/>
              </a:ext>
            </a:extLst>
          </p:cNvPr>
          <p:cNvSpPr txBox="1"/>
          <p:nvPr/>
        </p:nvSpPr>
        <p:spPr>
          <a:xfrm>
            <a:off x="7075623" y="4432934"/>
            <a:ext cx="2015148" cy="914400"/>
          </a:xfrm>
          <a:prstGeom prst="rect">
            <a:avLst/>
          </a:prstGeom>
          <a:effectLst/>
        </p:spPr>
        <p:txBody>
          <a:bodyPr vert="horz" wrap="none" lIns="0" tIns="0" rIns="0" bIns="0" rtlCol="0">
            <a:noAutofit/>
          </a:bodyPr>
          <a:lstStyle/>
          <a:p>
            <a:pPr algn="l">
              <a:lnSpc>
                <a:spcPct val="100000"/>
              </a:lnSpc>
              <a:spcBef>
                <a:spcPts val="0"/>
              </a:spcBef>
            </a:pPr>
            <a:r>
              <a:rPr lang="en-US" sz="1200" dirty="0">
                <a:solidFill>
                  <a:schemeClr val="accent2"/>
                </a:solidFill>
              </a:rPr>
              <a:t>Bjarne </a:t>
            </a:r>
            <a:r>
              <a:rPr lang="en-GB" sz="1200" dirty="0">
                <a:solidFill>
                  <a:schemeClr val="accent2"/>
                </a:solidFill>
              </a:rPr>
              <a:t>Siewertsen</a:t>
            </a:r>
            <a:endParaRPr lang="en-US" sz="1200" dirty="0">
              <a:solidFill>
                <a:schemeClr val="accent2"/>
              </a:solidFill>
            </a:endParaRPr>
          </a:p>
          <a:p>
            <a:pPr algn="l">
              <a:lnSpc>
                <a:spcPct val="100000"/>
              </a:lnSpc>
              <a:spcBef>
                <a:spcPts val="0"/>
              </a:spcBef>
            </a:pPr>
            <a:r>
              <a:rPr lang="en-US" sz="1200" dirty="0">
                <a:solidFill>
                  <a:schemeClr val="accent2"/>
                </a:solidFill>
              </a:rPr>
              <a:t>brs-bja@brs.dk</a:t>
            </a:r>
          </a:p>
        </p:txBody>
      </p:sp>
      <p:sp>
        <p:nvSpPr>
          <p:cNvPr id="7" name="TextBox 6">
            <a:extLst>
              <a:ext uri="{FF2B5EF4-FFF2-40B4-BE49-F238E27FC236}">
                <a16:creationId xmlns:a16="http://schemas.microsoft.com/office/drawing/2014/main" id="{B467CB65-3B56-8B2E-E356-19F4967CF2E0}"/>
              </a:ext>
            </a:extLst>
          </p:cNvPr>
          <p:cNvSpPr txBox="1"/>
          <p:nvPr/>
        </p:nvSpPr>
        <p:spPr>
          <a:xfrm>
            <a:off x="9380988" y="4445937"/>
            <a:ext cx="1521111" cy="914400"/>
          </a:xfrm>
          <a:prstGeom prst="rect">
            <a:avLst/>
          </a:prstGeom>
          <a:effectLst/>
        </p:spPr>
        <p:txBody>
          <a:bodyPr vert="horz" wrap="none" lIns="0" tIns="0" rIns="0" bIns="0" rtlCol="0">
            <a:noAutofit/>
          </a:bodyPr>
          <a:lstStyle/>
          <a:p>
            <a:pPr algn="l">
              <a:lnSpc>
                <a:spcPct val="100000"/>
              </a:lnSpc>
              <a:spcBef>
                <a:spcPts val="0"/>
              </a:spcBef>
            </a:pPr>
            <a:r>
              <a:rPr lang="en-US" sz="1200" dirty="0">
                <a:solidFill>
                  <a:schemeClr val="accent2"/>
                </a:solidFill>
              </a:rPr>
              <a:t>Ronen Daniel</a:t>
            </a:r>
          </a:p>
          <a:p>
            <a:pPr algn="l">
              <a:lnSpc>
                <a:spcPct val="100000"/>
              </a:lnSpc>
              <a:spcBef>
                <a:spcPts val="0"/>
              </a:spcBef>
            </a:pPr>
            <a:r>
              <a:rPr lang="en-US" sz="1200" dirty="0">
                <a:solidFill>
                  <a:schemeClr val="accent2"/>
                </a:solidFill>
              </a:rPr>
              <a:t>ronen.daniel@utimaco.com</a:t>
            </a:r>
          </a:p>
        </p:txBody>
      </p:sp>
      <p:pic>
        <p:nvPicPr>
          <p:cNvPr id="9" name="Picture 8">
            <a:extLst>
              <a:ext uri="{FF2B5EF4-FFF2-40B4-BE49-F238E27FC236}">
                <a16:creationId xmlns:a16="http://schemas.microsoft.com/office/drawing/2014/main" id="{5E8877C4-DF6B-9B16-275E-D127648E5865}"/>
              </a:ext>
            </a:extLst>
          </p:cNvPr>
          <p:cNvPicPr>
            <a:picLocks noChangeAspect="1"/>
          </p:cNvPicPr>
          <p:nvPr/>
        </p:nvPicPr>
        <p:blipFill>
          <a:blip r:embed="rId2"/>
          <a:stretch>
            <a:fillRect/>
          </a:stretch>
        </p:blipFill>
        <p:spPr>
          <a:xfrm>
            <a:off x="7028509" y="4917140"/>
            <a:ext cx="1511887" cy="408618"/>
          </a:xfrm>
          <a:prstGeom prst="rect">
            <a:avLst/>
          </a:prstGeom>
        </p:spPr>
      </p:pic>
      <p:pic>
        <p:nvPicPr>
          <p:cNvPr id="11" name="Picture 10">
            <a:extLst>
              <a:ext uri="{FF2B5EF4-FFF2-40B4-BE49-F238E27FC236}">
                <a16:creationId xmlns:a16="http://schemas.microsoft.com/office/drawing/2014/main" id="{733E63F2-309D-AD06-7702-012F2E8D52C4}"/>
              </a:ext>
            </a:extLst>
          </p:cNvPr>
          <p:cNvPicPr>
            <a:picLocks noChangeAspect="1"/>
          </p:cNvPicPr>
          <p:nvPr/>
        </p:nvPicPr>
        <p:blipFill>
          <a:blip r:embed="rId3"/>
          <a:stretch>
            <a:fillRect/>
          </a:stretch>
        </p:blipFill>
        <p:spPr>
          <a:xfrm>
            <a:off x="9315195" y="4940063"/>
            <a:ext cx="1371014" cy="420274"/>
          </a:xfrm>
          <a:prstGeom prst="rect">
            <a:avLst/>
          </a:prstGeom>
        </p:spPr>
      </p:pic>
      <p:sp>
        <p:nvSpPr>
          <p:cNvPr id="16" name="Freihandform: Form 9">
            <a:extLst>
              <a:ext uri="{FF2B5EF4-FFF2-40B4-BE49-F238E27FC236}">
                <a16:creationId xmlns:a16="http://schemas.microsoft.com/office/drawing/2014/main" id="{9D9147C9-6C2D-3A0E-D8ED-C22DD6582A4E}"/>
              </a:ext>
            </a:extLst>
          </p:cNvPr>
          <p:cNvSpPr/>
          <p:nvPr/>
        </p:nvSpPr>
        <p:spPr>
          <a:xfrm rot="5400000">
            <a:off x="3800808" y="3340644"/>
            <a:ext cx="478962" cy="475744"/>
          </a:xfrm>
          <a:custGeom>
            <a:avLst/>
            <a:gdLst>
              <a:gd name="connsiteX0" fmla="*/ 354330 w 708659"/>
              <a:gd name="connsiteY0" fmla="*/ 0 h 703897"/>
              <a:gd name="connsiteX1" fmla="*/ 0 w 708659"/>
              <a:gd name="connsiteY1" fmla="*/ 352425 h 703897"/>
              <a:gd name="connsiteX2" fmla="*/ 354330 w 708659"/>
              <a:gd name="connsiteY2" fmla="*/ 703898 h 703897"/>
              <a:gd name="connsiteX3" fmla="*/ 708660 w 708659"/>
              <a:gd name="connsiteY3" fmla="*/ 352425 h 703897"/>
            </a:gdLst>
            <a:ahLst/>
            <a:cxnLst>
              <a:cxn ang="0">
                <a:pos x="connsiteX0" y="connsiteY0"/>
              </a:cxn>
              <a:cxn ang="0">
                <a:pos x="connsiteX1" y="connsiteY1"/>
              </a:cxn>
              <a:cxn ang="0">
                <a:pos x="connsiteX2" y="connsiteY2"/>
              </a:cxn>
              <a:cxn ang="0">
                <a:pos x="connsiteX3" y="connsiteY3"/>
              </a:cxn>
            </a:cxnLst>
            <a:rect l="l" t="t" r="r" b="b"/>
            <a:pathLst>
              <a:path w="708659" h="703897">
                <a:moveTo>
                  <a:pt x="354330" y="0"/>
                </a:moveTo>
                <a:lnTo>
                  <a:pt x="0" y="352425"/>
                </a:lnTo>
                <a:lnTo>
                  <a:pt x="354330" y="703898"/>
                </a:lnTo>
                <a:lnTo>
                  <a:pt x="708660" y="352425"/>
                </a:lnTo>
                <a:close/>
              </a:path>
            </a:pathLst>
          </a:custGeom>
          <a:solidFill>
            <a:srgbClr val="0068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 name="Freihandform: Form 12">
            <a:extLst>
              <a:ext uri="{FF2B5EF4-FFF2-40B4-BE49-F238E27FC236}">
                <a16:creationId xmlns:a16="http://schemas.microsoft.com/office/drawing/2014/main" id="{A58258CB-63F4-5C9F-1383-454FD7E22EA5}"/>
              </a:ext>
            </a:extLst>
          </p:cNvPr>
          <p:cNvSpPr/>
          <p:nvPr/>
        </p:nvSpPr>
        <p:spPr>
          <a:xfrm rot="5400000">
            <a:off x="4479459" y="5304907"/>
            <a:ext cx="359720" cy="363259"/>
          </a:xfrm>
          <a:custGeom>
            <a:avLst/>
            <a:gdLst>
              <a:gd name="connsiteX0" fmla="*/ 145732 w 290512"/>
              <a:gd name="connsiteY0" fmla="*/ 0 h 293370"/>
              <a:gd name="connsiteX1" fmla="*/ 0 w 290512"/>
              <a:gd name="connsiteY1" fmla="*/ 146685 h 293370"/>
              <a:gd name="connsiteX2" fmla="*/ 145732 w 290512"/>
              <a:gd name="connsiteY2" fmla="*/ 293370 h 293370"/>
              <a:gd name="connsiteX3" fmla="*/ 290513 w 290512"/>
              <a:gd name="connsiteY3" fmla="*/ 146685 h 293370"/>
            </a:gdLst>
            <a:ahLst/>
            <a:cxnLst>
              <a:cxn ang="0">
                <a:pos x="connsiteX0" y="connsiteY0"/>
              </a:cxn>
              <a:cxn ang="0">
                <a:pos x="connsiteX1" y="connsiteY1"/>
              </a:cxn>
              <a:cxn ang="0">
                <a:pos x="connsiteX2" y="connsiteY2"/>
              </a:cxn>
              <a:cxn ang="0">
                <a:pos x="connsiteX3" y="connsiteY3"/>
              </a:cxn>
            </a:cxnLst>
            <a:rect l="l" t="t" r="r" b="b"/>
            <a:pathLst>
              <a:path w="290512" h="293370">
                <a:moveTo>
                  <a:pt x="145732" y="0"/>
                </a:moveTo>
                <a:lnTo>
                  <a:pt x="0" y="146685"/>
                </a:lnTo>
                <a:lnTo>
                  <a:pt x="145732" y="293370"/>
                </a:lnTo>
                <a:lnTo>
                  <a:pt x="290513" y="146685"/>
                </a:lnTo>
                <a:close/>
              </a:path>
            </a:pathLst>
          </a:custGeom>
          <a:solidFill>
            <a:srgbClr val="0091CA"/>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 name="Freihandform: Form 17">
            <a:extLst>
              <a:ext uri="{FF2B5EF4-FFF2-40B4-BE49-F238E27FC236}">
                <a16:creationId xmlns:a16="http://schemas.microsoft.com/office/drawing/2014/main" id="{0CE26E49-4263-1069-FFF3-893128ED0B9E}"/>
              </a:ext>
            </a:extLst>
          </p:cNvPr>
          <p:cNvSpPr/>
          <p:nvPr/>
        </p:nvSpPr>
        <p:spPr>
          <a:xfrm rot="5400000">
            <a:off x="2355002" y="3474426"/>
            <a:ext cx="945546" cy="954501"/>
          </a:xfrm>
          <a:custGeom>
            <a:avLst/>
            <a:gdLst>
              <a:gd name="connsiteX0" fmla="*/ 0 w 502919"/>
              <a:gd name="connsiteY0" fmla="*/ 254317 h 507682"/>
              <a:gd name="connsiteX1" fmla="*/ 251460 w 502919"/>
              <a:gd name="connsiteY1" fmla="*/ 507683 h 507682"/>
              <a:gd name="connsiteX2" fmla="*/ 502920 w 502919"/>
              <a:gd name="connsiteY2" fmla="*/ 254317 h 507682"/>
              <a:gd name="connsiteX3" fmla="*/ 251460 w 502919"/>
              <a:gd name="connsiteY3" fmla="*/ 0 h 507682"/>
            </a:gdLst>
            <a:ahLst/>
            <a:cxnLst>
              <a:cxn ang="0">
                <a:pos x="connsiteX0" y="connsiteY0"/>
              </a:cxn>
              <a:cxn ang="0">
                <a:pos x="connsiteX1" y="connsiteY1"/>
              </a:cxn>
              <a:cxn ang="0">
                <a:pos x="connsiteX2" y="connsiteY2"/>
              </a:cxn>
              <a:cxn ang="0">
                <a:pos x="connsiteX3" y="connsiteY3"/>
              </a:cxn>
            </a:cxnLst>
            <a:rect l="l" t="t" r="r" b="b"/>
            <a:pathLst>
              <a:path w="502919" h="507682">
                <a:moveTo>
                  <a:pt x="0" y="254317"/>
                </a:moveTo>
                <a:lnTo>
                  <a:pt x="251460" y="507683"/>
                </a:lnTo>
                <a:lnTo>
                  <a:pt x="502920" y="254317"/>
                </a:lnTo>
                <a:lnTo>
                  <a:pt x="251460" y="0"/>
                </a:lnTo>
                <a:close/>
              </a:path>
            </a:pathLst>
          </a:custGeom>
          <a:solidFill>
            <a:srgbClr val="00B4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 name="Freihandform: Form 21">
            <a:extLst>
              <a:ext uri="{FF2B5EF4-FFF2-40B4-BE49-F238E27FC236}">
                <a16:creationId xmlns:a16="http://schemas.microsoft.com/office/drawing/2014/main" id="{ECD92005-5582-A119-EB68-31CF443765AD}"/>
              </a:ext>
            </a:extLst>
          </p:cNvPr>
          <p:cNvSpPr/>
          <p:nvPr/>
        </p:nvSpPr>
        <p:spPr>
          <a:xfrm rot="5400000">
            <a:off x="1765485" y="4174422"/>
            <a:ext cx="467570" cy="471238"/>
          </a:xfrm>
          <a:custGeom>
            <a:avLst/>
            <a:gdLst>
              <a:gd name="connsiteX0" fmla="*/ 120967 w 242887"/>
              <a:gd name="connsiteY0" fmla="*/ 244792 h 244792"/>
              <a:gd name="connsiteX1" fmla="*/ 0 w 242887"/>
              <a:gd name="connsiteY1" fmla="*/ 122872 h 244792"/>
              <a:gd name="connsiteX2" fmla="*/ 120967 w 242887"/>
              <a:gd name="connsiteY2" fmla="*/ 0 h 244792"/>
              <a:gd name="connsiteX3" fmla="*/ 242888 w 242887"/>
              <a:gd name="connsiteY3" fmla="*/ 122872 h 244792"/>
            </a:gdLst>
            <a:ahLst/>
            <a:cxnLst>
              <a:cxn ang="0">
                <a:pos x="connsiteX0" y="connsiteY0"/>
              </a:cxn>
              <a:cxn ang="0">
                <a:pos x="connsiteX1" y="connsiteY1"/>
              </a:cxn>
              <a:cxn ang="0">
                <a:pos x="connsiteX2" y="connsiteY2"/>
              </a:cxn>
              <a:cxn ang="0">
                <a:pos x="connsiteX3" y="connsiteY3"/>
              </a:cxn>
            </a:cxnLst>
            <a:rect l="l" t="t" r="r" b="b"/>
            <a:pathLst>
              <a:path w="242887" h="244792">
                <a:moveTo>
                  <a:pt x="120967" y="244792"/>
                </a:moveTo>
                <a:lnTo>
                  <a:pt x="0" y="122872"/>
                </a:lnTo>
                <a:lnTo>
                  <a:pt x="120967" y="0"/>
                </a:lnTo>
                <a:lnTo>
                  <a:pt x="242888" y="122872"/>
                </a:lnTo>
                <a:close/>
              </a:path>
            </a:pathLst>
          </a:custGeom>
          <a:solidFill>
            <a:srgbClr val="91D3F6">
              <a:alpha val="8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 name="Diamond 25">
            <a:extLst>
              <a:ext uri="{FF2B5EF4-FFF2-40B4-BE49-F238E27FC236}">
                <a16:creationId xmlns:a16="http://schemas.microsoft.com/office/drawing/2014/main" id="{84EE9151-EE4B-44BF-83F9-5971E44F2C1E}"/>
              </a:ext>
            </a:extLst>
          </p:cNvPr>
          <p:cNvSpPr/>
          <p:nvPr/>
        </p:nvSpPr>
        <p:spPr>
          <a:xfrm>
            <a:off x="2062818" y="-7927"/>
            <a:ext cx="1815799" cy="1759462"/>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iamond 26">
            <a:extLst>
              <a:ext uri="{FF2B5EF4-FFF2-40B4-BE49-F238E27FC236}">
                <a16:creationId xmlns:a16="http://schemas.microsoft.com/office/drawing/2014/main" id="{3CE66C07-546E-3A1B-A14C-FF1562F0BB0E}"/>
              </a:ext>
            </a:extLst>
          </p:cNvPr>
          <p:cNvSpPr/>
          <p:nvPr/>
        </p:nvSpPr>
        <p:spPr>
          <a:xfrm>
            <a:off x="5109374" y="917533"/>
            <a:ext cx="986626" cy="914400"/>
          </a:xfrm>
          <a:prstGeom prst="diamond">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iamond 27">
            <a:extLst>
              <a:ext uri="{FF2B5EF4-FFF2-40B4-BE49-F238E27FC236}">
                <a16:creationId xmlns:a16="http://schemas.microsoft.com/office/drawing/2014/main" id="{FBCDD672-6C09-DAB5-AB54-277C3942F647}"/>
              </a:ext>
            </a:extLst>
          </p:cNvPr>
          <p:cNvSpPr/>
          <p:nvPr/>
        </p:nvSpPr>
        <p:spPr>
          <a:xfrm>
            <a:off x="1770251" y="4183560"/>
            <a:ext cx="464637" cy="467570"/>
          </a:xfrm>
          <a:prstGeom prst="diamond">
            <a:avLst/>
          </a:prstGeom>
          <a:solidFill>
            <a:srgbClr val="CC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826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0ADEE66-F07E-2A29-EA0F-685551A25F75}"/>
              </a:ext>
            </a:extLst>
          </p:cNvPr>
          <p:cNvSpPr>
            <a:spLocks noGrp="1"/>
          </p:cNvSpPr>
          <p:nvPr>
            <p:ph idx="13"/>
          </p:nvPr>
        </p:nvSpPr>
        <p:spPr>
          <a:xfrm>
            <a:off x="4498385" y="1673228"/>
            <a:ext cx="3314356" cy="1529339"/>
          </a:xfrm>
          <a:solidFill>
            <a:schemeClr val="accent4">
              <a:lumMod val="20000"/>
              <a:lumOff val="80000"/>
            </a:schemeClr>
          </a:solidFill>
        </p:spPr>
        <p:txBody>
          <a:bodyPr lIns="91440" rIns="91440"/>
          <a:lstStyle/>
          <a:p>
            <a:pPr marL="0" indent="0" algn="ctr">
              <a:spcBef>
                <a:spcPts val="600"/>
              </a:spcBef>
              <a:spcAft>
                <a:spcPts val="300"/>
              </a:spcAft>
              <a:buNone/>
            </a:pPr>
            <a:r>
              <a:rPr lang="en-US" sz="1800" dirty="0"/>
              <a:t>Main Responsibilities</a:t>
            </a:r>
          </a:p>
          <a:p>
            <a:pPr>
              <a:spcBef>
                <a:spcPts val="600"/>
              </a:spcBef>
              <a:spcAft>
                <a:spcPts val="300"/>
              </a:spcAft>
            </a:pPr>
            <a:r>
              <a:rPr lang="en-US" sz="1400" dirty="0"/>
              <a:t>Emergency Preparedness</a:t>
            </a:r>
          </a:p>
          <a:p>
            <a:pPr>
              <a:spcAft>
                <a:spcPts val="300"/>
              </a:spcAft>
            </a:pPr>
            <a:r>
              <a:rPr lang="en-US" sz="1400" dirty="0"/>
              <a:t>Crisis Management</a:t>
            </a:r>
          </a:p>
          <a:p>
            <a:pPr>
              <a:spcAft>
                <a:spcPts val="300"/>
              </a:spcAft>
            </a:pPr>
            <a:r>
              <a:rPr lang="en-US" sz="1400" dirty="0"/>
              <a:t>Public Warning systems</a:t>
            </a:r>
          </a:p>
          <a:p>
            <a:pPr>
              <a:spcAft>
                <a:spcPts val="300"/>
              </a:spcAft>
            </a:pPr>
            <a:r>
              <a:rPr lang="en-US" sz="1400" dirty="0"/>
              <a:t>Public Education</a:t>
            </a:r>
          </a:p>
        </p:txBody>
      </p:sp>
      <p:sp>
        <p:nvSpPr>
          <p:cNvPr id="4" name="Title 3">
            <a:extLst>
              <a:ext uri="{FF2B5EF4-FFF2-40B4-BE49-F238E27FC236}">
                <a16:creationId xmlns:a16="http://schemas.microsoft.com/office/drawing/2014/main" id="{7CAA8552-FAEF-89C0-66BC-86B67305C772}"/>
              </a:ext>
            </a:extLst>
          </p:cNvPr>
          <p:cNvSpPr>
            <a:spLocks noGrp="1"/>
          </p:cNvSpPr>
          <p:nvPr>
            <p:ph type="title"/>
          </p:nvPr>
        </p:nvSpPr>
        <p:spPr/>
        <p:txBody>
          <a:bodyPr/>
          <a:lstStyle/>
          <a:p>
            <a:r>
              <a:rPr lang="en-US" dirty="0"/>
              <a:t>DEMA – Danish Emergency Management Agency</a:t>
            </a:r>
          </a:p>
        </p:txBody>
      </p:sp>
      <p:pic>
        <p:nvPicPr>
          <p:cNvPr id="6" name="Picture 5">
            <a:hlinkClick r:id="rId2"/>
            <a:extLst>
              <a:ext uri="{FF2B5EF4-FFF2-40B4-BE49-F238E27FC236}">
                <a16:creationId xmlns:a16="http://schemas.microsoft.com/office/drawing/2014/main" id="{2C2BC410-C842-8F7B-C5B2-30E0AABAAFC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3299145"/>
            <a:ext cx="12192000" cy="3236298"/>
          </a:xfrm>
          <a:prstGeom prst="rect">
            <a:avLst/>
          </a:prstGeom>
        </p:spPr>
      </p:pic>
      <p:sp>
        <p:nvSpPr>
          <p:cNvPr id="7" name="Content Placeholder 2">
            <a:extLst>
              <a:ext uri="{FF2B5EF4-FFF2-40B4-BE49-F238E27FC236}">
                <a16:creationId xmlns:a16="http://schemas.microsoft.com/office/drawing/2014/main" id="{EBE6140B-24BA-5E1E-CFD9-5BAFB8DB053B}"/>
              </a:ext>
            </a:extLst>
          </p:cNvPr>
          <p:cNvSpPr>
            <a:spLocks noGrp="1"/>
          </p:cNvSpPr>
          <p:nvPr>
            <p:ph sz="quarter" idx="14"/>
          </p:nvPr>
        </p:nvSpPr>
        <p:spPr>
          <a:xfrm>
            <a:off x="2002145" y="762409"/>
            <a:ext cx="8541623" cy="620026"/>
          </a:xfrm>
        </p:spPr>
        <p:txBody>
          <a:bodyPr/>
          <a:lstStyle/>
          <a:p>
            <a:pPr algn="just"/>
            <a:r>
              <a:rPr lang="en-US" sz="1800" dirty="0">
                <a:solidFill>
                  <a:schemeClr val="bg1">
                    <a:lumMod val="50000"/>
                  </a:schemeClr>
                </a:solidFill>
              </a:rPr>
              <a:t>DEMA operates under the Ministry for Resilience and Preparedness and has a charter focused on preparedness, response, and recovery in emergency situations</a:t>
            </a:r>
          </a:p>
        </p:txBody>
      </p:sp>
      <p:sp>
        <p:nvSpPr>
          <p:cNvPr id="8" name="Content Placeholder 1">
            <a:extLst>
              <a:ext uri="{FF2B5EF4-FFF2-40B4-BE49-F238E27FC236}">
                <a16:creationId xmlns:a16="http://schemas.microsoft.com/office/drawing/2014/main" id="{0FCAF881-7FB1-5C13-CF0D-8FF8BA58E54E}"/>
              </a:ext>
            </a:extLst>
          </p:cNvPr>
          <p:cNvSpPr txBox="1">
            <a:spLocks/>
          </p:cNvSpPr>
          <p:nvPr/>
        </p:nvSpPr>
        <p:spPr>
          <a:xfrm>
            <a:off x="648716" y="1673228"/>
            <a:ext cx="3049138" cy="1529339"/>
          </a:xfrm>
          <a:prstGeom prst="rect">
            <a:avLst/>
          </a:prstGeom>
          <a:solidFill>
            <a:schemeClr val="accent4">
              <a:lumMod val="20000"/>
              <a:lumOff val="80000"/>
            </a:schemeClr>
          </a:solidFill>
          <a:effectLst/>
        </p:spPr>
        <p:txBody>
          <a:bodyPr vert="horz" lIns="91440" tIns="0" rIns="91440" bIns="0" rtlCol="0">
            <a:noAutofit/>
          </a:bodyPr>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4">
                  <a:extLst>
                    <a:ext uri="{96DAC541-7B7A-43D3-8B79-37D633B846F1}">
                      <asvg:svgBlip xmlns:asvg="http://schemas.microsoft.com/office/drawing/2016/SVG/main" r:embed="rId5"/>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6">
                  <a:extLst>
                    <a:ext uri="{96DAC541-7B7A-43D3-8B79-37D633B846F1}">
                      <asvg:svgBlip xmlns:asvg="http://schemas.microsoft.com/office/drawing/2016/SVG/main" r:embed="rId7"/>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t>Mission</a:t>
            </a:r>
          </a:p>
          <a:p>
            <a:pPr marL="0" indent="0">
              <a:buNone/>
            </a:pPr>
            <a:r>
              <a:rPr lang="en-US" sz="1400" dirty="0"/>
              <a:t>DEMA aims to minimize the impact of emergencies on society and improve resilience through effective planning, training, and collaboration among stakeholders</a:t>
            </a:r>
            <a:endParaRPr lang="en-US" sz="1600" dirty="0"/>
          </a:p>
        </p:txBody>
      </p:sp>
      <p:sp>
        <p:nvSpPr>
          <p:cNvPr id="9" name="Content Placeholder 1">
            <a:extLst>
              <a:ext uri="{FF2B5EF4-FFF2-40B4-BE49-F238E27FC236}">
                <a16:creationId xmlns:a16="http://schemas.microsoft.com/office/drawing/2014/main" id="{204C4458-3597-EEB1-6361-35D03854FFF0}"/>
              </a:ext>
            </a:extLst>
          </p:cNvPr>
          <p:cNvSpPr txBox="1">
            <a:spLocks/>
          </p:cNvSpPr>
          <p:nvPr/>
        </p:nvSpPr>
        <p:spPr>
          <a:xfrm>
            <a:off x="8492621" y="1673228"/>
            <a:ext cx="3049138" cy="1529339"/>
          </a:xfrm>
          <a:prstGeom prst="rect">
            <a:avLst/>
          </a:prstGeom>
          <a:solidFill>
            <a:schemeClr val="accent4">
              <a:lumMod val="20000"/>
              <a:lumOff val="80000"/>
            </a:schemeClr>
          </a:solidFill>
          <a:effectLst/>
        </p:spPr>
        <p:txBody>
          <a:bodyPr vert="horz" lIns="91440" tIns="0" rIns="91440" bIns="0" rtlCol="0">
            <a:noAutofit/>
          </a:bodyPr>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4">
                  <a:extLst>
                    <a:ext uri="{96DAC541-7B7A-43D3-8B79-37D633B846F1}">
                      <asvg:svgBlip xmlns:asvg="http://schemas.microsoft.com/office/drawing/2016/SVG/main" r:embed="rId5"/>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6">
                  <a:extLst>
                    <a:ext uri="{96DAC541-7B7A-43D3-8B79-37D633B846F1}">
                      <asvg:svgBlip xmlns:asvg="http://schemas.microsoft.com/office/drawing/2016/SVG/main" r:embed="rId7"/>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dirty="0"/>
              <a:t>Collaboration</a:t>
            </a:r>
          </a:p>
          <a:p>
            <a:pPr marL="0" indent="0">
              <a:buNone/>
            </a:pPr>
            <a:r>
              <a:rPr lang="en-US" sz="1400" dirty="0"/>
              <a:t>Works closely with the police, local municipalities, emergency services, the military, and other government agencies to ensure a coordinated response to emergencies</a:t>
            </a:r>
            <a:endParaRPr lang="en-US" sz="1800" dirty="0"/>
          </a:p>
        </p:txBody>
      </p:sp>
      <p:sp>
        <p:nvSpPr>
          <p:cNvPr id="3" name="Rectangle 2">
            <a:extLst>
              <a:ext uri="{FF2B5EF4-FFF2-40B4-BE49-F238E27FC236}">
                <a16:creationId xmlns:a16="http://schemas.microsoft.com/office/drawing/2014/main" id="{1BEC9720-1386-2205-AB85-5BD9DCCEDC6A}"/>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5740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uppieren 48">
            <a:extLst>
              <a:ext uri="{FF2B5EF4-FFF2-40B4-BE49-F238E27FC236}">
                <a16:creationId xmlns:a16="http://schemas.microsoft.com/office/drawing/2014/main" id="{D54EB71D-0B52-482F-8A4B-EC7B383F649E}"/>
              </a:ext>
            </a:extLst>
          </p:cNvPr>
          <p:cNvGrpSpPr/>
          <p:nvPr/>
        </p:nvGrpSpPr>
        <p:grpSpPr>
          <a:xfrm>
            <a:off x="0" y="749381"/>
            <a:ext cx="12192000" cy="5850836"/>
            <a:chOff x="0" y="956789"/>
            <a:chExt cx="12192000" cy="5532911"/>
          </a:xfrm>
        </p:grpSpPr>
        <p:sp>
          <p:nvSpPr>
            <p:cNvPr id="52" name="Rechteck 51">
              <a:extLst>
                <a:ext uri="{FF2B5EF4-FFF2-40B4-BE49-F238E27FC236}">
                  <a16:creationId xmlns:a16="http://schemas.microsoft.com/office/drawing/2014/main" id="{41C15118-75A2-4FA8-ACF7-404E7350BC56}"/>
                </a:ext>
              </a:extLst>
            </p:cNvPr>
            <p:cNvSpPr/>
            <p:nvPr userDrawn="1"/>
          </p:nvSpPr>
          <p:spPr>
            <a:xfrm>
              <a:off x="0" y="956789"/>
              <a:ext cx="12192000" cy="5532911"/>
            </a:xfrm>
            <a:prstGeom prst="rect">
              <a:avLst/>
            </a:prstGeom>
            <a:solidFill>
              <a:srgbClr val="DD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Roboto"/>
                <a:ea typeface="Roboto" panose="02000000000000000000" pitchFamily="2" charset="0"/>
                <a:cs typeface="+mn-cs"/>
              </a:endParaRPr>
            </a:p>
          </p:txBody>
        </p:sp>
        <p:grpSp>
          <p:nvGrpSpPr>
            <p:cNvPr id="53" name="Gruppieren 52">
              <a:extLst>
                <a:ext uri="{FF2B5EF4-FFF2-40B4-BE49-F238E27FC236}">
                  <a16:creationId xmlns:a16="http://schemas.microsoft.com/office/drawing/2014/main" id="{63FE60EB-7668-4CAA-B3FB-3F117A269A65}"/>
                </a:ext>
              </a:extLst>
            </p:cNvPr>
            <p:cNvGrpSpPr/>
            <p:nvPr userDrawn="1"/>
          </p:nvGrpSpPr>
          <p:grpSpPr>
            <a:xfrm>
              <a:off x="870312" y="980918"/>
              <a:ext cx="11096231" cy="5425650"/>
              <a:chOff x="870312" y="980918"/>
              <a:chExt cx="11096231" cy="5425650"/>
            </a:xfrm>
          </p:grpSpPr>
          <p:grpSp>
            <p:nvGrpSpPr>
              <p:cNvPr id="57" name="Map">
                <a:extLst>
                  <a:ext uri="{FF2B5EF4-FFF2-40B4-BE49-F238E27FC236}">
                    <a16:creationId xmlns:a16="http://schemas.microsoft.com/office/drawing/2014/main" id="{32FDD38B-EA30-4CEC-BB9C-A0FCEC45D8F6}"/>
                  </a:ext>
                </a:extLst>
              </p:cNvPr>
              <p:cNvGrpSpPr/>
              <p:nvPr/>
            </p:nvGrpSpPr>
            <p:grpSpPr>
              <a:xfrm>
                <a:off x="870312" y="980918"/>
                <a:ext cx="11096231" cy="5425650"/>
                <a:chOff x="870312" y="980918"/>
                <a:chExt cx="11096231" cy="5425650"/>
              </a:xfrm>
            </p:grpSpPr>
            <p:sp>
              <p:nvSpPr>
                <p:cNvPr id="144" name="Freihandform: Form 143">
                  <a:extLst>
                    <a:ext uri="{FF2B5EF4-FFF2-40B4-BE49-F238E27FC236}">
                      <a16:creationId xmlns:a16="http://schemas.microsoft.com/office/drawing/2014/main" id="{821F39FF-E558-4973-8930-4586555A35ED}"/>
                    </a:ext>
                  </a:extLst>
                </p:cNvPr>
                <p:cNvSpPr/>
                <p:nvPr/>
              </p:nvSpPr>
              <p:spPr>
                <a:xfrm>
                  <a:off x="9541355" y="4879390"/>
                  <a:ext cx="1264370" cy="953154"/>
                </a:xfrm>
                <a:custGeom>
                  <a:avLst/>
                  <a:gdLst>
                    <a:gd name="connsiteX0" fmla="*/ 627656 w 1264370"/>
                    <a:gd name="connsiteY0" fmla="*/ 25423 h 953154"/>
                    <a:gd name="connsiteX1" fmla="*/ 596538 w 1264370"/>
                    <a:gd name="connsiteY1" fmla="*/ 12920 h 953154"/>
                    <a:gd name="connsiteX2" fmla="*/ 596538 w 1264370"/>
                    <a:gd name="connsiteY2" fmla="*/ 19172 h 953154"/>
                    <a:gd name="connsiteX3" fmla="*/ 608902 w 1264370"/>
                    <a:gd name="connsiteY3" fmla="*/ 19172 h 953154"/>
                    <a:gd name="connsiteX4" fmla="*/ 615153 w 1264370"/>
                    <a:gd name="connsiteY4" fmla="*/ 37926 h 953154"/>
                    <a:gd name="connsiteX5" fmla="*/ 602789 w 1264370"/>
                    <a:gd name="connsiteY5" fmla="*/ 44178 h 953154"/>
                    <a:gd name="connsiteX6" fmla="*/ 584174 w 1264370"/>
                    <a:gd name="connsiteY6" fmla="*/ 50429 h 953154"/>
                    <a:gd name="connsiteX7" fmla="*/ 559445 w 1264370"/>
                    <a:gd name="connsiteY7" fmla="*/ 50429 h 953154"/>
                    <a:gd name="connsiteX8" fmla="*/ 534578 w 1264370"/>
                    <a:gd name="connsiteY8" fmla="*/ 81826 h 953154"/>
                    <a:gd name="connsiteX9" fmla="*/ 522075 w 1264370"/>
                    <a:gd name="connsiteY9" fmla="*/ 125726 h 953154"/>
                    <a:gd name="connsiteX10" fmla="*/ 497346 w 1264370"/>
                    <a:gd name="connsiteY10" fmla="*/ 131977 h 953154"/>
                    <a:gd name="connsiteX11" fmla="*/ 472479 w 1264370"/>
                    <a:gd name="connsiteY11" fmla="*/ 150732 h 953154"/>
                    <a:gd name="connsiteX12" fmla="*/ 460114 w 1264370"/>
                    <a:gd name="connsiteY12" fmla="*/ 113084 h 953154"/>
                    <a:gd name="connsiteX13" fmla="*/ 447611 w 1264370"/>
                    <a:gd name="connsiteY13" fmla="*/ 106832 h 953154"/>
                    <a:gd name="connsiteX14" fmla="*/ 441360 w 1264370"/>
                    <a:gd name="connsiteY14" fmla="*/ 94329 h 953154"/>
                    <a:gd name="connsiteX15" fmla="*/ 435108 w 1264370"/>
                    <a:gd name="connsiteY15" fmla="*/ 106832 h 953154"/>
                    <a:gd name="connsiteX16" fmla="*/ 422605 w 1264370"/>
                    <a:gd name="connsiteY16" fmla="*/ 100581 h 953154"/>
                    <a:gd name="connsiteX17" fmla="*/ 403989 w 1264370"/>
                    <a:gd name="connsiteY17" fmla="*/ 119336 h 953154"/>
                    <a:gd name="connsiteX18" fmla="*/ 397738 w 1264370"/>
                    <a:gd name="connsiteY18" fmla="*/ 113084 h 953154"/>
                    <a:gd name="connsiteX19" fmla="*/ 391486 w 1264370"/>
                    <a:gd name="connsiteY19" fmla="*/ 119336 h 953154"/>
                    <a:gd name="connsiteX20" fmla="*/ 385235 w 1264370"/>
                    <a:gd name="connsiteY20" fmla="*/ 138090 h 953154"/>
                    <a:gd name="connsiteX21" fmla="*/ 372871 w 1264370"/>
                    <a:gd name="connsiteY21" fmla="*/ 138090 h 953154"/>
                    <a:gd name="connsiteX22" fmla="*/ 379122 w 1264370"/>
                    <a:gd name="connsiteY22" fmla="*/ 144342 h 953154"/>
                    <a:gd name="connsiteX23" fmla="*/ 366758 w 1264370"/>
                    <a:gd name="connsiteY23" fmla="*/ 163096 h 953154"/>
                    <a:gd name="connsiteX24" fmla="*/ 373010 w 1264370"/>
                    <a:gd name="connsiteY24" fmla="*/ 175600 h 953154"/>
                    <a:gd name="connsiteX25" fmla="*/ 329388 w 1264370"/>
                    <a:gd name="connsiteY25" fmla="*/ 181851 h 953154"/>
                    <a:gd name="connsiteX26" fmla="*/ 341891 w 1264370"/>
                    <a:gd name="connsiteY26" fmla="*/ 206996 h 953154"/>
                    <a:gd name="connsiteX27" fmla="*/ 335639 w 1264370"/>
                    <a:gd name="connsiteY27" fmla="*/ 206996 h 953154"/>
                    <a:gd name="connsiteX28" fmla="*/ 323136 w 1264370"/>
                    <a:gd name="connsiteY28" fmla="*/ 206996 h 953154"/>
                    <a:gd name="connsiteX29" fmla="*/ 316885 w 1264370"/>
                    <a:gd name="connsiteY29" fmla="*/ 188241 h 953154"/>
                    <a:gd name="connsiteX30" fmla="*/ 292017 w 1264370"/>
                    <a:gd name="connsiteY30" fmla="*/ 206996 h 953154"/>
                    <a:gd name="connsiteX31" fmla="*/ 285765 w 1264370"/>
                    <a:gd name="connsiteY31" fmla="*/ 225751 h 953154"/>
                    <a:gd name="connsiteX32" fmla="*/ 292017 w 1264370"/>
                    <a:gd name="connsiteY32" fmla="*/ 238254 h 953154"/>
                    <a:gd name="connsiteX33" fmla="*/ 273401 w 1264370"/>
                    <a:gd name="connsiteY33" fmla="*/ 257009 h 953154"/>
                    <a:gd name="connsiteX34" fmla="*/ 211303 w 1264370"/>
                    <a:gd name="connsiteY34" fmla="*/ 294657 h 953154"/>
                    <a:gd name="connsiteX35" fmla="*/ 149204 w 1264370"/>
                    <a:gd name="connsiteY35" fmla="*/ 313412 h 953154"/>
                    <a:gd name="connsiteX36" fmla="*/ 93218 w 1264370"/>
                    <a:gd name="connsiteY36" fmla="*/ 332166 h 953154"/>
                    <a:gd name="connsiteX37" fmla="*/ 62098 w 1264370"/>
                    <a:gd name="connsiteY37" fmla="*/ 350921 h 953154"/>
                    <a:gd name="connsiteX38" fmla="*/ 43483 w 1264370"/>
                    <a:gd name="connsiteY38" fmla="*/ 376066 h 953154"/>
                    <a:gd name="connsiteX39" fmla="*/ 43483 w 1264370"/>
                    <a:gd name="connsiteY39" fmla="*/ 350921 h 953154"/>
                    <a:gd name="connsiteX40" fmla="*/ 24867 w 1264370"/>
                    <a:gd name="connsiteY40" fmla="*/ 382318 h 953154"/>
                    <a:gd name="connsiteX41" fmla="*/ 18616 w 1264370"/>
                    <a:gd name="connsiteY41" fmla="*/ 426218 h 953154"/>
                    <a:gd name="connsiteX42" fmla="*/ 37231 w 1264370"/>
                    <a:gd name="connsiteY42" fmla="*/ 507766 h 953154"/>
                    <a:gd name="connsiteX43" fmla="*/ 18616 w 1264370"/>
                    <a:gd name="connsiteY43" fmla="*/ 482621 h 953154"/>
                    <a:gd name="connsiteX44" fmla="*/ 24867 w 1264370"/>
                    <a:gd name="connsiteY44" fmla="*/ 514017 h 953154"/>
                    <a:gd name="connsiteX45" fmla="*/ 0 w 1264370"/>
                    <a:gd name="connsiteY45" fmla="*/ 482621 h 953154"/>
                    <a:gd name="connsiteX46" fmla="*/ 37231 w 1264370"/>
                    <a:gd name="connsiteY46" fmla="*/ 539023 h 953154"/>
                    <a:gd name="connsiteX47" fmla="*/ 43483 w 1264370"/>
                    <a:gd name="connsiteY47" fmla="*/ 570420 h 953154"/>
                    <a:gd name="connsiteX48" fmla="*/ 62098 w 1264370"/>
                    <a:gd name="connsiteY48" fmla="*/ 601817 h 953154"/>
                    <a:gd name="connsiteX49" fmla="*/ 68350 w 1264370"/>
                    <a:gd name="connsiteY49" fmla="*/ 633214 h 953154"/>
                    <a:gd name="connsiteX50" fmla="*/ 80853 w 1264370"/>
                    <a:gd name="connsiteY50" fmla="*/ 664610 h 953154"/>
                    <a:gd name="connsiteX51" fmla="*/ 87105 w 1264370"/>
                    <a:gd name="connsiteY51" fmla="*/ 708510 h 953154"/>
                    <a:gd name="connsiteX52" fmla="*/ 87105 w 1264370"/>
                    <a:gd name="connsiteY52" fmla="*/ 746159 h 953154"/>
                    <a:gd name="connsiteX53" fmla="*/ 68489 w 1264370"/>
                    <a:gd name="connsiteY53" fmla="*/ 758662 h 953154"/>
                    <a:gd name="connsiteX54" fmla="*/ 80992 w 1264370"/>
                    <a:gd name="connsiteY54" fmla="*/ 783807 h 953154"/>
                    <a:gd name="connsiteX55" fmla="*/ 155594 w 1264370"/>
                    <a:gd name="connsiteY55" fmla="*/ 802561 h 953154"/>
                    <a:gd name="connsiteX56" fmla="*/ 186713 w 1264370"/>
                    <a:gd name="connsiteY56" fmla="*/ 783807 h 953154"/>
                    <a:gd name="connsiteX57" fmla="*/ 205329 w 1264370"/>
                    <a:gd name="connsiteY57" fmla="*/ 771303 h 953154"/>
                    <a:gd name="connsiteX58" fmla="*/ 273819 w 1264370"/>
                    <a:gd name="connsiteY58" fmla="*/ 765052 h 953154"/>
                    <a:gd name="connsiteX59" fmla="*/ 335917 w 1264370"/>
                    <a:gd name="connsiteY59" fmla="*/ 758800 h 953154"/>
                    <a:gd name="connsiteX60" fmla="*/ 354533 w 1264370"/>
                    <a:gd name="connsiteY60" fmla="*/ 733655 h 953154"/>
                    <a:gd name="connsiteX61" fmla="*/ 391764 w 1264370"/>
                    <a:gd name="connsiteY61" fmla="*/ 714901 h 953154"/>
                    <a:gd name="connsiteX62" fmla="*/ 453863 w 1264370"/>
                    <a:gd name="connsiteY62" fmla="*/ 702398 h 953154"/>
                    <a:gd name="connsiteX63" fmla="*/ 547081 w 1264370"/>
                    <a:gd name="connsiteY63" fmla="*/ 683643 h 953154"/>
                    <a:gd name="connsiteX64" fmla="*/ 571948 w 1264370"/>
                    <a:gd name="connsiteY64" fmla="*/ 677391 h 953154"/>
                    <a:gd name="connsiteX65" fmla="*/ 596816 w 1264370"/>
                    <a:gd name="connsiteY65" fmla="*/ 696146 h 953154"/>
                    <a:gd name="connsiteX66" fmla="*/ 665166 w 1264370"/>
                    <a:gd name="connsiteY66" fmla="*/ 714901 h 953154"/>
                    <a:gd name="connsiteX67" fmla="*/ 665166 w 1264370"/>
                    <a:gd name="connsiteY67" fmla="*/ 733655 h 953154"/>
                    <a:gd name="connsiteX68" fmla="*/ 690033 w 1264370"/>
                    <a:gd name="connsiteY68" fmla="*/ 758800 h 953154"/>
                    <a:gd name="connsiteX69" fmla="*/ 696285 w 1264370"/>
                    <a:gd name="connsiteY69" fmla="*/ 783946 h 953154"/>
                    <a:gd name="connsiteX70" fmla="*/ 714901 w 1264370"/>
                    <a:gd name="connsiteY70" fmla="*/ 802700 h 953154"/>
                    <a:gd name="connsiteX71" fmla="*/ 721152 w 1264370"/>
                    <a:gd name="connsiteY71" fmla="*/ 783946 h 953154"/>
                    <a:gd name="connsiteX72" fmla="*/ 746020 w 1264370"/>
                    <a:gd name="connsiteY72" fmla="*/ 765191 h 953154"/>
                    <a:gd name="connsiteX73" fmla="*/ 777138 w 1264370"/>
                    <a:gd name="connsiteY73" fmla="*/ 721291 h 953154"/>
                    <a:gd name="connsiteX74" fmla="*/ 777138 w 1264370"/>
                    <a:gd name="connsiteY74" fmla="*/ 752688 h 953154"/>
                    <a:gd name="connsiteX75" fmla="*/ 770887 w 1264370"/>
                    <a:gd name="connsiteY75" fmla="*/ 765191 h 953154"/>
                    <a:gd name="connsiteX76" fmla="*/ 764635 w 1264370"/>
                    <a:gd name="connsiteY76" fmla="*/ 790336 h 953154"/>
                    <a:gd name="connsiteX77" fmla="*/ 758384 w 1264370"/>
                    <a:gd name="connsiteY77" fmla="*/ 809091 h 953154"/>
                    <a:gd name="connsiteX78" fmla="*/ 776999 w 1264370"/>
                    <a:gd name="connsiteY78" fmla="*/ 771443 h 953154"/>
                    <a:gd name="connsiteX79" fmla="*/ 795615 w 1264370"/>
                    <a:gd name="connsiteY79" fmla="*/ 809091 h 953154"/>
                    <a:gd name="connsiteX80" fmla="*/ 814370 w 1264370"/>
                    <a:gd name="connsiteY80" fmla="*/ 827846 h 953154"/>
                    <a:gd name="connsiteX81" fmla="*/ 832986 w 1264370"/>
                    <a:gd name="connsiteY81" fmla="*/ 871745 h 953154"/>
                    <a:gd name="connsiteX82" fmla="*/ 864105 w 1264370"/>
                    <a:gd name="connsiteY82" fmla="*/ 909394 h 953154"/>
                    <a:gd name="connsiteX83" fmla="*/ 901336 w 1264370"/>
                    <a:gd name="connsiteY83" fmla="*/ 921897 h 953154"/>
                    <a:gd name="connsiteX84" fmla="*/ 951071 w 1264370"/>
                    <a:gd name="connsiteY84" fmla="*/ 947042 h 953154"/>
                    <a:gd name="connsiteX85" fmla="*/ 982190 w 1264370"/>
                    <a:gd name="connsiteY85" fmla="*/ 921897 h 953154"/>
                    <a:gd name="connsiteX86" fmla="*/ 1000805 w 1264370"/>
                    <a:gd name="connsiteY86" fmla="*/ 909394 h 953154"/>
                    <a:gd name="connsiteX87" fmla="*/ 994554 w 1264370"/>
                    <a:gd name="connsiteY87" fmla="*/ 928148 h 953154"/>
                    <a:gd name="connsiteX88" fmla="*/ 1007057 w 1264370"/>
                    <a:gd name="connsiteY88" fmla="*/ 915645 h 953154"/>
                    <a:gd name="connsiteX89" fmla="*/ 1025672 w 1264370"/>
                    <a:gd name="connsiteY89" fmla="*/ 934400 h 953154"/>
                    <a:gd name="connsiteX90" fmla="*/ 1044427 w 1264370"/>
                    <a:gd name="connsiteY90" fmla="*/ 953155 h 953154"/>
                    <a:gd name="connsiteX91" fmla="*/ 1056791 w 1264370"/>
                    <a:gd name="connsiteY91" fmla="*/ 934400 h 953154"/>
                    <a:gd name="connsiteX92" fmla="*/ 1081659 w 1264370"/>
                    <a:gd name="connsiteY92" fmla="*/ 909255 h 953154"/>
                    <a:gd name="connsiteX93" fmla="*/ 1150009 w 1264370"/>
                    <a:gd name="connsiteY93" fmla="*/ 890500 h 953154"/>
                    <a:gd name="connsiteX94" fmla="*/ 1168625 w 1264370"/>
                    <a:gd name="connsiteY94" fmla="*/ 815203 h 953154"/>
                    <a:gd name="connsiteX95" fmla="*/ 1205857 w 1264370"/>
                    <a:gd name="connsiteY95" fmla="*/ 739907 h 953154"/>
                    <a:gd name="connsiteX96" fmla="*/ 1230724 w 1264370"/>
                    <a:gd name="connsiteY96" fmla="*/ 714762 h 953154"/>
                    <a:gd name="connsiteX97" fmla="*/ 1230724 w 1264370"/>
                    <a:gd name="connsiteY97" fmla="*/ 702259 h 953154"/>
                    <a:gd name="connsiteX98" fmla="*/ 1243088 w 1264370"/>
                    <a:gd name="connsiteY98" fmla="*/ 677114 h 953154"/>
                    <a:gd name="connsiteX99" fmla="*/ 1249339 w 1264370"/>
                    <a:gd name="connsiteY99" fmla="*/ 639465 h 953154"/>
                    <a:gd name="connsiteX100" fmla="*/ 1255591 w 1264370"/>
                    <a:gd name="connsiteY100" fmla="*/ 620710 h 953154"/>
                    <a:gd name="connsiteX101" fmla="*/ 1255591 w 1264370"/>
                    <a:gd name="connsiteY101" fmla="*/ 601956 h 953154"/>
                    <a:gd name="connsiteX102" fmla="*/ 1261843 w 1264370"/>
                    <a:gd name="connsiteY102" fmla="*/ 570559 h 953154"/>
                    <a:gd name="connsiteX103" fmla="*/ 1255591 w 1264370"/>
                    <a:gd name="connsiteY103" fmla="*/ 545414 h 953154"/>
                    <a:gd name="connsiteX104" fmla="*/ 1249339 w 1264370"/>
                    <a:gd name="connsiteY104" fmla="*/ 520269 h 953154"/>
                    <a:gd name="connsiteX105" fmla="*/ 1255591 w 1264370"/>
                    <a:gd name="connsiteY105" fmla="*/ 457614 h 953154"/>
                    <a:gd name="connsiteX106" fmla="*/ 1243088 w 1264370"/>
                    <a:gd name="connsiteY106" fmla="*/ 476369 h 953154"/>
                    <a:gd name="connsiteX107" fmla="*/ 1218221 w 1264370"/>
                    <a:gd name="connsiteY107" fmla="*/ 438721 h 953154"/>
                    <a:gd name="connsiteX108" fmla="*/ 1180989 w 1264370"/>
                    <a:gd name="connsiteY108" fmla="*/ 388569 h 953154"/>
                    <a:gd name="connsiteX109" fmla="*/ 1162373 w 1264370"/>
                    <a:gd name="connsiteY109" fmla="*/ 369814 h 953154"/>
                    <a:gd name="connsiteX110" fmla="*/ 1143758 w 1264370"/>
                    <a:gd name="connsiteY110" fmla="*/ 369814 h 953154"/>
                    <a:gd name="connsiteX111" fmla="*/ 1125142 w 1264370"/>
                    <a:gd name="connsiteY111" fmla="*/ 332166 h 953154"/>
                    <a:gd name="connsiteX112" fmla="*/ 1118890 w 1264370"/>
                    <a:gd name="connsiteY112" fmla="*/ 319663 h 953154"/>
                    <a:gd name="connsiteX113" fmla="*/ 1118890 w 1264370"/>
                    <a:gd name="connsiteY113" fmla="*/ 313412 h 953154"/>
                    <a:gd name="connsiteX114" fmla="*/ 1081659 w 1264370"/>
                    <a:gd name="connsiteY114" fmla="*/ 288266 h 953154"/>
                    <a:gd name="connsiteX115" fmla="*/ 1044427 w 1264370"/>
                    <a:gd name="connsiteY115" fmla="*/ 269512 h 953154"/>
                    <a:gd name="connsiteX116" fmla="*/ 1032063 w 1264370"/>
                    <a:gd name="connsiteY116" fmla="*/ 225612 h 953154"/>
                    <a:gd name="connsiteX117" fmla="*/ 1025812 w 1264370"/>
                    <a:gd name="connsiteY117" fmla="*/ 194215 h 953154"/>
                    <a:gd name="connsiteX118" fmla="*/ 1013447 w 1264370"/>
                    <a:gd name="connsiteY118" fmla="*/ 175461 h 953154"/>
                    <a:gd name="connsiteX119" fmla="*/ 1001083 w 1264370"/>
                    <a:gd name="connsiteY119" fmla="*/ 125309 h 953154"/>
                    <a:gd name="connsiteX120" fmla="*/ 982467 w 1264370"/>
                    <a:gd name="connsiteY120" fmla="*/ 112806 h 953154"/>
                    <a:gd name="connsiteX121" fmla="*/ 963851 w 1264370"/>
                    <a:gd name="connsiteY121" fmla="*/ 106554 h 953154"/>
                    <a:gd name="connsiteX122" fmla="*/ 945236 w 1264370"/>
                    <a:gd name="connsiteY122" fmla="*/ 50152 h 953154"/>
                    <a:gd name="connsiteX123" fmla="*/ 920369 w 1264370"/>
                    <a:gd name="connsiteY123" fmla="*/ 0 h 953154"/>
                    <a:gd name="connsiteX124" fmla="*/ 914117 w 1264370"/>
                    <a:gd name="connsiteY124" fmla="*/ 18755 h 953154"/>
                    <a:gd name="connsiteX125" fmla="*/ 901614 w 1264370"/>
                    <a:gd name="connsiteY125" fmla="*/ 37509 h 953154"/>
                    <a:gd name="connsiteX126" fmla="*/ 895362 w 1264370"/>
                    <a:gd name="connsiteY126" fmla="*/ 56264 h 953154"/>
                    <a:gd name="connsiteX127" fmla="*/ 901614 w 1264370"/>
                    <a:gd name="connsiteY127" fmla="*/ 62516 h 953154"/>
                    <a:gd name="connsiteX128" fmla="*/ 889250 w 1264370"/>
                    <a:gd name="connsiteY128" fmla="*/ 100164 h 953154"/>
                    <a:gd name="connsiteX129" fmla="*/ 895502 w 1264370"/>
                    <a:gd name="connsiteY129" fmla="*/ 137812 h 953154"/>
                    <a:gd name="connsiteX130" fmla="*/ 852018 w 1264370"/>
                    <a:gd name="connsiteY130" fmla="*/ 225612 h 953154"/>
                    <a:gd name="connsiteX131" fmla="*/ 808535 w 1264370"/>
                    <a:gd name="connsiteY131" fmla="*/ 194215 h 953154"/>
                    <a:gd name="connsiteX132" fmla="*/ 771165 w 1264370"/>
                    <a:gd name="connsiteY132" fmla="*/ 175461 h 953154"/>
                    <a:gd name="connsiteX133" fmla="*/ 702814 w 1264370"/>
                    <a:gd name="connsiteY133" fmla="*/ 125309 h 953154"/>
                    <a:gd name="connsiteX134" fmla="*/ 715317 w 1264370"/>
                    <a:gd name="connsiteY134" fmla="*/ 106554 h 953154"/>
                    <a:gd name="connsiteX135" fmla="*/ 727681 w 1264370"/>
                    <a:gd name="connsiteY135" fmla="*/ 94051 h 953154"/>
                    <a:gd name="connsiteX136" fmla="*/ 721430 w 1264370"/>
                    <a:gd name="connsiteY136" fmla="*/ 81548 h 953154"/>
                    <a:gd name="connsiteX137" fmla="*/ 733794 w 1264370"/>
                    <a:gd name="connsiteY137" fmla="*/ 69045 h 953154"/>
                    <a:gd name="connsiteX138" fmla="*/ 752410 w 1264370"/>
                    <a:gd name="connsiteY138" fmla="*/ 50290 h 953154"/>
                    <a:gd name="connsiteX139" fmla="*/ 733794 w 1264370"/>
                    <a:gd name="connsiteY139" fmla="*/ 37787 h 953154"/>
                    <a:gd name="connsiteX140" fmla="*/ 727542 w 1264370"/>
                    <a:gd name="connsiteY140" fmla="*/ 50290 h 953154"/>
                    <a:gd name="connsiteX141" fmla="*/ 715178 w 1264370"/>
                    <a:gd name="connsiteY141" fmla="*/ 37787 h 953154"/>
                    <a:gd name="connsiteX142" fmla="*/ 696563 w 1264370"/>
                    <a:gd name="connsiteY142" fmla="*/ 44039 h 953154"/>
                    <a:gd name="connsiteX143" fmla="*/ 677947 w 1264370"/>
                    <a:gd name="connsiteY143" fmla="*/ 44039 h 953154"/>
                    <a:gd name="connsiteX144" fmla="*/ 627656 w 1264370"/>
                    <a:gd name="connsiteY144" fmla="*/ 25423 h 953154"/>
                    <a:gd name="connsiteX145" fmla="*/ 627656 w 1264370"/>
                    <a:gd name="connsiteY145" fmla="*/ 25423 h 95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264370" h="953154">
                      <a:moveTo>
                        <a:pt x="627656" y="25423"/>
                      </a:moveTo>
                      <a:cubicBezTo>
                        <a:pt x="615153" y="25423"/>
                        <a:pt x="609041" y="12920"/>
                        <a:pt x="596538" y="12920"/>
                      </a:cubicBezTo>
                      <a:cubicBezTo>
                        <a:pt x="590286" y="6668"/>
                        <a:pt x="590286" y="12920"/>
                        <a:pt x="596538" y="19172"/>
                      </a:cubicBezTo>
                      <a:cubicBezTo>
                        <a:pt x="596538" y="25423"/>
                        <a:pt x="608902" y="19172"/>
                        <a:pt x="608902" y="19172"/>
                      </a:cubicBezTo>
                      <a:cubicBezTo>
                        <a:pt x="615153" y="25423"/>
                        <a:pt x="608902" y="37926"/>
                        <a:pt x="615153" y="37926"/>
                      </a:cubicBezTo>
                      <a:cubicBezTo>
                        <a:pt x="615153" y="44178"/>
                        <a:pt x="608902" y="44178"/>
                        <a:pt x="602789" y="44178"/>
                      </a:cubicBezTo>
                      <a:cubicBezTo>
                        <a:pt x="596538" y="50429"/>
                        <a:pt x="590425" y="50429"/>
                        <a:pt x="584174" y="50429"/>
                      </a:cubicBezTo>
                      <a:cubicBezTo>
                        <a:pt x="571810" y="44178"/>
                        <a:pt x="571810" y="50429"/>
                        <a:pt x="559445" y="50429"/>
                      </a:cubicBezTo>
                      <a:cubicBezTo>
                        <a:pt x="540690" y="56681"/>
                        <a:pt x="546942" y="75575"/>
                        <a:pt x="534578" y="81826"/>
                      </a:cubicBezTo>
                      <a:cubicBezTo>
                        <a:pt x="522075" y="94329"/>
                        <a:pt x="515962" y="113223"/>
                        <a:pt x="522075" y="125726"/>
                      </a:cubicBezTo>
                      <a:cubicBezTo>
                        <a:pt x="534578" y="144480"/>
                        <a:pt x="503459" y="131977"/>
                        <a:pt x="497346" y="131977"/>
                      </a:cubicBezTo>
                      <a:cubicBezTo>
                        <a:pt x="491095" y="131977"/>
                        <a:pt x="472479" y="150732"/>
                        <a:pt x="472479" y="150732"/>
                      </a:cubicBezTo>
                      <a:cubicBezTo>
                        <a:pt x="472479" y="150732"/>
                        <a:pt x="466228" y="119336"/>
                        <a:pt x="460114" y="113084"/>
                      </a:cubicBezTo>
                      <a:cubicBezTo>
                        <a:pt x="460114" y="106832"/>
                        <a:pt x="453863" y="106832"/>
                        <a:pt x="447611" y="106832"/>
                      </a:cubicBezTo>
                      <a:cubicBezTo>
                        <a:pt x="441360" y="100581"/>
                        <a:pt x="441360" y="100581"/>
                        <a:pt x="441360" y="94329"/>
                      </a:cubicBezTo>
                      <a:cubicBezTo>
                        <a:pt x="435108" y="88078"/>
                        <a:pt x="435108" y="100581"/>
                        <a:pt x="435108" y="106832"/>
                      </a:cubicBezTo>
                      <a:cubicBezTo>
                        <a:pt x="428857" y="106832"/>
                        <a:pt x="422605" y="106832"/>
                        <a:pt x="422605" y="100581"/>
                      </a:cubicBezTo>
                      <a:cubicBezTo>
                        <a:pt x="410241" y="100581"/>
                        <a:pt x="416354" y="125726"/>
                        <a:pt x="403989" y="119336"/>
                      </a:cubicBezTo>
                      <a:lnTo>
                        <a:pt x="397738" y="113084"/>
                      </a:lnTo>
                      <a:cubicBezTo>
                        <a:pt x="391486" y="119336"/>
                        <a:pt x="391486" y="119336"/>
                        <a:pt x="391486" y="119336"/>
                      </a:cubicBezTo>
                      <a:cubicBezTo>
                        <a:pt x="372871" y="113084"/>
                        <a:pt x="385235" y="138090"/>
                        <a:pt x="385235" y="138090"/>
                      </a:cubicBezTo>
                      <a:lnTo>
                        <a:pt x="372871" y="138090"/>
                      </a:lnTo>
                      <a:cubicBezTo>
                        <a:pt x="372871" y="144342"/>
                        <a:pt x="379122" y="144342"/>
                        <a:pt x="379122" y="144342"/>
                      </a:cubicBezTo>
                      <a:cubicBezTo>
                        <a:pt x="372871" y="156845"/>
                        <a:pt x="366758" y="144342"/>
                        <a:pt x="366758" y="163096"/>
                      </a:cubicBezTo>
                      <a:cubicBezTo>
                        <a:pt x="366758" y="169348"/>
                        <a:pt x="373010" y="169348"/>
                        <a:pt x="373010" y="175600"/>
                      </a:cubicBezTo>
                      <a:cubicBezTo>
                        <a:pt x="373010" y="188103"/>
                        <a:pt x="329388" y="163096"/>
                        <a:pt x="329388" y="181851"/>
                      </a:cubicBezTo>
                      <a:cubicBezTo>
                        <a:pt x="329388" y="188103"/>
                        <a:pt x="354255" y="200606"/>
                        <a:pt x="341891" y="206996"/>
                      </a:cubicBezTo>
                      <a:cubicBezTo>
                        <a:pt x="335639" y="206996"/>
                        <a:pt x="335639" y="200745"/>
                        <a:pt x="335639" y="206996"/>
                      </a:cubicBezTo>
                      <a:cubicBezTo>
                        <a:pt x="329388" y="213248"/>
                        <a:pt x="329388" y="213248"/>
                        <a:pt x="323136" y="206996"/>
                      </a:cubicBezTo>
                      <a:cubicBezTo>
                        <a:pt x="316885" y="206996"/>
                        <a:pt x="323136" y="194493"/>
                        <a:pt x="316885" y="188241"/>
                      </a:cubicBezTo>
                      <a:cubicBezTo>
                        <a:pt x="310633" y="175738"/>
                        <a:pt x="298269" y="200745"/>
                        <a:pt x="292017" y="206996"/>
                      </a:cubicBezTo>
                      <a:cubicBezTo>
                        <a:pt x="292017" y="213248"/>
                        <a:pt x="285765" y="219499"/>
                        <a:pt x="285765" y="225751"/>
                      </a:cubicBezTo>
                      <a:cubicBezTo>
                        <a:pt x="285765" y="225751"/>
                        <a:pt x="292017" y="232002"/>
                        <a:pt x="292017" y="238254"/>
                      </a:cubicBezTo>
                      <a:cubicBezTo>
                        <a:pt x="292017" y="238254"/>
                        <a:pt x="279653" y="250757"/>
                        <a:pt x="273401" y="257009"/>
                      </a:cubicBezTo>
                      <a:cubicBezTo>
                        <a:pt x="254786" y="275763"/>
                        <a:pt x="236031" y="288405"/>
                        <a:pt x="211303" y="294657"/>
                      </a:cubicBezTo>
                      <a:cubicBezTo>
                        <a:pt x="192687" y="294657"/>
                        <a:pt x="173932" y="307160"/>
                        <a:pt x="149204" y="313412"/>
                      </a:cubicBezTo>
                      <a:cubicBezTo>
                        <a:pt x="130588" y="319663"/>
                        <a:pt x="111973" y="319663"/>
                        <a:pt x="93218" y="332166"/>
                      </a:cubicBezTo>
                      <a:cubicBezTo>
                        <a:pt x="80853" y="344669"/>
                        <a:pt x="74602" y="344669"/>
                        <a:pt x="62098" y="350921"/>
                      </a:cubicBezTo>
                      <a:cubicBezTo>
                        <a:pt x="55847" y="357173"/>
                        <a:pt x="43483" y="376066"/>
                        <a:pt x="43483" y="376066"/>
                      </a:cubicBezTo>
                      <a:cubicBezTo>
                        <a:pt x="37231" y="376066"/>
                        <a:pt x="43483" y="357311"/>
                        <a:pt x="43483" y="350921"/>
                      </a:cubicBezTo>
                      <a:cubicBezTo>
                        <a:pt x="31119" y="350921"/>
                        <a:pt x="24867" y="382318"/>
                        <a:pt x="24867" y="382318"/>
                      </a:cubicBezTo>
                      <a:cubicBezTo>
                        <a:pt x="31119" y="401072"/>
                        <a:pt x="18616" y="407463"/>
                        <a:pt x="18616" y="426218"/>
                      </a:cubicBezTo>
                      <a:cubicBezTo>
                        <a:pt x="18616" y="432469"/>
                        <a:pt x="49734" y="501514"/>
                        <a:pt x="37231" y="507766"/>
                      </a:cubicBezTo>
                      <a:lnTo>
                        <a:pt x="18616" y="482621"/>
                      </a:lnTo>
                      <a:cubicBezTo>
                        <a:pt x="18616" y="488872"/>
                        <a:pt x="37231" y="507766"/>
                        <a:pt x="24867" y="514017"/>
                      </a:cubicBezTo>
                      <a:cubicBezTo>
                        <a:pt x="12364" y="514017"/>
                        <a:pt x="12364" y="482621"/>
                        <a:pt x="0" y="482621"/>
                      </a:cubicBezTo>
                      <a:cubicBezTo>
                        <a:pt x="0" y="482621"/>
                        <a:pt x="37231" y="532772"/>
                        <a:pt x="37231" y="539023"/>
                      </a:cubicBezTo>
                      <a:cubicBezTo>
                        <a:pt x="43483" y="545275"/>
                        <a:pt x="37231" y="557778"/>
                        <a:pt x="43483" y="570420"/>
                      </a:cubicBezTo>
                      <a:cubicBezTo>
                        <a:pt x="49734" y="582923"/>
                        <a:pt x="55986" y="589175"/>
                        <a:pt x="62098" y="601817"/>
                      </a:cubicBezTo>
                      <a:cubicBezTo>
                        <a:pt x="68350" y="608068"/>
                        <a:pt x="68350" y="626962"/>
                        <a:pt x="68350" y="633214"/>
                      </a:cubicBezTo>
                      <a:cubicBezTo>
                        <a:pt x="68350" y="645717"/>
                        <a:pt x="74602" y="658359"/>
                        <a:pt x="80853" y="664610"/>
                      </a:cubicBezTo>
                      <a:cubicBezTo>
                        <a:pt x="87105" y="683365"/>
                        <a:pt x="87105" y="689755"/>
                        <a:pt x="87105" y="708510"/>
                      </a:cubicBezTo>
                      <a:cubicBezTo>
                        <a:pt x="87105" y="714762"/>
                        <a:pt x="87105" y="746159"/>
                        <a:pt x="87105" y="746159"/>
                      </a:cubicBezTo>
                      <a:cubicBezTo>
                        <a:pt x="80853" y="752410"/>
                        <a:pt x="74602" y="752410"/>
                        <a:pt x="68489" y="758662"/>
                      </a:cubicBezTo>
                      <a:cubicBezTo>
                        <a:pt x="62237" y="777416"/>
                        <a:pt x="74741" y="777416"/>
                        <a:pt x="80992" y="783807"/>
                      </a:cubicBezTo>
                      <a:cubicBezTo>
                        <a:pt x="105721" y="796310"/>
                        <a:pt x="124476" y="808952"/>
                        <a:pt x="155594" y="802561"/>
                      </a:cubicBezTo>
                      <a:cubicBezTo>
                        <a:pt x="167958" y="796310"/>
                        <a:pt x="180462" y="790058"/>
                        <a:pt x="186713" y="783807"/>
                      </a:cubicBezTo>
                      <a:cubicBezTo>
                        <a:pt x="205329" y="777555"/>
                        <a:pt x="199077" y="783807"/>
                        <a:pt x="205329" y="771303"/>
                      </a:cubicBezTo>
                      <a:cubicBezTo>
                        <a:pt x="217832" y="758800"/>
                        <a:pt x="261315" y="758800"/>
                        <a:pt x="273819" y="765052"/>
                      </a:cubicBezTo>
                      <a:cubicBezTo>
                        <a:pt x="292434" y="765052"/>
                        <a:pt x="323553" y="777555"/>
                        <a:pt x="335917" y="758800"/>
                      </a:cubicBezTo>
                      <a:cubicBezTo>
                        <a:pt x="342168" y="752549"/>
                        <a:pt x="342168" y="740046"/>
                        <a:pt x="354533" y="733655"/>
                      </a:cubicBezTo>
                      <a:cubicBezTo>
                        <a:pt x="367036" y="727404"/>
                        <a:pt x="379400" y="721152"/>
                        <a:pt x="391764" y="714901"/>
                      </a:cubicBezTo>
                      <a:cubicBezTo>
                        <a:pt x="410380" y="702398"/>
                        <a:pt x="435386" y="714901"/>
                        <a:pt x="453863" y="702398"/>
                      </a:cubicBezTo>
                      <a:cubicBezTo>
                        <a:pt x="484982" y="689894"/>
                        <a:pt x="509850" y="689894"/>
                        <a:pt x="547081" y="683643"/>
                      </a:cubicBezTo>
                      <a:cubicBezTo>
                        <a:pt x="553332" y="683643"/>
                        <a:pt x="559584" y="677391"/>
                        <a:pt x="571948" y="677391"/>
                      </a:cubicBezTo>
                      <a:cubicBezTo>
                        <a:pt x="578200" y="683643"/>
                        <a:pt x="590564" y="689894"/>
                        <a:pt x="596816" y="696146"/>
                      </a:cubicBezTo>
                      <a:cubicBezTo>
                        <a:pt x="603067" y="696146"/>
                        <a:pt x="665166" y="708649"/>
                        <a:pt x="665166" y="714901"/>
                      </a:cubicBezTo>
                      <a:cubicBezTo>
                        <a:pt x="658914" y="721152"/>
                        <a:pt x="652802" y="740046"/>
                        <a:pt x="665166" y="733655"/>
                      </a:cubicBezTo>
                      <a:cubicBezTo>
                        <a:pt x="671417" y="733655"/>
                        <a:pt x="683781" y="752410"/>
                        <a:pt x="690033" y="758800"/>
                      </a:cubicBezTo>
                      <a:cubicBezTo>
                        <a:pt x="696285" y="765052"/>
                        <a:pt x="696285" y="771303"/>
                        <a:pt x="696285" y="783946"/>
                      </a:cubicBezTo>
                      <a:cubicBezTo>
                        <a:pt x="702536" y="790197"/>
                        <a:pt x="714901" y="802700"/>
                        <a:pt x="714901" y="802700"/>
                      </a:cubicBezTo>
                      <a:cubicBezTo>
                        <a:pt x="714901" y="796449"/>
                        <a:pt x="708649" y="790197"/>
                        <a:pt x="721152" y="783946"/>
                      </a:cubicBezTo>
                      <a:cubicBezTo>
                        <a:pt x="727404" y="777694"/>
                        <a:pt x="733516" y="771443"/>
                        <a:pt x="746020" y="765191"/>
                      </a:cubicBezTo>
                      <a:cubicBezTo>
                        <a:pt x="752271" y="758939"/>
                        <a:pt x="783251" y="727543"/>
                        <a:pt x="777138" y="721291"/>
                      </a:cubicBezTo>
                      <a:cubicBezTo>
                        <a:pt x="783390" y="733794"/>
                        <a:pt x="777138" y="740046"/>
                        <a:pt x="777138" y="752688"/>
                      </a:cubicBezTo>
                      <a:cubicBezTo>
                        <a:pt x="783390" y="758939"/>
                        <a:pt x="770887" y="765191"/>
                        <a:pt x="770887" y="765191"/>
                      </a:cubicBezTo>
                      <a:cubicBezTo>
                        <a:pt x="764635" y="777694"/>
                        <a:pt x="764635" y="783946"/>
                        <a:pt x="764635" y="790336"/>
                      </a:cubicBezTo>
                      <a:cubicBezTo>
                        <a:pt x="764635" y="802839"/>
                        <a:pt x="739768" y="809091"/>
                        <a:pt x="758384" y="809091"/>
                      </a:cubicBezTo>
                      <a:cubicBezTo>
                        <a:pt x="783251" y="809091"/>
                        <a:pt x="770748" y="783946"/>
                        <a:pt x="776999" y="771443"/>
                      </a:cubicBezTo>
                      <a:cubicBezTo>
                        <a:pt x="776999" y="771443"/>
                        <a:pt x="801728" y="796588"/>
                        <a:pt x="795615" y="809091"/>
                      </a:cubicBezTo>
                      <a:cubicBezTo>
                        <a:pt x="776999" y="834236"/>
                        <a:pt x="801866" y="815343"/>
                        <a:pt x="814370" y="827846"/>
                      </a:cubicBezTo>
                      <a:cubicBezTo>
                        <a:pt x="832986" y="846600"/>
                        <a:pt x="832986" y="852991"/>
                        <a:pt x="832986" y="871745"/>
                      </a:cubicBezTo>
                      <a:cubicBezTo>
                        <a:pt x="826734" y="890500"/>
                        <a:pt x="851602" y="909394"/>
                        <a:pt x="864105" y="909394"/>
                      </a:cubicBezTo>
                      <a:cubicBezTo>
                        <a:pt x="876608" y="915645"/>
                        <a:pt x="888972" y="921897"/>
                        <a:pt x="901336" y="921897"/>
                      </a:cubicBezTo>
                      <a:cubicBezTo>
                        <a:pt x="913839" y="921897"/>
                        <a:pt x="938706" y="953293"/>
                        <a:pt x="951071" y="947042"/>
                      </a:cubicBezTo>
                      <a:cubicBezTo>
                        <a:pt x="963435" y="940790"/>
                        <a:pt x="975938" y="934539"/>
                        <a:pt x="982190" y="921897"/>
                      </a:cubicBezTo>
                      <a:cubicBezTo>
                        <a:pt x="982190" y="921897"/>
                        <a:pt x="994554" y="903142"/>
                        <a:pt x="1000805" y="909394"/>
                      </a:cubicBezTo>
                      <a:cubicBezTo>
                        <a:pt x="1000805" y="915645"/>
                        <a:pt x="988302" y="921897"/>
                        <a:pt x="994554" y="928148"/>
                      </a:cubicBezTo>
                      <a:cubicBezTo>
                        <a:pt x="1000805" y="934400"/>
                        <a:pt x="1000805" y="915645"/>
                        <a:pt x="1007057" y="915645"/>
                      </a:cubicBezTo>
                      <a:cubicBezTo>
                        <a:pt x="1007057" y="915645"/>
                        <a:pt x="1019421" y="934400"/>
                        <a:pt x="1025672" y="934400"/>
                      </a:cubicBezTo>
                      <a:cubicBezTo>
                        <a:pt x="1025672" y="940651"/>
                        <a:pt x="1038176" y="953155"/>
                        <a:pt x="1044427" y="953155"/>
                      </a:cubicBezTo>
                      <a:cubicBezTo>
                        <a:pt x="1038176" y="953155"/>
                        <a:pt x="1056791" y="934400"/>
                        <a:pt x="1056791" y="934400"/>
                      </a:cubicBezTo>
                      <a:cubicBezTo>
                        <a:pt x="1069294" y="928148"/>
                        <a:pt x="1075408" y="915645"/>
                        <a:pt x="1081659" y="909255"/>
                      </a:cubicBezTo>
                      <a:cubicBezTo>
                        <a:pt x="1100414" y="903003"/>
                        <a:pt x="1150009" y="915506"/>
                        <a:pt x="1150009" y="890500"/>
                      </a:cubicBezTo>
                      <a:cubicBezTo>
                        <a:pt x="1156261" y="859103"/>
                        <a:pt x="1162512" y="840349"/>
                        <a:pt x="1168625" y="815203"/>
                      </a:cubicBezTo>
                      <a:cubicBezTo>
                        <a:pt x="1180989" y="790058"/>
                        <a:pt x="1187241" y="765052"/>
                        <a:pt x="1205857" y="739907"/>
                      </a:cubicBezTo>
                      <a:cubicBezTo>
                        <a:pt x="1212108" y="733655"/>
                        <a:pt x="1224472" y="727404"/>
                        <a:pt x="1230724" y="714762"/>
                      </a:cubicBezTo>
                      <a:cubicBezTo>
                        <a:pt x="1230724" y="708510"/>
                        <a:pt x="1230724" y="708510"/>
                        <a:pt x="1230724" y="702259"/>
                      </a:cubicBezTo>
                      <a:cubicBezTo>
                        <a:pt x="1236975" y="696007"/>
                        <a:pt x="1243088" y="689755"/>
                        <a:pt x="1243088" y="677114"/>
                      </a:cubicBezTo>
                      <a:cubicBezTo>
                        <a:pt x="1249339" y="664610"/>
                        <a:pt x="1243088" y="651968"/>
                        <a:pt x="1249339" y="639465"/>
                      </a:cubicBezTo>
                      <a:cubicBezTo>
                        <a:pt x="1249339" y="633214"/>
                        <a:pt x="1255591" y="626962"/>
                        <a:pt x="1255591" y="620710"/>
                      </a:cubicBezTo>
                      <a:cubicBezTo>
                        <a:pt x="1261843" y="614459"/>
                        <a:pt x="1249339" y="608207"/>
                        <a:pt x="1255591" y="601956"/>
                      </a:cubicBezTo>
                      <a:cubicBezTo>
                        <a:pt x="1261843" y="595704"/>
                        <a:pt x="1267955" y="576811"/>
                        <a:pt x="1261843" y="570559"/>
                      </a:cubicBezTo>
                      <a:cubicBezTo>
                        <a:pt x="1261843" y="558056"/>
                        <a:pt x="1255591" y="551804"/>
                        <a:pt x="1255591" y="545414"/>
                      </a:cubicBezTo>
                      <a:cubicBezTo>
                        <a:pt x="1249339" y="539162"/>
                        <a:pt x="1249339" y="526659"/>
                        <a:pt x="1249339" y="520269"/>
                      </a:cubicBezTo>
                      <a:cubicBezTo>
                        <a:pt x="1243088" y="495124"/>
                        <a:pt x="1261843" y="482621"/>
                        <a:pt x="1255591" y="457614"/>
                      </a:cubicBezTo>
                      <a:cubicBezTo>
                        <a:pt x="1255591" y="463866"/>
                        <a:pt x="1249339" y="476369"/>
                        <a:pt x="1243088" y="476369"/>
                      </a:cubicBezTo>
                      <a:cubicBezTo>
                        <a:pt x="1230724" y="476369"/>
                        <a:pt x="1224472" y="451224"/>
                        <a:pt x="1218221" y="438721"/>
                      </a:cubicBezTo>
                      <a:cubicBezTo>
                        <a:pt x="1205857" y="419966"/>
                        <a:pt x="1180989" y="419966"/>
                        <a:pt x="1180989" y="388569"/>
                      </a:cubicBezTo>
                      <a:cubicBezTo>
                        <a:pt x="1174738" y="376066"/>
                        <a:pt x="1168625" y="376066"/>
                        <a:pt x="1162373" y="369814"/>
                      </a:cubicBezTo>
                      <a:cubicBezTo>
                        <a:pt x="1149870" y="363563"/>
                        <a:pt x="1149870" y="382318"/>
                        <a:pt x="1143758" y="369814"/>
                      </a:cubicBezTo>
                      <a:cubicBezTo>
                        <a:pt x="1143758" y="351060"/>
                        <a:pt x="1137506" y="344669"/>
                        <a:pt x="1125142" y="332166"/>
                      </a:cubicBezTo>
                      <a:cubicBezTo>
                        <a:pt x="1125142" y="332166"/>
                        <a:pt x="1118890" y="325915"/>
                        <a:pt x="1118890" y="319663"/>
                      </a:cubicBezTo>
                      <a:cubicBezTo>
                        <a:pt x="1112639" y="319663"/>
                        <a:pt x="1118890" y="307160"/>
                        <a:pt x="1118890" y="313412"/>
                      </a:cubicBezTo>
                      <a:cubicBezTo>
                        <a:pt x="1106526" y="300909"/>
                        <a:pt x="1094162" y="294657"/>
                        <a:pt x="1081659" y="288266"/>
                      </a:cubicBezTo>
                      <a:cubicBezTo>
                        <a:pt x="1069294" y="275763"/>
                        <a:pt x="1050540" y="282015"/>
                        <a:pt x="1044427" y="269512"/>
                      </a:cubicBezTo>
                      <a:cubicBezTo>
                        <a:pt x="1032063" y="257009"/>
                        <a:pt x="1038176" y="231864"/>
                        <a:pt x="1032063" y="225612"/>
                      </a:cubicBezTo>
                      <a:cubicBezTo>
                        <a:pt x="1032063" y="213109"/>
                        <a:pt x="1032063" y="200467"/>
                        <a:pt x="1025812" y="194215"/>
                      </a:cubicBezTo>
                      <a:cubicBezTo>
                        <a:pt x="1019560" y="187964"/>
                        <a:pt x="1013447" y="187964"/>
                        <a:pt x="1013447" y="175461"/>
                      </a:cubicBezTo>
                      <a:cubicBezTo>
                        <a:pt x="1013447" y="162957"/>
                        <a:pt x="1013447" y="144064"/>
                        <a:pt x="1001083" y="125309"/>
                      </a:cubicBezTo>
                      <a:cubicBezTo>
                        <a:pt x="994832" y="125309"/>
                        <a:pt x="982467" y="106554"/>
                        <a:pt x="982467" y="112806"/>
                      </a:cubicBezTo>
                      <a:cubicBezTo>
                        <a:pt x="970103" y="112806"/>
                        <a:pt x="970103" y="119057"/>
                        <a:pt x="963851" y="106554"/>
                      </a:cubicBezTo>
                      <a:cubicBezTo>
                        <a:pt x="951487" y="94051"/>
                        <a:pt x="957600" y="68906"/>
                        <a:pt x="945236" y="50152"/>
                      </a:cubicBezTo>
                      <a:cubicBezTo>
                        <a:pt x="945236" y="43900"/>
                        <a:pt x="920369" y="0"/>
                        <a:pt x="920369" y="0"/>
                      </a:cubicBezTo>
                      <a:cubicBezTo>
                        <a:pt x="914117" y="0"/>
                        <a:pt x="914117" y="12503"/>
                        <a:pt x="914117" y="18755"/>
                      </a:cubicBezTo>
                      <a:cubicBezTo>
                        <a:pt x="914117" y="25006"/>
                        <a:pt x="907866" y="31258"/>
                        <a:pt x="901614" y="37509"/>
                      </a:cubicBezTo>
                      <a:cubicBezTo>
                        <a:pt x="901614" y="37509"/>
                        <a:pt x="889250" y="50012"/>
                        <a:pt x="895362" y="56264"/>
                      </a:cubicBezTo>
                      <a:cubicBezTo>
                        <a:pt x="895362" y="56264"/>
                        <a:pt x="907866" y="56264"/>
                        <a:pt x="901614" y="62516"/>
                      </a:cubicBezTo>
                      <a:cubicBezTo>
                        <a:pt x="895362" y="62516"/>
                        <a:pt x="889250" y="93912"/>
                        <a:pt x="889250" y="100164"/>
                      </a:cubicBezTo>
                      <a:cubicBezTo>
                        <a:pt x="895502" y="112667"/>
                        <a:pt x="895502" y="125309"/>
                        <a:pt x="895502" y="137812"/>
                      </a:cubicBezTo>
                      <a:cubicBezTo>
                        <a:pt x="889250" y="162957"/>
                        <a:pt x="889250" y="225612"/>
                        <a:pt x="852018" y="225612"/>
                      </a:cubicBezTo>
                      <a:cubicBezTo>
                        <a:pt x="827151" y="225612"/>
                        <a:pt x="827151" y="200467"/>
                        <a:pt x="808535" y="194215"/>
                      </a:cubicBezTo>
                      <a:cubicBezTo>
                        <a:pt x="796032" y="187964"/>
                        <a:pt x="783668" y="187964"/>
                        <a:pt x="771165" y="175461"/>
                      </a:cubicBezTo>
                      <a:cubicBezTo>
                        <a:pt x="764913" y="169209"/>
                        <a:pt x="696563" y="131561"/>
                        <a:pt x="702814" y="125309"/>
                      </a:cubicBezTo>
                      <a:cubicBezTo>
                        <a:pt x="702814" y="119057"/>
                        <a:pt x="709066" y="112806"/>
                        <a:pt x="715317" y="106554"/>
                      </a:cubicBezTo>
                      <a:cubicBezTo>
                        <a:pt x="715317" y="100303"/>
                        <a:pt x="727681" y="100303"/>
                        <a:pt x="727681" y="94051"/>
                      </a:cubicBezTo>
                      <a:cubicBezTo>
                        <a:pt x="727681" y="94051"/>
                        <a:pt x="721430" y="87800"/>
                        <a:pt x="721430" y="81548"/>
                      </a:cubicBezTo>
                      <a:cubicBezTo>
                        <a:pt x="727681" y="75296"/>
                        <a:pt x="727681" y="75296"/>
                        <a:pt x="733794" y="69045"/>
                      </a:cubicBezTo>
                      <a:cubicBezTo>
                        <a:pt x="733794" y="62793"/>
                        <a:pt x="746297" y="56542"/>
                        <a:pt x="752410" y="50290"/>
                      </a:cubicBezTo>
                      <a:cubicBezTo>
                        <a:pt x="752410" y="44039"/>
                        <a:pt x="739907" y="31536"/>
                        <a:pt x="733794" y="37787"/>
                      </a:cubicBezTo>
                      <a:lnTo>
                        <a:pt x="727542" y="50290"/>
                      </a:lnTo>
                      <a:cubicBezTo>
                        <a:pt x="721291" y="44039"/>
                        <a:pt x="721291" y="44039"/>
                        <a:pt x="715178" y="37787"/>
                      </a:cubicBezTo>
                      <a:cubicBezTo>
                        <a:pt x="715178" y="31536"/>
                        <a:pt x="702675" y="44039"/>
                        <a:pt x="696563" y="44039"/>
                      </a:cubicBezTo>
                      <a:cubicBezTo>
                        <a:pt x="690311" y="50290"/>
                        <a:pt x="684199" y="44039"/>
                        <a:pt x="677947" y="44039"/>
                      </a:cubicBezTo>
                      <a:cubicBezTo>
                        <a:pt x="664888" y="37926"/>
                        <a:pt x="646272" y="31675"/>
                        <a:pt x="627656" y="25423"/>
                      </a:cubicBezTo>
                      <a:cubicBezTo>
                        <a:pt x="615153" y="25423"/>
                        <a:pt x="640021" y="31675"/>
                        <a:pt x="627656" y="254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5" name="Freihandform: Form 144">
                  <a:extLst>
                    <a:ext uri="{FF2B5EF4-FFF2-40B4-BE49-F238E27FC236}">
                      <a16:creationId xmlns:a16="http://schemas.microsoft.com/office/drawing/2014/main" id="{6F4D13AC-C182-4884-863F-7F5C49C8F81D}"/>
                    </a:ext>
                  </a:extLst>
                </p:cNvPr>
                <p:cNvSpPr/>
                <p:nvPr/>
              </p:nvSpPr>
              <p:spPr>
                <a:xfrm>
                  <a:off x="5899751" y="2458370"/>
                  <a:ext cx="240616" cy="371342"/>
                </a:xfrm>
                <a:custGeom>
                  <a:avLst/>
                  <a:gdLst>
                    <a:gd name="connsiteX0" fmla="*/ 92940 w 240616"/>
                    <a:gd name="connsiteY0" fmla="*/ 0 h 371342"/>
                    <a:gd name="connsiteX1" fmla="*/ 43344 w 240616"/>
                    <a:gd name="connsiteY1" fmla="*/ 0 h 371342"/>
                    <a:gd name="connsiteX2" fmla="*/ 30980 w 240616"/>
                    <a:gd name="connsiteY2" fmla="*/ 6252 h 371342"/>
                    <a:gd name="connsiteX3" fmla="*/ 24728 w 240616"/>
                    <a:gd name="connsiteY3" fmla="*/ 18616 h 371342"/>
                    <a:gd name="connsiteX4" fmla="*/ 30980 w 240616"/>
                    <a:gd name="connsiteY4" fmla="*/ 24867 h 371342"/>
                    <a:gd name="connsiteX5" fmla="*/ 12364 w 240616"/>
                    <a:gd name="connsiteY5" fmla="*/ 49596 h 371342"/>
                    <a:gd name="connsiteX6" fmla="*/ 12364 w 240616"/>
                    <a:gd name="connsiteY6" fmla="*/ 80576 h 371342"/>
                    <a:gd name="connsiteX7" fmla="*/ 30980 w 240616"/>
                    <a:gd name="connsiteY7" fmla="*/ 86827 h 371342"/>
                    <a:gd name="connsiteX8" fmla="*/ 30980 w 240616"/>
                    <a:gd name="connsiteY8" fmla="*/ 99191 h 371342"/>
                    <a:gd name="connsiteX9" fmla="*/ 18616 w 240616"/>
                    <a:gd name="connsiteY9" fmla="*/ 111556 h 371342"/>
                    <a:gd name="connsiteX10" fmla="*/ 0 w 240616"/>
                    <a:gd name="connsiteY10" fmla="*/ 123920 h 371342"/>
                    <a:gd name="connsiteX11" fmla="*/ 18616 w 240616"/>
                    <a:gd name="connsiteY11" fmla="*/ 117668 h 371342"/>
                    <a:gd name="connsiteX12" fmla="*/ 18616 w 240616"/>
                    <a:gd name="connsiteY12" fmla="*/ 130032 h 371342"/>
                    <a:gd name="connsiteX13" fmla="*/ 12364 w 240616"/>
                    <a:gd name="connsiteY13" fmla="*/ 142397 h 371342"/>
                    <a:gd name="connsiteX14" fmla="*/ 24728 w 240616"/>
                    <a:gd name="connsiteY14" fmla="*/ 136145 h 371342"/>
                    <a:gd name="connsiteX15" fmla="*/ 30980 w 240616"/>
                    <a:gd name="connsiteY15" fmla="*/ 142397 h 371342"/>
                    <a:gd name="connsiteX16" fmla="*/ 24728 w 240616"/>
                    <a:gd name="connsiteY16" fmla="*/ 117668 h 371342"/>
                    <a:gd name="connsiteX17" fmla="*/ 43344 w 240616"/>
                    <a:gd name="connsiteY17" fmla="*/ 117668 h 371342"/>
                    <a:gd name="connsiteX18" fmla="*/ 37093 w 240616"/>
                    <a:gd name="connsiteY18" fmla="*/ 123920 h 371342"/>
                    <a:gd name="connsiteX19" fmla="*/ 43344 w 240616"/>
                    <a:gd name="connsiteY19" fmla="*/ 142536 h 371342"/>
                    <a:gd name="connsiteX20" fmla="*/ 43344 w 240616"/>
                    <a:gd name="connsiteY20" fmla="*/ 167264 h 371342"/>
                    <a:gd name="connsiteX21" fmla="*/ 68073 w 240616"/>
                    <a:gd name="connsiteY21" fmla="*/ 167264 h 371342"/>
                    <a:gd name="connsiteX22" fmla="*/ 92801 w 240616"/>
                    <a:gd name="connsiteY22" fmla="*/ 161012 h 371342"/>
                    <a:gd name="connsiteX23" fmla="*/ 86549 w 240616"/>
                    <a:gd name="connsiteY23" fmla="*/ 185741 h 371342"/>
                    <a:gd name="connsiteX24" fmla="*/ 98914 w 240616"/>
                    <a:gd name="connsiteY24" fmla="*/ 198105 h 371342"/>
                    <a:gd name="connsiteX25" fmla="*/ 98914 w 240616"/>
                    <a:gd name="connsiteY25" fmla="*/ 222833 h 371342"/>
                    <a:gd name="connsiteX26" fmla="*/ 80298 w 240616"/>
                    <a:gd name="connsiteY26" fmla="*/ 235198 h 371342"/>
                    <a:gd name="connsiteX27" fmla="*/ 49318 w 240616"/>
                    <a:gd name="connsiteY27" fmla="*/ 241449 h 371342"/>
                    <a:gd name="connsiteX28" fmla="*/ 67933 w 240616"/>
                    <a:gd name="connsiteY28" fmla="*/ 253813 h 371342"/>
                    <a:gd name="connsiteX29" fmla="*/ 55569 w 240616"/>
                    <a:gd name="connsiteY29" fmla="*/ 260065 h 371342"/>
                    <a:gd name="connsiteX30" fmla="*/ 55569 w 240616"/>
                    <a:gd name="connsiteY30" fmla="*/ 272429 h 371342"/>
                    <a:gd name="connsiteX31" fmla="*/ 30841 w 240616"/>
                    <a:gd name="connsiteY31" fmla="*/ 291045 h 371342"/>
                    <a:gd name="connsiteX32" fmla="*/ 37093 w 240616"/>
                    <a:gd name="connsiteY32" fmla="*/ 303409 h 371342"/>
                    <a:gd name="connsiteX33" fmla="*/ 55708 w 240616"/>
                    <a:gd name="connsiteY33" fmla="*/ 297158 h 371342"/>
                    <a:gd name="connsiteX34" fmla="*/ 80437 w 240616"/>
                    <a:gd name="connsiteY34" fmla="*/ 309522 h 371342"/>
                    <a:gd name="connsiteX35" fmla="*/ 111417 w 240616"/>
                    <a:gd name="connsiteY35" fmla="*/ 297158 h 371342"/>
                    <a:gd name="connsiteX36" fmla="*/ 80437 w 240616"/>
                    <a:gd name="connsiteY36" fmla="*/ 321886 h 371342"/>
                    <a:gd name="connsiteX37" fmla="*/ 61821 w 240616"/>
                    <a:gd name="connsiteY37" fmla="*/ 321886 h 371342"/>
                    <a:gd name="connsiteX38" fmla="*/ 49457 w 240616"/>
                    <a:gd name="connsiteY38" fmla="*/ 315634 h 371342"/>
                    <a:gd name="connsiteX39" fmla="*/ 43205 w 240616"/>
                    <a:gd name="connsiteY39" fmla="*/ 340363 h 371342"/>
                    <a:gd name="connsiteX40" fmla="*/ 30841 w 240616"/>
                    <a:gd name="connsiteY40" fmla="*/ 352727 h 371342"/>
                    <a:gd name="connsiteX41" fmla="*/ 18477 w 240616"/>
                    <a:gd name="connsiteY41" fmla="*/ 365091 h 371342"/>
                    <a:gd name="connsiteX42" fmla="*/ 30841 w 240616"/>
                    <a:gd name="connsiteY42" fmla="*/ 365091 h 371342"/>
                    <a:gd name="connsiteX43" fmla="*/ 30841 w 240616"/>
                    <a:gd name="connsiteY43" fmla="*/ 371343 h 371342"/>
                    <a:gd name="connsiteX44" fmla="*/ 49457 w 240616"/>
                    <a:gd name="connsiteY44" fmla="*/ 352727 h 371342"/>
                    <a:gd name="connsiteX45" fmla="*/ 74185 w 240616"/>
                    <a:gd name="connsiteY45" fmla="*/ 352727 h 371342"/>
                    <a:gd name="connsiteX46" fmla="*/ 92801 w 240616"/>
                    <a:gd name="connsiteY46" fmla="*/ 340363 h 371342"/>
                    <a:gd name="connsiteX47" fmla="*/ 117529 w 240616"/>
                    <a:gd name="connsiteY47" fmla="*/ 340363 h 371342"/>
                    <a:gd name="connsiteX48" fmla="*/ 142258 w 240616"/>
                    <a:gd name="connsiteY48" fmla="*/ 340363 h 371342"/>
                    <a:gd name="connsiteX49" fmla="*/ 166986 w 240616"/>
                    <a:gd name="connsiteY49" fmla="*/ 334111 h 371342"/>
                    <a:gd name="connsiteX50" fmla="*/ 210330 w 240616"/>
                    <a:gd name="connsiteY50" fmla="*/ 334111 h 371342"/>
                    <a:gd name="connsiteX51" fmla="*/ 235059 w 240616"/>
                    <a:gd name="connsiteY51" fmla="*/ 315495 h 371342"/>
                    <a:gd name="connsiteX52" fmla="*/ 204079 w 240616"/>
                    <a:gd name="connsiteY52" fmla="*/ 309244 h 371342"/>
                    <a:gd name="connsiteX53" fmla="*/ 235059 w 240616"/>
                    <a:gd name="connsiteY53" fmla="*/ 284515 h 371342"/>
                    <a:gd name="connsiteX54" fmla="*/ 222695 w 240616"/>
                    <a:gd name="connsiteY54" fmla="*/ 247284 h 371342"/>
                    <a:gd name="connsiteX55" fmla="*/ 197966 w 240616"/>
                    <a:gd name="connsiteY55" fmla="*/ 253535 h 371342"/>
                    <a:gd name="connsiteX56" fmla="*/ 197966 w 240616"/>
                    <a:gd name="connsiteY56" fmla="*/ 241171 h 371342"/>
                    <a:gd name="connsiteX57" fmla="*/ 191715 w 240616"/>
                    <a:gd name="connsiteY57" fmla="*/ 222555 h 371342"/>
                    <a:gd name="connsiteX58" fmla="*/ 173099 w 240616"/>
                    <a:gd name="connsiteY58" fmla="*/ 210191 h 371342"/>
                    <a:gd name="connsiteX59" fmla="*/ 185463 w 240616"/>
                    <a:gd name="connsiteY59" fmla="*/ 210191 h 371342"/>
                    <a:gd name="connsiteX60" fmla="*/ 179211 w 240616"/>
                    <a:gd name="connsiteY60" fmla="*/ 191576 h 371342"/>
                    <a:gd name="connsiteX61" fmla="*/ 141980 w 240616"/>
                    <a:gd name="connsiteY61" fmla="*/ 154344 h 371342"/>
                    <a:gd name="connsiteX62" fmla="*/ 111000 w 240616"/>
                    <a:gd name="connsiteY62" fmla="*/ 117113 h 371342"/>
                    <a:gd name="connsiteX63" fmla="*/ 73768 w 240616"/>
                    <a:gd name="connsiteY63" fmla="*/ 110861 h 371342"/>
                    <a:gd name="connsiteX64" fmla="*/ 104748 w 240616"/>
                    <a:gd name="connsiteY64" fmla="*/ 98497 h 371342"/>
                    <a:gd name="connsiteX65" fmla="*/ 86133 w 240616"/>
                    <a:gd name="connsiteY65" fmla="*/ 98497 h 371342"/>
                    <a:gd name="connsiteX66" fmla="*/ 110861 w 240616"/>
                    <a:gd name="connsiteY66" fmla="*/ 92245 h 371342"/>
                    <a:gd name="connsiteX67" fmla="*/ 129477 w 240616"/>
                    <a:gd name="connsiteY67" fmla="*/ 48901 h 371342"/>
                    <a:gd name="connsiteX68" fmla="*/ 92245 w 240616"/>
                    <a:gd name="connsiteY68" fmla="*/ 36537 h 371342"/>
                    <a:gd name="connsiteX69" fmla="*/ 55014 w 240616"/>
                    <a:gd name="connsiteY69" fmla="*/ 42789 h 371342"/>
                    <a:gd name="connsiteX70" fmla="*/ 67378 w 240616"/>
                    <a:gd name="connsiteY70" fmla="*/ 36537 h 371342"/>
                    <a:gd name="connsiteX71" fmla="*/ 55014 w 240616"/>
                    <a:gd name="connsiteY71" fmla="*/ 36537 h 371342"/>
                    <a:gd name="connsiteX72" fmla="*/ 92940 w 240616"/>
                    <a:gd name="connsiteY72" fmla="*/ 0 h 371342"/>
                    <a:gd name="connsiteX73" fmla="*/ 92940 w 240616"/>
                    <a:gd name="connsiteY73" fmla="*/ 0 h 37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40616" h="371342">
                      <a:moveTo>
                        <a:pt x="92940" y="0"/>
                      </a:moveTo>
                      <a:cubicBezTo>
                        <a:pt x="74324" y="0"/>
                        <a:pt x="61960" y="6252"/>
                        <a:pt x="43344" y="0"/>
                      </a:cubicBezTo>
                      <a:cubicBezTo>
                        <a:pt x="37093" y="0"/>
                        <a:pt x="30980" y="0"/>
                        <a:pt x="30980" y="6252"/>
                      </a:cubicBezTo>
                      <a:cubicBezTo>
                        <a:pt x="37232" y="18616"/>
                        <a:pt x="30980" y="12503"/>
                        <a:pt x="24728" y="18616"/>
                      </a:cubicBezTo>
                      <a:cubicBezTo>
                        <a:pt x="30980" y="12364"/>
                        <a:pt x="30980" y="24867"/>
                        <a:pt x="30980" y="24867"/>
                      </a:cubicBezTo>
                      <a:cubicBezTo>
                        <a:pt x="24728" y="37232"/>
                        <a:pt x="6252" y="31119"/>
                        <a:pt x="12364" y="49596"/>
                      </a:cubicBezTo>
                      <a:cubicBezTo>
                        <a:pt x="24728" y="61960"/>
                        <a:pt x="18616" y="68211"/>
                        <a:pt x="12364" y="80576"/>
                      </a:cubicBezTo>
                      <a:cubicBezTo>
                        <a:pt x="12364" y="92940"/>
                        <a:pt x="24728" y="92940"/>
                        <a:pt x="30980" y="86827"/>
                      </a:cubicBezTo>
                      <a:cubicBezTo>
                        <a:pt x="24728" y="93079"/>
                        <a:pt x="30980" y="93079"/>
                        <a:pt x="30980" y="99191"/>
                      </a:cubicBezTo>
                      <a:cubicBezTo>
                        <a:pt x="30980" y="92940"/>
                        <a:pt x="18616" y="111556"/>
                        <a:pt x="18616" y="111556"/>
                      </a:cubicBezTo>
                      <a:cubicBezTo>
                        <a:pt x="12364" y="111556"/>
                        <a:pt x="0" y="111556"/>
                        <a:pt x="0" y="123920"/>
                      </a:cubicBezTo>
                      <a:cubicBezTo>
                        <a:pt x="6252" y="123920"/>
                        <a:pt x="12364" y="111556"/>
                        <a:pt x="18616" y="117668"/>
                      </a:cubicBezTo>
                      <a:cubicBezTo>
                        <a:pt x="18616" y="123920"/>
                        <a:pt x="18616" y="130032"/>
                        <a:pt x="18616" y="130032"/>
                      </a:cubicBezTo>
                      <a:cubicBezTo>
                        <a:pt x="12364" y="136284"/>
                        <a:pt x="12364" y="142397"/>
                        <a:pt x="12364" y="142397"/>
                      </a:cubicBezTo>
                      <a:cubicBezTo>
                        <a:pt x="12364" y="148648"/>
                        <a:pt x="18616" y="136145"/>
                        <a:pt x="24728" y="136145"/>
                      </a:cubicBezTo>
                      <a:cubicBezTo>
                        <a:pt x="24728" y="129894"/>
                        <a:pt x="30980" y="142397"/>
                        <a:pt x="30980" y="142397"/>
                      </a:cubicBezTo>
                      <a:cubicBezTo>
                        <a:pt x="37232" y="142397"/>
                        <a:pt x="30980" y="117668"/>
                        <a:pt x="24728" y="117668"/>
                      </a:cubicBezTo>
                      <a:cubicBezTo>
                        <a:pt x="30980" y="117668"/>
                        <a:pt x="43344" y="123920"/>
                        <a:pt x="43344" y="117668"/>
                      </a:cubicBezTo>
                      <a:lnTo>
                        <a:pt x="37093" y="123920"/>
                      </a:lnTo>
                      <a:cubicBezTo>
                        <a:pt x="37093" y="130171"/>
                        <a:pt x="43344" y="136284"/>
                        <a:pt x="43344" y="142536"/>
                      </a:cubicBezTo>
                      <a:cubicBezTo>
                        <a:pt x="43344" y="148787"/>
                        <a:pt x="24728" y="167264"/>
                        <a:pt x="43344" y="167264"/>
                      </a:cubicBezTo>
                      <a:cubicBezTo>
                        <a:pt x="43344" y="167264"/>
                        <a:pt x="61960" y="167264"/>
                        <a:pt x="68073" y="167264"/>
                      </a:cubicBezTo>
                      <a:cubicBezTo>
                        <a:pt x="74324" y="161012"/>
                        <a:pt x="92801" y="161012"/>
                        <a:pt x="92801" y="161012"/>
                      </a:cubicBezTo>
                      <a:cubicBezTo>
                        <a:pt x="86549" y="173377"/>
                        <a:pt x="80437" y="173377"/>
                        <a:pt x="86549" y="185741"/>
                      </a:cubicBezTo>
                      <a:cubicBezTo>
                        <a:pt x="92801" y="204357"/>
                        <a:pt x="92801" y="191992"/>
                        <a:pt x="98914" y="198105"/>
                      </a:cubicBezTo>
                      <a:cubicBezTo>
                        <a:pt x="98914" y="204357"/>
                        <a:pt x="92662" y="216721"/>
                        <a:pt x="98914" y="222833"/>
                      </a:cubicBezTo>
                      <a:cubicBezTo>
                        <a:pt x="105165" y="235198"/>
                        <a:pt x="86549" y="235198"/>
                        <a:pt x="80298" y="235198"/>
                      </a:cubicBezTo>
                      <a:cubicBezTo>
                        <a:pt x="67933" y="241449"/>
                        <a:pt x="61682" y="228946"/>
                        <a:pt x="49318" y="241449"/>
                      </a:cubicBezTo>
                      <a:cubicBezTo>
                        <a:pt x="43066" y="253813"/>
                        <a:pt x="74046" y="247701"/>
                        <a:pt x="67933" y="253813"/>
                      </a:cubicBezTo>
                      <a:lnTo>
                        <a:pt x="55569" y="260065"/>
                      </a:lnTo>
                      <a:cubicBezTo>
                        <a:pt x="55569" y="266316"/>
                        <a:pt x="61821" y="266316"/>
                        <a:pt x="55569" y="272429"/>
                      </a:cubicBezTo>
                      <a:cubicBezTo>
                        <a:pt x="49318" y="278681"/>
                        <a:pt x="43205" y="284793"/>
                        <a:pt x="30841" y="291045"/>
                      </a:cubicBezTo>
                      <a:cubicBezTo>
                        <a:pt x="24589" y="297296"/>
                        <a:pt x="37093" y="303409"/>
                        <a:pt x="37093" y="303409"/>
                      </a:cubicBezTo>
                      <a:cubicBezTo>
                        <a:pt x="43344" y="303409"/>
                        <a:pt x="55708" y="297158"/>
                        <a:pt x="55708" y="297158"/>
                      </a:cubicBezTo>
                      <a:cubicBezTo>
                        <a:pt x="55708" y="303409"/>
                        <a:pt x="74324" y="303409"/>
                        <a:pt x="80437" y="309522"/>
                      </a:cubicBezTo>
                      <a:cubicBezTo>
                        <a:pt x="92801" y="309522"/>
                        <a:pt x="105165" y="297158"/>
                        <a:pt x="111417" y="297158"/>
                      </a:cubicBezTo>
                      <a:cubicBezTo>
                        <a:pt x="111417" y="297158"/>
                        <a:pt x="99053" y="328137"/>
                        <a:pt x="80437" y="321886"/>
                      </a:cubicBezTo>
                      <a:cubicBezTo>
                        <a:pt x="74185" y="315634"/>
                        <a:pt x="68073" y="321886"/>
                        <a:pt x="61821" y="321886"/>
                      </a:cubicBezTo>
                      <a:cubicBezTo>
                        <a:pt x="49457" y="321886"/>
                        <a:pt x="55569" y="315634"/>
                        <a:pt x="49457" y="315634"/>
                      </a:cubicBezTo>
                      <a:cubicBezTo>
                        <a:pt x="49457" y="315634"/>
                        <a:pt x="49457" y="334250"/>
                        <a:pt x="43205" y="340363"/>
                      </a:cubicBezTo>
                      <a:cubicBezTo>
                        <a:pt x="43205" y="340363"/>
                        <a:pt x="36953" y="346614"/>
                        <a:pt x="30841" y="352727"/>
                      </a:cubicBezTo>
                      <a:cubicBezTo>
                        <a:pt x="30841" y="352727"/>
                        <a:pt x="18477" y="358978"/>
                        <a:pt x="18477" y="365091"/>
                      </a:cubicBezTo>
                      <a:lnTo>
                        <a:pt x="30841" y="365091"/>
                      </a:lnTo>
                      <a:cubicBezTo>
                        <a:pt x="30841" y="365091"/>
                        <a:pt x="24589" y="365091"/>
                        <a:pt x="30841" y="371343"/>
                      </a:cubicBezTo>
                      <a:cubicBezTo>
                        <a:pt x="30841" y="371343"/>
                        <a:pt x="43205" y="352727"/>
                        <a:pt x="49457" y="352727"/>
                      </a:cubicBezTo>
                      <a:cubicBezTo>
                        <a:pt x="55708" y="352727"/>
                        <a:pt x="68073" y="358978"/>
                        <a:pt x="74185" y="352727"/>
                      </a:cubicBezTo>
                      <a:cubicBezTo>
                        <a:pt x="86549" y="352727"/>
                        <a:pt x="80437" y="340363"/>
                        <a:pt x="92801" y="340363"/>
                      </a:cubicBezTo>
                      <a:cubicBezTo>
                        <a:pt x="99053" y="334111"/>
                        <a:pt x="105165" y="340363"/>
                        <a:pt x="117529" y="340363"/>
                      </a:cubicBezTo>
                      <a:cubicBezTo>
                        <a:pt x="123781" y="346614"/>
                        <a:pt x="129894" y="334111"/>
                        <a:pt x="142258" y="340363"/>
                      </a:cubicBezTo>
                      <a:cubicBezTo>
                        <a:pt x="148509" y="346614"/>
                        <a:pt x="160874" y="340363"/>
                        <a:pt x="166986" y="334111"/>
                      </a:cubicBezTo>
                      <a:cubicBezTo>
                        <a:pt x="179350" y="334111"/>
                        <a:pt x="197966" y="334111"/>
                        <a:pt x="210330" y="334111"/>
                      </a:cubicBezTo>
                      <a:lnTo>
                        <a:pt x="235059" y="315495"/>
                      </a:lnTo>
                      <a:cubicBezTo>
                        <a:pt x="228807" y="309244"/>
                        <a:pt x="204079" y="315495"/>
                        <a:pt x="204079" y="309244"/>
                      </a:cubicBezTo>
                      <a:cubicBezTo>
                        <a:pt x="204079" y="302992"/>
                        <a:pt x="228807" y="284515"/>
                        <a:pt x="235059" y="284515"/>
                      </a:cubicBezTo>
                      <a:cubicBezTo>
                        <a:pt x="241310" y="272151"/>
                        <a:pt x="247423" y="247284"/>
                        <a:pt x="222695" y="247284"/>
                      </a:cubicBezTo>
                      <a:cubicBezTo>
                        <a:pt x="216443" y="247284"/>
                        <a:pt x="204079" y="253535"/>
                        <a:pt x="197966" y="253535"/>
                      </a:cubicBezTo>
                      <a:cubicBezTo>
                        <a:pt x="185602" y="247284"/>
                        <a:pt x="197966" y="247284"/>
                        <a:pt x="197966" y="241171"/>
                      </a:cubicBezTo>
                      <a:cubicBezTo>
                        <a:pt x="197966" y="234920"/>
                        <a:pt x="197966" y="228807"/>
                        <a:pt x="191715" y="222555"/>
                      </a:cubicBezTo>
                      <a:cubicBezTo>
                        <a:pt x="191715" y="222555"/>
                        <a:pt x="166986" y="216304"/>
                        <a:pt x="173099" y="210191"/>
                      </a:cubicBezTo>
                      <a:cubicBezTo>
                        <a:pt x="173099" y="210191"/>
                        <a:pt x="185463" y="216443"/>
                        <a:pt x="185463" y="210191"/>
                      </a:cubicBezTo>
                      <a:cubicBezTo>
                        <a:pt x="191715" y="203940"/>
                        <a:pt x="185463" y="197827"/>
                        <a:pt x="179211" y="191576"/>
                      </a:cubicBezTo>
                      <a:cubicBezTo>
                        <a:pt x="160595" y="179211"/>
                        <a:pt x="154483" y="179211"/>
                        <a:pt x="141980" y="154344"/>
                      </a:cubicBezTo>
                      <a:cubicBezTo>
                        <a:pt x="135728" y="141980"/>
                        <a:pt x="129616" y="129616"/>
                        <a:pt x="111000" y="117113"/>
                      </a:cubicBezTo>
                      <a:cubicBezTo>
                        <a:pt x="104748" y="110861"/>
                        <a:pt x="80020" y="123364"/>
                        <a:pt x="73768" y="110861"/>
                      </a:cubicBezTo>
                      <a:cubicBezTo>
                        <a:pt x="73768" y="110861"/>
                        <a:pt x="111000" y="104609"/>
                        <a:pt x="104748" y="98497"/>
                      </a:cubicBezTo>
                      <a:cubicBezTo>
                        <a:pt x="104748" y="98497"/>
                        <a:pt x="92384" y="104748"/>
                        <a:pt x="86133" y="98497"/>
                      </a:cubicBezTo>
                      <a:lnTo>
                        <a:pt x="110861" y="92245"/>
                      </a:lnTo>
                      <a:cubicBezTo>
                        <a:pt x="117113" y="85994"/>
                        <a:pt x="135589" y="55014"/>
                        <a:pt x="129477" y="48901"/>
                      </a:cubicBezTo>
                      <a:cubicBezTo>
                        <a:pt x="123225" y="36537"/>
                        <a:pt x="104748" y="36537"/>
                        <a:pt x="92245" y="36537"/>
                      </a:cubicBezTo>
                      <a:cubicBezTo>
                        <a:pt x="85994" y="42789"/>
                        <a:pt x="55014" y="42789"/>
                        <a:pt x="55014" y="42789"/>
                      </a:cubicBezTo>
                      <a:lnTo>
                        <a:pt x="67378" y="36537"/>
                      </a:lnTo>
                      <a:cubicBezTo>
                        <a:pt x="67378" y="36537"/>
                        <a:pt x="55014" y="30285"/>
                        <a:pt x="55014" y="36537"/>
                      </a:cubicBezTo>
                      <a:cubicBezTo>
                        <a:pt x="55708" y="30980"/>
                        <a:pt x="111556" y="6252"/>
                        <a:pt x="92940" y="0"/>
                      </a:cubicBezTo>
                      <a:cubicBezTo>
                        <a:pt x="86688" y="0"/>
                        <a:pt x="105304" y="6252"/>
                        <a:pt x="92940"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6" name="Freihandform: Form 145">
                  <a:extLst>
                    <a:ext uri="{FF2B5EF4-FFF2-40B4-BE49-F238E27FC236}">
                      <a16:creationId xmlns:a16="http://schemas.microsoft.com/office/drawing/2014/main" id="{315ACED8-36C7-4DAB-8F8F-3522F2BDE7AD}"/>
                    </a:ext>
                  </a:extLst>
                </p:cNvPr>
                <p:cNvSpPr/>
                <p:nvPr/>
              </p:nvSpPr>
              <p:spPr>
                <a:xfrm>
                  <a:off x="5342476" y="2073690"/>
                  <a:ext cx="328606" cy="156288"/>
                </a:xfrm>
                <a:custGeom>
                  <a:avLst/>
                  <a:gdLst>
                    <a:gd name="connsiteX0" fmla="*/ 322216 w 328606"/>
                    <a:gd name="connsiteY0" fmla="*/ 56264 h 156288"/>
                    <a:gd name="connsiteX1" fmla="*/ 297488 w 328606"/>
                    <a:gd name="connsiteY1" fmla="*/ 50012 h 156288"/>
                    <a:gd name="connsiteX2" fmla="*/ 303600 w 328606"/>
                    <a:gd name="connsiteY2" fmla="*/ 43761 h 156288"/>
                    <a:gd name="connsiteX3" fmla="*/ 291236 w 328606"/>
                    <a:gd name="connsiteY3" fmla="*/ 37509 h 156288"/>
                    <a:gd name="connsiteX4" fmla="*/ 297349 w 328606"/>
                    <a:gd name="connsiteY4" fmla="*/ 31258 h 156288"/>
                    <a:gd name="connsiteX5" fmla="*/ 278872 w 328606"/>
                    <a:gd name="connsiteY5" fmla="*/ 25006 h 156288"/>
                    <a:gd name="connsiteX6" fmla="*/ 291236 w 328606"/>
                    <a:gd name="connsiteY6" fmla="*/ 12503 h 156288"/>
                    <a:gd name="connsiteX7" fmla="*/ 260395 w 328606"/>
                    <a:gd name="connsiteY7" fmla="*/ 12503 h 156288"/>
                    <a:gd name="connsiteX8" fmla="*/ 235667 w 328606"/>
                    <a:gd name="connsiteY8" fmla="*/ 0 h 156288"/>
                    <a:gd name="connsiteX9" fmla="*/ 235667 w 328606"/>
                    <a:gd name="connsiteY9" fmla="*/ 18755 h 156288"/>
                    <a:gd name="connsiteX10" fmla="*/ 217190 w 328606"/>
                    <a:gd name="connsiteY10" fmla="*/ 25006 h 156288"/>
                    <a:gd name="connsiteX11" fmla="*/ 192462 w 328606"/>
                    <a:gd name="connsiteY11" fmla="*/ 25006 h 156288"/>
                    <a:gd name="connsiteX12" fmla="*/ 192462 w 328606"/>
                    <a:gd name="connsiteY12" fmla="*/ 50012 h 156288"/>
                    <a:gd name="connsiteX13" fmla="*/ 155369 w 328606"/>
                    <a:gd name="connsiteY13" fmla="*/ 25006 h 156288"/>
                    <a:gd name="connsiteX14" fmla="*/ 149256 w 328606"/>
                    <a:gd name="connsiteY14" fmla="*/ 43761 h 156288"/>
                    <a:gd name="connsiteX15" fmla="*/ 124528 w 328606"/>
                    <a:gd name="connsiteY15" fmla="*/ 25006 h 156288"/>
                    <a:gd name="connsiteX16" fmla="*/ 124528 w 328606"/>
                    <a:gd name="connsiteY16" fmla="*/ 50012 h 156288"/>
                    <a:gd name="connsiteX17" fmla="*/ 112164 w 328606"/>
                    <a:gd name="connsiteY17" fmla="*/ 50012 h 156288"/>
                    <a:gd name="connsiteX18" fmla="*/ 99800 w 328606"/>
                    <a:gd name="connsiteY18" fmla="*/ 68767 h 156288"/>
                    <a:gd name="connsiteX19" fmla="*/ 81323 w 328606"/>
                    <a:gd name="connsiteY19" fmla="*/ 43900 h 156288"/>
                    <a:gd name="connsiteX20" fmla="*/ 93687 w 328606"/>
                    <a:gd name="connsiteY20" fmla="*/ 43900 h 156288"/>
                    <a:gd name="connsiteX21" fmla="*/ 81323 w 328606"/>
                    <a:gd name="connsiteY21" fmla="*/ 25145 h 156288"/>
                    <a:gd name="connsiteX22" fmla="*/ 38118 w 328606"/>
                    <a:gd name="connsiteY22" fmla="*/ 6391 h 156288"/>
                    <a:gd name="connsiteX23" fmla="*/ 50482 w 328606"/>
                    <a:gd name="connsiteY23" fmla="*/ 18894 h 156288"/>
                    <a:gd name="connsiteX24" fmla="*/ 44369 w 328606"/>
                    <a:gd name="connsiteY24" fmla="*/ 18894 h 156288"/>
                    <a:gd name="connsiteX25" fmla="*/ 56733 w 328606"/>
                    <a:gd name="connsiteY25" fmla="*/ 43900 h 156288"/>
                    <a:gd name="connsiteX26" fmla="*/ 25892 w 328606"/>
                    <a:gd name="connsiteY26" fmla="*/ 31397 h 156288"/>
                    <a:gd name="connsiteX27" fmla="*/ 13528 w 328606"/>
                    <a:gd name="connsiteY27" fmla="*/ 31397 h 156288"/>
                    <a:gd name="connsiteX28" fmla="*/ 25892 w 328606"/>
                    <a:gd name="connsiteY28" fmla="*/ 37648 h 156288"/>
                    <a:gd name="connsiteX29" fmla="*/ 25892 w 328606"/>
                    <a:gd name="connsiteY29" fmla="*/ 43900 h 156288"/>
                    <a:gd name="connsiteX30" fmla="*/ 7415 w 328606"/>
                    <a:gd name="connsiteY30" fmla="*/ 37648 h 156288"/>
                    <a:gd name="connsiteX31" fmla="*/ 1303 w 328606"/>
                    <a:gd name="connsiteY31" fmla="*/ 50151 h 156288"/>
                    <a:gd name="connsiteX32" fmla="*/ 44508 w 328606"/>
                    <a:gd name="connsiteY32" fmla="*/ 56403 h 156288"/>
                    <a:gd name="connsiteX33" fmla="*/ 75349 w 328606"/>
                    <a:gd name="connsiteY33" fmla="*/ 62655 h 156288"/>
                    <a:gd name="connsiteX34" fmla="*/ 62985 w 328606"/>
                    <a:gd name="connsiteY34" fmla="*/ 68906 h 156288"/>
                    <a:gd name="connsiteX35" fmla="*/ 69097 w 328606"/>
                    <a:gd name="connsiteY35" fmla="*/ 75158 h 156288"/>
                    <a:gd name="connsiteX36" fmla="*/ 44369 w 328606"/>
                    <a:gd name="connsiteY36" fmla="*/ 81409 h 156288"/>
                    <a:gd name="connsiteX37" fmla="*/ 13528 w 328606"/>
                    <a:gd name="connsiteY37" fmla="*/ 87661 h 156288"/>
                    <a:gd name="connsiteX38" fmla="*/ 56733 w 328606"/>
                    <a:gd name="connsiteY38" fmla="*/ 93912 h 156288"/>
                    <a:gd name="connsiteX39" fmla="*/ 69097 w 328606"/>
                    <a:gd name="connsiteY39" fmla="*/ 106415 h 156288"/>
                    <a:gd name="connsiteX40" fmla="*/ 87574 w 328606"/>
                    <a:gd name="connsiteY40" fmla="*/ 100164 h 156288"/>
                    <a:gd name="connsiteX41" fmla="*/ 75210 w 328606"/>
                    <a:gd name="connsiteY41" fmla="*/ 106415 h 156288"/>
                    <a:gd name="connsiteX42" fmla="*/ 87574 w 328606"/>
                    <a:gd name="connsiteY42" fmla="*/ 106415 h 156288"/>
                    <a:gd name="connsiteX43" fmla="*/ 56733 w 328606"/>
                    <a:gd name="connsiteY43" fmla="*/ 137534 h 156288"/>
                    <a:gd name="connsiteX44" fmla="*/ 87574 w 328606"/>
                    <a:gd name="connsiteY44" fmla="*/ 137534 h 156288"/>
                    <a:gd name="connsiteX45" fmla="*/ 124667 w 328606"/>
                    <a:gd name="connsiteY45" fmla="*/ 143786 h 156288"/>
                    <a:gd name="connsiteX46" fmla="*/ 118554 w 328606"/>
                    <a:gd name="connsiteY46" fmla="*/ 143786 h 156288"/>
                    <a:gd name="connsiteX47" fmla="*/ 130918 w 328606"/>
                    <a:gd name="connsiteY47" fmla="*/ 150037 h 156288"/>
                    <a:gd name="connsiteX48" fmla="*/ 174124 w 328606"/>
                    <a:gd name="connsiteY48" fmla="*/ 156289 h 156288"/>
                    <a:gd name="connsiteX49" fmla="*/ 198852 w 328606"/>
                    <a:gd name="connsiteY49" fmla="*/ 150037 h 156288"/>
                    <a:gd name="connsiteX50" fmla="*/ 235945 w 328606"/>
                    <a:gd name="connsiteY50" fmla="*/ 137534 h 156288"/>
                    <a:gd name="connsiteX51" fmla="*/ 279150 w 328606"/>
                    <a:gd name="connsiteY51" fmla="*/ 112528 h 156288"/>
                    <a:gd name="connsiteX52" fmla="*/ 316243 w 328606"/>
                    <a:gd name="connsiteY52" fmla="*/ 93773 h 156288"/>
                    <a:gd name="connsiteX53" fmla="*/ 316243 w 328606"/>
                    <a:gd name="connsiteY53" fmla="*/ 81270 h 156288"/>
                    <a:gd name="connsiteX54" fmla="*/ 328607 w 328606"/>
                    <a:gd name="connsiteY54" fmla="*/ 75019 h 156288"/>
                    <a:gd name="connsiteX55" fmla="*/ 316243 w 328606"/>
                    <a:gd name="connsiteY55" fmla="*/ 68767 h 156288"/>
                    <a:gd name="connsiteX56" fmla="*/ 322216 w 328606"/>
                    <a:gd name="connsiteY56" fmla="*/ 56264 h 156288"/>
                    <a:gd name="connsiteX57" fmla="*/ 322216 w 328606"/>
                    <a:gd name="connsiteY57" fmla="*/ 56264 h 15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606" h="156288">
                      <a:moveTo>
                        <a:pt x="322216" y="56264"/>
                      </a:moveTo>
                      <a:lnTo>
                        <a:pt x="297488" y="50012"/>
                      </a:lnTo>
                      <a:lnTo>
                        <a:pt x="303600" y="43761"/>
                      </a:lnTo>
                      <a:cubicBezTo>
                        <a:pt x="297488" y="43761"/>
                        <a:pt x="285123" y="43761"/>
                        <a:pt x="291236" y="37509"/>
                      </a:cubicBezTo>
                      <a:lnTo>
                        <a:pt x="297349" y="31258"/>
                      </a:lnTo>
                      <a:cubicBezTo>
                        <a:pt x="291236" y="25006"/>
                        <a:pt x="278872" y="25006"/>
                        <a:pt x="278872" y="25006"/>
                      </a:cubicBezTo>
                      <a:cubicBezTo>
                        <a:pt x="278872" y="18755"/>
                        <a:pt x="291236" y="12503"/>
                        <a:pt x="291236" y="12503"/>
                      </a:cubicBezTo>
                      <a:cubicBezTo>
                        <a:pt x="291236" y="12503"/>
                        <a:pt x="266508" y="18755"/>
                        <a:pt x="260395" y="12503"/>
                      </a:cubicBezTo>
                      <a:cubicBezTo>
                        <a:pt x="254282" y="6252"/>
                        <a:pt x="248031" y="0"/>
                        <a:pt x="235667" y="0"/>
                      </a:cubicBezTo>
                      <a:cubicBezTo>
                        <a:pt x="229554" y="0"/>
                        <a:pt x="241779" y="12503"/>
                        <a:pt x="235667" y="18755"/>
                      </a:cubicBezTo>
                      <a:cubicBezTo>
                        <a:pt x="229554" y="25006"/>
                        <a:pt x="223302" y="18755"/>
                        <a:pt x="217190" y="25006"/>
                      </a:cubicBezTo>
                      <a:cubicBezTo>
                        <a:pt x="211077" y="31258"/>
                        <a:pt x="204826" y="25006"/>
                        <a:pt x="192462" y="25006"/>
                      </a:cubicBezTo>
                      <a:cubicBezTo>
                        <a:pt x="180097" y="18755"/>
                        <a:pt x="198574" y="43761"/>
                        <a:pt x="192462" y="50012"/>
                      </a:cubicBezTo>
                      <a:cubicBezTo>
                        <a:pt x="192462" y="50012"/>
                        <a:pt x="167733" y="6391"/>
                        <a:pt x="155369" y="25006"/>
                      </a:cubicBezTo>
                      <a:cubicBezTo>
                        <a:pt x="149256" y="25006"/>
                        <a:pt x="155369" y="37509"/>
                        <a:pt x="149256" y="43761"/>
                      </a:cubicBezTo>
                      <a:cubicBezTo>
                        <a:pt x="149256" y="50012"/>
                        <a:pt x="130780" y="25006"/>
                        <a:pt x="124528" y="25006"/>
                      </a:cubicBezTo>
                      <a:cubicBezTo>
                        <a:pt x="118415" y="25006"/>
                        <a:pt x="136892" y="50012"/>
                        <a:pt x="124528" y="50012"/>
                      </a:cubicBezTo>
                      <a:cubicBezTo>
                        <a:pt x="118415" y="50012"/>
                        <a:pt x="118415" y="50012"/>
                        <a:pt x="112164" y="50012"/>
                      </a:cubicBezTo>
                      <a:cubicBezTo>
                        <a:pt x="105912" y="50012"/>
                        <a:pt x="99800" y="62516"/>
                        <a:pt x="99800" y="68767"/>
                      </a:cubicBezTo>
                      <a:cubicBezTo>
                        <a:pt x="99800" y="62516"/>
                        <a:pt x="81323" y="50012"/>
                        <a:pt x="81323" y="43900"/>
                      </a:cubicBezTo>
                      <a:lnTo>
                        <a:pt x="93687" y="43900"/>
                      </a:lnTo>
                      <a:cubicBezTo>
                        <a:pt x="93687" y="37648"/>
                        <a:pt x="81323" y="25145"/>
                        <a:pt x="81323" y="25145"/>
                      </a:cubicBezTo>
                      <a:cubicBezTo>
                        <a:pt x="75210" y="25145"/>
                        <a:pt x="44230" y="-5974"/>
                        <a:pt x="38118" y="6391"/>
                      </a:cubicBezTo>
                      <a:cubicBezTo>
                        <a:pt x="38118" y="12642"/>
                        <a:pt x="56594" y="12642"/>
                        <a:pt x="50482" y="18894"/>
                      </a:cubicBezTo>
                      <a:cubicBezTo>
                        <a:pt x="50482" y="18894"/>
                        <a:pt x="50482" y="18894"/>
                        <a:pt x="44369" y="18894"/>
                      </a:cubicBezTo>
                      <a:cubicBezTo>
                        <a:pt x="56733" y="12642"/>
                        <a:pt x="62846" y="37648"/>
                        <a:pt x="56733" y="43900"/>
                      </a:cubicBezTo>
                      <a:cubicBezTo>
                        <a:pt x="56733" y="43900"/>
                        <a:pt x="7276" y="278"/>
                        <a:pt x="25892" y="31397"/>
                      </a:cubicBezTo>
                      <a:lnTo>
                        <a:pt x="13528" y="31397"/>
                      </a:lnTo>
                      <a:cubicBezTo>
                        <a:pt x="13528" y="37648"/>
                        <a:pt x="25892" y="37648"/>
                        <a:pt x="25892" y="37648"/>
                      </a:cubicBezTo>
                      <a:cubicBezTo>
                        <a:pt x="25892" y="31397"/>
                        <a:pt x="25892" y="43900"/>
                        <a:pt x="25892" y="43900"/>
                      </a:cubicBezTo>
                      <a:cubicBezTo>
                        <a:pt x="25892" y="43900"/>
                        <a:pt x="13528" y="37648"/>
                        <a:pt x="7415" y="37648"/>
                      </a:cubicBezTo>
                      <a:cubicBezTo>
                        <a:pt x="13667" y="37648"/>
                        <a:pt x="-4949" y="56403"/>
                        <a:pt x="1303" y="50151"/>
                      </a:cubicBezTo>
                      <a:cubicBezTo>
                        <a:pt x="-4810" y="62655"/>
                        <a:pt x="44508" y="56403"/>
                        <a:pt x="44508" y="56403"/>
                      </a:cubicBezTo>
                      <a:cubicBezTo>
                        <a:pt x="50621" y="56403"/>
                        <a:pt x="75349" y="62655"/>
                        <a:pt x="75349" y="62655"/>
                      </a:cubicBezTo>
                      <a:cubicBezTo>
                        <a:pt x="69236" y="62655"/>
                        <a:pt x="62985" y="62655"/>
                        <a:pt x="62985" y="68906"/>
                      </a:cubicBezTo>
                      <a:lnTo>
                        <a:pt x="69097" y="75158"/>
                      </a:lnTo>
                      <a:cubicBezTo>
                        <a:pt x="62985" y="81409"/>
                        <a:pt x="50621" y="81409"/>
                        <a:pt x="44369" y="81409"/>
                      </a:cubicBezTo>
                      <a:cubicBezTo>
                        <a:pt x="44369" y="81409"/>
                        <a:pt x="7276" y="87661"/>
                        <a:pt x="13528" y="87661"/>
                      </a:cubicBezTo>
                      <a:cubicBezTo>
                        <a:pt x="25892" y="93912"/>
                        <a:pt x="44369" y="87661"/>
                        <a:pt x="56733" y="93912"/>
                      </a:cubicBezTo>
                      <a:cubicBezTo>
                        <a:pt x="62846" y="100164"/>
                        <a:pt x="62846" y="106415"/>
                        <a:pt x="69097" y="106415"/>
                      </a:cubicBezTo>
                      <a:cubicBezTo>
                        <a:pt x="69097" y="106415"/>
                        <a:pt x="81462" y="100164"/>
                        <a:pt x="87574" y="100164"/>
                      </a:cubicBezTo>
                      <a:cubicBezTo>
                        <a:pt x="81462" y="100164"/>
                        <a:pt x="75210" y="106415"/>
                        <a:pt x="75210" y="106415"/>
                      </a:cubicBezTo>
                      <a:cubicBezTo>
                        <a:pt x="75210" y="112667"/>
                        <a:pt x="87574" y="106415"/>
                        <a:pt x="87574" y="106415"/>
                      </a:cubicBezTo>
                      <a:cubicBezTo>
                        <a:pt x="93687" y="112667"/>
                        <a:pt x="44369" y="137534"/>
                        <a:pt x="56733" y="137534"/>
                      </a:cubicBezTo>
                      <a:cubicBezTo>
                        <a:pt x="69097" y="143786"/>
                        <a:pt x="81462" y="137534"/>
                        <a:pt x="87574" y="137534"/>
                      </a:cubicBezTo>
                      <a:cubicBezTo>
                        <a:pt x="99939" y="137534"/>
                        <a:pt x="112303" y="137534"/>
                        <a:pt x="124667" y="143786"/>
                      </a:cubicBezTo>
                      <a:cubicBezTo>
                        <a:pt x="118554" y="137534"/>
                        <a:pt x="118554" y="143786"/>
                        <a:pt x="118554" y="143786"/>
                      </a:cubicBezTo>
                      <a:cubicBezTo>
                        <a:pt x="124667" y="150037"/>
                        <a:pt x="130918" y="150037"/>
                        <a:pt x="130918" y="150037"/>
                      </a:cubicBezTo>
                      <a:cubicBezTo>
                        <a:pt x="143283" y="156289"/>
                        <a:pt x="161760" y="156289"/>
                        <a:pt x="174124" y="156289"/>
                      </a:cubicBezTo>
                      <a:cubicBezTo>
                        <a:pt x="186488" y="156289"/>
                        <a:pt x="186488" y="150037"/>
                        <a:pt x="198852" y="150037"/>
                      </a:cubicBezTo>
                      <a:cubicBezTo>
                        <a:pt x="211216" y="143786"/>
                        <a:pt x="223581" y="143786"/>
                        <a:pt x="235945" y="137534"/>
                      </a:cubicBezTo>
                      <a:cubicBezTo>
                        <a:pt x="254422" y="125031"/>
                        <a:pt x="260673" y="118780"/>
                        <a:pt x="279150" y="112528"/>
                      </a:cubicBezTo>
                      <a:cubicBezTo>
                        <a:pt x="291514" y="112528"/>
                        <a:pt x="297627" y="93773"/>
                        <a:pt x="316243" y="93773"/>
                      </a:cubicBezTo>
                      <a:cubicBezTo>
                        <a:pt x="316243" y="87522"/>
                        <a:pt x="322355" y="87522"/>
                        <a:pt x="316243" y="81270"/>
                      </a:cubicBezTo>
                      <a:cubicBezTo>
                        <a:pt x="310130" y="75019"/>
                        <a:pt x="322355" y="75019"/>
                        <a:pt x="328607" y="75019"/>
                      </a:cubicBezTo>
                      <a:lnTo>
                        <a:pt x="316243" y="68767"/>
                      </a:lnTo>
                      <a:cubicBezTo>
                        <a:pt x="316103" y="62377"/>
                        <a:pt x="328468" y="56264"/>
                        <a:pt x="322216" y="56264"/>
                      </a:cubicBezTo>
                      <a:cubicBezTo>
                        <a:pt x="309852" y="50012"/>
                        <a:pt x="328468" y="56264"/>
                        <a:pt x="322216" y="5626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7" name="Freihandform: Form 146">
                  <a:extLst>
                    <a:ext uri="{FF2B5EF4-FFF2-40B4-BE49-F238E27FC236}">
                      <a16:creationId xmlns:a16="http://schemas.microsoft.com/office/drawing/2014/main" id="{00D0E243-3915-4BA2-A4A2-0252CAE73604}"/>
                    </a:ext>
                  </a:extLst>
                </p:cNvPr>
                <p:cNvSpPr/>
                <p:nvPr/>
              </p:nvSpPr>
              <p:spPr>
                <a:xfrm>
                  <a:off x="11270358" y="1889972"/>
                  <a:ext cx="45616" cy="25415"/>
                </a:xfrm>
                <a:custGeom>
                  <a:avLst/>
                  <a:gdLst>
                    <a:gd name="connsiteX0" fmla="*/ 14487 w 45616"/>
                    <a:gd name="connsiteY0" fmla="*/ 21873 h 25415"/>
                    <a:gd name="connsiteX1" fmla="*/ 2401 w 45616"/>
                    <a:gd name="connsiteY1" fmla="*/ 2840 h 25415"/>
                    <a:gd name="connsiteX2" fmla="*/ 32686 w 45616"/>
                    <a:gd name="connsiteY2" fmla="*/ 2840 h 25415"/>
                    <a:gd name="connsiteX3" fmla="*/ 14487 w 45616"/>
                    <a:gd name="connsiteY3" fmla="*/ 21873 h 25415"/>
                    <a:gd name="connsiteX4" fmla="*/ 14487 w 45616"/>
                    <a:gd name="connsiteY4" fmla="*/ 21873 h 25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16" h="25415">
                      <a:moveTo>
                        <a:pt x="14487" y="21873"/>
                      </a:moveTo>
                      <a:cubicBezTo>
                        <a:pt x="2401" y="15482"/>
                        <a:pt x="-3712" y="15482"/>
                        <a:pt x="2401" y="2840"/>
                      </a:cubicBezTo>
                      <a:cubicBezTo>
                        <a:pt x="8375" y="-3550"/>
                        <a:pt x="20600" y="2840"/>
                        <a:pt x="32686" y="2840"/>
                      </a:cubicBezTo>
                      <a:cubicBezTo>
                        <a:pt x="63111" y="9231"/>
                        <a:pt x="32686" y="34654"/>
                        <a:pt x="14487" y="21873"/>
                      </a:cubicBezTo>
                      <a:cubicBezTo>
                        <a:pt x="8513" y="15482"/>
                        <a:pt x="20600" y="28263"/>
                        <a:pt x="14487" y="2187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8" name="Freihandform: Form 147">
                  <a:extLst>
                    <a:ext uri="{FF2B5EF4-FFF2-40B4-BE49-F238E27FC236}">
                      <a16:creationId xmlns:a16="http://schemas.microsoft.com/office/drawing/2014/main" id="{8A425881-9981-4F67-97AB-3B57CD586A50}"/>
                    </a:ext>
                  </a:extLst>
                </p:cNvPr>
                <p:cNvSpPr/>
                <p:nvPr/>
              </p:nvSpPr>
              <p:spPr>
                <a:xfrm>
                  <a:off x="11133280" y="2442502"/>
                  <a:ext cx="34514" cy="21213"/>
                </a:xfrm>
                <a:custGeom>
                  <a:avLst/>
                  <a:gdLst>
                    <a:gd name="connsiteX0" fmla="*/ 31674 w 34514"/>
                    <a:gd name="connsiteY0" fmla="*/ 8227 h 21213"/>
                    <a:gd name="connsiteX1" fmla="*/ 31674 w 34514"/>
                    <a:gd name="connsiteY1" fmla="*/ 2531 h 21213"/>
                    <a:gd name="connsiteX2" fmla="*/ 12642 w 34514"/>
                    <a:gd name="connsiteY2" fmla="*/ 2531 h 21213"/>
                    <a:gd name="connsiteX3" fmla="*/ 6391 w 34514"/>
                    <a:gd name="connsiteY3" fmla="*/ 13923 h 21213"/>
                    <a:gd name="connsiteX4" fmla="*/ 0 w 34514"/>
                    <a:gd name="connsiteY4" fmla="*/ 19619 h 21213"/>
                    <a:gd name="connsiteX5" fmla="*/ 31674 w 34514"/>
                    <a:gd name="connsiteY5" fmla="*/ 8227 h 21213"/>
                    <a:gd name="connsiteX6" fmla="*/ 31674 w 34514"/>
                    <a:gd name="connsiteY6" fmla="*/ 8227 h 2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14" h="21213">
                      <a:moveTo>
                        <a:pt x="31674" y="8227"/>
                      </a:moveTo>
                      <a:cubicBezTo>
                        <a:pt x="38065" y="8227"/>
                        <a:pt x="31674" y="2531"/>
                        <a:pt x="31674" y="2531"/>
                      </a:cubicBezTo>
                      <a:cubicBezTo>
                        <a:pt x="25423" y="-3164"/>
                        <a:pt x="19033" y="2531"/>
                        <a:pt x="12642" y="2531"/>
                      </a:cubicBezTo>
                      <a:cubicBezTo>
                        <a:pt x="6391" y="2531"/>
                        <a:pt x="0" y="8227"/>
                        <a:pt x="6391" y="13923"/>
                      </a:cubicBezTo>
                      <a:cubicBezTo>
                        <a:pt x="6391" y="13923"/>
                        <a:pt x="0" y="25315"/>
                        <a:pt x="0" y="19619"/>
                      </a:cubicBezTo>
                      <a:lnTo>
                        <a:pt x="31674" y="8227"/>
                      </a:lnTo>
                      <a:cubicBezTo>
                        <a:pt x="38065" y="8227"/>
                        <a:pt x="19033" y="14062"/>
                        <a:pt x="31674" y="82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9" name="Freihandform: Form 148">
                  <a:extLst>
                    <a:ext uri="{FF2B5EF4-FFF2-40B4-BE49-F238E27FC236}">
                      <a16:creationId xmlns:a16="http://schemas.microsoft.com/office/drawing/2014/main" id="{B7110197-1431-409C-9EF4-58087C1147BD}"/>
                    </a:ext>
                  </a:extLst>
                </p:cNvPr>
                <p:cNvSpPr/>
                <p:nvPr/>
              </p:nvSpPr>
              <p:spPr>
                <a:xfrm>
                  <a:off x="10310153" y="2620493"/>
                  <a:ext cx="17519" cy="19032"/>
                </a:xfrm>
                <a:custGeom>
                  <a:avLst/>
                  <a:gdLst>
                    <a:gd name="connsiteX0" fmla="*/ 10841 w 17519"/>
                    <a:gd name="connsiteY0" fmla="*/ 19033 h 19032"/>
                    <a:gd name="connsiteX1" fmla="*/ 10841 w 17519"/>
                    <a:gd name="connsiteY1" fmla="*/ 0 h 19032"/>
                    <a:gd name="connsiteX2" fmla="*/ 10841 w 17519"/>
                    <a:gd name="connsiteY2" fmla="*/ 19033 h 19032"/>
                  </a:gdLst>
                  <a:ahLst/>
                  <a:cxnLst>
                    <a:cxn ang="0">
                      <a:pos x="connsiteX0" y="connsiteY0"/>
                    </a:cxn>
                    <a:cxn ang="0">
                      <a:pos x="connsiteX1" y="connsiteY1"/>
                    </a:cxn>
                    <a:cxn ang="0">
                      <a:pos x="connsiteX2" y="connsiteY2"/>
                    </a:cxn>
                  </a:cxnLst>
                  <a:rect l="l" t="t" r="r" b="b"/>
                  <a:pathLst>
                    <a:path w="17519" h="19032">
                      <a:moveTo>
                        <a:pt x="10841" y="19033"/>
                      </a:moveTo>
                      <a:cubicBezTo>
                        <a:pt x="-550" y="19033"/>
                        <a:pt x="-6385" y="6391"/>
                        <a:pt x="10841" y="0"/>
                      </a:cubicBezTo>
                      <a:cubicBezTo>
                        <a:pt x="22372" y="0"/>
                        <a:pt x="16676" y="19033"/>
                        <a:pt x="10841" y="190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0" name="Freihandform: Form 149">
                  <a:extLst>
                    <a:ext uri="{FF2B5EF4-FFF2-40B4-BE49-F238E27FC236}">
                      <a16:creationId xmlns:a16="http://schemas.microsoft.com/office/drawing/2014/main" id="{D7436ED3-1A5F-4B69-8520-1FA57DD65232}"/>
                    </a:ext>
                  </a:extLst>
                </p:cNvPr>
                <p:cNvSpPr/>
                <p:nvPr/>
              </p:nvSpPr>
              <p:spPr>
                <a:xfrm>
                  <a:off x="10871215" y="2815253"/>
                  <a:ext cx="23672" cy="24461"/>
                </a:xfrm>
                <a:custGeom>
                  <a:avLst/>
                  <a:gdLst>
                    <a:gd name="connsiteX0" fmla="*/ 23672 w 23672"/>
                    <a:gd name="connsiteY0" fmla="*/ 1539 h 24461"/>
                    <a:gd name="connsiteX1" fmla="*/ 750 w 23672"/>
                    <a:gd name="connsiteY1" fmla="*/ 24462 h 24461"/>
                    <a:gd name="connsiteX2" fmla="*/ 17976 w 23672"/>
                    <a:gd name="connsiteY2" fmla="*/ 13070 h 24461"/>
                    <a:gd name="connsiteX3" fmla="*/ 23672 w 23672"/>
                    <a:gd name="connsiteY3" fmla="*/ 1539 h 24461"/>
                  </a:gdLst>
                  <a:ahLst/>
                  <a:cxnLst>
                    <a:cxn ang="0">
                      <a:pos x="connsiteX0" y="connsiteY0"/>
                    </a:cxn>
                    <a:cxn ang="0">
                      <a:pos x="connsiteX1" y="connsiteY1"/>
                    </a:cxn>
                    <a:cxn ang="0">
                      <a:pos x="connsiteX2" y="connsiteY2"/>
                    </a:cxn>
                    <a:cxn ang="0">
                      <a:pos x="connsiteX3" y="connsiteY3"/>
                    </a:cxn>
                  </a:cxnLst>
                  <a:rect l="l" t="t" r="r" b="b"/>
                  <a:pathLst>
                    <a:path w="23672" h="24461">
                      <a:moveTo>
                        <a:pt x="23672" y="1539"/>
                      </a:moveTo>
                      <a:cubicBezTo>
                        <a:pt x="23672" y="1539"/>
                        <a:pt x="-4946" y="24462"/>
                        <a:pt x="750" y="24462"/>
                      </a:cubicBezTo>
                      <a:cubicBezTo>
                        <a:pt x="6446" y="24462"/>
                        <a:pt x="17976" y="13070"/>
                        <a:pt x="17976" y="13070"/>
                      </a:cubicBezTo>
                      <a:cubicBezTo>
                        <a:pt x="23672" y="7374"/>
                        <a:pt x="23672" y="-4157"/>
                        <a:pt x="23672" y="153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1" name="Freihandform: Form 150">
                  <a:extLst>
                    <a:ext uri="{FF2B5EF4-FFF2-40B4-BE49-F238E27FC236}">
                      <a16:creationId xmlns:a16="http://schemas.microsoft.com/office/drawing/2014/main" id="{D6FE30D4-C3D6-4241-B8CA-9E06F5F18349}"/>
                    </a:ext>
                  </a:extLst>
                </p:cNvPr>
                <p:cNvSpPr/>
                <p:nvPr/>
              </p:nvSpPr>
              <p:spPr>
                <a:xfrm>
                  <a:off x="10849861" y="2858747"/>
                  <a:ext cx="4260" cy="9585"/>
                </a:xfrm>
                <a:custGeom>
                  <a:avLst/>
                  <a:gdLst>
                    <a:gd name="connsiteX0" fmla="*/ 2099 w 4260"/>
                    <a:gd name="connsiteY0" fmla="*/ 0 h 9585"/>
                    <a:gd name="connsiteX1" fmla="*/ 2099 w 4260"/>
                    <a:gd name="connsiteY1" fmla="*/ 9586 h 9585"/>
                    <a:gd name="connsiteX2" fmla="*/ 2099 w 4260"/>
                    <a:gd name="connsiteY2" fmla="*/ 0 h 9585"/>
                  </a:gdLst>
                  <a:ahLst/>
                  <a:cxnLst>
                    <a:cxn ang="0">
                      <a:pos x="connsiteX0" y="connsiteY0"/>
                    </a:cxn>
                    <a:cxn ang="0">
                      <a:pos x="connsiteX1" y="connsiteY1"/>
                    </a:cxn>
                    <a:cxn ang="0">
                      <a:pos x="connsiteX2" y="connsiteY2"/>
                    </a:cxn>
                  </a:cxnLst>
                  <a:rect l="l" t="t" r="r" b="b"/>
                  <a:pathLst>
                    <a:path w="4260" h="9585">
                      <a:moveTo>
                        <a:pt x="2099" y="0"/>
                      </a:moveTo>
                      <a:cubicBezTo>
                        <a:pt x="2099" y="0"/>
                        <a:pt x="-2624" y="9586"/>
                        <a:pt x="2099" y="9586"/>
                      </a:cubicBezTo>
                      <a:cubicBezTo>
                        <a:pt x="2099" y="9586"/>
                        <a:pt x="6962" y="0"/>
                        <a:pt x="2099"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2" name="Freihandform: Form 151">
                  <a:extLst>
                    <a:ext uri="{FF2B5EF4-FFF2-40B4-BE49-F238E27FC236}">
                      <a16:creationId xmlns:a16="http://schemas.microsoft.com/office/drawing/2014/main" id="{89DB82E3-3456-4297-B9CE-A196891CFF81}"/>
                    </a:ext>
                  </a:extLst>
                </p:cNvPr>
                <p:cNvSpPr/>
                <p:nvPr/>
              </p:nvSpPr>
              <p:spPr>
                <a:xfrm>
                  <a:off x="10766107" y="2954188"/>
                  <a:ext cx="9859" cy="9585"/>
                </a:xfrm>
                <a:custGeom>
                  <a:avLst/>
                  <a:gdLst>
                    <a:gd name="connsiteX0" fmla="*/ 8056 w 9859"/>
                    <a:gd name="connsiteY0" fmla="*/ 0 h 9585"/>
                    <a:gd name="connsiteX1" fmla="*/ 1804 w 9859"/>
                    <a:gd name="connsiteY1" fmla="*/ 9586 h 9585"/>
                    <a:gd name="connsiteX2" fmla="*/ 8056 w 9859"/>
                    <a:gd name="connsiteY2" fmla="*/ 0 h 9585"/>
                  </a:gdLst>
                  <a:ahLst/>
                  <a:cxnLst>
                    <a:cxn ang="0">
                      <a:pos x="connsiteX0" y="connsiteY0"/>
                    </a:cxn>
                    <a:cxn ang="0">
                      <a:pos x="connsiteX1" y="connsiteY1"/>
                    </a:cxn>
                    <a:cxn ang="0">
                      <a:pos x="connsiteX2" y="connsiteY2"/>
                    </a:cxn>
                  </a:cxnLst>
                  <a:rect l="l" t="t" r="r" b="b"/>
                  <a:pathLst>
                    <a:path w="9859" h="9585">
                      <a:moveTo>
                        <a:pt x="8056" y="0"/>
                      </a:moveTo>
                      <a:cubicBezTo>
                        <a:pt x="8056" y="0"/>
                        <a:pt x="-4587" y="9586"/>
                        <a:pt x="1804" y="9586"/>
                      </a:cubicBezTo>
                      <a:cubicBezTo>
                        <a:pt x="1804" y="9447"/>
                        <a:pt x="14446" y="0"/>
                        <a:pt x="805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3" name="Freihandform: Form 152">
                  <a:extLst>
                    <a:ext uri="{FF2B5EF4-FFF2-40B4-BE49-F238E27FC236}">
                      <a16:creationId xmlns:a16="http://schemas.microsoft.com/office/drawing/2014/main" id="{022EDFDD-4FB2-4EAF-BAC0-A001CA1375A4}"/>
                    </a:ext>
                  </a:extLst>
                </p:cNvPr>
                <p:cNvSpPr/>
                <p:nvPr/>
              </p:nvSpPr>
              <p:spPr>
                <a:xfrm>
                  <a:off x="10691058" y="2992253"/>
                  <a:ext cx="35931" cy="15062"/>
                </a:xfrm>
                <a:custGeom>
                  <a:avLst/>
                  <a:gdLst>
                    <a:gd name="connsiteX0" fmla="*/ 35036 w 35931"/>
                    <a:gd name="connsiteY0" fmla="*/ 0 h 15062"/>
                    <a:gd name="connsiteX1" fmla="*/ 861 w 35931"/>
                    <a:gd name="connsiteY1" fmla="*/ 14309 h 15062"/>
                    <a:gd name="connsiteX2" fmla="*/ 35036 w 35931"/>
                    <a:gd name="connsiteY2" fmla="*/ 0 h 15062"/>
                  </a:gdLst>
                  <a:ahLst/>
                  <a:cxnLst>
                    <a:cxn ang="0">
                      <a:pos x="connsiteX0" y="connsiteY0"/>
                    </a:cxn>
                    <a:cxn ang="0">
                      <a:pos x="connsiteX1" y="connsiteY1"/>
                    </a:cxn>
                    <a:cxn ang="0">
                      <a:pos x="connsiteX2" y="connsiteY2"/>
                    </a:cxn>
                  </a:cxnLst>
                  <a:rect l="l" t="t" r="r" b="b"/>
                  <a:pathLst>
                    <a:path w="35931" h="15062">
                      <a:moveTo>
                        <a:pt x="35036" y="0"/>
                      </a:moveTo>
                      <a:cubicBezTo>
                        <a:pt x="28229" y="0"/>
                        <a:pt x="-5807" y="9586"/>
                        <a:pt x="861" y="14309"/>
                      </a:cubicBezTo>
                      <a:cubicBezTo>
                        <a:pt x="7807" y="19032"/>
                        <a:pt x="41843" y="0"/>
                        <a:pt x="3503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4" name="Freihandform: Form 153">
                  <a:extLst>
                    <a:ext uri="{FF2B5EF4-FFF2-40B4-BE49-F238E27FC236}">
                      <a16:creationId xmlns:a16="http://schemas.microsoft.com/office/drawing/2014/main" id="{8572C350-7C1C-421F-9A3C-1CD0C8BAECC4}"/>
                    </a:ext>
                  </a:extLst>
                </p:cNvPr>
                <p:cNvSpPr/>
                <p:nvPr/>
              </p:nvSpPr>
              <p:spPr>
                <a:xfrm>
                  <a:off x="10643004" y="3011285"/>
                  <a:ext cx="29111" cy="22563"/>
                </a:xfrm>
                <a:custGeom>
                  <a:avLst/>
                  <a:gdLst>
                    <a:gd name="connsiteX0" fmla="*/ 26271 w 29111"/>
                    <a:gd name="connsiteY0" fmla="*/ 0 h 22563"/>
                    <a:gd name="connsiteX1" fmla="*/ 848 w 29111"/>
                    <a:gd name="connsiteY1" fmla="*/ 21394 h 22563"/>
                    <a:gd name="connsiteX2" fmla="*/ 26271 w 29111"/>
                    <a:gd name="connsiteY2" fmla="*/ 0 h 22563"/>
                    <a:gd name="connsiteX3" fmla="*/ 26271 w 29111"/>
                    <a:gd name="connsiteY3" fmla="*/ 0 h 22563"/>
                  </a:gdLst>
                  <a:ahLst/>
                  <a:cxnLst>
                    <a:cxn ang="0">
                      <a:pos x="connsiteX0" y="connsiteY0"/>
                    </a:cxn>
                    <a:cxn ang="0">
                      <a:pos x="connsiteX1" y="connsiteY1"/>
                    </a:cxn>
                    <a:cxn ang="0">
                      <a:pos x="connsiteX2" y="connsiteY2"/>
                    </a:cxn>
                    <a:cxn ang="0">
                      <a:pos x="connsiteX3" y="connsiteY3"/>
                    </a:cxn>
                  </a:cxnLst>
                  <a:rect l="l" t="t" r="r" b="b"/>
                  <a:pathLst>
                    <a:path w="29111" h="22563">
                      <a:moveTo>
                        <a:pt x="26271" y="0"/>
                      </a:moveTo>
                      <a:cubicBezTo>
                        <a:pt x="26271" y="0"/>
                        <a:pt x="-5542" y="14309"/>
                        <a:pt x="848" y="21394"/>
                      </a:cubicBezTo>
                      <a:cubicBezTo>
                        <a:pt x="7238" y="28618"/>
                        <a:pt x="26271" y="0"/>
                        <a:pt x="26271" y="0"/>
                      </a:cubicBezTo>
                      <a:cubicBezTo>
                        <a:pt x="26271" y="0"/>
                        <a:pt x="32662" y="0"/>
                        <a:pt x="26271"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5" name="Freihandform: Form 154">
                  <a:extLst>
                    <a:ext uri="{FF2B5EF4-FFF2-40B4-BE49-F238E27FC236}">
                      <a16:creationId xmlns:a16="http://schemas.microsoft.com/office/drawing/2014/main" id="{0613B1D3-9020-4962-A1D8-5D81D34A5C23}"/>
                    </a:ext>
                  </a:extLst>
                </p:cNvPr>
                <p:cNvSpPr/>
                <p:nvPr/>
              </p:nvSpPr>
              <p:spPr>
                <a:xfrm>
                  <a:off x="10599397" y="3030318"/>
                  <a:ext cx="33897" cy="23672"/>
                </a:xfrm>
                <a:custGeom>
                  <a:avLst/>
                  <a:gdLst>
                    <a:gd name="connsiteX0" fmla="*/ 30563 w 33897"/>
                    <a:gd name="connsiteY0" fmla="*/ 0 h 23672"/>
                    <a:gd name="connsiteX1" fmla="*/ 0 w 33897"/>
                    <a:gd name="connsiteY1" fmla="*/ 22922 h 23672"/>
                    <a:gd name="connsiteX2" fmla="*/ 30563 w 33897"/>
                    <a:gd name="connsiteY2" fmla="*/ 0 h 23672"/>
                    <a:gd name="connsiteX3" fmla="*/ 30563 w 33897"/>
                    <a:gd name="connsiteY3" fmla="*/ 0 h 23672"/>
                  </a:gdLst>
                  <a:ahLst/>
                  <a:cxnLst>
                    <a:cxn ang="0">
                      <a:pos x="connsiteX0" y="connsiteY0"/>
                    </a:cxn>
                    <a:cxn ang="0">
                      <a:pos x="connsiteX1" y="connsiteY1"/>
                    </a:cxn>
                    <a:cxn ang="0">
                      <a:pos x="connsiteX2" y="connsiteY2"/>
                    </a:cxn>
                    <a:cxn ang="0">
                      <a:pos x="connsiteX3" y="connsiteY3"/>
                    </a:cxn>
                  </a:cxnLst>
                  <a:rect l="l" t="t" r="r" b="b"/>
                  <a:pathLst>
                    <a:path w="33897" h="23672">
                      <a:moveTo>
                        <a:pt x="30563" y="0"/>
                      </a:moveTo>
                      <a:lnTo>
                        <a:pt x="0" y="22922"/>
                      </a:lnTo>
                      <a:cubicBezTo>
                        <a:pt x="15282" y="28618"/>
                        <a:pt x="30563" y="0"/>
                        <a:pt x="30563" y="0"/>
                      </a:cubicBezTo>
                      <a:cubicBezTo>
                        <a:pt x="30563" y="0"/>
                        <a:pt x="38065" y="0"/>
                        <a:pt x="30563"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6" name="Freihandform: Form 155">
                  <a:extLst>
                    <a:ext uri="{FF2B5EF4-FFF2-40B4-BE49-F238E27FC236}">
                      <a16:creationId xmlns:a16="http://schemas.microsoft.com/office/drawing/2014/main" id="{0C24D41E-4A26-4AF9-BBF6-69952FB2FF2B}"/>
                    </a:ext>
                  </a:extLst>
                </p:cNvPr>
                <p:cNvSpPr/>
                <p:nvPr/>
              </p:nvSpPr>
              <p:spPr>
                <a:xfrm>
                  <a:off x="10601793" y="3078108"/>
                  <a:ext cx="7189" cy="9585"/>
                </a:xfrm>
                <a:custGeom>
                  <a:avLst/>
                  <a:gdLst>
                    <a:gd name="connsiteX0" fmla="*/ 7189 w 7189"/>
                    <a:gd name="connsiteY0" fmla="*/ 0 h 9585"/>
                    <a:gd name="connsiteX1" fmla="*/ 7189 w 7189"/>
                    <a:gd name="connsiteY1" fmla="*/ 9586 h 9585"/>
                    <a:gd name="connsiteX2" fmla="*/ 7189 w 7189"/>
                    <a:gd name="connsiteY2" fmla="*/ 0 h 9585"/>
                  </a:gdLst>
                  <a:ahLst/>
                  <a:cxnLst>
                    <a:cxn ang="0">
                      <a:pos x="connsiteX0" y="connsiteY0"/>
                    </a:cxn>
                    <a:cxn ang="0">
                      <a:pos x="connsiteX1" y="connsiteY1"/>
                    </a:cxn>
                    <a:cxn ang="0">
                      <a:pos x="connsiteX2" y="connsiteY2"/>
                    </a:cxn>
                  </a:cxnLst>
                  <a:rect l="l" t="t" r="r" b="b"/>
                  <a:pathLst>
                    <a:path w="7189" h="9585">
                      <a:moveTo>
                        <a:pt x="7189" y="0"/>
                      </a:moveTo>
                      <a:cubicBezTo>
                        <a:pt x="-2396" y="0"/>
                        <a:pt x="-2396" y="9586"/>
                        <a:pt x="7189" y="9586"/>
                      </a:cubicBezTo>
                      <a:lnTo>
                        <a:pt x="7189" y="0"/>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7" name="Freihandform: Form 156">
                  <a:extLst>
                    <a:ext uri="{FF2B5EF4-FFF2-40B4-BE49-F238E27FC236}">
                      <a16:creationId xmlns:a16="http://schemas.microsoft.com/office/drawing/2014/main" id="{84026C4D-9117-4570-BAB6-25974200A23D}"/>
                    </a:ext>
                  </a:extLst>
                </p:cNvPr>
                <p:cNvSpPr/>
                <p:nvPr/>
              </p:nvSpPr>
              <p:spPr>
                <a:xfrm>
                  <a:off x="10561193" y="3053426"/>
                  <a:ext cx="32768" cy="24543"/>
                </a:xfrm>
                <a:custGeom>
                  <a:avLst/>
                  <a:gdLst>
                    <a:gd name="connsiteX0" fmla="*/ 30563 w 32768"/>
                    <a:gd name="connsiteY0" fmla="*/ 3149 h 24543"/>
                    <a:gd name="connsiteX1" fmla="*/ 0 w 32768"/>
                    <a:gd name="connsiteY1" fmla="*/ 24543 h 24543"/>
                    <a:gd name="connsiteX2" fmla="*/ 30563 w 32768"/>
                    <a:gd name="connsiteY2" fmla="*/ 3149 h 24543"/>
                    <a:gd name="connsiteX3" fmla="*/ 30563 w 32768"/>
                    <a:gd name="connsiteY3" fmla="*/ 3149 h 24543"/>
                  </a:gdLst>
                  <a:ahLst/>
                  <a:cxnLst>
                    <a:cxn ang="0">
                      <a:pos x="connsiteX0" y="connsiteY0"/>
                    </a:cxn>
                    <a:cxn ang="0">
                      <a:pos x="connsiteX1" y="connsiteY1"/>
                    </a:cxn>
                    <a:cxn ang="0">
                      <a:pos x="connsiteX2" y="connsiteY2"/>
                    </a:cxn>
                    <a:cxn ang="0">
                      <a:pos x="connsiteX3" y="connsiteY3"/>
                    </a:cxn>
                  </a:cxnLst>
                  <a:rect l="l" t="t" r="r" b="b"/>
                  <a:pathLst>
                    <a:path w="32768" h="24543">
                      <a:moveTo>
                        <a:pt x="30563" y="3149"/>
                      </a:moveTo>
                      <a:cubicBezTo>
                        <a:pt x="15282" y="10234"/>
                        <a:pt x="0" y="17458"/>
                        <a:pt x="0" y="24543"/>
                      </a:cubicBezTo>
                      <a:lnTo>
                        <a:pt x="30563" y="3149"/>
                      </a:lnTo>
                      <a:cubicBezTo>
                        <a:pt x="22922" y="3149"/>
                        <a:pt x="38204" y="-3936"/>
                        <a:pt x="30563" y="314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8" name="Freihandform: Form 157">
                  <a:extLst>
                    <a:ext uri="{FF2B5EF4-FFF2-40B4-BE49-F238E27FC236}">
                      <a16:creationId xmlns:a16="http://schemas.microsoft.com/office/drawing/2014/main" id="{CC2268E8-662A-44B7-8533-5DD24B6B3CAE}"/>
                    </a:ext>
                  </a:extLst>
                </p:cNvPr>
                <p:cNvSpPr/>
                <p:nvPr/>
              </p:nvSpPr>
              <p:spPr>
                <a:xfrm>
                  <a:off x="10337711" y="3278296"/>
                  <a:ext cx="11449" cy="19032"/>
                </a:xfrm>
                <a:custGeom>
                  <a:avLst/>
                  <a:gdLst>
                    <a:gd name="connsiteX0" fmla="*/ 4260 w 11449"/>
                    <a:gd name="connsiteY0" fmla="*/ 0 h 19032"/>
                    <a:gd name="connsiteX1" fmla="*/ 4260 w 11449"/>
                    <a:gd name="connsiteY1" fmla="*/ 19033 h 19032"/>
                    <a:gd name="connsiteX2" fmla="*/ 4260 w 11449"/>
                    <a:gd name="connsiteY2" fmla="*/ 0 h 19032"/>
                  </a:gdLst>
                  <a:ahLst/>
                  <a:cxnLst>
                    <a:cxn ang="0">
                      <a:pos x="connsiteX0" y="connsiteY0"/>
                    </a:cxn>
                    <a:cxn ang="0">
                      <a:pos x="connsiteX1" y="connsiteY1"/>
                    </a:cxn>
                    <a:cxn ang="0">
                      <a:pos x="connsiteX2" y="connsiteY2"/>
                    </a:cxn>
                  </a:cxnLst>
                  <a:rect l="l" t="t" r="r" b="b"/>
                  <a:pathLst>
                    <a:path w="11449" h="19032">
                      <a:moveTo>
                        <a:pt x="4260" y="0"/>
                      </a:moveTo>
                      <a:cubicBezTo>
                        <a:pt x="4260" y="0"/>
                        <a:pt x="-5325" y="19033"/>
                        <a:pt x="4260" y="19033"/>
                      </a:cubicBezTo>
                      <a:cubicBezTo>
                        <a:pt x="13846" y="19033"/>
                        <a:pt x="13846" y="0"/>
                        <a:pt x="4260"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9" name="Freihandform: Form 158">
                  <a:extLst>
                    <a:ext uri="{FF2B5EF4-FFF2-40B4-BE49-F238E27FC236}">
                      <a16:creationId xmlns:a16="http://schemas.microsoft.com/office/drawing/2014/main" id="{7C704143-B254-4438-9CDE-3B419ABC6271}"/>
                    </a:ext>
                  </a:extLst>
                </p:cNvPr>
                <p:cNvSpPr/>
                <p:nvPr/>
              </p:nvSpPr>
              <p:spPr>
                <a:xfrm>
                  <a:off x="10384985" y="3016542"/>
                  <a:ext cx="186071" cy="152319"/>
                </a:xfrm>
                <a:custGeom>
                  <a:avLst/>
                  <a:gdLst>
                    <a:gd name="connsiteX0" fmla="*/ 167317 w 186071"/>
                    <a:gd name="connsiteY0" fmla="*/ 57120 h 152319"/>
                    <a:gd name="connsiteX1" fmla="*/ 173568 w 186071"/>
                    <a:gd name="connsiteY1" fmla="*/ 38366 h 152319"/>
                    <a:gd name="connsiteX2" fmla="*/ 161204 w 186071"/>
                    <a:gd name="connsiteY2" fmla="*/ 57120 h 152319"/>
                    <a:gd name="connsiteX3" fmla="*/ 118138 w 186071"/>
                    <a:gd name="connsiteY3" fmla="*/ 44617 h 152319"/>
                    <a:gd name="connsiteX4" fmla="*/ 62846 w 186071"/>
                    <a:gd name="connsiteY4" fmla="*/ 995 h 152319"/>
                    <a:gd name="connsiteX5" fmla="*/ 62846 w 186071"/>
                    <a:gd name="connsiteY5" fmla="*/ 25862 h 152319"/>
                    <a:gd name="connsiteX6" fmla="*/ 50482 w 186071"/>
                    <a:gd name="connsiteY6" fmla="*/ 63233 h 152319"/>
                    <a:gd name="connsiteX7" fmla="*/ 38118 w 186071"/>
                    <a:gd name="connsiteY7" fmla="*/ 81988 h 152319"/>
                    <a:gd name="connsiteX8" fmla="*/ 19641 w 186071"/>
                    <a:gd name="connsiteY8" fmla="*/ 81988 h 152319"/>
                    <a:gd name="connsiteX9" fmla="*/ 25893 w 186071"/>
                    <a:gd name="connsiteY9" fmla="*/ 94491 h 152319"/>
                    <a:gd name="connsiteX10" fmla="*/ 1303 w 186071"/>
                    <a:gd name="connsiteY10" fmla="*/ 106994 h 152319"/>
                    <a:gd name="connsiteX11" fmla="*/ 7416 w 186071"/>
                    <a:gd name="connsiteY11" fmla="*/ 138113 h 152319"/>
                    <a:gd name="connsiteX12" fmla="*/ 19780 w 186071"/>
                    <a:gd name="connsiteY12" fmla="*/ 150616 h 152319"/>
                    <a:gd name="connsiteX13" fmla="*/ 32144 w 186071"/>
                    <a:gd name="connsiteY13" fmla="*/ 138113 h 152319"/>
                    <a:gd name="connsiteX14" fmla="*/ 38396 w 186071"/>
                    <a:gd name="connsiteY14" fmla="*/ 138113 h 152319"/>
                    <a:gd name="connsiteX15" fmla="*/ 19919 w 186071"/>
                    <a:gd name="connsiteY15" fmla="*/ 119358 h 152319"/>
                    <a:gd name="connsiteX16" fmla="*/ 38396 w 186071"/>
                    <a:gd name="connsiteY16" fmla="*/ 113106 h 152319"/>
                    <a:gd name="connsiteX17" fmla="*/ 69098 w 186071"/>
                    <a:gd name="connsiteY17" fmla="*/ 106855 h 152319"/>
                    <a:gd name="connsiteX18" fmla="*/ 99939 w 186071"/>
                    <a:gd name="connsiteY18" fmla="*/ 125609 h 152319"/>
                    <a:gd name="connsiteX19" fmla="*/ 124528 w 186071"/>
                    <a:gd name="connsiteY19" fmla="*/ 94491 h 152319"/>
                    <a:gd name="connsiteX20" fmla="*/ 186071 w 186071"/>
                    <a:gd name="connsiteY20" fmla="*/ 81988 h 152319"/>
                    <a:gd name="connsiteX21" fmla="*/ 173707 w 186071"/>
                    <a:gd name="connsiteY21" fmla="*/ 69484 h 152319"/>
                    <a:gd name="connsiteX22" fmla="*/ 167317 w 186071"/>
                    <a:gd name="connsiteY22" fmla="*/ 57120 h 152319"/>
                    <a:gd name="connsiteX23" fmla="*/ 167317 w 186071"/>
                    <a:gd name="connsiteY23" fmla="*/ 57120 h 15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6071" h="152319">
                      <a:moveTo>
                        <a:pt x="167317" y="57120"/>
                      </a:moveTo>
                      <a:cubicBezTo>
                        <a:pt x="167317" y="57120"/>
                        <a:pt x="173568" y="44617"/>
                        <a:pt x="173568" y="38366"/>
                      </a:cubicBezTo>
                      <a:cubicBezTo>
                        <a:pt x="173568" y="44617"/>
                        <a:pt x="161204" y="57120"/>
                        <a:pt x="161204" y="57120"/>
                      </a:cubicBezTo>
                      <a:cubicBezTo>
                        <a:pt x="148840" y="57120"/>
                        <a:pt x="124250" y="50869"/>
                        <a:pt x="118138" y="44617"/>
                      </a:cubicBezTo>
                      <a:cubicBezTo>
                        <a:pt x="99800" y="38366"/>
                        <a:pt x="87435" y="7247"/>
                        <a:pt x="62846" y="995"/>
                      </a:cubicBezTo>
                      <a:cubicBezTo>
                        <a:pt x="50482" y="-5256"/>
                        <a:pt x="56595" y="19750"/>
                        <a:pt x="62846" y="25862"/>
                      </a:cubicBezTo>
                      <a:cubicBezTo>
                        <a:pt x="62846" y="38366"/>
                        <a:pt x="56595" y="50869"/>
                        <a:pt x="50482" y="63233"/>
                      </a:cubicBezTo>
                      <a:cubicBezTo>
                        <a:pt x="44231" y="69484"/>
                        <a:pt x="56595" y="88239"/>
                        <a:pt x="38118" y="81988"/>
                      </a:cubicBezTo>
                      <a:cubicBezTo>
                        <a:pt x="38118" y="81988"/>
                        <a:pt x="25754" y="75736"/>
                        <a:pt x="19641" y="81988"/>
                      </a:cubicBezTo>
                      <a:cubicBezTo>
                        <a:pt x="19641" y="88239"/>
                        <a:pt x="25893" y="94491"/>
                        <a:pt x="25893" y="94491"/>
                      </a:cubicBezTo>
                      <a:cubicBezTo>
                        <a:pt x="25893" y="94491"/>
                        <a:pt x="7416" y="106994"/>
                        <a:pt x="1303" y="106994"/>
                      </a:cubicBezTo>
                      <a:cubicBezTo>
                        <a:pt x="-4949" y="119497"/>
                        <a:pt x="13668" y="125749"/>
                        <a:pt x="7416" y="138113"/>
                      </a:cubicBezTo>
                      <a:cubicBezTo>
                        <a:pt x="1303" y="144364"/>
                        <a:pt x="13668" y="156867"/>
                        <a:pt x="19780" y="150616"/>
                      </a:cubicBezTo>
                      <a:cubicBezTo>
                        <a:pt x="26032" y="144364"/>
                        <a:pt x="26032" y="138113"/>
                        <a:pt x="32144" y="138113"/>
                      </a:cubicBezTo>
                      <a:cubicBezTo>
                        <a:pt x="32144" y="138113"/>
                        <a:pt x="38396" y="144364"/>
                        <a:pt x="38396" y="138113"/>
                      </a:cubicBezTo>
                      <a:cubicBezTo>
                        <a:pt x="38396" y="131861"/>
                        <a:pt x="26032" y="125609"/>
                        <a:pt x="19919" y="119358"/>
                      </a:cubicBezTo>
                      <a:cubicBezTo>
                        <a:pt x="13806" y="106855"/>
                        <a:pt x="38396" y="113106"/>
                        <a:pt x="38396" y="113106"/>
                      </a:cubicBezTo>
                      <a:cubicBezTo>
                        <a:pt x="50760" y="113106"/>
                        <a:pt x="56734" y="100603"/>
                        <a:pt x="69098" y="106855"/>
                      </a:cubicBezTo>
                      <a:cubicBezTo>
                        <a:pt x="81462" y="113106"/>
                        <a:pt x="87575" y="119358"/>
                        <a:pt x="99939" y="125609"/>
                      </a:cubicBezTo>
                      <a:cubicBezTo>
                        <a:pt x="118277" y="138113"/>
                        <a:pt x="112303" y="100603"/>
                        <a:pt x="124528" y="94491"/>
                      </a:cubicBezTo>
                      <a:cubicBezTo>
                        <a:pt x="124528" y="94491"/>
                        <a:pt x="186071" y="94491"/>
                        <a:pt x="186071" y="81988"/>
                      </a:cubicBezTo>
                      <a:cubicBezTo>
                        <a:pt x="179820" y="75736"/>
                        <a:pt x="161482" y="88239"/>
                        <a:pt x="173707" y="69484"/>
                      </a:cubicBezTo>
                      <a:cubicBezTo>
                        <a:pt x="179681" y="63372"/>
                        <a:pt x="161204" y="69623"/>
                        <a:pt x="167317" y="57120"/>
                      </a:cubicBezTo>
                      <a:cubicBezTo>
                        <a:pt x="173568" y="38366"/>
                        <a:pt x="167317" y="63372"/>
                        <a:pt x="167317" y="5712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0" name="Freihandform: Form 159">
                  <a:extLst>
                    <a:ext uri="{FF2B5EF4-FFF2-40B4-BE49-F238E27FC236}">
                      <a16:creationId xmlns:a16="http://schemas.microsoft.com/office/drawing/2014/main" id="{AE791853-5969-4E6C-AEDC-F53880CDD74C}"/>
                    </a:ext>
                  </a:extLst>
                </p:cNvPr>
                <p:cNvSpPr/>
                <p:nvPr/>
              </p:nvSpPr>
              <p:spPr>
                <a:xfrm>
                  <a:off x="10087207" y="3139373"/>
                  <a:ext cx="386533" cy="348420"/>
                </a:xfrm>
                <a:custGeom>
                  <a:avLst/>
                  <a:gdLst>
                    <a:gd name="connsiteX0" fmla="*/ 360346 w 386533"/>
                    <a:gd name="connsiteY0" fmla="*/ 3334 h 348420"/>
                    <a:gd name="connsiteX1" fmla="*/ 353400 w 386533"/>
                    <a:gd name="connsiteY1" fmla="*/ 3334 h 348420"/>
                    <a:gd name="connsiteX2" fmla="*/ 360346 w 386533"/>
                    <a:gd name="connsiteY2" fmla="*/ 18338 h 348420"/>
                    <a:gd name="connsiteX3" fmla="*/ 339508 w 386533"/>
                    <a:gd name="connsiteY3" fmla="*/ 18338 h 348420"/>
                    <a:gd name="connsiteX4" fmla="*/ 325476 w 386533"/>
                    <a:gd name="connsiteY4" fmla="*/ 33342 h 348420"/>
                    <a:gd name="connsiteX5" fmla="*/ 311584 w 386533"/>
                    <a:gd name="connsiteY5" fmla="*/ 40844 h 348420"/>
                    <a:gd name="connsiteX6" fmla="*/ 318530 w 386533"/>
                    <a:gd name="connsiteY6" fmla="*/ 48345 h 348420"/>
                    <a:gd name="connsiteX7" fmla="*/ 318530 w 386533"/>
                    <a:gd name="connsiteY7" fmla="*/ 70851 h 348420"/>
                    <a:gd name="connsiteX8" fmla="*/ 318530 w 386533"/>
                    <a:gd name="connsiteY8" fmla="*/ 93357 h 348420"/>
                    <a:gd name="connsiteX9" fmla="*/ 283661 w 386533"/>
                    <a:gd name="connsiteY9" fmla="*/ 160874 h 348420"/>
                    <a:gd name="connsiteX10" fmla="*/ 248791 w 386533"/>
                    <a:gd name="connsiteY10" fmla="*/ 198383 h 348420"/>
                    <a:gd name="connsiteX11" fmla="*/ 213921 w 386533"/>
                    <a:gd name="connsiteY11" fmla="*/ 198383 h 348420"/>
                    <a:gd name="connsiteX12" fmla="*/ 220867 w 386533"/>
                    <a:gd name="connsiteY12" fmla="*/ 175877 h 348420"/>
                    <a:gd name="connsiteX13" fmla="*/ 206835 w 386533"/>
                    <a:gd name="connsiteY13" fmla="*/ 183379 h 348420"/>
                    <a:gd name="connsiteX14" fmla="*/ 199889 w 386533"/>
                    <a:gd name="connsiteY14" fmla="*/ 198383 h 348420"/>
                    <a:gd name="connsiteX15" fmla="*/ 171966 w 386533"/>
                    <a:gd name="connsiteY15" fmla="*/ 243394 h 348420"/>
                    <a:gd name="connsiteX16" fmla="*/ 171966 w 386533"/>
                    <a:gd name="connsiteY16" fmla="*/ 250896 h 348420"/>
                    <a:gd name="connsiteX17" fmla="*/ 158073 w 386533"/>
                    <a:gd name="connsiteY17" fmla="*/ 265900 h 348420"/>
                    <a:gd name="connsiteX18" fmla="*/ 144181 w 386533"/>
                    <a:gd name="connsiteY18" fmla="*/ 258398 h 348420"/>
                    <a:gd name="connsiteX19" fmla="*/ 116258 w 386533"/>
                    <a:gd name="connsiteY19" fmla="*/ 258398 h 348420"/>
                    <a:gd name="connsiteX20" fmla="*/ 60410 w 386533"/>
                    <a:gd name="connsiteY20" fmla="*/ 265900 h 348420"/>
                    <a:gd name="connsiteX21" fmla="*/ 11509 w 386533"/>
                    <a:gd name="connsiteY21" fmla="*/ 310911 h 348420"/>
                    <a:gd name="connsiteX22" fmla="*/ 4563 w 386533"/>
                    <a:gd name="connsiteY22" fmla="*/ 325915 h 348420"/>
                    <a:gd name="connsiteX23" fmla="*/ 18594 w 386533"/>
                    <a:gd name="connsiteY23" fmla="*/ 318413 h 348420"/>
                    <a:gd name="connsiteX24" fmla="*/ 32486 w 386533"/>
                    <a:gd name="connsiteY24" fmla="*/ 325915 h 348420"/>
                    <a:gd name="connsiteX25" fmla="*/ 151127 w 386533"/>
                    <a:gd name="connsiteY25" fmla="*/ 295907 h 348420"/>
                    <a:gd name="connsiteX26" fmla="*/ 144181 w 386533"/>
                    <a:gd name="connsiteY26" fmla="*/ 318413 h 348420"/>
                    <a:gd name="connsiteX27" fmla="*/ 165019 w 386533"/>
                    <a:gd name="connsiteY27" fmla="*/ 348420 h 348420"/>
                    <a:gd name="connsiteX28" fmla="*/ 185997 w 386533"/>
                    <a:gd name="connsiteY28" fmla="*/ 325915 h 348420"/>
                    <a:gd name="connsiteX29" fmla="*/ 206835 w 386533"/>
                    <a:gd name="connsiteY29" fmla="*/ 318413 h 348420"/>
                    <a:gd name="connsiteX30" fmla="*/ 213921 w 386533"/>
                    <a:gd name="connsiteY30" fmla="*/ 295907 h 348420"/>
                    <a:gd name="connsiteX31" fmla="*/ 262683 w 386533"/>
                    <a:gd name="connsiteY31" fmla="*/ 288405 h 348420"/>
                    <a:gd name="connsiteX32" fmla="*/ 283661 w 386533"/>
                    <a:gd name="connsiteY32" fmla="*/ 295907 h 348420"/>
                    <a:gd name="connsiteX33" fmla="*/ 297553 w 386533"/>
                    <a:gd name="connsiteY33" fmla="*/ 273402 h 348420"/>
                    <a:gd name="connsiteX34" fmla="*/ 311584 w 386533"/>
                    <a:gd name="connsiteY34" fmla="*/ 258398 h 348420"/>
                    <a:gd name="connsiteX35" fmla="*/ 318530 w 386533"/>
                    <a:gd name="connsiteY35" fmla="*/ 280904 h 348420"/>
                    <a:gd name="connsiteX36" fmla="*/ 332422 w 386533"/>
                    <a:gd name="connsiteY36" fmla="*/ 273402 h 348420"/>
                    <a:gd name="connsiteX37" fmla="*/ 339508 w 386533"/>
                    <a:gd name="connsiteY37" fmla="*/ 258398 h 348420"/>
                    <a:gd name="connsiteX38" fmla="*/ 339508 w 386533"/>
                    <a:gd name="connsiteY38" fmla="*/ 235892 h 348420"/>
                    <a:gd name="connsiteX39" fmla="*/ 353400 w 386533"/>
                    <a:gd name="connsiteY39" fmla="*/ 190881 h 348420"/>
                    <a:gd name="connsiteX40" fmla="*/ 353400 w 386533"/>
                    <a:gd name="connsiteY40" fmla="*/ 138368 h 348420"/>
                    <a:gd name="connsiteX41" fmla="*/ 367292 w 386533"/>
                    <a:gd name="connsiteY41" fmla="*/ 138368 h 348420"/>
                    <a:gd name="connsiteX42" fmla="*/ 381324 w 386533"/>
                    <a:gd name="connsiteY42" fmla="*/ 123364 h 348420"/>
                    <a:gd name="connsiteX43" fmla="*/ 381324 w 386533"/>
                    <a:gd name="connsiteY43" fmla="*/ 63349 h 348420"/>
                    <a:gd name="connsiteX44" fmla="*/ 360346 w 386533"/>
                    <a:gd name="connsiteY44" fmla="*/ 3334 h 348420"/>
                    <a:gd name="connsiteX45" fmla="*/ 360346 w 386533"/>
                    <a:gd name="connsiteY45" fmla="*/ 3334 h 34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6533" h="348420">
                      <a:moveTo>
                        <a:pt x="360346" y="3334"/>
                      </a:moveTo>
                      <a:cubicBezTo>
                        <a:pt x="353400" y="3334"/>
                        <a:pt x="353400" y="-4168"/>
                        <a:pt x="353400" y="3334"/>
                      </a:cubicBezTo>
                      <a:cubicBezTo>
                        <a:pt x="339508" y="10836"/>
                        <a:pt x="353400" y="10836"/>
                        <a:pt x="360346" y="18338"/>
                      </a:cubicBezTo>
                      <a:cubicBezTo>
                        <a:pt x="367292" y="25840"/>
                        <a:pt x="346454" y="33342"/>
                        <a:pt x="339508" y="18338"/>
                      </a:cubicBezTo>
                      <a:cubicBezTo>
                        <a:pt x="332422" y="3334"/>
                        <a:pt x="325476" y="25840"/>
                        <a:pt x="325476" y="33342"/>
                      </a:cubicBezTo>
                      <a:cubicBezTo>
                        <a:pt x="318530" y="33342"/>
                        <a:pt x="311584" y="40844"/>
                        <a:pt x="311584" y="40844"/>
                      </a:cubicBezTo>
                      <a:cubicBezTo>
                        <a:pt x="311584" y="55847"/>
                        <a:pt x="318530" y="48345"/>
                        <a:pt x="318530" y="48345"/>
                      </a:cubicBezTo>
                      <a:cubicBezTo>
                        <a:pt x="318530" y="55847"/>
                        <a:pt x="318530" y="63349"/>
                        <a:pt x="318530" y="70851"/>
                      </a:cubicBezTo>
                      <a:cubicBezTo>
                        <a:pt x="318530" y="78353"/>
                        <a:pt x="325476" y="78353"/>
                        <a:pt x="318530" y="93357"/>
                      </a:cubicBezTo>
                      <a:cubicBezTo>
                        <a:pt x="304499" y="115862"/>
                        <a:pt x="297553" y="138368"/>
                        <a:pt x="283661" y="160874"/>
                      </a:cubicBezTo>
                      <a:cubicBezTo>
                        <a:pt x="276714" y="168375"/>
                        <a:pt x="255737" y="198383"/>
                        <a:pt x="248791" y="198383"/>
                      </a:cubicBezTo>
                      <a:cubicBezTo>
                        <a:pt x="234759" y="198383"/>
                        <a:pt x="220867" y="205885"/>
                        <a:pt x="213921" y="198383"/>
                      </a:cubicBezTo>
                      <a:cubicBezTo>
                        <a:pt x="206835" y="190881"/>
                        <a:pt x="220867" y="183379"/>
                        <a:pt x="220867" y="175877"/>
                      </a:cubicBezTo>
                      <a:cubicBezTo>
                        <a:pt x="227813" y="168375"/>
                        <a:pt x="206835" y="183379"/>
                        <a:pt x="206835" y="183379"/>
                      </a:cubicBezTo>
                      <a:cubicBezTo>
                        <a:pt x="199889" y="190881"/>
                        <a:pt x="199889" y="190881"/>
                        <a:pt x="199889" y="198383"/>
                      </a:cubicBezTo>
                      <a:cubicBezTo>
                        <a:pt x="199889" y="220888"/>
                        <a:pt x="179051" y="228390"/>
                        <a:pt x="171966" y="243394"/>
                      </a:cubicBezTo>
                      <a:lnTo>
                        <a:pt x="171966" y="250896"/>
                      </a:lnTo>
                      <a:cubicBezTo>
                        <a:pt x="171966" y="258398"/>
                        <a:pt x="158073" y="265900"/>
                        <a:pt x="158073" y="265900"/>
                      </a:cubicBezTo>
                      <a:cubicBezTo>
                        <a:pt x="151127" y="265900"/>
                        <a:pt x="158073" y="258398"/>
                        <a:pt x="144181" y="258398"/>
                      </a:cubicBezTo>
                      <a:cubicBezTo>
                        <a:pt x="137096" y="258398"/>
                        <a:pt x="130150" y="258398"/>
                        <a:pt x="116258" y="258398"/>
                      </a:cubicBezTo>
                      <a:cubicBezTo>
                        <a:pt x="95280" y="265900"/>
                        <a:pt x="81388" y="258398"/>
                        <a:pt x="60410" y="265900"/>
                      </a:cubicBezTo>
                      <a:cubicBezTo>
                        <a:pt x="46518" y="280904"/>
                        <a:pt x="25540" y="295907"/>
                        <a:pt x="11509" y="310911"/>
                      </a:cubicBezTo>
                      <a:cubicBezTo>
                        <a:pt x="-2384" y="310911"/>
                        <a:pt x="-2384" y="333416"/>
                        <a:pt x="4563" y="325915"/>
                      </a:cubicBezTo>
                      <a:cubicBezTo>
                        <a:pt x="11509" y="325915"/>
                        <a:pt x="11509" y="318413"/>
                        <a:pt x="18594" y="318413"/>
                      </a:cubicBezTo>
                      <a:cubicBezTo>
                        <a:pt x="25540" y="325915"/>
                        <a:pt x="32486" y="333416"/>
                        <a:pt x="32486" y="325915"/>
                      </a:cubicBezTo>
                      <a:cubicBezTo>
                        <a:pt x="67356" y="318413"/>
                        <a:pt x="116258" y="288405"/>
                        <a:pt x="151127" y="295907"/>
                      </a:cubicBezTo>
                      <a:cubicBezTo>
                        <a:pt x="158073" y="303409"/>
                        <a:pt x="144181" y="318413"/>
                        <a:pt x="144181" y="318413"/>
                      </a:cubicBezTo>
                      <a:cubicBezTo>
                        <a:pt x="151127" y="325915"/>
                        <a:pt x="158073" y="348420"/>
                        <a:pt x="165019" y="348420"/>
                      </a:cubicBezTo>
                      <a:cubicBezTo>
                        <a:pt x="171966" y="340918"/>
                        <a:pt x="179051" y="333416"/>
                        <a:pt x="185997" y="325915"/>
                      </a:cubicBezTo>
                      <a:cubicBezTo>
                        <a:pt x="192943" y="310911"/>
                        <a:pt x="192943" y="318413"/>
                        <a:pt x="206835" y="318413"/>
                      </a:cubicBezTo>
                      <a:cubicBezTo>
                        <a:pt x="199889" y="318413"/>
                        <a:pt x="192943" y="258398"/>
                        <a:pt x="213921" y="295907"/>
                      </a:cubicBezTo>
                      <a:cubicBezTo>
                        <a:pt x="220867" y="310911"/>
                        <a:pt x="255737" y="295907"/>
                        <a:pt x="262683" y="288405"/>
                      </a:cubicBezTo>
                      <a:cubicBezTo>
                        <a:pt x="276714" y="265900"/>
                        <a:pt x="276714" y="310911"/>
                        <a:pt x="283661" y="295907"/>
                      </a:cubicBezTo>
                      <a:cubicBezTo>
                        <a:pt x="283661" y="288405"/>
                        <a:pt x="290607" y="273402"/>
                        <a:pt x="297553" y="273402"/>
                      </a:cubicBezTo>
                      <a:cubicBezTo>
                        <a:pt x="304499" y="265900"/>
                        <a:pt x="304499" y="273402"/>
                        <a:pt x="311584" y="258398"/>
                      </a:cubicBezTo>
                      <a:cubicBezTo>
                        <a:pt x="311584" y="258398"/>
                        <a:pt x="311584" y="288405"/>
                        <a:pt x="318530" y="280904"/>
                      </a:cubicBezTo>
                      <a:cubicBezTo>
                        <a:pt x="318530" y="280904"/>
                        <a:pt x="325476" y="280904"/>
                        <a:pt x="332422" y="273402"/>
                      </a:cubicBezTo>
                      <a:cubicBezTo>
                        <a:pt x="339508" y="273402"/>
                        <a:pt x="332422" y="265900"/>
                        <a:pt x="339508" y="258398"/>
                      </a:cubicBezTo>
                      <a:cubicBezTo>
                        <a:pt x="353400" y="250896"/>
                        <a:pt x="353400" y="250896"/>
                        <a:pt x="339508" y="235892"/>
                      </a:cubicBezTo>
                      <a:cubicBezTo>
                        <a:pt x="332422" y="228390"/>
                        <a:pt x="353400" y="205885"/>
                        <a:pt x="353400" y="190881"/>
                      </a:cubicBezTo>
                      <a:cubicBezTo>
                        <a:pt x="360346" y="175877"/>
                        <a:pt x="346454" y="153372"/>
                        <a:pt x="353400" y="138368"/>
                      </a:cubicBezTo>
                      <a:cubicBezTo>
                        <a:pt x="360346" y="130866"/>
                        <a:pt x="360346" y="138368"/>
                        <a:pt x="367292" y="138368"/>
                      </a:cubicBezTo>
                      <a:cubicBezTo>
                        <a:pt x="374377" y="138368"/>
                        <a:pt x="381324" y="123364"/>
                        <a:pt x="381324" y="123364"/>
                      </a:cubicBezTo>
                      <a:cubicBezTo>
                        <a:pt x="388270" y="100859"/>
                        <a:pt x="388270" y="78353"/>
                        <a:pt x="381324" y="63349"/>
                      </a:cubicBezTo>
                      <a:cubicBezTo>
                        <a:pt x="381324" y="55847"/>
                        <a:pt x="360346" y="3334"/>
                        <a:pt x="360346" y="3334"/>
                      </a:cubicBezTo>
                      <a:lnTo>
                        <a:pt x="360346" y="3334"/>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1" name="Freihandform: Form 160">
                  <a:extLst>
                    <a:ext uri="{FF2B5EF4-FFF2-40B4-BE49-F238E27FC236}">
                      <a16:creationId xmlns:a16="http://schemas.microsoft.com/office/drawing/2014/main" id="{670EEF3A-5665-4544-B18C-D2294D6DEDD9}"/>
                    </a:ext>
                  </a:extLst>
                </p:cNvPr>
                <p:cNvSpPr/>
                <p:nvPr/>
              </p:nvSpPr>
              <p:spPr>
                <a:xfrm>
                  <a:off x="10218052" y="3421249"/>
                  <a:ext cx="19032" cy="11797"/>
                </a:xfrm>
                <a:custGeom>
                  <a:avLst/>
                  <a:gdLst>
                    <a:gd name="connsiteX0" fmla="*/ 19032 w 19032"/>
                    <a:gd name="connsiteY0" fmla="*/ 0 h 11797"/>
                    <a:gd name="connsiteX1" fmla="*/ 0 w 19032"/>
                    <a:gd name="connsiteY1" fmla="*/ 6390 h 11797"/>
                    <a:gd name="connsiteX2" fmla="*/ 19032 w 19032"/>
                    <a:gd name="connsiteY2" fmla="*/ 0 h 11797"/>
                  </a:gdLst>
                  <a:ahLst/>
                  <a:cxnLst>
                    <a:cxn ang="0">
                      <a:pos x="connsiteX0" y="connsiteY0"/>
                    </a:cxn>
                    <a:cxn ang="0">
                      <a:pos x="connsiteX1" y="connsiteY1"/>
                    </a:cxn>
                    <a:cxn ang="0">
                      <a:pos x="connsiteX2" y="connsiteY2"/>
                    </a:cxn>
                  </a:cxnLst>
                  <a:rect l="l" t="t" r="r" b="b"/>
                  <a:pathLst>
                    <a:path w="19032" h="11797">
                      <a:moveTo>
                        <a:pt x="19032" y="0"/>
                      </a:moveTo>
                      <a:lnTo>
                        <a:pt x="0" y="6390"/>
                      </a:lnTo>
                      <a:cubicBezTo>
                        <a:pt x="9586" y="19033"/>
                        <a:pt x="19032" y="6390"/>
                        <a:pt x="19032"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2" name="Freihandform: Form 161">
                  <a:extLst>
                    <a:ext uri="{FF2B5EF4-FFF2-40B4-BE49-F238E27FC236}">
                      <a16:creationId xmlns:a16="http://schemas.microsoft.com/office/drawing/2014/main" id="{BFA9B686-F0C5-4812-805A-D2E14DA593C3}"/>
                    </a:ext>
                  </a:extLst>
                </p:cNvPr>
                <p:cNvSpPr/>
                <p:nvPr/>
              </p:nvSpPr>
              <p:spPr>
                <a:xfrm>
                  <a:off x="10151368" y="3427578"/>
                  <a:ext cx="69515" cy="45982"/>
                </a:xfrm>
                <a:custGeom>
                  <a:avLst/>
                  <a:gdLst>
                    <a:gd name="connsiteX0" fmla="*/ 64460 w 69515"/>
                    <a:gd name="connsiteY0" fmla="*/ 5063 h 45982"/>
                    <a:gd name="connsiteX1" fmla="*/ 40982 w 69515"/>
                    <a:gd name="connsiteY1" fmla="*/ 5063 h 45982"/>
                    <a:gd name="connsiteX2" fmla="*/ 29312 w 69515"/>
                    <a:gd name="connsiteY2" fmla="*/ 10759 h 45982"/>
                    <a:gd name="connsiteX3" fmla="*/ 17643 w 69515"/>
                    <a:gd name="connsiteY3" fmla="*/ 16455 h 45982"/>
                    <a:gd name="connsiteX4" fmla="*/ 0 w 69515"/>
                    <a:gd name="connsiteY4" fmla="*/ 27846 h 45982"/>
                    <a:gd name="connsiteX5" fmla="*/ 17643 w 69515"/>
                    <a:gd name="connsiteY5" fmla="*/ 45073 h 45982"/>
                    <a:gd name="connsiteX6" fmla="*/ 35147 w 69515"/>
                    <a:gd name="connsiteY6" fmla="*/ 27846 h 45982"/>
                    <a:gd name="connsiteX7" fmla="*/ 58625 w 69515"/>
                    <a:gd name="connsiteY7" fmla="*/ 27846 h 45982"/>
                    <a:gd name="connsiteX8" fmla="*/ 64460 w 69515"/>
                    <a:gd name="connsiteY8" fmla="*/ 5063 h 45982"/>
                    <a:gd name="connsiteX9" fmla="*/ 64460 w 69515"/>
                    <a:gd name="connsiteY9" fmla="*/ 5063 h 45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15" h="45982">
                      <a:moveTo>
                        <a:pt x="64460" y="5063"/>
                      </a:moveTo>
                      <a:cubicBezTo>
                        <a:pt x="52791" y="5063"/>
                        <a:pt x="52791" y="-6329"/>
                        <a:pt x="40982" y="5063"/>
                      </a:cubicBezTo>
                      <a:cubicBezTo>
                        <a:pt x="35008" y="5063"/>
                        <a:pt x="29312" y="16455"/>
                        <a:pt x="29312" y="10759"/>
                      </a:cubicBezTo>
                      <a:cubicBezTo>
                        <a:pt x="23339" y="5063"/>
                        <a:pt x="17643" y="16455"/>
                        <a:pt x="17643" y="16455"/>
                      </a:cubicBezTo>
                      <a:cubicBezTo>
                        <a:pt x="11669" y="27846"/>
                        <a:pt x="5973" y="22151"/>
                        <a:pt x="0" y="27846"/>
                      </a:cubicBezTo>
                      <a:cubicBezTo>
                        <a:pt x="0" y="22151"/>
                        <a:pt x="11669" y="45073"/>
                        <a:pt x="17643" y="45073"/>
                      </a:cubicBezTo>
                      <a:cubicBezTo>
                        <a:pt x="17643" y="50769"/>
                        <a:pt x="29312" y="27846"/>
                        <a:pt x="35147" y="27846"/>
                      </a:cubicBezTo>
                      <a:cubicBezTo>
                        <a:pt x="41121" y="27846"/>
                        <a:pt x="52791" y="33542"/>
                        <a:pt x="58625" y="27846"/>
                      </a:cubicBezTo>
                      <a:cubicBezTo>
                        <a:pt x="64460" y="27985"/>
                        <a:pt x="76269" y="10759"/>
                        <a:pt x="64460" y="5063"/>
                      </a:cubicBezTo>
                      <a:cubicBezTo>
                        <a:pt x="58625" y="5063"/>
                        <a:pt x="64460" y="5063"/>
                        <a:pt x="64460" y="50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3" name="Freihandform: Form 162">
                  <a:extLst>
                    <a:ext uri="{FF2B5EF4-FFF2-40B4-BE49-F238E27FC236}">
                      <a16:creationId xmlns:a16="http://schemas.microsoft.com/office/drawing/2014/main" id="{3A28B826-BC67-4953-A977-AD20962F605F}"/>
                    </a:ext>
                  </a:extLst>
                </p:cNvPr>
                <p:cNvSpPr/>
                <p:nvPr/>
              </p:nvSpPr>
              <p:spPr>
                <a:xfrm>
                  <a:off x="10065652" y="3440281"/>
                  <a:ext cx="66683" cy="99671"/>
                </a:xfrm>
                <a:custGeom>
                  <a:avLst/>
                  <a:gdLst>
                    <a:gd name="connsiteX0" fmla="*/ 42372 w 66683"/>
                    <a:gd name="connsiteY0" fmla="*/ 0 h 99671"/>
                    <a:gd name="connsiteX1" fmla="*/ 12087 w 66683"/>
                    <a:gd name="connsiteY1" fmla="*/ 13059 h 99671"/>
                    <a:gd name="connsiteX2" fmla="*/ 0 w 66683"/>
                    <a:gd name="connsiteY2" fmla="*/ 39315 h 99671"/>
                    <a:gd name="connsiteX3" fmla="*/ 12087 w 66683"/>
                    <a:gd name="connsiteY3" fmla="*/ 39315 h 99671"/>
                    <a:gd name="connsiteX4" fmla="*/ 18199 w 66683"/>
                    <a:gd name="connsiteY4" fmla="*/ 26256 h 99671"/>
                    <a:gd name="connsiteX5" fmla="*/ 24312 w 66683"/>
                    <a:gd name="connsiteY5" fmla="*/ 32786 h 99671"/>
                    <a:gd name="connsiteX6" fmla="*/ 18199 w 66683"/>
                    <a:gd name="connsiteY6" fmla="*/ 65572 h 99671"/>
                    <a:gd name="connsiteX7" fmla="*/ 18199 w 66683"/>
                    <a:gd name="connsiteY7" fmla="*/ 72101 h 99671"/>
                    <a:gd name="connsiteX8" fmla="*/ 18199 w 66683"/>
                    <a:gd name="connsiteY8" fmla="*/ 85160 h 99671"/>
                    <a:gd name="connsiteX9" fmla="*/ 30285 w 66683"/>
                    <a:gd name="connsiteY9" fmla="*/ 78631 h 99671"/>
                    <a:gd name="connsiteX10" fmla="*/ 36398 w 66683"/>
                    <a:gd name="connsiteY10" fmla="*/ 98358 h 99671"/>
                    <a:gd name="connsiteX11" fmla="*/ 48484 w 66683"/>
                    <a:gd name="connsiteY11" fmla="*/ 78631 h 99671"/>
                    <a:gd name="connsiteX12" fmla="*/ 66683 w 66683"/>
                    <a:gd name="connsiteY12" fmla="*/ 45845 h 99671"/>
                    <a:gd name="connsiteX13" fmla="*/ 60571 w 66683"/>
                    <a:gd name="connsiteY13" fmla="*/ 13059 h 99671"/>
                    <a:gd name="connsiteX14" fmla="*/ 42372 w 66683"/>
                    <a:gd name="connsiteY14" fmla="*/ 0 h 9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83" h="99671">
                      <a:moveTo>
                        <a:pt x="42372" y="0"/>
                      </a:moveTo>
                      <a:cubicBezTo>
                        <a:pt x="30285" y="0"/>
                        <a:pt x="18199" y="6529"/>
                        <a:pt x="12087" y="13059"/>
                      </a:cubicBezTo>
                      <a:cubicBezTo>
                        <a:pt x="0" y="19588"/>
                        <a:pt x="0" y="26118"/>
                        <a:pt x="0" y="39315"/>
                      </a:cubicBezTo>
                      <a:cubicBezTo>
                        <a:pt x="0" y="32786"/>
                        <a:pt x="18199" y="32786"/>
                        <a:pt x="12087" y="39315"/>
                      </a:cubicBezTo>
                      <a:cubicBezTo>
                        <a:pt x="18199" y="32786"/>
                        <a:pt x="12087" y="26256"/>
                        <a:pt x="18199" y="26256"/>
                      </a:cubicBezTo>
                      <a:cubicBezTo>
                        <a:pt x="18199" y="26256"/>
                        <a:pt x="24312" y="26256"/>
                        <a:pt x="24312" y="32786"/>
                      </a:cubicBezTo>
                      <a:cubicBezTo>
                        <a:pt x="24312" y="45845"/>
                        <a:pt x="24312" y="52374"/>
                        <a:pt x="18199" y="65572"/>
                      </a:cubicBezTo>
                      <a:cubicBezTo>
                        <a:pt x="12087" y="72101"/>
                        <a:pt x="18199" y="72101"/>
                        <a:pt x="18199" y="72101"/>
                      </a:cubicBezTo>
                      <a:cubicBezTo>
                        <a:pt x="18199" y="78631"/>
                        <a:pt x="18199" y="85160"/>
                        <a:pt x="18199" y="85160"/>
                      </a:cubicBezTo>
                      <a:cubicBezTo>
                        <a:pt x="18199" y="104748"/>
                        <a:pt x="30285" y="78631"/>
                        <a:pt x="30285" y="78631"/>
                      </a:cubicBezTo>
                      <a:cubicBezTo>
                        <a:pt x="30285" y="78631"/>
                        <a:pt x="30285" y="98358"/>
                        <a:pt x="36398" y="98358"/>
                      </a:cubicBezTo>
                      <a:cubicBezTo>
                        <a:pt x="36398" y="104887"/>
                        <a:pt x="48484" y="85299"/>
                        <a:pt x="48484" y="78631"/>
                      </a:cubicBezTo>
                      <a:cubicBezTo>
                        <a:pt x="60571" y="65572"/>
                        <a:pt x="60571" y="52374"/>
                        <a:pt x="66683" y="45845"/>
                      </a:cubicBezTo>
                      <a:cubicBezTo>
                        <a:pt x="66683" y="32786"/>
                        <a:pt x="60571" y="26118"/>
                        <a:pt x="60571" y="13059"/>
                      </a:cubicBezTo>
                      <a:cubicBezTo>
                        <a:pt x="60571" y="0"/>
                        <a:pt x="42372" y="13059"/>
                        <a:pt x="42372"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4" name="Freihandform: Form 163">
                  <a:extLst>
                    <a:ext uri="{FF2B5EF4-FFF2-40B4-BE49-F238E27FC236}">
                      <a16:creationId xmlns:a16="http://schemas.microsoft.com/office/drawing/2014/main" id="{F1454B0C-E64E-439F-9E7C-CDE2C804B2C8}"/>
                    </a:ext>
                  </a:extLst>
                </p:cNvPr>
                <p:cNvSpPr/>
                <p:nvPr/>
              </p:nvSpPr>
              <p:spPr>
                <a:xfrm>
                  <a:off x="10002610" y="3688121"/>
                  <a:ext cx="15252" cy="19032"/>
                </a:xfrm>
                <a:custGeom>
                  <a:avLst/>
                  <a:gdLst>
                    <a:gd name="connsiteX0" fmla="*/ 15253 w 15252"/>
                    <a:gd name="connsiteY0" fmla="*/ 0 h 19032"/>
                    <a:gd name="connsiteX1" fmla="*/ 943 w 15252"/>
                    <a:gd name="connsiteY1" fmla="*/ 19033 h 19032"/>
                    <a:gd name="connsiteX2" fmla="*/ 15253 w 15252"/>
                    <a:gd name="connsiteY2" fmla="*/ 0 h 19032"/>
                  </a:gdLst>
                  <a:ahLst/>
                  <a:cxnLst>
                    <a:cxn ang="0">
                      <a:pos x="connsiteX0" y="connsiteY0"/>
                    </a:cxn>
                    <a:cxn ang="0">
                      <a:pos x="connsiteX1" y="connsiteY1"/>
                    </a:cxn>
                    <a:cxn ang="0">
                      <a:pos x="connsiteX2" y="connsiteY2"/>
                    </a:cxn>
                  </a:cxnLst>
                  <a:rect l="l" t="t" r="r" b="b"/>
                  <a:pathLst>
                    <a:path w="15252" h="19032">
                      <a:moveTo>
                        <a:pt x="15253" y="0"/>
                      </a:moveTo>
                      <a:cubicBezTo>
                        <a:pt x="10530" y="0"/>
                        <a:pt x="-3780" y="6391"/>
                        <a:pt x="943" y="19033"/>
                      </a:cubicBezTo>
                      <a:lnTo>
                        <a:pt x="15253" y="0"/>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5" name="Freihandform: Form 164">
                  <a:extLst>
                    <a:ext uri="{FF2B5EF4-FFF2-40B4-BE49-F238E27FC236}">
                      <a16:creationId xmlns:a16="http://schemas.microsoft.com/office/drawing/2014/main" id="{CA92E57D-6C5C-427B-8644-7980443C1E14}"/>
                    </a:ext>
                  </a:extLst>
                </p:cNvPr>
                <p:cNvSpPr/>
                <p:nvPr/>
              </p:nvSpPr>
              <p:spPr>
                <a:xfrm>
                  <a:off x="10055928" y="3630884"/>
                  <a:ext cx="9585" cy="6099"/>
                </a:xfrm>
                <a:custGeom>
                  <a:avLst/>
                  <a:gdLst>
                    <a:gd name="connsiteX0" fmla="*/ 9586 w 9585"/>
                    <a:gd name="connsiteY0" fmla="*/ 0 h 6099"/>
                    <a:gd name="connsiteX1" fmla="*/ 0 w 9585"/>
                    <a:gd name="connsiteY1" fmla="*/ 4723 h 6099"/>
                    <a:gd name="connsiteX2" fmla="*/ 9586 w 9585"/>
                    <a:gd name="connsiteY2" fmla="*/ 0 h 6099"/>
                  </a:gdLst>
                  <a:ahLst/>
                  <a:cxnLst>
                    <a:cxn ang="0">
                      <a:pos x="connsiteX0" y="connsiteY0"/>
                    </a:cxn>
                    <a:cxn ang="0">
                      <a:pos x="connsiteX1" y="connsiteY1"/>
                    </a:cxn>
                    <a:cxn ang="0">
                      <a:pos x="connsiteX2" y="connsiteY2"/>
                    </a:cxn>
                  </a:cxnLst>
                  <a:rect l="l" t="t" r="r" b="b"/>
                  <a:pathLst>
                    <a:path w="9585" h="6099">
                      <a:moveTo>
                        <a:pt x="9586" y="0"/>
                      </a:moveTo>
                      <a:cubicBezTo>
                        <a:pt x="4862" y="0"/>
                        <a:pt x="0" y="4723"/>
                        <a:pt x="0" y="4723"/>
                      </a:cubicBezTo>
                      <a:cubicBezTo>
                        <a:pt x="139" y="9586"/>
                        <a:pt x="9586" y="0"/>
                        <a:pt x="958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6" name="Freihandform: Form 165">
                  <a:extLst>
                    <a:ext uri="{FF2B5EF4-FFF2-40B4-BE49-F238E27FC236}">
                      <a16:creationId xmlns:a16="http://schemas.microsoft.com/office/drawing/2014/main" id="{7E357118-E131-456C-B2D0-5DA6A969EF72}"/>
                    </a:ext>
                  </a:extLst>
                </p:cNvPr>
                <p:cNvSpPr/>
                <p:nvPr/>
              </p:nvSpPr>
              <p:spPr>
                <a:xfrm>
                  <a:off x="9890033" y="3754943"/>
                  <a:ext cx="13494" cy="9585"/>
                </a:xfrm>
                <a:custGeom>
                  <a:avLst/>
                  <a:gdLst>
                    <a:gd name="connsiteX0" fmla="*/ 13495 w 13494"/>
                    <a:gd name="connsiteY0" fmla="*/ 0 h 9585"/>
                    <a:gd name="connsiteX1" fmla="*/ 3909 w 13494"/>
                    <a:gd name="connsiteY1" fmla="*/ 9586 h 9585"/>
                    <a:gd name="connsiteX2" fmla="*/ 13495 w 13494"/>
                    <a:gd name="connsiteY2" fmla="*/ 0 h 9585"/>
                  </a:gdLst>
                  <a:ahLst/>
                  <a:cxnLst>
                    <a:cxn ang="0">
                      <a:pos x="connsiteX0" y="connsiteY0"/>
                    </a:cxn>
                    <a:cxn ang="0">
                      <a:pos x="connsiteX1" y="connsiteY1"/>
                    </a:cxn>
                    <a:cxn ang="0">
                      <a:pos x="connsiteX2" y="connsiteY2"/>
                    </a:cxn>
                  </a:cxnLst>
                  <a:rect l="l" t="t" r="r" b="b"/>
                  <a:pathLst>
                    <a:path w="13494" h="9585">
                      <a:moveTo>
                        <a:pt x="13495" y="0"/>
                      </a:moveTo>
                      <a:cubicBezTo>
                        <a:pt x="3909" y="0"/>
                        <a:pt x="-5537" y="9586"/>
                        <a:pt x="3909" y="9586"/>
                      </a:cubicBezTo>
                      <a:cubicBezTo>
                        <a:pt x="13357" y="9586"/>
                        <a:pt x="13495" y="0"/>
                        <a:pt x="13495"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7" name="Freihandform: Form 166">
                  <a:extLst>
                    <a:ext uri="{FF2B5EF4-FFF2-40B4-BE49-F238E27FC236}">
                      <a16:creationId xmlns:a16="http://schemas.microsoft.com/office/drawing/2014/main" id="{B881969D-F0C3-4CAD-B906-CB986297B154}"/>
                    </a:ext>
                  </a:extLst>
                </p:cNvPr>
                <p:cNvSpPr/>
                <p:nvPr/>
              </p:nvSpPr>
              <p:spPr>
                <a:xfrm>
                  <a:off x="9750990" y="3723770"/>
                  <a:ext cx="79626" cy="126613"/>
                </a:xfrm>
                <a:custGeom>
                  <a:avLst/>
                  <a:gdLst>
                    <a:gd name="connsiteX0" fmla="*/ 69878 w 79626"/>
                    <a:gd name="connsiteY0" fmla="*/ 888 h 126613"/>
                    <a:gd name="connsiteX1" fmla="*/ 0 w 79626"/>
                    <a:gd name="connsiteY1" fmla="*/ 55902 h 126613"/>
                    <a:gd name="connsiteX2" fmla="*/ 8752 w 79626"/>
                    <a:gd name="connsiteY2" fmla="*/ 102997 h 126613"/>
                    <a:gd name="connsiteX3" fmla="*/ 26256 w 79626"/>
                    <a:gd name="connsiteY3" fmla="*/ 126614 h 126613"/>
                    <a:gd name="connsiteX4" fmla="*/ 69878 w 79626"/>
                    <a:gd name="connsiteY4" fmla="*/ 888 h 126613"/>
                    <a:gd name="connsiteX5" fmla="*/ 69878 w 79626"/>
                    <a:gd name="connsiteY5" fmla="*/ 888 h 12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626" h="126613">
                      <a:moveTo>
                        <a:pt x="69878" y="888"/>
                      </a:moveTo>
                      <a:cubicBezTo>
                        <a:pt x="43622" y="-7031"/>
                        <a:pt x="8752" y="40203"/>
                        <a:pt x="0" y="55902"/>
                      </a:cubicBezTo>
                      <a:cubicBezTo>
                        <a:pt x="0" y="71600"/>
                        <a:pt x="0" y="87298"/>
                        <a:pt x="8752" y="102997"/>
                      </a:cubicBezTo>
                      <a:lnTo>
                        <a:pt x="26256" y="126614"/>
                      </a:lnTo>
                      <a:cubicBezTo>
                        <a:pt x="35009" y="110776"/>
                        <a:pt x="104887" y="8668"/>
                        <a:pt x="69878" y="888"/>
                      </a:cubicBezTo>
                      <a:cubicBezTo>
                        <a:pt x="61126" y="888"/>
                        <a:pt x="78631" y="888"/>
                        <a:pt x="69878" y="88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8" name="Freihandform: Form 167">
                  <a:extLst>
                    <a:ext uri="{FF2B5EF4-FFF2-40B4-BE49-F238E27FC236}">
                      <a16:creationId xmlns:a16="http://schemas.microsoft.com/office/drawing/2014/main" id="{823B821C-3E3F-470E-8A21-C9BFE55759C3}"/>
                    </a:ext>
                  </a:extLst>
                </p:cNvPr>
                <p:cNvSpPr/>
                <p:nvPr/>
              </p:nvSpPr>
              <p:spPr>
                <a:xfrm>
                  <a:off x="9408598" y="3907342"/>
                  <a:ext cx="70560" cy="61788"/>
                </a:xfrm>
                <a:custGeom>
                  <a:avLst/>
                  <a:gdLst>
                    <a:gd name="connsiteX0" fmla="*/ 69269 w 70560"/>
                    <a:gd name="connsiteY0" fmla="*/ 6668 h 61788"/>
                    <a:gd name="connsiteX1" fmla="*/ 44818 w 70560"/>
                    <a:gd name="connsiteY1" fmla="*/ 0 h 61788"/>
                    <a:gd name="connsiteX2" fmla="*/ 14117 w 70560"/>
                    <a:gd name="connsiteY2" fmla="*/ 13337 h 61788"/>
                    <a:gd name="connsiteX3" fmla="*/ 14117 w 70560"/>
                    <a:gd name="connsiteY3" fmla="*/ 60015 h 61788"/>
                    <a:gd name="connsiteX4" fmla="*/ 57044 w 70560"/>
                    <a:gd name="connsiteY4" fmla="*/ 40010 h 61788"/>
                    <a:gd name="connsiteX5" fmla="*/ 69269 w 70560"/>
                    <a:gd name="connsiteY5" fmla="*/ 6668 h 6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60" h="61788">
                      <a:moveTo>
                        <a:pt x="69269" y="6668"/>
                      </a:moveTo>
                      <a:cubicBezTo>
                        <a:pt x="63156" y="6668"/>
                        <a:pt x="57044" y="0"/>
                        <a:pt x="44818" y="0"/>
                      </a:cubicBezTo>
                      <a:cubicBezTo>
                        <a:pt x="32593" y="0"/>
                        <a:pt x="26481" y="6668"/>
                        <a:pt x="14117" y="13337"/>
                      </a:cubicBezTo>
                      <a:cubicBezTo>
                        <a:pt x="1891" y="26673"/>
                        <a:pt x="-10334" y="46678"/>
                        <a:pt x="14117" y="60015"/>
                      </a:cubicBezTo>
                      <a:cubicBezTo>
                        <a:pt x="26342" y="66683"/>
                        <a:pt x="50931" y="53347"/>
                        <a:pt x="57044" y="40010"/>
                      </a:cubicBezTo>
                      <a:cubicBezTo>
                        <a:pt x="57044" y="33481"/>
                        <a:pt x="75521" y="6668"/>
                        <a:pt x="69269" y="666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69" name="Freihandform: Form 168">
                  <a:extLst>
                    <a:ext uri="{FF2B5EF4-FFF2-40B4-BE49-F238E27FC236}">
                      <a16:creationId xmlns:a16="http://schemas.microsoft.com/office/drawing/2014/main" id="{03E12045-7B63-4F17-898C-C9B303B6BC33}"/>
                    </a:ext>
                  </a:extLst>
                </p:cNvPr>
                <p:cNvSpPr/>
                <p:nvPr/>
              </p:nvSpPr>
              <p:spPr>
                <a:xfrm>
                  <a:off x="9750990" y="3951409"/>
                  <a:ext cx="118383" cy="175293"/>
                </a:xfrm>
                <a:custGeom>
                  <a:avLst/>
                  <a:gdLst>
                    <a:gd name="connsiteX0" fmla="*/ 80020 w 118383"/>
                    <a:gd name="connsiteY0" fmla="*/ 7057 h 175293"/>
                    <a:gd name="connsiteX1" fmla="*/ 60015 w 118383"/>
                    <a:gd name="connsiteY1" fmla="*/ 7057 h 175293"/>
                    <a:gd name="connsiteX2" fmla="*/ 26674 w 118383"/>
                    <a:gd name="connsiteY2" fmla="*/ 13587 h 175293"/>
                    <a:gd name="connsiteX3" fmla="*/ 20005 w 118383"/>
                    <a:gd name="connsiteY3" fmla="*/ 65266 h 175293"/>
                    <a:gd name="connsiteX4" fmla="*/ 20005 w 118383"/>
                    <a:gd name="connsiteY4" fmla="*/ 78186 h 175293"/>
                    <a:gd name="connsiteX5" fmla="*/ 0 w 118383"/>
                    <a:gd name="connsiteY5" fmla="*/ 78186 h 175293"/>
                    <a:gd name="connsiteX6" fmla="*/ 20005 w 118383"/>
                    <a:gd name="connsiteY6" fmla="*/ 136395 h 175293"/>
                    <a:gd name="connsiteX7" fmla="*/ 33342 w 118383"/>
                    <a:gd name="connsiteY7" fmla="*/ 123475 h 175293"/>
                    <a:gd name="connsiteX8" fmla="*/ 46678 w 118383"/>
                    <a:gd name="connsiteY8" fmla="*/ 136395 h 175293"/>
                    <a:gd name="connsiteX9" fmla="*/ 26674 w 118383"/>
                    <a:gd name="connsiteY9" fmla="*/ 142925 h 175293"/>
                    <a:gd name="connsiteX10" fmla="*/ 53347 w 118383"/>
                    <a:gd name="connsiteY10" fmla="*/ 162374 h 175293"/>
                    <a:gd name="connsiteX11" fmla="*/ 73351 w 118383"/>
                    <a:gd name="connsiteY11" fmla="*/ 155844 h 175293"/>
                    <a:gd name="connsiteX12" fmla="*/ 100025 w 118383"/>
                    <a:gd name="connsiteY12" fmla="*/ 175294 h 175293"/>
                    <a:gd name="connsiteX13" fmla="*/ 93357 w 118383"/>
                    <a:gd name="connsiteY13" fmla="*/ 155844 h 175293"/>
                    <a:gd name="connsiteX14" fmla="*/ 113362 w 118383"/>
                    <a:gd name="connsiteY14" fmla="*/ 149315 h 175293"/>
                    <a:gd name="connsiteX15" fmla="*/ 66683 w 118383"/>
                    <a:gd name="connsiteY15" fmla="*/ 136395 h 175293"/>
                    <a:gd name="connsiteX16" fmla="*/ 60015 w 118383"/>
                    <a:gd name="connsiteY16" fmla="*/ 97635 h 175293"/>
                    <a:gd name="connsiteX17" fmla="*/ 80020 w 118383"/>
                    <a:gd name="connsiteY17" fmla="*/ 71796 h 175293"/>
                    <a:gd name="connsiteX18" fmla="*/ 86688 w 118383"/>
                    <a:gd name="connsiteY18" fmla="*/ 39427 h 175293"/>
                    <a:gd name="connsiteX19" fmla="*/ 80020 w 118383"/>
                    <a:gd name="connsiteY19" fmla="*/ 7057 h 175293"/>
                    <a:gd name="connsiteX20" fmla="*/ 80020 w 118383"/>
                    <a:gd name="connsiteY20" fmla="*/ 7057 h 17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383" h="175293">
                      <a:moveTo>
                        <a:pt x="80020" y="7057"/>
                      </a:moveTo>
                      <a:cubicBezTo>
                        <a:pt x="66683" y="528"/>
                        <a:pt x="73351" y="26507"/>
                        <a:pt x="60015" y="7057"/>
                      </a:cubicBezTo>
                      <a:cubicBezTo>
                        <a:pt x="53347" y="-5863"/>
                        <a:pt x="26674" y="528"/>
                        <a:pt x="26674" y="13587"/>
                      </a:cubicBezTo>
                      <a:cubicBezTo>
                        <a:pt x="20005" y="33036"/>
                        <a:pt x="26674" y="45956"/>
                        <a:pt x="20005" y="65266"/>
                      </a:cubicBezTo>
                      <a:cubicBezTo>
                        <a:pt x="20005" y="71796"/>
                        <a:pt x="20005" y="78186"/>
                        <a:pt x="20005" y="78186"/>
                      </a:cubicBezTo>
                      <a:cubicBezTo>
                        <a:pt x="13337" y="84716"/>
                        <a:pt x="0" y="78186"/>
                        <a:pt x="0" y="78186"/>
                      </a:cubicBezTo>
                      <a:cubicBezTo>
                        <a:pt x="0" y="78186"/>
                        <a:pt x="13337" y="136395"/>
                        <a:pt x="20005" y="136395"/>
                      </a:cubicBezTo>
                      <a:cubicBezTo>
                        <a:pt x="20005" y="136395"/>
                        <a:pt x="26674" y="116946"/>
                        <a:pt x="33342" y="123475"/>
                      </a:cubicBezTo>
                      <a:cubicBezTo>
                        <a:pt x="33342" y="123475"/>
                        <a:pt x="46678" y="130005"/>
                        <a:pt x="46678" y="136395"/>
                      </a:cubicBezTo>
                      <a:cubicBezTo>
                        <a:pt x="46678" y="142925"/>
                        <a:pt x="26674" y="129866"/>
                        <a:pt x="26674" y="142925"/>
                      </a:cubicBezTo>
                      <a:cubicBezTo>
                        <a:pt x="26674" y="155844"/>
                        <a:pt x="40010" y="168764"/>
                        <a:pt x="53347" y="162374"/>
                      </a:cubicBezTo>
                      <a:cubicBezTo>
                        <a:pt x="60015" y="162374"/>
                        <a:pt x="66683" y="149454"/>
                        <a:pt x="73351" y="155844"/>
                      </a:cubicBezTo>
                      <a:lnTo>
                        <a:pt x="100025" y="175294"/>
                      </a:lnTo>
                      <a:cubicBezTo>
                        <a:pt x="106693" y="168764"/>
                        <a:pt x="86688" y="162374"/>
                        <a:pt x="93357" y="155844"/>
                      </a:cubicBezTo>
                      <a:cubicBezTo>
                        <a:pt x="86688" y="162374"/>
                        <a:pt x="133367" y="175294"/>
                        <a:pt x="113362" y="149315"/>
                      </a:cubicBezTo>
                      <a:cubicBezTo>
                        <a:pt x="100025" y="136395"/>
                        <a:pt x="73351" y="155844"/>
                        <a:pt x="66683" y="136395"/>
                      </a:cubicBezTo>
                      <a:cubicBezTo>
                        <a:pt x="60015" y="123475"/>
                        <a:pt x="60015" y="116946"/>
                        <a:pt x="60015" y="97635"/>
                      </a:cubicBezTo>
                      <a:cubicBezTo>
                        <a:pt x="60015" y="84716"/>
                        <a:pt x="73351" y="84716"/>
                        <a:pt x="80020" y="71796"/>
                      </a:cubicBezTo>
                      <a:cubicBezTo>
                        <a:pt x="93357" y="58876"/>
                        <a:pt x="93357" y="52346"/>
                        <a:pt x="86688" y="39427"/>
                      </a:cubicBezTo>
                      <a:cubicBezTo>
                        <a:pt x="86688" y="39427"/>
                        <a:pt x="86688" y="7057"/>
                        <a:pt x="80020" y="7057"/>
                      </a:cubicBezTo>
                      <a:cubicBezTo>
                        <a:pt x="73351" y="7057"/>
                        <a:pt x="86688" y="7057"/>
                        <a:pt x="80020" y="705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0" name="Freihandform: Form 169">
                  <a:extLst>
                    <a:ext uri="{FF2B5EF4-FFF2-40B4-BE49-F238E27FC236}">
                      <a16:creationId xmlns:a16="http://schemas.microsoft.com/office/drawing/2014/main" id="{1886D864-DD92-44EF-8E4A-2A4ABAA4E5B9}"/>
                    </a:ext>
                  </a:extLst>
                </p:cNvPr>
                <p:cNvSpPr/>
                <p:nvPr/>
              </p:nvSpPr>
              <p:spPr>
                <a:xfrm>
                  <a:off x="9865463" y="4101403"/>
                  <a:ext cx="32705" cy="40169"/>
                </a:xfrm>
                <a:custGeom>
                  <a:avLst/>
                  <a:gdLst>
                    <a:gd name="connsiteX0" fmla="*/ 19033 w 32705"/>
                    <a:gd name="connsiteY0" fmla="*/ 2655 h 40169"/>
                    <a:gd name="connsiteX1" fmla="*/ 6391 w 32705"/>
                    <a:gd name="connsiteY1" fmla="*/ 2655 h 40169"/>
                    <a:gd name="connsiteX2" fmla="*/ 0 w 32705"/>
                    <a:gd name="connsiteY2" fmla="*/ 14602 h 40169"/>
                    <a:gd name="connsiteX3" fmla="*/ 12642 w 32705"/>
                    <a:gd name="connsiteY3" fmla="*/ 32524 h 40169"/>
                    <a:gd name="connsiteX4" fmla="*/ 31675 w 32705"/>
                    <a:gd name="connsiteY4" fmla="*/ 38497 h 40169"/>
                    <a:gd name="connsiteX5" fmla="*/ 25423 w 32705"/>
                    <a:gd name="connsiteY5" fmla="*/ 20576 h 40169"/>
                    <a:gd name="connsiteX6" fmla="*/ 19033 w 32705"/>
                    <a:gd name="connsiteY6" fmla="*/ 2655 h 40169"/>
                    <a:gd name="connsiteX7" fmla="*/ 19033 w 32705"/>
                    <a:gd name="connsiteY7" fmla="*/ 2655 h 4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5" h="40169">
                      <a:moveTo>
                        <a:pt x="19033" y="2655"/>
                      </a:moveTo>
                      <a:cubicBezTo>
                        <a:pt x="19033" y="2655"/>
                        <a:pt x="12642" y="-3319"/>
                        <a:pt x="6391" y="2655"/>
                      </a:cubicBezTo>
                      <a:cubicBezTo>
                        <a:pt x="6391" y="8628"/>
                        <a:pt x="0" y="8628"/>
                        <a:pt x="0" y="14602"/>
                      </a:cubicBezTo>
                      <a:cubicBezTo>
                        <a:pt x="6391" y="20576"/>
                        <a:pt x="0" y="26550"/>
                        <a:pt x="12642" y="32524"/>
                      </a:cubicBezTo>
                      <a:cubicBezTo>
                        <a:pt x="12642" y="32524"/>
                        <a:pt x="38065" y="44471"/>
                        <a:pt x="31675" y="38497"/>
                      </a:cubicBezTo>
                      <a:cubicBezTo>
                        <a:pt x="31675" y="32524"/>
                        <a:pt x="31675" y="26550"/>
                        <a:pt x="25423" y="20576"/>
                      </a:cubicBezTo>
                      <a:cubicBezTo>
                        <a:pt x="12642" y="20437"/>
                        <a:pt x="12642" y="2655"/>
                        <a:pt x="19033" y="2655"/>
                      </a:cubicBezTo>
                      <a:cubicBezTo>
                        <a:pt x="12642" y="2655"/>
                        <a:pt x="25423" y="2655"/>
                        <a:pt x="19033" y="265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1" name="Freihandform: Form 170">
                  <a:extLst>
                    <a:ext uri="{FF2B5EF4-FFF2-40B4-BE49-F238E27FC236}">
                      <a16:creationId xmlns:a16="http://schemas.microsoft.com/office/drawing/2014/main" id="{8790F9D4-E5E1-4DE2-9AA0-2BD4F3D241A3}"/>
                    </a:ext>
                  </a:extLst>
                </p:cNvPr>
                <p:cNvSpPr/>
                <p:nvPr/>
              </p:nvSpPr>
              <p:spPr>
                <a:xfrm>
                  <a:off x="9770162" y="4116232"/>
                  <a:ext cx="38065" cy="35468"/>
                </a:xfrm>
                <a:custGeom>
                  <a:avLst/>
                  <a:gdLst>
                    <a:gd name="connsiteX0" fmla="*/ 38066 w 38065"/>
                    <a:gd name="connsiteY0" fmla="*/ 21168 h 35468"/>
                    <a:gd name="connsiteX1" fmla="*/ 0 w 38065"/>
                    <a:gd name="connsiteY1" fmla="*/ 3247 h 35468"/>
                    <a:gd name="connsiteX2" fmla="*/ 19033 w 38065"/>
                    <a:gd name="connsiteY2" fmla="*/ 27141 h 35468"/>
                    <a:gd name="connsiteX3" fmla="*/ 38066 w 38065"/>
                    <a:gd name="connsiteY3" fmla="*/ 21168 h 35468"/>
                    <a:gd name="connsiteX4" fmla="*/ 38066 w 38065"/>
                    <a:gd name="connsiteY4" fmla="*/ 21168 h 3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65" h="35468">
                      <a:moveTo>
                        <a:pt x="38066" y="21168"/>
                      </a:moveTo>
                      <a:cubicBezTo>
                        <a:pt x="31675" y="15194"/>
                        <a:pt x="19033" y="-8562"/>
                        <a:pt x="0" y="3247"/>
                      </a:cubicBezTo>
                      <a:cubicBezTo>
                        <a:pt x="0" y="3247"/>
                        <a:pt x="19033" y="21168"/>
                        <a:pt x="19033" y="27141"/>
                      </a:cubicBezTo>
                      <a:cubicBezTo>
                        <a:pt x="18894" y="39089"/>
                        <a:pt x="38066" y="39089"/>
                        <a:pt x="38066" y="21168"/>
                      </a:cubicBezTo>
                      <a:cubicBezTo>
                        <a:pt x="38066" y="21168"/>
                        <a:pt x="38066" y="27141"/>
                        <a:pt x="38066" y="2116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2" name="Freihandform: Form 171">
                  <a:extLst>
                    <a:ext uri="{FF2B5EF4-FFF2-40B4-BE49-F238E27FC236}">
                      <a16:creationId xmlns:a16="http://schemas.microsoft.com/office/drawing/2014/main" id="{DA8850E1-3F3A-4870-B8E5-294A8BB36D57}"/>
                    </a:ext>
                  </a:extLst>
                </p:cNvPr>
                <p:cNvSpPr/>
                <p:nvPr/>
              </p:nvSpPr>
              <p:spPr>
                <a:xfrm>
                  <a:off x="9779609" y="4147803"/>
                  <a:ext cx="101358" cy="84342"/>
                </a:xfrm>
                <a:custGeom>
                  <a:avLst/>
                  <a:gdLst>
                    <a:gd name="connsiteX0" fmla="*/ 44456 w 101358"/>
                    <a:gd name="connsiteY0" fmla="*/ 9323 h 84342"/>
                    <a:gd name="connsiteX1" fmla="*/ 0 w 101358"/>
                    <a:gd name="connsiteY1" fmla="*/ 9323 h 84342"/>
                    <a:gd name="connsiteX2" fmla="*/ 29590 w 101358"/>
                    <a:gd name="connsiteY2" fmla="*/ 30301 h 84342"/>
                    <a:gd name="connsiteX3" fmla="*/ 14864 w 101358"/>
                    <a:gd name="connsiteY3" fmla="*/ 82675 h 84342"/>
                    <a:gd name="connsiteX4" fmla="*/ 88911 w 101358"/>
                    <a:gd name="connsiteY4" fmla="*/ 51278 h 84342"/>
                    <a:gd name="connsiteX5" fmla="*/ 44456 w 101358"/>
                    <a:gd name="connsiteY5" fmla="*/ 9323 h 84342"/>
                    <a:gd name="connsiteX6" fmla="*/ 44456 w 101358"/>
                    <a:gd name="connsiteY6" fmla="*/ 9323 h 84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358" h="84342">
                      <a:moveTo>
                        <a:pt x="44456" y="9323"/>
                      </a:moveTo>
                      <a:cubicBezTo>
                        <a:pt x="29590" y="-1096"/>
                        <a:pt x="14864" y="-1096"/>
                        <a:pt x="0" y="9323"/>
                      </a:cubicBezTo>
                      <a:cubicBezTo>
                        <a:pt x="0" y="19743"/>
                        <a:pt x="29590" y="19743"/>
                        <a:pt x="29590" y="30301"/>
                      </a:cubicBezTo>
                      <a:cubicBezTo>
                        <a:pt x="44456" y="40720"/>
                        <a:pt x="0" y="72256"/>
                        <a:pt x="14864" y="82675"/>
                      </a:cubicBezTo>
                      <a:cubicBezTo>
                        <a:pt x="14864" y="93094"/>
                        <a:pt x="74185" y="51278"/>
                        <a:pt x="88911" y="51278"/>
                      </a:cubicBezTo>
                      <a:cubicBezTo>
                        <a:pt x="133367" y="51278"/>
                        <a:pt x="44456" y="9323"/>
                        <a:pt x="44456" y="9323"/>
                      </a:cubicBezTo>
                      <a:cubicBezTo>
                        <a:pt x="14864" y="-11654"/>
                        <a:pt x="44456" y="9323"/>
                        <a:pt x="44456" y="93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3" name="Freihandform: Form 172">
                  <a:extLst>
                    <a:ext uri="{FF2B5EF4-FFF2-40B4-BE49-F238E27FC236}">
                      <a16:creationId xmlns:a16="http://schemas.microsoft.com/office/drawing/2014/main" id="{078A4E1E-D247-4665-ADB6-08BCFBF7A628}"/>
                    </a:ext>
                  </a:extLst>
                </p:cNvPr>
                <p:cNvSpPr/>
                <p:nvPr/>
              </p:nvSpPr>
              <p:spPr>
                <a:xfrm>
                  <a:off x="9834654" y="4196782"/>
                  <a:ext cx="35354" cy="55316"/>
                </a:xfrm>
                <a:custGeom>
                  <a:avLst/>
                  <a:gdLst>
                    <a:gd name="connsiteX0" fmla="*/ 33449 w 35354"/>
                    <a:gd name="connsiteY0" fmla="*/ 2717 h 55316"/>
                    <a:gd name="connsiteX1" fmla="*/ 12889 w 35354"/>
                    <a:gd name="connsiteY1" fmla="*/ 27028 h 55316"/>
                    <a:gd name="connsiteX2" fmla="*/ 12889 w 35354"/>
                    <a:gd name="connsiteY2" fmla="*/ 51340 h 55316"/>
                    <a:gd name="connsiteX3" fmla="*/ 26503 w 35354"/>
                    <a:gd name="connsiteY3" fmla="*/ 33141 h 55316"/>
                    <a:gd name="connsiteX4" fmla="*/ 33449 w 35354"/>
                    <a:gd name="connsiteY4" fmla="*/ 2717 h 55316"/>
                    <a:gd name="connsiteX5" fmla="*/ 33449 w 35354"/>
                    <a:gd name="connsiteY5" fmla="*/ 2717 h 55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54" h="55316">
                      <a:moveTo>
                        <a:pt x="33449" y="2717"/>
                      </a:moveTo>
                      <a:cubicBezTo>
                        <a:pt x="12889" y="2717"/>
                        <a:pt x="19835" y="20916"/>
                        <a:pt x="12889" y="27028"/>
                      </a:cubicBezTo>
                      <a:cubicBezTo>
                        <a:pt x="-7533" y="39115"/>
                        <a:pt x="-725" y="39115"/>
                        <a:pt x="12889" y="51340"/>
                      </a:cubicBezTo>
                      <a:cubicBezTo>
                        <a:pt x="33449" y="63426"/>
                        <a:pt x="19696" y="45227"/>
                        <a:pt x="26503" y="33141"/>
                      </a:cubicBezTo>
                      <a:cubicBezTo>
                        <a:pt x="26642" y="33002"/>
                        <a:pt x="40257" y="-3396"/>
                        <a:pt x="33449" y="2717"/>
                      </a:cubicBezTo>
                      <a:cubicBezTo>
                        <a:pt x="26642" y="2717"/>
                        <a:pt x="33449" y="-3396"/>
                        <a:pt x="33449" y="271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4" name="Freihandform: Form 173">
                  <a:extLst>
                    <a:ext uri="{FF2B5EF4-FFF2-40B4-BE49-F238E27FC236}">
                      <a16:creationId xmlns:a16="http://schemas.microsoft.com/office/drawing/2014/main" id="{1BBF4A15-7EEB-43FE-BD21-D289AB664A39}"/>
                    </a:ext>
                  </a:extLst>
                </p:cNvPr>
                <p:cNvSpPr/>
                <p:nvPr/>
              </p:nvSpPr>
              <p:spPr>
                <a:xfrm>
                  <a:off x="9779609" y="4169487"/>
                  <a:ext cx="172404" cy="195468"/>
                </a:xfrm>
                <a:custGeom>
                  <a:avLst/>
                  <a:gdLst>
                    <a:gd name="connsiteX0" fmla="*/ 150177 w 172404"/>
                    <a:gd name="connsiteY0" fmla="*/ 3616 h 195468"/>
                    <a:gd name="connsiteX1" fmla="*/ 0 w 172404"/>
                    <a:gd name="connsiteY1" fmla="*/ 195469 h 195468"/>
                    <a:gd name="connsiteX2" fmla="*/ 150177 w 172404"/>
                    <a:gd name="connsiteY2" fmla="*/ 113226 h 195468"/>
                    <a:gd name="connsiteX3" fmla="*/ 150177 w 172404"/>
                    <a:gd name="connsiteY3" fmla="*/ 3616 h 195468"/>
                    <a:gd name="connsiteX4" fmla="*/ 150177 w 172404"/>
                    <a:gd name="connsiteY4" fmla="*/ 3616 h 19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404" h="195468">
                      <a:moveTo>
                        <a:pt x="150177" y="3616"/>
                      </a:moveTo>
                      <a:cubicBezTo>
                        <a:pt x="100164" y="3616"/>
                        <a:pt x="0" y="168101"/>
                        <a:pt x="0" y="195469"/>
                      </a:cubicBezTo>
                      <a:cubicBezTo>
                        <a:pt x="0" y="195469"/>
                        <a:pt x="100164" y="140594"/>
                        <a:pt x="150177" y="113226"/>
                      </a:cubicBezTo>
                      <a:cubicBezTo>
                        <a:pt x="150177" y="113226"/>
                        <a:pt x="200189" y="-23752"/>
                        <a:pt x="150177" y="3616"/>
                      </a:cubicBezTo>
                      <a:cubicBezTo>
                        <a:pt x="100025" y="3616"/>
                        <a:pt x="150177" y="3616"/>
                        <a:pt x="150177" y="361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5" name="Freihandform: Form 174">
                  <a:extLst>
                    <a:ext uri="{FF2B5EF4-FFF2-40B4-BE49-F238E27FC236}">
                      <a16:creationId xmlns:a16="http://schemas.microsoft.com/office/drawing/2014/main" id="{669C5FEC-6E4A-433B-9BBD-C0A133672B73}"/>
                    </a:ext>
                  </a:extLst>
                </p:cNvPr>
                <p:cNvSpPr/>
                <p:nvPr/>
              </p:nvSpPr>
              <p:spPr>
                <a:xfrm>
                  <a:off x="9888377" y="4225771"/>
                  <a:ext cx="22100" cy="12392"/>
                </a:xfrm>
                <a:custGeom>
                  <a:avLst/>
                  <a:gdLst>
                    <a:gd name="connsiteX0" fmla="*/ 2510 w 22100"/>
                    <a:gd name="connsiteY0" fmla="*/ 956 h 12392"/>
                    <a:gd name="connsiteX1" fmla="*/ 15151 w 22100"/>
                    <a:gd name="connsiteY1" fmla="*/ 10542 h 12392"/>
                    <a:gd name="connsiteX2" fmla="*/ 2510 w 22100"/>
                    <a:gd name="connsiteY2" fmla="*/ 956 h 12392"/>
                    <a:gd name="connsiteX3" fmla="*/ 2510 w 22100"/>
                    <a:gd name="connsiteY3" fmla="*/ 956 h 12392"/>
                  </a:gdLst>
                  <a:ahLst/>
                  <a:cxnLst>
                    <a:cxn ang="0">
                      <a:pos x="connsiteX0" y="connsiteY0"/>
                    </a:cxn>
                    <a:cxn ang="0">
                      <a:pos x="connsiteX1" y="connsiteY1"/>
                    </a:cxn>
                    <a:cxn ang="0">
                      <a:pos x="connsiteX2" y="connsiteY2"/>
                    </a:cxn>
                    <a:cxn ang="0">
                      <a:pos x="connsiteX3" y="connsiteY3"/>
                    </a:cxn>
                  </a:cxnLst>
                  <a:rect l="l" t="t" r="r" b="b"/>
                  <a:pathLst>
                    <a:path w="22100" h="12392">
                      <a:moveTo>
                        <a:pt x="2510" y="956"/>
                      </a:moveTo>
                      <a:cubicBezTo>
                        <a:pt x="-3881" y="10542"/>
                        <a:pt x="2510" y="15265"/>
                        <a:pt x="15151" y="10542"/>
                      </a:cubicBezTo>
                      <a:cubicBezTo>
                        <a:pt x="34184" y="10542"/>
                        <a:pt x="8761" y="-3767"/>
                        <a:pt x="2510" y="956"/>
                      </a:cubicBezTo>
                      <a:cubicBezTo>
                        <a:pt x="2510" y="5680"/>
                        <a:pt x="8761" y="956"/>
                        <a:pt x="2510" y="95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6" name="Freihandform: Form 175">
                  <a:extLst>
                    <a:ext uri="{FF2B5EF4-FFF2-40B4-BE49-F238E27FC236}">
                      <a16:creationId xmlns:a16="http://schemas.microsoft.com/office/drawing/2014/main" id="{B94DA2EC-7FEF-4682-BB78-1013E36384F4}"/>
                    </a:ext>
                  </a:extLst>
                </p:cNvPr>
                <p:cNvSpPr/>
                <p:nvPr/>
              </p:nvSpPr>
              <p:spPr>
                <a:xfrm>
                  <a:off x="9674722" y="4202972"/>
                  <a:ext cx="72528" cy="76130"/>
                </a:xfrm>
                <a:custGeom>
                  <a:avLst/>
                  <a:gdLst>
                    <a:gd name="connsiteX0" fmla="*/ 69878 w 72528"/>
                    <a:gd name="connsiteY0" fmla="*/ 0 h 76130"/>
                    <a:gd name="connsiteX1" fmla="*/ 38065 w 72528"/>
                    <a:gd name="connsiteY1" fmla="*/ 38065 h 76130"/>
                    <a:gd name="connsiteX2" fmla="*/ 0 w 72528"/>
                    <a:gd name="connsiteY2" fmla="*/ 76130 h 76130"/>
                    <a:gd name="connsiteX3" fmla="*/ 25423 w 72528"/>
                    <a:gd name="connsiteY3" fmla="*/ 63488 h 76130"/>
                    <a:gd name="connsiteX4" fmla="*/ 50846 w 72528"/>
                    <a:gd name="connsiteY4" fmla="*/ 44456 h 76130"/>
                    <a:gd name="connsiteX5" fmla="*/ 63627 w 72528"/>
                    <a:gd name="connsiteY5" fmla="*/ 19032 h 76130"/>
                    <a:gd name="connsiteX6" fmla="*/ 69878 w 72528"/>
                    <a:gd name="connsiteY6" fmla="*/ 0 h 7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528" h="76130">
                      <a:moveTo>
                        <a:pt x="69878" y="0"/>
                      </a:moveTo>
                      <a:cubicBezTo>
                        <a:pt x="57236" y="6390"/>
                        <a:pt x="44456" y="25423"/>
                        <a:pt x="38065" y="38065"/>
                      </a:cubicBezTo>
                      <a:cubicBezTo>
                        <a:pt x="31674" y="44456"/>
                        <a:pt x="0" y="63488"/>
                        <a:pt x="0" y="76130"/>
                      </a:cubicBezTo>
                      <a:cubicBezTo>
                        <a:pt x="0" y="76130"/>
                        <a:pt x="19032" y="69740"/>
                        <a:pt x="25423" y="63488"/>
                      </a:cubicBezTo>
                      <a:cubicBezTo>
                        <a:pt x="31674" y="63488"/>
                        <a:pt x="44456" y="50707"/>
                        <a:pt x="50846" y="44456"/>
                      </a:cubicBezTo>
                      <a:cubicBezTo>
                        <a:pt x="50846" y="31675"/>
                        <a:pt x="57236" y="25423"/>
                        <a:pt x="63627" y="19032"/>
                      </a:cubicBezTo>
                      <a:cubicBezTo>
                        <a:pt x="69878" y="19032"/>
                        <a:pt x="76269" y="0"/>
                        <a:pt x="69878"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7" name="Freihandform: Form 176">
                  <a:extLst>
                    <a:ext uri="{FF2B5EF4-FFF2-40B4-BE49-F238E27FC236}">
                      <a16:creationId xmlns:a16="http://schemas.microsoft.com/office/drawing/2014/main" id="{53BD415B-3325-4CC3-9C3B-FF8BB2A3027A}"/>
                    </a:ext>
                  </a:extLst>
                </p:cNvPr>
                <p:cNvSpPr/>
                <p:nvPr/>
              </p:nvSpPr>
              <p:spPr>
                <a:xfrm>
                  <a:off x="9893943" y="4107531"/>
                  <a:ext cx="6740" cy="9585"/>
                </a:xfrm>
                <a:custGeom>
                  <a:avLst/>
                  <a:gdLst>
                    <a:gd name="connsiteX0" fmla="*/ 0 w 6740"/>
                    <a:gd name="connsiteY0" fmla="*/ 9586 h 9585"/>
                    <a:gd name="connsiteX1" fmla="*/ 4723 w 6740"/>
                    <a:gd name="connsiteY1" fmla="*/ 0 h 9585"/>
                    <a:gd name="connsiteX2" fmla="*/ 0 w 6740"/>
                    <a:gd name="connsiteY2" fmla="*/ 9586 h 9585"/>
                  </a:gdLst>
                  <a:ahLst/>
                  <a:cxnLst>
                    <a:cxn ang="0">
                      <a:pos x="connsiteX0" y="connsiteY0"/>
                    </a:cxn>
                    <a:cxn ang="0">
                      <a:pos x="connsiteX1" y="connsiteY1"/>
                    </a:cxn>
                    <a:cxn ang="0">
                      <a:pos x="connsiteX2" y="connsiteY2"/>
                    </a:cxn>
                  </a:cxnLst>
                  <a:rect l="l" t="t" r="r" b="b"/>
                  <a:pathLst>
                    <a:path w="6740" h="9585">
                      <a:moveTo>
                        <a:pt x="0" y="9586"/>
                      </a:moveTo>
                      <a:cubicBezTo>
                        <a:pt x="4723" y="9586"/>
                        <a:pt x="9586" y="0"/>
                        <a:pt x="4723" y="0"/>
                      </a:cubicBezTo>
                      <a:cubicBezTo>
                        <a:pt x="0" y="0"/>
                        <a:pt x="0" y="9586"/>
                        <a:pt x="0" y="95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8" name="Freihandform: Form 177">
                  <a:extLst>
                    <a:ext uri="{FF2B5EF4-FFF2-40B4-BE49-F238E27FC236}">
                      <a16:creationId xmlns:a16="http://schemas.microsoft.com/office/drawing/2014/main" id="{FA58A1F5-19B6-4F5F-8518-CB0CD75AA394}"/>
                    </a:ext>
                  </a:extLst>
                </p:cNvPr>
                <p:cNvSpPr/>
                <p:nvPr/>
              </p:nvSpPr>
              <p:spPr>
                <a:xfrm>
                  <a:off x="8995628" y="4371208"/>
                  <a:ext cx="340812" cy="352865"/>
                </a:xfrm>
                <a:custGeom>
                  <a:avLst/>
                  <a:gdLst>
                    <a:gd name="connsiteX0" fmla="*/ 68247 w 340812"/>
                    <a:gd name="connsiteY0" fmla="*/ 12503 h 352865"/>
                    <a:gd name="connsiteX1" fmla="*/ 17818 w 340812"/>
                    <a:gd name="connsiteY1" fmla="*/ 6252 h 352865"/>
                    <a:gd name="connsiteX2" fmla="*/ 5175 w 340812"/>
                    <a:gd name="connsiteY2" fmla="*/ 12503 h 352865"/>
                    <a:gd name="connsiteX3" fmla="*/ 30321 w 340812"/>
                    <a:gd name="connsiteY3" fmla="*/ 50012 h 352865"/>
                    <a:gd name="connsiteX4" fmla="*/ 61856 w 340812"/>
                    <a:gd name="connsiteY4" fmla="*/ 75019 h 352865"/>
                    <a:gd name="connsiteX5" fmla="*/ 74498 w 340812"/>
                    <a:gd name="connsiteY5" fmla="*/ 100025 h 352865"/>
                    <a:gd name="connsiteX6" fmla="*/ 99644 w 340812"/>
                    <a:gd name="connsiteY6" fmla="*/ 112528 h 352865"/>
                    <a:gd name="connsiteX7" fmla="*/ 118537 w 340812"/>
                    <a:gd name="connsiteY7" fmla="*/ 156289 h 352865"/>
                    <a:gd name="connsiteX8" fmla="*/ 131179 w 340812"/>
                    <a:gd name="connsiteY8" fmla="*/ 168792 h 352865"/>
                    <a:gd name="connsiteX9" fmla="*/ 156324 w 340812"/>
                    <a:gd name="connsiteY9" fmla="*/ 200050 h 352865"/>
                    <a:gd name="connsiteX10" fmla="*/ 181469 w 340812"/>
                    <a:gd name="connsiteY10" fmla="*/ 256314 h 352865"/>
                    <a:gd name="connsiteX11" fmla="*/ 250792 w 340812"/>
                    <a:gd name="connsiteY11" fmla="*/ 318830 h 352865"/>
                    <a:gd name="connsiteX12" fmla="*/ 282328 w 340812"/>
                    <a:gd name="connsiteY12" fmla="*/ 350087 h 352865"/>
                    <a:gd name="connsiteX13" fmla="*/ 332757 w 340812"/>
                    <a:gd name="connsiteY13" fmla="*/ 350087 h 352865"/>
                    <a:gd name="connsiteX14" fmla="*/ 332757 w 340812"/>
                    <a:gd name="connsiteY14" fmla="*/ 281320 h 352865"/>
                    <a:gd name="connsiteX15" fmla="*/ 339009 w 340812"/>
                    <a:gd name="connsiteY15" fmla="*/ 268817 h 352865"/>
                    <a:gd name="connsiteX16" fmla="*/ 320115 w 340812"/>
                    <a:gd name="connsiteY16" fmla="*/ 250062 h 352865"/>
                    <a:gd name="connsiteX17" fmla="*/ 307473 w 340812"/>
                    <a:gd name="connsiteY17" fmla="*/ 243811 h 352865"/>
                    <a:gd name="connsiteX18" fmla="*/ 294831 w 340812"/>
                    <a:gd name="connsiteY18" fmla="*/ 256314 h 352865"/>
                    <a:gd name="connsiteX19" fmla="*/ 294831 w 340812"/>
                    <a:gd name="connsiteY19" fmla="*/ 231308 h 352865"/>
                    <a:gd name="connsiteX20" fmla="*/ 288580 w 340812"/>
                    <a:gd name="connsiteY20" fmla="*/ 218805 h 352865"/>
                    <a:gd name="connsiteX21" fmla="*/ 269686 w 340812"/>
                    <a:gd name="connsiteY21" fmla="*/ 206301 h 352865"/>
                    <a:gd name="connsiteX22" fmla="*/ 257044 w 340812"/>
                    <a:gd name="connsiteY22" fmla="*/ 181295 h 352865"/>
                    <a:gd name="connsiteX23" fmla="*/ 257044 w 340812"/>
                    <a:gd name="connsiteY23" fmla="*/ 175044 h 352865"/>
                    <a:gd name="connsiteX24" fmla="*/ 263295 w 340812"/>
                    <a:gd name="connsiteY24" fmla="*/ 168792 h 352865"/>
                    <a:gd name="connsiteX25" fmla="*/ 231760 w 340812"/>
                    <a:gd name="connsiteY25" fmla="*/ 162541 h 352865"/>
                    <a:gd name="connsiteX26" fmla="*/ 231760 w 340812"/>
                    <a:gd name="connsiteY26" fmla="*/ 150037 h 352865"/>
                    <a:gd name="connsiteX27" fmla="*/ 219118 w 340812"/>
                    <a:gd name="connsiteY27" fmla="*/ 143786 h 352865"/>
                    <a:gd name="connsiteX28" fmla="*/ 225369 w 340812"/>
                    <a:gd name="connsiteY28" fmla="*/ 137534 h 352865"/>
                    <a:gd name="connsiteX29" fmla="*/ 212727 w 340812"/>
                    <a:gd name="connsiteY29" fmla="*/ 131283 h 352865"/>
                    <a:gd name="connsiteX30" fmla="*/ 206476 w 340812"/>
                    <a:gd name="connsiteY30" fmla="*/ 125031 h 352865"/>
                    <a:gd name="connsiteX31" fmla="*/ 187582 w 340812"/>
                    <a:gd name="connsiteY31" fmla="*/ 112528 h 352865"/>
                    <a:gd name="connsiteX32" fmla="*/ 181330 w 340812"/>
                    <a:gd name="connsiteY32" fmla="*/ 112528 h 352865"/>
                    <a:gd name="connsiteX33" fmla="*/ 149795 w 340812"/>
                    <a:gd name="connsiteY33" fmla="*/ 93773 h 352865"/>
                    <a:gd name="connsiteX34" fmla="*/ 124650 w 340812"/>
                    <a:gd name="connsiteY34" fmla="*/ 62516 h 352865"/>
                    <a:gd name="connsiteX35" fmla="*/ 93114 w 340812"/>
                    <a:gd name="connsiteY35" fmla="*/ 37509 h 352865"/>
                    <a:gd name="connsiteX36" fmla="*/ 68247 w 340812"/>
                    <a:gd name="connsiteY36" fmla="*/ 12503 h 35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0812" h="352865">
                      <a:moveTo>
                        <a:pt x="68247" y="12503"/>
                      </a:moveTo>
                      <a:cubicBezTo>
                        <a:pt x="49353" y="12503"/>
                        <a:pt x="36711" y="12503"/>
                        <a:pt x="17818" y="6252"/>
                      </a:cubicBezTo>
                      <a:cubicBezTo>
                        <a:pt x="5175" y="0"/>
                        <a:pt x="-7328" y="-6252"/>
                        <a:pt x="5175" y="12503"/>
                      </a:cubicBezTo>
                      <a:cubicBezTo>
                        <a:pt x="11427" y="25006"/>
                        <a:pt x="17818" y="43761"/>
                        <a:pt x="30321" y="50012"/>
                      </a:cubicBezTo>
                      <a:cubicBezTo>
                        <a:pt x="42963" y="56264"/>
                        <a:pt x="55466" y="62516"/>
                        <a:pt x="61856" y="75019"/>
                      </a:cubicBezTo>
                      <a:cubicBezTo>
                        <a:pt x="68108" y="81270"/>
                        <a:pt x="68108" y="93773"/>
                        <a:pt x="74498" y="100025"/>
                      </a:cubicBezTo>
                      <a:cubicBezTo>
                        <a:pt x="87140" y="106277"/>
                        <a:pt x="93392" y="106277"/>
                        <a:pt x="99644" y="112528"/>
                      </a:cubicBezTo>
                      <a:cubicBezTo>
                        <a:pt x="112286" y="125031"/>
                        <a:pt x="112286" y="143786"/>
                        <a:pt x="118537" y="156289"/>
                      </a:cubicBezTo>
                      <a:cubicBezTo>
                        <a:pt x="124789" y="162541"/>
                        <a:pt x="131179" y="168792"/>
                        <a:pt x="131179" y="168792"/>
                      </a:cubicBezTo>
                      <a:cubicBezTo>
                        <a:pt x="143821" y="181295"/>
                        <a:pt x="150072" y="187547"/>
                        <a:pt x="156324" y="200050"/>
                      </a:cubicBezTo>
                      <a:cubicBezTo>
                        <a:pt x="168966" y="218805"/>
                        <a:pt x="168966" y="237559"/>
                        <a:pt x="181469" y="256314"/>
                      </a:cubicBezTo>
                      <a:cubicBezTo>
                        <a:pt x="206615" y="275069"/>
                        <a:pt x="225508" y="300075"/>
                        <a:pt x="250792" y="318830"/>
                      </a:cubicBezTo>
                      <a:cubicBezTo>
                        <a:pt x="263434" y="331333"/>
                        <a:pt x="269686" y="337584"/>
                        <a:pt x="282328" y="350087"/>
                      </a:cubicBezTo>
                      <a:cubicBezTo>
                        <a:pt x="288580" y="350087"/>
                        <a:pt x="326367" y="356339"/>
                        <a:pt x="332757" y="350087"/>
                      </a:cubicBezTo>
                      <a:cubicBezTo>
                        <a:pt x="339009" y="343836"/>
                        <a:pt x="326505" y="293823"/>
                        <a:pt x="332757" y="281320"/>
                      </a:cubicBezTo>
                      <a:cubicBezTo>
                        <a:pt x="332757" y="275069"/>
                        <a:pt x="345399" y="275069"/>
                        <a:pt x="339009" y="268817"/>
                      </a:cubicBezTo>
                      <a:cubicBezTo>
                        <a:pt x="332757" y="262566"/>
                        <a:pt x="326367" y="256314"/>
                        <a:pt x="320115" y="250062"/>
                      </a:cubicBezTo>
                      <a:cubicBezTo>
                        <a:pt x="320115" y="250062"/>
                        <a:pt x="313864" y="243811"/>
                        <a:pt x="307473" y="243811"/>
                      </a:cubicBezTo>
                      <a:cubicBezTo>
                        <a:pt x="301222" y="243811"/>
                        <a:pt x="301222" y="256314"/>
                        <a:pt x="294831" y="256314"/>
                      </a:cubicBezTo>
                      <a:cubicBezTo>
                        <a:pt x="301083" y="256314"/>
                        <a:pt x="294831" y="231308"/>
                        <a:pt x="294831" y="231308"/>
                      </a:cubicBezTo>
                      <a:cubicBezTo>
                        <a:pt x="288580" y="225056"/>
                        <a:pt x="288580" y="225056"/>
                        <a:pt x="288580" y="218805"/>
                      </a:cubicBezTo>
                      <a:cubicBezTo>
                        <a:pt x="288580" y="212553"/>
                        <a:pt x="275937" y="206301"/>
                        <a:pt x="269686" y="206301"/>
                      </a:cubicBezTo>
                      <a:cubicBezTo>
                        <a:pt x="263434" y="200050"/>
                        <a:pt x="250792" y="193798"/>
                        <a:pt x="257044" y="181295"/>
                      </a:cubicBezTo>
                      <a:cubicBezTo>
                        <a:pt x="257044" y="181295"/>
                        <a:pt x="250792" y="175044"/>
                        <a:pt x="257044" y="175044"/>
                      </a:cubicBezTo>
                      <a:cubicBezTo>
                        <a:pt x="257044" y="168792"/>
                        <a:pt x="263295" y="175044"/>
                        <a:pt x="263295" y="168792"/>
                      </a:cubicBezTo>
                      <a:cubicBezTo>
                        <a:pt x="269547" y="156289"/>
                        <a:pt x="231760" y="156289"/>
                        <a:pt x="231760" y="162541"/>
                      </a:cubicBezTo>
                      <a:cubicBezTo>
                        <a:pt x="231760" y="156289"/>
                        <a:pt x="256905" y="150037"/>
                        <a:pt x="231760" y="150037"/>
                      </a:cubicBezTo>
                      <a:cubicBezTo>
                        <a:pt x="225508" y="150037"/>
                        <a:pt x="219118" y="143786"/>
                        <a:pt x="219118" y="143786"/>
                      </a:cubicBezTo>
                      <a:cubicBezTo>
                        <a:pt x="219118" y="137534"/>
                        <a:pt x="225369" y="137534"/>
                        <a:pt x="225369" y="137534"/>
                      </a:cubicBezTo>
                      <a:cubicBezTo>
                        <a:pt x="225369" y="131283"/>
                        <a:pt x="212727" y="131283"/>
                        <a:pt x="212727" y="131283"/>
                      </a:cubicBezTo>
                      <a:cubicBezTo>
                        <a:pt x="212727" y="131283"/>
                        <a:pt x="218979" y="125031"/>
                        <a:pt x="206476" y="125031"/>
                      </a:cubicBezTo>
                      <a:cubicBezTo>
                        <a:pt x="200224" y="118780"/>
                        <a:pt x="193833" y="118780"/>
                        <a:pt x="187582" y="112528"/>
                      </a:cubicBezTo>
                      <a:cubicBezTo>
                        <a:pt x="168689" y="87522"/>
                        <a:pt x="181330" y="112528"/>
                        <a:pt x="181330" y="112528"/>
                      </a:cubicBezTo>
                      <a:cubicBezTo>
                        <a:pt x="175079" y="112528"/>
                        <a:pt x="156186" y="93773"/>
                        <a:pt x="149795" y="93773"/>
                      </a:cubicBezTo>
                      <a:cubicBezTo>
                        <a:pt x="143543" y="81270"/>
                        <a:pt x="137153" y="68767"/>
                        <a:pt x="124650" y="62516"/>
                      </a:cubicBezTo>
                      <a:cubicBezTo>
                        <a:pt x="112008" y="56264"/>
                        <a:pt x="105756" y="50012"/>
                        <a:pt x="93114" y="37509"/>
                      </a:cubicBezTo>
                      <a:cubicBezTo>
                        <a:pt x="87140" y="31258"/>
                        <a:pt x="80889" y="12503"/>
                        <a:pt x="68247" y="125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79" name="Freihandform: Form 178">
                  <a:extLst>
                    <a:ext uri="{FF2B5EF4-FFF2-40B4-BE49-F238E27FC236}">
                      <a16:creationId xmlns:a16="http://schemas.microsoft.com/office/drawing/2014/main" id="{DC0F5115-ADE8-496E-A2F1-9E3609A572C8}"/>
                    </a:ext>
                  </a:extLst>
                </p:cNvPr>
                <p:cNvSpPr/>
                <p:nvPr/>
              </p:nvSpPr>
              <p:spPr>
                <a:xfrm>
                  <a:off x="9059583" y="4498462"/>
                  <a:ext cx="19468" cy="23824"/>
                </a:xfrm>
                <a:custGeom>
                  <a:avLst/>
                  <a:gdLst>
                    <a:gd name="connsiteX0" fmla="*/ 18323 w 19468"/>
                    <a:gd name="connsiteY0" fmla="*/ 22922 h 23824"/>
                    <a:gd name="connsiteX1" fmla="*/ 1096 w 19468"/>
                    <a:gd name="connsiteY1" fmla="*/ 0 h 23824"/>
                    <a:gd name="connsiteX2" fmla="*/ 18323 w 19468"/>
                    <a:gd name="connsiteY2" fmla="*/ 22922 h 23824"/>
                  </a:gdLst>
                  <a:ahLst/>
                  <a:cxnLst>
                    <a:cxn ang="0">
                      <a:pos x="connsiteX0" y="connsiteY0"/>
                    </a:cxn>
                    <a:cxn ang="0">
                      <a:pos x="connsiteX1" y="connsiteY1"/>
                    </a:cxn>
                    <a:cxn ang="0">
                      <a:pos x="connsiteX2" y="connsiteY2"/>
                    </a:cxn>
                  </a:cxnLst>
                  <a:rect l="l" t="t" r="r" b="b"/>
                  <a:pathLst>
                    <a:path w="19468" h="23824">
                      <a:moveTo>
                        <a:pt x="18323" y="22922"/>
                      </a:moveTo>
                      <a:cubicBezTo>
                        <a:pt x="24019" y="17226"/>
                        <a:pt x="6931" y="0"/>
                        <a:pt x="1096" y="0"/>
                      </a:cubicBezTo>
                      <a:cubicBezTo>
                        <a:pt x="-4461" y="5696"/>
                        <a:pt x="12627" y="28618"/>
                        <a:pt x="18323" y="2292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0" name="Freihandform: Form 179">
                  <a:extLst>
                    <a:ext uri="{FF2B5EF4-FFF2-40B4-BE49-F238E27FC236}">
                      <a16:creationId xmlns:a16="http://schemas.microsoft.com/office/drawing/2014/main" id="{62F1121D-DFE3-4FCA-A331-5AFD5487E45F}"/>
                    </a:ext>
                  </a:extLst>
                </p:cNvPr>
                <p:cNvSpPr/>
                <p:nvPr/>
              </p:nvSpPr>
              <p:spPr>
                <a:xfrm>
                  <a:off x="9097744" y="4565145"/>
                  <a:ext cx="19511" cy="31779"/>
                </a:xfrm>
                <a:custGeom>
                  <a:avLst/>
                  <a:gdLst>
                    <a:gd name="connsiteX0" fmla="*/ 18366 w 19511"/>
                    <a:gd name="connsiteY0" fmla="*/ 30563 h 31779"/>
                    <a:gd name="connsiteX1" fmla="*/ 1139 w 19511"/>
                    <a:gd name="connsiteY1" fmla="*/ 0 h 31779"/>
                    <a:gd name="connsiteX2" fmla="*/ 18366 w 19511"/>
                    <a:gd name="connsiteY2" fmla="*/ 30563 h 31779"/>
                  </a:gdLst>
                  <a:ahLst/>
                  <a:cxnLst>
                    <a:cxn ang="0">
                      <a:pos x="connsiteX0" y="connsiteY0"/>
                    </a:cxn>
                    <a:cxn ang="0">
                      <a:pos x="connsiteX1" y="connsiteY1"/>
                    </a:cxn>
                    <a:cxn ang="0">
                      <a:pos x="connsiteX2" y="connsiteY2"/>
                    </a:cxn>
                  </a:cxnLst>
                  <a:rect l="l" t="t" r="r" b="b"/>
                  <a:pathLst>
                    <a:path w="19511" h="31779">
                      <a:moveTo>
                        <a:pt x="18366" y="30563"/>
                      </a:moveTo>
                      <a:cubicBezTo>
                        <a:pt x="24062" y="22922"/>
                        <a:pt x="6973" y="0"/>
                        <a:pt x="1139" y="0"/>
                      </a:cubicBezTo>
                      <a:cubicBezTo>
                        <a:pt x="-4557" y="7641"/>
                        <a:pt x="12669" y="38204"/>
                        <a:pt x="18366" y="30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1" name="Freihandform: Form 180">
                  <a:extLst>
                    <a:ext uri="{FF2B5EF4-FFF2-40B4-BE49-F238E27FC236}">
                      <a16:creationId xmlns:a16="http://schemas.microsoft.com/office/drawing/2014/main" id="{ED5DA1C0-EABA-4878-B0A4-1776E1587007}"/>
                    </a:ext>
                  </a:extLst>
                </p:cNvPr>
                <p:cNvSpPr/>
                <p:nvPr/>
              </p:nvSpPr>
              <p:spPr>
                <a:xfrm>
                  <a:off x="9302962" y="4588453"/>
                  <a:ext cx="47650" cy="43514"/>
                </a:xfrm>
                <a:custGeom>
                  <a:avLst/>
                  <a:gdLst>
                    <a:gd name="connsiteX0" fmla="*/ 47651 w 47650"/>
                    <a:gd name="connsiteY0" fmla="*/ 43514 h 43514"/>
                    <a:gd name="connsiteX1" fmla="*/ 34036 w 47650"/>
                    <a:gd name="connsiteY1" fmla="*/ 16285 h 43514"/>
                    <a:gd name="connsiteX2" fmla="*/ 0 w 47650"/>
                    <a:gd name="connsiteY2" fmla="*/ 2670 h 43514"/>
                    <a:gd name="connsiteX3" fmla="*/ 6807 w 47650"/>
                    <a:gd name="connsiteY3" fmla="*/ 16285 h 43514"/>
                    <a:gd name="connsiteX4" fmla="*/ 20422 w 47650"/>
                    <a:gd name="connsiteY4" fmla="*/ 29900 h 43514"/>
                    <a:gd name="connsiteX5" fmla="*/ 47651 w 47650"/>
                    <a:gd name="connsiteY5" fmla="*/ 43514 h 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50" h="43514">
                      <a:moveTo>
                        <a:pt x="47651" y="43514"/>
                      </a:moveTo>
                      <a:cubicBezTo>
                        <a:pt x="47651" y="29900"/>
                        <a:pt x="34036" y="29900"/>
                        <a:pt x="34036" y="16285"/>
                      </a:cubicBezTo>
                      <a:cubicBezTo>
                        <a:pt x="34036" y="2670"/>
                        <a:pt x="13614" y="-4137"/>
                        <a:pt x="0" y="2670"/>
                      </a:cubicBezTo>
                      <a:cubicBezTo>
                        <a:pt x="0" y="9478"/>
                        <a:pt x="0" y="16285"/>
                        <a:pt x="6807" y="16285"/>
                      </a:cubicBezTo>
                      <a:cubicBezTo>
                        <a:pt x="20422" y="16285"/>
                        <a:pt x="13614" y="23092"/>
                        <a:pt x="20422" y="29900"/>
                      </a:cubicBezTo>
                      <a:cubicBezTo>
                        <a:pt x="20422" y="36707"/>
                        <a:pt x="47651" y="43514"/>
                        <a:pt x="47651" y="435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2" name="Freihandform: Form 181">
                  <a:extLst>
                    <a:ext uri="{FF2B5EF4-FFF2-40B4-BE49-F238E27FC236}">
                      <a16:creationId xmlns:a16="http://schemas.microsoft.com/office/drawing/2014/main" id="{6A0EDF63-EB54-431E-B012-2128D6E69F16}"/>
                    </a:ext>
                  </a:extLst>
                </p:cNvPr>
                <p:cNvSpPr/>
                <p:nvPr/>
              </p:nvSpPr>
              <p:spPr>
                <a:xfrm>
                  <a:off x="9381488" y="4622382"/>
                  <a:ext cx="14378" cy="16408"/>
                </a:xfrm>
                <a:custGeom>
                  <a:avLst/>
                  <a:gdLst>
                    <a:gd name="connsiteX0" fmla="*/ 7190 w 14378"/>
                    <a:gd name="connsiteY0" fmla="*/ 14309 h 16408"/>
                    <a:gd name="connsiteX1" fmla="*/ 7190 w 14378"/>
                    <a:gd name="connsiteY1" fmla="*/ 0 h 16408"/>
                    <a:gd name="connsiteX2" fmla="*/ 7190 w 14378"/>
                    <a:gd name="connsiteY2" fmla="*/ 14309 h 16408"/>
                    <a:gd name="connsiteX3" fmla="*/ 7190 w 14378"/>
                    <a:gd name="connsiteY3" fmla="*/ 14309 h 16408"/>
                  </a:gdLst>
                  <a:ahLst/>
                  <a:cxnLst>
                    <a:cxn ang="0">
                      <a:pos x="connsiteX0" y="connsiteY0"/>
                    </a:cxn>
                    <a:cxn ang="0">
                      <a:pos x="connsiteX1" y="connsiteY1"/>
                    </a:cxn>
                    <a:cxn ang="0">
                      <a:pos x="connsiteX2" y="connsiteY2"/>
                    </a:cxn>
                    <a:cxn ang="0">
                      <a:pos x="connsiteX3" y="connsiteY3"/>
                    </a:cxn>
                  </a:cxnLst>
                  <a:rect l="l" t="t" r="r" b="b"/>
                  <a:pathLst>
                    <a:path w="14378" h="16408">
                      <a:moveTo>
                        <a:pt x="7190" y="14309"/>
                      </a:moveTo>
                      <a:cubicBezTo>
                        <a:pt x="-2397" y="19032"/>
                        <a:pt x="-2397" y="4724"/>
                        <a:pt x="7190" y="0"/>
                      </a:cubicBezTo>
                      <a:cubicBezTo>
                        <a:pt x="16775" y="0"/>
                        <a:pt x="16775" y="14309"/>
                        <a:pt x="7190" y="14309"/>
                      </a:cubicBezTo>
                      <a:cubicBezTo>
                        <a:pt x="2466" y="19032"/>
                        <a:pt x="12052" y="14309"/>
                        <a:pt x="7190" y="1430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3" name="Freihandform: Form 182">
                  <a:extLst>
                    <a:ext uri="{FF2B5EF4-FFF2-40B4-BE49-F238E27FC236}">
                      <a16:creationId xmlns:a16="http://schemas.microsoft.com/office/drawing/2014/main" id="{0D252896-67C2-4933-8068-C780ADC71D55}"/>
                    </a:ext>
                  </a:extLst>
                </p:cNvPr>
                <p:cNvSpPr/>
                <p:nvPr/>
              </p:nvSpPr>
              <p:spPr>
                <a:xfrm>
                  <a:off x="9312408" y="4727269"/>
                  <a:ext cx="281634" cy="88139"/>
                </a:xfrm>
                <a:custGeom>
                  <a:avLst/>
                  <a:gdLst>
                    <a:gd name="connsiteX0" fmla="*/ 55987 w 281634"/>
                    <a:gd name="connsiteY0" fmla="*/ 0 h 88139"/>
                    <a:gd name="connsiteX1" fmla="*/ 18616 w 281634"/>
                    <a:gd name="connsiteY1" fmla="*/ 0 h 88139"/>
                    <a:gd name="connsiteX2" fmla="*/ 0 w 281634"/>
                    <a:gd name="connsiteY2" fmla="*/ 25423 h 88139"/>
                    <a:gd name="connsiteX3" fmla="*/ 31119 w 281634"/>
                    <a:gd name="connsiteY3" fmla="*/ 38065 h 88139"/>
                    <a:gd name="connsiteX4" fmla="*/ 68490 w 281634"/>
                    <a:gd name="connsiteY4" fmla="*/ 57098 h 88139"/>
                    <a:gd name="connsiteX5" fmla="*/ 93357 w 281634"/>
                    <a:gd name="connsiteY5" fmla="*/ 57098 h 88139"/>
                    <a:gd name="connsiteX6" fmla="*/ 149343 w 281634"/>
                    <a:gd name="connsiteY6" fmla="*/ 69740 h 88139"/>
                    <a:gd name="connsiteX7" fmla="*/ 248812 w 281634"/>
                    <a:gd name="connsiteY7" fmla="*/ 82521 h 88139"/>
                    <a:gd name="connsiteX8" fmla="*/ 279931 w 281634"/>
                    <a:gd name="connsiteY8" fmla="*/ 82521 h 88139"/>
                    <a:gd name="connsiteX9" fmla="*/ 267428 w 281634"/>
                    <a:gd name="connsiteY9" fmla="*/ 57098 h 88139"/>
                    <a:gd name="connsiteX10" fmla="*/ 255064 w 281634"/>
                    <a:gd name="connsiteY10" fmla="*/ 57098 h 88139"/>
                    <a:gd name="connsiteX11" fmla="*/ 230197 w 281634"/>
                    <a:gd name="connsiteY11" fmla="*/ 57098 h 88139"/>
                    <a:gd name="connsiteX12" fmla="*/ 217833 w 281634"/>
                    <a:gd name="connsiteY12" fmla="*/ 38065 h 88139"/>
                    <a:gd name="connsiteX13" fmla="*/ 199217 w 281634"/>
                    <a:gd name="connsiteY13" fmla="*/ 25423 h 88139"/>
                    <a:gd name="connsiteX14" fmla="*/ 168098 w 281634"/>
                    <a:gd name="connsiteY14" fmla="*/ 19032 h 88139"/>
                    <a:gd name="connsiteX15" fmla="*/ 155594 w 281634"/>
                    <a:gd name="connsiteY15" fmla="*/ 25423 h 88139"/>
                    <a:gd name="connsiteX16" fmla="*/ 130727 w 281634"/>
                    <a:gd name="connsiteY16" fmla="*/ 31814 h 88139"/>
                    <a:gd name="connsiteX17" fmla="*/ 93357 w 281634"/>
                    <a:gd name="connsiteY17" fmla="*/ 19172 h 88139"/>
                    <a:gd name="connsiteX18" fmla="*/ 68490 w 281634"/>
                    <a:gd name="connsiteY18" fmla="*/ 12781 h 88139"/>
                    <a:gd name="connsiteX19" fmla="*/ 55987 w 281634"/>
                    <a:gd name="connsiteY19" fmla="*/ 0 h 88139"/>
                    <a:gd name="connsiteX20" fmla="*/ 55987 w 281634"/>
                    <a:gd name="connsiteY20" fmla="*/ 0 h 88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1634" h="88139">
                      <a:moveTo>
                        <a:pt x="55987" y="0"/>
                      </a:moveTo>
                      <a:cubicBezTo>
                        <a:pt x="43483" y="6391"/>
                        <a:pt x="37371" y="0"/>
                        <a:pt x="18616" y="0"/>
                      </a:cubicBezTo>
                      <a:cubicBezTo>
                        <a:pt x="18616" y="0"/>
                        <a:pt x="0" y="19032"/>
                        <a:pt x="0" y="25423"/>
                      </a:cubicBezTo>
                      <a:cubicBezTo>
                        <a:pt x="0" y="31814"/>
                        <a:pt x="24868" y="25423"/>
                        <a:pt x="31119" y="38065"/>
                      </a:cubicBezTo>
                      <a:cubicBezTo>
                        <a:pt x="37371" y="50707"/>
                        <a:pt x="55987" y="50707"/>
                        <a:pt x="68490" y="57098"/>
                      </a:cubicBezTo>
                      <a:cubicBezTo>
                        <a:pt x="80854" y="57098"/>
                        <a:pt x="87105" y="57098"/>
                        <a:pt x="93357" y="57098"/>
                      </a:cubicBezTo>
                      <a:cubicBezTo>
                        <a:pt x="111973" y="57098"/>
                        <a:pt x="130727" y="63488"/>
                        <a:pt x="149343" y="69740"/>
                      </a:cubicBezTo>
                      <a:cubicBezTo>
                        <a:pt x="180462" y="76130"/>
                        <a:pt x="217833" y="69740"/>
                        <a:pt x="248812" y="82521"/>
                      </a:cubicBezTo>
                      <a:cubicBezTo>
                        <a:pt x="255064" y="82521"/>
                        <a:pt x="273679" y="95163"/>
                        <a:pt x="279931" y="82521"/>
                      </a:cubicBezTo>
                      <a:cubicBezTo>
                        <a:pt x="286183" y="82521"/>
                        <a:pt x="273679" y="57098"/>
                        <a:pt x="267428" y="57098"/>
                      </a:cubicBezTo>
                      <a:cubicBezTo>
                        <a:pt x="261176" y="50707"/>
                        <a:pt x="261176" y="57098"/>
                        <a:pt x="255064" y="57098"/>
                      </a:cubicBezTo>
                      <a:cubicBezTo>
                        <a:pt x="242561" y="63488"/>
                        <a:pt x="236448" y="57098"/>
                        <a:pt x="230197" y="57098"/>
                      </a:cubicBezTo>
                      <a:cubicBezTo>
                        <a:pt x="223945" y="50707"/>
                        <a:pt x="223945" y="44456"/>
                        <a:pt x="217833" y="38065"/>
                      </a:cubicBezTo>
                      <a:cubicBezTo>
                        <a:pt x="217833" y="31675"/>
                        <a:pt x="205329" y="31675"/>
                        <a:pt x="199217" y="25423"/>
                      </a:cubicBezTo>
                      <a:cubicBezTo>
                        <a:pt x="192965" y="25423"/>
                        <a:pt x="174349" y="19032"/>
                        <a:pt x="168098" y="19032"/>
                      </a:cubicBezTo>
                      <a:cubicBezTo>
                        <a:pt x="161846" y="19032"/>
                        <a:pt x="155594" y="25423"/>
                        <a:pt x="155594" y="25423"/>
                      </a:cubicBezTo>
                      <a:cubicBezTo>
                        <a:pt x="149343" y="31814"/>
                        <a:pt x="143230" y="31814"/>
                        <a:pt x="130727" y="31814"/>
                      </a:cubicBezTo>
                      <a:cubicBezTo>
                        <a:pt x="118224" y="31814"/>
                        <a:pt x="105860" y="25423"/>
                        <a:pt x="93357" y="19172"/>
                      </a:cubicBezTo>
                      <a:cubicBezTo>
                        <a:pt x="87105" y="12781"/>
                        <a:pt x="74741" y="12781"/>
                        <a:pt x="68490" y="12781"/>
                      </a:cubicBezTo>
                      <a:cubicBezTo>
                        <a:pt x="68490" y="12642"/>
                        <a:pt x="62238" y="0"/>
                        <a:pt x="55987" y="0"/>
                      </a:cubicBezTo>
                      <a:cubicBezTo>
                        <a:pt x="49735" y="6252"/>
                        <a:pt x="62238" y="0"/>
                        <a:pt x="55987"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4" name="Freihandform: Form 183">
                  <a:extLst>
                    <a:ext uri="{FF2B5EF4-FFF2-40B4-BE49-F238E27FC236}">
                      <a16:creationId xmlns:a16="http://schemas.microsoft.com/office/drawing/2014/main" id="{0788E42A-CC36-40FA-A532-77FB5B4A7575}"/>
                    </a:ext>
                  </a:extLst>
                </p:cNvPr>
                <p:cNvSpPr/>
                <p:nvPr/>
              </p:nvSpPr>
              <p:spPr>
                <a:xfrm>
                  <a:off x="9535671" y="4750937"/>
                  <a:ext cx="34163" cy="14397"/>
                </a:xfrm>
                <a:custGeom>
                  <a:avLst/>
                  <a:gdLst>
                    <a:gd name="connsiteX0" fmla="*/ 4434 w 34163"/>
                    <a:gd name="connsiteY0" fmla="*/ 14397 h 14397"/>
                    <a:gd name="connsiteX1" fmla="*/ 34163 w 34163"/>
                    <a:gd name="connsiteY1" fmla="*/ 1755 h 14397"/>
                    <a:gd name="connsiteX2" fmla="*/ 4434 w 34163"/>
                    <a:gd name="connsiteY2" fmla="*/ 14397 h 14397"/>
                    <a:gd name="connsiteX3" fmla="*/ 4434 w 34163"/>
                    <a:gd name="connsiteY3" fmla="*/ 14397 h 14397"/>
                  </a:gdLst>
                  <a:ahLst/>
                  <a:cxnLst>
                    <a:cxn ang="0">
                      <a:pos x="connsiteX0" y="connsiteY0"/>
                    </a:cxn>
                    <a:cxn ang="0">
                      <a:pos x="connsiteX1" y="connsiteY1"/>
                    </a:cxn>
                    <a:cxn ang="0">
                      <a:pos x="connsiteX2" y="connsiteY2"/>
                    </a:cxn>
                    <a:cxn ang="0">
                      <a:pos x="connsiteX3" y="connsiteY3"/>
                    </a:cxn>
                  </a:cxnLst>
                  <a:rect l="l" t="t" r="r" b="b"/>
                  <a:pathLst>
                    <a:path w="34163" h="14397">
                      <a:moveTo>
                        <a:pt x="4434" y="14397"/>
                      </a:moveTo>
                      <a:cubicBezTo>
                        <a:pt x="-13488" y="8007"/>
                        <a:pt x="28328" y="-4636"/>
                        <a:pt x="34163" y="1755"/>
                      </a:cubicBezTo>
                      <a:cubicBezTo>
                        <a:pt x="34163" y="8007"/>
                        <a:pt x="10407" y="14397"/>
                        <a:pt x="4434" y="14397"/>
                      </a:cubicBezTo>
                      <a:cubicBezTo>
                        <a:pt x="-1541" y="14397"/>
                        <a:pt x="10407" y="14397"/>
                        <a:pt x="4434" y="1439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5" name="Freihandform: Form 184">
                  <a:extLst>
                    <a:ext uri="{FF2B5EF4-FFF2-40B4-BE49-F238E27FC236}">
                      <a16:creationId xmlns:a16="http://schemas.microsoft.com/office/drawing/2014/main" id="{2D3CD5D6-48B1-49B1-AE0F-FBD5C7B16E2F}"/>
                    </a:ext>
                  </a:extLst>
                </p:cNvPr>
                <p:cNvSpPr/>
                <p:nvPr/>
              </p:nvSpPr>
              <p:spPr>
                <a:xfrm>
                  <a:off x="9593641" y="4793952"/>
                  <a:ext cx="26393" cy="28479"/>
                </a:xfrm>
                <a:custGeom>
                  <a:avLst/>
                  <a:gdLst>
                    <a:gd name="connsiteX0" fmla="*/ 14397 w 26393"/>
                    <a:gd name="connsiteY0" fmla="*/ 0 h 28479"/>
                    <a:gd name="connsiteX1" fmla="*/ 1755 w 26393"/>
                    <a:gd name="connsiteY1" fmla="*/ 7085 h 28479"/>
                    <a:gd name="connsiteX2" fmla="*/ 14397 w 26393"/>
                    <a:gd name="connsiteY2" fmla="*/ 28479 h 28479"/>
                    <a:gd name="connsiteX3" fmla="*/ 14397 w 26393"/>
                    <a:gd name="connsiteY3" fmla="*/ 0 h 28479"/>
                  </a:gdLst>
                  <a:ahLst/>
                  <a:cxnLst>
                    <a:cxn ang="0">
                      <a:pos x="connsiteX0" y="connsiteY0"/>
                    </a:cxn>
                    <a:cxn ang="0">
                      <a:pos x="connsiteX1" y="connsiteY1"/>
                    </a:cxn>
                    <a:cxn ang="0">
                      <a:pos x="connsiteX2" y="connsiteY2"/>
                    </a:cxn>
                    <a:cxn ang="0">
                      <a:pos x="connsiteX3" y="connsiteY3"/>
                    </a:cxn>
                  </a:cxnLst>
                  <a:rect l="l" t="t" r="r" b="b"/>
                  <a:pathLst>
                    <a:path w="26393" h="28479">
                      <a:moveTo>
                        <a:pt x="14397" y="0"/>
                      </a:moveTo>
                      <a:cubicBezTo>
                        <a:pt x="8007" y="0"/>
                        <a:pt x="-4636" y="0"/>
                        <a:pt x="1755" y="7085"/>
                      </a:cubicBezTo>
                      <a:lnTo>
                        <a:pt x="14397" y="28479"/>
                      </a:lnTo>
                      <a:cubicBezTo>
                        <a:pt x="27039" y="28618"/>
                        <a:pt x="33429" y="0"/>
                        <a:pt x="14397"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6" name="Freihandform: Form 185">
                  <a:extLst>
                    <a:ext uri="{FF2B5EF4-FFF2-40B4-BE49-F238E27FC236}">
                      <a16:creationId xmlns:a16="http://schemas.microsoft.com/office/drawing/2014/main" id="{A4B5AAEB-0A06-44B8-B596-B1788AF51049}"/>
                    </a:ext>
                  </a:extLst>
                </p:cNvPr>
                <p:cNvSpPr/>
                <p:nvPr/>
              </p:nvSpPr>
              <p:spPr>
                <a:xfrm>
                  <a:off x="9632433" y="4803399"/>
                  <a:ext cx="28457" cy="15482"/>
                </a:xfrm>
                <a:custGeom>
                  <a:avLst/>
                  <a:gdLst>
                    <a:gd name="connsiteX0" fmla="*/ 25062 w 28457"/>
                    <a:gd name="connsiteY0" fmla="*/ 6391 h 15482"/>
                    <a:gd name="connsiteX1" fmla="*/ 9780 w 28457"/>
                    <a:gd name="connsiteY1" fmla="*/ 0 h 15482"/>
                    <a:gd name="connsiteX2" fmla="*/ 2139 w 28457"/>
                    <a:gd name="connsiteY2" fmla="*/ 12642 h 15482"/>
                    <a:gd name="connsiteX3" fmla="*/ 9780 w 28457"/>
                    <a:gd name="connsiteY3" fmla="*/ 12642 h 15482"/>
                    <a:gd name="connsiteX4" fmla="*/ 25062 w 28457"/>
                    <a:gd name="connsiteY4" fmla="*/ 6391 h 15482"/>
                    <a:gd name="connsiteX5" fmla="*/ 25062 w 28457"/>
                    <a:gd name="connsiteY5" fmla="*/ 6391 h 1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57" h="15482">
                      <a:moveTo>
                        <a:pt x="25062" y="6391"/>
                      </a:moveTo>
                      <a:cubicBezTo>
                        <a:pt x="25062" y="6391"/>
                        <a:pt x="17421" y="0"/>
                        <a:pt x="9780" y="0"/>
                      </a:cubicBezTo>
                      <a:cubicBezTo>
                        <a:pt x="9780" y="6391"/>
                        <a:pt x="-5501" y="12642"/>
                        <a:pt x="2139" y="12642"/>
                      </a:cubicBezTo>
                      <a:cubicBezTo>
                        <a:pt x="2139" y="12642"/>
                        <a:pt x="9780" y="19032"/>
                        <a:pt x="9780" y="12642"/>
                      </a:cubicBezTo>
                      <a:cubicBezTo>
                        <a:pt x="17559" y="12781"/>
                        <a:pt x="32703" y="12781"/>
                        <a:pt x="25062" y="6391"/>
                      </a:cubicBezTo>
                      <a:cubicBezTo>
                        <a:pt x="25062" y="6391"/>
                        <a:pt x="32703" y="12781"/>
                        <a:pt x="25062" y="63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7" name="Freihandform: Form 186">
                  <a:extLst>
                    <a:ext uri="{FF2B5EF4-FFF2-40B4-BE49-F238E27FC236}">
                      <a16:creationId xmlns:a16="http://schemas.microsoft.com/office/drawing/2014/main" id="{D2738A28-22A4-480F-877E-70DB5C0032C0}"/>
                    </a:ext>
                  </a:extLst>
                </p:cNvPr>
                <p:cNvSpPr/>
                <p:nvPr/>
              </p:nvSpPr>
              <p:spPr>
                <a:xfrm>
                  <a:off x="9661443" y="4804719"/>
                  <a:ext cx="36995" cy="17851"/>
                </a:xfrm>
                <a:custGeom>
                  <a:avLst/>
                  <a:gdLst>
                    <a:gd name="connsiteX0" fmla="*/ 7861 w 36995"/>
                    <a:gd name="connsiteY0" fmla="*/ 3542 h 17851"/>
                    <a:gd name="connsiteX1" fmla="*/ 7861 w 36995"/>
                    <a:gd name="connsiteY1" fmla="*/ 17852 h 17851"/>
                    <a:gd name="connsiteX2" fmla="*/ 35089 w 36995"/>
                    <a:gd name="connsiteY2" fmla="*/ 13128 h 17851"/>
                    <a:gd name="connsiteX3" fmla="*/ 28282 w 36995"/>
                    <a:gd name="connsiteY3" fmla="*/ 3542 h 17851"/>
                    <a:gd name="connsiteX4" fmla="*/ 7861 w 36995"/>
                    <a:gd name="connsiteY4" fmla="*/ 3542 h 17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5" h="17851">
                      <a:moveTo>
                        <a:pt x="7861" y="3542"/>
                      </a:moveTo>
                      <a:cubicBezTo>
                        <a:pt x="1053" y="8266"/>
                        <a:pt x="-5754" y="17852"/>
                        <a:pt x="7861" y="17852"/>
                      </a:cubicBezTo>
                      <a:cubicBezTo>
                        <a:pt x="21475" y="17852"/>
                        <a:pt x="28282" y="17852"/>
                        <a:pt x="35089" y="13128"/>
                      </a:cubicBezTo>
                      <a:cubicBezTo>
                        <a:pt x="41897" y="13128"/>
                        <a:pt x="28282" y="8405"/>
                        <a:pt x="28282" y="3542"/>
                      </a:cubicBezTo>
                      <a:cubicBezTo>
                        <a:pt x="21475" y="-1181"/>
                        <a:pt x="14668" y="-1181"/>
                        <a:pt x="7861" y="354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8" name="Freihandform: Form 187">
                  <a:extLst>
                    <a:ext uri="{FF2B5EF4-FFF2-40B4-BE49-F238E27FC236}">
                      <a16:creationId xmlns:a16="http://schemas.microsoft.com/office/drawing/2014/main" id="{F9349BE1-6D31-4CB7-8637-661E70719227}"/>
                    </a:ext>
                  </a:extLst>
                </p:cNvPr>
                <p:cNvSpPr/>
                <p:nvPr/>
              </p:nvSpPr>
              <p:spPr>
                <a:xfrm>
                  <a:off x="9684307" y="4793952"/>
                  <a:ext cx="55326" cy="25142"/>
                </a:xfrm>
                <a:custGeom>
                  <a:avLst/>
                  <a:gdLst>
                    <a:gd name="connsiteX0" fmla="*/ 7085 w 55326"/>
                    <a:gd name="connsiteY0" fmla="*/ 0 h 25142"/>
                    <a:gd name="connsiteX1" fmla="*/ 0 w 55326"/>
                    <a:gd name="connsiteY1" fmla="*/ 5696 h 25142"/>
                    <a:gd name="connsiteX2" fmla="*/ 14309 w 55326"/>
                    <a:gd name="connsiteY2" fmla="*/ 11392 h 25142"/>
                    <a:gd name="connsiteX3" fmla="*/ 14309 w 55326"/>
                    <a:gd name="connsiteY3" fmla="*/ 17088 h 25142"/>
                    <a:gd name="connsiteX4" fmla="*/ 50012 w 55326"/>
                    <a:gd name="connsiteY4" fmla="*/ 22784 h 25142"/>
                    <a:gd name="connsiteX5" fmla="*/ 50012 w 55326"/>
                    <a:gd name="connsiteY5" fmla="*/ 5557 h 25142"/>
                    <a:gd name="connsiteX6" fmla="*/ 7085 w 55326"/>
                    <a:gd name="connsiteY6" fmla="*/ 0 h 25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26" h="25142">
                      <a:moveTo>
                        <a:pt x="7085" y="0"/>
                      </a:moveTo>
                      <a:cubicBezTo>
                        <a:pt x="0" y="0"/>
                        <a:pt x="0" y="0"/>
                        <a:pt x="0" y="5696"/>
                      </a:cubicBezTo>
                      <a:cubicBezTo>
                        <a:pt x="0" y="5696"/>
                        <a:pt x="14309" y="5696"/>
                        <a:pt x="14309" y="11392"/>
                      </a:cubicBezTo>
                      <a:lnTo>
                        <a:pt x="14309" y="17088"/>
                      </a:lnTo>
                      <a:cubicBezTo>
                        <a:pt x="14309" y="22784"/>
                        <a:pt x="42927" y="28479"/>
                        <a:pt x="50012" y="22784"/>
                      </a:cubicBezTo>
                      <a:cubicBezTo>
                        <a:pt x="57098" y="17088"/>
                        <a:pt x="57098" y="11392"/>
                        <a:pt x="50012" y="5557"/>
                      </a:cubicBezTo>
                      <a:cubicBezTo>
                        <a:pt x="35704" y="5696"/>
                        <a:pt x="21394" y="5696"/>
                        <a:pt x="7085"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89" name="Freihandform: Form 188">
                  <a:extLst>
                    <a:ext uri="{FF2B5EF4-FFF2-40B4-BE49-F238E27FC236}">
                      <a16:creationId xmlns:a16="http://schemas.microsoft.com/office/drawing/2014/main" id="{07E0992D-BC41-488C-B01B-690C5A003FAF}"/>
                    </a:ext>
                  </a:extLst>
                </p:cNvPr>
                <p:cNvSpPr/>
                <p:nvPr/>
              </p:nvSpPr>
              <p:spPr>
                <a:xfrm>
                  <a:off x="9750990" y="4803538"/>
                  <a:ext cx="76268" cy="13845"/>
                </a:xfrm>
                <a:custGeom>
                  <a:avLst/>
                  <a:gdLst>
                    <a:gd name="connsiteX0" fmla="*/ 12642 w 76268"/>
                    <a:gd name="connsiteY0" fmla="*/ 0 h 13845"/>
                    <a:gd name="connsiteX1" fmla="*/ 0 w 76268"/>
                    <a:gd name="connsiteY1" fmla="*/ 9586 h 13845"/>
                    <a:gd name="connsiteX2" fmla="*/ 76269 w 76268"/>
                    <a:gd name="connsiteY2" fmla="*/ 9586 h 13845"/>
                    <a:gd name="connsiteX3" fmla="*/ 57237 w 76268"/>
                    <a:gd name="connsiteY3" fmla="*/ 9586 h 13845"/>
                    <a:gd name="connsiteX4" fmla="*/ 12642 w 76268"/>
                    <a:gd name="connsiteY4" fmla="*/ 0 h 13845"/>
                    <a:gd name="connsiteX5" fmla="*/ 12642 w 76268"/>
                    <a:gd name="connsiteY5" fmla="*/ 0 h 1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68" h="13845">
                      <a:moveTo>
                        <a:pt x="12642" y="0"/>
                      </a:moveTo>
                      <a:cubicBezTo>
                        <a:pt x="12642" y="0"/>
                        <a:pt x="0" y="4723"/>
                        <a:pt x="0" y="9586"/>
                      </a:cubicBezTo>
                      <a:cubicBezTo>
                        <a:pt x="0" y="9586"/>
                        <a:pt x="69878" y="19171"/>
                        <a:pt x="76269" y="9586"/>
                      </a:cubicBezTo>
                      <a:cubicBezTo>
                        <a:pt x="76269" y="4862"/>
                        <a:pt x="57237" y="9586"/>
                        <a:pt x="57237" y="9586"/>
                      </a:cubicBezTo>
                      <a:cubicBezTo>
                        <a:pt x="44456" y="9447"/>
                        <a:pt x="25423" y="4723"/>
                        <a:pt x="12642" y="0"/>
                      </a:cubicBezTo>
                      <a:cubicBezTo>
                        <a:pt x="12642" y="0"/>
                        <a:pt x="19033" y="0"/>
                        <a:pt x="12642"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0" name="Freihandform: Form 189">
                  <a:extLst>
                    <a:ext uri="{FF2B5EF4-FFF2-40B4-BE49-F238E27FC236}">
                      <a16:creationId xmlns:a16="http://schemas.microsoft.com/office/drawing/2014/main" id="{80BDBBF7-7020-4B4D-8829-83E544F66744}"/>
                    </a:ext>
                  </a:extLst>
                </p:cNvPr>
                <p:cNvSpPr/>
                <p:nvPr/>
              </p:nvSpPr>
              <p:spPr>
                <a:xfrm>
                  <a:off x="9731958" y="4841603"/>
                  <a:ext cx="51881" cy="27995"/>
                </a:xfrm>
                <a:custGeom>
                  <a:avLst/>
                  <a:gdLst>
                    <a:gd name="connsiteX0" fmla="*/ 0 w 51881"/>
                    <a:gd name="connsiteY0" fmla="*/ 0 h 27995"/>
                    <a:gd name="connsiteX1" fmla="*/ 48485 w 51881"/>
                    <a:gd name="connsiteY1" fmla="*/ 25423 h 27995"/>
                    <a:gd name="connsiteX2" fmla="*/ 0 w 51881"/>
                    <a:gd name="connsiteY2" fmla="*/ 0 h 27995"/>
                  </a:gdLst>
                  <a:ahLst/>
                  <a:cxnLst>
                    <a:cxn ang="0">
                      <a:pos x="connsiteX0" y="connsiteY0"/>
                    </a:cxn>
                    <a:cxn ang="0">
                      <a:pos x="connsiteX1" y="connsiteY1"/>
                    </a:cxn>
                    <a:cxn ang="0">
                      <a:pos x="connsiteX2" y="connsiteY2"/>
                    </a:cxn>
                  </a:cxnLst>
                  <a:rect l="l" t="t" r="r" b="b"/>
                  <a:pathLst>
                    <a:path w="51881" h="27995">
                      <a:moveTo>
                        <a:pt x="0" y="0"/>
                      </a:moveTo>
                      <a:cubicBezTo>
                        <a:pt x="6113" y="0"/>
                        <a:pt x="42372" y="38065"/>
                        <a:pt x="48485" y="25423"/>
                      </a:cubicBezTo>
                      <a:cubicBezTo>
                        <a:pt x="66683" y="6391"/>
                        <a:pt x="6113" y="0"/>
                        <a:pt x="0"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1" name="Freihandform: Form 190">
                  <a:extLst>
                    <a:ext uri="{FF2B5EF4-FFF2-40B4-BE49-F238E27FC236}">
                      <a16:creationId xmlns:a16="http://schemas.microsoft.com/office/drawing/2014/main" id="{3C840CA5-3691-43F9-872C-F9F8C213DDA0}"/>
                    </a:ext>
                  </a:extLst>
                </p:cNvPr>
                <p:cNvSpPr/>
                <p:nvPr/>
              </p:nvSpPr>
              <p:spPr>
                <a:xfrm>
                  <a:off x="9958738" y="4641414"/>
                  <a:ext cx="24732" cy="16408"/>
                </a:xfrm>
                <a:custGeom>
                  <a:avLst/>
                  <a:gdLst>
                    <a:gd name="connsiteX0" fmla="*/ 11474 w 24732"/>
                    <a:gd name="connsiteY0" fmla="*/ 14309 h 16408"/>
                    <a:gd name="connsiteX1" fmla="*/ 17864 w 24732"/>
                    <a:gd name="connsiteY1" fmla="*/ 0 h 16408"/>
                    <a:gd name="connsiteX2" fmla="*/ 11474 w 24732"/>
                    <a:gd name="connsiteY2" fmla="*/ 14309 h 16408"/>
                    <a:gd name="connsiteX3" fmla="*/ 11474 w 24732"/>
                    <a:gd name="connsiteY3" fmla="*/ 14309 h 16408"/>
                  </a:gdLst>
                  <a:ahLst/>
                  <a:cxnLst>
                    <a:cxn ang="0">
                      <a:pos x="connsiteX0" y="connsiteY0"/>
                    </a:cxn>
                    <a:cxn ang="0">
                      <a:pos x="connsiteX1" y="connsiteY1"/>
                    </a:cxn>
                    <a:cxn ang="0">
                      <a:pos x="connsiteX2" y="connsiteY2"/>
                    </a:cxn>
                    <a:cxn ang="0">
                      <a:pos x="connsiteX3" y="connsiteY3"/>
                    </a:cxn>
                  </a:cxnLst>
                  <a:rect l="l" t="t" r="r" b="b"/>
                  <a:pathLst>
                    <a:path w="24732" h="16408">
                      <a:moveTo>
                        <a:pt x="11474" y="14309"/>
                      </a:moveTo>
                      <a:cubicBezTo>
                        <a:pt x="-7558" y="19033"/>
                        <a:pt x="-1168" y="0"/>
                        <a:pt x="17864" y="0"/>
                      </a:cubicBezTo>
                      <a:cubicBezTo>
                        <a:pt x="30507" y="0"/>
                        <a:pt x="24116" y="14309"/>
                        <a:pt x="11474" y="14309"/>
                      </a:cubicBezTo>
                      <a:cubicBezTo>
                        <a:pt x="5084" y="19033"/>
                        <a:pt x="24116" y="14309"/>
                        <a:pt x="11474" y="1430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2" name="Freihandform: Form 191">
                  <a:extLst>
                    <a:ext uri="{FF2B5EF4-FFF2-40B4-BE49-F238E27FC236}">
                      <a16:creationId xmlns:a16="http://schemas.microsoft.com/office/drawing/2014/main" id="{FB1C6DFF-ECD2-47C0-B576-62F9C501196C}"/>
                    </a:ext>
                  </a:extLst>
                </p:cNvPr>
                <p:cNvSpPr/>
                <p:nvPr/>
              </p:nvSpPr>
              <p:spPr>
                <a:xfrm>
                  <a:off x="10012156" y="4631968"/>
                  <a:ext cx="91561" cy="28618"/>
                </a:xfrm>
                <a:custGeom>
                  <a:avLst/>
                  <a:gdLst>
                    <a:gd name="connsiteX0" fmla="*/ 8902 w 91561"/>
                    <a:gd name="connsiteY0" fmla="*/ 17087 h 28618"/>
                    <a:gd name="connsiteX1" fmla="*/ 2651 w 91561"/>
                    <a:gd name="connsiteY1" fmla="*/ 5696 h 28618"/>
                    <a:gd name="connsiteX2" fmla="*/ 28074 w 91561"/>
                    <a:gd name="connsiteY2" fmla="*/ 0 h 28618"/>
                    <a:gd name="connsiteX3" fmla="*/ 78919 w 91561"/>
                    <a:gd name="connsiteY3" fmla="*/ 11392 h 28618"/>
                    <a:gd name="connsiteX4" fmla="*/ 91562 w 91561"/>
                    <a:gd name="connsiteY4" fmla="*/ 28618 h 28618"/>
                    <a:gd name="connsiteX5" fmla="*/ 66139 w 91561"/>
                    <a:gd name="connsiteY5" fmla="*/ 17226 h 28618"/>
                    <a:gd name="connsiteX6" fmla="*/ 8902 w 91561"/>
                    <a:gd name="connsiteY6" fmla="*/ 17087 h 28618"/>
                    <a:gd name="connsiteX7" fmla="*/ 8902 w 91561"/>
                    <a:gd name="connsiteY7" fmla="*/ 17087 h 28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61" h="28618">
                      <a:moveTo>
                        <a:pt x="8902" y="17087"/>
                      </a:moveTo>
                      <a:cubicBezTo>
                        <a:pt x="2651" y="17087"/>
                        <a:pt x="-3740" y="11392"/>
                        <a:pt x="2651" y="5696"/>
                      </a:cubicBezTo>
                      <a:cubicBezTo>
                        <a:pt x="8902" y="0"/>
                        <a:pt x="15293" y="0"/>
                        <a:pt x="28074" y="0"/>
                      </a:cubicBezTo>
                      <a:cubicBezTo>
                        <a:pt x="47106" y="0"/>
                        <a:pt x="59887" y="0"/>
                        <a:pt x="78919" y="11392"/>
                      </a:cubicBezTo>
                      <a:cubicBezTo>
                        <a:pt x="85171" y="17087"/>
                        <a:pt x="91562" y="22783"/>
                        <a:pt x="91562" y="28618"/>
                      </a:cubicBezTo>
                      <a:cubicBezTo>
                        <a:pt x="85171" y="28618"/>
                        <a:pt x="66139" y="17226"/>
                        <a:pt x="66139" y="17226"/>
                      </a:cubicBezTo>
                      <a:cubicBezTo>
                        <a:pt x="46967" y="11392"/>
                        <a:pt x="27935" y="17087"/>
                        <a:pt x="8902" y="17087"/>
                      </a:cubicBezTo>
                      <a:cubicBezTo>
                        <a:pt x="2651" y="17087"/>
                        <a:pt x="15293" y="17087"/>
                        <a:pt x="8902" y="1708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3" name="Freihandform: Form 192">
                  <a:extLst>
                    <a:ext uri="{FF2B5EF4-FFF2-40B4-BE49-F238E27FC236}">
                      <a16:creationId xmlns:a16="http://schemas.microsoft.com/office/drawing/2014/main" id="{0645883A-F258-4F40-A704-884648D500B1}"/>
                    </a:ext>
                  </a:extLst>
                </p:cNvPr>
                <p:cNvSpPr/>
                <p:nvPr/>
              </p:nvSpPr>
              <p:spPr>
                <a:xfrm>
                  <a:off x="9705737" y="4484876"/>
                  <a:ext cx="235578" cy="242254"/>
                </a:xfrm>
                <a:custGeom>
                  <a:avLst/>
                  <a:gdLst>
                    <a:gd name="connsiteX0" fmla="*/ 94432 w 235578"/>
                    <a:gd name="connsiteY0" fmla="*/ 214748 h 242254"/>
                    <a:gd name="connsiteX1" fmla="*/ 101934 w 235578"/>
                    <a:gd name="connsiteY1" fmla="*/ 200994 h 242254"/>
                    <a:gd name="connsiteX2" fmla="*/ 79568 w 235578"/>
                    <a:gd name="connsiteY2" fmla="*/ 187241 h 242254"/>
                    <a:gd name="connsiteX3" fmla="*/ 87069 w 235578"/>
                    <a:gd name="connsiteY3" fmla="*/ 152787 h 242254"/>
                    <a:gd name="connsiteX4" fmla="*/ 57201 w 235578"/>
                    <a:gd name="connsiteY4" fmla="*/ 152787 h 242254"/>
                    <a:gd name="connsiteX5" fmla="*/ 57201 w 235578"/>
                    <a:gd name="connsiteY5" fmla="*/ 194048 h 242254"/>
                    <a:gd name="connsiteX6" fmla="*/ 57201 w 235578"/>
                    <a:gd name="connsiteY6" fmla="*/ 200994 h 242254"/>
                    <a:gd name="connsiteX7" fmla="*/ 49699 w 235578"/>
                    <a:gd name="connsiteY7" fmla="*/ 228501 h 242254"/>
                    <a:gd name="connsiteX8" fmla="*/ 27332 w 235578"/>
                    <a:gd name="connsiteY8" fmla="*/ 242254 h 242254"/>
                    <a:gd name="connsiteX9" fmla="*/ 27332 w 235578"/>
                    <a:gd name="connsiteY9" fmla="*/ 207801 h 242254"/>
                    <a:gd name="connsiteX10" fmla="*/ 12328 w 235578"/>
                    <a:gd name="connsiteY10" fmla="*/ 173348 h 242254"/>
                    <a:gd name="connsiteX11" fmla="*/ 4826 w 235578"/>
                    <a:gd name="connsiteY11" fmla="*/ 138895 h 242254"/>
                    <a:gd name="connsiteX12" fmla="*/ 19691 w 235578"/>
                    <a:gd name="connsiteY12" fmla="*/ 90689 h 242254"/>
                    <a:gd name="connsiteX13" fmla="*/ 64424 w 235578"/>
                    <a:gd name="connsiteY13" fmla="*/ 28729 h 242254"/>
                    <a:gd name="connsiteX14" fmla="*/ 79290 w 235578"/>
                    <a:gd name="connsiteY14" fmla="*/ 8029 h 242254"/>
                    <a:gd name="connsiteX15" fmla="*/ 131386 w 235578"/>
                    <a:gd name="connsiteY15" fmla="*/ 21783 h 242254"/>
                    <a:gd name="connsiteX16" fmla="*/ 183482 w 235578"/>
                    <a:gd name="connsiteY16" fmla="*/ 21783 h 242254"/>
                    <a:gd name="connsiteX17" fmla="*/ 235579 w 235578"/>
                    <a:gd name="connsiteY17" fmla="*/ 1083 h 242254"/>
                    <a:gd name="connsiteX18" fmla="*/ 213212 w 235578"/>
                    <a:gd name="connsiteY18" fmla="*/ 35536 h 242254"/>
                    <a:gd name="connsiteX19" fmla="*/ 168479 w 235578"/>
                    <a:gd name="connsiteY19" fmla="*/ 42482 h 242254"/>
                    <a:gd name="connsiteX20" fmla="*/ 71649 w 235578"/>
                    <a:gd name="connsiteY20" fmla="*/ 42482 h 242254"/>
                    <a:gd name="connsiteX21" fmla="*/ 41919 w 235578"/>
                    <a:gd name="connsiteY21" fmla="*/ 63182 h 242254"/>
                    <a:gd name="connsiteX22" fmla="*/ 71649 w 235578"/>
                    <a:gd name="connsiteY22" fmla="*/ 97635 h 242254"/>
                    <a:gd name="connsiteX23" fmla="*/ 94016 w 235578"/>
                    <a:gd name="connsiteY23" fmla="*/ 90689 h 242254"/>
                    <a:gd name="connsiteX24" fmla="*/ 146112 w 235578"/>
                    <a:gd name="connsiteY24" fmla="*/ 83743 h 242254"/>
                    <a:gd name="connsiteX25" fmla="*/ 123745 w 235578"/>
                    <a:gd name="connsiteY25" fmla="*/ 104442 h 242254"/>
                    <a:gd name="connsiteX26" fmla="*/ 94016 w 235578"/>
                    <a:gd name="connsiteY26" fmla="*/ 111388 h 242254"/>
                    <a:gd name="connsiteX27" fmla="*/ 101517 w 235578"/>
                    <a:gd name="connsiteY27" fmla="*/ 132088 h 242254"/>
                    <a:gd name="connsiteX28" fmla="*/ 131247 w 235578"/>
                    <a:gd name="connsiteY28" fmla="*/ 166541 h 242254"/>
                    <a:gd name="connsiteX29" fmla="*/ 138749 w 235578"/>
                    <a:gd name="connsiteY29" fmla="*/ 187241 h 242254"/>
                    <a:gd name="connsiteX30" fmla="*/ 161115 w 235578"/>
                    <a:gd name="connsiteY30" fmla="*/ 200994 h 242254"/>
                    <a:gd name="connsiteX31" fmla="*/ 94432 w 235578"/>
                    <a:gd name="connsiteY31" fmla="*/ 214748 h 242254"/>
                    <a:gd name="connsiteX32" fmla="*/ 94432 w 235578"/>
                    <a:gd name="connsiteY32" fmla="*/ 214748 h 24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5578" h="242254">
                      <a:moveTo>
                        <a:pt x="94432" y="214748"/>
                      </a:moveTo>
                      <a:cubicBezTo>
                        <a:pt x="94432" y="207801"/>
                        <a:pt x="101934" y="207801"/>
                        <a:pt x="101934" y="200994"/>
                      </a:cubicBezTo>
                      <a:cubicBezTo>
                        <a:pt x="101934" y="194048"/>
                        <a:pt x="87069" y="187241"/>
                        <a:pt x="79568" y="187241"/>
                      </a:cubicBezTo>
                      <a:cubicBezTo>
                        <a:pt x="72065" y="173487"/>
                        <a:pt x="87069" y="166541"/>
                        <a:pt x="87069" y="152787"/>
                      </a:cubicBezTo>
                      <a:cubicBezTo>
                        <a:pt x="87069" y="145841"/>
                        <a:pt x="57201" y="145841"/>
                        <a:pt x="57201" y="152787"/>
                      </a:cubicBezTo>
                      <a:cubicBezTo>
                        <a:pt x="49699" y="166541"/>
                        <a:pt x="57201" y="180294"/>
                        <a:pt x="57201" y="194048"/>
                      </a:cubicBezTo>
                      <a:cubicBezTo>
                        <a:pt x="49699" y="194048"/>
                        <a:pt x="57201" y="200994"/>
                        <a:pt x="57201" y="200994"/>
                      </a:cubicBezTo>
                      <a:cubicBezTo>
                        <a:pt x="57201" y="214748"/>
                        <a:pt x="49699" y="221694"/>
                        <a:pt x="49699" y="228501"/>
                      </a:cubicBezTo>
                      <a:cubicBezTo>
                        <a:pt x="42197" y="242254"/>
                        <a:pt x="49699" y="242254"/>
                        <a:pt x="27332" y="242254"/>
                      </a:cubicBezTo>
                      <a:cubicBezTo>
                        <a:pt x="4965" y="242254"/>
                        <a:pt x="27332" y="214748"/>
                        <a:pt x="27332" y="207801"/>
                      </a:cubicBezTo>
                      <a:cubicBezTo>
                        <a:pt x="34834" y="200855"/>
                        <a:pt x="27332" y="180294"/>
                        <a:pt x="12328" y="173348"/>
                      </a:cubicBezTo>
                      <a:cubicBezTo>
                        <a:pt x="-2536" y="166402"/>
                        <a:pt x="-2536" y="152649"/>
                        <a:pt x="4826" y="138895"/>
                      </a:cubicBezTo>
                      <a:cubicBezTo>
                        <a:pt x="12328" y="125142"/>
                        <a:pt x="12328" y="104442"/>
                        <a:pt x="19691" y="90689"/>
                      </a:cubicBezTo>
                      <a:cubicBezTo>
                        <a:pt x="34695" y="69989"/>
                        <a:pt x="27193" y="28729"/>
                        <a:pt x="64424" y="28729"/>
                      </a:cubicBezTo>
                      <a:cubicBezTo>
                        <a:pt x="71927" y="28729"/>
                        <a:pt x="64424" y="8029"/>
                        <a:pt x="79290" y="8029"/>
                      </a:cubicBezTo>
                      <a:cubicBezTo>
                        <a:pt x="101656" y="14975"/>
                        <a:pt x="116521" y="21783"/>
                        <a:pt x="131386" y="21783"/>
                      </a:cubicBezTo>
                      <a:cubicBezTo>
                        <a:pt x="146389" y="21783"/>
                        <a:pt x="168617" y="28729"/>
                        <a:pt x="183482" y="21783"/>
                      </a:cubicBezTo>
                      <a:cubicBezTo>
                        <a:pt x="190984" y="21783"/>
                        <a:pt x="235579" y="-5724"/>
                        <a:pt x="235579" y="1083"/>
                      </a:cubicBezTo>
                      <a:cubicBezTo>
                        <a:pt x="235579" y="8029"/>
                        <a:pt x="213212" y="28590"/>
                        <a:pt x="213212" y="35536"/>
                      </a:cubicBezTo>
                      <a:cubicBezTo>
                        <a:pt x="198208" y="42482"/>
                        <a:pt x="183343" y="42482"/>
                        <a:pt x="168479" y="42482"/>
                      </a:cubicBezTo>
                      <a:cubicBezTo>
                        <a:pt x="131247" y="35536"/>
                        <a:pt x="101517" y="42482"/>
                        <a:pt x="71649" y="42482"/>
                      </a:cubicBezTo>
                      <a:cubicBezTo>
                        <a:pt x="49282" y="35536"/>
                        <a:pt x="41919" y="42482"/>
                        <a:pt x="41919" y="63182"/>
                      </a:cubicBezTo>
                      <a:cubicBezTo>
                        <a:pt x="41919" y="83882"/>
                        <a:pt x="64286" y="83882"/>
                        <a:pt x="71649" y="97635"/>
                      </a:cubicBezTo>
                      <a:cubicBezTo>
                        <a:pt x="79150" y="111388"/>
                        <a:pt x="86652" y="97635"/>
                        <a:pt x="94016" y="90689"/>
                      </a:cubicBezTo>
                      <a:cubicBezTo>
                        <a:pt x="94016" y="83743"/>
                        <a:pt x="146112" y="76935"/>
                        <a:pt x="146112" y="83743"/>
                      </a:cubicBezTo>
                      <a:cubicBezTo>
                        <a:pt x="153614" y="83743"/>
                        <a:pt x="131108" y="104442"/>
                        <a:pt x="123745" y="104442"/>
                      </a:cubicBezTo>
                      <a:cubicBezTo>
                        <a:pt x="108880" y="118196"/>
                        <a:pt x="108880" y="118196"/>
                        <a:pt x="94016" y="111388"/>
                      </a:cubicBezTo>
                      <a:lnTo>
                        <a:pt x="101517" y="132088"/>
                      </a:lnTo>
                      <a:cubicBezTo>
                        <a:pt x="109019" y="139034"/>
                        <a:pt x="131247" y="152787"/>
                        <a:pt x="131247" y="166541"/>
                      </a:cubicBezTo>
                      <a:cubicBezTo>
                        <a:pt x="131247" y="173487"/>
                        <a:pt x="131247" y="180294"/>
                        <a:pt x="138749" y="187241"/>
                      </a:cubicBezTo>
                      <a:cubicBezTo>
                        <a:pt x="138749" y="187241"/>
                        <a:pt x="153753" y="200994"/>
                        <a:pt x="161115" y="200994"/>
                      </a:cubicBezTo>
                      <a:cubicBezTo>
                        <a:pt x="146528" y="207940"/>
                        <a:pt x="109297" y="221694"/>
                        <a:pt x="94432" y="214748"/>
                      </a:cubicBezTo>
                      <a:cubicBezTo>
                        <a:pt x="94432" y="207940"/>
                        <a:pt x="101795" y="221694"/>
                        <a:pt x="94432" y="21474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4" name="Freihandform: Form 193">
                  <a:extLst>
                    <a:ext uri="{FF2B5EF4-FFF2-40B4-BE49-F238E27FC236}">
                      <a16:creationId xmlns:a16="http://schemas.microsoft.com/office/drawing/2014/main" id="{F2894BA2-7265-4FC8-8B69-183FFF56D5C9}"/>
                    </a:ext>
                  </a:extLst>
                </p:cNvPr>
                <p:cNvSpPr/>
                <p:nvPr/>
              </p:nvSpPr>
              <p:spPr>
                <a:xfrm>
                  <a:off x="9989244" y="4479429"/>
                  <a:ext cx="43444" cy="85993"/>
                </a:xfrm>
                <a:custGeom>
                  <a:avLst/>
                  <a:gdLst>
                    <a:gd name="connsiteX0" fmla="*/ 17921 w 43444"/>
                    <a:gd name="connsiteY0" fmla="*/ 11392 h 85993"/>
                    <a:gd name="connsiteX1" fmla="*/ 17921 w 43444"/>
                    <a:gd name="connsiteY1" fmla="*/ 0 h 85993"/>
                    <a:gd name="connsiteX2" fmla="*/ 0 w 43444"/>
                    <a:gd name="connsiteY2" fmla="*/ 22922 h 85993"/>
                    <a:gd name="connsiteX3" fmla="*/ 5973 w 43444"/>
                    <a:gd name="connsiteY3" fmla="*/ 45845 h 85993"/>
                    <a:gd name="connsiteX4" fmla="*/ 11948 w 43444"/>
                    <a:gd name="connsiteY4" fmla="*/ 68767 h 85993"/>
                    <a:gd name="connsiteX5" fmla="*/ 29869 w 43444"/>
                    <a:gd name="connsiteY5" fmla="*/ 85994 h 85993"/>
                    <a:gd name="connsiteX6" fmla="*/ 23895 w 43444"/>
                    <a:gd name="connsiteY6" fmla="*/ 74602 h 85993"/>
                    <a:gd name="connsiteX7" fmla="*/ 17921 w 43444"/>
                    <a:gd name="connsiteY7" fmla="*/ 51679 h 85993"/>
                    <a:gd name="connsiteX8" fmla="*/ 41816 w 43444"/>
                    <a:gd name="connsiteY8" fmla="*/ 51679 h 85993"/>
                    <a:gd name="connsiteX9" fmla="*/ 29869 w 43444"/>
                    <a:gd name="connsiteY9" fmla="*/ 40288 h 85993"/>
                    <a:gd name="connsiteX10" fmla="*/ 35842 w 43444"/>
                    <a:gd name="connsiteY10" fmla="*/ 28896 h 85993"/>
                    <a:gd name="connsiteX11" fmla="*/ 11948 w 43444"/>
                    <a:gd name="connsiteY11" fmla="*/ 34592 h 85993"/>
                    <a:gd name="connsiteX12" fmla="*/ 17921 w 43444"/>
                    <a:gd name="connsiteY12" fmla="*/ 11392 h 85993"/>
                    <a:gd name="connsiteX13" fmla="*/ 17921 w 43444"/>
                    <a:gd name="connsiteY13" fmla="*/ 11392 h 8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44" h="85993">
                      <a:moveTo>
                        <a:pt x="17921" y="11392"/>
                      </a:moveTo>
                      <a:cubicBezTo>
                        <a:pt x="17921" y="5696"/>
                        <a:pt x="17921" y="5696"/>
                        <a:pt x="17921" y="0"/>
                      </a:cubicBezTo>
                      <a:cubicBezTo>
                        <a:pt x="11948" y="0"/>
                        <a:pt x="0" y="17226"/>
                        <a:pt x="0" y="22922"/>
                      </a:cubicBezTo>
                      <a:cubicBezTo>
                        <a:pt x="0" y="28618"/>
                        <a:pt x="5973" y="34314"/>
                        <a:pt x="5973" y="45845"/>
                      </a:cubicBezTo>
                      <a:cubicBezTo>
                        <a:pt x="5973" y="51540"/>
                        <a:pt x="5973" y="63071"/>
                        <a:pt x="11948" y="68767"/>
                      </a:cubicBezTo>
                      <a:lnTo>
                        <a:pt x="29869" y="85994"/>
                      </a:lnTo>
                      <a:lnTo>
                        <a:pt x="23895" y="74602"/>
                      </a:lnTo>
                      <a:cubicBezTo>
                        <a:pt x="17921" y="68906"/>
                        <a:pt x="17921" y="57375"/>
                        <a:pt x="17921" y="51679"/>
                      </a:cubicBezTo>
                      <a:cubicBezTo>
                        <a:pt x="17921" y="45983"/>
                        <a:pt x="41816" y="51679"/>
                        <a:pt x="41816" y="51679"/>
                      </a:cubicBezTo>
                      <a:cubicBezTo>
                        <a:pt x="47790" y="51679"/>
                        <a:pt x="35842" y="45983"/>
                        <a:pt x="29869" y="40288"/>
                      </a:cubicBezTo>
                      <a:cubicBezTo>
                        <a:pt x="29869" y="40288"/>
                        <a:pt x="35842" y="34592"/>
                        <a:pt x="35842" y="28896"/>
                      </a:cubicBezTo>
                      <a:cubicBezTo>
                        <a:pt x="41816" y="5974"/>
                        <a:pt x="18060" y="34592"/>
                        <a:pt x="11948" y="34592"/>
                      </a:cubicBezTo>
                      <a:cubicBezTo>
                        <a:pt x="11948" y="34314"/>
                        <a:pt x="23895" y="17088"/>
                        <a:pt x="17921" y="11392"/>
                      </a:cubicBezTo>
                      <a:cubicBezTo>
                        <a:pt x="17921" y="5696"/>
                        <a:pt x="23895" y="17088"/>
                        <a:pt x="17921" y="1139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5" name="Freihandform: Form 194">
                  <a:extLst>
                    <a:ext uri="{FF2B5EF4-FFF2-40B4-BE49-F238E27FC236}">
                      <a16:creationId xmlns:a16="http://schemas.microsoft.com/office/drawing/2014/main" id="{38E509B2-45D6-4365-990F-2AF0DEBB8D54}"/>
                    </a:ext>
                  </a:extLst>
                </p:cNvPr>
                <p:cNvSpPr/>
                <p:nvPr/>
              </p:nvSpPr>
              <p:spPr>
                <a:xfrm>
                  <a:off x="10021603" y="4460396"/>
                  <a:ext cx="11552" cy="19033"/>
                </a:xfrm>
                <a:custGeom>
                  <a:avLst/>
                  <a:gdLst>
                    <a:gd name="connsiteX0" fmla="*/ 2651 w 11552"/>
                    <a:gd name="connsiteY0" fmla="*/ 19033 h 19033"/>
                    <a:gd name="connsiteX1" fmla="*/ 8902 w 11552"/>
                    <a:gd name="connsiteY1" fmla="*/ 1 h 19033"/>
                    <a:gd name="connsiteX2" fmla="*/ 2651 w 11552"/>
                    <a:gd name="connsiteY2" fmla="*/ 19033 h 19033"/>
                  </a:gdLst>
                  <a:ahLst/>
                  <a:cxnLst>
                    <a:cxn ang="0">
                      <a:pos x="connsiteX0" y="connsiteY0"/>
                    </a:cxn>
                    <a:cxn ang="0">
                      <a:pos x="connsiteX1" y="connsiteY1"/>
                    </a:cxn>
                    <a:cxn ang="0">
                      <a:pos x="connsiteX2" y="connsiteY2"/>
                    </a:cxn>
                  </a:cxnLst>
                  <a:rect l="l" t="t" r="r" b="b"/>
                  <a:pathLst>
                    <a:path w="11552" h="19033">
                      <a:moveTo>
                        <a:pt x="2651" y="19033"/>
                      </a:moveTo>
                      <a:cubicBezTo>
                        <a:pt x="-3740" y="19033"/>
                        <a:pt x="2651" y="1"/>
                        <a:pt x="8902" y="1"/>
                      </a:cubicBezTo>
                      <a:cubicBezTo>
                        <a:pt x="15292" y="-138"/>
                        <a:pt x="8902" y="19033"/>
                        <a:pt x="2651" y="190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6" name="Freihandform: Form 195">
                  <a:extLst>
                    <a:ext uri="{FF2B5EF4-FFF2-40B4-BE49-F238E27FC236}">
                      <a16:creationId xmlns:a16="http://schemas.microsoft.com/office/drawing/2014/main" id="{0191F245-70B8-4250-B64F-199A45D573BD}"/>
                    </a:ext>
                  </a:extLst>
                </p:cNvPr>
                <p:cNvSpPr/>
                <p:nvPr/>
              </p:nvSpPr>
              <p:spPr>
                <a:xfrm>
                  <a:off x="10084546" y="4547294"/>
                  <a:ext cx="28618" cy="5703"/>
                </a:xfrm>
                <a:custGeom>
                  <a:avLst/>
                  <a:gdLst>
                    <a:gd name="connsiteX0" fmla="*/ 28618 w 28618"/>
                    <a:gd name="connsiteY0" fmla="*/ 3542 h 5703"/>
                    <a:gd name="connsiteX1" fmla="*/ 0 w 28618"/>
                    <a:gd name="connsiteY1" fmla="*/ 3542 h 5703"/>
                    <a:gd name="connsiteX2" fmla="*/ 28618 w 28618"/>
                    <a:gd name="connsiteY2" fmla="*/ 3542 h 5703"/>
                  </a:gdLst>
                  <a:ahLst/>
                  <a:cxnLst>
                    <a:cxn ang="0">
                      <a:pos x="connsiteX0" y="connsiteY0"/>
                    </a:cxn>
                    <a:cxn ang="0">
                      <a:pos x="connsiteX1" y="connsiteY1"/>
                    </a:cxn>
                    <a:cxn ang="0">
                      <a:pos x="connsiteX2" y="connsiteY2"/>
                    </a:cxn>
                  </a:cxnLst>
                  <a:rect l="l" t="t" r="r" b="b"/>
                  <a:pathLst>
                    <a:path w="28618" h="5703">
                      <a:moveTo>
                        <a:pt x="28618" y="3542"/>
                      </a:moveTo>
                      <a:cubicBezTo>
                        <a:pt x="28618" y="-1181"/>
                        <a:pt x="0" y="-1181"/>
                        <a:pt x="0" y="3542"/>
                      </a:cubicBezTo>
                      <a:cubicBezTo>
                        <a:pt x="139" y="3542"/>
                        <a:pt x="28618" y="8405"/>
                        <a:pt x="28618" y="354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7" name="Freihandform: Form 196">
                  <a:extLst>
                    <a:ext uri="{FF2B5EF4-FFF2-40B4-BE49-F238E27FC236}">
                      <a16:creationId xmlns:a16="http://schemas.microsoft.com/office/drawing/2014/main" id="{B180F8F3-C8A2-43DD-AFDA-4D35C3186081}"/>
                    </a:ext>
                  </a:extLst>
                </p:cNvPr>
                <p:cNvSpPr/>
                <p:nvPr/>
              </p:nvSpPr>
              <p:spPr>
                <a:xfrm>
                  <a:off x="10098616" y="4551166"/>
                  <a:ext cx="106165" cy="67495"/>
                </a:xfrm>
                <a:custGeom>
                  <a:avLst/>
                  <a:gdLst>
                    <a:gd name="connsiteX0" fmla="*/ 55808 w 106165"/>
                    <a:gd name="connsiteY0" fmla="*/ 1893 h 67495"/>
                    <a:gd name="connsiteX1" fmla="*/ 19688 w 106165"/>
                    <a:gd name="connsiteY1" fmla="*/ 15785 h 67495"/>
                    <a:gd name="connsiteX2" fmla="*/ 13576 w 106165"/>
                    <a:gd name="connsiteY2" fmla="*/ 22732 h 67495"/>
                    <a:gd name="connsiteX3" fmla="*/ 1628 w 106165"/>
                    <a:gd name="connsiteY3" fmla="*/ 15785 h 67495"/>
                    <a:gd name="connsiteX4" fmla="*/ 13576 w 106165"/>
                    <a:gd name="connsiteY4" fmla="*/ 36624 h 67495"/>
                    <a:gd name="connsiteX5" fmla="*/ 31636 w 106165"/>
                    <a:gd name="connsiteY5" fmla="*/ 43570 h 67495"/>
                    <a:gd name="connsiteX6" fmla="*/ 49696 w 106165"/>
                    <a:gd name="connsiteY6" fmla="*/ 64409 h 67495"/>
                    <a:gd name="connsiteX7" fmla="*/ 79842 w 106165"/>
                    <a:gd name="connsiteY7" fmla="*/ 64409 h 67495"/>
                    <a:gd name="connsiteX8" fmla="*/ 104015 w 106165"/>
                    <a:gd name="connsiteY8" fmla="*/ 29678 h 67495"/>
                    <a:gd name="connsiteX9" fmla="*/ 85955 w 106165"/>
                    <a:gd name="connsiteY9" fmla="*/ 8839 h 67495"/>
                    <a:gd name="connsiteX10" fmla="*/ 55808 w 106165"/>
                    <a:gd name="connsiteY10" fmla="*/ 1893 h 67495"/>
                    <a:gd name="connsiteX11" fmla="*/ 55808 w 106165"/>
                    <a:gd name="connsiteY11" fmla="*/ 1893 h 6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165" h="67495">
                      <a:moveTo>
                        <a:pt x="55808" y="1893"/>
                      </a:moveTo>
                      <a:cubicBezTo>
                        <a:pt x="49696" y="-5053"/>
                        <a:pt x="25662" y="8839"/>
                        <a:pt x="19688" y="15785"/>
                      </a:cubicBezTo>
                      <a:cubicBezTo>
                        <a:pt x="13576" y="15785"/>
                        <a:pt x="19688" y="15785"/>
                        <a:pt x="13576" y="22732"/>
                      </a:cubicBezTo>
                      <a:cubicBezTo>
                        <a:pt x="13576" y="29678"/>
                        <a:pt x="7602" y="15785"/>
                        <a:pt x="1628" y="15785"/>
                      </a:cubicBezTo>
                      <a:cubicBezTo>
                        <a:pt x="-4345" y="15785"/>
                        <a:pt x="7602" y="36624"/>
                        <a:pt x="13576" y="36624"/>
                      </a:cubicBezTo>
                      <a:cubicBezTo>
                        <a:pt x="13576" y="43570"/>
                        <a:pt x="25662" y="43570"/>
                        <a:pt x="31636" y="43570"/>
                      </a:cubicBezTo>
                      <a:cubicBezTo>
                        <a:pt x="43583" y="43570"/>
                        <a:pt x="43583" y="57463"/>
                        <a:pt x="49696" y="64409"/>
                      </a:cubicBezTo>
                      <a:cubicBezTo>
                        <a:pt x="55808" y="71355"/>
                        <a:pt x="73868" y="64409"/>
                        <a:pt x="79842" y="64409"/>
                      </a:cubicBezTo>
                      <a:cubicBezTo>
                        <a:pt x="104015" y="64409"/>
                        <a:pt x="109988" y="50516"/>
                        <a:pt x="104015" y="29678"/>
                      </a:cubicBezTo>
                      <a:cubicBezTo>
                        <a:pt x="104015" y="15785"/>
                        <a:pt x="98041" y="8839"/>
                        <a:pt x="85955" y="8839"/>
                      </a:cubicBezTo>
                      <a:cubicBezTo>
                        <a:pt x="79842" y="8839"/>
                        <a:pt x="67756" y="1893"/>
                        <a:pt x="55808" y="1893"/>
                      </a:cubicBezTo>
                      <a:cubicBezTo>
                        <a:pt x="55808" y="1893"/>
                        <a:pt x="61782" y="1893"/>
                        <a:pt x="55808" y="189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8" name="Freihandform: Form 197">
                  <a:extLst>
                    <a:ext uri="{FF2B5EF4-FFF2-40B4-BE49-F238E27FC236}">
                      <a16:creationId xmlns:a16="http://schemas.microsoft.com/office/drawing/2014/main" id="{5990064C-98EB-4FA3-AE45-35D064F4CCAD}"/>
                    </a:ext>
                  </a:extLst>
                </p:cNvPr>
                <p:cNvSpPr/>
                <p:nvPr/>
              </p:nvSpPr>
              <p:spPr>
                <a:xfrm>
                  <a:off x="10647047" y="4679350"/>
                  <a:ext cx="127867" cy="62959"/>
                </a:xfrm>
                <a:custGeom>
                  <a:avLst/>
                  <a:gdLst>
                    <a:gd name="connsiteX0" fmla="*/ 0 w 127867"/>
                    <a:gd name="connsiteY0" fmla="*/ 41529 h 62959"/>
                    <a:gd name="connsiteX1" fmla="*/ 38065 w 127867"/>
                    <a:gd name="connsiteY1" fmla="*/ 41529 h 62959"/>
                    <a:gd name="connsiteX2" fmla="*/ 57098 w 127867"/>
                    <a:gd name="connsiteY2" fmla="*/ 35138 h 62959"/>
                    <a:gd name="connsiteX3" fmla="*/ 82520 w 127867"/>
                    <a:gd name="connsiteY3" fmla="*/ 35138 h 62959"/>
                    <a:gd name="connsiteX4" fmla="*/ 88772 w 127867"/>
                    <a:gd name="connsiteY4" fmla="*/ 22357 h 62959"/>
                    <a:gd name="connsiteX5" fmla="*/ 107805 w 127867"/>
                    <a:gd name="connsiteY5" fmla="*/ 9715 h 62959"/>
                    <a:gd name="connsiteX6" fmla="*/ 126837 w 127867"/>
                    <a:gd name="connsiteY6" fmla="*/ 16106 h 62959"/>
                    <a:gd name="connsiteX7" fmla="*/ 114195 w 127867"/>
                    <a:gd name="connsiteY7" fmla="*/ 35138 h 62959"/>
                    <a:gd name="connsiteX8" fmla="*/ 69740 w 127867"/>
                    <a:gd name="connsiteY8" fmla="*/ 60561 h 62959"/>
                    <a:gd name="connsiteX9" fmla="*/ 0 w 127867"/>
                    <a:gd name="connsiteY9" fmla="*/ 41529 h 62959"/>
                    <a:gd name="connsiteX10" fmla="*/ 0 w 127867"/>
                    <a:gd name="connsiteY10" fmla="*/ 41529 h 6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867" h="62959">
                      <a:moveTo>
                        <a:pt x="0" y="41529"/>
                      </a:moveTo>
                      <a:cubicBezTo>
                        <a:pt x="6391" y="35138"/>
                        <a:pt x="31674" y="41529"/>
                        <a:pt x="38065" y="41529"/>
                      </a:cubicBezTo>
                      <a:cubicBezTo>
                        <a:pt x="44456" y="41529"/>
                        <a:pt x="50707" y="28886"/>
                        <a:pt x="57098" y="35138"/>
                      </a:cubicBezTo>
                      <a:cubicBezTo>
                        <a:pt x="63488" y="41529"/>
                        <a:pt x="76130" y="41529"/>
                        <a:pt x="82520" y="35138"/>
                      </a:cubicBezTo>
                      <a:cubicBezTo>
                        <a:pt x="82520" y="28747"/>
                        <a:pt x="88772" y="22357"/>
                        <a:pt x="88772" y="22357"/>
                      </a:cubicBezTo>
                      <a:cubicBezTo>
                        <a:pt x="95163" y="22357"/>
                        <a:pt x="107805" y="22357"/>
                        <a:pt x="107805" y="9715"/>
                      </a:cubicBezTo>
                      <a:cubicBezTo>
                        <a:pt x="107805" y="-9318"/>
                        <a:pt x="133228" y="3325"/>
                        <a:pt x="126837" y="16106"/>
                      </a:cubicBezTo>
                      <a:cubicBezTo>
                        <a:pt x="120585" y="22496"/>
                        <a:pt x="114195" y="35138"/>
                        <a:pt x="114195" y="35138"/>
                      </a:cubicBezTo>
                      <a:cubicBezTo>
                        <a:pt x="95163" y="41529"/>
                        <a:pt x="88772" y="54170"/>
                        <a:pt x="69740" y="60561"/>
                      </a:cubicBezTo>
                      <a:cubicBezTo>
                        <a:pt x="57237" y="66951"/>
                        <a:pt x="0" y="60561"/>
                        <a:pt x="0" y="41529"/>
                      </a:cubicBezTo>
                      <a:cubicBezTo>
                        <a:pt x="0" y="35138"/>
                        <a:pt x="0" y="54170"/>
                        <a:pt x="0" y="4152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99" name="Freihandform: Form 198">
                  <a:extLst>
                    <a:ext uri="{FF2B5EF4-FFF2-40B4-BE49-F238E27FC236}">
                      <a16:creationId xmlns:a16="http://schemas.microsoft.com/office/drawing/2014/main" id="{41DAC0BF-4809-492D-91FE-87ED53773F84}"/>
                    </a:ext>
                  </a:extLst>
                </p:cNvPr>
                <p:cNvSpPr/>
                <p:nvPr/>
              </p:nvSpPr>
              <p:spPr>
                <a:xfrm>
                  <a:off x="10842196" y="4708097"/>
                  <a:ext cx="47593" cy="51881"/>
                </a:xfrm>
                <a:custGeom>
                  <a:avLst/>
                  <a:gdLst>
                    <a:gd name="connsiteX0" fmla="*/ 1845 w 47593"/>
                    <a:gd name="connsiteY0" fmla="*/ 0 h 51881"/>
                    <a:gd name="connsiteX1" fmla="*/ 46300 w 47593"/>
                    <a:gd name="connsiteY1" fmla="*/ 48485 h 51881"/>
                    <a:gd name="connsiteX2" fmla="*/ 27268 w 47593"/>
                    <a:gd name="connsiteY2" fmla="*/ 24173 h 51881"/>
                    <a:gd name="connsiteX3" fmla="*/ 1845 w 47593"/>
                    <a:gd name="connsiteY3" fmla="*/ 0 h 51881"/>
                    <a:gd name="connsiteX4" fmla="*/ 1845 w 47593"/>
                    <a:gd name="connsiteY4" fmla="*/ 0 h 51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3" h="51881">
                      <a:moveTo>
                        <a:pt x="1845" y="0"/>
                      </a:moveTo>
                      <a:cubicBezTo>
                        <a:pt x="-4545" y="6113"/>
                        <a:pt x="27268" y="66683"/>
                        <a:pt x="46300" y="48485"/>
                      </a:cubicBezTo>
                      <a:cubicBezTo>
                        <a:pt x="52691" y="36398"/>
                        <a:pt x="33659" y="24173"/>
                        <a:pt x="27268" y="24173"/>
                      </a:cubicBezTo>
                      <a:cubicBezTo>
                        <a:pt x="21016" y="18199"/>
                        <a:pt x="1845" y="0"/>
                        <a:pt x="1845" y="0"/>
                      </a:cubicBezTo>
                      <a:cubicBezTo>
                        <a:pt x="-4545" y="6113"/>
                        <a:pt x="8235" y="0"/>
                        <a:pt x="1845"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0" name="Freihandform: Form 199">
                  <a:extLst>
                    <a:ext uri="{FF2B5EF4-FFF2-40B4-BE49-F238E27FC236}">
                      <a16:creationId xmlns:a16="http://schemas.microsoft.com/office/drawing/2014/main" id="{58B9BF9C-4E4E-4E79-A00C-136DE24660AB}"/>
                    </a:ext>
                  </a:extLst>
                </p:cNvPr>
                <p:cNvSpPr/>
                <p:nvPr/>
              </p:nvSpPr>
              <p:spPr>
                <a:xfrm>
                  <a:off x="11003971" y="4839565"/>
                  <a:ext cx="24421" cy="22454"/>
                </a:xfrm>
                <a:custGeom>
                  <a:avLst/>
                  <a:gdLst>
                    <a:gd name="connsiteX0" fmla="*/ 24421 w 24421"/>
                    <a:gd name="connsiteY0" fmla="*/ 18014 h 22454"/>
                    <a:gd name="connsiteX1" fmla="*/ 526 w 24421"/>
                    <a:gd name="connsiteY1" fmla="*/ 5233 h 22454"/>
                    <a:gd name="connsiteX2" fmla="*/ 24421 w 24421"/>
                    <a:gd name="connsiteY2" fmla="*/ 18014 h 22454"/>
                    <a:gd name="connsiteX3" fmla="*/ 24421 w 24421"/>
                    <a:gd name="connsiteY3" fmla="*/ 18014 h 22454"/>
                  </a:gdLst>
                  <a:ahLst/>
                  <a:cxnLst>
                    <a:cxn ang="0">
                      <a:pos x="connsiteX0" y="connsiteY0"/>
                    </a:cxn>
                    <a:cxn ang="0">
                      <a:pos x="connsiteX1" y="connsiteY1"/>
                    </a:cxn>
                    <a:cxn ang="0">
                      <a:pos x="connsiteX2" y="connsiteY2"/>
                    </a:cxn>
                    <a:cxn ang="0">
                      <a:pos x="connsiteX3" y="connsiteY3"/>
                    </a:cxn>
                  </a:cxnLst>
                  <a:rect l="l" t="t" r="r" b="b"/>
                  <a:pathLst>
                    <a:path w="24421" h="22454">
                      <a:moveTo>
                        <a:pt x="24421" y="18014"/>
                      </a:moveTo>
                      <a:cubicBezTo>
                        <a:pt x="24421" y="5233"/>
                        <a:pt x="-4197" y="-7409"/>
                        <a:pt x="526" y="5233"/>
                      </a:cubicBezTo>
                      <a:cubicBezTo>
                        <a:pt x="526" y="11623"/>
                        <a:pt x="24421" y="24266"/>
                        <a:pt x="24421" y="18014"/>
                      </a:cubicBezTo>
                      <a:cubicBezTo>
                        <a:pt x="24421" y="11623"/>
                        <a:pt x="24421" y="30656"/>
                        <a:pt x="24421" y="180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1" name="Freihandform: Form 200">
                  <a:extLst>
                    <a:ext uri="{FF2B5EF4-FFF2-40B4-BE49-F238E27FC236}">
                      <a16:creationId xmlns:a16="http://schemas.microsoft.com/office/drawing/2014/main" id="{A71DC3AE-9C33-4A73-9924-290D81B44DDD}"/>
                    </a:ext>
                  </a:extLst>
                </p:cNvPr>
                <p:cNvSpPr/>
                <p:nvPr/>
              </p:nvSpPr>
              <p:spPr>
                <a:xfrm>
                  <a:off x="10961570" y="4780359"/>
                  <a:ext cx="52198" cy="32625"/>
                </a:xfrm>
                <a:custGeom>
                  <a:avLst/>
                  <a:gdLst>
                    <a:gd name="connsiteX0" fmla="*/ 50846 w 52198"/>
                    <a:gd name="connsiteY0" fmla="*/ 32626 h 32625"/>
                    <a:gd name="connsiteX1" fmla="*/ 0 w 52198"/>
                    <a:gd name="connsiteY1" fmla="*/ 812 h 32625"/>
                    <a:gd name="connsiteX2" fmla="*/ 19033 w 52198"/>
                    <a:gd name="connsiteY2" fmla="*/ 19845 h 32625"/>
                    <a:gd name="connsiteX3" fmla="*/ 50846 w 52198"/>
                    <a:gd name="connsiteY3" fmla="*/ 32626 h 32625"/>
                    <a:gd name="connsiteX4" fmla="*/ 50846 w 52198"/>
                    <a:gd name="connsiteY4" fmla="*/ 32626 h 3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98" h="32625">
                      <a:moveTo>
                        <a:pt x="50846" y="32626"/>
                      </a:moveTo>
                      <a:cubicBezTo>
                        <a:pt x="38204" y="26236"/>
                        <a:pt x="19033" y="-5439"/>
                        <a:pt x="0" y="812"/>
                      </a:cubicBezTo>
                      <a:cubicBezTo>
                        <a:pt x="0" y="7203"/>
                        <a:pt x="19033" y="13455"/>
                        <a:pt x="19033" y="19845"/>
                      </a:cubicBezTo>
                      <a:cubicBezTo>
                        <a:pt x="31813" y="19984"/>
                        <a:pt x="38204" y="26374"/>
                        <a:pt x="50846" y="32626"/>
                      </a:cubicBezTo>
                      <a:cubicBezTo>
                        <a:pt x="57237" y="32626"/>
                        <a:pt x="38204" y="26374"/>
                        <a:pt x="50846" y="3262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2" name="Freihandform: Form 201">
                  <a:extLst>
                    <a:ext uri="{FF2B5EF4-FFF2-40B4-BE49-F238E27FC236}">
                      <a16:creationId xmlns:a16="http://schemas.microsoft.com/office/drawing/2014/main" id="{DE5990B9-2A05-40C2-A455-C81C8FDB06B6}"/>
                    </a:ext>
                  </a:extLst>
                </p:cNvPr>
                <p:cNvSpPr/>
                <p:nvPr/>
              </p:nvSpPr>
              <p:spPr>
                <a:xfrm>
                  <a:off x="10904473" y="4746301"/>
                  <a:ext cx="28618" cy="31743"/>
                </a:xfrm>
                <a:custGeom>
                  <a:avLst/>
                  <a:gdLst>
                    <a:gd name="connsiteX0" fmla="*/ 28618 w 28618"/>
                    <a:gd name="connsiteY0" fmla="*/ 30563 h 31743"/>
                    <a:gd name="connsiteX1" fmla="*/ 0 w 28618"/>
                    <a:gd name="connsiteY1" fmla="*/ 0 h 31743"/>
                    <a:gd name="connsiteX2" fmla="*/ 28618 w 28618"/>
                    <a:gd name="connsiteY2" fmla="*/ 30563 h 31743"/>
                  </a:gdLst>
                  <a:ahLst/>
                  <a:cxnLst>
                    <a:cxn ang="0">
                      <a:pos x="connsiteX0" y="connsiteY0"/>
                    </a:cxn>
                    <a:cxn ang="0">
                      <a:pos x="connsiteX1" y="connsiteY1"/>
                    </a:cxn>
                    <a:cxn ang="0">
                      <a:pos x="connsiteX2" y="connsiteY2"/>
                    </a:cxn>
                  </a:cxnLst>
                  <a:rect l="l" t="t" r="r" b="b"/>
                  <a:pathLst>
                    <a:path w="28618" h="31743">
                      <a:moveTo>
                        <a:pt x="28618" y="30563"/>
                      </a:moveTo>
                      <a:cubicBezTo>
                        <a:pt x="28618" y="15282"/>
                        <a:pt x="0" y="0"/>
                        <a:pt x="0" y="0"/>
                      </a:cubicBezTo>
                      <a:cubicBezTo>
                        <a:pt x="0" y="7641"/>
                        <a:pt x="28618" y="38065"/>
                        <a:pt x="28618" y="30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3" name="Freihandform: Form 202">
                  <a:extLst>
                    <a:ext uri="{FF2B5EF4-FFF2-40B4-BE49-F238E27FC236}">
                      <a16:creationId xmlns:a16="http://schemas.microsoft.com/office/drawing/2014/main" id="{07396702-86B1-4115-A385-807B693313D2}"/>
                    </a:ext>
                  </a:extLst>
                </p:cNvPr>
                <p:cNvSpPr/>
                <p:nvPr/>
              </p:nvSpPr>
              <p:spPr>
                <a:xfrm>
                  <a:off x="11143064" y="5184883"/>
                  <a:ext cx="79871" cy="70258"/>
                </a:xfrm>
                <a:custGeom>
                  <a:avLst/>
                  <a:gdLst>
                    <a:gd name="connsiteX0" fmla="*/ 79544 w 79871"/>
                    <a:gd name="connsiteY0" fmla="*/ 69879 h 70258"/>
                    <a:gd name="connsiteX1" fmla="*/ 2024 w 79871"/>
                    <a:gd name="connsiteY1" fmla="*/ 0 h 70258"/>
                    <a:gd name="connsiteX2" fmla="*/ 79544 w 79871"/>
                    <a:gd name="connsiteY2" fmla="*/ 69879 h 70258"/>
                  </a:gdLst>
                  <a:ahLst/>
                  <a:cxnLst>
                    <a:cxn ang="0">
                      <a:pos x="connsiteX0" y="connsiteY0"/>
                    </a:cxn>
                    <a:cxn ang="0">
                      <a:pos x="connsiteX1" y="connsiteY1"/>
                    </a:cxn>
                    <a:cxn ang="0">
                      <a:pos x="connsiteX2" y="connsiteY2"/>
                    </a:cxn>
                  </a:cxnLst>
                  <a:rect l="l" t="t" r="r" b="b"/>
                  <a:pathLst>
                    <a:path w="79871" h="70258">
                      <a:moveTo>
                        <a:pt x="79544" y="69879"/>
                      </a:moveTo>
                      <a:cubicBezTo>
                        <a:pt x="85518" y="76269"/>
                        <a:pt x="7998" y="0"/>
                        <a:pt x="2024" y="0"/>
                      </a:cubicBezTo>
                      <a:cubicBezTo>
                        <a:pt x="-9784" y="-139"/>
                        <a:pt x="31893" y="57098"/>
                        <a:pt x="79544" y="6987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4" name="Freihandform: Form 203">
                  <a:extLst>
                    <a:ext uri="{FF2B5EF4-FFF2-40B4-BE49-F238E27FC236}">
                      <a16:creationId xmlns:a16="http://schemas.microsoft.com/office/drawing/2014/main" id="{7ECBBFC7-3DF4-459A-9B5B-BE4B02F6FAF4}"/>
                    </a:ext>
                  </a:extLst>
                </p:cNvPr>
                <p:cNvSpPr/>
                <p:nvPr/>
              </p:nvSpPr>
              <p:spPr>
                <a:xfrm>
                  <a:off x="10532714" y="5895868"/>
                  <a:ext cx="109037" cy="108664"/>
                </a:xfrm>
                <a:custGeom>
                  <a:avLst/>
                  <a:gdLst>
                    <a:gd name="connsiteX0" fmla="*/ 0 w 109037"/>
                    <a:gd name="connsiteY0" fmla="*/ 7111 h 108664"/>
                    <a:gd name="connsiteX1" fmla="*/ 11947 w 109037"/>
                    <a:gd name="connsiteY1" fmla="*/ 38924 h 108664"/>
                    <a:gd name="connsiteX2" fmla="*/ 24034 w 109037"/>
                    <a:gd name="connsiteY2" fmla="*/ 57957 h 108664"/>
                    <a:gd name="connsiteX3" fmla="*/ 17921 w 109037"/>
                    <a:gd name="connsiteY3" fmla="*/ 70599 h 108664"/>
                    <a:gd name="connsiteX4" fmla="*/ 54041 w 109037"/>
                    <a:gd name="connsiteY4" fmla="*/ 108664 h 108664"/>
                    <a:gd name="connsiteX5" fmla="*/ 72101 w 109037"/>
                    <a:gd name="connsiteY5" fmla="*/ 89631 h 108664"/>
                    <a:gd name="connsiteX6" fmla="*/ 78075 w 109037"/>
                    <a:gd name="connsiteY6" fmla="*/ 102273 h 108664"/>
                    <a:gd name="connsiteX7" fmla="*/ 84049 w 109037"/>
                    <a:gd name="connsiteY7" fmla="*/ 83241 h 108664"/>
                    <a:gd name="connsiteX8" fmla="*/ 96135 w 109037"/>
                    <a:gd name="connsiteY8" fmla="*/ 89631 h 108664"/>
                    <a:gd name="connsiteX9" fmla="*/ 108082 w 109037"/>
                    <a:gd name="connsiteY9" fmla="*/ 38785 h 108664"/>
                    <a:gd name="connsiteX10" fmla="*/ 96135 w 109037"/>
                    <a:gd name="connsiteY10" fmla="*/ 720 h 108664"/>
                    <a:gd name="connsiteX11" fmla="*/ 41955 w 109037"/>
                    <a:gd name="connsiteY11" fmla="*/ 13362 h 108664"/>
                    <a:gd name="connsiteX12" fmla="*/ 0 w 109037"/>
                    <a:gd name="connsiteY12" fmla="*/ 7111 h 108664"/>
                    <a:gd name="connsiteX13" fmla="*/ 0 w 109037"/>
                    <a:gd name="connsiteY13" fmla="*/ 7111 h 10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037" h="108664">
                      <a:moveTo>
                        <a:pt x="0" y="7111"/>
                      </a:moveTo>
                      <a:cubicBezTo>
                        <a:pt x="0" y="13501"/>
                        <a:pt x="11947" y="32534"/>
                        <a:pt x="11947" y="38924"/>
                      </a:cubicBezTo>
                      <a:cubicBezTo>
                        <a:pt x="17921" y="45315"/>
                        <a:pt x="24034" y="51566"/>
                        <a:pt x="24034" y="57957"/>
                      </a:cubicBezTo>
                      <a:cubicBezTo>
                        <a:pt x="24034" y="64347"/>
                        <a:pt x="17921" y="64347"/>
                        <a:pt x="17921" y="70599"/>
                      </a:cubicBezTo>
                      <a:cubicBezTo>
                        <a:pt x="24034" y="89631"/>
                        <a:pt x="42094" y="102412"/>
                        <a:pt x="54041" y="108664"/>
                      </a:cubicBezTo>
                      <a:cubicBezTo>
                        <a:pt x="66127" y="108664"/>
                        <a:pt x="66127" y="96022"/>
                        <a:pt x="72101" y="89631"/>
                      </a:cubicBezTo>
                      <a:lnTo>
                        <a:pt x="78075" y="102273"/>
                      </a:lnTo>
                      <a:cubicBezTo>
                        <a:pt x="78075" y="95883"/>
                        <a:pt x="78075" y="83241"/>
                        <a:pt x="84049" y="83241"/>
                      </a:cubicBezTo>
                      <a:cubicBezTo>
                        <a:pt x="90022" y="76850"/>
                        <a:pt x="90022" y="89631"/>
                        <a:pt x="96135" y="89631"/>
                      </a:cubicBezTo>
                      <a:cubicBezTo>
                        <a:pt x="90022" y="89631"/>
                        <a:pt x="108082" y="45176"/>
                        <a:pt x="108082" y="38785"/>
                      </a:cubicBezTo>
                      <a:cubicBezTo>
                        <a:pt x="108082" y="32395"/>
                        <a:pt x="114056" y="-5670"/>
                        <a:pt x="96135" y="720"/>
                      </a:cubicBezTo>
                      <a:cubicBezTo>
                        <a:pt x="78075" y="7111"/>
                        <a:pt x="60015" y="19753"/>
                        <a:pt x="41955" y="13362"/>
                      </a:cubicBezTo>
                      <a:cubicBezTo>
                        <a:pt x="36120" y="13362"/>
                        <a:pt x="5973" y="-5670"/>
                        <a:pt x="0" y="7111"/>
                      </a:cubicBezTo>
                      <a:cubicBezTo>
                        <a:pt x="0" y="13362"/>
                        <a:pt x="5973" y="-5670"/>
                        <a:pt x="0" y="711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5" name="Freihandform: Form 204">
                  <a:extLst>
                    <a:ext uri="{FF2B5EF4-FFF2-40B4-BE49-F238E27FC236}">
                      <a16:creationId xmlns:a16="http://schemas.microsoft.com/office/drawing/2014/main" id="{7CF7D9AC-4838-472F-964C-07681D903D6C}"/>
                    </a:ext>
                  </a:extLst>
                </p:cNvPr>
                <p:cNvSpPr/>
                <p:nvPr/>
              </p:nvSpPr>
              <p:spPr>
                <a:xfrm>
                  <a:off x="10623508" y="5851994"/>
                  <a:ext cx="13954" cy="31779"/>
                </a:xfrm>
                <a:custGeom>
                  <a:avLst/>
                  <a:gdLst>
                    <a:gd name="connsiteX0" fmla="*/ 13954 w 13954"/>
                    <a:gd name="connsiteY0" fmla="*/ 30563 h 31779"/>
                    <a:gd name="connsiteX1" fmla="*/ 1312 w 13954"/>
                    <a:gd name="connsiteY1" fmla="*/ 0 h 31779"/>
                    <a:gd name="connsiteX2" fmla="*/ 13954 w 13954"/>
                    <a:gd name="connsiteY2" fmla="*/ 30563 h 31779"/>
                  </a:gdLst>
                  <a:ahLst/>
                  <a:cxnLst>
                    <a:cxn ang="0">
                      <a:pos x="connsiteX0" y="connsiteY0"/>
                    </a:cxn>
                    <a:cxn ang="0">
                      <a:pos x="connsiteX1" y="connsiteY1"/>
                    </a:cxn>
                    <a:cxn ang="0">
                      <a:pos x="connsiteX2" y="connsiteY2"/>
                    </a:cxn>
                  </a:cxnLst>
                  <a:rect l="l" t="t" r="r" b="b"/>
                  <a:pathLst>
                    <a:path w="13954" h="31779">
                      <a:moveTo>
                        <a:pt x="13954" y="30563"/>
                      </a:moveTo>
                      <a:cubicBezTo>
                        <a:pt x="13954" y="38204"/>
                        <a:pt x="-5079" y="7641"/>
                        <a:pt x="1312" y="0"/>
                      </a:cubicBezTo>
                      <a:cubicBezTo>
                        <a:pt x="7703" y="139"/>
                        <a:pt x="13954" y="7780"/>
                        <a:pt x="13954" y="30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6" name="Freihandform: Form 205">
                  <a:extLst>
                    <a:ext uri="{FF2B5EF4-FFF2-40B4-BE49-F238E27FC236}">
                      <a16:creationId xmlns:a16="http://schemas.microsoft.com/office/drawing/2014/main" id="{4F57B2C9-4CC4-42A0-948D-98061109D9F4}"/>
                    </a:ext>
                  </a:extLst>
                </p:cNvPr>
                <p:cNvSpPr/>
                <p:nvPr/>
              </p:nvSpPr>
              <p:spPr>
                <a:xfrm>
                  <a:off x="10496906" y="5852133"/>
                  <a:ext cx="14326" cy="19032"/>
                </a:xfrm>
                <a:custGeom>
                  <a:avLst/>
                  <a:gdLst>
                    <a:gd name="connsiteX0" fmla="*/ 7189 w 14326"/>
                    <a:gd name="connsiteY0" fmla="*/ 19033 h 19032"/>
                    <a:gd name="connsiteX1" fmla="*/ 7189 w 14326"/>
                    <a:gd name="connsiteY1" fmla="*/ 0 h 19032"/>
                    <a:gd name="connsiteX2" fmla="*/ 7189 w 14326"/>
                    <a:gd name="connsiteY2" fmla="*/ 19033 h 19032"/>
                  </a:gdLst>
                  <a:ahLst/>
                  <a:cxnLst>
                    <a:cxn ang="0">
                      <a:pos x="connsiteX0" y="connsiteY0"/>
                    </a:cxn>
                    <a:cxn ang="0">
                      <a:pos x="connsiteX1" y="connsiteY1"/>
                    </a:cxn>
                    <a:cxn ang="0">
                      <a:pos x="connsiteX2" y="connsiteY2"/>
                    </a:cxn>
                  </a:cxnLst>
                  <a:rect l="l" t="t" r="r" b="b"/>
                  <a:pathLst>
                    <a:path w="14326" h="19032">
                      <a:moveTo>
                        <a:pt x="7189" y="19033"/>
                      </a:moveTo>
                      <a:cubicBezTo>
                        <a:pt x="-2396" y="19033"/>
                        <a:pt x="-2396" y="0"/>
                        <a:pt x="7189" y="0"/>
                      </a:cubicBezTo>
                      <a:cubicBezTo>
                        <a:pt x="16775" y="0"/>
                        <a:pt x="16636" y="19033"/>
                        <a:pt x="7189" y="190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7" name="Freihandform: Form 206">
                  <a:extLst>
                    <a:ext uri="{FF2B5EF4-FFF2-40B4-BE49-F238E27FC236}">
                      <a16:creationId xmlns:a16="http://schemas.microsoft.com/office/drawing/2014/main" id="{0894C5B9-367C-47E2-BF7B-4FEBFFD78EA0}"/>
                    </a:ext>
                  </a:extLst>
                </p:cNvPr>
                <p:cNvSpPr/>
                <p:nvPr/>
              </p:nvSpPr>
              <p:spPr>
                <a:xfrm>
                  <a:off x="7406100" y="4917872"/>
                  <a:ext cx="228668" cy="425661"/>
                </a:xfrm>
                <a:custGeom>
                  <a:avLst/>
                  <a:gdLst>
                    <a:gd name="connsiteX0" fmla="*/ 196854 w 228668"/>
                    <a:gd name="connsiteY0" fmla="*/ 12225 h 425661"/>
                    <a:gd name="connsiteX1" fmla="*/ 184074 w 228668"/>
                    <a:gd name="connsiteY1" fmla="*/ 0 h 425661"/>
                    <a:gd name="connsiteX2" fmla="*/ 177683 w 228668"/>
                    <a:gd name="connsiteY2" fmla="*/ 18338 h 425661"/>
                    <a:gd name="connsiteX3" fmla="*/ 164902 w 228668"/>
                    <a:gd name="connsiteY3" fmla="*/ 49040 h 425661"/>
                    <a:gd name="connsiteX4" fmla="*/ 145870 w 228668"/>
                    <a:gd name="connsiteY4" fmla="*/ 49040 h 425661"/>
                    <a:gd name="connsiteX5" fmla="*/ 145870 w 228668"/>
                    <a:gd name="connsiteY5" fmla="*/ 61265 h 425661"/>
                    <a:gd name="connsiteX6" fmla="*/ 139479 w 228668"/>
                    <a:gd name="connsiteY6" fmla="*/ 73491 h 425661"/>
                    <a:gd name="connsiteX7" fmla="*/ 145870 w 228668"/>
                    <a:gd name="connsiteY7" fmla="*/ 79603 h 425661"/>
                    <a:gd name="connsiteX8" fmla="*/ 133228 w 228668"/>
                    <a:gd name="connsiteY8" fmla="*/ 85716 h 425661"/>
                    <a:gd name="connsiteX9" fmla="*/ 120585 w 228668"/>
                    <a:gd name="connsiteY9" fmla="*/ 97941 h 425661"/>
                    <a:gd name="connsiteX10" fmla="*/ 95163 w 228668"/>
                    <a:gd name="connsiteY10" fmla="*/ 110166 h 425661"/>
                    <a:gd name="connsiteX11" fmla="*/ 95163 w 228668"/>
                    <a:gd name="connsiteY11" fmla="*/ 116279 h 425661"/>
                    <a:gd name="connsiteX12" fmla="*/ 82520 w 228668"/>
                    <a:gd name="connsiteY12" fmla="*/ 116279 h 425661"/>
                    <a:gd name="connsiteX13" fmla="*/ 50707 w 228668"/>
                    <a:gd name="connsiteY13" fmla="*/ 128504 h 425661"/>
                    <a:gd name="connsiteX14" fmla="*/ 38065 w 228668"/>
                    <a:gd name="connsiteY14" fmla="*/ 128504 h 425661"/>
                    <a:gd name="connsiteX15" fmla="*/ 25423 w 228668"/>
                    <a:gd name="connsiteY15" fmla="*/ 165319 h 425661"/>
                    <a:gd name="connsiteX16" fmla="*/ 25423 w 228668"/>
                    <a:gd name="connsiteY16" fmla="*/ 269512 h 425661"/>
                    <a:gd name="connsiteX17" fmla="*/ 0 w 228668"/>
                    <a:gd name="connsiteY17" fmla="*/ 312439 h 425661"/>
                    <a:gd name="connsiteX18" fmla="*/ 0 w 228668"/>
                    <a:gd name="connsiteY18" fmla="*/ 336890 h 425661"/>
                    <a:gd name="connsiteX19" fmla="*/ 12642 w 228668"/>
                    <a:gd name="connsiteY19" fmla="*/ 361340 h 425661"/>
                    <a:gd name="connsiteX20" fmla="*/ 31674 w 228668"/>
                    <a:gd name="connsiteY20" fmla="*/ 416493 h 425661"/>
                    <a:gd name="connsiteX21" fmla="*/ 101553 w 228668"/>
                    <a:gd name="connsiteY21" fmla="*/ 416493 h 425661"/>
                    <a:gd name="connsiteX22" fmla="*/ 152399 w 228668"/>
                    <a:gd name="connsiteY22" fmla="*/ 306188 h 425661"/>
                    <a:gd name="connsiteX23" fmla="*/ 196854 w 228668"/>
                    <a:gd name="connsiteY23" fmla="*/ 183657 h 425661"/>
                    <a:gd name="connsiteX24" fmla="*/ 203245 w 228668"/>
                    <a:gd name="connsiteY24" fmla="*/ 140730 h 425661"/>
                    <a:gd name="connsiteX25" fmla="*/ 216026 w 228668"/>
                    <a:gd name="connsiteY25" fmla="*/ 116279 h 425661"/>
                    <a:gd name="connsiteX26" fmla="*/ 228668 w 228668"/>
                    <a:gd name="connsiteY26" fmla="*/ 104054 h 425661"/>
                    <a:gd name="connsiteX27" fmla="*/ 222278 w 228668"/>
                    <a:gd name="connsiteY27" fmla="*/ 67239 h 425661"/>
                    <a:gd name="connsiteX28" fmla="*/ 196854 w 228668"/>
                    <a:gd name="connsiteY28" fmla="*/ 12225 h 425661"/>
                    <a:gd name="connsiteX29" fmla="*/ 196854 w 228668"/>
                    <a:gd name="connsiteY29" fmla="*/ 12225 h 42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668" h="425661">
                      <a:moveTo>
                        <a:pt x="196854" y="12225"/>
                      </a:moveTo>
                      <a:cubicBezTo>
                        <a:pt x="196854" y="12225"/>
                        <a:pt x="190464" y="0"/>
                        <a:pt x="184074" y="0"/>
                      </a:cubicBezTo>
                      <a:cubicBezTo>
                        <a:pt x="184074" y="6113"/>
                        <a:pt x="177683" y="12225"/>
                        <a:pt x="177683" y="18338"/>
                      </a:cubicBezTo>
                      <a:cubicBezTo>
                        <a:pt x="171292" y="30563"/>
                        <a:pt x="171292" y="36676"/>
                        <a:pt x="164902" y="49040"/>
                      </a:cubicBezTo>
                      <a:cubicBezTo>
                        <a:pt x="158512" y="55153"/>
                        <a:pt x="152260" y="49040"/>
                        <a:pt x="145870" y="49040"/>
                      </a:cubicBezTo>
                      <a:cubicBezTo>
                        <a:pt x="145870" y="49040"/>
                        <a:pt x="152260" y="55153"/>
                        <a:pt x="145870" y="61265"/>
                      </a:cubicBezTo>
                      <a:cubicBezTo>
                        <a:pt x="145870" y="67378"/>
                        <a:pt x="139479" y="67378"/>
                        <a:pt x="139479" y="73491"/>
                      </a:cubicBezTo>
                      <a:lnTo>
                        <a:pt x="145870" y="79603"/>
                      </a:lnTo>
                      <a:cubicBezTo>
                        <a:pt x="145870" y="85716"/>
                        <a:pt x="139479" y="79603"/>
                        <a:pt x="133228" y="85716"/>
                      </a:cubicBezTo>
                      <a:cubicBezTo>
                        <a:pt x="126837" y="85716"/>
                        <a:pt x="126837" y="91829"/>
                        <a:pt x="120585" y="97941"/>
                      </a:cubicBezTo>
                      <a:cubicBezTo>
                        <a:pt x="114195" y="104054"/>
                        <a:pt x="107805" y="104054"/>
                        <a:pt x="95163" y="110166"/>
                      </a:cubicBezTo>
                      <a:cubicBezTo>
                        <a:pt x="88772" y="110166"/>
                        <a:pt x="101553" y="116279"/>
                        <a:pt x="95163" y="116279"/>
                      </a:cubicBezTo>
                      <a:cubicBezTo>
                        <a:pt x="95163" y="122392"/>
                        <a:pt x="82520" y="110166"/>
                        <a:pt x="82520" y="116279"/>
                      </a:cubicBezTo>
                      <a:cubicBezTo>
                        <a:pt x="69739" y="122392"/>
                        <a:pt x="63488" y="122392"/>
                        <a:pt x="50707" y="128504"/>
                      </a:cubicBezTo>
                      <a:cubicBezTo>
                        <a:pt x="44316" y="128504"/>
                        <a:pt x="38065" y="122392"/>
                        <a:pt x="38065" y="128504"/>
                      </a:cubicBezTo>
                      <a:cubicBezTo>
                        <a:pt x="31674" y="140730"/>
                        <a:pt x="31674" y="152955"/>
                        <a:pt x="25423" y="165319"/>
                      </a:cubicBezTo>
                      <a:cubicBezTo>
                        <a:pt x="19032" y="196021"/>
                        <a:pt x="50846" y="238810"/>
                        <a:pt x="25423" y="269512"/>
                      </a:cubicBezTo>
                      <a:cubicBezTo>
                        <a:pt x="19032" y="281737"/>
                        <a:pt x="6391" y="293962"/>
                        <a:pt x="0" y="312439"/>
                      </a:cubicBezTo>
                      <a:cubicBezTo>
                        <a:pt x="0" y="318552"/>
                        <a:pt x="0" y="330777"/>
                        <a:pt x="0" y="336890"/>
                      </a:cubicBezTo>
                      <a:cubicBezTo>
                        <a:pt x="6391" y="343002"/>
                        <a:pt x="19032" y="349115"/>
                        <a:pt x="12642" y="361340"/>
                      </a:cubicBezTo>
                      <a:cubicBezTo>
                        <a:pt x="6252" y="379678"/>
                        <a:pt x="12642" y="404268"/>
                        <a:pt x="31674" y="416493"/>
                      </a:cubicBezTo>
                      <a:cubicBezTo>
                        <a:pt x="50707" y="428718"/>
                        <a:pt x="69739" y="428718"/>
                        <a:pt x="101553" y="416493"/>
                      </a:cubicBezTo>
                      <a:cubicBezTo>
                        <a:pt x="133367" y="404268"/>
                        <a:pt x="139618" y="336890"/>
                        <a:pt x="152399" y="306188"/>
                      </a:cubicBezTo>
                      <a:cubicBezTo>
                        <a:pt x="165041" y="263260"/>
                        <a:pt x="184213" y="226584"/>
                        <a:pt x="196854" y="183657"/>
                      </a:cubicBezTo>
                      <a:cubicBezTo>
                        <a:pt x="196854" y="171432"/>
                        <a:pt x="196854" y="152955"/>
                        <a:pt x="203245" y="140730"/>
                      </a:cubicBezTo>
                      <a:cubicBezTo>
                        <a:pt x="209636" y="134617"/>
                        <a:pt x="196854" y="85577"/>
                        <a:pt x="216026" y="116279"/>
                      </a:cubicBezTo>
                      <a:cubicBezTo>
                        <a:pt x="222417" y="122392"/>
                        <a:pt x="222417" y="110166"/>
                        <a:pt x="228668" y="104054"/>
                      </a:cubicBezTo>
                      <a:cubicBezTo>
                        <a:pt x="228668" y="91829"/>
                        <a:pt x="222278" y="79603"/>
                        <a:pt x="222278" y="67239"/>
                      </a:cubicBezTo>
                      <a:cubicBezTo>
                        <a:pt x="215887" y="55153"/>
                        <a:pt x="209496" y="24590"/>
                        <a:pt x="196854" y="12225"/>
                      </a:cubicBezTo>
                      <a:cubicBezTo>
                        <a:pt x="190464" y="6113"/>
                        <a:pt x="203106" y="12225"/>
                        <a:pt x="196854" y="1222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8" name="Freihandform: Form 207">
                  <a:extLst>
                    <a:ext uri="{FF2B5EF4-FFF2-40B4-BE49-F238E27FC236}">
                      <a16:creationId xmlns:a16="http://schemas.microsoft.com/office/drawing/2014/main" id="{C281CBA4-31E1-4D3D-AD5C-C4F8D513E600}"/>
                    </a:ext>
                  </a:extLst>
                </p:cNvPr>
                <p:cNvSpPr/>
                <p:nvPr/>
              </p:nvSpPr>
              <p:spPr>
                <a:xfrm>
                  <a:off x="8267688" y="1687657"/>
                  <a:ext cx="43775" cy="27194"/>
                </a:xfrm>
                <a:custGeom>
                  <a:avLst/>
                  <a:gdLst>
                    <a:gd name="connsiteX0" fmla="*/ 43776 w 43775"/>
                    <a:gd name="connsiteY0" fmla="*/ 15803 h 27194"/>
                    <a:gd name="connsiteX1" fmla="*/ 17242 w 43775"/>
                    <a:gd name="connsiteY1" fmla="*/ 27194 h 27194"/>
                    <a:gd name="connsiteX2" fmla="*/ 1404 w 43775"/>
                    <a:gd name="connsiteY2" fmla="*/ 4272 h 27194"/>
                    <a:gd name="connsiteX3" fmla="*/ 27939 w 43775"/>
                    <a:gd name="connsiteY3" fmla="*/ 4272 h 27194"/>
                    <a:gd name="connsiteX4" fmla="*/ 43776 w 43775"/>
                    <a:gd name="connsiteY4" fmla="*/ 15803 h 27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5" h="27194">
                      <a:moveTo>
                        <a:pt x="43776" y="15803"/>
                      </a:moveTo>
                      <a:cubicBezTo>
                        <a:pt x="33218" y="21498"/>
                        <a:pt x="27939" y="21498"/>
                        <a:pt x="17242" y="27194"/>
                      </a:cubicBezTo>
                      <a:cubicBezTo>
                        <a:pt x="6684" y="27194"/>
                        <a:pt x="-3875" y="15803"/>
                        <a:pt x="1404" y="4272"/>
                      </a:cubicBezTo>
                      <a:cubicBezTo>
                        <a:pt x="1404" y="-1424"/>
                        <a:pt x="22521" y="-1424"/>
                        <a:pt x="27939" y="4272"/>
                      </a:cubicBezTo>
                      <a:cubicBezTo>
                        <a:pt x="33218" y="4272"/>
                        <a:pt x="38497" y="15803"/>
                        <a:pt x="43776" y="158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09" name="Freihandform: Form 208">
                  <a:extLst>
                    <a:ext uri="{FF2B5EF4-FFF2-40B4-BE49-F238E27FC236}">
                      <a16:creationId xmlns:a16="http://schemas.microsoft.com/office/drawing/2014/main" id="{77483ACC-3F1E-4221-8762-38985ED3F0AD}"/>
                    </a:ext>
                  </a:extLst>
                </p:cNvPr>
                <p:cNvSpPr/>
                <p:nvPr/>
              </p:nvSpPr>
              <p:spPr>
                <a:xfrm>
                  <a:off x="9508477" y="1620973"/>
                  <a:ext cx="56030" cy="27194"/>
                </a:xfrm>
                <a:custGeom>
                  <a:avLst/>
                  <a:gdLst>
                    <a:gd name="connsiteX0" fmla="*/ 34684 w 56030"/>
                    <a:gd name="connsiteY0" fmla="*/ 27194 h 27194"/>
                    <a:gd name="connsiteX1" fmla="*/ 1342 w 56030"/>
                    <a:gd name="connsiteY1" fmla="*/ 21498 h 27194"/>
                    <a:gd name="connsiteX2" fmla="*/ 21347 w 56030"/>
                    <a:gd name="connsiteY2" fmla="*/ 4272 h 27194"/>
                    <a:gd name="connsiteX3" fmla="*/ 54689 w 56030"/>
                    <a:gd name="connsiteY3" fmla="*/ 4272 h 27194"/>
                    <a:gd name="connsiteX4" fmla="*/ 34684 w 56030"/>
                    <a:gd name="connsiteY4" fmla="*/ 27194 h 27194"/>
                    <a:gd name="connsiteX5" fmla="*/ 34684 w 56030"/>
                    <a:gd name="connsiteY5" fmla="*/ 27194 h 2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30" h="27194">
                      <a:moveTo>
                        <a:pt x="34684" y="27194"/>
                      </a:moveTo>
                      <a:cubicBezTo>
                        <a:pt x="21347" y="27194"/>
                        <a:pt x="8011" y="21498"/>
                        <a:pt x="1342" y="21498"/>
                      </a:cubicBezTo>
                      <a:cubicBezTo>
                        <a:pt x="-5326" y="15803"/>
                        <a:pt x="14679" y="4272"/>
                        <a:pt x="21347" y="4272"/>
                      </a:cubicBezTo>
                      <a:cubicBezTo>
                        <a:pt x="28016" y="-1424"/>
                        <a:pt x="48020" y="-1424"/>
                        <a:pt x="54689" y="4272"/>
                      </a:cubicBezTo>
                      <a:cubicBezTo>
                        <a:pt x="61357" y="9968"/>
                        <a:pt x="41352" y="27194"/>
                        <a:pt x="34684" y="27194"/>
                      </a:cubicBezTo>
                      <a:cubicBezTo>
                        <a:pt x="21347" y="27194"/>
                        <a:pt x="34684" y="27194"/>
                        <a:pt x="34684" y="2719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0" name="Freihandform: Form 209">
                  <a:extLst>
                    <a:ext uri="{FF2B5EF4-FFF2-40B4-BE49-F238E27FC236}">
                      <a16:creationId xmlns:a16="http://schemas.microsoft.com/office/drawing/2014/main" id="{07B75C2F-CCF8-457F-800B-7AAF70F237F8}"/>
                    </a:ext>
                  </a:extLst>
                </p:cNvPr>
                <p:cNvSpPr/>
                <p:nvPr/>
              </p:nvSpPr>
              <p:spPr>
                <a:xfrm>
                  <a:off x="8537624" y="1711320"/>
                  <a:ext cx="18725" cy="22563"/>
                </a:xfrm>
                <a:custGeom>
                  <a:avLst/>
                  <a:gdLst>
                    <a:gd name="connsiteX0" fmla="*/ 16956 w 18725"/>
                    <a:gd name="connsiteY0" fmla="*/ 22563 h 22563"/>
                    <a:gd name="connsiteX1" fmla="*/ 2648 w 18725"/>
                    <a:gd name="connsiteY1" fmla="*/ 1169 h 22563"/>
                    <a:gd name="connsiteX2" fmla="*/ 16956 w 18725"/>
                    <a:gd name="connsiteY2" fmla="*/ 22563 h 22563"/>
                  </a:gdLst>
                  <a:ahLst/>
                  <a:cxnLst>
                    <a:cxn ang="0">
                      <a:pos x="connsiteX0" y="connsiteY0"/>
                    </a:cxn>
                    <a:cxn ang="0">
                      <a:pos x="connsiteX1" y="connsiteY1"/>
                    </a:cxn>
                    <a:cxn ang="0">
                      <a:pos x="connsiteX2" y="connsiteY2"/>
                    </a:cxn>
                  </a:cxnLst>
                  <a:rect l="l" t="t" r="r" b="b"/>
                  <a:pathLst>
                    <a:path w="18725" h="22563">
                      <a:moveTo>
                        <a:pt x="16956" y="22563"/>
                      </a:moveTo>
                      <a:cubicBezTo>
                        <a:pt x="12233" y="22563"/>
                        <a:pt x="-6938" y="15478"/>
                        <a:pt x="2648" y="1169"/>
                      </a:cubicBezTo>
                      <a:cubicBezTo>
                        <a:pt x="16956" y="-6055"/>
                        <a:pt x="21680" y="22563"/>
                        <a:pt x="16956" y="22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1" name="Freihandform: Form 210">
                  <a:extLst>
                    <a:ext uri="{FF2B5EF4-FFF2-40B4-BE49-F238E27FC236}">
                      <a16:creationId xmlns:a16="http://schemas.microsoft.com/office/drawing/2014/main" id="{873402B2-5908-4690-A9B9-85E4D7EF458D}"/>
                    </a:ext>
                  </a:extLst>
                </p:cNvPr>
                <p:cNvSpPr/>
                <p:nvPr/>
              </p:nvSpPr>
              <p:spPr>
                <a:xfrm>
                  <a:off x="6361246" y="3102081"/>
                  <a:ext cx="30634" cy="65779"/>
                </a:xfrm>
                <a:custGeom>
                  <a:avLst/>
                  <a:gdLst>
                    <a:gd name="connsiteX0" fmla="*/ 27794 w 30634"/>
                    <a:gd name="connsiteY0" fmla="*/ 2005 h 65779"/>
                    <a:gd name="connsiteX1" fmla="*/ 27794 w 30634"/>
                    <a:gd name="connsiteY1" fmla="*/ 43543 h 65779"/>
                    <a:gd name="connsiteX2" fmla="*/ 15152 w 30634"/>
                    <a:gd name="connsiteY2" fmla="*/ 64382 h 65779"/>
                    <a:gd name="connsiteX3" fmla="*/ 2510 w 30634"/>
                    <a:gd name="connsiteY3" fmla="*/ 22844 h 65779"/>
                    <a:gd name="connsiteX4" fmla="*/ 27794 w 30634"/>
                    <a:gd name="connsiteY4" fmla="*/ 2005 h 65779"/>
                    <a:gd name="connsiteX5" fmla="*/ 27794 w 30634"/>
                    <a:gd name="connsiteY5" fmla="*/ 2005 h 6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34" h="65779">
                      <a:moveTo>
                        <a:pt x="27794" y="2005"/>
                      </a:moveTo>
                      <a:cubicBezTo>
                        <a:pt x="27794" y="15898"/>
                        <a:pt x="34184" y="29790"/>
                        <a:pt x="27794" y="43543"/>
                      </a:cubicBezTo>
                      <a:cubicBezTo>
                        <a:pt x="21403" y="50489"/>
                        <a:pt x="27794" y="71328"/>
                        <a:pt x="15152" y="64382"/>
                      </a:cubicBezTo>
                      <a:cubicBezTo>
                        <a:pt x="2510" y="50489"/>
                        <a:pt x="-3881" y="36597"/>
                        <a:pt x="2510" y="22844"/>
                      </a:cubicBezTo>
                      <a:cubicBezTo>
                        <a:pt x="2371" y="15898"/>
                        <a:pt x="27794" y="-4941"/>
                        <a:pt x="27794" y="2005"/>
                      </a:cubicBezTo>
                      <a:cubicBezTo>
                        <a:pt x="27794" y="8951"/>
                        <a:pt x="27794" y="-4941"/>
                        <a:pt x="27794" y="200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2" name="Freihandform: Form 211">
                  <a:extLst>
                    <a:ext uri="{FF2B5EF4-FFF2-40B4-BE49-F238E27FC236}">
                      <a16:creationId xmlns:a16="http://schemas.microsoft.com/office/drawing/2014/main" id="{D2BA372D-4747-4C00-970F-19C9830E780A}"/>
                    </a:ext>
                  </a:extLst>
                </p:cNvPr>
                <p:cNvSpPr/>
                <p:nvPr/>
              </p:nvSpPr>
              <p:spPr>
                <a:xfrm>
                  <a:off x="6347641" y="3172131"/>
                  <a:ext cx="52582" cy="83189"/>
                </a:xfrm>
                <a:custGeom>
                  <a:avLst/>
                  <a:gdLst>
                    <a:gd name="connsiteX0" fmla="*/ 44595 w 52582"/>
                    <a:gd name="connsiteY0" fmla="*/ 10725 h 83189"/>
                    <a:gd name="connsiteX1" fmla="*/ 31814 w 52582"/>
                    <a:gd name="connsiteY1" fmla="*/ 4335 h 83189"/>
                    <a:gd name="connsiteX2" fmla="*/ 0 w 52582"/>
                    <a:gd name="connsiteY2" fmla="*/ 4335 h 83189"/>
                    <a:gd name="connsiteX3" fmla="*/ 6391 w 52582"/>
                    <a:gd name="connsiteY3" fmla="*/ 42400 h 83189"/>
                    <a:gd name="connsiteX4" fmla="*/ 12781 w 52582"/>
                    <a:gd name="connsiteY4" fmla="*/ 74213 h 83189"/>
                    <a:gd name="connsiteX5" fmla="*/ 25562 w 52582"/>
                    <a:gd name="connsiteY5" fmla="*/ 80604 h 83189"/>
                    <a:gd name="connsiteX6" fmla="*/ 50985 w 52582"/>
                    <a:gd name="connsiteY6" fmla="*/ 55181 h 83189"/>
                    <a:gd name="connsiteX7" fmla="*/ 44595 w 52582"/>
                    <a:gd name="connsiteY7" fmla="*/ 10725 h 8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82" h="83189">
                      <a:moveTo>
                        <a:pt x="44595" y="10725"/>
                      </a:moveTo>
                      <a:cubicBezTo>
                        <a:pt x="38204" y="10725"/>
                        <a:pt x="44595" y="-8307"/>
                        <a:pt x="31814" y="4335"/>
                      </a:cubicBezTo>
                      <a:cubicBezTo>
                        <a:pt x="12781" y="17116"/>
                        <a:pt x="19172" y="17116"/>
                        <a:pt x="0" y="4335"/>
                      </a:cubicBezTo>
                      <a:lnTo>
                        <a:pt x="6391" y="42400"/>
                      </a:lnTo>
                      <a:cubicBezTo>
                        <a:pt x="12781" y="55181"/>
                        <a:pt x="12781" y="61432"/>
                        <a:pt x="12781" y="74213"/>
                      </a:cubicBezTo>
                      <a:cubicBezTo>
                        <a:pt x="12781" y="80604"/>
                        <a:pt x="12781" y="86855"/>
                        <a:pt x="25562" y="80604"/>
                      </a:cubicBezTo>
                      <a:cubicBezTo>
                        <a:pt x="38204" y="74213"/>
                        <a:pt x="50985" y="74213"/>
                        <a:pt x="50985" y="55181"/>
                      </a:cubicBezTo>
                      <a:cubicBezTo>
                        <a:pt x="50985" y="48929"/>
                        <a:pt x="57376" y="10725"/>
                        <a:pt x="44595" y="1072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3" name="Freihandform: Form 212">
                  <a:extLst>
                    <a:ext uri="{FF2B5EF4-FFF2-40B4-BE49-F238E27FC236}">
                      <a16:creationId xmlns:a16="http://schemas.microsoft.com/office/drawing/2014/main" id="{3FEDA632-A36A-4497-96AD-87938EFEB845}"/>
                    </a:ext>
                  </a:extLst>
                </p:cNvPr>
                <p:cNvSpPr/>
                <p:nvPr/>
              </p:nvSpPr>
              <p:spPr>
                <a:xfrm>
                  <a:off x="7080853" y="3368854"/>
                  <a:ext cx="63517" cy="41106"/>
                </a:xfrm>
                <a:custGeom>
                  <a:avLst/>
                  <a:gdLst>
                    <a:gd name="connsiteX0" fmla="*/ 61847 w 63517"/>
                    <a:gd name="connsiteY0" fmla="*/ 1965 h 41106"/>
                    <a:gd name="connsiteX1" fmla="*/ 50178 w 63517"/>
                    <a:gd name="connsiteY1" fmla="*/ 8772 h 41106"/>
                    <a:gd name="connsiteX2" fmla="*/ 50178 w 63517"/>
                    <a:gd name="connsiteY2" fmla="*/ 29194 h 41106"/>
                    <a:gd name="connsiteX3" fmla="*/ 26700 w 63517"/>
                    <a:gd name="connsiteY3" fmla="*/ 36001 h 41106"/>
                    <a:gd name="connsiteX4" fmla="*/ 3221 w 63517"/>
                    <a:gd name="connsiteY4" fmla="*/ 36001 h 41106"/>
                    <a:gd name="connsiteX5" fmla="*/ 20865 w 63517"/>
                    <a:gd name="connsiteY5" fmla="*/ 15580 h 41106"/>
                    <a:gd name="connsiteX6" fmla="*/ 61847 w 63517"/>
                    <a:gd name="connsiteY6" fmla="*/ 1965 h 41106"/>
                    <a:gd name="connsiteX7" fmla="*/ 61847 w 63517"/>
                    <a:gd name="connsiteY7" fmla="*/ 1965 h 4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17" h="41106">
                      <a:moveTo>
                        <a:pt x="61847" y="1965"/>
                      </a:moveTo>
                      <a:lnTo>
                        <a:pt x="50178" y="8772"/>
                      </a:lnTo>
                      <a:cubicBezTo>
                        <a:pt x="44343" y="15580"/>
                        <a:pt x="50178" y="29194"/>
                        <a:pt x="50178" y="29194"/>
                      </a:cubicBezTo>
                      <a:cubicBezTo>
                        <a:pt x="44343" y="29194"/>
                        <a:pt x="32534" y="29194"/>
                        <a:pt x="26700" y="36001"/>
                      </a:cubicBezTo>
                      <a:cubicBezTo>
                        <a:pt x="15030" y="42809"/>
                        <a:pt x="9056" y="42809"/>
                        <a:pt x="3221" y="36001"/>
                      </a:cubicBezTo>
                      <a:cubicBezTo>
                        <a:pt x="-8448" y="22387"/>
                        <a:pt x="14891" y="15580"/>
                        <a:pt x="20865" y="15580"/>
                      </a:cubicBezTo>
                      <a:cubicBezTo>
                        <a:pt x="32395" y="15580"/>
                        <a:pt x="50039" y="8772"/>
                        <a:pt x="61847" y="1965"/>
                      </a:cubicBezTo>
                      <a:cubicBezTo>
                        <a:pt x="67682" y="-4842"/>
                        <a:pt x="55874" y="8772"/>
                        <a:pt x="61847" y="196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4" name="Freihandform: Form 213">
                  <a:extLst>
                    <a:ext uri="{FF2B5EF4-FFF2-40B4-BE49-F238E27FC236}">
                      <a16:creationId xmlns:a16="http://schemas.microsoft.com/office/drawing/2014/main" id="{564ACA4D-79EE-46F7-881F-0AEA2D7B722E}"/>
                    </a:ext>
                  </a:extLst>
                </p:cNvPr>
                <p:cNvSpPr/>
                <p:nvPr/>
              </p:nvSpPr>
              <p:spPr>
                <a:xfrm>
                  <a:off x="6810536" y="3376222"/>
                  <a:ext cx="80573" cy="16408"/>
                </a:xfrm>
                <a:custGeom>
                  <a:avLst/>
                  <a:gdLst>
                    <a:gd name="connsiteX0" fmla="*/ 40564 w 80573"/>
                    <a:gd name="connsiteY0" fmla="*/ 16408 h 16408"/>
                    <a:gd name="connsiteX1" fmla="*/ 553 w 80573"/>
                    <a:gd name="connsiteY1" fmla="*/ 2099 h 16408"/>
                    <a:gd name="connsiteX2" fmla="*/ 34868 w 80573"/>
                    <a:gd name="connsiteY2" fmla="*/ 2099 h 16408"/>
                    <a:gd name="connsiteX3" fmla="*/ 80574 w 80573"/>
                    <a:gd name="connsiteY3" fmla="*/ 6823 h 16408"/>
                    <a:gd name="connsiteX4" fmla="*/ 69182 w 80573"/>
                    <a:gd name="connsiteY4" fmla="*/ 11546 h 16408"/>
                    <a:gd name="connsiteX5" fmla="*/ 40564 w 80573"/>
                    <a:gd name="connsiteY5" fmla="*/ 16408 h 16408"/>
                    <a:gd name="connsiteX6" fmla="*/ 40564 w 80573"/>
                    <a:gd name="connsiteY6" fmla="*/ 16408 h 1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73" h="16408">
                      <a:moveTo>
                        <a:pt x="40564" y="16408"/>
                      </a:moveTo>
                      <a:cubicBezTo>
                        <a:pt x="34868" y="16408"/>
                        <a:pt x="-5142" y="6823"/>
                        <a:pt x="553" y="2099"/>
                      </a:cubicBezTo>
                      <a:cubicBezTo>
                        <a:pt x="553" y="-2624"/>
                        <a:pt x="34868" y="2099"/>
                        <a:pt x="34868" y="2099"/>
                      </a:cubicBezTo>
                      <a:cubicBezTo>
                        <a:pt x="52094" y="6823"/>
                        <a:pt x="63486" y="6823"/>
                        <a:pt x="80574" y="6823"/>
                      </a:cubicBezTo>
                      <a:lnTo>
                        <a:pt x="69182" y="11546"/>
                      </a:lnTo>
                      <a:cubicBezTo>
                        <a:pt x="63486" y="16408"/>
                        <a:pt x="51955" y="16408"/>
                        <a:pt x="40564" y="16408"/>
                      </a:cubicBezTo>
                      <a:cubicBezTo>
                        <a:pt x="29172" y="16408"/>
                        <a:pt x="46260" y="16408"/>
                        <a:pt x="40564" y="1640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5" name="Freihandform: Form 214">
                  <a:extLst>
                    <a:ext uri="{FF2B5EF4-FFF2-40B4-BE49-F238E27FC236}">
                      <a16:creationId xmlns:a16="http://schemas.microsoft.com/office/drawing/2014/main" id="{2310661A-80C3-4066-AE81-E2CDF7C7A48F}"/>
                    </a:ext>
                  </a:extLst>
                </p:cNvPr>
                <p:cNvSpPr/>
                <p:nvPr/>
              </p:nvSpPr>
              <p:spPr>
                <a:xfrm>
                  <a:off x="6761386" y="2452705"/>
                  <a:ext cx="43869" cy="29342"/>
                </a:xfrm>
                <a:custGeom>
                  <a:avLst/>
                  <a:gdLst>
                    <a:gd name="connsiteX0" fmla="*/ 3026 w 43869"/>
                    <a:gd name="connsiteY0" fmla="*/ 23447 h 29342"/>
                    <a:gd name="connsiteX1" fmla="*/ 3026 w 43869"/>
                    <a:gd name="connsiteY1" fmla="*/ 3025 h 29342"/>
                    <a:gd name="connsiteX2" fmla="*/ 43869 w 43869"/>
                    <a:gd name="connsiteY2" fmla="*/ 3025 h 29342"/>
                    <a:gd name="connsiteX3" fmla="*/ 3026 w 43869"/>
                    <a:gd name="connsiteY3" fmla="*/ 23447 h 29342"/>
                    <a:gd name="connsiteX4" fmla="*/ 3026 w 43869"/>
                    <a:gd name="connsiteY4" fmla="*/ 23447 h 29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69" h="29342">
                      <a:moveTo>
                        <a:pt x="3026" y="23447"/>
                      </a:moveTo>
                      <a:cubicBezTo>
                        <a:pt x="3026" y="16640"/>
                        <a:pt x="-3782" y="3025"/>
                        <a:pt x="3026" y="3025"/>
                      </a:cubicBezTo>
                      <a:cubicBezTo>
                        <a:pt x="9833" y="3025"/>
                        <a:pt x="43869" y="-3782"/>
                        <a:pt x="43869" y="3025"/>
                      </a:cubicBezTo>
                      <a:cubicBezTo>
                        <a:pt x="44008" y="9833"/>
                        <a:pt x="9833" y="37062"/>
                        <a:pt x="3026" y="23447"/>
                      </a:cubicBezTo>
                      <a:cubicBezTo>
                        <a:pt x="3026" y="3025"/>
                        <a:pt x="9833" y="43869"/>
                        <a:pt x="3026" y="2344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6" name="Freihandform: Form 215">
                  <a:extLst>
                    <a:ext uri="{FF2B5EF4-FFF2-40B4-BE49-F238E27FC236}">
                      <a16:creationId xmlns:a16="http://schemas.microsoft.com/office/drawing/2014/main" id="{C18CBB45-1E32-453B-8BC4-F6CF6CA96CFB}"/>
                    </a:ext>
                  </a:extLst>
                </p:cNvPr>
                <p:cNvSpPr/>
                <p:nvPr/>
              </p:nvSpPr>
              <p:spPr>
                <a:xfrm>
                  <a:off x="6767190" y="2433302"/>
                  <a:ext cx="25281" cy="12070"/>
                </a:xfrm>
                <a:custGeom>
                  <a:avLst/>
                  <a:gdLst>
                    <a:gd name="connsiteX0" fmla="*/ 17226 w 25281"/>
                    <a:gd name="connsiteY0" fmla="*/ 9231 h 12070"/>
                    <a:gd name="connsiteX1" fmla="*/ 0 w 25281"/>
                    <a:gd name="connsiteY1" fmla="*/ 2840 h 12070"/>
                    <a:gd name="connsiteX2" fmla="*/ 22922 w 25281"/>
                    <a:gd name="connsiteY2" fmla="*/ 2840 h 12070"/>
                    <a:gd name="connsiteX3" fmla="*/ 17226 w 25281"/>
                    <a:gd name="connsiteY3" fmla="*/ 9231 h 12070"/>
                    <a:gd name="connsiteX4" fmla="*/ 17226 w 25281"/>
                    <a:gd name="connsiteY4" fmla="*/ 9231 h 1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81" h="12070">
                      <a:moveTo>
                        <a:pt x="17226" y="9231"/>
                      </a:moveTo>
                      <a:cubicBezTo>
                        <a:pt x="11530" y="9231"/>
                        <a:pt x="0" y="2840"/>
                        <a:pt x="0" y="2840"/>
                      </a:cubicBezTo>
                      <a:cubicBezTo>
                        <a:pt x="0" y="2840"/>
                        <a:pt x="22922" y="-3550"/>
                        <a:pt x="22922" y="2840"/>
                      </a:cubicBezTo>
                      <a:cubicBezTo>
                        <a:pt x="28618" y="9231"/>
                        <a:pt x="22922" y="15621"/>
                        <a:pt x="17226" y="9231"/>
                      </a:cubicBezTo>
                      <a:cubicBezTo>
                        <a:pt x="5695" y="9231"/>
                        <a:pt x="28618" y="15621"/>
                        <a:pt x="17226" y="923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7" name="Freihandform: Form 216">
                  <a:extLst>
                    <a:ext uri="{FF2B5EF4-FFF2-40B4-BE49-F238E27FC236}">
                      <a16:creationId xmlns:a16="http://schemas.microsoft.com/office/drawing/2014/main" id="{A863F6CC-A923-46C5-949B-EBB0246A137B}"/>
                    </a:ext>
                  </a:extLst>
                </p:cNvPr>
                <p:cNvSpPr/>
                <p:nvPr/>
              </p:nvSpPr>
              <p:spPr>
                <a:xfrm>
                  <a:off x="6647527" y="2487289"/>
                  <a:ext cx="24361" cy="42054"/>
                </a:xfrm>
                <a:custGeom>
                  <a:avLst/>
                  <a:gdLst>
                    <a:gd name="connsiteX0" fmla="*/ 24362 w 24361"/>
                    <a:gd name="connsiteY0" fmla="*/ 1644 h 42054"/>
                    <a:gd name="connsiteX1" fmla="*/ 5329 w 24361"/>
                    <a:gd name="connsiteY1" fmla="*/ 41654 h 42054"/>
                    <a:gd name="connsiteX2" fmla="*/ 24362 w 24361"/>
                    <a:gd name="connsiteY2" fmla="*/ 1644 h 42054"/>
                    <a:gd name="connsiteX3" fmla="*/ 24362 w 24361"/>
                    <a:gd name="connsiteY3" fmla="*/ 1644 h 42054"/>
                  </a:gdLst>
                  <a:ahLst/>
                  <a:cxnLst>
                    <a:cxn ang="0">
                      <a:pos x="connsiteX0" y="connsiteY0"/>
                    </a:cxn>
                    <a:cxn ang="0">
                      <a:pos x="connsiteX1" y="connsiteY1"/>
                    </a:cxn>
                    <a:cxn ang="0">
                      <a:pos x="connsiteX2" y="connsiteY2"/>
                    </a:cxn>
                    <a:cxn ang="0">
                      <a:pos x="connsiteX3" y="connsiteY3"/>
                    </a:cxn>
                  </a:cxnLst>
                  <a:rect l="l" t="t" r="r" b="b"/>
                  <a:pathLst>
                    <a:path w="24361" h="42054">
                      <a:moveTo>
                        <a:pt x="24362" y="1644"/>
                      </a:moveTo>
                      <a:cubicBezTo>
                        <a:pt x="24362" y="-9747"/>
                        <a:pt x="-13703" y="47350"/>
                        <a:pt x="5329" y="41654"/>
                      </a:cubicBezTo>
                      <a:cubicBezTo>
                        <a:pt x="11580" y="41654"/>
                        <a:pt x="24362" y="7340"/>
                        <a:pt x="24362" y="1644"/>
                      </a:cubicBezTo>
                      <a:cubicBezTo>
                        <a:pt x="24362" y="-4052"/>
                        <a:pt x="24362" y="7340"/>
                        <a:pt x="24362" y="164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8" name="Freihandform: Form 217">
                  <a:extLst>
                    <a:ext uri="{FF2B5EF4-FFF2-40B4-BE49-F238E27FC236}">
                      <a16:creationId xmlns:a16="http://schemas.microsoft.com/office/drawing/2014/main" id="{80F4892C-BE64-4298-BC4E-88F1CA551247}"/>
                    </a:ext>
                  </a:extLst>
                </p:cNvPr>
                <p:cNvSpPr/>
                <p:nvPr/>
              </p:nvSpPr>
              <p:spPr>
                <a:xfrm>
                  <a:off x="6694370" y="2372654"/>
                  <a:ext cx="14402" cy="15658"/>
                </a:xfrm>
                <a:custGeom>
                  <a:avLst/>
                  <a:gdLst>
                    <a:gd name="connsiteX0" fmla="*/ 10860 w 14402"/>
                    <a:gd name="connsiteY0" fmla="*/ 14309 h 15658"/>
                    <a:gd name="connsiteX1" fmla="*/ 1274 w 14402"/>
                    <a:gd name="connsiteY1" fmla="*/ 4723 h 15658"/>
                    <a:gd name="connsiteX2" fmla="*/ 10860 w 14402"/>
                    <a:gd name="connsiteY2" fmla="*/ 0 h 15658"/>
                    <a:gd name="connsiteX3" fmla="*/ 10860 w 14402"/>
                    <a:gd name="connsiteY3" fmla="*/ 14309 h 15658"/>
                    <a:gd name="connsiteX4" fmla="*/ 10860 w 14402"/>
                    <a:gd name="connsiteY4" fmla="*/ 14309 h 15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2" h="15658">
                      <a:moveTo>
                        <a:pt x="10860" y="14309"/>
                      </a:moveTo>
                      <a:cubicBezTo>
                        <a:pt x="6137" y="14309"/>
                        <a:pt x="-3450" y="9586"/>
                        <a:pt x="1274" y="4723"/>
                      </a:cubicBezTo>
                      <a:cubicBezTo>
                        <a:pt x="5998" y="4723"/>
                        <a:pt x="10860" y="0"/>
                        <a:pt x="10860" y="0"/>
                      </a:cubicBezTo>
                      <a:cubicBezTo>
                        <a:pt x="15583" y="0"/>
                        <a:pt x="15583" y="9447"/>
                        <a:pt x="10860" y="14309"/>
                      </a:cubicBezTo>
                      <a:cubicBezTo>
                        <a:pt x="6137" y="19033"/>
                        <a:pt x="15583" y="9447"/>
                        <a:pt x="10860" y="1430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19" name="Freihandform: Form 218">
                  <a:extLst>
                    <a:ext uri="{FF2B5EF4-FFF2-40B4-BE49-F238E27FC236}">
                      <a16:creationId xmlns:a16="http://schemas.microsoft.com/office/drawing/2014/main" id="{CA2921AD-6A4B-4932-9151-AB49585A68FF}"/>
                    </a:ext>
                  </a:extLst>
                </p:cNvPr>
                <p:cNvSpPr/>
                <p:nvPr/>
              </p:nvSpPr>
              <p:spPr>
                <a:xfrm>
                  <a:off x="6443081" y="2571517"/>
                  <a:ext cx="28618" cy="49115"/>
                </a:xfrm>
                <a:custGeom>
                  <a:avLst/>
                  <a:gdLst>
                    <a:gd name="connsiteX0" fmla="*/ 28618 w 28618"/>
                    <a:gd name="connsiteY0" fmla="*/ 4521 h 49115"/>
                    <a:gd name="connsiteX1" fmla="*/ 28618 w 28618"/>
                    <a:gd name="connsiteY1" fmla="*/ 17302 h 49115"/>
                    <a:gd name="connsiteX2" fmla="*/ 23895 w 28618"/>
                    <a:gd name="connsiteY2" fmla="*/ 49116 h 49115"/>
                    <a:gd name="connsiteX3" fmla="*/ 0 w 28618"/>
                    <a:gd name="connsiteY3" fmla="*/ 11051 h 49115"/>
                    <a:gd name="connsiteX4" fmla="*/ 14309 w 28618"/>
                    <a:gd name="connsiteY4" fmla="*/ 11051 h 49115"/>
                    <a:gd name="connsiteX5" fmla="*/ 28618 w 28618"/>
                    <a:gd name="connsiteY5" fmla="*/ 4521 h 49115"/>
                    <a:gd name="connsiteX6" fmla="*/ 28618 w 28618"/>
                    <a:gd name="connsiteY6" fmla="*/ 4521 h 4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8" h="49115">
                      <a:moveTo>
                        <a:pt x="28618" y="4521"/>
                      </a:moveTo>
                      <a:cubicBezTo>
                        <a:pt x="28618" y="-1869"/>
                        <a:pt x="28618" y="17302"/>
                        <a:pt x="28618" y="17302"/>
                      </a:cubicBezTo>
                      <a:cubicBezTo>
                        <a:pt x="28618" y="29944"/>
                        <a:pt x="28618" y="42725"/>
                        <a:pt x="23895" y="49116"/>
                      </a:cubicBezTo>
                      <a:cubicBezTo>
                        <a:pt x="23895" y="49116"/>
                        <a:pt x="0" y="23693"/>
                        <a:pt x="0" y="11051"/>
                      </a:cubicBezTo>
                      <a:cubicBezTo>
                        <a:pt x="0" y="11051"/>
                        <a:pt x="9586" y="4660"/>
                        <a:pt x="14309" y="11051"/>
                      </a:cubicBezTo>
                      <a:cubicBezTo>
                        <a:pt x="19033" y="17163"/>
                        <a:pt x="23895" y="17163"/>
                        <a:pt x="28618" y="4521"/>
                      </a:cubicBezTo>
                      <a:cubicBezTo>
                        <a:pt x="28618" y="-8260"/>
                        <a:pt x="28618" y="10773"/>
                        <a:pt x="28618" y="452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0" name="Freihandform: Form 219">
                  <a:extLst>
                    <a:ext uri="{FF2B5EF4-FFF2-40B4-BE49-F238E27FC236}">
                      <a16:creationId xmlns:a16="http://schemas.microsoft.com/office/drawing/2014/main" id="{14476240-B8C3-4BF0-9D83-4A947A845A5C}"/>
                    </a:ext>
                  </a:extLst>
                </p:cNvPr>
                <p:cNvSpPr/>
                <p:nvPr/>
              </p:nvSpPr>
              <p:spPr>
                <a:xfrm>
                  <a:off x="6400615" y="2590660"/>
                  <a:ext cx="33296" cy="34240"/>
                </a:xfrm>
                <a:custGeom>
                  <a:avLst/>
                  <a:gdLst>
                    <a:gd name="connsiteX0" fmla="*/ 30518 w 33296"/>
                    <a:gd name="connsiteY0" fmla="*/ 32195 h 34240"/>
                    <a:gd name="connsiteX1" fmla="*/ 789 w 33296"/>
                    <a:gd name="connsiteY1" fmla="*/ 10801 h 34240"/>
                    <a:gd name="connsiteX2" fmla="*/ 30518 w 33296"/>
                    <a:gd name="connsiteY2" fmla="*/ 32195 h 34240"/>
                    <a:gd name="connsiteX3" fmla="*/ 30518 w 33296"/>
                    <a:gd name="connsiteY3" fmla="*/ 32195 h 34240"/>
                  </a:gdLst>
                  <a:ahLst/>
                  <a:cxnLst>
                    <a:cxn ang="0">
                      <a:pos x="connsiteX0" y="connsiteY0"/>
                    </a:cxn>
                    <a:cxn ang="0">
                      <a:pos x="connsiteX1" y="connsiteY1"/>
                    </a:cxn>
                    <a:cxn ang="0">
                      <a:pos x="connsiteX2" y="connsiteY2"/>
                    </a:cxn>
                    <a:cxn ang="0">
                      <a:pos x="connsiteX3" y="connsiteY3"/>
                    </a:cxn>
                  </a:cxnLst>
                  <a:rect l="l" t="t" r="r" b="b"/>
                  <a:pathLst>
                    <a:path w="33296" h="34240">
                      <a:moveTo>
                        <a:pt x="30518" y="32195"/>
                      </a:moveTo>
                      <a:cubicBezTo>
                        <a:pt x="24545" y="39280"/>
                        <a:pt x="-5185" y="17886"/>
                        <a:pt x="789" y="10801"/>
                      </a:cubicBezTo>
                      <a:cubicBezTo>
                        <a:pt x="12736" y="-17817"/>
                        <a:pt x="42466" y="17886"/>
                        <a:pt x="30518" y="32195"/>
                      </a:cubicBezTo>
                      <a:cubicBezTo>
                        <a:pt x="24545" y="39280"/>
                        <a:pt x="36492" y="25110"/>
                        <a:pt x="30518" y="3219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1" name="Freihandform: Form 220">
                  <a:extLst>
                    <a:ext uri="{FF2B5EF4-FFF2-40B4-BE49-F238E27FC236}">
                      <a16:creationId xmlns:a16="http://schemas.microsoft.com/office/drawing/2014/main" id="{F620CA61-C969-4ED2-B292-9B1FAEE70E7B}"/>
                    </a:ext>
                  </a:extLst>
                </p:cNvPr>
                <p:cNvSpPr/>
                <p:nvPr/>
              </p:nvSpPr>
              <p:spPr>
                <a:xfrm>
                  <a:off x="6166623" y="3220921"/>
                  <a:ext cx="33728" cy="15331"/>
                </a:xfrm>
                <a:custGeom>
                  <a:avLst/>
                  <a:gdLst>
                    <a:gd name="connsiteX0" fmla="*/ 30563 w 33728"/>
                    <a:gd name="connsiteY0" fmla="*/ 9586 h 15331"/>
                    <a:gd name="connsiteX1" fmla="*/ 22922 w 33728"/>
                    <a:gd name="connsiteY1" fmla="*/ 14309 h 15331"/>
                    <a:gd name="connsiteX2" fmla="*/ 0 w 33728"/>
                    <a:gd name="connsiteY2" fmla="*/ 9586 h 15331"/>
                    <a:gd name="connsiteX3" fmla="*/ 30563 w 33728"/>
                    <a:gd name="connsiteY3" fmla="*/ 0 h 15331"/>
                    <a:gd name="connsiteX4" fmla="*/ 30563 w 33728"/>
                    <a:gd name="connsiteY4" fmla="*/ 9586 h 15331"/>
                    <a:gd name="connsiteX5" fmla="*/ 30563 w 33728"/>
                    <a:gd name="connsiteY5" fmla="*/ 9586 h 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28" h="15331">
                      <a:moveTo>
                        <a:pt x="30563" y="9586"/>
                      </a:moveTo>
                      <a:cubicBezTo>
                        <a:pt x="38204" y="4862"/>
                        <a:pt x="30563" y="19171"/>
                        <a:pt x="22922" y="14309"/>
                      </a:cubicBezTo>
                      <a:lnTo>
                        <a:pt x="0" y="9586"/>
                      </a:lnTo>
                      <a:cubicBezTo>
                        <a:pt x="0" y="9586"/>
                        <a:pt x="22922" y="0"/>
                        <a:pt x="30563" y="0"/>
                      </a:cubicBezTo>
                      <a:cubicBezTo>
                        <a:pt x="30563" y="139"/>
                        <a:pt x="22922" y="9586"/>
                        <a:pt x="30563" y="9586"/>
                      </a:cubicBezTo>
                      <a:cubicBezTo>
                        <a:pt x="38204" y="4862"/>
                        <a:pt x="22922" y="9586"/>
                        <a:pt x="30563" y="95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2" name="Freihandform: Form 221">
                  <a:extLst>
                    <a:ext uri="{FF2B5EF4-FFF2-40B4-BE49-F238E27FC236}">
                      <a16:creationId xmlns:a16="http://schemas.microsoft.com/office/drawing/2014/main" id="{7EF5E59C-0EE1-4CC3-8B12-9401ABF15389}"/>
                    </a:ext>
                  </a:extLst>
                </p:cNvPr>
                <p:cNvSpPr/>
                <p:nvPr/>
              </p:nvSpPr>
              <p:spPr>
                <a:xfrm>
                  <a:off x="5867089" y="2462915"/>
                  <a:ext cx="29111" cy="32060"/>
                </a:xfrm>
                <a:custGeom>
                  <a:avLst/>
                  <a:gdLst>
                    <a:gd name="connsiteX0" fmla="*/ 26271 w 29111"/>
                    <a:gd name="connsiteY0" fmla="*/ 1845 h 32060"/>
                    <a:gd name="connsiteX1" fmla="*/ 19881 w 29111"/>
                    <a:gd name="connsiteY1" fmla="*/ 27268 h 32060"/>
                    <a:gd name="connsiteX2" fmla="*/ 848 w 29111"/>
                    <a:gd name="connsiteY2" fmla="*/ 27268 h 32060"/>
                    <a:gd name="connsiteX3" fmla="*/ 26271 w 29111"/>
                    <a:gd name="connsiteY3" fmla="*/ 1845 h 32060"/>
                    <a:gd name="connsiteX4" fmla="*/ 26271 w 29111"/>
                    <a:gd name="connsiteY4" fmla="*/ 1845 h 32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11" h="32060">
                      <a:moveTo>
                        <a:pt x="26271" y="1845"/>
                      </a:moveTo>
                      <a:cubicBezTo>
                        <a:pt x="32662" y="8235"/>
                        <a:pt x="19881" y="14487"/>
                        <a:pt x="19881" y="27268"/>
                      </a:cubicBezTo>
                      <a:cubicBezTo>
                        <a:pt x="13490" y="33658"/>
                        <a:pt x="7100" y="33658"/>
                        <a:pt x="848" y="27268"/>
                      </a:cubicBezTo>
                      <a:cubicBezTo>
                        <a:pt x="-5542" y="20877"/>
                        <a:pt x="26271" y="-4546"/>
                        <a:pt x="26271" y="1845"/>
                      </a:cubicBezTo>
                      <a:cubicBezTo>
                        <a:pt x="32662" y="8235"/>
                        <a:pt x="26271" y="-4546"/>
                        <a:pt x="26271" y="184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3" name="Freihandform: Form 222">
                  <a:extLst>
                    <a:ext uri="{FF2B5EF4-FFF2-40B4-BE49-F238E27FC236}">
                      <a16:creationId xmlns:a16="http://schemas.microsoft.com/office/drawing/2014/main" id="{E76BCBC9-DBA2-4A18-A670-2898DB2A9D48}"/>
                    </a:ext>
                  </a:extLst>
                </p:cNvPr>
                <p:cNvSpPr/>
                <p:nvPr/>
              </p:nvSpPr>
              <p:spPr>
                <a:xfrm>
                  <a:off x="5880719" y="2511107"/>
                  <a:ext cx="19032" cy="14085"/>
                </a:xfrm>
                <a:custGeom>
                  <a:avLst/>
                  <a:gdLst>
                    <a:gd name="connsiteX0" fmla="*/ 19032 w 19032"/>
                    <a:gd name="connsiteY0" fmla="*/ 1304 h 14085"/>
                    <a:gd name="connsiteX1" fmla="*/ 0 w 19032"/>
                    <a:gd name="connsiteY1" fmla="*/ 7695 h 14085"/>
                    <a:gd name="connsiteX2" fmla="*/ 12642 w 19032"/>
                    <a:gd name="connsiteY2" fmla="*/ 14085 h 14085"/>
                    <a:gd name="connsiteX3" fmla="*/ 19032 w 19032"/>
                    <a:gd name="connsiteY3" fmla="*/ 1304 h 14085"/>
                    <a:gd name="connsiteX4" fmla="*/ 19032 w 19032"/>
                    <a:gd name="connsiteY4" fmla="*/ 1304 h 140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2" h="14085">
                      <a:moveTo>
                        <a:pt x="19032" y="1304"/>
                      </a:moveTo>
                      <a:cubicBezTo>
                        <a:pt x="12642" y="1304"/>
                        <a:pt x="0" y="1304"/>
                        <a:pt x="0" y="7695"/>
                      </a:cubicBezTo>
                      <a:cubicBezTo>
                        <a:pt x="0" y="14085"/>
                        <a:pt x="12642" y="14085"/>
                        <a:pt x="12642" y="14085"/>
                      </a:cubicBezTo>
                      <a:cubicBezTo>
                        <a:pt x="19032" y="14085"/>
                        <a:pt x="19032" y="-5086"/>
                        <a:pt x="19032" y="1304"/>
                      </a:cubicBezTo>
                      <a:cubicBezTo>
                        <a:pt x="12642" y="1304"/>
                        <a:pt x="19032" y="1304"/>
                        <a:pt x="19032" y="130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4" name="Freihandform: Form 223">
                  <a:extLst>
                    <a:ext uri="{FF2B5EF4-FFF2-40B4-BE49-F238E27FC236}">
                      <a16:creationId xmlns:a16="http://schemas.microsoft.com/office/drawing/2014/main" id="{ABFD16E6-1632-491E-B425-761AF32A1452}"/>
                    </a:ext>
                  </a:extLst>
                </p:cNvPr>
                <p:cNvSpPr/>
                <p:nvPr/>
              </p:nvSpPr>
              <p:spPr>
                <a:xfrm>
                  <a:off x="5905289" y="2525192"/>
                  <a:ext cx="13495" cy="9585"/>
                </a:xfrm>
                <a:custGeom>
                  <a:avLst/>
                  <a:gdLst>
                    <a:gd name="connsiteX0" fmla="*/ 13495 w 13495"/>
                    <a:gd name="connsiteY0" fmla="*/ 0 h 9585"/>
                    <a:gd name="connsiteX1" fmla="*/ 3910 w 13495"/>
                    <a:gd name="connsiteY1" fmla="*/ 9586 h 9585"/>
                    <a:gd name="connsiteX2" fmla="*/ 13495 w 13495"/>
                    <a:gd name="connsiteY2" fmla="*/ 0 h 9585"/>
                  </a:gdLst>
                  <a:ahLst/>
                  <a:cxnLst>
                    <a:cxn ang="0">
                      <a:pos x="connsiteX0" y="connsiteY0"/>
                    </a:cxn>
                    <a:cxn ang="0">
                      <a:pos x="connsiteX1" y="connsiteY1"/>
                    </a:cxn>
                    <a:cxn ang="0">
                      <a:pos x="connsiteX2" y="connsiteY2"/>
                    </a:cxn>
                  </a:cxnLst>
                  <a:rect l="l" t="t" r="r" b="b"/>
                  <a:pathLst>
                    <a:path w="13495" h="9585">
                      <a:moveTo>
                        <a:pt x="13495" y="0"/>
                      </a:moveTo>
                      <a:cubicBezTo>
                        <a:pt x="3910" y="0"/>
                        <a:pt x="-5537" y="9586"/>
                        <a:pt x="3910" y="9586"/>
                      </a:cubicBezTo>
                      <a:cubicBezTo>
                        <a:pt x="13495" y="9447"/>
                        <a:pt x="13495" y="0"/>
                        <a:pt x="13495"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5" name="Freihandform: Form 224">
                  <a:extLst>
                    <a:ext uri="{FF2B5EF4-FFF2-40B4-BE49-F238E27FC236}">
                      <a16:creationId xmlns:a16="http://schemas.microsoft.com/office/drawing/2014/main" id="{2F004767-D659-43F0-8ABB-5679016C6CD4}"/>
                    </a:ext>
                  </a:extLst>
                </p:cNvPr>
                <p:cNvSpPr/>
                <p:nvPr/>
              </p:nvSpPr>
              <p:spPr>
                <a:xfrm>
                  <a:off x="5899612" y="2534639"/>
                  <a:ext cx="9585" cy="19032"/>
                </a:xfrm>
                <a:custGeom>
                  <a:avLst/>
                  <a:gdLst>
                    <a:gd name="connsiteX0" fmla="*/ 9586 w 9585"/>
                    <a:gd name="connsiteY0" fmla="*/ 0 h 19032"/>
                    <a:gd name="connsiteX1" fmla="*/ 0 w 9585"/>
                    <a:gd name="connsiteY1" fmla="*/ 19032 h 19032"/>
                    <a:gd name="connsiteX2" fmla="*/ 9586 w 9585"/>
                    <a:gd name="connsiteY2" fmla="*/ 0 h 19032"/>
                  </a:gdLst>
                  <a:ahLst/>
                  <a:cxnLst>
                    <a:cxn ang="0">
                      <a:pos x="connsiteX0" y="connsiteY0"/>
                    </a:cxn>
                    <a:cxn ang="0">
                      <a:pos x="connsiteX1" y="connsiteY1"/>
                    </a:cxn>
                    <a:cxn ang="0">
                      <a:pos x="connsiteX2" y="connsiteY2"/>
                    </a:cxn>
                  </a:cxnLst>
                  <a:rect l="l" t="t" r="r" b="b"/>
                  <a:pathLst>
                    <a:path w="9585" h="19032">
                      <a:moveTo>
                        <a:pt x="9586" y="0"/>
                      </a:moveTo>
                      <a:cubicBezTo>
                        <a:pt x="9586" y="9586"/>
                        <a:pt x="0" y="19032"/>
                        <a:pt x="0" y="19032"/>
                      </a:cubicBezTo>
                      <a:cubicBezTo>
                        <a:pt x="9586" y="19032"/>
                        <a:pt x="9586" y="0"/>
                        <a:pt x="958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6" name="Freihandform: Form 225">
                  <a:extLst>
                    <a:ext uri="{FF2B5EF4-FFF2-40B4-BE49-F238E27FC236}">
                      <a16:creationId xmlns:a16="http://schemas.microsoft.com/office/drawing/2014/main" id="{8E5783F7-CF46-4F56-AFF6-A2CB0AAEE15D}"/>
                    </a:ext>
                  </a:extLst>
                </p:cNvPr>
                <p:cNvSpPr/>
                <p:nvPr/>
              </p:nvSpPr>
              <p:spPr>
                <a:xfrm>
                  <a:off x="5905289" y="2553671"/>
                  <a:ext cx="13495" cy="9585"/>
                </a:xfrm>
                <a:custGeom>
                  <a:avLst/>
                  <a:gdLst>
                    <a:gd name="connsiteX0" fmla="*/ 13495 w 13495"/>
                    <a:gd name="connsiteY0" fmla="*/ 0 h 9585"/>
                    <a:gd name="connsiteX1" fmla="*/ 3910 w 13495"/>
                    <a:gd name="connsiteY1" fmla="*/ 9586 h 9585"/>
                    <a:gd name="connsiteX2" fmla="*/ 13495 w 13495"/>
                    <a:gd name="connsiteY2" fmla="*/ 0 h 9585"/>
                  </a:gdLst>
                  <a:ahLst/>
                  <a:cxnLst>
                    <a:cxn ang="0">
                      <a:pos x="connsiteX0" y="connsiteY0"/>
                    </a:cxn>
                    <a:cxn ang="0">
                      <a:pos x="connsiteX1" y="connsiteY1"/>
                    </a:cxn>
                    <a:cxn ang="0">
                      <a:pos x="connsiteX2" y="connsiteY2"/>
                    </a:cxn>
                  </a:cxnLst>
                  <a:rect l="l" t="t" r="r" b="b"/>
                  <a:pathLst>
                    <a:path w="13495" h="9585">
                      <a:moveTo>
                        <a:pt x="13495" y="0"/>
                      </a:moveTo>
                      <a:cubicBezTo>
                        <a:pt x="3910" y="0"/>
                        <a:pt x="-5537" y="9586"/>
                        <a:pt x="3910" y="9586"/>
                      </a:cubicBezTo>
                      <a:cubicBezTo>
                        <a:pt x="13495" y="9586"/>
                        <a:pt x="13495" y="0"/>
                        <a:pt x="13495"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7" name="Freihandform: Form 226">
                  <a:extLst>
                    <a:ext uri="{FF2B5EF4-FFF2-40B4-BE49-F238E27FC236}">
                      <a16:creationId xmlns:a16="http://schemas.microsoft.com/office/drawing/2014/main" id="{55499513-332D-490A-9642-A466A651B3B2}"/>
                    </a:ext>
                  </a:extLst>
                </p:cNvPr>
                <p:cNvSpPr/>
                <p:nvPr/>
              </p:nvSpPr>
              <p:spPr>
                <a:xfrm>
                  <a:off x="5956849" y="2649112"/>
                  <a:ext cx="4260" cy="9585"/>
                </a:xfrm>
                <a:custGeom>
                  <a:avLst/>
                  <a:gdLst>
                    <a:gd name="connsiteX0" fmla="*/ 0 w 4260"/>
                    <a:gd name="connsiteY0" fmla="*/ 0 h 9585"/>
                    <a:gd name="connsiteX1" fmla="*/ 0 w 4260"/>
                    <a:gd name="connsiteY1" fmla="*/ 9586 h 9585"/>
                    <a:gd name="connsiteX2" fmla="*/ 0 w 4260"/>
                    <a:gd name="connsiteY2" fmla="*/ 0 h 9585"/>
                  </a:gdLst>
                  <a:ahLst/>
                  <a:cxnLst>
                    <a:cxn ang="0">
                      <a:pos x="connsiteX0" y="connsiteY0"/>
                    </a:cxn>
                    <a:cxn ang="0">
                      <a:pos x="connsiteX1" y="connsiteY1"/>
                    </a:cxn>
                    <a:cxn ang="0">
                      <a:pos x="connsiteX2" y="connsiteY2"/>
                    </a:cxn>
                  </a:cxnLst>
                  <a:rect l="l" t="t" r="r" b="b"/>
                  <a:pathLst>
                    <a:path w="4260" h="9585">
                      <a:moveTo>
                        <a:pt x="0" y="0"/>
                      </a:moveTo>
                      <a:cubicBezTo>
                        <a:pt x="0" y="4723"/>
                        <a:pt x="0" y="9586"/>
                        <a:pt x="0" y="9586"/>
                      </a:cubicBezTo>
                      <a:cubicBezTo>
                        <a:pt x="0" y="9586"/>
                        <a:pt x="9586" y="0"/>
                        <a:pt x="0"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8" name="Freihandform: Form 227">
                  <a:extLst>
                    <a:ext uri="{FF2B5EF4-FFF2-40B4-BE49-F238E27FC236}">
                      <a16:creationId xmlns:a16="http://schemas.microsoft.com/office/drawing/2014/main" id="{5F51975D-333F-4CE9-A6CF-48E732D9CAE3}"/>
                    </a:ext>
                  </a:extLst>
                </p:cNvPr>
                <p:cNvSpPr/>
                <p:nvPr/>
              </p:nvSpPr>
              <p:spPr>
                <a:xfrm>
                  <a:off x="6045993" y="2369123"/>
                  <a:ext cx="15882" cy="22563"/>
                </a:xfrm>
                <a:custGeom>
                  <a:avLst/>
                  <a:gdLst>
                    <a:gd name="connsiteX0" fmla="*/ 6297 w 15882"/>
                    <a:gd name="connsiteY0" fmla="*/ 22563 h 22563"/>
                    <a:gd name="connsiteX1" fmla="*/ 15882 w 15882"/>
                    <a:gd name="connsiteY1" fmla="*/ 1169 h 22563"/>
                    <a:gd name="connsiteX2" fmla="*/ 6297 w 15882"/>
                    <a:gd name="connsiteY2" fmla="*/ 22563 h 22563"/>
                    <a:gd name="connsiteX3" fmla="*/ 6297 w 15882"/>
                    <a:gd name="connsiteY3" fmla="*/ 22563 h 22563"/>
                  </a:gdLst>
                  <a:ahLst/>
                  <a:cxnLst>
                    <a:cxn ang="0">
                      <a:pos x="connsiteX0" y="connsiteY0"/>
                    </a:cxn>
                    <a:cxn ang="0">
                      <a:pos x="connsiteX1" y="connsiteY1"/>
                    </a:cxn>
                    <a:cxn ang="0">
                      <a:pos x="connsiteX2" y="connsiteY2"/>
                    </a:cxn>
                    <a:cxn ang="0">
                      <a:pos x="connsiteX3" y="connsiteY3"/>
                    </a:cxn>
                  </a:cxnLst>
                  <a:rect l="l" t="t" r="r" b="b"/>
                  <a:pathLst>
                    <a:path w="15882" h="22563">
                      <a:moveTo>
                        <a:pt x="6297" y="22563"/>
                      </a:moveTo>
                      <a:cubicBezTo>
                        <a:pt x="-3289" y="15478"/>
                        <a:pt x="-3289" y="1169"/>
                        <a:pt x="15882" y="1169"/>
                      </a:cubicBezTo>
                      <a:cubicBezTo>
                        <a:pt x="15743" y="-6055"/>
                        <a:pt x="15743" y="22563"/>
                        <a:pt x="6297" y="22563"/>
                      </a:cubicBezTo>
                      <a:cubicBezTo>
                        <a:pt x="-3289" y="15478"/>
                        <a:pt x="6297" y="22563"/>
                        <a:pt x="6297" y="22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29" name="Freihandform: Form 228">
                  <a:extLst>
                    <a:ext uri="{FF2B5EF4-FFF2-40B4-BE49-F238E27FC236}">
                      <a16:creationId xmlns:a16="http://schemas.microsoft.com/office/drawing/2014/main" id="{577C996B-67F9-41D9-834A-71285829C95A}"/>
                    </a:ext>
                  </a:extLst>
                </p:cNvPr>
                <p:cNvSpPr/>
                <p:nvPr/>
              </p:nvSpPr>
              <p:spPr>
                <a:xfrm>
                  <a:off x="3773943" y="5922429"/>
                  <a:ext cx="29537" cy="61112"/>
                </a:xfrm>
                <a:custGeom>
                  <a:avLst/>
                  <a:gdLst>
                    <a:gd name="connsiteX0" fmla="*/ 19032 w 29537"/>
                    <a:gd name="connsiteY0" fmla="*/ 57097 h 61112"/>
                    <a:gd name="connsiteX1" fmla="*/ 0 w 29537"/>
                    <a:gd name="connsiteY1" fmla="*/ 50985 h 61112"/>
                    <a:gd name="connsiteX2" fmla="*/ 6390 w 29537"/>
                    <a:gd name="connsiteY2" fmla="*/ 8474 h 61112"/>
                    <a:gd name="connsiteX3" fmla="*/ 25423 w 29537"/>
                    <a:gd name="connsiteY3" fmla="*/ 14587 h 61112"/>
                    <a:gd name="connsiteX4" fmla="*/ 19032 w 29537"/>
                    <a:gd name="connsiteY4" fmla="*/ 57097 h 61112"/>
                    <a:gd name="connsiteX5" fmla="*/ 19032 w 29537"/>
                    <a:gd name="connsiteY5" fmla="*/ 57097 h 61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7" h="61112">
                      <a:moveTo>
                        <a:pt x="19032" y="57097"/>
                      </a:moveTo>
                      <a:cubicBezTo>
                        <a:pt x="6390" y="63210"/>
                        <a:pt x="0" y="63210"/>
                        <a:pt x="0" y="50985"/>
                      </a:cubicBezTo>
                      <a:cubicBezTo>
                        <a:pt x="6390" y="38898"/>
                        <a:pt x="6390" y="20699"/>
                        <a:pt x="6390" y="8474"/>
                      </a:cubicBezTo>
                      <a:cubicBezTo>
                        <a:pt x="6390" y="-3751"/>
                        <a:pt x="31813" y="-3612"/>
                        <a:pt x="25423" y="14587"/>
                      </a:cubicBezTo>
                      <a:cubicBezTo>
                        <a:pt x="25423" y="26673"/>
                        <a:pt x="38065" y="44872"/>
                        <a:pt x="19032" y="57097"/>
                      </a:cubicBezTo>
                      <a:cubicBezTo>
                        <a:pt x="12642" y="57097"/>
                        <a:pt x="25423" y="50985"/>
                        <a:pt x="19032" y="5709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0" name="Freihandform: Form 229">
                  <a:extLst>
                    <a:ext uri="{FF2B5EF4-FFF2-40B4-BE49-F238E27FC236}">
                      <a16:creationId xmlns:a16="http://schemas.microsoft.com/office/drawing/2014/main" id="{258FF638-BF7E-4BDA-856D-63DC6E6AA72D}"/>
                    </a:ext>
                  </a:extLst>
                </p:cNvPr>
                <p:cNvSpPr/>
                <p:nvPr/>
              </p:nvSpPr>
              <p:spPr>
                <a:xfrm>
                  <a:off x="3901954" y="4150902"/>
                  <a:ext cx="17007" cy="19003"/>
                </a:xfrm>
                <a:custGeom>
                  <a:avLst/>
                  <a:gdLst>
                    <a:gd name="connsiteX0" fmla="*/ 12997 w 17007"/>
                    <a:gd name="connsiteY0" fmla="*/ 16227 h 19003"/>
                    <a:gd name="connsiteX1" fmla="*/ 1605 w 17007"/>
                    <a:gd name="connsiteY1" fmla="*/ 1918 h 19003"/>
                    <a:gd name="connsiteX2" fmla="*/ 12997 w 17007"/>
                    <a:gd name="connsiteY2" fmla="*/ 16227 h 19003"/>
                    <a:gd name="connsiteX3" fmla="*/ 12997 w 17007"/>
                    <a:gd name="connsiteY3" fmla="*/ 16227 h 19003"/>
                  </a:gdLst>
                  <a:ahLst/>
                  <a:cxnLst>
                    <a:cxn ang="0">
                      <a:pos x="connsiteX0" y="connsiteY0"/>
                    </a:cxn>
                    <a:cxn ang="0">
                      <a:pos x="connsiteX1" y="connsiteY1"/>
                    </a:cxn>
                    <a:cxn ang="0">
                      <a:pos x="connsiteX2" y="connsiteY2"/>
                    </a:cxn>
                    <a:cxn ang="0">
                      <a:pos x="connsiteX3" y="connsiteY3"/>
                    </a:cxn>
                  </a:cxnLst>
                  <a:rect l="l" t="t" r="r" b="b"/>
                  <a:pathLst>
                    <a:path w="17007" h="19003">
                      <a:moveTo>
                        <a:pt x="12997" y="16227"/>
                      </a:moveTo>
                      <a:cubicBezTo>
                        <a:pt x="7301" y="23312"/>
                        <a:pt x="-4230" y="16227"/>
                        <a:pt x="1605" y="1918"/>
                      </a:cubicBezTo>
                      <a:cubicBezTo>
                        <a:pt x="1605" y="-5167"/>
                        <a:pt x="24388" y="9142"/>
                        <a:pt x="12997" y="16227"/>
                      </a:cubicBezTo>
                      <a:cubicBezTo>
                        <a:pt x="7301" y="23451"/>
                        <a:pt x="24388" y="9142"/>
                        <a:pt x="12997" y="162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1" name="Freihandform: Form 230">
                  <a:extLst>
                    <a:ext uri="{FF2B5EF4-FFF2-40B4-BE49-F238E27FC236}">
                      <a16:creationId xmlns:a16="http://schemas.microsoft.com/office/drawing/2014/main" id="{E43AB6D1-AF2C-497B-A21D-BCFC4628FAD2}"/>
                    </a:ext>
                  </a:extLst>
                </p:cNvPr>
                <p:cNvSpPr/>
                <p:nvPr/>
              </p:nvSpPr>
              <p:spPr>
                <a:xfrm>
                  <a:off x="4168285" y="4194242"/>
                  <a:ext cx="25423" cy="33080"/>
                </a:xfrm>
                <a:custGeom>
                  <a:avLst/>
                  <a:gdLst>
                    <a:gd name="connsiteX0" fmla="*/ 2840 w 25423"/>
                    <a:gd name="connsiteY0" fmla="*/ 25401 h 33080"/>
                    <a:gd name="connsiteX1" fmla="*/ 9231 w 25423"/>
                    <a:gd name="connsiteY1" fmla="*/ 18316 h 33080"/>
                    <a:gd name="connsiteX2" fmla="*/ 22012 w 25423"/>
                    <a:gd name="connsiteY2" fmla="*/ 4006 h 33080"/>
                    <a:gd name="connsiteX3" fmla="*/ 2840 w 25423"/>
                    <a:gd name="connsiteY3" fmla="*/ 25401 h 33080"/>
                    <a:gd name="connsiteX4" fmla="*/ 2840 w 25423"/>
                    <a:gd name="connsiteY4" fmla="*/ 25401 h 33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23" h="33080">
                      <a:moveTo>
                        <a:pt x="2840" y="25401"/>
                      </a:moveTo>
                      <a:cubicBezTo>
                        <a:pt x="-3550" y="18316"/>
                        <a:pt x="9231" y="18316"/>
                        <a:pt x="9231" y="18316"/>
                      </a:cubicBezTo>
                      <a:cubicBezTo>
                        <a:pt x="15621" y="18316"/>
                        <a:pt x="15621" y="-10302"/>
                        <a:pt x="22012" y="4006"/>
                      </a:cubicBezTo>
                      <a:cubicBezTo>
                        <a:pt x="34515" y="18177"/>
                        <a:pt x="9092" y="46795"/>
                        <a:pt x="2840" y="25401"/>
                      </a:cubicBezTo>
                      <a:cubicBezTo>
                        <a:pt x="-3550" y="18177"/>
                        <a:pt x="2840" y="32486"/>
                        <a:pt x="2840" y="2540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2" name="Freihandform: Form 231">
                  <a:extLst>
                    <a:ext uri="{FF2B5EF4-FFF2-40B4-BE49-F238E27FC236}">
                      <a16:creationId xmlns:a16="http://schemas.microsoft.com/office/drawing/2014/main" id="{CE28B16D-6617-4350-944D-5D5E477C5CB8}"/>
                    </a:ext>
                  </a:extLst>
                </p:cNvPr>
                <p:cNvSpPr/>
                <p:nvPr/>
              </p:nvSpPr>
              <p:spPr>
                <a:xfrm>
                  <a:off x="4511735" y="4528678"/>
                  <a:ext cx="75204" cy="70426"/>
                </a:xfrm>
                <a:custGeom>
                  <a:avLst/>
                  <a:gdLst>
                    <a:gd name="connsiteX0" fmla="*/ 69771 w 75204"/>
                    <a:gd name="connsiteY0" fmla="*/ 21881 h 70426"/>
                    <a:gd name="connsiteX1" fmla="*/ 57546 w 75204"/>
                    <a:gd name="connsiteY1" fmla="*/ 16046 h 70426"/>
                    <a:gd name="connsiteX2" fmla="*/ 33095 w 75204"/>
                    <a:gd name="connsiteY2" fmla="*/ 4376 h 70426"/>
                    <a:gd name="connsiteX3" fmla="*/ 8644 w 75204"/>
                    <a:gd name="connsiteY3" fmla="*/ 4376 h 70426"/>
                    <a:gd name="connsiteX4" fmla="*/ 2532 w 75204"/>
                    <a:gd name="connsiteY4" fmla="*/ 10211 h 70426"/>
                    <a:gd name="connsiteX5" fmla="*/ 8644 w 75204"/>
                    <a:gd name="connsiteY5" fmla="*/ 21881 h 70426"/>
                    <a:gd name="connsiteX6" fmla="*/ 2532 w 75204"/>
                    <a:gd name="connsiteY6" fmla="*/ 39524 h 70426"/>
                    <a:gd name="connsiteX7" fmla="*/ 8644 w 75204"/>
                    <a:gd name="connsiteY7" fmla="*/ 57167 h 70426"/>
                    <a:gd name="connsiteX8" fmla="*/ 20870 w 75204"/>
                    <a:gd name="connsiteY8" fmla="*/ 57167 h 70426"/>
                    <a:gd name="connsiteX9" fmla="*/ 39208 w 75204"/>
                    <a:gd name="connsiteY9" fmla="*/ 68837 h 70426"/>
                    <a:gd name="connsiteX10" fmla="*/ 57546 w 75204"/>
                    <a:gd name="connsiteY10" fmla="*/ 57167 h 70426"/>
                    <a:gd name="connsiteX11" fmla="*/ 69771 w 75204"/>
                    <a:gd name="connsiteY11" fmla="*/ 21881 h 70426"/>
                    <a:gd name="connsiteX12" fmla="*/ 69771 w 75204"/>
                    <a:gd name="connsiteY12" fmla="*/ 21881 h 7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204" h="70426">
                      <a:moveTo>
                        <a:pt x="69771" y="21881"/>
                      </a:moveTo>
                      <a:cubicBezTo>
                        <a:pt x="69771" y="16046"/>
                        <a:pt x="63658" y="16046"/>
                        <a:pt x="57546" y="16046"/>
                      </a:cubicBezTo>
                      <a:cubicBezTo>
                        <a:pt x="45320" y="10211"/>
                        <a:pt x="45320" y="4376"/>
                        <a:pt x="33095" y="4376"/>
                      </a:cubicBezTo>
                      <a:cubicBezTo>
                        <a:pt x="26983" y="-1459"/>
                        <a:pt x="14757" y="-1459"/>
                        <a:pt x="8644" y="4376"/>
                      </a:cubicBezTo>
                      <a:cubicBezTo>
                        <a:pt x="8644" y="4376"/>
                        <a:pt x="8644" y="10211"/>
                        <a:pt x="2532" y="10211"/>
                      </a:cubicBezTo>
                      <a:cubicBezTo>
                        <a:pt x="-3581" y="21881"/>
                        <a:pt x="2532" y="16046"/>
                        <a:pt x="8644" y="21881"/>
                      </a:cubicBezTo>
                      <a:lnTo>
                        <a:pt x="2532" y="39524"/>
                      </a:lnTo>
                      <a:cubicBezTo>
                        <a:pt x="2532" y="51194"/>
                        <a:pt x="2532" y="51194"/>
                        <a:pt x="8644" y="57167"/>
                      </a:cubicBezTo>
                      <a:cubicBezTo>
                        <a:pt x="14757" y="63002"/>
                        <a:pt x="14757" y="57167"/>
                        <a:pt x="20870" y="57167"/>
                      </a:cubicBezTo>
                      <a:cubicBezTo>
                        <a:pt x="33095" y="57167"/>
                        <a:pt x="26983" y="68837"/>
                        <a:pt x="39208" y="68837"/>
                      </a:cubicBezTo>
                      <a:cubicBezTo>
                        <a:pt x="51433" y="74671"/>
                        <a:pt x="45320" y="63002"/>
                        <a:pt x="57546" y="57167"/>
                      </a:cubicBezTo>
                      <a:cubicBezTo>
                        <a:pt x="69771" y="45358"/>
                        <a:pt x="81996" y="39385"/>
                        <a:pt x="69771" y="21881"/>
                      </a:cubicBezTo>
                      <a:cubicBezTo>
                        <a:pt x="69771" y="10072"/>
                        <a:pt x="81996" y="45358"/>
                        <a:pt x="69771" y="2188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3" name="Freihandform: Form 232">
                  <a:extLst>
                    <a:ext uri="{FF2B5EF4-FFF2-40B4-BE49-F238E27FC236}">
                      <a16:creationId xmlns:a16="http://schemas.microsoft.com/office/drawing/2014/main" id="{ADF4F438-56E5-4D21-8FE3-1246D98AC35C}"/>
                    </a:ext>
                  </a:extLst>
                </p:cNvPr>
                <p:cNvSpPr/>
                <p:nvPr/>
              </p:nvSpPr>
              <p:spPr>
                <a:xfrm>
                  <a:off x="3998490" y="3945546"/>
                  <a:ext cx="55788" cy="23431"/>
                </a:xfrm>
                <a:custGeom>
                  <a:avLst/>
                  <a:gdLst>
                    <a:gd name="connsiteX0" fmla="*/ 54689 w 55788"/>
                    <a:gd name="connsiteY0" fmla="*/ 14309 h 23431"/>
                    <a:gd name="connsiteX1" fmla="*/ 21347 w 55788"/>
                    <a:gd name="connsiteY1" fmla="*/ 0 h 23431"/>
                    <a:gd name="connsiteX2" fmla="*/ 1342 w 55788"/>
                    <a:gd name="connsiteY2" fmla="*/ 21394 h 23431"/>
                    <a:gd name="connsiteX3" fmla="*/ 54689 w 55788"/>
                    <a:gd name="connsiteY3" fmla="*/ 14309 h 23431"/>
                    <a:gd name="connsiteX4" fmla="*/ 54689 w 55788"/>
                    <a:gd name="connsiteY4" fmla="*/ 14309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88" h="23431">
                      <a:moveTo>
                        <a:pt x="54689" y="14309"/>
                      </a:moveTo>
                      <a:cubicBezTo>
                        <a:pt x="41352" y="7224"/>
                        <a:pt x="34684" y="0"/>
                        <a:pt x="21347" y="0"/>
                      </a:cubicBezTo>
                      <a:cubicBezTo>
                        <a:pt x="14679" y="0"/>
                        <a:pt x="-5326" y="7085"/>
                        <a:pt x="1342" y="21394"/>
                      </a:cubicBezTo>
                      <a:cubicBezTo>
                        <a:pt x="8011" y="28618"/>
                        <a:pt x="54689" y="14309"/>
                        <a:pt x="54689" y="14309"/>
                      </a:cubicBezTo>
                      <a:cubicBezTo>
                        <a:pt x="34684" y="7085"/>
                        <a:pt x="61357" y="21394"/>
                        <a:pt x="54689" y="1430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4" name="Freihandform: Form 233">
                  <a:extLst>
                    <a:ext uri="{FF2B5EF4-FFF2-40B4-BE49-F238E27FC236}">
                      <a16:creationId xmlns:a16="http://schemas.microsoft.com/office/drawing/2014/main" id="{A9FA60ED-A5F0-4961-B0E3-BAFB76B3D6B7}"/>
                    </a:ext>
                  </a:extLst>
                </p:cNvPr>
                <p:cNvSpPr/>
                <p:nvPr/>
              </p:nvSpPr>
              <p:spPr>
                <a:xfrm>
                  <a:off x="3645838" y="3735910"/>
                  <a:ext cx="15033" cy="19033"/>
                </a:xfrm>
                <a:custGeom>
                  <a:avLst/>
                  <a:gdLst>
                    <a:gd name="connsiteX0" fmla="*/ 8909 w 15033"/>
                    <a:gd name="connsiteY0" fmla="*/ 19033 h 19033"/>
                    <a:gd name="connsiteX1" fmla="*/ 1823 w 15033"/>
                    <a:gd name="connsiteY1" fmla="*/ 1 h 19033"/>
                    <a:gd name="connsiteX2" fmla="*/ 8909 w 15033"/>
                    <a:gd name="connsiteY2" fmla="*/ 19033 h 19033"/>
                    <a:gd name="connsiteX3" fmla="*/ 8909 w 15033"/>
                    <a:gd name="connsiteY3" fmla="*/ 19033 h 19033"/>
                  </a:gdLst>
                  <a:ahLst/>
                  <a:cxnLst>
                    <a:cxn ang="0">
                      <a:pos x="connsiteX0" y="connsiteY0"/>
                    </a:cxn>
                    <a:cxn ang="0">
                      <a:pos x="connsiteX1" y="connsiteY1"/>
                    </a:cxn>
                    <a:cxn ang="0">
                      <a:pos x="connsiteX2" y="connsiteY2"/>
                    </a:cxn>
                    <a:cxn ang="0">
                      <a:pos x="connsiteX3" y="connsiteY3"/>
                    </a:cxn>
                  </a:cxnLst>
                  <a:rect l="l" t="t" r="r" b="b"/>
                  <a:pathLst>
                    <a:path w="15033" h="19033">
                      <a:moveTo>
                        <a:pt x="8909" y="19033"/>
                      </a:moveTo>
                      <a:cubicBezTo>
                        <a:pt x="-5401" y="19033"/>
                        <a:pt x="1823" y="4724"/>
                        <a:pt x="1823" y="1"/>
                      </a:cubicBezTo>
                      <a:cubicBezTo>
                        <a:pt x="8909" y="-138"/>
                        <a:pt x="23218" y="19033"/>
                        <a:pt x="8909" y="19033"/>
                      </a:cubicBezTo>
                      <a:cubicBezTo>
                        <a:pt x="1685" y="19033"/>
                        <a:pt x="23218" y="19033"/>
                        <a:pt x="8909" y="190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5" name="Freihandform: Form 234">
                  <a:extLst>
                    <a:ext uri="{FF2B5EF4-FFF2-40B4-BE49-F238E27FC236}">
                      <a16:creationId xmlns:a16="http://schemas.microsoft.com/office/drawing/2014/main" id="{9BAEB66A-7C61-43D1-B86B-C58CCBCC2DF7}"/>
                    </a:ext>
                  </a:extLst>
                </p:cNvPr>
                <p:cNvSpPr/>
                <p:nvPr/>
              </p:nvSpPr>
              <p:spPr>
                <a:xfrm>
                  <a:off x="4174321" y="2953452"/>
                  <a:ext cx="38064" cy="51765"/>
                </a:xfrm>
                <a:custGeom>
                  <a:avLst/>
                  <a:gdLst>
                    <a:gd name="connsiteX0" fmla="*/ 19032 w 38064"/>
                    <a:gd name="connsiteY0" fmla="*/ 44496 h 51765"/>
                    <a:gd name="connsiteX1" fmla="*/ 0 w 38064"/>
                    <a:gd name="connsiteY1" fmla="*/ 37828 h 51765"/>
                    <a:gd name="connsiteX2" fmla="*/ 25423 w 38064"/>
                    <a:gd name="connsiteY2" fmla="*/ 4486 h 51765"/>
                    <a:gd name="connsiteX3" fmla="*/ 38065 w 38064"/>
                    <a:gd name="connsiteY3" fmla="*/ 17823 h 51765"/>
                    <a:gd name="connsiteX4" fmla="*/ 19032 w 38064"/>
                    <a:gd name="connsiteY4" fmla="*/ 44496 h 51765"/>
                    <a:gd name="connsiteX5" fmla="*/ 19032 w 38064"/>
                    <a:gd name="connsiteY5" fmla="*/ 44496 h 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64" h="51765">
                      <a:moveTo>
                        <a:pt x="19032" y="44496"/>
                      </a:moveTo>
                      <a:cubicBezTo>
                        <a:pt x="12642" y="57833"/>
                        <a:pt x="0" y="51165"/>
                        <a:pt x="0" y="37828"/>
                      </a:cubicBezTo>
                      <a:cubicBezTo>
                        <a:pt x="6390" y="31160"/>
                        <a:pt x="19032" y="11155"/>
                        <a:pt x="25423" y="4486"/>
                      </a:cubicBezTo>
                      <a:cubicBezTo>
                        <a:pt x="38065" y="-8850"/>
                        <a:pt x="38065" y="11155"/>
                        <a:pt x="38065" y="17823"/>
                      </a:cubicBezTo>
                      <a:cubicBezTo>
                        <a:pt x="38065" y="31160"/>
                        <a:pt x="19032" y="31160"/>
                        <a:pt x="19032" y="44496"/>
                      </a:cubicBezTo>
                      <a:cubicBezTo>
                        <a:pt x="12642" y="57833"/>
                        <a:pt x="19032" y="44496"/>
                        <a:pt x="19032" y="4449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6" name="Freihandform: Form 235">
                  <a:extLst>
                    <a:ext uri="{FF2B5EF4-FFF2-40B4-BE49-F238E27FC236}">
                      <a16:creationId xmlns:a16="http://schemas.microsoft.com/office/drawing/2014/main" id="{C343C8F1-1EF5-4C39-8135-F626662B9D31}"/>
                    </a:ext>
                  </a:extLst>
                </p:cNvPr>
                <p:cNvSpPr/>
                <p:nvPr/>
              </p:nvSpPr>
              <p:spPr>
                <a:xfrm>
                  <a:off x="4205135" y="2979275"/>
                  <a:ext cx="26833" cy="22563"/>
                </a:xfrm>
                <a:custGeom>
                  <a:avLst/>
                  <a:gdLst>
                    <a:gd name="connsiteX0" fmla="*/ 8640 w 26833"/>
                    <a:gd name="connsiteY0" fmla="*/ 22563 h 22563"/>
                    <a:gd name="connsiteX1" fmla="*/ 22254 w 26833"/>
                    <a:gd name="connsiteY1" fmla="*/ 1169 h 22563"/>
                    <a:gd name="connsiteX2" fmla="*/ 8640 w 26833"/>
                    <a:gd name="connsiteY2" fmla="*/ 22563 h 22563"/>
                    <a:gd name="connsiteX3" fmla="*/ 8640 w 26833"/>
                    <a:gd name="connsiteY3" fmla="*/ 22563 h 22563"/>
                  </a:gdLst>
                  <a:ahLst/>
                  <a:cxnLst>
                    <a:cxn ang="0">
                      <a:pos x="connsiteX0" y="connsiteY0"/>
                    </a:cxn>
                    <a:cxn ang="0">
                      <a:pos x="connsiteX1" y="connsiteY1"/>
                    </a:cxn>
                    <a:cxn ang="0">
                      <a:pos x="connsiteX2" y="connsiteY2"/>
                    </a:cxn>
                    <a:cxn ang="0">
                      <a:pos x="connsiteX3" y="connsiteY3"/>
                    </a:cxn>
                  </a:cxnLst>
                  <a:rect l="l" t="t" r="r" b="b"/>
                  <a:pathLst>
                    <a:path w="26833" h="22563">
                      <a:moveTo>
                        <a:pt x="8640" y="22563"/>
                      </a:moveTo>
                      <a:cubicBezTo>
                        <a:pt x="-11782" y="22563"/>
                        <a:pt x="8640" y="-6055"/>
                        <a:pt x="22254" y="1169"/>
                      </a:cubicBezTo>
                      <a:cubicBezTo>
                        <a:pt x="35869" y="1030"/>
                        <a:pt x="15447" y="22563"/>
                        <a:pt x="8640" y="22563"/>
                      </a:cubicBezTo>
                      <a:cubicBezTo>
                        <a:pt x="1832" y="22563"/>
                        <a:pt x="15447" y="22563"/>
                        <a:pt x="8640" y="22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7" name="Freihandform: Form 236">
                  <a:extLst>
                    <a:ext uri="{FF2B5EF4-FFF2-40B4-BE49-F238E27FC236}">
                      <a16:creationId xmlns:a16="http://schemas.microsoft.com/office/drawing/2014/main" id="{9AB36D06-27CC-40A3-BA62-AB797D4F097A}"/>
                    </a:ext>
                  </a:extLst>
                </p:cNvPr>
                <p:cNvSpPr/>
                <p:nvPr/>
              </p:nvSpPr>
              <p:spPr>
                <a:xfrm>
                  <a:off x="4083728" y="2954188"/>
                  <a:ext cx="80868" cy="35055"/>
                </a:xfrm>
                <a:custGeom>
                  <a:avLst/>
                  <a:gdLst>
                    <a:gd name="connsiteX0" fmla="*/ 55584 w 80868"/>
                    <a:gd name="connsiteY0" fmla="*/ 32647 h 35055"/>
                    <a:gd name="connsiteX1" fmla="*/ 49193 w 80868"/>
                    <a:gd name="connsiteY1" fmla="*/ 27229 h 35055"/>
                    <a:gd name="connsiteX2" fmla="*/ 30161 w 80868"/>
                    <a:gd name="connsiteY2" fmla="*/ 27229 h 35055"/>
                    <a:gd name="connsiteX3" fmla="*/ 4738 w 80868"/>
                    <a:gd name="connsiteY3" fmla="*/ 0 h 35055"/>
                    <a:gd name="connsiteX4" fmla="*/ 23770 w 80868"/>
                    <a:gd name="connsiteY4" fmla="*/ 10836 h 35055"/>
                    <a:gd name="connsiteX5" fmla="*/ 36412 w 80868"/>
                    <a:gd name="connsiteY5" fmla="*/ 16254 h 35055"/>
                    <a:gd name="connsiteX6" fmla="*/ 80868 w 80868"/>
                    <a:gd name="connsiteY6" fmla="*/ 16254 h 35055"/>
                    <a:gd name="connsiteX7" fmla="*/ 55584 w 80868"/>
                    <a:gd name="connsiteY7" fmla="*/ 32647 h 35055"/>
                    <a:gd name="connsiteX8" fmla="*/ 55584 w 80868"/>
                    <a:gd name="connsiteY8" fmla="*/ 32647 h 3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868" h="35055">
                      <a:moveTo>
                        <a:pt x="55584" y="32647"/>
                      </a:moveTo>
                      <a:cubicBezTo>
                        <a:pt x="49193" y="32647"/>
                        <a:pt x="49193" y="32647"/>
                        <a:pt x="49193" y="27229"/>
                      </a:cubicBezTo>
                      <a:cubicBezTo>
                        <a:pt x="49193" y="27229"/>
                        <a:pt x="36412" y="32647"/>
                        <a:pt x="30161" y="27229"/>
                      </a:cubicBezTo>
                      <a:cubicBezTo>
                        <a:pt x="30161" y="21811"/>
                        <a:pt x="-14295" y="5418"/>
                        <a:pt x="4738" y="0"/>
                      </a:cubicBezTo>
                      <a:cubicBezTo>
                        <a:pt x="11128" y="0"/>
                        <a:pt x="17380" y="10836"/>
                        <a:pt x="23770" y="10836"/>
                      </a:cubicBezTo>
                      <a:cubicBezTo>
                        <a:pt x="30161" y="16254"/>
                        <a:pt x="30161" y="10836"/>
                        <a:pt x="36412" y="16254"/>
                      </a:cubicBezTo>
                      <a:cubicBezTo>
                        <a:pt x="42803" y="21672"/>
                        <a:pt x="68226" y="10836"/>
                        <a:pt x="80868" y="16254"/>
                      </a:cubicBezTo>
                      <a:cubicBezTo>
                        <a:pt x="74616" y="16254"/>
                        <a:pt x="61974" y="32647"/>
                        <a:pt x="55584" y="32647"/>
                      </a:cubicBezTo>
                      <a:cubicBezTo>
                        <a:pt x="42803" y="38065"/>
                        <a:pt x="61974" y="32647"/>
                        <a:pt x="55584" y="3264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8" name="Freihandform: Form 237">
                  <a:extLst>
                    <a:ext uri="{FF2B5EF4-FFF2-40B4-BE49-F238E27FC236}">
                      <a16:creationId xmlns:a16="http://schemas.microsoft.com/office/drawing/2014/main" id="{87D883D5-D628-4E90-BEEC-7593FE478301}"/>
                    </a:ext>
                  </a:extLst>
                </p:cNvPr>
                <p:cNvSpPr/>
                <p:nvPr/>
              </p:nvSpPr>
              <p:spPr>
                <a:xfrm>
                  <a:off x="4088466" y="2838820"/>
                  <a:ext cx="79730" cy="30407"/>
                </a:xfrm>
                <a:custGeom>
                  <a:avLst/>
                  <a:gdLst>
                    <a:gd name="connsiteX0" fmla="*/ 77519 w 79730"/>
                    <a:gd name="connsiteY0" fmla="*/ 27151 h 30407"/>
                    <a:gd name="connsiteX1" fmla="*/ 0 w 79730"/>
                    <a:gd name="connsiteY1" fmla="*/ 3256 h 30407"/>
                    <a:gd name="connsiteX2" fmla="*/ 77519 w 79730"/>
                    <a:gd name="connsiteY2" fmla="*/ 27151 h 30407"/>
                    <a:gd name="connsiteX3" fmla="*/ 77519 w 79730"/>
                    <a:gd name="connsiteY3" fmla="*/ 27151 h 30407"/>
                  </a:gdLst>
                  <a:ahLst/>
                  <a:cxnLst>
                    <a:cxn ang="0">
                      <a:pos x="connsiteX0" y="connsiteY0"/>
                    </a:cxn>
                    <a:cxn ang="0">
                      <a:pos x="connsiteX1" y="connsiteY1"/>
                    </a:cxn>
                    <a:cxn ang="0">
                      <a:pos x="connsiteX2" y="connsiteY2"/>
                    </a:cxn>
                    <a:cxn ang="0">
                      <a:pos x="connsiteX3" y="connsiteY3"/>
                    </a:cxn>
                  </a:cxnLst>
                  <a:rect l="l" t="t" r="r" b="b"/>
                  <a:pathLst>
                    <a:path w="79730" h="30407">
                      <a:moveTo>
                        <a:pt x="77519" y="27151"/>
                      </a:moveTo>
                      <a:cubicBezTo>
                        <a:pt x="65572" y="39098"/>
                        <a:pt x="5974" y="15204"/>
                        <a:pt x="0" y="3256"/>
                      </a:cubicBezTo>
                      <a:cubicBezTo>
                        <a:pt x="0" y="-8691"/>
                        <a:pt x="95302" y="15204"/>
                        <a:pt x="77519" y="27151"/>
                      </a:cubicBezTo>
                      <a:cubicBezTo>
                        <a:pt x="71546" y="33125"/>
                        <a:pt x="83354" y="21177"/>
                        <a:pt x="77519" y="2715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39" name="Freihandform: Form 238">
                  <a:extLst>
                    <a:ext uri="{FF2B5EF4-FFF2-40B4-BE49-F238E27FC236}">
                      <a16:creationId xmlns:a16="http://schemas.microsoft.com/office/drawing/2014/main" id="{A5EA8271-FA36-4CA6-B8E7-0FB7038A81F1}"/>
                    </a:ext>
                  </a:extLst>
                </p:cNvPr>
                <p:cNvSpPr/>
                <p:nvPr/>
              </p:nvSpPr>
              <p:spPr>
                <a:xfrm>
                  <a:off x="4241143" y="2763446"/>
                  <a:ext cx="200049" cy="186008"/>
                </a:xfrm>
                <a:custGeom>
                  <a:avLst/>
                  <a:gdLst>
                    <a:gd name="connsiteX0" fmla="*/ 118780 w 200049"/>
                    <a:gd name="connsiteY0" fmla="*/ 6113 h 186008"/>
                    <a:gd name="connsiteX1" fmla="*/ 106277 w 200049"/>
                    <a:gd name="connsiteY1" fmla="*/ 0 h 186008"/>
                    <a:gd name="connsiteX2" fmla="*/ 87522 w 200049"/>
                    <a:gd name="connsiteY2" fmla="*/ 12364 h 186008"/>
                    <a:gd name="connsiteX3" fmla="*/ 68767 w 200049"/>
                    <a:gd name="connsiteY3" fmla="*/ 30841 h 186008"/>
                    <a:gd name="connsiteX4" fmla="*/ 56264 w 200049"/>
                    <a:gd name="connsiteY4" fmla="*/ 43205 h 186008"/>
                    <a:gd name="connsiteX5" fmla="*/ 43761 w 200049"/>
                    <a:gd name="connsiteY5" fmla="*/ 80159 h 186008"/>
                    <a:gd name="connsiteX6" fmla="*/ 31258 w 200049"/>
                    <a:gd name="connsiteY6" fmla="*/ 104748 h 186008"/>
                    <a:gd name="connsiteX7" fmla="*/ 12503 w 200049"/>
                    <a:gd name="connsiteY7" fmla="*/ 117113 h 186008"/>
                    <a:gd name="connsiteX8" fmla="*/ 25006 w 200049"/>
                    <a:gd name="connsiteY8" fmla="*/ 129477 h 186008"/>
                    <a:gd name="connsiteX9" fmla="*/ 0 w 200049"/>
                    <a:gd name="connsiteY9" fmla="*/ 154066 h 186008"/>
                    <a:gd name="connsiteX10" fmla="*/ 25006 w 200049"/>
                    <a:gd name="connsiteY10" fmla="*/ 154066 h 186008"/>
                    <a:gd name="connsiteX11" fmla="*/ 62516 w 200049"/>
                    <a:gd name="connsiteY11" fmla="*/ 160179 h 186008"/>
                    <a:gd name="connsiteX12" fmla="*/ 118780 w 200049"/>
                    <a:gd name="connsiteY12" fmla="*/ 166292 h 186008"/>
                    <a:gd name="connsiteX13" fmla="*/ 137534 w 200049"/>
                    <a:gd name="connsiteY13" fmla="*/ 160179 h 186008"/>
                    <a:gd name="connsiteX14" fmla="*/ 118780 w 200049"/>
                    <a:gd name="connsiteY14" fmla="*/ 184768 h 186008"/>
                    <a:gd name="connsiteX15" fmla="*/ 137534 w 200049"/>
                    <a:gd name="connsiteY15" fmla="*/ 172404 h 186008"/>
                    <a:gd name="connsiteX16" fmla="*/ 168792 w 200049"/>
                    <a:gd name="connsiteY16" fmla="*/ 160040 h 186008"/>
                    <a:gd name="connsiteX17" fmla="*/ 200050 w 200049"/>
                    <a:gd name="connsiteY17" fmla="*/ 123086 h 186008"/>
                    <a:gd name="connsiteX18" fmla="*/ 181295 w 200049"/>
                    <a:gd name="connsiteY18" fmla="*/ 123086 h 186008"/>
                    <a:gd name="connsiteX19" fmla="*/ 162541 w 200049"/>
                    <a:gd name="connsiteY19" fmla="*/ 110722 h 186008"/>
                    <a:gd name="connsiteX20" fmla="*/ 181295 w 200049"/>
                    <a:gd name="connsiteY20" fmla="*/ 92245 h 186008"/>
                    <a:gd name="connsiteX21" fmla="*/ 162541 w 200049"/>
                    <a:gd name="connsiteY21" fmla="*/ 92245 h 186008"/>
                    <a:gd name="connsiteX22" fmla="*/ 150037 w 200049"/>
                    <a:gd name="connsiteY22" fmla="*/ 79881 h 186008"/>
                    <a:gd name="connsiteX23" fmla="*/ 131283 w 200049"/>
                    <a:gd name="connsiteY23" fmla="*/ 98358 h 186008"/>
                    <a:gd name="connsiteX24" fmla="*/ 112528 w 200049"/>
                    <a:gd name="connsiteY24" fmla="*/ 79881 h 186008"/>
                    <a:gd name="connsiteX25" fmla="*/ 118780 w 200049"/>
                    <a:gd name="connsiteY25" fmla="*/ 67517 h 186008"/>
                    <a:gd name="connsiteX26" fmla="*/ 100025 w 200049"/>
                    <a:gd name="connsiteY26" fmla="*/ 55153 h 186008"/>
                    <a:gd name="connsiteX27" fmla="*/ 87522 w 200049"/>
                    <a:gd name="connsiteY27" fmla="*/ 73629 h 186008"/>
                    <a:gd name="connsiteX28" fmla="*/ 100025 w 200049"/>
                    <a:gd name="connsiteY28" fmla="*/ 42927 h 186008"/>
                    <a:gd name="connsiteX29" fmla="*/ 112528 w 200049"/>
                    <a:gd name="connsiteY29" fmla="*/ 24451 h 186008"/>
                    <a:gd name="connsiteX30" fmla="*/ 112528 w 200049"/>
                    <a:gd name="connsiteY30" fmla="*/ 12086 h 186008"/>
                    <a:gd name="connsiteX31" fmla="*/ 118780 w 200049"/>
                    <a:gd name="connsiteY31" fmla="*/ 6113 h 186008"/>
                    <a:gd name="connsiteX32" fmla="*/ 118780 w 200049"/>
                    <a:gd name="connsiteY32" fmla="*/ 6113 h 18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0049" h="186008">
                      <a:moveTo>
                        <a:pt x="118780" y="6113"/>
                      </a:moveTo>
                      <a:cubicBezTo>
                        <a:pt x="125031" y="0"/>
                        <a:pt x="106277" y="0"/>
                        <a:pt x="106277" y="0"/>
                      </a:cubicBezTo>
                      <a:cubicBezTo>
                        <a:pt x="100025" y="0"/>
                        <a:pt x="93773" y="6113"/>
                        <a:pt x="87522" y="12364"/>
                      </a:cubicBezTo>
                      <a:cubicBezTo>
                        <a:pt x="81270" y="18477"/>
                        <a:pt x="75019" y="24728"/>
                        <a:pt x="68767" y="30841"/>
                      </a:cubicBezTo>
                      <a:cubicBezTo>
                        <a:pt x="68767" y="36954"/>
                        <a:pt x="62516" y="43205"/>
                        <a:pt x="56264" y="43205"/>
                      </a:cubicBezTo>
                      <a:cubicBezTo>
                        <a:pt x="56264" y="55569"/>
                        <a:pt x="50012" y="67795"/>
                        <a:pt x="43761" y="80159"/>
                      </a:cubicBezTo>
                      <a:cubicBezTo>
                        <a:pt x="43761" y="92523"/>
                        <a:pt x="37509" y="98636"/>
                        <a:pt x="31258" y="104748"/>
                      </a:cubicBezTo>
                      <a:cubicBezTo>
                        <a:pt x="25006" y="110861"/>
                        <a:pt x="12503" y="117113"/>
                        <a:pt x="12503" y="117113"/>
                      </a:cubicBezTo>
                      <a:cubicBezTo>
                        <a:pt x="12503" y="123225"/>
                        <a:pt x="25006" y="123225"/>
                        <a:pt x="25006" y="129477"/>
                      </a:cubicBezTo>
                      <a:cubicBezTo>
                        <a:pt x="25006" y="135589"/>
                        <a:pt x="0" y="147954"/>
                        <a:pt x="0" y="154066"/>
                      </a:cubicBezTo>
                      <a:cubicBezTo>
                        <a:pt x="0" y="166430"/>
                        <a:pt x="18755" y="160179"/>
                        <a:pt x="25006" y="154066"/>
                      </a:cubicBezTo>
                      <a:cubicBezTo>
                        <a:pt x="37509" y="154066"/>
                        <a:pt x="50012" y="160179"/>
                        <a:pt x="62516" y="160179"/>
                      </a:cubicBezTo>
                      <a:cubicBezTo>
                        <a:pt x="81270" y="166292"/>
                        <a:pt x="100025" y="160179"/>
                        <a:pt x="118780" y="166292"/>
                      </a:cubicBezTo>
                      <a:cubicBezTo>
                        <a:pt x="118780" y="166292"/>
                        <a:pt x="137534" y="153927"/>
                        <a:pt x="137534" y="160179"/>
                      </a:cubicBezTo>
                      <a:cubicBezTo>
                        <a:pt x="137534" y="166292"/>
                        <a:pt x="118780" y="184768"/>
                        <a:pt x="118780" y="184768"/>
                      </a:cubicBezTo>
                      <a:cubicBezTo>
                        <a:pt x="125031" y="190881"/>
                        <a:pt x="137534" y="172404"/>
                        <a:pt x="137534" y="172404"/>
                      </a:cubicBezTo>
                      <a:cubicBezTo>
                        <a:pt x="150037" y="166292"/>
                        <a:pt x="162541" y="166292"/>
                        <a:pt x="168792" y="160040"/>
                      </a:cubicBezTo>
                      <a:cubicBezTo>
                        <a:pt x="168792" y="153927"/>
                        <a:pt x="200050" y="123086"/>
                        <a:pt x="200050" y="123086"/>
                      </a:cubicBezTo>
                      <a:cubicBezTo>
                        <a:pt x="193798" y="116974"/>
                        <a:pt x="187547" y="123086"/>
                        <a:pt x="181295" y="123086"/>
                      </a:cubicBezTo>
                      <a:lnTo>
                        <a:pt x="162541" y="110722"/>
                      </a:lnTo>
                      <a:cubicBezTo>
                        <a:pt x="162541" y="104609"/>
                        <a:pt x="187547" y="98358"/>
                        <a:pt x="181295" y="92245"/>
                      </a:cubicBezTo>
                      <a:cubicBezTo>
                        <a:pt x="181295" y="86133"/>
                        <a:pt x="168792" y="92245"/>
                        <a:pt x="162541" y="92245"/>
                      </a:cubicBezTo>
                      <a:cubicBezTo>
                        <a:pt x="156289" y="92245"/>
                        <a:pt x="156289" y="79881"/>
                        <a:pt x="150037" y="79881"/>
                      </a:cubicBezTo>
                      <a:lnTo>
                        <a:pt x="131283" y="98358"/>
                      </a:lnTo>
                      <a:cubicBezTo>
                        <a:pt x="125031" y="85994"/>
                        <a:pt x="125031" y="85994"/>
                        <a:pt x="112528" y="79881"/>
                      </a:cubicBezTo>
                      <a:cubicBezTo>
                        <a:pt x="100025" y="73768"/>
                        <a:pt x="118780" y="73768"/>
                        <a:pt x="118780" y="67517"/>
                      </a:cubicBezTo>
                      <a:cubicBezTo>
                        <a:pt x="118780" y="67517"/>
                        <a:pt x="106277" y="55153"/>
                        <a:pt x="100025" y="55153"/>
                      </a:cubicBezTo>
                      <a:cubicBezTo>
                        <a:pt x="100025" y="61265"/>
                        <a:pt x="87522" y="79742"/>
                        <a:pt x="87522" y="73629"/>
                      </a:cubicBezTo>
                      <a:cubicBezTo>
                        <a:pt x="75019" y="67517"/>
                        <a:pt x="93773" y="42927"/>
                        <a:pt x="100025" y="42927"/>
                      </a:cubicBezTo>
                      <a:cubicBezTo>
                        <a:pt x="106277" y="36815"/>
                        <a:pt x="106277" y="30563"/>
                        <a:pt x="112528" y="24451"/>
                      </a:cubicBezTo>
                      <a:cubicBezTo>
                        <a:pt x="112528" y="18338"/>
                        <a:pt x="112528" y="12086"/>
                        <a:pt x="112528" y="12086"/>
                      </a:cubicBezTo>
                      <a:lnTo>
                        <a:pt x="118780" y="6113"/>
                      </a:lnTo>
                      <a:cubicBezTo>
                        <a:pt x="125031" y="0"/>
                        <a:pt x="118780" y="6113"/>
                        <a:pt x="118780" y="611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0" name="Freihandform: Form 239">
                  <a:extLst>
                    <a:ext uri="{FF2B5EF4-FFF2-40B4-BE49-F238E27FC236}">
                      <a16:creationId xmlns:a16="http://schemas.microsoft.com/office/drawing/2014/main" id="{2D1D3E10-155C-465D-BE09-C4D7F680039D}"/>
                    </a:ext>
                  </a:extLst>
                </p:cNvPr>
                <p:cNvSpPr/>
                <p:nvPr/>
              </p:nvSpPr>
              <p:spPr>
                <a:xfrm>
                  <a:off x="4409256" y="2909640"/>
                  <a:ext cx="50968" cy="54133"/>
                </a:xfrm>
                <a:custGeom>
                  <a:avLst/>
                  <a:gdLst>
                    <a:gd name="connsiteX0" fmla="*/ 36660 w 50968"/>
                    <a:gd name="connsiteY0" fmla="*/ 2593 h 54133"/>
                    <a:gd name="connsiteX1" fmla="*/ 956 w 50968"/>
                    <a:gd name="connsiteY1" fmla="*/ 48299 h 54133"/>
                    <a:gd name="connsiteX2" fmla="*/ 22351 w 50968"/>
                    <a:gd name="connsiteY2" fmla="*/ 36907 h 54133"/>
                    <a:gd name="connsiteX3" fmla="*/ 15265 w 50968"/>
                    <a:gd name="connsiteY3" fmla="*/ 54134 h 54133"/>
                    <a:gd name="connsiteX4" fmla="*/ 36660 w 50968"/>
                    <a:gd name="connsiteY4" fmla="*/ 42742 h 54133"/>
                    <a:gd name="connsiteX5" fmla="*/ 50969 w 50968"/>
                    <a:gd name="connsiteY5" fmla="*/ 19820 h 54133"/>
                    <a:gd name="connsiteX6" fmla="*/ 29575 w 50968"/>
                    <a:gd name="connsiteY6" fmla="*/ 19820 h 54133"/>
                    <a:gd name="connsiteX7" fmla="*/ 36660 w 50968"/>
                    <a:gd name="connsiteY7" fmla="*/ 2593 h 54133"/>
                    <a:gd name="connsiteX8" fmla="*/ 36660 w 50968"/>
                    <a:gd name="connsiteY8" fmla="*/ 2593 h 5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68" h="54133">
                      <a:moveTo>
                        <a:pt x="36660" y="2593"/>
                      </a:moveTo>
                      <a:cubicBezTo>
                        <a:pt x="29575" y="8289"/>
                        <a:pt x="-6268" y="31212"/>
                        <a:pt x="956" y="48299"/>
                      </a:cubicBezTo>
                      <a:cubicBezTo>
                        <a:pt x="956" y="48299"/>
                        <a:pt x="15265" y="31073"/>
                        <a:pt x="22351" y="36907"/>
                      </a:cubicBezTo>
                      <a:lnTo>
                        <a:pt x="15265" y="54134"/>
                      </a:lnTo>
                      <a:cubicBezTo>
                        <a:pt x="22351" y="54134"/>
                        <a:pt x="36660" y="48438"/>
                        <a:pt x="36660" y="42742"/>
                      </a:cubicBezTo>
                      <a:cubicBezTo>
                        <a:pt x="36660" y="37046"/>
                        <a:pt x="43745" y="31350"/>
                        <a:pt x="50969" y="19820"/>
                      </a:cubicBezTo>
                      <a:cubicBezTo>
                        <a:pt x="50969" y="8428"/>
                        <a:pt x="36660" y="19820"/>
                        <a:pt x="29575" y="19820"/>
                      </a:cubicBezTo>
                      <a:cubicBezTo>
                        <a:pt x="36660" y="19681"/>
                        <a:pt x="36660" y="-3242"/>
                        <a:pt x="36660" y="2593"/>
                      </a:cubicBezTo>
                      <a:cubicBezTo>
                        <a:pt x="29575" y="2593"/>
                        <a:pt x="43884" y="-3242"/>
                        <a:pt x="36660" y="259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1" name="Freihandform: Form 240">
                  <a:extLst>
                    <a:ext uri="{FF2B5EF4-FFF2-40B4-BE49-F238E27FC236}">
                      <a16:creationId xmlns:a16="http://schemas.microsoft.com/office/drawing/2014/main" id="{BA7E67D8-9727-4993-9480-1BA967C1A631}"/>
                    </a:ext>
                  </a:extLst>
                </p:cNvPr>
                <p:cNvSpPr/>
                <p:nvPr/>
              </p:nvSpPr>
              <p:spPr>
                <a:xfrm>
                  <a:off x="4059847" y="2309751"/>
                  <a:ext cx="19032" cy="18557"/>
                </a:xfrm>
                <a:custGeom>
                  <a:avLst/>
                  <a:gdLst>
                    <a:gd name="connsiteX0" fmla="*/ 19033 w 19032"/>
                    <a:gd name="connsiteY0" fmla="*/ 15252 h 18557"/>
                    <a:gd name="connsiteX1" fmla="*/ 6391 w 19032"/>
                    <a:gd name="connsiteY1" fmla="*/ 943 h 18557"/>
                    <a:gd name="connsiteX2" fmla="*/ 6391 w 19032"/>
                    <a:gd name="connsiteY2" fmla="*/ 5667 h 18557"/>
                    <a:gd name="connsiteX3" fmla="*/ 0 w 19032"/>
                    <a:gd name="connsiteY3" fmla="*/ 5667 h 18557"/>
                    <a:gd name="connsiteX4" fmla="*/ 19033 w 19032"/>
                    <a:gd name="connsiteY4" fmla="*/ 15252 h 18557"/>
                    <a:gd name="connsiteX5" fmla="*/ 19033 w 19032"/>
                    <a:gd name="connsiteY5" fmla="*/ 15252 h 18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32" h="18557">
                      <a:moveTo>
                        <a:pt x="19033" y="15252"/>
                      </a:moveTo>
                      <a:cubicBezTo>
                        <a:pt x="19033" y="10529"/>
                        <a:pt x="6391" y="-3780"/>
                        <a:pt x="6391" y="943"/>
                      </a:cubicBezTo>
                      <a:cubicBezTo>
                        <a:pt x="6391" y="943"/>
                        <a:pt x="6391" y="943"/>
                        <a:pt x="6391" y="5667"/>
                      </a:cubicBezTo>
                      <a:lnTo>
                        <a:pt x="0" y="5667"/>
                      </a:lnTo>
                      <a:cubicBezTo>
                        <a:pt x="0" y="5667"/>
                        <a:pt x="19033" y="24699"/>
                        <a:pt x="19033" y="15252"/>
                      </a:cubicBezTo>
                      <a:cubicBezTo>
                        <a:pt x="19033" y="10390"/>
                        <a:pt x="19033" y="24699"/>
                        <a:pt x="19033" y="1525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2" name="Freihandform: Form 241">
                  <a:extLst>
                    <a:ext uri="{FF2B5EF4-FFF2-40B4-BE49-F238E27FC236}">
                      <a16:creationId xmlns:a16="http://schemas.microsoft.com/office/drawing/2014/main" id="{3C627309-F0DC-4339-BA54-9177DD88BE9A}"/>
                    </a:ext>
                  </a:extLst>
                </p:cNvPr>
                <p:cNvSpPr/>
                <p:nvPr/>
              </p:nvSpPr>
              <p:spPr>
                <a:xfrm>
                  <a:off x="3964546" y="2367669"/>
                  <a:ext cx="14396" cy="10765"/>
                </a:xfrm>
                <a:custGeom>
                  <a:avLst/>
                  <a:gdLst>
                    <a:gd name="connsiteX0" fmla="*/ 12642 w 14396"/>
                    <a:gd name="connsiteY0" fmla="*/ 1789 h 10765"/>
                    <a:gd name="connsiteX1" fmla="*/ 0 w 14396"/>
                    <a:gd name="connsiteY1" fmla="*/ 8180 h 10765"/>
                    <a:gd name="connsiteX2" fmla="*/ 12642 w 14396"/>
                    <a:gd name="connsiteY2" fmla="*/ 1789 h 10765"/>
                  </a:gdLst>
                  <a:ahLst/>
                  <a:cxnLst>
                    <a:cxn ang="0">
                      <a:pos x="connsiteX0" y="connsiteY0"/>
                    </a:cxn>
                    <a:cxn ang="0">
                      <a:pos x="connsiteX1" y="connsiteY1"/>
                    </a:cxn>
                    <a:cxn ang="0">
                      <a:pos x="connsiteX2" y="connsiteY2"/>
                    </a:cxn>
                  </a:cxnLst>
                  <a:rect l="l" t="t" r="r" b="b"/>
                  <a:pathLst>
                    <a:path w="14396" h="10765">
                      <a:moveTo>
                        <a:pt x="12642" y="1789"/>
                      </a:moveTo>
                      <a:cubicBezTo>
                        <a:pt x="12642" y="-4601"/>
                        <a:pt x="0" y="8180"/>
                        <a:pt x="0" y="8180"/>
                      </a:cubicBezTo>
                      <a:cubicBezTo>
                        <a:pt x="6390" y="14431"/>
                        <a:pt x="19032" y="8180"/>
                        <a:pt x="12642" y="178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3" name="Freihandform: Form 242">
                  <a:extLst>
                    <a:ext uri="{FF2B5EF4-FFF2-40B4-BE49-F238E27FC236}">
                      <a16:creationId xmlns:a16="http://schemas.microsoft.com/office/drawing/2014/main" id="{51834753-3AAE-4183-9D3B-88FB14093287}"/>
                    </a:ext>
                  </a:extLst>
                </p:cNvPr>
                <p:cNvSpPr/>
                <p:nvPr/>
              </p:nvSpPr>
              <p:spPr>
                <a:xfrm>
                  <a:off x="3540555" y="2699617"/>
                  <a:ext cx="33199" cy="20021"/>
                </a:xfrm>
                <a:custGeom>
                  <a:avLst/>
                  <a:gdLst>
                    <a:gd name="connsiteX0" fmla="*/ 33199 w 33199"/>
                    <a:gd name="connsiteY0" fmla="*/ 18540 h 20021"/>
                    <a:gd name="connsiteX1" fmla="*/ 552 w 33199"/>
                    <a:gd name="connsiteY1" fmla="*/ 4231 h 20021"/>
                    <a:gd name="connsiteX2" fmla="*/ 33199 w 33199"/>
                    <a:gd name="connsiteY2" fmla="*/ 18540 h 20021"/>
                    <a:gd name="connsiteX3" fmla="*/ 33199 w 33199"/>
                    <a:gd name="connsiteY3" fmla="*/ 18540 h 20021"/>
                  </a:gdLst>
                  <a:ahLst/>
                  <a:cxnLst>
                    <a:cxn ang="0">
                      <a:pos x="connsiteX0" y="connsiteY0"/>
                    </a:cxn>
                    <a:cxn ang="0">
                      <a:pos x="connsiteX1" y="connsiteY1"/>
                    </a:cxn>
                    <a:cxn ang="0">
                      <a:pos x="connsiteX2" y="connsiteY2"/>
                    </a:cxn>
                    <a:cxn ang="0">
                      <a:pos x="connsiteX3" y="connsiteY3"/>
                    </a:cxn>
                  </a:cxnLst>
                  <a:rect l="l" t="t" r="r" b="b"/>
                  <a:pathLst>
                    <a:path w="33199" h="20021">
                      <a:moveTo>
                        <a:pt x="33199" y="18540"/>
                      </a:moveTo>
                      <a:cubicBezTo>
                        <a:pt x="33199" y="-2854"/>
                        <a:pt x="11388" y="-2854"/>
                        <a:pt x="552" y="4231"/>
                      </a:cubicBezTo>
                      <a:cubicBezTo>
                        <a:pt x="-5005" y="4231"/>
                        <a:pt x="33199" y="25764"/>
                        <a:pt x="33199" y="18540"/>
                      </a:cubicBezTo>
                      <a:cubicBezTo>
                        <a:pt x="33199" y="-2854"/>
                        <a:pt x="33199" y="25764"/>
                        <a:pt x="33199" y="1854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4" name="Freihandform: Form 243">
                  <a:extLst>
                    <a:ext uri="{FF2B5EF4-FFF2-40B4-BE49-F238E27FC236}">
                      <a16:creationId xmlns:a16="http://schemas.microsoft.com/office/drawing/2014/main" id="{614F6DA2-3258-46D9-BF5F-40961ECE3014}"/>
                    </a:ext>
                  </a:extLst>
                </p:cNvPr>
                <p:cNvSpPr/>
                <p:nvPr/>
              </p:nvSpPr>
              <p:spPr>
                <a:xfrm>
                  <a:off x="3602372" y="2552671"/>
                  <a:ext cx="32291" cy="25157"/>
                </a:xfrm>
                <a:custGeom>
                  <a:avLst/>
                  <a:gdLst>
                    <a:gd name="connsiteX0" fmla="*/ 19033 w 32291"/>
                    <a:gd name="connsiteY0" fmla="*/ 23367 h 25157"/>
                    <a:gd name="connsiteX1" fmla="*/ 0 w 32291"/>
                    <a:gd name="connsiteY1" fmla="*/ 10725 h 25157"/>
                    <a:gd name="connsiteX2" fmla="*/ 25423 w 32291"/>
                    <a:gd name="connsiteY2" fmla="*/ 4335 h 25157"/>
                    <a:gd name="connsiteX3" fmla="*/ 19033 w 32291"/>
                    <a:gd name="connsiteY3" fmla="*/ 23367 h 25157"/>
                    <a:gd name="connsiteX4" fmla="*/ 19033 w 32291"/>
                    <a:gd name="connsiteY4" fmla="*/ 23367 h 25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91" h="25157">
                      <a:moveTo>
                        <a:pt x="19033" y="23367"/>
                      </a:moveTo>
                      <a:cubicBezTo>
                        <a:pt x="12642" y="16977"/>
                        <a:pt x="6390" y="16977"/>
                        <a:pt x="0" y="10725"/>
                      </a:cubicBezTo>
                      <a:cubicBezTo>
                        <a:pt x="6390" y="10725"/>
                        <a:pt x="19033" y="-8307"/>
                        <a:pt x="25423" y="4335"/>
                      </a:cubicBezTo>
                      <a:cubicBezTo>
                        <a:pt x="38065" y="10586"/>
                        <a:pt x="31675" y="29619"/>
                        <a:pt x="19033" y="23367"/>
                      </a:cubicBezTo>
                      <a:cubicBezTo>
                        <a:pt x="12642" y="16977"/>
                        <a:pt x="25284" y="29619"/>
                        <a:pt x="19033" y="2336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5" name="Freihandform: Form 244">
                  <a:extLst>
                    <a:ext uri="{FF2B5EF4-FFF2-40B4-BE49-F238E27FC236}">
                      <a16:creationId xmlns:a16="http://schemas.microsoft.com/office/drawing/2014/main" id="{2FA83DA0-B430-4147-AE6A-DCF9FD839377}"/>
                    </a:ext>
                  </a:extLst>
                </p:cNvPr>
                <p:cNvSpPr/>
                <p:nvPr/>
              </p:nvSpPr>
              <p:spPr>
                <a:xfrm>
                  <a:off x="3590759" y="2283492"/>
                  <a:ext cx="24831" cy="35371"/>
                </a:xfrm>
                <a:custGeom>
                  <a:avLst/>
                  <a:gdLst>
                    <a:gd name="connsiteX0" fmla="*/ 11474 w 24831"/>
                    <a:gd name="connsiteY0" fmla="*/ 34704 h 35371"/>
                    <a:gd name="connsiteX1" fmla="*/ 17865 w 24831"/>
                    <a:gd name="connsiteY1" fmla="*/ 668 h 35371"/>
                    <a:gd name="connsiteX2" fmla="*/ 11474 w 24831"/>
                    <a:gd name="connsiteY2" fmla="*/ 34704 h 35371"/>
                    <a:gd name="connsiteX3" fmla="*/ 11474 w 24831"/>
                    <a:gd name="connsiteY3" fmla="*/ 34704 h 35371"/>
                  </a:gdLst>
                  <a:ahLst/>
                  <a:cxnLst>
                    <a:cxn ang="0">
                      <a:pos x="connsiteX0" y="connsiteY0"/>
                    </a:cxn>
                    <a:cxn ang="0">
                      <a:pos x="connsiteX1" y="connsiteY1"/>
                    </a:cxn>
                    <a:cxn ang="0">
                      <a:pos x="connsiteX2" y="connsiteY2"/>
                    </a:cxn>
                    <a:cxn ang="0">
                      <a:pos x="connsiteX3" y="connsiteY3"/>
                    </a:cxn>
                  </a:cxnLst>
                  <a:rect l="l" t="t" r="r" b="b"/>
                  <a:pathLst>
                    <a:path w="24831" h="35371">
                      <a:moveTo>
                        <a:pt x="11474" y="34704"/>
                      </a:moveTo>
                      <a:cubicBezTo>
                        <a:pt x="-7558" y="41511"/>
                        <a:pt x="-1168" y="-6140"/>
                        <a:pt x="17865" y="668"/>
                      </a:cubicBezTo>
                      <a:cubicBezTo>
                        <a:pt x="30646" y="668"/>
                        <a:pt x="24255" y="34704"/>
                        <a:pt x="11474" y="34704"/>
                      </a:cubicBezTo>
                      <a:cubicBezTo>
                        <a:pt x="5223" y="34704"/>
                        <a:pt x="30646" y="34704"/>
                        <a:pt x="11474" y="3470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6" name="Freihandform: Form 245">
                  <a:extLst>
                    <a:ext uri="{FF2B5EF4-FFF2-40B4-BE49-F238E27FC236}">
                      <a16:creationId xmlns:a16="http://schemas.microsoft.com/office/drawing/2014/main" id="{244E4734-31C1-4639-A971-1564C7347D07}"/>
                    </a:ext>
                  </a:extLst>
                </p:cNvPr>
                <p:cNvSpPr/>
                <p:nvPr/>
              </p:nvSpPr>
              <p:spPr>
                <a:xfrm>
                  <a:off x="3482992" y="2248734"/>
                  <a:ext cx="54728" cy="38065"/>
                </a:xfrm>
                <a:custGeom>
                  <a:avLst/>
                  <a:gdLst>
                    <a:gd name="connsiteX0" fmla="*/ 20745 w 54728"/>
                    <a:gd name="connsiteY0" fmla="*/ 38065 h 38065"/>
                    <a:gd name="connsiteX1" fmla="*/ 1712 w 54728"/>
                    <a:gd name="connsiteY1" fmla="*/ 19033 h 38065"/>
                    <a:gd name="connsiteX2" fmla="*/ 46168 w 54728"/>
                    <a:gd name="connsiteY2" fmla="*/ 0 h 38065"/>
                    <a:gd name="connsiteX3" fmla="*/ 20745 w 54728"/>
                    <a:gd name="connsiteY3" fmla="*/ 38065 h 38065"/>
                  </a:gdLst>
                  <a:ahLst/>
                  <a:cxnLst>
                    <a:cxn ang="0">
                      <a:pos x="connsiteX0" y="connsiteY0"/>
                    </a:cxn>
                    <a:cxn ang="0">
                      <a:pos x="connsiteX1" y="connsiteY1"/>
                    </a:cxn>
                    <a:cxn ang="0">
                      <a:pos x="connsiteX2" y="connsiteY2"/>
                    </a:cxn>
                    <a:cxn ang="0">
                      <a:pos x="connsiteX3" y="connsiteY3"/>
                    </a:cxn>
                  </a:cxnLst>
                  <a:rect l="l" t="t" r="r" b="b"/>
                  <a:pathLst>
                    <a:path w="54728" h="38065">
                      <a:moveTo>
                        <a:pt x="20745" y="38065"/>
                      </a:moveTo>
                      <a:cubicBezTo>
                        <a:pt x="7964" y="38065"/>
                        <a:pt x="-4678" y="31675"/>
                        <a:pt x="1712" y="19033"/>
                      </a:cubicBezTo>
                      <a:cubicBezTo>
                        <a:pt x="8103" y="6391"/>
                        <a:pt x="27135" y="6391"/>
                        <a:pt x="46168" y="0"/>
                      </a:cubicBezTo>
                      <a:cubicBezTo>
                        <a:pt x="71591" y="0"/>
                        <a:pt x="33526" y="38065"/>
                        <a:pt x="20745" y="3806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7" name="Freihandform: Form 246">
                  <a:extLst>
                    <a:ext uri="{FF2B5EF4-FFF2-40B4-BE49-F238E27FC236}">
                      <a16:creationId xmlns:a16="http://schemas.microsoft.com/office/drawing/2014/main" id="{DBDEE0C3-D943-4015-A27F-45945559A079}"/>
                    </a:ext>
                  </a:extLst>
                </p:cNvPr>
                <p:cNvSpPr/>
                <p:nvPr/>
              </p:nvSpPr>
              <p:spPr>
                <a:xfrm>
                  <a:off x="3643810" y="2229702"/>
                  <a:ext cx="34692" cy="19032"/>
                </a:xfrm>
                <a:custGeom>
                  <a:avLst/>
                  <a:gdLst>
                    <a:gd name="connsiteX0" fmla="*/ 21078 w 34692"/>
                    <a:gd name="connsiteY0" fmla="*/ 19032 h 19032"/>
                    <a:gd name="connsiteX1" fmla="*/ 7463 w 34692"/>
                    <a:gd name="connsiteY1" fmla="*/ 0 h 19032"/>
                    <a:gd name="connsiteX2" fmla="*/ 34692 w 34692"/>
                    <a:gd name="connsiteY2" fmla="*/ 6390 h 19032"/>
                    <a:gd name="connsiteX3" fmla="*/ 21078 w 34692"/>
                    <a:gd name="connsiteY3" fmla="*/ 19032 h 19032"/>
                    <a:gd name="connsiteX4" fmla="*/ 21078 w 34692"/>
                    <a:gd name="connsiteY4" fmla="*/ 19032 h 19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2" h="19032">
                      <a:moveTo>
                        <a:pt x="21078" y="19032"/>
                      </a:moveTo>
                      <a:cubicBezTo>
                        <a:pt x="14271" y="19032"/>
                        <a:pt x="-12958" y="0"/>
                        <a:pt x="7463" y="0"/>
                      </a:cubicBezTo>
                      <a:cubicBezTo>
                        <a:pt x="14271" y="0"/>
                        <a:pt x="27885" y="0"/>
                        <a:pt x="34692" y="6390"/>
                      </a:cubicBezTo>
                      <a:cubicBezTo>
                        <a:pt x="34692" y="6252"/>
                        <a:pt x="27885" y="19032"/>
                        <a:pt x="21078" y="19032"/>
                      </a:cubicBezTo>
                      <a:cubicBezTo>
                        <a:pt x="14271" y="19032"/>
                        <a:pt x="34692" y="19032"/>
                        <a:pt x="21078" y="1903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8" name="Freihandform: Form 247">
                  <a:extLst>
                    <a:ext uri="{FF2B5EF4-FFF2-40B4-BE49-F238E27FC236}">
                      <a16:creationId xmlns:a16="http://schemas.microsoft.com/office/drawing/2014/main" id="{608C78E9-33F5-4B6B-BB24-412EA9FA466B}"/>
                    </a:ext>
                  </a:extLst>
                </p:cNvPr>
                <p:cNvSpPr/>
                <p:nvPr/>
              </p:nvSpPr>
              <p:spPr>
                <a:xfrm>
                  <a:off x="3382467" y="2110123"/>
                  <a:ext cx="200594" cy="133587"/>
                </a:xfrm>
                <a:custGeom>
                  <a:avLst/>
                  <a:gdLst>
                    <a:gd name="connsiteX0" fmla="*/ 182257 w 200594"/>
                    <a:gd name="connsiteY0" fmla="*/ 120690 h 133587"/>
                    <a:gd name="connsiteX1" fmla="*/ 145303 w 200594"/>
                    <a:gd name="connsiteY1" fmla="*/ 102769 h 133587"/>
                    <a:gd name="connsiteX2" fmla="*/ 139190 w 200594"/>
                    <a:gd name="connsiteY2" fmla="*/ 90821 h 133587"/>
                    <a:gd name="connsiteX3" fmla="*/ 126826 w 200594"/>
                    <a:gd name="connsiteY3" fmla="*/ 96795 h 133587"/>
                    <a:gd name="connsiteX4" fmla="*/ 102098 w 200594"/>
                    <a:gd name="connsiteY4" fmla="*/ 90821 h 133587"/>
                    <a:gd name="connsiteX5" fmla="*/ 89734 w 200594"/>
                    <a:gd name="connsiteY5" fmla="*/ 108742 h 133587"/>
                    <a:gd name="connsiteX6" fmla="*/ 58892 w 200594"/>
                    <a:gd name="connsiteY6" fmla="*/ 132637 h 133587"/>
                    <a:gd name="connsiteX7" fmla="*/ 40416 w 200594"/>
                    <a:gd name="connsiteY7" fmla="*/ 108742 h 133587"/>
                    <a:gd name="connsiteX8" fmla="*/ 3462 w 200594"/>
                    <a:gd name="connsiteY8" fmla="*/ 108742 h 133587"/>
                    <a:gd name="connsiteX9" fmla="*/ 15826 w 200594"/>
                    <a:gd name="connsiteY9" fmla="*/ 90821 h 133587"/>
                    <a:gd name="connsiteX10" fmla="*/ 21939 w 200594"/>
                    <a:gd name="connsiteY10" fmla="*/ 55118 h 133587"/>
                    <a:gd name="connsiteX11" fmla="*/ 28051 w 200594"/>
                    <a:gd name="connsiteY11" fmla="*/ 13441 h 133587"/>
                    <a:gd name="connsiteX12" fmla="*/ 58892 w 200594"/>
                    <a:gd name="connsiteY12" fmla="*/ 13441 h 133587"/>
                    <a:gd name="connsiteX13" fmla="*/ 65005 w 200594"/>
                    <a:gd name="connsiteY13" fmla="*/ 25388 h 133587"/>
                    <a:gd name="connsiteX14" fmla="*/ 77369 w 200594"/>
                    <a:gd name="connsiteY14" fmla="*/ 19415 h 133587"/>
                    <a:gd name="connsiteX15" fmla="*/ 95846 w 200594"/>
                    <a:gd name="connsiteY15" fmla="*/ 31362 h 133587"/>
                    <a:gd name="connsiteX16" fmla="*/ 114323 w 200594"/>
                    <a:gd name="connsiteY16" fmla="*/ 37336 h 133587"/>
                    <a:gd name="connsiteX17" fmla="*/ 145164 w 200594"/>
                    <a:gd name="connsiteY17" fmla="*/ 55257 h 133587"/>
                    <a:gd name="connsiteX18" fmla="*/ 163641 w 200594"/>
                    <a:gd name="connsiteY18" fmla="*/ 84987 h 133587"/>
                    <a:gd name="connsiteX19" fmla="*/ 176005 w 200594"/>
                    <a:gd name="connsiteY19" fmla="*/ 84987 h 133587"/>
                    <a:gd name="connsiteX20" fmla="*/ 194482 w 200594"/>
                    <a:gd name="connsiteY20" fmla="*/ 96934 h 133587"/>
                    <a:gd name="connsiteX21" fmla="*/ 200594 w 200594"/>
                    <a:gd name="connsiteY21" fmla="*/ 102908 h 133587"/>
                    <a:gd name="connsiteX22" fmla="*/ 182257 w 200594"/>
                    <a:gd name="connsiteY22" fmla="*/ 120690 h 133587"/>
                    <a:gd name="connsiteX23" fmla="*/ 182257 w 200594"/>
                    <a:gd name="connsiteY23" fmla="*/ 120690 h 13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594" h="133587">
                      <a:moveTo>
                        <a:pt x="182257" y="120690"/>
                      </a:moveTo>
                      <a:cubicBezTo>
                        <a:pt x="176144" y="114716"/>
                        <a:pt x="157528" y="108742"/>
                        <a:pt x="145303" y="102769"/>
                      </a:cubicBezTo>
                      <a:cubicBezTo>
                        <a:pt x="139190" y="102769"/>
                        <a:pt x="145303" y="96795"/>
                        <a:pt x="139190" y="90821"/>
                      </a:cubicBezTo>
                      <a:lnTo>
                        <a:pt x="126826" y="96795"/>
                      </a:lnTo>
                      <a:cubicBezTo>
                        <a:pt x="114462" y="96795"/>
                        <a:pt x="114462" y="84848"/>
                        <a:pt x="102098" y="90821"/>
                      </a:cubicBezTo>
                      <a:cubicBezTo>
                        <a:pt x="102098" y="96795"/>
                        <a:pt x="95985" y="102769"/>
                        <a:pt x="89734" y="108742"/>
                      </a:cubicBezTo>
                      <a:cubicBezTo>
                        <a:pt x="77369" y="114716"/>
                        <a:pt x="71257" y="126664"/>
                        <a:pt x="58892" y="132637"/>
                      </a:cubicBezTo>
                      <a:cubicBezTo>
                        <a:pt x="40416" y="138611"/>
                        <a:pt x="52780" y="114716"/>
                        <a:pt x="40416" y="108742"/>
                      </a:cubicBezTo>
                      <a:cubicBezTo>
                        <a:pt x="40416" y="102769"/>
                        <a:pt x="9575" y="108742"/>
                        <a:pt x="3462" y="108742"/>
                      </a:cubicBezTo>
                      <a:cubicBezTo>
                        <a:pt x="-8902" y="108742"/>
                        <a:pt x="15826" y="90821"/>
                        <a:pt x="15826" y="90821"/>
                      </a:cubicBezTo>
                      <a:cubicBezTo>
                        <a:pt x="28190" y="78874"/>
                        <a:pt x="21939" y="66926"/>
                        <a:pt x="21939" y="55118"/>
                      </a:cubicBezTo>
                      <a:cubicBezTo>
                        <a:pt x="21939" y="43171"/>
                        <a:pt x="21939" y="25388"/>
                        <a:pt x="28051" y="13441"/>
                      </a:cubicBezTo>
                      <a:cubicBezTo>
                        <a:pt x="34164" y="-4480"/>
                        <a:pt x="52780" y="-4480"/>
                        <a:pt x="58892" y="13441"/>
                      </a:cubicBezTo>
                      <a:cubicBezTo>
                        <a:pt x="58892" y="19415"/>
                        <a:pt x="58892" y="31362"/>
                        <a:pt x="65005" y="25388"/>
                      </a:cubicBezTo>
                      <a:cubicBezTo>
                        <a:pt x="71118" y="25388"/>
                        <a:pt x="71118" y="19415"/>
                        <a:pt x="77369" y="19415"/>
                      </a:cubicBezTo>
                      <a:cubicBezTo>
                        <a:pt x="83482" y="25388"/>
                        <a:pt x="89734" y="31362"/>
                        <a:pt x="95846" y="31362"/>
                      </a:cubicBezTo>
                      <a:cubicBezTo>
                        <a:pt x="101959" y="37336"/>
                        <a:pt x="108210" y="37336"/>
                        <a:pt x="114323" y="37336"/>
                      </a:cubicBezTo>
                      <a:cubicBezTo>
                        <a:pt x="120436" y="43309"/>
                        <a:pt x="132800" y="49283"/>
                        <a:pt x="145164" y="55257"/>
                      </a:cubicBezTo>
                      <a:cubicBezTo>
                        <a:pt x="163641" y="61231"/>
                        <a:pt x="163641" y="67204"/>
                        <a:pt x="163641" y="84987"/>
                      </a:cubicBezTo>
                      <a:cubicBezTo>
                        <a:pt x="163641" y="90960"/>
                        <a:pt x="176005" y="90960"/>
                        <a:pt x="176005" y="84987"/>
                      </a:cubicBezTo>
                      <a:cubicBezTo>
                        <a:pt x="188369" y="84987"/>
                        <a:pt x="188369" y="90960"/>
                        <a:pt x="194482" y="96934"/>
                      </a:cubicBezTo>
                      <a:cubicBezTo>
                        <a:pt x="200594" y="96934"/>
                        <a:pt x="200594" y="96934"/>
                        <a:pt x="200594" y="102908"/>
                      </a:cubicBezTo>
                      <a:cubicBezTo>
                        <a:pt x="194621" y="108742"/>
                        <a:pt x="194621" y="120690"/>
                        <a:pt x="182257" y="120690"/>
                      </a:cubicBezTo>
                      <a:cubicBezTo>
                        <a:pt x="176144" y="114716"/>
                        <a:pt x="194621" y="120690"/>
                        <a:pt x="182257" y="12069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49" name="Freihandform: Form 248">
                  <a:extLst>
                    <a:ext uri="{FF2B5EF4-FFF2-40B4-BE49-F238E27FC236}">
                      <a16:creationId xmlns:a16="http://schemas.microsoft.com/office/drawing/2014/main" id="{2EBEB27A-A9F9-4B01-82D9-DD16AD79E380}"/>
                    </a:ext>
                  </a:extLst>
                </p:cNvPr>
                <p:cNvSpPr/>
                <p:nvPr/>
              </p:nvSpPr>
              <p:spPr>
                <a:xfrm>
                  <a:off x="3455289" y="2086610"/>
                  <a:ext cx="31764" cy="31573"/>
                </a:xfrm>
                <a:custGeom>
                  <a:avLst/>
                  <a:gdLst>
                    <a:gd name="connsiteX0" fmla="*/ 28581 w 31764"/>
                    <a:gd name="connsiteY0" fmla="*/ 30563 h 31573"/>
                    <a:gd name="connsiteX1" fmla="*/ 1352 w 31764"/>
                    <a:gd name="connsiteY1" fmla="*/ 0 h 31573"/>
                    <a:gd name="connsiteX2" fmla="*/ 28581 w 31764"/>
                    <a:gd name="connsiteY2" fmla="*/ 30563 h 31573"/>
                  </a:gdLst>
                  <a:ahLst/>
                  <a:cxnLst>
                    <a:cxn ang="0">
                      <a:pos x="connsiteX0" y="connsiteY0"/>
                    </a:cxn>
                    <a:cxn ang="0">
                      <a:pos x="connsiteX1" y="connsiteY1"/>
                    </a:cxn>
                    <a:cxn ang="0">
                      <a:pos x="connsiteX2" y="connsiteY2"/>
                    </a:cxn>
                  </a:cxnLst>
                  <a:rect l="l" t="t" r="r" b="b"/>
                  <a:pathLst>
                    <a:path w="31764" h="31573">
                      <a:moveTo>
                        <a:pt x="28581" y="30563"/>
                      </a:moveTo>
                      <a:cubicBezTo>
                        <a:pt x="14967" y="38204"/>
                        <a:pt x="-5455" y="0"/>
                        <a:pt x="1352" y="0"/>
                      </a:cubicBezTo>
                      <a:cubicBezTo>
                        <a:pt x="8159" y="7641"/>
                        <a:pt x="42196" y="22922"/>
                        <a:pt x="28581" y="30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0" name="Freihandform: Form 249">
                  <a:extLst>
                    <a:ext uri="{FF2B5EF4-FFF2-40B4-BE49-F238E27FC236}">
                      <a16:creationId xmlns:a16="http://schemas.microsoft.com/office/drawing/2014/main" id="{51FF8FAE-3B81-4BE9-A5B4-B5B38262A7E8}"/>
                    </a:ext>
                  </a:extLst>
                </p:cNvPr>
                <p:cNvSpPr/>
                <p:nvPr/>
              </p:nvSpPr>
              <p:spPr>
                <a:xfrm>
                  <a:off x="3440248" y="2100657"/>
                  <a:ext cx="22855" cy="19468"/>
                </a:xfrm>
                <a:custGeom>
                  <a:avLst/>
                  <a:gdLst>
                    <a:gd name="connsiteX0" fmla="*/ 21394 w 22855"/>
                    <a:gd name="connsiteY0" fmla="*/ 18323 h 19468"/>
                    <a:gd name="connsiteX1" fmla="*/ 0 w 22855"/>
                    <a:gd name="connsiteY1" fmla="*/ 1096 h 19468"/>
                    <a:gd name="connsiteX2" fmla="*/ 21394 w 22855"/>
                    <a:gd name="connsiteY2" fmla="*/ 18323 h 19468"/>
                  </a:gdLst>
                  <a:ahLst/>
                  <a:cxnLst>
                    <a:cxn ang="0">
                      <a:pos x="connsiteX0" y="connsiteY0"/>
                    </a:cxn>
                    <a:cxn ang="0">
                      <a:pos x="connsiteX1" y="connsiteY1"/>
                    </a:cxn>
                    <a:cxn ang="0">
                      <a:pos x="connsiteX2" y="connsiteY2"/>
                    </a:cxn>
                  </a:cxnLst>
                  <a:rect l="l" t="t" r="r" b="b"/>
                  <a:pathLst>
                    <a:path w="22855" h="19468">
                      <a:moveTo>
                        <a:pt x="21394" y="18323"/>
                      </a:moveTo>
                      <a:cubicBezTo>
                        <a:pt x="7085" y="24019"/>
                        <a:pt x="0" y="6931"/>
                        <a:pt x="0" y="1096"/>
                      </a:cubicBezTo>
                      <a:cubicBezTo>
                        <a:pt x="7085" y="-4461"/>
                        <a:pt x="28618" y="12627"/>
                        <a:pt x="21394" y="183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1" name="Freihandform: Form 250">
                  <a:extLst>
                    <a:ext uri="{FF2B5EF4-FFF2-40B4-BE49-F238E27FC236}">
                      <a16:creationId xmlns:a16="http://schemas.microsoft.com/office/drawing/2014/main" id="{62CE4213-32FF-4B42-912A-749F692CCC71}"/>
                    </a:ext>
                  </a:extLst>
                </p:cNvPr>
                <p:cNvSpPr/>
                <p:nvPr/>
              </p:nvSpPr>
              <p:spPr>
                <a:xfrm>
                  <a:off x="3386562" y="1976792"/>
                  <a:ext cx="15482" cy="29806"/>
                </a:xfrm>
                <a:custGeom>
                  <a:avLst/>
                  <a:gdLst>
                    <a:gd name="connsiteX0" fmla="*/ 15482 w 15482"/>
                    <a:gd name="connsiteY0" fmla="*/ 27159 h 29806"/>
                    <a:gd name="connsiteX1" fmla="*/ 15482 w 15482"/>
                    <a:gd name="connsiteY1" fmla="*/ 8127 h 29806"/>
                    <a:gd name="connsiteX2" fmla="*/ 2840 w 15482"/>
                    <a:gd name="connsiteY2" fmla="*/ 1736 h 29806"/>
                    <a:gd name="connsiteX3" fmla="*/ 2840 w 15482"/>
                    <a:gd name="connsiteY3" fmla="*/ 20769 h 29806"/>
                    <a:gd name="connsiteX4" fmla="*/ 15482 w 15482"/>
                    <a:gd name="connsiteY4" fmla="*/ 27159 h 29806"/>
                    <a:gd name="connsiteX5" fmla="*/ 15482 w 15482"/>
                    <a:gd name="connsiteY5" fmla="*/ 27159 h 2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82" h="29806">
                      <a:moveTo>
                        <a:pt x="15482" y="27159"/>
                      </a:moveTo>
                      <a:cubicBezTo>
                        <a:pt x="15482" y="20769"/>
                        <a:pt x="15482" y="14517"/>
                        <a:pt x="15482" y="8127"/>
                      </a:cubicBezTo>
                      <a:cubicBezTo>
                        <a:pt x="15482" y="8127"/>
                        <a:pt x="2840" y="-4515"/>
                        <a:pt x="2840" y="1736"/>
                      </a:cubicBezTo>
                      <a:cubicBezTo>
                        <a:pt x="2840" y="8127"/>
                        <a:pt x="-3550" y="20769"/>
                        <a:pt x="2840" y="20769"/>
                      </a:cubicBezTo>
                      <a:cubicBezTo>
                        <a:pt x="2840" y="27159"/>
                        <a:pt x="9231" y="33550"/>
                        <a:pt x="15482" y="27159"/>
                      </a:cubicBezTo>
                      <a:cubicBezTo>
                        <a:pt x="15482" y="20908"/>
                        <a:pt x="9231" y="33550"/>
                        <a:pt x="15482" y="2715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2" name="Freihandform: Form 251">
                  <a:extLst>
                    <a:ext uri="{FF2B5EF4-FFF2-40B4-BE49-F238E27FC236}">
                      <a16:creationId xmlns:a16="http://schemas.microsoft.com/office/drawing/2014/main" id="{B3DE98CC-8806-450F-B99D-7E7FCB7F7BDC}"/>
                    </a:ext>
                  </a:extLst>
                </p:cNvPr>
                <p:cNvSpPr/>
                <p:nvPr/>
              </p:nvSpPr>
              <p:spPr>
                <a:xfrm>
                  <a:off x="3288127" y="1656727"/>
                  <a:ext cx="891596" cy="645480"/>
                </a:xfrm>
                <a:custGeom>
                  <a:avLst/>
                  <a:gdLst>
                    <a:gd name="connsiteX0" fmla="*/ 478731 w 891596"/>
                    <a:gd name="connsiteY0" fmla="*/ 511293 h 645480"/>
                    <a:gd name="connsiteX1" fmla="*/ 441360 w 891596"/>
                    <a:gd name="connsiteY1" fmla="*/ 517544 h 645480"/>
                    <a:gd name="connsiteX2" fmla="*/ 422744 w 891596"/>
                    <a:gd name="connsiteY2" fmla="*/ 530047 h 645480"/>
                    <a:gd name="connsiteX3" fmla="*/ 391626 w 891596"/>
                    <a:gd name="connsiteY3" fmla="*/ 530047 h 645480"/>
                    <a:gd name="connsiteX4" fmla="*/ 373010 w 891596"/>
                    <a:gd name="connsiteY4" fmla="*/ 492399 h 645480"/>
                    <a:gd name="connsiteX5" fmla="*/ 404129 w 891596"/>
                    <a:gd name="connsiteY5" fmla="*/ 467393 h 645480"/>
                    <a:gd name="connsiteX6" fmla="*/ 466367 w 891596"/>
                    <a:gd name="connsiteY6" fmla="*/ 473644 h 645480"/>
                    <a:gd name="connsiteX7" fmla="*/ 503737 w 891596"/>
                    <a:gd name="connsiteY7" fmla="*/ 467393 h 645480"/>
                    <a:gd name="connsiteX8" fmla="*/ 503737 w 891596"/>
                    <a:gd name="connsiteY8" fmla="*/ 454890 h 645480"/>
                    <a:gd name="connsiteX9" fmla="*/ 497485 w 891596"/>
                    <a:gd name="connsiteY9" fmla="*/ 423632 h 645480"/>
                    <a:gd name="connsiteX10" fmla="*/ 541107 w 891596"/>
                    <a:gd name="connsiteY10" fmla="*/ 404877 h 645480"/>
                    <a:gd name="connsiteX11" fmla="*/ 565975 w 891596"/>
                    <a:gd name="connsiteY11" fmla="*/ 411129 h 645480"/>
                    <a:gd name="connsiteX12" fmla="*/ 578478 w 891596"/>
                    <a:gd name="connsiteY12" fmla="*/ 436135 h 645480"/>
                    <a:gd name="connsiteX13" fmla="*/ 597093 w 891596"/>
                    <a:gd name="connsiteY13" fmla="*/ 429883 h 645480"/>
                    <a:gd name="connsiteX14" fmla="*/ 615709 w 891596"/>
                    <a:gd name="connsiteY14" fmla="*/ 429883 h 645480"/>
                    <a:gd name="connsiteX15" fmla="*/ 640577 w 891596"/>
                    <a:gd name="connsiteY15" fmla="*/ 417380 h 645480"/>
                    <a:gd name="connsiteX16" fmla="*/ 615709 w 891596"/>
                    <a:gd name="connsiteY16" fmla="*/ 404877 h 645480"/>
                    <a:gd name="connsiteX17" fmla="*/ 590842 w 891596"/>
                    <a:gd name="connsiteY17" fmla="*/ 386122 h 645480"/>
                    <a:gd name="connsiteX18" fmla="*/ 578339 w 891596"/>
                    <a:gd name="connsiteY18" fmla="*/ 404877 h 645480"/>
                    <a:gd name="connsiteX19" fmla="*/ 540968 w 891596"/>
                    <a:gd name="connsiteY19" fmla="*/ 404877 h 645480"/>
                    <a:gd name="connsiteX20" fmla="*/ 547220 w 891596"/>
                    <a:gd name="connsiteY20" fmla="*/ 373619 h 645480"/>
                    <a:gd name="connsiteX21" fmla="*/ 522352 w 891596"/>
                    <a:gd name="connsiteY21" fmla="*/ 317216 h 645480"/>
                    <a:gd name="connsiteX22" fmla="*/ 503737 w 891596"/>
                    <a:gd name="connsiteY22" fmla="*/ 317216 h 645480"/>
                    <a:gd name="connsiteX23" fmla="*/ 497485 w 891596"/>
                    <a:gd name="connsiteY23" fmla="*/ 292210 h 645480"/>
                    <a:gd name="connsiteX24" fmla="*/ 491234 w 891596"/>
                    <a:gd name="connsiteY24" fmla="*/ 323468 h 645480"/>
                    <a:gd name="connsiteX25" fmla="*/ 466367 w 891596"/>
                    <a:gd name="connsiteY25" fmla="*/ 279568 h 645480"/>
                    <a:gd name="connsiteX26" fmla="*/ 441499 w 891596"/>
                    <a:gd name="connsiteY26" fmla="*/ 292071 h 645480"/>
                    <a:gd name="connsiteX27" fmla="*/ 416632 w 891596"/>
                    <a:gd name="connsiteY27" fmla="*/ 298323 h 645480"/>
                    <a:gd name="connsiteX28" fmla="*/ 429135 w 891596"/>
                    <a:gd name="connsiteY28" fmla="*/ 279568 h 645480"/>
                    <a:gd name="connsiteX29" fmla="*/ 441638 w 891596"/>
                    <a:gd name="connsiteY29" fmla="*/ 267065 h 645480"/>
                    <a:gd name="connsiteX30" fmla="*/ 429135 w 891596"/>
                    <a:gd name="connsiteY30" fmla="*/ 260813 h 645480"/>
                    <a:gd name="connsiteX31" fmla="*/ 398016 w 891596"/>
                    <a:gd name="connsiteY31" fmla="*/ 242059 h 645480"/>
                    <a:gd name="connsiteX32" fmla="*/ 385513 w 891596"/>
                    <a:gd name="connsiteY32" fmla="*/ 235807 h 645480"/>
                    <a:gd name="connsiteX33" fmla="*/ 373010 w 891596"/>
                    <a:gd name="connsiteY33" fmla="*/ 210801 h 645480"/>
                    <a:gd name="connsiteX34" fmla="*/ 354394 w 891596"/>
                    <a:gd name="connsiteY34" fmla="*/ 204549 h 645480"/>
                    <a:gd name="connsiteX35" fmla="*/ 335778 w 891596"/>
                    <a:gd name="connsiteY35" fmla="*/ 192046 h 645480"/>
                    <a:gd name="connsiteX36" fmla="*/ 342030 w 891596"/>
                    <a:gd name="connsiteY36" fmla="*/ 198298 h 645480"/>
                    <a:gd name="connsiteX37" fmla="*/ 323414 w 891596"/>
                    <a:gd name="connsiteY37" fmla="*/ 204549 h 645480"/>
                    <a:gd name="connsiteX38" fmla="*/ 348281 w 891596"/>
                    <a:gd name="connsiteY38" fmla="*/ 217052 h 645480"/>
                    <a:gd name="connsiteX39" fmla="*/ 329666 w 891596"/>
                    <a:gd name="connsiteY39" fmla="*/ 229556 h 645480"/>
                    <a:gd name="connsiteX40" fmla="*/ 273679 w 891596"/>
                    <a:gd name="connsiteY40" fmla="*/ 223304 h 645480"/>
                    <a:gd name="connsiteX41" fmla="*/ 286183 w 891596"/>
                    <a:gd name="connsiteY41" fmla="*/ 235807 h 645480"/>
                    <a:gd name="connsiteX42" fmla="*/ 298686 w 891596"/>
                    <a:gd name="connsiteY42" fmla="*/ 235807 h 645480"/>
                    <a:gd name="connsiteX43" fmla="*/ 323553 w 891596"/>
                    <a:gd name="connsiteY43" fmla="*/ 235807 h 645480"/>
                    <a:gd name="connsiteX44" fmla="*/ 311050 w 891596"/>
                    <a:gd name="connsiteY44" fmla="*/ 254562 h 645480"/>
                    <a:gd name="connsiteX45" fmla="*/ 230196 w 891596"/>
                    <a:gd name="connsiteY45" fmla="*/ 216914 h 645480"/>
                    <a:gd name="connsiteX46" fmla="*/ 248812 w 891596"/>
                    <a:gd name="connsiteY46" fmla="*/ 223165 h 645480"/>
                    <a:gd name="connsiteX47" fmla="*/ 230196 w 891596"/>
                    <a:gd name="connsiteY47" fmla="*/ 229417 h 645480"/>
                    <a:gd name="connsiteX48" fmla="*/ 167959 w 891596"/>
                    <a:gd name="connsiteY48" fmla="*/ 223165 h 645480"/>
                    <a:gd name="connsiteX49" fmla="*/ 105721 w 891596"/>
                    <a:gd name="connsiteY49" fmla="*/ 204410 h 645480"/>
                    <a:gd name="connsiteX50" fmla="*/ 55986 w 891596"/>
                    <a:gd name="connsiteY50" fmla="*/ 204410 h 645480"/>
                    <a:gd name="connsiteX51" fmla="*/ 31119 w 891596"/>
                    <a:gd name="connsiteY51" fmla="*/ 191907 h 645480"/>
                    <a:gd name="connsiteX52" fmla="*/ 24867 w 891596"/>
                    <a:gd name="connsiteY52" fmla="*/ 166901 h 645480"/>
                    <a:gd name="connsiteX53" fmla="*/ 87105 w 891596"/>
                    <a:gd name="connsiteY53" fmla="*/ 173153 h 645480"/>
                    <a:gd name="connsiteX54" fmla="*/ 80853 w 891596"/>
                    <a:gd name="connsiteY54" fmla="*/ 160649 h 645480"/>
                    <a:gd name="connsiteX55" fmla="*/ 49735 w 891596"/>
                    <a:gd name="connsiteY55" fmla="*/ 154398 h 645480"/>
                    <a:gd name="connsiteX56" fmla="*/ 0 w 891596"/>
                    <a:gd name="connsiteY56" fmla="*/ 135643 h 645480"/>
                    <a:gd name="connsiteX57" fmla="*/ 12503 w 891596"/>
                    <a:gd name="connsiteY57" fmla="*/ 66737 h 645480"/>
                    <a:gd name="connsiteX58" fmla="*/ 56125 w 891596"/>
                    <a:gd name="connsiteY58" fmla="*/ 22837 h 645480"/>
                    <a:gd name="connsiteX59" fmla="*/ 99747 w 891596"/>
                    <a:gd name="connsiteY59" fmla="*/ 4083 h 645480"/>
                    <a:gd name="connsiteX60" fmla="*/ 155733 w 891596"/>
                    <a:gd name="connsiteY60" fmla="*/ 10334 h 645480"/>
                    <a:gd name="connsiteX61" fmla="*/ 118363 w 891596"/>
                    <a:gd name="connsiteY61" fmla="*/ 35340 h 645480"/>
                    <a:gd name="connsiteX62" fmla="*/ 105860 w 891596"/>
                    <a:gd name="connsiteY62" fmla="*/ 72989 h 645480"/>
                    <a:gd name="connsiteX63" fmla="*/ 112111 w 891596"/>
                    <a:gd name="connsiteY63" fmla="*/ 104247 h 645480"/>
                    <a:gd name="connsiteX64" fmla="*/ 130727 w 891596"/>
                    <a:gd name="connsiteY64" fmla="*/ 129253 h 645480"/>
                    <a:gd name="connsiteX65" fmla="*/ 155594 w 891596"/>
                    <a:gd name="connsiteY65" fmla="*/ 148007 h 645480"/>
                    <a:gd name="connsiteX66" fmla="*/ 136979 w 891596"/>
                    <a:gd name="connsiteY66" fmla="*/ 160511 h 645480"/>
                    <a:gd name="connsiteX67" fmla="*/ 161846 w 891596"/>
                    <a:gd name="connsiteY67" fmla="*/ 173014 h 645480"/>
                    <a:gd name="connsiteX68" fmla="*/ 161846 w 891596"/>
                    <a:gd name="connsiteY68" fmla="*/ 148007 h 645480"/>
                    <a:gd name="connsiteX69" fmla="*/ 168098 w 891596"/>
                    <a:gd name="connsiteY69" fmla="*/ 135504 h 645480"/>
                    <a:gd name="connsiteX70" fmla="*/ 130727 w 891596"/>
                    <a:gd name="connsiteY70" fmla="*/ 116750 h 645480"/>
                    <a:gd name="connsiteX71" fmla="*/ 124475 w 891596"/>
                    <a:gd name="connsiteY71" fmla="*/ 110498 h 645480"/>
                    <a:gd name="connsiteX72" fmla="*/ 143091 w 891596"/>
                    <a:gd name="connsiteY72" fmla="*/ 97995 h 645480"/>
                    <a:gd name="connsiteX73" fmla="*/ 180462 w 891596"/>
                    <a:gd name="connsiteY73" fmla="*/ 110498 h 645480"/>
                    <a:gd name="connsiteX74" fmla="*/ 167959 w 891596"/>
                    <a:gd name="connsiteY74" fmla="*/ 91743 h 645480"/>
                    <a:gd name="connsiteX75" fmla="*/ 136840 w 891596"/>
                    <a:gd name="connsiteY75" fmla="*/ 72989 h 645480"/>
                    <a:gd name="connsiteX76" fmla="*/ 180462 w 891596"/>
                    <a:gd name="connsiteY76" fmla="*/ 66737 h 645480"/>
                    <a:gd name="connsiteX77" fmla="*/ 143091 w 891596"/>
                    <a:gd name="connsiteY77" fmla="*/ 47983 h 645480"/>
                    <a:gd name="connsiteX78" fmla="*/ 174210 w 891596"/>
                    <a:gd name="connsiteY78" fmla="*/ 47983 h 645480"/>
                    <a:gd name="connsiteX79" fmla="*/ 155594 w 891596"/>
                    <a:gd name="connsiteY79" fmla="*/ 35479 h 645480"/>
                    <a:gd name="connsiteX80" fmla="*/ 161846 w 891596"/>
                    <a:gd name="connsiteY80" fmla="*/ 29228 h 645480"/>
                    <a:gd name="connsiteX81" fmla="*/ 174349 w 891596"/>
                    <a:gd name="connsiteY81" fmla="*/ 29228 h 645480"/>
                    <a:gd name="connsiteX82" fmla="*/ 199216 w 891596"/>
                    <a:gd name="connsiteY82" fmla="*/ 29228 h 645480"/>
                    <a:gd name="connsiteX83" fmla="*/ 211720 w 891596"/>
                    <a:gd name="connsiteY83" fmla="*/ 10473 h 645480"/>
                    <a:gd name="connsiteX84" fmla="*/ 267706 w 891596"/>
                    <a:gd name="connsiteY84" fmla="*/ 16725 h 645480"/>
                    <a:gd name="connsiteX85" fmla="*/ 273957 w 891596"/>
                    <a:gd name="connsiteY85" fmla="*/ 35479 h 645480"/>
                    <a:gd name="connsiteX86" fmla="*/ 292573 w 891596"/>
                    <a:gd name="connsiteY86" fmla="*/ 54234 h 645480"/>
                    <a:gd name="connsiteX87" fmla="*/ 267706 w 891596"/>
                    <a:gd name="connsiteY87" fmla="*/ 91882 h 645480"/>
                    <a:gd name="connsiteX88" fmla="*/ 292573 w 891596"/>
                    <a:gd name="connsiteY88" fmla="*/ 79379 h 645480"/>
                    <a:gd name="connsiteX89" fmla="*/ 286321 w 891596"/>
                    <a:gd name="connsiteY89" fmla="*/ 110637 h 645480"/>
                    <a:gd name="connsiteX90" fmla="*/ 298825 w 891596"/>
                    <a:gd name="connsiteY90" fmla="*/ 98134 h 645480"/>
                    <a:gd name="connsiteX91" fmla="*/ 323692 w 891596"/>
                    <a:gd name="connsiteY91" fmla="*/ 91882 h 645480"/>
                    <a:gd name="connsiteX92" fmla="*/ 336195 w 891596"/>
                    <a:gd name="connsiteY92" fmla="*/ 98134 h 645480"/>
                    <a:gd name="connsiteX93" fmla="*/ 336195 w 891596"/>
                    <a:gd name="connsiteY93" fmla="*/ 110637 h 645480"/>
                    <a:gd name="connsiteX94" fmla="*/ 373566 w 891596"/>
                    <a:gd name="connsiteY94" fmla="*/ 123140 h 645480"/>
                    <a:gd name="connsiteX95" fmla="*/ 336195 w 891596"/>
                    <a:gd name="connsiteY95" fmla="*/ 85492 h 645480"/>
                    <a:gd name="connsiteX96" fmla="*/ 392181 w 891596"/>
                    <a:gd name="connsiteY96" fmla="*/ 97995 h 645480"/>
                    <a:gd name="connsiteX97" fmla="*/ 354811 w 891596"/>
                    <a:gd name="connsiteY97" fmla="*/ 79240 h 645480"/>
                    <a:gd name="connsiteX98" fmla="*/ 379678 w 891596"/>
                    <a:gd name="connsiteY98" fmla="*/ 66737 h 645480"/>
                    <a:gd name="connsiteX99" fmla="*/ 410797 w 891596"/>
                    <a:gd name="connsiteY99" fmla="*/ 72989 h 645480"/>
                    <a:gd name="connsiteX100" fmla="*/ 460531 w 891596"/>
                    <a:gd name="connsiteY100" fmla="*/ 97995 h 645480"/>
                    <a:gd name="connsiteX101" fmla="*/ 423161 w 891596"/>
                    <a:gd name="connsiteY101" fmla="*/ 116750 h 645480"/>
                    <a:gd name="connsiteX102" fmla="*/ 441777 w 891596"/>
                    <a:gd name="connsiteY102" fmla="*/ 104247 h 645480"/>
                    <a:gd name="connsiteX103" fmla="*/ 435525 w 891596"/>
                    <a:gd name="connsiteY103" fmla="*/ 123001 h 645480"/>
                    <a:gd name="connsiteX104" fmla="*/ 454141 w 891596"/>
                    <a:gd name="connsiteY104" fmla="*/ 110498 h 645480"/>
                    <a:gd name="connsiteX105" fmla="*/ 485260 w 891596"/>
                    <a:gd name="connsiteY105" fmla="*/ 110498 h 645480"/>
                    <a:gd name="connsiteX106" fmla="*/ 460393 w 891596"/>
                    <a:gd name="connsiteY106" fmla="*/ 135504 h 645480"/>
                    <a:gd name="connsiteX107" fmla="*/ 472896 w 891596"/>
                    <a:gd name="connsiteY107" fmla="*/ 129253 h 645480"/>
                    <a:gd name="connsiteX108" fmla="*/ 466644 w 891596"/>
                    <a:gd name="connsiteY108" fmla="*/ 154259 h 645480"/>
                    <a:gd name="connsiteX109" fmla="*/ 491512 w 891596"/>
                    <a:gd name="connsiteY109" fmla="*/ 129253 h 645480"/>
                    <a:gd name="connsiteX110" fmla="*/ 491512 w 891596"/>
                    <a:gd name="connsiteY110" fmla="*/ 160511 h 645480"/>
                    <a:gd name="connsiteX111" fmla="*/ 504015 w 891596"/>
                    <a:gd name="connsiteY111" fmla="*/ 135504 h 645480"/>
                    <a:gd name="connsiteX112" fmla="*/ 504015 w 891596"/>
                    <a:gd name="connsiteY112" fmla="*/ 166762 h 645480"/>
                    <a:gd name="connsiteX113" fmla="*/ 516518 w 891596"/>
                    <a:gd name="connsiteY113" fmla="*/ 148007 h 645480"/>
                    <a:gd name="connsiteX114" fmla="*/ 516518 w 891596"/>
                    <a:gd name="connsiteY114" fmla="*/ 166762 h 645480"/>
                    <a:gd name="connsiteX115" fmla="*/ 535134 w 891596"/>
                    <a:gd name="connsiteY115" fmla="*/ 135504 h 645480"/>
                    <a:gd name="connsiteX116" fmla="*/ 566252 w 891596"/>
                    <a:gd name="connsiteY116" fmla="*/ 141756 h 645480"/>
                    <a:gd name="connsiteX117" fmla="*/ 566252 w 891596"/>
                    <a:gd name="connsiteY117" fmla="*/ 160511 h 645480"/>
                    <a:gd name="connsiteX118" fmla="*/ 535134 w 891596"/>
                    <a:gd name="connsiteY118" fmla="*/ 179265 h 645480"/>
                    <a:gd name="connsiteX119" fmla="*/ 572504 w 891596"/>
                    <a:gd name="connsiteY119" fmla="*/ 166762 h 645480"/>
                    <a:gd name="connsiteX120" fmla="*/ 547637 w 891596"/>
                    <a:gd name="connsiteY120" fmla="*/ 185517 h 645480"/>
                    <a:gd name="connsiteX121" fmla="*/ 572504 w 891596"/>
                    <a:gd name="connsiteY121" fmla="*/ 179265 h 645480"/>
                    <a:gd name="connsiteX122" fmla="*/ 597371 w 891596"/>
                    <a:gd name="connsiteY122" fmla="*/ 160511 h 645480"/>
                    <a:gd name="connsiteX123" fmla="*/ 584868 w 891596"/>
                    <a:gd name="connsiteY123" fmla="*/ 185517 h 645480"/>
                    <a:gd name="connsiteX124" fmla="*/ 566252 w 891596"/>
                    <a:gd name="connsiteY124" fmla="*/ 204271 h 645480"/>
                    <a:gd name="connsiteX125" fmla="*/ 584868 w 891596"/>
                    <a:gd name="connsiteY125" fmla="*/ 191768 h 645480"/>
                    <a:gd name="connsiteX126" fmla="*/ 578617 w 891596"/>
                    <a:gd name="connsiteY126" fmla="*/ 216775 h 645480"/>
                    <a:gd name="connsiteX127" fmla="*/ 622239 w 891596"/>
                    <a:gd name="connsiteY127" fmla="*/ 172875 h 645480"/>
                    <a:gd name="connsiteX128" fmla="*/ 609736 w 891596"/>
                    <a:gd name="connsiteY128" fmla="*/ 185378 h 645480"/>
                    <a:gd name="connsiteX129" fmla="*/ 640854 w 891596"/>
                    <a:gd name="connsiteY129" fmla="*/ 185378 h 645480"/>
                    <a:gd name="connsiteX130" fmla="*/ 665722 w 891596"/>
                    <a:gd name="connsiteY130" fmla="*/ 191629 h 645480"/>
                    <a:gd name="connsiteX131" fmla="*/ 615987 w 891596"/>
                    <a:gd name="connsiteY131" fmla="*/ 229139 h 645480"/>
                    <a:gd name="connsiteX132" fmla="*/ 640854 w 891596"/>
                    <a:gd name="connsiteY132" fmla="*/ 210384 h 645480"/>
                    <a:gd name="connsiteX133" fmla="*/ 659470 w 891596"/>
                    <a:gd name="connsiteY133" fmla="*/ 216636 h 645480"/>
                    <a:gd name="connsiteX134" fmla="*/ 628351 w 891596"/>
                    <a:gd name="connsiteY134" fmla="*/ 235390 h 645480"/>
                    <a:gd name="connsiteX135" fmla="*/ 646967 w 891596"/>
                    <a:gd name="connsiteY135" fmla="*/ 229139 h 645480"/>
                    <a:gd name="connsiteX136" fmla="*/ 671834 w 891596"/>
                    <a:gd name="connsiteY136" fmla="*/ 216636 h 645480"/>
                    <a:gd name="connsiteX137" fmla="*/ 678086 w 891596"/>
                    <a:gd name="connsiteY137" fmla="*/ 204133 h 645480"/>
                    <a:gd name="connsiteX138" fmla="*/ 696702 w 891596"/>
                    <a:gd name="connsiteY138" fmla="*/ 222887 h 645480"/>
                    <a:gd name="connsiteX139" fmla="*/ 678086 w 891596"/>
                    <a:gd name="connsiteY139" fmla="*/ 241642 h 645480"/>
                    <a:gd name="connsiteX140" fmla="*/ 634464 w 891596"/>
                    <a:gd name="connsiteY140" fmla="*/ 247894 h 645480"/>
                    <a:gd name="connsiteX141" fmla="*/ 727821 w 891596"/>
                    <a:gd name="connsiteY141" fmla="*/ 266648 h 645480"/>
                    <a:gd name="connsiteX142" fmla="*/ 684198 w 891596"/>
                    <a:gd name="connsiteY142" fmla="*/ 266648 h 645480"/>
                    <a:gd name="connsiteX143" fmla="*/ 659331 w 891596"/>
                    <a:gd name="connsiteY143" fmla="*/ 272900 h 645480"/>
                    <a:gd name="connsiteX144" fmla="*/ 684198 w 891596"/>
                    <a:gd name="connsiteY144" fmla="*/ 279151 h 645480"/>
                    <a:gd name="connsiteX145" fmla="*/ 665583 w 891596"/>
                    <a:gd name="connsiteY145" fmla="*/ 291654 h 645480"/>
                    <a:gd name="connsiteX146" fmla="*/ 696702 w 891596"/>
                    <a:gd name="connsiteY146" fmla="*/ 310409 h 645480"/>
                    <a:gd name="connsiteX147" fmla="*/ 734072 w 891596"/>
                    <a:gd name="connsiteY147" fmla="*/ 329164 h 645480"/>
                    <a:gd name="connsiteX148" fmla="*/ 746575 w 891596"/>
                    <a:gd name="connsiteY148" fmla="*/ 341667 h 645480"/>
                    <a:gd name="connsiteX149" fmla="*/ 759078 w 891596"/>
                    <a:gd name="connsiteY149" fmla="*/ 335415 h 645480"/>
                    <a:gd name="connsiteX150" fmla="*/ 765330 w 891596"/>
                    <a:gd name="connsiteY150" fmla="*/ 347918 h 645480"/>
                    <a:gd name="connsiteX151" fmla="*/ 771582 w 891596"/>
                    <a:gd name="connsiteY151" fmla="*/ 335415 h 645480"/>
                    <a:gd name="connsiteX152" fmla="*/ 771582 w 891596"/>
                    <a:gd name="connsiteY152" fmla="*/ 347918 h 645480"/>
                    <a:gd name="connsiteX153" fmla="*/ 790197 w 891596"/>
                    <a:gd name="connsiteY153" fmla="*/ 347918 h 645480"/>
                    <a:gd name="connsiteX154" fmla="*/ 802700 w 891596"/>
                    <a:gd name="connsiteY154" fmla="*/ 360422 h 645480"/>
                    <a:gd name="connsiteX155" fmla="*/ 796449 w 891596"/>
                    <a:gd name="connsiteY155" fmla="*/ 366673 h 645480"/>
                    <a:gd name="connsiteX156" fmla="*/ 858687 w 891596"/>
                    <a:gd name="connsiteY156" fmla="*/ 379176 h 645480"/>
                    <a:gd name="connsiteX157" fmla="*/ 852435 w 891596"/>
                    <a:gd name="connsiteY157" fmla="*/ 385428 h 645480"/>
                    <a:gd name="connsiteX158" fmla="*/ 864938 w 891596"/>
                    <a:gd name="connsiteY158" fmla="*/ 385428 h 645480"/>
                    <a:gd name="connsiteX159" fmla="*/ 877441 w 891596"/>
                    <a:gd name="connsiteY159" fmla="*/ 391679 h 645480"/>
                    <a:gd name="connsiteX160" fmla="*/ 889944 w 891596"/>
                    <a:gd name="connsiteY160" fmla="*/ 410434 h 645480"/>
                    <a:gd name="connsiteX161" fmla="*/ 877441 w 891596"/>
                    <a:gd name="connsiteY161" fmla="*/ 410434 h 645480"/>
                    <a:gd name="connsiteX162" fmla="*/ 883693 w 891596"/>
                    <a:gd name="connsiteY162" fmla="*/ 422937 h 645480"/>
                    <a:gd name="connsiteX163" fmla="*/ 865077 w 891596"/>
                    <a:gd name="connsiteY163" fmla="*/ 422937 h 645480"/>
                    <a:gd name="connsiteX164" fmla="*/ 865077 w 891596"/>
                    <a:gd name="connsiteY164" fmla="*/ 435440 h 645480"/>
                    <a:gd name="connsiteX165" fmla="*/ 840210 w 891596"/>
                    <a:gd name="connsiteY165" fmla="*/ 435440 h 645480"/>
                    <a:gd name="connsiteX166" fmla="*/ 852713 w 891596"/>
                    <a:gd name="connsiteY166" fmla="*/ 454195 h 645480"/>
                    <a:gd name="connsiteX167" fmla="*/ 827846 w 891596"/>
                    <a:gd name="connsiteY167" fmla="*/ 447943 h 645480"/>
                    <a:gd name="connsiteX168" fmla="*/ 834097 w 891596"/>
                    <a:gd name="connsiteY168" fmla="*/ 472950 h 645480"/>
                    <a:gd name="connsiteX169" fmla="*/ 821594 w 891596"/>
                    <a:gd name="connsiteY169" fmla="*/ 466698 h 645480"/>
                    <a:gd name="connsiteX170" fmla="*/ 815343 w 891596"/>
                    <a:gd name="connsiteY170" fmla="*/ 485453 h 645480"/>
                    <a:gd name="connsiteX171" fmla="*/ 796727 w 891596"/>
                    <a:gd name="connsiteY171" fmla="*/ 472950 h 645480"/>
                    <a:gd name="connsiteX172" fmla="*/ 784223 w 891596"/>
                    <a:gd name="connsiteY172" fmla="*/ 485453 h 645480"/>
                    <a:gd name="connsiteX173" fmla="*/ 790475 w 891596"/>
                    <a:gd name="connsiteY173" fmla="*/ 466698 h 645480"/>
                    <a:gd name="connsiteX174" fmla="*/ 777972 w 891596"/>
                    <a:gd name="connsiteY174" fmla="*/ 472950 h 645480"/>
                    <a:gd name="connsiteX175" fmla="*/ 777972 w 891596"/>
                    <a:gd name="connsiteY175" fmla="*/ 454195 h 645480"/>
                    <a:gd name="connsiteX176" fmla="*/ 765469 w 891596"/>
                    <a:gd name="connsiteY176" fmla="*/ 460447 h 645480"/>
                    <a:gd name="connsiteX177" fmla="*/ 765469 w 891596"/>
                    <a:gd name="connsiteY177" fmla="*/ 441692 h 645480"/>
                    <a:gd name="connsiteX178" fmla="*/ 790336 w 891596"/>
                    <a:gd name="connsiteY178" fmla="*/ 429189 h 645480"/>
                    <a:gd name="connsiteX179" fmla="*/ 746714 w 891596"/>
                    <a:gd name="connsiteY179" fmla="*/ 441692 h 645480"/>
                    <a:gd name="connsiteX180" fmla="*/ 759217 w 891596"/>
                    <a:gd name="connsiteY180" fmla="*/ 422937 h 645480"/>
                    <a:gd name="connsiteX181" fmla="*/ 740602 w 891596"/>
                    <a:gd name="connsiteY181" fmla="*/ 429189 h 645480"/>
                    <a:gd name="connsiteX182" fmla="*/ 721986 w 891596"/>
                    <a:gd name="connsiteY182" fmla="*/ 416686 h 645480"/>
                    <a:gd name="connsiteX183" fmla="*/ 703370 w 891596"/>
                    <a:gd name="connsiteY183" fmla="*/ 410434 h 645480"/>
                    <a:gd name="connsiteX184" fmla="*/ 703370 w 891596"/>
                    <a:gd name="connsiteY184" fmla="*/ 422937 h 645480"/>
                    <a:gd name="connsiteX185" fmla="*/ 697118 w 891596"/>
                    <a:gd name="connsiteY185" fmla="*/ 422937 h 645480"/>
                    <a:gd name="connsiteX186" fmla="*/ 697118 w 891596"/>
                    <a:gd name="connsiteY186" fmla="*/ 441692 h 645480"/>
                    <a:gd name="connsiteX187" fmla="*/ 672251 w 891596"/>
                    <a:gd name="connsiteY187" fmla="*/ 429189 h 645480"/>
                    <a:gd name="connsiteX188" fmla="*/ 697118 w 891596"/>
                    <a:gd name="connsiteY188" fmla="*/ 460447 h 645480"/>
                    <a:gd name="connsiteX189" fmla="*/ 715734 w 891596"/>
                    <a:gd name="connsiteY189" fmla="*/ 485453 h 645480"/>
                    <a:gd name="connsiteX190" fmla="*/ 728237 w 891596"/>
                    <a:gd name="connsiteY190" fmla="*/ 497956 h 645480"/>
                    <a:gd name="connsiteX191" fmla="*/ 734489 w 891596"/>
                    <a:gd name="connsiteY191" fmla="*/ 491704 h 645480"/>
                    <a:gd name="connsiteX192" fmla="*/ 740741 w 891596"/>
                    <a:gd name="connsiteY192" fmla="*/ 504207 h 645480"/>
                    <a:gd name="connsiteX193" fmla="*/ 753244 w 891596"/>
                    <a:gd name="connsiteY193" fmla="*/ 497956 h 645480"/>
                    <a:gd name="connsiteX194" fmla="*/ 759495 w 891596"/>
                    <a:gd name="connsiteY194" fmla="*/ 516711 h 645480"/>
                    <a:gd name="connsiteX195" fmla="*/ 765747 w 891596"/>
                    <a:gd name="connsiteY195" fmla="*/ 504207 h 645480"/>
                    <a:gd name="connsiteX196" fmla="*/ 765747 w 891596"/>
                    <a:gd name="connsiteY196" fmla="*/ 522962 h 645480"/>
                    <a:gd name="connsiteX197" fmla="*/ 771998 w 891596"/>
                    <a:gd name="connsiteY197" fmla="*/ 535465 h 645480"/>
                    <a:gd name="connsiteX198" fmla="*/ 784502 w 891596"/>
                    <a:gd name="connsiteY198" fmla="*/ 547968 h 645480"/>
                    <a:gd name="connsiteX199" fmla="*/ 797005 w 891596"/>
                    <a:gd name="connsiteY199" fmla="*/ 572975 h 645480"/>
                    <a:gd name="connsiteX200" fmla="*/ 790753 w 891596"/>
                    <a:gd name="connsiteY200" fmla="*/ 560472 h 645480"/>
                    <a:gd name="connsiteX201" fmla="*/ 790753 w 891596"/>
                    <a:gd name="connsiteY201" fmla="*/ 585478 h 645480"/>
                    <a:gd name="connsiteX202" fmla="*/ 772137 w 891596"/>
                    <a:gd name="connsiteY202" fmla="*/ 554220 h 645480"/>
                    <a:gd name="connsiteX203" fmla="*/ 784640 w 891596"/>
                    <a:gd name="connsiteY203" fmla="*/ 585478 h 645480"/>
                    <a:gd name="connsiteX204" fmla="*/ 772137 w 891596"/>
                    <a:gd name="connsiteY204" fmla="*/ 591729 h 645480"/>
                    <a:gd name="connsiteX205" fmla="*/ 797005 w 891596"/>
                    <a:gd name="connsiteY205" fmla="*/ 616736 h 645480"/>
                    <a:gd name="connsiteX206" fmla="*/ 734767 w 891596"/>
                    <a:gd name="connsiteY206" fmla="*/ 585478 h 645480"/>
                    <a:gd name="connsiteX207" fmla="*/ 734767 w 891596"/>
                    <a:gd name="connsiteY207" fmla="*/ 591729 h 645480"/>
                    <a:gd name="connsiteX208" fmla="*/ 716151 w 891596"/>
                    <a:gd name="connsiteY208" fmla="*/ 572975 h 645480"/>
                    <a:gd name="connsiteX209" fmla="*/ 722402 w 891596"/>
                    <a:gd name="connsiteY209" fmla="*/ 585478 h 645480"/>
                    <a:gd name="connsiteX210" fmla="*/ 697535 w 891596"/>
                    <a:gd name="connsiteY210" fmla="*/ 560472 h 645480"/>
                    <a:gd name="connsiteX211" fmla="*/ 685032 w 891596"/>
                    <a:gd name="connsiteY211" fmla="*/ 572975 h 645480"/>
                    <a:gd name="connsiteX212" fmla="*/ 672529 w 891596"/>
                    <a:gd name="connsiteY212" fmla="*/ 554220 h 645480"/>
                    <a:gd name="connsiteX213" fmla="*/ 653913 w 891596"/>
                    <a:gd name="connsiteY213" fmla="*/ 554220 h 645480"/>
                    <a:gd name="connsiteX214" fmla="*/ 666417 w 891596"/>
                    <a:gd name="connsiteY214" fmla="*/ 566723 h 645480"/>
                    <a:gd name="connsiteX215" fmla="*/ 678920 w 891596"/>
                    <a:gd name="connsiteY215" fmla="*/ 579226 h 645480"/>
                    <a:gd name="connsiteX216" fmla="*/ 710038 w 891596"/>
                    <a:gd name="connsiteY216" fmla="*/ 597981 h 645480"/>
                    <a:gd name="connsiteX217" fmla="*/ 734906 w 891596"/>
                    <a:gd name="connsiteY217" fmla="*/ 629239 h 645480"/>
                    <a:gd name="connsiteX218" fmla="*/ 728654 w 891596"/>
                    <a:gd name="connsiteY218" fmla="*/ 641742 h 645480"/>
                    <a:gd name="connsiteX219" fmla="*/ 641549 w 891596"/>
                    <a:gd name="connsiteY219" fmla="*/ 610484 h 645480"/>
                    <a:gd name="connsiteX220" fmla="*/ 604179 w 891596"/>
                    <a:gd name="connsiteY220" fmla="*/ 597981 h 645480"/>
                    <a:gd name="connsiteX221" fmla="*/ 560556 w 891596"/>
                    <a:gd name="connsiteY221" fmla="*/ 572975 h 645480"/>
                    <a:gd name="connsiteX222" fmla="*/ 579172 w 891596"/>
                    <a:gd name="connsiteY222" fmla="*/ 566723 h 645480"/>
                    <a:gd name="connsiteX223" fmla="*/ 566669 w 891596"/>
                    <a:gd name="connsiteY223" fmla="*/ 554220 h 645480"/>
                    <a:gd name="connsiteX224" fmla="*/ 523047 w 891596"/>
                    <a:gd name="connsiteY224" fmla="*/ 529214 h 645480"/>
                    <a:gd name="connsiteX225" fmla="*/ 510544 w 891596"/>
                    <a:gd name="connsiteY225" fmla="*/ 516711 h 645480"/>
                    <a:gd name="connsiteX226" fmla="*/ 478731 w 891596"/>
                    <a:gd name="connsiteY226" fmla="*/ 511293 h 645480"/>
                    <a:gd name="connsiteX227" fmla="*/ 478731 w 891596"/>
                    <a:gd name="connsiteY227" fmla="*/ 511293 h 64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891596" h="645480">
                      <a:moveTo>
                        <a:pt x="478731" y="511293"/>
                      </a:moveTo>
                      <a:cubicBezTo>
                        <a:pt x="472479" y="530047"/>
                        <a:pt x="460115" y="511293"/>
                        <a:pt x="441360" y="517544"/>
                      </a:cubicBezTo>
                      <a:cubicBezTo>
                        <a:pt x="435109" y="517544"/>
                        <a:pt x="428857" y="523796"/>
                        <a:pt x="422744" y="530047"/>
                      </a:cubicBezTo>
                      <a:cubicBezTo>
                        <a:pt x="410241" y="536299"/>
                        <a:pt x="404129" y="530047"/>
                        <a:pt x="391626" y="530047"/>
                      </a:cubicBezTo>
                      <a:cubicBezTo>
                        <a:pt x="373010" y="523796"/>
                        <a:pt x="348004" y="511293"/>
                        <a:pt x="373010" y="492399"/>
                      </a:cubicBezTo>
                      <a:cubicBezTo>
                        <a:pt x="385513" y="479896"/>
                        <a:pt x="385513" y="467393"/>
                        <a:pt x="404129" y="467393"/>
                      </a:cubicBezTo>
                      <a:cubicBezTo>
                        <a:pt x="422744" y="473644"/>
                        <a:pt x="441499" y="479896"/>
                        <a:pt x="466367" y="473644"/>
                      </a:cubicBezTo>
                      <a:cubicBezTo>
                        <a:pt x="478870" y="473644"/>
                        <a:pt x="491234" y="467393"/>
                        <a:pt x="503737" y="467393"/>
                      </a:cubicBezTo>
                      <a:cubicBezTo>
                        <a:pt x="509988" y="467393"/>
                        <a:pt x="503737" y="461141"/>
                        <a:pt x="503737" y="454890"/>
                      </a:cubicBezTo>
                      <a:cubicBezTo>
                        <a:pt x="485121" y="442386"/>
                        <a:pt x="478870" y="436135"/>
                        <a:pt x="497485" y="423632"/>
                      </a:cubicBezTo>
                      <a:cubicBezTo>
                        <a:pt x="509988" y="404877"/>
                        <a:pt x="522352" y="404877"/>
                        <a:pt x="541107" y="404877"/>
                      </a:cubicBezTo>
                      <a:cubicBezTo>
                        <a:pt x="547359" y="404877"/>
                        <a:pt x="559723" y="404877"/>
                        <a:pt x="565975" y="411129"/>
                      </a:cubicBezTo>
                      <a:cubicBezTo>
                        <a:pt x="578478" y="417380"/>
                        <a:pt x="578478" y="423632"/>
                        <a:pt x="578478" y="436135"/>
                      </a:cubicBezTo>
                      <a:cubicBezTo>
                        <a:pt x="584729" y="448638"/>
                        <a:pt x="590981" y="429883"/>
                        <a:pt x="597093" y="429883"/>
                      </a:cubicBezTo>
                      <a:cubicBezTo>
                        <a:pt x="597093" y="423632"/>
                        <a:pt x="615709" y="429883"/>
                        <a:pt x="615709" y="429883"/>
                      </a:cubicBezTo>
                      <a:cubicBezTo>
                        <a:pt x="621961" y="429883"/>
                        <a:pt x="640577" y="429883"/>
                        <a:pt x="640577" y="417380"/>
                      </a:cubicBezTo>
                      <a:cubicBezTo>
                        <a:pt x="640577" y="411129"/>
                        <a:pt x="621961" y="404877"/>
                        <a:pt x="615709" y="404877"/>
                      </a:cubicBezTo>
                      <a:cubicBezTo>
                        <a:pt x="603206" y="398626"/>
                        <a:pt x="597093" y="392374"/>
                        <a:pt x="590842" y="386122"/>
                      </a:cubicBezTo>
                      <a:cubicBezTo>
                        <a:pt x="584590" y="386122"/>
                        <a:pt x="578339" y="398626"/>
                        <a:pt x="578339" y="404877"/>
                      </a:cubicBezTo>
                      <a:cubicBezTo>
                        <a:pt x="572087" y="411129"/>
                        <a:pt x="547220" y="404877"/>
                        <a:pt x="540968" y="404877"/>
                      </a:cubicBezTo>
                      <a:cubicBezTo>
                        <a:pt x="503598" y="398626"/>
                        <a:pt x="553472" y="386122"/>
                        <a:pt x="547220" y="373619"/>
                      </a:cubicBezTo>
                      <a:cubicBezTo>
                        <a:pt x="540968" y="354865"/>
                        <a:pt x="534717" y="329719"/>
                        <a:pt x="522352" y="317216"/>
                      </a:cubicBezTo>
                      <a:cubicBezTo>
                        <a:pt x="516101" y="317216"/>
                        <a:pt x="503737" y="323468"/>
                        <a:pt x="503737" y="317216"/>
                      </a:cubicBezTo>
                      <a:cubicBezTo>
                        <a:pt x="503737" y="310965"/>
                        <a:pt x="503737" y="298462"/>
                        <a:pt x="497485" y="292210"/>
                      </a:cubicBezTo>
                      <a:cubicBezTo>
                        <a:pt x="491234" y="285959"/>
                        <a:pt x="484982" y="323468"/>
                        <a:pt x="491234" y="323468"/>
                      </a:cubicBezTo>
                      <a:cubicBezTo>
                        <a:pt x="484982" y="323468"/>
                        <a:pt x="466367" y="279568"/>
                        <a:pt x="466367" y="279568"/>
                      </a:cubicBezTo>
                      <a:cubicBezTo>
                        <a:pt x="453863" y="279568"/>
                        <a:pt x="447751" y="285820"/>
                        <a:pt x="441499" y="292071"/>
                      </a:cubicBezTo>
                      <a:cubicBezTo>
                        <a:pt x="435247" y="292071"/>
                        <a:pt x="416632" y="304574"/>
                        <a:pt x="416632" y="298323"/>
                      </a:cubicBezTo>
                      <a:cubicBezTo>
                        <a:pt x="416632" y="279568"/>
                        <a:pt x="410380" y="279568"/>
                        <a:pt x="429135" y="279568"/>
                      </a:cubicBezTo>
                      <a:cubicBezTo>
                        <a:pt x="435387" y="279568"/>
                        <a:pt x="441638" y="273317"/>
                        <a:pt x="441638" y="267065"/>
                      </a:cubicBezTo>
                      <a:cubicBezTo>
                        <a:pt x="447890" y="260813"/>
                        <a:pt x="429135" y="260813"/>
                        <a:pt x="429135" y="260813"/>
                      </a:cubicBezTo>
                      <a:cubicBezTo>
                        <a:pt x="422883" y="254562"/>
                        <a:pt x="398016" y="242059"/>
                        <a:pt x="398016" y="242059"/>
                      </a:cubicBezTo>
                      <a:cubicBezTo>
                        <a:pt x="398016" y="223304"/>
                        <a:pt x="391764" y="235807"/>
                        <a:pt x="385513" y="235807"/>
                      </a:cubicBezTo>
                      <a:cubicBezTo>
                        <a:pt x="379261" y="235807"/>
                        <a:pt x="385513" y="204549"/>
                        <a:pt x="373010" y="210801"/>
                      </a:cubicBezTo>
                      <a:cubicBezTo>
                        <a:pt x="366758" y="210801"/>
                        <a:pt x="366758" y="217052"/>
                        <a:pt x="354394" y="204549"/>
                      </a:cubicBezTo>
                      <a:cubicBezTo>
                        <a:pt x="348142" y="204549"/>
                        <a:pt x="341891" y="192046"/>
                        <a:pt x="335778" y="192046"/>
                      </a:cubicBezTo>
                      <a:lnTo>
                        <a:pt x="342030" y="198298"/>
                      </a:lnTo>
                      <a:cubicBezTo>
                        <a:pt x="342030" y="198298"/>
                        <a:pt x="323414" y="198298"/>
                        <a:pt x="323414" y="204549"/>
                      </a:cubicBezTo>
                      <a:cubicBezTo>
                        <a:pt x="329666" y="210801"/>
                        <a:pt x="342030" y="204549"/>
                        <a:pt x="348281" y="217052"/>
                      </a:cubicBezTo>
                      <a:cubicBezTo>
                        <a:pt x="348281" y="229556"/>
                        <a:pt x="335778" y="229556"/>
                        <a:pt x="329666" y="229556"/>
                      </a:cubicBezTo>
                      <a:cubicBezTo>
                        <a:pt x="317162" y="235807"/>
                        <a:pt x="286044" y="210801"/>
                        <a:pt x="273679" y="223304"/>
                      </a:cubicBezTo>
                      <a:cubicBezTo>
                        <a:pt x="267428" y="223304"/>
                        <a:pt x="279931" y="229556"/>
                        <a:pt x="286183" y="235807"/>
                      </a:cubicBezTo>
                      <a:cubicBezTo>
                        <a:pt x="286183" y="242059"/>
                        <a:pt x="292434" y="235807"/>
                        <a:pt x="298686" y="235807"/>
                      </a:cubicBezTo>
                      <a:cubicBezTo>
                        <a:pt x="304937" y="235807"/>
                        <a:pt x="323553" y="229556"/>
                        <a:pt x="323553" y="235807"/>
                      </a:cubicBezTo>
                      <a:cubicBezTo>
                        <a:pt x="323553" y="242059"/>
                        <a:pt x="317301" y="248310"/>
                        <a:pt x="311050" y="254562"/>
                      </a:cubicBezTo>
                      <a:cubicBezTo>
                        <a:pt x="311050" y="254562"/>
                        <a:pt x="242561" y="210662"/>
                        <a:pt x="230196" y="216914"/>
                      </a:cubicBezTo>
                      <a:cubicBezTo>
                        <a:pt x="236448" y="216914"/>
                        <a:pt x="242699" y="223165"/>
                        <a:pt x="248812" y="223165"/>
                      </a:cubicBezTo>
                      <a:cubicBezTo>
                        <a:pt x="261315" y="235668"/>
                        <a:pt x="230196" y="229417"/>
                        <a:pt x="230196" y="229417"/>
                      </a:cubicBezTo>
                      <a:cubicBezTo>
                        <a:pt x="211581" y="216914"/>
                        <a:pt x="186574" y="229417"/>
                        <a:pt x="167959" y="223165"/>
                      </a:cubicBezTo>
                      <a:cubicBezTo>
                        <a:pt x="143091" y="216914"/>
                        <a:pt x="124337" y="223165"/>
                        <a:pt x="105721" y="204410"/>
                      </a:cubicBezTo>
                      <a:cubicBezTo>
                        <a:pt x="87105" y="191907"/>
                        <a:pt x="74602" y="210662"/>
                        <a:pt x="55986" y="204410"/>
                      </a:cubicBezTo>
                      <a:cubicBezTo>
                        <a:pt x="49735" y="198159"/>
                        <a:pt x="37370" y="198159"/>
                        <a:pt x="31119" y="191907"/>
                      </a:cubicBezTo>
                      <a:cubicBezTo>
                        <a:pt x="31119" y="185656"/>
                        <a:pt x="12503" y="166901"/>
                        <a:pt x="24867" y="166901"/>
                      </a:cubicBezTo>
                      <a:cubicBezTo>
                        <a:pt x="43483" y="166901"/>
                        <a:pt x="68489" y="185656"/>
                        <a:pt x="87105" y="173153"/>
                      </a:cubicBezTo>
                      <a:cubicBezTo>
                        <a:pt x="93357" y="166901"/>
                        <a:pt x="80853" y="160649"/>
                        <a:pt x="80853" y="160649"/>
                      </a:cubicBezTo>
                      <a:cubicBezTo>
                        <a:pt x="68350" y="154398"/>
                        <a:pt x="55986" y="154398"/>
                        <a:pt x="49735" y="154398"/>
                      </a:cubicBezTo>
                      <a:cubicBezTo>
                        <a:pt x="31119" y="154398"/>
                        <a:pt x="0" y="154398"/>
                        <a:pt x="0" y="135643"/>
                      </a:cubicBezTo>
                      <a:cubicBezTo>
                        <a:pt x="0" y="110637"/>
                        <a:pt x="0" y="91743"/>
                        <a:pt x="12503" y="66737"/>
                      </a:cubicBezTo>
                      <a:cubicBezTo>
                        <a:pt x="18755" y="47983"/>
                        <a:pt x="37370" y="35479"/>
                        <a:pt x="56125" y="22837"/>
                      </a:cubicBezTo>
                      <a:cubicBezTo>
                        <a:pt x="68628" y="10334"/>
                        <a:pt x="80992" y="10334"/>
                        <a:pt x="99747" y="4083"/>
                      </a:cubicBezTo>
                      <a:cubicBezTo>
                        <a:pt x="112250" y="4083"/>
                        <a:pt x="149482" y="-8420"/>
                        <a:pt x="155733" y="10334"/>
                      </a:cubicBezTo>
                      <a:cubicBezTo>
                        <a:pt x="155733" y="4083"/>
                        <a:pt x="124614" y="35340"/>
                        <a:pt x="118363" y="35340"/>
                      </a:cubicBezTo>
                      <a:cubicBezTo>
                        <a:pt x="105860" y="47844"/>
                        <a:pt x="93495" y="60347"/>
                        <a:pt x="105860" y="72989"/>
                      </a:cubicBezTo>
                      <a:cubicBezTo>
                        <a:pt x="118363" y="85492"/>
                        <a:pt x="105860" y="91743"/>
                        <a:pt x="112111" y="104247"/>
                      </a:cubicBezTo>
                      <a:cubicBezTo>
                        <a:pt x="112111" y="116750"/>
                        <a:pt x="124614" y="123001"/>
                        <a:pt x="130727" y="129253"/>
                      </a:cubicBezTo>
                      <a:cubicBezTo>
                        <a:pt x="136979" y="135504"/>
                        <a:pt x="149343" y="141756"/>
                        <a:pt x="155594" y="148007"/>
                      </a:cubicBezTo>
                      <a:cubicBezTo>
                        <a:pt x="161846" y="154259"/>
                        <a:pt x="136979" y="154259"/>
                        <a:pt x="136979" y="160511"/>
                      </a:cubicBezTo>
                      <a:cubicBezTo>
                        <a:pt x="136979" y="154259"/>
                        <a:pt x="161846" y="173014"/>
                        <a:pt x="161846" y="173014"/>
                      </a:cubicBezTo>
                      <a:cubicBezTo>
                        <a:pt x="168098" y="166762"/>
                        <a:pt x="161846" y="154259"/>
                        <a:pt x="161846" y="148007"/>
                      </a:cubicBezTo>
                      <a:cubicBezTo>
                        <a:pt x="161846" y="148007"/>
                        <a:pt x="174349" y="141756"/>
                        <a:pt x="168098" y="135504"/>
                      </a:cubicBezTo>
                      <a:cubicBezTo>
                        <a:pt x="161846" y="129253"/>
                        <a:pt x="136979" y="123001"/>
                        <a:pt x="130727" y="116750"/>
                      </a:cubicBezTo>
                      <a:cubicBezTo>
                        <a:pt x="124475" y="116750"/>
                        <a:pt x="118224" y="110498"/>
                        <a:pt x="124475" y="110498"/>
                      </a:cubicBezTo>
                      <a:cubicBezTo>
                        <a:pt x="136979" y="110498"/>
                        <a:pt x="136979" y="104247"/>
                        <a:pt x="143091" y="97995"/>
                      </a:cubicBezTo>
                      <a:cubicBezTo>
                        <a:pt x="155594" y="91743"/>
                        <a:pt x="174210" y="104247"/>
                        <a:pt x="180462" y="110498"/>
                      </a:cubicBezTo>
                      <a:cubicBezTo>
                        <a:pt x="174210" y="104247"/>
                        <a:pt x="167959" y="97995"/>
                        <a:pt x="167959" y="91743"/>
                      </a:cubicBezTo>
                      <a:cubicBezTo>
                        <a:pt x="167959" y="79240"/>
                        <a:pt x="136840" y="85492"/>
                        <a:pt x="136840" y="72989"/>
                      </a:cubicBezTo>
                      <a:cubicBezTo>
                        <a:pt x="124337" y="35340"/>
                        <a:pt x="180462" y="66737"/>
                        <a:pt x="180462" y="66737"/>
                      </a:cubicBezTo>
                      <a:cubicBezTo>
                        <a:pt x="180462" y="60486"/>
                        <a:pt x="143091" y="47983"/>
                        <a:pt x="143091" y="47983"/>
                      </a:cubicBezTo>
                      <a:cubicBezTo>
                        <a:pt x="143091" y="41731"/>
                        <a:pt x="174210" y="47983"/>
                        <a:pt x="174210" y="47983"/>
                      </a:cubicBezTo>
                      <a:cubicBezTo>
                        <a:pt x="174210" y="41731"/>
                        <a:pt x="155594" y="35479"/>
                        <a:pt x="155594" y="35479"/>
                      </a:cubicBezTo>
                      <a:cubicBezTo>
                        <a:pt x="149343" y="29228"/>
                        <a:pt x="155594" y="29228"/>
                        <a:pt x="161846" y="29228"/>
                      </a:cubicBezTo>
                      <a:cubicBezTo>
                        <a:pt x="168098" y="35479"/>
                        <a:pt x="168098" y="29228"/>
                        <a:pt x="174349" y="29228"/>
                      </a:cubicBezTo>
                      <a:cubicBezTo>
                        <a:pt x="186852" y="22976"/>
                        <a:pt x="186852" y="29228"/>
                        <a:pt x="199216" y="29228"/>
                      </a:cubicBezTo>
                      <a:cubicBezTo>
                        <a:pt x="180601" y="22976"/>
                        <a:pt x="205468" y="10473"/>
                        <a:pt x="211720" y="10473"/>
                      </a:cubicBezTo>
                      <a:cubicBezTo>
                        <a:pt x="224223" y="4222"/>
                        <a:pt x="261454" y="4222"/>
                        <a:pt x="267706" y="16725"/>
                      </a:cubicBezTo>
                      <a:cubicBezTo>
                        <a:pt x="273957" y="22976"/>
                        <a:pt x="273957" y="29228"/>
                        <a:pt x="273957" y="35479"/>
                      </a:cubicBezTo>
                      <a:cubicBezTo>
                        <a:pt x="280209" y="41731"/>
                        <a:pt x="286460" y="47983"/>
                        <a:pt x="292573" y="54234"/>
                      </a:cubicBezTo>
                      <a:cubicBezTo>
                        <a:pt x="298825" y="66737"/>
                        <a:pt x="267706" y="91882"/>
                        <a:pt x="267706" y="91882"/>
                      </a:cubicBezTo>
                      <a:cubicBezTo>
                        <a:pt x="273957" y="98134"/>
                        <a:pt x="286321" y="79379"/>
                        <a:pt x="292573" y="79379"/>
                      </a:cubicBezTo>
                      <a:cubicBezTo>
                        <a:pt x="292573" y="79379"/>
                        <a:pt x="280070" y="117028"/>
                        <a:pt x="286321" y="110637"/>
                      </a:cubicBezTo>
                      <a:cubicBezTo>
                        <a:pt x="292573" y="110637"/>
                        <a:pt x="292573" y="98134"/>
                        <a:pt x="298825" y="98134"/>
                      </a:cubicBezTo>
                      <a:cubicBezTo>
                        <a:pt x="311328" y="98134"/>
                        <a:pt x="311328" y="104385"/>
                        <a:pt x="323692" y="91882"/>
                      </a:cubicBezTo>
                      <a:cubicBezTo>
                        <a:pt x="329943" y="85631"/>
                        <a:pt x="329943" y="91882"/>
                        <a:pt x="336195" y="98134"/>
                      </a:cubicBezTo>
                      <a:cubicBezTo>
                        <a:pt x="342447" y="104385"/>
                        <a:pt x="336195" y="104385"/>
                        <a:pt x="336195" y="110637"/>
                      </a:cubicBezTo>
                      <a:cubicBezTo>
                        <a:pt x="336195" y="116889"/>
                        <a:pt x="367314" y="123140"/>
                        <a:pt x="373566" y="123140"/>
                      </a:cubicBezTo>
                      <a:cubicBezTo>
                        <a:pt x="373566" y="123140"/>
                        <a:pt x="342447" y="91882"/>
                        <a:pt x="336195" y="85492"/>
                      </a:cubicBezTo>
                      <a:cubicBezTo>
                        <a:pt x="336195" y="85492"/>
                        <a:pt x="392181" y="104247"/>
                        <a:pt x="392181" y="97995"/>
                      </a:cubicBezTo>
                      <a:cubicBezTo>
                        <a:pt x="392181" y="97995"/>
                        <a:pt x="354811" y="91743"/>
                        <a:pt x="354811" y="79240"/>
                      </a:cubicBezTo>
                      <a:cubicBezTo>
                        <a:pt x="354811" y="72989"/>
                        <a:pt x="373426" y="66737"/>
                        <a:pt x="379678" y="66737"/>
                      </a:cubicBezTo>
                      <a:cubicBezTo>
                        <a:pt x="392181" y="60486"/>
                        <a:pt x="398294" y="66737"/>
                        <a:pt x="410797" y="72989"/>
                      </a:cubicBezTo>
                      <a:cubicBezTo>
                        <a:pt x="429413" y="79240"/>
                        <a:pt x="454419" y="72989"/>
                        <a:pt x="460531" y="97995"/>
                      </a:cubicBezTo>
                      <a:cubicBezTo>
                        <a:pt x="460531" y="97995"/>
                        <a:pt x="416910" y="97995"/>
                        <a:pt x="423161" y="116750"/>
                      </a:cubicBezTo>
                      <a:cubicBezTo>
                        <a:pt x="423161" y="110498"/>
                        <a:pt x="441777" y="104247"/>
                        <a:pt x="441777" y="104247"/>
                      </a:cubicBezTo>
                      <a:cubicBezTo>
                        <a:pt x="454280" y="104247"/>
                        <a:pt x="435525" y="116750"/>
                        <a:pt x="435525" y="123001"/>
                      </a:cubicBezTo>
                      <a:lnTo>
                        <a:pt x="454141" y="110498"/>
                      </a:lnTo>
                      <a:cubicBezTo>
                        <a:pt x="454141" y="104247"/>
                        <a:pt x="479008" y="104247"/>
                        <a:pt x="485260" y="110498"/>
                      </a:cubicBezTo>
                      <a:cubicBezTo>
                        <a:pt x="510127" y="110498"/>
                        <a:pt x="454141" y="129253"/>
                        <a:pt x="460393" y="135504"/>
                      </a:cubicBezTo>
                      <a:cubicBezTo>
                        <a:pt x="460393" y="135504"/>
                        <a:pt x="472896" y="123001"/>
                        <a:pt x="472896" y="129253"/>
                      </a:cubicBezTo>
                      <a:cubicBezTo>
                        <a:pt x="472896" y="135504"/>
                        <a:pt x="460393" y="148007"/>
                        <a:pt x="466644" y="154259"/>
                      </a:cubicBezTo>
                      <a:cubicBezTo>
                        <a:pt x="460393" y="148007"/>
                        <a:pt x="485260" y="123001"/>
                        <a:pt x="491512" y="129253"/>
                      </a:cubicBezTo>
                      <a:cubicBezTo>
                        <a:pt x="491512" y="141756"/>
                        <a:pt x="485260" y="154259"/>
                        <a:pt x="491512" y="160511"/>
                      </a:cubicBezTo>
                      <a:cubicBezTo>
                        <a:pt x="491512" y="160511"/>
                        <a:pt x="491512" y="135504"/>
                        <a:pt x="504015" y="135504"/>
                      </a:cubicBezTo>
                      <a:cubicBezTo>
                        <a:pt x="516518" y="141756"/>
                        <a:pt x="497763" y="160511"/>
                        <a:pt x="504015" y="166762"/>
                      </a:cubicBezTo>
                      <a:cubicBezTo>
                        <a:pt x="504015" y="166762"/>
                        <a:pt x="510266" y="148007"/>
                        <a:pt x="516518" y="148007"/>
                      </a:cubicBezTo>
                      <a:cubicBezTo>
                        <a:pt x="516518" y="148007"/>
                        <a:pt x="510266" y="166762"/>
                        <a:pt x="516518" y="166762"/>
                      </a:cubicBezTo>
                      <a:cubicBezTo>
                        <a:pt x="510266" y="166762"/>
                        <a:pt x="529021" y="141756"/>
                        <a:pt x="535134" y="135504"/>
                      </a:cubicBezTo>
                      <a:cubicBezTo>
                        <a:pt x="541385" y="129253"/>
                        <a:pt x="560001" y="135504"/>
                        <a:pt x="566252" y="141756"/>
                      </a:cubicBezTo>
                      <a:cubicBezTo>
                        <a:pt x="578756" y="148007"/>
                        <a:pt x="584868" y="160511"/>
                        <a:pt x="566252" y="160511"/>
                      </a:cubicBezTo>
                      <a:cubicBezTo>
                        <a:pt x="560001" y="160511"/>
                        <a:pt x="535134" y="160511"/>
                        <a:pt x="535134" y="179265"/>
                      </a:cubicBezTo>
                      <a:cubicBezTo>
                        <a:pt x="535134" y="173014"/>
                        <a:pt x="572504" y="160511"/>
                        <a:pt x="572504" y="166762"/>
                      </a:cubicBezTo>
                      <a:cubicBezTo>
                        <a:pt x="572504" y="166762"/>
                        <a:pt x="547637" y="179265"/>
                        <a:pt x="547637" y="185517"/>
                      </a:cubicBezTo>
                      <a:cubicBezTo>
                        <a:pt x="547637" y="179265"/>
                        <a:pt x="572504" y="179265"/>
                        <a:pt x="572504" y="179265"/>
                      </a:cubicBezTo>
                      <a:cubicBezTo>
                        <a:pt x="578756" y="173014"/>
                        <a:pt x="591120" y="154259"/>
                        <a:pt x="597371" y="160511"/>
                      </a:cubicBezTo>
                      <a:cubicBezTo>
                        <a:pt x="603623" y="173014"/>
                        <a:pt x="597371" y="185517"/>
                        <a:pt x="584868" y="185517"/>
                      </a:cubicBezTo>
                      <a:cubicBezTo>
                        <a:pt x="578617" y="191768"/>
                        <a:pt x="572365" y="198020"/>
                        <a:pt x="566252" y="204271"/>
                      </a:cubicBezTo>
                      <a:cubicBezTo>
                        <a:pt x="566252" y="204271"/>
                        <a:pt x="578756" y="191768"/>
                        <a:pt x="584868" y="191768"/>
                      </a:cubicBezTo>
                      <a:lnTo>
                        <a:pt x="578617" y="216775"/>
                      </a:lnTo>
                      <a:cubicBezTo>
                        <a:pt x="572365" y="204271"/>
                        <a:pt x="615987" y="160372"/>
                        <a:pt x="622239" y="172875"/>
                      </a:cubicBezTo>
                      <a:cubicBezTo>
                        <a:pt x="628490" y="179126"/>
                        <a:pt x="615987" y="185378"/>
                        <a:pt x="609736" y="185378"/>
                      </a:cubicBezTo>
                      <a:cubicBezTo>
                        <a:pt x="615987" y="185378"/>
                        <a:pt x="634603" y="185378"/>
                        <a:pt x="640854" y="185378"/>
                      </a:cubicBezTo>
                      <a:cubicBezTo>
                        <a:pt x="647106" y="185378"/>
                        <a:pt x="659470" y="185378"/>
                        <a:pt x="665722" y="191629"/>
                      </a:cubicBezTo>
                      <a:cubicBezTo>
                        <a:pt x="671973" y="210384"/>
                        <a:pt x="609736" y="210384"/>
                        <a:pt x="615987" y="229139"/>
                      </a:cubicBezTo>
                      <a:cubicBezTo>
                        <a:pt x="615987" y="229139"/>
                        <a:pt x="634603" y="210384"/>
                        <a:pt x="640854" y="210384"/>
                      </a:cubicBezTo>
                      <a:cubicBezTo>
                        <a:pt x="647106" y="210384"/>
                        <a:pt x="659470" y="210384"/>
                        <a:pt x="659470" y="216636"/>
                      </a:cubicBezTo>
                      <a:cubicBezTo>
                        <a:pt x="665722" y="222887"/>
                        <a:pt x="628351" y="235390"/>
                        <a:pt x="628351" y="235390"/>
                      </a:cubicBezTo>
                      <a:lnTo>
                        <a:pt x="646967" y="229139"/>
                      </a:lnTo>
                      <a:cubicBezTo>
                        <a:pt x="653219" y="229139"/>
                        <a:pt x="665583" y="222887"/>
                        <a:pt x="671834" y="216636"/>
                      </a:cubicBezTo>
                      <a:cubicBezTo>
                        <a:pt x="678086" y="216636"/>
                        <a:pt x="671834" y="210384"/>
                        <a:pt x="678086" y="204133"/>
                      </a:cubicBezTo>
                      <a:cubicBezTo>
                        <a:pt x="684338" y="204133"/>
                        <a:pt x="696702" y="216636"/>
                        <a:pt x="696702" y="222887"/>
                      </a:cubicBezTo>
                      <a:cubicBezTo>
                        <a:pt x="721569" y="241642"/>
                        <a:pt x="696702" y="235390"/>
                        <a:pt x="678086" y="241642"/>
                      </a:cubicBezTo>
                      <a:cubicBezTo>
                        <a:pt x="678086" y="241642"/>
                        <a:pt x="634464" y="254145"/>
                        <a:pt x="634464" y="247894"/>
                      </a:cubicBezTo>
                      <a:cubicBezTo>
                        <a:pt x="634464" y="254145"/>
                        <a:pt x="734072" y="254145"/>
                        <a:pt x="727821" y="266648"/>
                      </a:cubicBezTo>
                      <a:cubicBezTo>
                        <a:pt x="721569" y="272900"/>
                        <a:pt x="690450" y="272900"/>
                        <a:pt x="684198" y="266648"/>
                      </a:cubicBezTo>
                      <a:lnTo>
                        <a:pt x="659331" y="272900"/>
                      </a:lnTo>
                      <a:cubicBezTo>
                        <a:pt x="665583" y="279151"/>
                        <a:pt x="684198" y="272900"/>
                        <a:pt x="684198" y="279151"/>
                      </a:cubicBezTo>
                      <a:cubicBezTo>
                        <a:pt x="690450" y="279151"/>
                        <a:pt x="665583" y="285403"/>
                        <a:pt x="665583" y="291654"/>
                      </a:cubicBezTo>
                      <a:cubicBezTo>
                        <a:pt x="665583" y="304158"/>
                        <a:pt x="690450" y="310409"/>
                        <a:pt x="696702" y="310409"/>
                      </a:cubicBezTo>
                      <a:cubicBezTo>
                        <a:pt x="709205" y="316661"/>
                        <a:pt x="727821" y="316661"/>
                        <a:pt x="734072" y="329164"/>
                      </a:cubicBezTo>
                      <a:cubicBezTo>
                        <a:pt x="740324" y="335415"/>
                        <a:pt x="740324" y="341667"/>
                        <a:pt x="746575" y="341667"/>
                      </a:cubicBezTo>
                      <a:lnTo>
                        <a:pt x="759078" y="335415"/>
                      </a:lnTo>
                      <a:cubicBezTo>
                        <a:pt x="759078" y="335415"/>
                        <a:pt x="759078" y="347918"/>
                        <a:pt x="765330" y="347918"/>
                      </a:cubicBezTo>
                      <a:cubicBezTo>
                        <a:pt x="765330" y="347918"/>
                        <a:pt x="765330" y="335415"/>
                        <a:pt x="771582" y="335415"/>
                      </a:cubicBezTo>
                      <a:lnTo>
                        <a:pt x="771582" y="347918"/>
                      </a:lnTo>
                      <a:cubicBezTo>
                        <a:pt x="771582" y="354170"/>
                        <a:pt x="784085" y="347918"/>
                        <a:pt x="790197" y="347918"/>
                      </a:cubicBezTo>
                      <a:cubicBezTo>
                        <a:pt x="790197" y="347918"/>
                        <a:pt x="802700" y="354170"/>
                        <a:pt x="802700" y="360422"/>
                      </a:cubicBezTo>
                      <a:cubicBezTo>
                        <a:pt x="802700" y="366673"/>
                        <a:pt x="796449" y="360422"/>
                        <a:pt x="796449" y="366673"/>
                      </a:cubicBezTo>
                      <a:cubicBezTo>
                        <a:pt x="802700" y="360422"/>
                        <a:pt x="858687" y="379176"/>
                        <a:pt x="858687" y="379176"/>
                      </a:cubicBezTo>
                      <a:cubicBezTo>
                        <a:pt x="852435" y="385428"/>
                        <a:pt x="852435" y="385428"/>
                        <a:pt x="852435" y="385428"/>
                      </a:cubicBezTo>
                      <a:cubicBezTo>
                        <a:pt x="852435" y="391679"/>
                        <a:pt x="864938" y="385428"/>
                        <a:pt x="864938" y="385428"/>
                      </a:cubicBezTo>
                      <a:cubicBezTo>
                        <a:pt x="871190" y="379176"/>
                        <a:pt x="871190" y="385428"/>
                        <a:pt x="877441" y="391679"/>
                      </a:cubicBezTo>
                      <a:cubicBezTo>
                        <a:pt x="883693" y="391679"/>
                        <a:pt x="896057" y="404183"/>
                        <a:pt x="889944" y="410434"/>
                      </a:cubicBezTo>
                      <a:lnTo>
                        <a:pt x="877441" y="410434"/>
                      </a:lnTo>
                      <a:cubicBezTo>
                        <a:pt x="877441" y="416686"/>
                        <a:pt x="889944" y="416686"/>
                        <a:pt x="883693" y="422937"/>
                      </a:cubicBezTo>
                      <a:lnTo>
                        <a:pt x="865077" y="422937"/>
                      </a:lnTo>
                      <a:cubicBezTo>
                        <a:pt x="852574" y="429189"/>
                        <a:pt x="865077" y="429189"/>
                        <a:pt x="865077" y="435440"/>
                      </a:cubicBezTo>
                      <a:cubicBezTo>
                        <a:pt x="871329" y="447943"/>
                        <a:pt x="846461" y="435440"/>
                        <a:pt x="840210" y="435440"/>
                      </a:cubicBezTo>
                      <a:cubicBezTo>
                        <a:pt x="846461" y="441692"/>
                        <a:pt x="858826" y="447943"/>
                        <a:pt x="852713" y="454195"/>
                      </a:cubicBezTo>
                      <a:cubicBezTo>
                        <a:pt x="846461" y="454195"/>
                        <a:pt x="821594" y="454195"/>
                        <a:pt x="827846" y="447943"/>
                      </a:cubicBezTo>
                      <a:cubicBezTo>
                        <a:pt x="821594" y="454195"/>
                        <a:pt x="840349" y="466698"/>
                        <a:pt x="834097" y="472950"/>
                      </a:cubicBezTo>
                      <a:cubicBezTo>
                        <a:pt x="827846" y="472950"/>
                        <a:pt x="827846" y="460447"/>
                        <a:pt x="821594" y="466698"/>
                      </a:cubicBezTo>
                      <a:cubicBezTo>
                        <a:pt x="815343" y="472950"/>
                        <a:pt x="840210" y="504346"/>
                        <a:pt x="815343" y="485453"/>
                      </a:cubicBezTo>
                      <a:lnTo>
                        <a:pt x="796727" y="472950"/>
                      </a:lnTo>
                      <a:cubicBezTo>
                        <a:pt x="790475" y="479201"/>
                        <a:pt x="790475" y="485453"/>
                        <a:pt x="784223" y="485453"/>
                      </a:cubicBezTo>
                      <a:cubicBezTo>
                        <a:pt x="784223" y="479201"/>
                        <a:pt x="790475" y="472950"/>
                        <a:pt x="790475" y="466698"/>
                      </a:cubicBezTo>
                      <a:cubicBezTo>
                        <a:pt x="790475" y="472950"/>
                        <a:pt x="777972" y="472950"/>
                        <a:pt x="777972" y="472950"/>
                      </a:cubicBezTo>
                      <a:cubicBezTo>
                        <a:pt x="771720" y="466698"/>
                        <a:pt x="784223" y="460447"/>
                        <a:pt x="777972" y="454195"/>
                      </a:cubicBezTo>
                      <a:lnTo>
                        <a:pt x="765469" y="460447"/>
                      </a:lnTo>
                      <a:cubicBezTo>
                        <a:pt x="759217" y="454195"/>
                        <a:pt x="765469" y="441692"/>
                        <a:pt x="765469" y="441692"/>
                      </a:cubicBezTo>
                      <a:cubicBezTo>
                        <a:pt x="771720" y="441692"/>
                        <a:pt x="796588" y="429189"/>
                        <a:pt x="790336" y="429189"/>
                      </a:cubicBezTo>
                      <a:cubicBezTo>
                        <a:pt x="784085" y="422937"/>
                        <a:pt x="759217" y="447943"/>
                        <a:pt x="746714" y="441692"/>
                      </a:cubicBezTo>
                      <a:cubicBezTo>
                        <a:pt x="746714" y="441692"/>
                        <a:pt x="765330" y="422937"/>
                        <a:pt x="759217" y="422937"/>
                      </a:cubicBezTo>
                      <a:cubicBezTo>
                        <a:pt x="752966" y="422937"/>
                        <a:pt x="746714" y="435440"/>
                        <a:pt x="740602" y="429189"/>
                      </a:cubicBezTo>
                      <a:cubicBezTo>
                        <a:pt x="734350" y="422937"/>
                        <a:pt x="728098" y="422937"/>
                        <a:pt x="721986" y="416686"/>
                      </a:cubicBezTo>
                      <a:cubicBezTo>
                        <a:pt x="715734" y="410434"/>
                        <a:pt x="709483" y="404183"/>
                        <a:pt x="703370" y="410434"/>
                      </a:cubicBezTo>
                      <a:cubicBezTo>
                        <a:pt x="703370" y="416686"/>
                        <a:pt x="703370" y="416686"/>
                        <a:pt x="703370" y="422937"/>
                      </a:cubicBezTo>
                      <a:lnTo>
                        <a:pt x="697118" y="422937"/>
                      </a:lnTo>
                      <a:cubicBezTo>
                        <a:pt x="697118" y="429189"/>
                        <a:pt x="721986" y="441692"/>
                        <a:pt x="697118" y="441692"/>
                      </a:cubicBezTo>
                      <a:cubicBezTo>
                        <a:pt x="690867" y="441692"/>
                        <a:pt x="666000" y="435440"/>
                        <a:pt x="672251" y="429189"/>
                      </a:cubicBezTo>
                      <a:cubicBezTo>
                        <a:pt x="666000" y="441692"/>
                        <a:pt x="690867" y="454195"/>
                        <a:pt x="697118" y="460447"/>
                      </a:cubicBezTo>
                      <a:cubicBezTo>
                        <a:pt x="709622" y="460447"/>
                        <a:pt x="709622" y="479201"/>
                        <a:pt x="715734" y="485453"/>
                      </a:cubicBezTo>
                      <a:cubicBezTo>
                        <a:pt x="721986" y="491704"/>
                        <a:pt x="721986" y="497956"/>
                        <a:pt x="728237" y="497956"/>
                      </a:cubicBezTo>
                      <a:cubicBezTo>
                        <a:pt x="734489" y="497956"/>
                        <a:pt x="728237" y="491704"/>
                        <a:pt x="734489" y="491704"/>
                      </a:cubicBezTo>
                      <a:cubicBezTo>
                        <a:pt x="734489" y="491704"/>
                        <a:pt x="740741" y="497956"/>
                        <a:pt x="740741" y="504207"/>
                      </a:cubicBezTo>
                      <a:cubicBezTo>
                        <a:pt x="746992" y="510459"/>
                        <a:pt x="746992" y="504207"/>
                        <a:pt x="753244" y="497956"/>
                      </a:cubicBezTo>
                      <a:cubicBezTo>
                        <a:pt x="759495" y="497956"/>
                        <a:pt x="753244" y="522962"/>
                        <a:pt x="759495" y="516711"/>
                      </a:cubicBezTo>
                      <a:cubicBezTo>
                        <a:pt x="765747" y="516711"/>
                        <a:pt x="759495" y="510459"/>
                        <a:pt x="765747" y="504207"/>
                      </a:cubicBezTo>
                      <a:cubicBezTo>
                        <a:pt x="765747" y="504207"/>
                        <a:pt x="765747" y="516711"/>
                        <a:pt x="765747" y="522962"/>
                      </a:cubicBezTo>
                      <a:cubicBezTo>
                        <a:pt x="765747" y="529214"/>
                        <a:pt x="765747" y="529214"/>
                        <a:pt x="771998" y="535465"/>
                      </a:cubicBezTo>
                      <a:cubicBezTo>
                        <a:pt x="778250" y="535465"/>
                        <a:pt x="784502" y="541717"/>
                        <a:pt x="784502" y="547968"/>
                      </a:cubicBezTo>
                      <a:cubicBezTo>
                        <a:pt x="790753" y="547968"/>
                        <a:pt x="797005" y="572975"/>
                        <a:pt x="797005" y="572975"/>
                      </a:cubicBezTo>
                      <a:cubicBezTo>
                        <a:pt x="790753" y="566723"/>
                        <a:pt x="790753" y="560472"/>
                        <a:pt x="790753" y="560472"/>
                      </a:cubicBezTo>
                      <a:cubicBezTo>
                        <a:pt x="784502" y="560472"/>
                        <a:pt x="790753" y="585478"/>
                        <a:pt x="790753" y="585478"/>
                      </a:cubicBezTo>
                      <a:cubicBezTo>
                        <a:pt x="790753" y="585478"/>
                        <a:pt x="778250" y="560472"/>
                        <a:pt x="772137" y="554220"/>
                      </a:cubicBezTo>
                      <a:cubicBezTo>
                        <a:pt x="772137" y="554220"/>
                        <a:pt x="778389" y="579226"/>
                        <a:pt x="784640" y="585478"/>
                      </a:cubicBezTo>
                      <a:cubicBezTo>
                        <a:pt x="784640" y="604232"/>
                        <a:pt x="772137" y="585478"/>
                        <a:pt x="772137" y="591729"/>
                      </a:cubicBezTo>
                      <a:cubicBezTo>
                        <a:pt x="765886" y="597981"/>
                        <a:pt x="797005" y="610484"/>
                        <a:pt x="797005" y="616736"/>
                      </a:cubicBezTo>
                      <a:cubicBezTo>
                        <a:pt x="797005" y="622987"/>
                        <a:pt x="741018" y="585478"/>
                        <a:pt x="734767" y="585478"/>
                      </a:cubicBezTo>
                      <a:lnTo>
                        <a:pt x="734767" y="591729"/>
                      </a:lnTo>
                      <a:cubicBezTo>
                        <a:pt x="734767" y="597981"/>
                        <a:pt x="722264" y="572975"/>
                        <a:pt x="716151" y="572975"/>
                      </a:cubicBezTo>
                      <a:lnTo>
                        <a:pt x="722402" y="585478"/>
                      </a:lnTo>
                      <a:cubicBezTo>
                        <a:pt x="716151" y="591729"/>
                        <a:pt x="703787" y="566723"/>
                        <a:pt x="697535" y="560472"/>
                      </a:cubicBezTo>
                      <a:cubicBezTo>
                        <a:pt x="691284" y="554220"/>
                        <a:pt x="691284" y="566723"/>
                        <a:pt x="685032" y="572975"/>
                      </a:cubicBezTo>
                      <a:cubicBezTo>
                        <a:pt x="685032" y="579226"/>
                        <a:pt x="672529" y="554220"/>
                        <a:pt x="672529" y="554220"/>
                      </a:cubicBezTo>
                      <a:lnTo>
                        <a:pt x="653913" y="554220"/>
                      </a:lnTo>
                      <a:cubicBezTo>
                        <a:pt x="653913" y="560472"/>
                        <a:pt x="660165" y="566723"/>
                        <a:pt x="666417" y="566723"/>
                      </a:cubicBezTo>
                      <a:cubicBezTo>
                        <a:pt x="672668" y="572975"/>
                        <a:pt x="672668" y="572975"/>
                        <a:pt x="678920" y="579226"/>
                      </a:cubicBezTo>
                      <a:cubicBezTo>
                        <a:pt x="685171" y="585478"/>
                        <a:pt x="697535" y="591729"/>
                        <a:pt x="710038" y="597981"/>
                      </a:cubicBezTo>
                      <a:cubicBezTo>
                        <a:pt x="722541" y="610484"/>
                        <a:pt x="728654" y="616736"/>
                        <a:pt x="734906" y="629239"/>
                      </a:cubicBezTo>
                      <a:cubicBezTo>
                        <a:pt x="747409" y="647993"/>
                        <a:pt x="747409" y="647993"/>
                        <a:pt x="728654" y="641742"/>
                      </a:cubicBezTo>
                      <a:cubicBezTo>
                        <a:pt x="703787" y="629239"/>
                        <a:pt x="660165" y="635490"/>
                        <a:pt x="641549" y="610484"/>
                      </a:cubicBezTo>
                      <a:cubicBezTo>
                        <a:pt x="635297" y="597981"/>
                        <a:pt x="616682" y="610484"/>
                        <a:pt x="604179" y="597981"/>
                      </a:cubicBezTo>
                      <a:cubicBezTo>
                        <a:pt x="597927" y="591729"/>
                        <a:pt x="560556" y="579226"/>
                        <a:pt x="560556" y="572975"/>
                      </a:cubicBezTo>
                      <a:cubicBezTo>
                        <a:pt x="560556" y="566723"/>
                        <a:pt x="579172" y="572975"/>
                        <a:pt x="579172" y="566723"/>
                      </a:cubicBezTo>
                      <a:cubicBezTo>
                        <a:pt x="585424" y="560472"/>
                        <a:pt x="566669" y="554220"/>
                        <a:pt x="566669" y="554220"/>
                      </a:cubicBezTo>
                      <a:cubicBezTo>
                        <a:pt x="548053" y="547968"/>
                        <a:pt x="535550" y="535465"/>
                        <a:pt x="523047" y="529214"/>
                      </a:cubicBezTo>
                      <a:cubicBezTo>
                        <a:pt x="516796" y="522962"/>
                        <a:pt x="523047" y="516711"/>
                        <a:pt x="510544" y="516711"/>
                      </a:cubicBezTo>
                      <a:cubicBezTo>
                        <a:pt x="509849" y="511293"/>
                        <a:pt x="478731" y="511293"/>
                        <a:pt x="478731" y="511293"/>
                      </a:cubicBezTo>
                      <a:cubicBezTo>
                        <a:pt x="478731" y="517544"/>
                        <a:pt x="484982" y="505041"/>
                        <a:pt x="478731" y="51129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3" name="Freihandform: Form 252">
                  <a:extLst>
                    <a:ext uri="{FF2B5EF4-FFF2-40B4-BE49-F238E27FC236}">
                      <a16:creationId xmlns:a16="http://schemas.microsoft.com/office/drawing/2014/main" id="{3ED1DCCE-7A4C-4140-BCDD-21C00B64030A}"/>
                    </a:ext>
                  </a:extLst>
                </p:cNvPr>
                <p:cNvSpPr/>
                <p:nvPr/>
              </p:nvSpPr>
              <p:spPr>
                <a:xfrm>
                  <a:off x="3874648" y="2267767"/>
                  <a:ext cx="27547" cy="6045"/>
                </a:xfrm>
                <a:custGeom>
                  <a:avLst/>
                  <a:gdLst>
                    <a:gd name="connsiteX0" fmla="*/ 26271 w 27547"/>
                    <a:gd name="connsiteY0" fmla="*/ 4723 h 6045"/>
                    <a:gd name="connsiteX1" fmla="*/ 848 w 27547"/>
                    <a:gd name="connsiteY1" fmla="*/ 0 h 6045"/>
                    <a:gd name="connsiteX2" fmla="*/ 26271 w 27547"/>
                    <a:gd name="connsiteY2" fmla="*/ 4723 h 6045"/>
                  </a:gdLst>
                  <a:ahLst/>
                  <a:cxnLst>
                    <a:cxn ang="0">
                      <a:pos x="connsiteX0" y="connsiteY0"/>
                    </a:cxn>
                    <a:cxn ang="0">
                      <a:pos x="connsiteX1" y="connsiteY1"/>
                    </a:cxn>
                    <a:cxn ang="0">
                      <a:pos x="connsiteX2" y="connsiteY2"/>
                    </a:cxn>
                  </a:cxnLst>
                  <a:rect l="l" t="t" r="r" b="b"/>
                  <a:pathLst>
                    <a:path w="27547" h="6045">
                      <a:moveTo>
                        <a:pt x="26271" y="4723"/>
                      </a:moveTo>
                      <a:cubicBezTo>
                        <a:pt x="26271" y="9447"/>
                        <a:pt x="-5542" y="0"/>
                        <a:pt x="848" y="0"/>
                      </a:cubicBezTo>
                      <a:cubicBezTo>
                        <a:pt x="13629" y="0"/>
                        <a:pt x="32662" y="0"/>
                        <a:pt x="26271" y="47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4" name="Freihandform: Form 253">
                  <a:extLst>
                    <a:ext uri="{FF2B5EF4-FFF2-40B4-BE49-F238E27FC236}">
                      <a16:creationId xmlns:a16="http://schemas.microsoft.com/office/drawing/2014/main" id="{3B62222A-894C-46B8-9945-1DF463D029FD}"/>
                    </a:ext>
                  </a:extLst>
                </p:cNvPr>
                <p:cNvSpPr/>
                <p:nvPr/>
              </p:nvSpPr>
              <p:spPr>
                <a:xfrm>
                  <a:off x="3763095" y="1991170"/>
                  <a:ext cx="44976" cy="9585"/>
                </a:xfrm>
                <a:custGeom>
                  <a:avLst/>
                  <a:gdLst>
                    <a:gd name="connsiteX0" fmla="*/ 41828 w 44976"/>
                    <a:gd name="connsiteY0" fmla="*/ 4862 h 9585"/>
                    <a:gd name="connsiteX1" fmla="*/ 6125 w 44976"/>
                    <a:gd name="connsiteY1" fmla="*/ 9586 h 9585"/>
                    <a:gd name="connsiteX2" fmla="*/ 13210 w 44976"/>
                    <a:gd name="connsiteY2" fmla="*/ 0 h 9585"/>
                    <a:gd name="connsiteX3" fmla="*/ 41828 w 44976"/>
                    <a:gd name="connsiteY3" fmla="*/ 4862 h 9585"/>
                    <a:gd name="connsiteX4" fmla="*/ 41828 w 44976"/>
                    <a:gd name="connsiteY4" fmla="*/ 4862 h 9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76" h="9585">
                      <a:moveTo>
                        <a:pt x="41828" y="4862"/>
                      </a:moveTo>
                      <a:cubicBezTo>
                        <a:pt x="48913" y="9586"/>
                        <a:pt x="13210" y="9586"/>
                        <a:pt x="6125" y="9586"/>
                      </a:cubicBezTo>
                      <a:cubicBezTo>
                        <a:pt x="-8185" y="4862"/>
                        <a:pt x="6125" y="0"/>
                        <a:pt x="13210" y="0"/>
                      </a:cubicBezTo>
                      <a:cubicBezTo>
                        <a:pt x="27519" y="139"/>
                        <a:pt x="41828" y="139"/>
                        <a:pt x="41828" y="4862"/>
                      </a:cubicBezTo>
                      <a:cubicBezTo>
                        <a:pt x="48913" y="9725"/>
                        <a:pt x="41828" y="139"/>
                        <a:pt x="41828" y="486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5" name="Freihandform: Form 254">
                  <a:extLst>
                    <a:ext uri="{FF2B5EF4-FFF2-40B4-BE49-F238E27FC236}">
                      <a16:creationId xmlns:a16="http://schemas.microsoft.com/office/drawing/2014/main" id="{97596F37-FDAB-4723-AAF6-4D6FBB29AE33}"/>
                    </a:ext>
                  </a:extLst>
                </p:cNvPr>
                <p:cNvSpPr/>
                <p:nvPr/>
              </p:nvSpPr>
              <p:spPr>
                <a:xfrm>
                  <a:off x="3682479" y="1972276"/>
                  <a:ext cx="66556" cy="61832"/>
                </a:xfrm>
                <a:custGeom>
                  <a:avLst/>
                  <a:gdLst>
                    <a:gd name="connsiteX0" fmla="*/ 59650 w 66556"/>
                    <a:gd name="connsiteY0" fmla="*/ 46678 h 61832"/>
                    <a:gd name="connsiteX1" fmla="*/ 15195 w 66556"/>
                    <a:gd name="connsiteY1" fmla="*/ 60015 h 61832"/>
                    <a:gd name="connsiteX2" fmla="*/ 8804 w 66556"/>
                    <a:gd name="connsiteY2" fmla="*/ 13337 h 61832"/>
                    <a:gd name="connsiteX3" fmla="*/ 53260 w 66556"/>
                    <a:gd name="connsiteY3" fmla="*/ 0 h 61832"/>
                    <a:gd name="connsiteX4" fmla="*/ 59650 w 66556"/>
                    <a:gd name="connsiteY4" fmla="*/ 46678 h 61832"/>
                    <a:gd name="connsiteX5" fmla="*/ 59650 w 66556"/>
                    <a:gd name="connsiteY5" fmla="*/ 46678 h 6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556" h="61832">
                      <a:moveTo>
                        <a:pt x="59650" y="46678"/>
                      </a:moveTo>
                      <a:cubicBezTo>
                        <a:pt x="46870" y="53347"/>
                        <a:pt x="34227" y="66683"/>
                        <a:pt x="15195" y="60015"/>
                      </a:cubicBezTo>
                      <a:cubicBezTo>
                        <a:pt x="-3838" y="46678"/>
                        <a:pt x="-3838" y="26673"/>
                        <a:pt x="8804" y="13337"/>
                      </a:cubicBezTo>
                      <a:cubicBezTo>
                        <a:pt x="15195" y="0"/>
                        <a:pt x="40618" y="0"/>
                        <a:pt x="53260" y="0"/>
                      </a:cubicBezTo>
                      <a:cubicBezTo>
                        <a:pt x="66041" y="0"/>
                        <a:pt x="72293" y="33342"/>
                        <a:pt x="59650" y="46678"/>
                      </a:cubicBezTo>
                      <a:cubicBezTo>
                        <a:pt x="53260" y="53347"/>
                        <a:pt x="72293" y="40010"/>
                        <a:pt x="59650" y="4667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6" name="Freihandform: Form 255">
                  <a:extLst>
                    <a:ext uri="{FF2B5EF4-FFF2-40B4-BE49-F238E27FC236}">
                      <a16:creationId xmlns:a16="http://schemas.microsoft.com/office/drawing/2014/main" id="{A1EBFA87-E049-442A-A531-3EE5D8F1AC9C}"/>
                    </a:ext>
                  </a:extLst>
                </p:cNvPr>
                <p:cNvSpPr/>
                <p:nvPr/>
              </p:nvSpPr>
              <p:spPr>
                <a:xfrm>
                  <a:off x="3685665" y="1920118"/>
                  <a:ext cx="18476" cy="13953"/>
                </a:xfrm>
                <a:custGeom>
                  <a:avLst/>
                  <a:gdLst>
                    <a:gd name="connsiteX0" fmla="*/ 5619 w 18476"/>
                    <a:gd name="connsiteY0" fmla="*/ 13954 h 13953"/>
                    <a:gd name="connsiteX1" fmla="*/ 5619 w 18476"/>
                    <a:gd name="connsiteY1" fmla="*/ 1312 h 13953"/>
                    <a:gd name="connsiteX2" fmla="*/ 5619 w 18476"/>
                    <a:gd name="connsiteY2" fmla="*/ 13954 h 13953"/>
                  </a:gdLst>
                  <a:ahLst/>
                  <a:cxnLst>
                    <a:cxn ang="0">
                      <a:pos x="connsiteX0" y="connsiteY0"/>
                    </a:cxn>
                    <a:cxn ang="0">
                      <a:pos x="connsiteX1" y="connsiteY1"/>
                    </a:cxn>
                    <a:cxn ang="0">
                      <a:pos x="connsiteX2" y="connsiteY2"/>
                    </a:cxn>
                  </a:cxnLst>
                  <a:rect l="l" t="t" r="r" b="b"/>
                  <a:pathLst>
                    <a:path w="18476" h="13953">
                      <a:moveTo>
                        <a:pt x="5619" y="13954"/>
                      </a:moveTo>
                      <a:cubicBezTo>
                        <a:pt x="5619" y="13954"/>
                        <a:pt x="-7023" y="1312"/>
                        <a:pt x="5619" y="1312"/>
                      </a:cubicBezTo>
                      <a:cubicBezTo>
                        <a:pt x="12009" y="-5079"/>
                        <a:pt x="31042" y="13954"/>
                        <a:pt x="5619" y="1395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7" name="Freihandform: Form 256">
                  <a:extLst>
                    <a:ext uri="{FF2B5EF4-FFF2-40B4-BE49-F238E27FC236}">
                      <a16:creationId xmlns:a16="http://schemas.microsoft.com/office/drawing/2014/main" id="{CB89796E-2F7C-4347-9123-C632D28E3454}"/>
                    </a:ext>
                  </a:extLst>
                </p:cNvPr>
                <p:cNvSpPr/>
                <p:nvPr/>
              </p:nvSpPr>
              <p:spPr>
                <a:xfrm>
                  <a:off x="3571321" y="1671462"/>
                  <a:ext cx="149989" cy="57285"/>
                </a:xfrm>
                <a:custGeom>
                  <a:avLst/>
                  <a:gdLst>
                    <a:gd name="connsiteX0" fmla="*/ 148719 w 149989"/>
                    <a:gd name="connsiteY0" fmla="*/ 50335 h 57285"/>
                    <a:gd name="connsiteX1" fmla="*/ 105097 w 149989"/>
                    <a:gd name="connsiteY1" fmla="*/ 44222 h 57285"/>
                    <a:gd name="connsiteX2" fmla="*/ 55223 w 149989"/>
                    <a:gd name="connsiteY2" fmla="*/ 56308 h 57285"/>
                    <a:gd name="connsiteX3" fmla="*/ 11601 w 149989"/>
                    <a:gd name="connsiteY3" fmla="*/ 31997 h 57285"/>
                    <a:gd name="connsiteX4" fmla="*/ 5350 w 149989"/>
                    <a:gd name="connsiteY4" fmla="*/ 1712 h 57285"/>
                    <a:gd name="connsiteX5" fmla="*/ 42720 w 149989"/>
                    <a:gd name="connsiteY5" fmla="*/ 7824 h 57285"/>
                    <a:gd name="connsiteX6" fmla="*/ 98845 w 149989"/>
                    <a:gd name="connsiteY6" fmla="*/ 7824 h 57285"/>
                    <a:gd name="connsiteX7" fmla="*/ 129964 w 149989"/>
                    <a:gd name="connsiteY7" fmla="*/ 26023 h 57285"/>
                    <a:gd name="connsiteX8" fmla="*/ 148719 w 149989"/>
                    <a:gd name="connsiteY8" fmla="*/ 50335 h 57285"/>
                    <a:gd name="connsiteX9" fmla="*/ 148719 w 149989"/>
                    <a:gd name="connsiteY9" fmla="*/ 50335 h 5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989" h="57285">
                      <a:moveTo>
                        <a:pt x="148719" y="50335"/>
                      </a:moveTo>
                      <a:cubicBezTo>
                        <a:pt x="129964" y="50335"/>
                        <a:pt x="117600" y="44222"/>
                        <a:pt x="105097" y="44222"/>
                      </a:cubicBezTo>
                      <a:cubicBezTo>
                        <a:pt x="86342" y="44222"/>
                        <a:pt x="73978" y="56308"/>
                        <a:pt x="55223" y="56308"/>
                      </a:cubicBezTo>
                      <a:cubicBezTo>
                        <a:pt x="36469" y="62421"/>
                        <a:pt x="30217" y="38110"/>
                        <a:pt x="11601" y="31997"/>
                      </a:cubicBezTo>
                      <a:cubicBezTo>
                        <a:pt x="5350" y="25884"/>
                        <a:pt x="-7153" y="13798"/>
                        <a:pt x="5350" y="1712"/>
                      </a:cubicBezTo>
                      <a:cubicBezTo>
                        <a:pt x="11601" y="-4401"/>
                        <a:pt x="36469" y="7824"/>
                        <a:pt x="42720" y="7824"/>
                      </a:cubicBezTo>
                      <a:cubicBezTo>
                        <a:pt x="61475" y="13937"/>
                        <a:pt x="80091" y="1712"/>
                        <a:pt x="98845" y="7824"/>
                      </a:cubicBezTo>
                      <a:cubicBezTo>
                        <a:pt x="111349" y="7824"/>
                        <a:pt x="117600" y="19911"/>
                        <a:pt x="129964" y="26023"/>
                      </a:cubicBezTo>
                      <a:cubicBezTo>
                        <a:pt x="129964" y="32136"/>
                        <a:pt x="148719" y="50335"/>
                        <a:pt x="148719" y="50335"/>
                      </a:cubicBezTo>
                      <a:cubicBezTo>
                        <a:pt x="136216" y="50335"/>
                        <a:pt x="154832" y="50335"/>
                        <a:pt x="148719" y="5033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8" name="Freihandform: Form 257">
                  <a:extLst>
                    <a:ext uri="{FF2B5EF4-FFF2-40B4-BE49-F238E27FC236}">
                      <a16:creationId xmlns:a16="http://schemas.microsoft.com/office/drawing/2014/main" id="{0743041F-5D6C-49FD-8CD5-CB03574F49B3}"/>
                    </a:ext>
                  </a:extLst>
                </p:cNvPr>
                <p:cNvSpPr/>
                <p:nvPr/>
              </p:nvSpPr>
              <p:spPr>
                <a:xfrm>
                  <a:off x="3231307" y="1027735"/>
                  <a:ext cx="958193" cy="491087"/>
                </a:xfrm>
                <a:custGeom>
                  <a:avLst/>
                  <a:gdLst>
                    <a:gd name="connsiteX0" fmla="*/ 161290 w 958193"/>
                    <a:gd name="connsiteY0" fmla="*/ 427885 h 491087"/>
                    <a:gd name="connsiteX1" fmla="*/ 80298 w 958193"/>
                    <a:gd name="connsiteY1" fmla="*/ 434136 h 491087"/>
                    <a:gd name="connsiteX2" fmla="*/ 74046 w 958193"/>
                    <a:gd name="connsiteY2" fmla="*/ 465255 h 491087"/>
                    <a:gd name="connsiteX3" fmla="*/ 92801 w 958193"/>
                    <a:gd name="connsiteY3" fmla="*/ 471507 h 491087"/>
                    <a:gd name="connsiteX4" fmla="*/ 105304 w 958193"/>
                    <a:gd name="connsiteY4" fmla="*/ 459003 h 491087"/>
                    <a:gd name="connsiteX5" fmla="*/ 105304 w 958193"/>
                    <a:gd name="connsiteY5" fmla="*/ 477758 h 491087"/>
                    <a:gd name="connsiteX6" fmla="*/ 148926 w 958193"/>
                    <a:gd name="connsiteY6" fmla="*/ 477758 h 491087"/>
                    <a:gd name="connsiteX7" fmla="*/ 167681 w 958193"/>
                    <a:gd name="connsiteY7" fmla="*/ 465255 h 491087"/>
                    <a:gd name="connsiteX8" fmla="*/ 167681 w 958193"/>
                    <a:gd name="connsiteY8" fmla="*/ 477758 h 491087"/>
                    <a:gd name="connsiteX9" fmla="*/ 230057 w 958193"/>
                    <a:gd name="connsiteY9" fmla="*/ 477758 h 491087"/>
                    <a:gd name="connsiteX10" fmla="*/ 211303 w 958193"/>
                    <a:gd name="connsiteY10" fmla="*/ 465255 h 491087"/>
                    <a:gd name="connsiteX11" fmla="*/ 230057 w 958193"/>
                    <a:gd name="connsiteY11" fmla="*/ 477758 h 491087"/>
                    <a:gd name="connsiteX12" fmla="*/ 236309 w 958193"/>
                    <a:gd name="connsiteY12" fmla="*/ 465255 h 491087"/>
                    <a:gd name="connsiteX13" fmla="*/ 255064 w 958193"/>
                    <a:gd name="connsiteY13" fmla="*/ 471507 h 491087"/>
                    <a:gd name="connsiteX14" fmla="*/ 261315 w 958193"/>
                    <a:gd name="connsiteY14" fmla="*/ 459003 h 491087"/>
                    <a:gd name="connsiteX15" fmla="*/ 298686 w 958193"/>
                    <a:gd name="connsiteY15" fmla="*/ 471507 h 491087"/>
                    <a:gd name="connsiteX16" fmla="*/ 286183 w 958193"/>
                    <a:gd name="connsiteY16" fmla="*/ 459003 h 491087"/>
                    <a:gd name="connsiteX17" fmla="*/ 329805 w 958193"/>
                    <a:gd name="connsiteY17" fmla="*/ 465255 h 491087"/>
                    <a:gd name="connsiteX18" fmla="*/ 323553 w 958193"/>
                    <a:gd name="connsiteY18" fmla="*/ 490261 h 491087"/>
                    <a:gd name="connsiteX19" fmla="*/ 404545 w 958193"/>
                    <a:gd name="connsiteY19" fmla="*/ 465255 h 491087"/>
                    <a:gd name="connsiteX20" fmla="*/ 423300 w 958193"/>
                    <a:gd name="connsiteY20" fmla="*/ 440249 h 491087"/>
                    <a:gd name="connsiteX21" fmla="*/ 379678 w 958193"/>
                    <a:gd name="connsiteY21" fmla="*/ 440249 h 491087"/>
                    <a:gd name="connsiteX22" fmla="*/ 392181 w 958193"/>
                    <a:gd name="connsiteY22" fmla="*/ 427746 h 491087"/>
                    <a:gd name="connsiteX23" fmla="*/ 367314 w 958193"/>
                    <a:gd name="connsiteY23" fmla="*/ 427746 h 491087"/>
                    <a:gd name="connsiteX24" fmla="*/ 336195 w 958193"/>
                    <a:gd name="connsiteY24" fmla="*/ 415242 h 491087"/>
                    <a:gd name="connsiteX25" fmla="*/ 298825 w 958193"/>
                    <a:gd name="connsiteY25" fmla="*/ 421494 h 491087"/>
                    <a:gd name="connsiteX26" fmla="*/ 317579 w 958193"/>
                    <a:gd name="connsiteY26" fmla="*/ 421494 h 491087"/>
                    <a:gd name="connsiteX27" fmla="*/ 311328 w 958193"/>
                    <a:gd name="connsiteY27" fmla="*/ 396488 h 491087"/>
                    <a:gd name="connsiteX28" fmla="*/ 373704 w 958193"/>
                    <a:gd name="connsiteY28" fmla="*/ 415242 h 491087"/>
                    <a:gd name="connsiteX29" fmla="*/ 404823 w 958193"/>
                    <a:gd name="connsiteY29" fmla="*/ 415242 h 491087"/>
                    <a:gd name="connsiteX30" fmla="*/ 423578 w 958193"/>
                    <a:gd name="connsiteY30" fmla="*/ 390236 h 491087"/>
                    <a:gd name="connsiteX31" fmla="*/ 454697 w 958193"/>
                    <a:gd name="connsiteY31" fmla="*/ 371482 h 491087"/>
                    <a:gd name="connsiteX32" fmla="*/ 498319 w 958193"/>
                    <a:gd name="connsiteY32" fmla="*/ 365230 h 491087"/>
                    <a:gd name="connsiteX33" fmla="*/ 467200 w 958193"/>
                    <a:gd name="connsiteY33" fmla="*/ 352727 h 491087"/>
                    <a:gd name="connsiteX34" fmla="*/ 510822 w 958193"/>
                    <a:gd name="connsiteY34" fmla="*/ 346475 h 491087"/>
                    <a:gd name="connsiteX35" fmla="*/ 473452 w 958193"/>
                    <a:gd name="connsiteY35" fmla="*/ 333972 h 491087"/>
                    <a:gd name="connsiteX36" fmla="*/ 529577 w 958193"/>
                    <a:gd name="connsiteY36" fmla="*/ 321469 h 491087"/>
                    <a:gd name="connsiteX37" fmla="*/ 479703 w 958193"/>
                    <a:gd name="connsiteY37" fmla="*/ 308966 h 491087"/>
                    <a:gd name="connsiteX38" fmla="*/ 492206 w 958193"/>
                    <a:gd name="connsiteY38" fmla="*/ 302714 h 491087"/>
                    <a:gd name="connsiteX39" fmla="*/ 442333 w 958193"/>
                    <a:gd name="connsiteY39" fmla="*/ 302714 h 491087"/>
                    <a:gd name="connsiteX40" fmla="*/ 411214 w 958193"/>
                    <a:gd name="connsiteY40" fmla="*/ 315218 h 491087"/>
                    <a:gd name="connsiteX41" fmla="*/ 423717 w 958193"/>
                    <a:gd name="connsiteY41" fmla="*/ 296463 h 491087"/>
                    <a:gd name="connsiteX42" fmla="*/ 398711 w 958193"/>
                    <a:gd name="connsiteY42" fmla="*/ 290211 h 491087"/>
                    <a:gd name="connsiteX43" fmla="*/ 448584 w 958193"/>
                    <a:gd name="connsiteY43" fmla="*/ 290211 h 491087"/>
                    <a:gd name="connsiteX44" fmla="*/ 423717 w 958193"/>
                    <a:gd name="connsiteY44" fmla="*/ 283960 h 491087"/>
                    <a:gd name="connsiteX45" fmla="*/ 461087 w 958193"/>
                    <a:gd name="connsiteY45" fmla="*/ 283960 h 491087"/>
                    <a:gd name="connsiteX46" fmla="*/ 429968 w 958193"/>
                    <a:gd name="connsiteY46" fmla="*/ 277708 h 491087"/>
                    <a:gd name="connsiteX47" fmla="*/ 486093 w 958193"/>
                    <a:gd name="connsiteY47" fmla="*/ 271457 h 491087"/>
                    <a:gd name="connsiteX48" fmla="*/ 467339 w 958193"/>
                    <a:gd name="connsiteY48" fmla="*/ 265205 h 491087"/>
                    <a:gd name="connsiteX49" fmla="*/ 479842 w 958193"/>
                    <a:gd name="connsiteY49" fmla="*/ 265205 h 491087"/>
                    <a:gd name="connsiteX50" fmla="*/ 510961 w 958193"/>
                    <a:gd name="connsiteY50" fmla="*/ 277708 h 491087"/>
                    <a:gd name="connsiteX51" fmla="*/ 560834 w 958193"/>
                    <a:gd name="connsiteY51" fmla="*/ 265205 h 491087"/>
                    <a:gd name="connsiteX52" fmla="*/ 523464 w 958193"/>
                    <a:gd name="connsiteY52" fmla="*/ 240199 h 491087"/>
                    <a:gd name="connsiteX53" fmla="*/ 585841 w 958193"/>
                    <a:gd name="connsiteY53" fmla="*/ 246450 h 491087"/>
                    <a:gd name="connsiteX54" fmla="*/ 623211 w 958193"/>
                    <a:gd name="connsiteY54" fmla="*/ 246450 h 491087"/>
                    <a:gd name="connsiteX55" fmla="*/ 654330 w 958193"/>
                    <a:gd name="connsiteY55" fmla="*/ 221444 h 491087"/>
                    <a:gd name="connsiteX56" fmla="*/ 604457 w 958193"/>
                    <a:gd name="connsiteY56" fmla="*/ 215193 h 491087"/>
                    <a:gd name="connsiteX57" fmla="*/ 629463 w 958193"/>
                    <a:gd name="connsiteY57" fmla="*/ 221444 h 491087"/>
                    <a:gd name="connsiteX58" fmla="*/ 673085 w 958193"/>
                    <a:gd name="connsiteY58" fmla="*/ 215193 h 491087"/>
                    <a:gd name="connsiteX59" fmla="*/ 654330 w 958193"/>
                    <a:gd name="connsiteY59" fmla="*/ 190186 h 491087"/>
                    <a:gd name="connsiteX60" fmla="*/ 666833 w 958193"/>
                    <a:gd name="connsiteY60" fmla="*/ 202689 h 491087"/>
                    <a:gd name="connsiteX61" fmla="*/ 691700 w 958193"/>
                    <a:gd name="connsiteY61" fmla="*/ 202689 h 491087"/>
                    <a:gd name="connsiteX62" fmla="*/ 741574 w 958193"/>
                    <a:gd name="connsiteY62" fmla="*/ 171432 h 491087"/>
                    <a:gd name="connsiteX63" fmla="*/ 847573 w 958193"/>
                    <a:gd name="connsiteY63" fmla="*/ 121558 h 491087"/>
                    <a:gd name="connsiteX64" fmla="*/ 760329 w 958193"/>
                    <a:gd name="connsiteY64" fmla="*/ 134061 h 491087"/>
                    <a:gd name="connsiteX65" fmla="*/ 697952 w 958193"/>
                    <a:gd name="connsiteY65" fmla="*/ 146564 h 491087"/>
                    <a:gd name="connsiteX66" fmla="*/ 672946 w 958193"/>
                    <a:gd name="connsiteY66" fmla="*/ 146564 h 491087"/>
                    <a:gd name="connsiteX67" fmla="*/ 716568 w 958193"/>
                    <a:gd name="connsiteY67" fmla="*/ 134061 h 491087"/>
                    <a:gd name="connsiteX68" fmla="*/ 766441 w 958193"/>
                    <a:gd name="connsiteY68" fmla="*/ 121558 h 491087"/>
                    <a:gd name="connsiteX69" fmla="*/ 710316 w 958193"/>
                    <a:gd name="connsiteY69" fmla="*/ 109055 h 491087"/>
                    <a:gd name="connsiteX70" fmla="*/ 791309 w 958193"/>
                    <a:gd name="connsiteY70" fmla="*/ 109055 h 491087"/>
                    <a:gd name="connsiteX71" fmla="*/ 834931 w 958193"/>
                    <a:gd name="connsiteY71" fmla="*/ 102803 h 491087"/>
                    <a:gd name="connsiteX72" fmla="*/ 859937 w 958193"/>
                    <a:gd name="connsiteY72" fmla="*/ 102803 h 491087"/>
                    <a:gd name="connsiteX73" fmla="*/ 928565 w 958193"/>
                    <a:gd name="connsiteY73" fmla="*/ 84049 h 491087"/>
                    <a:gd name="connsiteX74" fmla="*/ 953571 w 958193"/>
                    <a:gd name="connsiteY74" fmla="*/ 52791 h 491087"/>
                    <a:gd name="connsiteX75" fmla="*/ 909949 w 958193"/>
                    <a:gd name="connsiteY75" fmla="*/ 52791 h 491087"/>
                    <a:gd name="connsiteX76" fmla="*/ 891195 w 958193"/>
                    <a:gd name="connsiteY76" fmla="*/ 46539 h 491087"/>
                    <a:gd name="connsiteX77" fmla="*/ 878692 w 958193"/>
                    <a:gd name="connsiteY77" fmla="*/ 21533 h 491087"/>
                    <a:gd name="connsiteX78" fmla="*/ 847573 w 958193"/>
                    <a:gd name="connsiteY78" fmla="*/ 27785 h 491087"/>
                    <a:gd name="connsiteX79" fmla="*/ 828818 w 958193"/>
                    <a:gd name="connsiteY79" fmla="*/ 21533 h 491087"/>
                    <a:gd name="connsiteX80" fmla="*/ 785196 w 958193"/>
                    <a:gd name="connsiteY80" fmla="*/ 27785 h 491087"/>
                    <a:gd name="connsiteX81" fmla="*/ 747826 w 958193"/>
                    <a:gd name="connsiteY81" fmla="*/ 34036 h 491087"/>
                    <a:gd name="connsiteX82" fmla="*/ 722819 w 958193"/>
                    <a:gd name="connsiteY82" fmla="*/ 34036 h 491087"/>
                    <a:gd name="connsiteX83" fmla="*/ 753938 w 958193"/>
                    <a:gd name="connsiteY83" fmla="*/ 21533 h 491087"/>
                    <a:gd name="connsiteX84" fmla="*/ 785057 w 958193"/>
                    <a:gd name="connsiteY84" fmla="*/ 9030 h 491087"/>
                    <a:gd name="connsiteX85" fmla="*/ 635436 w 958193"/>
                    <a:gd name="connsiteY85" fmla="*/ 2778 h 491087"/>
                    <a:gd name="connsiteX86" fmla="*/ 654191 w 958193"/>
                    <a:gd name="connsiteY86" fmla="*/ 15282 h 491087"/>
                    <a:gd name="connsiteX87" fmla="*/ 623072 w 958193"/>
                    <a:gd name="connsiteY87" fmla="*/ 2778 h 491087"/>
                    <a:gd name="connsiteX88" fmla="*/ 585702 w 958193"/>
                    <a:gd name="connsiteY88" fmla="*/ 2778 h 491087"/>
                    <a:gd name="connsiteX89" fmla="*/ 566947 w 958193"/>
                    <a:gd name="connsiteY89" fmla="*/ 9030 h 491087"/>
                    <a:gd name="connsiteX90" fmla="*/ 591814 w 958193"/>
                    <a:gd name="connsiteY90" fmla="*/ 27785 h 491087"/>
                    <a:gd name="connsiteX91" fmla="*/ 566947 w 958193"/>
                    <a:gd name="connsiteY91" fmla="*/ 21533 h 491087"/>
                    <a:gd name="connsiteX92" fmla="*/ 529577 w 958193"/>
                    <a:gd name="connsiteY92" fmla="*/ 2778 h 491087"/>
                    <a:gd name="connsiteX93" fmla="*/ 467200 w 958193"/>
                    <a:gd name="connsiteY93" fmla="*/ 2778 h 491087"/>
                    <a:gd name="connsiteX94" fmla="*/ 473452 w 958193"/>
                    <a:gd name="connsiteY94" fmla="*/ 21533 h 491087"/>
                    <a:gd name="connsiteX95" fmla="*/ 498458 w 958193"/>
                    <a:gd name="connsiteY95" fmla="*/ 40288 h 491087"/>
                    <a:gd name="connsiteX96" fmla="*/ 479703 w 958193"/>
                    <a:gd name="connsiteY96" fmla="*/ 52791 h 491087"/>
                    <a:gd name="connsiteX97" fmla="*/ 485955 w 958193"/>
                    <a:gd name="connsiteY97" fmla="*/ 46539 h 491087"/>
                    <a:gd name="connsiteX98" fmla="*/ 436081 w 958193"/>
                    <a:gd name="connsiteY98" fmla="*/ 15282 h 491087"/>
                    <a:gd name="connsiteX99" fmla="*/ 361340 w 958193"/>
                    <a:gd name="connsiteY99" fmla="*/ 15282 h 491087"/>
                    <a:gd name="connsiteX100" fmla="*/ 380095 w 958193"/>
                    <a:gd name="connsiteY100" fmla="*/ 27785 h 491087"/>
                    <a:gd name="connsiteX101" fmla="*/ 411214 w 958193"/>
                    <a:gd name="connsiteY101" fmla="*/ 27785 h 491087"/>
                    <a:gd name="connsiteX102" fmla="*/ 367592 w 958193"/>
                    <a:gd name="connsiteY102" fmla="*/ 34036 h 491087"/>
                    <a:gd name="connsiteX103" fmla="*/ 323970 w 958193"/>
                    <a:gd name="connsiteY103" fmla="*/ 21533 h 491087"/>
                    <a:gd name="connsiteX104" fmla="*/ 330221 w 958193"/>
                    <a:gd name="connsiteY104" fmla="*/ 46539 h 491087"/>
                    <a:gd name="connsiteX105" fmla="*/ 292851 w 958193"/>
                    <a:gd name="connsiteY105" fmla="*/ 40288 h 491087"/>
                    <a:gd name="connsiteX106" fmla="*/ 317718 w 958193"/>
                    <a:gd name="connsiteY106" fmla="*/ 46539 h 491087"/>
                    <a:gd name="connsiteX107" fmla="*/ 286599 w 958193"/>
                    <a:gd name="connsiteY107" fmla="*/ 52791 h 491087"/>
                    <a:gd name="connsiteX108" fmla="*/ 317718 w 958193"/>
                    <a:gd name="connsiteY108" fmla="*/ 71546 h 491087"/>
                    <a:gd name="connsiteX109" fmla="*/ 380095 w 958193"/>
                    <a:gd name="connsiteY109" fmla="*/ 96552 h 491087"/>
                    <a:gd name="connsiteX110" fmla="*/ 323970 w 958193"/>
                    <a:gd name="connsiteY110" fmla="*/ 77797 h 491087"/>
                    <a:gd name="connsiteX111" fmla="*/ 280348 w 958193"/>
                    <a:gd name="connsiteY111" fmla="*/ 65294 h 491087"/>
                    <a:gd name="connsiteX112" fmla="*/ 299103 w 958193"/>
                    <a:gd name="connsiteY112" fmla="*/ 77797 h 491087"/>
                    <a:gd name="connsiteX113" fmla="*/ 280348 w 958193"/>
                    <a:gd name="connsiteY113" fmla="*/ 77797 h 491087"/>
                    <a:gd name="connsiteX114" fmla="*/ 249229 w 958193"/>
                    <a:gd name="connsiteY114" fmla="*/ 59043 h 491087"/>
                    <a:gd name="connsiteX115" fmla="*/ 193104 w 958193"/>
                    <a:gd name="connsiteY115" fmla="*/ 52791 h 491087"/>
                    <a:gd name="connsiteX116" fmla="*/ 193104 w 958193"/>
                    <a:gd name="connsiteY116" fmla="*/ 65294 h 491087"/>
                    <a:gd name="connsiteX117" fmla="*/ 155733 w 958193"/>
                    <a:gd name="connsiteY117" fmla="*/ 77797 h 491087"/>
                    <a:gd name="connsiteX118" fmla="*/ 180740 w 958193"/>
                    <a:gd name="connsiteY118" fmla="*/ 71546 h 491087"/>
                    <a:gd name="connsiteX119" fmla="*/ 211858 w 958193"/>
                    <a:gd name="connsiteY119" fmla="*/ 90300 h 491087"/>
                    <a:gd name="connsiteX120" fmla="*/ 193104 w 958193"/>
                    <a:gd name="connsiteY120" fmla="*/ 90300 h 491087"/>
                    <a:gd name="connsiteX121" fmla="*/ 186852 w 958193"/>
                    <a:gd name="connsiteY121" fmla="*/ 96552 h 491087"/>
                    <a:gd name="connsiteX122" fmla="*/ 161985 w 958193"/>
                    <a:gd name="connsiteY122" fmla="*/ 84049 h 491087"/>
                    <a:gd name="connsiteX123" fmla="*/ 143230 w 958193"/>
                    <a:gd name="connsiteY123" fmla="*/ 90300 h 491087"/>
                    <a:gd name="connsiteX124" fmla="*/ 118224 w 958193"/>
                    <a:gd name="connsiteY124" fmla="*/ 77797 h 491087"/>
                    <a:gd name="connsiteX125" fmla="*/ 87105 w 958193"/>
                    <a:gd name="connsiteY125" fmla="*/ 90300 h 491087"/>
                    <a:gd name="connsiteX126" fmla="*/ 62238 w 958193"/>
                    <a:gd name="connsiteY126" fmla="*/ 96552 h 491087"/>
                    <a:gd name="connsiteX127" fmla="*/ 31119 w 958193"/>
                    <a:gd name="connsiteY127" fmla="*/ 96552 h 491087"/>
                    <a:gd name="connsiteX128" fmla="*/ 0 w 958193"/>
                    <a:gd name="connsiteY128" fmla="*/ 109055 h 491087"/>
                    <a:gd name="connsiteX129" fmla="*/ 56125 w 958193"/>
                    <a:gd name="connsiteY129" fmla="*/ 115307 h 491087"/>
                    <a:gd name="connsiteX130" fmla="*/ 31119 w 958193"/>
                    <a:gd name="connsiteY130" fmla="*/ 127810 h 491087"/>
                    <a:gd name="connsiteX131" fmla="*/ 68489 w 958193"/>
                    <a:gd name="connsiteY131" fmla="*/ 121558 h 491087"/>
                    <a:gd name="connsiteX132" fmla="*/ 105860 w 958193"/>
                    <a:gd name="connsiteY132" fmla="*/ 121558 h 491087"/>
                    <a:gd name="connsiteX133" fmla="*/ 87105 w 958193"/>
                    <a:gd name="connsiteY133" fmla="*/ 127810 h 491087"/>
                    <a:gd name="connsiteX134" fmla="*/ 55986 w 958193"/>
                    <a:gd name="connsiteY134" fmla="*/ 140313 h 491087"/>
                    <a:gd name="connsiteX135" fmla="*/ 80853 w 958193"/>
                    <a:gd name="connsiteY135" fmla="*/ 152816 h 491087"/>
                    <a:gd name="connsiteX136" fmla="*/ 149482 w 958193"/>
                    <a:gd name="connsiteY136" fmla="*/ 152816 h 491087"/>
                    <a:gd name="connsiteX137" fmla="*/ 211858 w 958193"/>
                    <a:gd name="connsiteY137" fmla="*/ 140313 h 491087"/>
                    <a:gd name="connsiteX138" fmla="*/ 180740 w 958193"/>
                    <a:gd name="connsiteY138" fmla="*/ 152816 h 491087"/>
                    <a:gd name="connsiteX139" fmla="*/ 143369 w 958193"/>
                    <a:gd name="connsiteY139" fmla="*/ 159067 h 491087"/>
                    <a:gd name="connsiteX140" fmla="*/ 112250 w 958193"/>
                    <a:gd name="connsiteY140" fmla="*/ 159067 h 491087"/>
                    <a:gd name="connsiteX141" fmla="*/ 74880 w 958193"/>
                    <a:gd name="connsiteY141" fmla="*/ 165319 h 491087"/>
                    <a:gd name="connsiteX142" fmla="*/ 99886 w 958193"/>
                    <a:gd name="connsiteY142" fmla="*/ 171571 h 491087"/>
                    <a:gd name="connsiteX143" fmla="*/ 124753 w 958193"/>
                    <a:gd name="connsiteY143" fmla="*/ 184074 h 491087"/>
                    <a:gd name="connsiteX144" fmla="*/ 187130 w 958193"/>
                    <a:gd name="connsiteY144" fmla="*/ 159067 h 491087"/>
                    <a:gd name="connsiteX145" fmla="*/ 274374 w 958193"/>
                    <a:gd name="connsiteY145" fmla="*/ 146564 h 491087"/>
                    <a:gd name="connsiteX146" fmla="*/ 230752 w 958193"/>
                    <a:gd name="connsiteY146" fmla="*/ 152816 h 491087"/>
                    <a:gd name="connsiteX147" fmla="*/ 162124 w 958193"/>
                    <a:gd name="connsiteY147" fmla="*/ 177822 h 491087"/>
                    <a:gd name="connsiteX148" fmla="*/ 205746 w 958193"/>
                    <a:gd name="connsiteY148" fmla="*/ 190325 h 491087"/>
                    <a:gd name="connsiteX149" fmla="*/ 243116 w 958193"/>
                    <a:gd name="connsiteY149" fmla="*/ 184074 h 491087"/>
                    <a:gd name="connsiteX150" fmla="*/ 249368 w 958193"/>
                    <a:gd name="connsiteY150" fmla="*/ 171571 h 491087"/>
                    <a:gd name="connsiteX151" fmla="*/ 261871 w 958193"/>
                    <a:gd name="connsiteY151" fmla="*/ 177822 h 491087"/>
                    <a:gd name="connsiteX152" fmla="*/ 255619 w 958193"/>
                    <a:gd name="connsiteY152" fmla="*/ 177822 h 491087"/>
                    <a:gd name="connsiteX153" fmla="*/ 311745 w 958193"/>
                    <a:gd name="connsiteY153" fmla="*/ 171571 h 491087"/>
                    <a:gd name="connsiteX154" fmla="*/ 268123 w 958193"/>
                    <a:gd name="connsiteY154" fmla="*/ 190325 h 491087"/>
                    <a:gd name="connsiteX155" fmla="*/ 324248 w 958193"/>
                    <a:gd name="connsiteY155" fmla="*/ 184074 h 491087"/>
                    <a:gd name="connsiteX156" fmla="*/ 380373 w 958193"/>
                    <a:gd name="connsiteY156" fmla="*/ 165319 h 491087"/>
                    <a:gd name="connsiteX157" fmla="*/ 386624 w 958193"/>
                    <a:gd name="connsiteY157" fmla="*/ 146564 h 491087"/>
                    <a:gd name="connsiteX158" fmla="*/ 405379 w 958193"/>
                    <a:gd name="connsiteY158" fmla="*/ 140313 h 491087"/>
                    <a:gd name="connsiteX159" fmla="*/ 455252 w 958193"/>
                    <a:gd name="connsiteY159" fmla="*/ 121558 h 491087"/>
                    <a:gd name="connsiteX160" fmla="*/ 430246 w 958193"/>
                    <a:gd name="connsiteY160" fmla="*/ 140313 h 491087"/>
                    <a:gd name="connsiteX161" fmla="*/ 399128 w 958193"/>
                    <a:gd name="connsiteY161" fmla="*/ 165319 h 491087"/>
                    <a:gd name="connsiteX162" fmla="*/ 467756 w 958193"/>
                    <a:gd name="connsiteY162" fmla="*/ 171571 h 491087"/>
                    <a:gd name="connsiteX163" fmla="*/ 374260 w 958193"/>
                    <a:gd name="connsiteY163" fmla="*/ 184074 h 491087"/>
                    <a:gd name="connsiteX164" fmla="*/ 424134 w 958193"/>
                    <a:gd name="connsiteY164" fmla="*/ 190325 h 491087"/>
                    <a:gd name="connsiteX165" fmla="*/ 393015 w 958193"/>
                    <a:gd name="connsiteY165" fmla="*/ 196577 h 491087"/>
                    <a:gd name="connsiteX166" fmla="*/ 349393 w 958193"/>
                    <a:gd name="connsiteY166" fmla="*/ 202828 h 491087"/>
                    <a:gd name="connsiteX167" fmla="*/ 274652 w 958193"/>
                    <a:gd name="connsiteY167" fmla="*/ 209080 h 491087"/>
                    <a:gd name="connsiteX168" fmla="*/ 280903 w 958193"/>
                    <a:gd name="connsiteY168" fmla="*/ 215331 h 491087"/>
                    <a:gd name="connsiteX169" fmla="*/ 312022 w 958193"/>
                    <a:gd name="connsiteY169" fmla="*/ 234086 h 491087"/>
                    <a:gd name="connsiteX170" fmla="*/ 330777 w 958193"/>
                    <a:gd name="connsiteY170" fmla="*/ 259092 h 491087"/>
                    <a:gd name="connsiteX171" fmla="*/ 361896 w 958193"/>
                    <a:gd name="connsiteY171" fmla="*/ 252841 h 491087"/>
                    <a:gd name="connsiteX172" fmla="*/ 231030 w 958193"/>
                    <a:gd name="connsiteY172" fmla="*/ 215470 h 491087"/>
                    <a:gd name="connsiteX173" fmla="*/ 162402 w 958193"/>
                    <a:gd name="connsiteY173" fmla="*/ 215470 h 491087"/>
                    <a:gd name="connsiteX174" fmla="*/ 156150 w 958193"/>
                    <a:gd name="connsiteY174" fmla="*/ 227974 h 491087"/>
                    <a:gd name="connsiteX175" fmla="*/ 199772 w 958193"/>
                    <a:gd name="connsiteY175" fmla="*/ 234225 h 491087"/>
                    <a:gd name="connsiteX176" fmla="*/ 162402 w 958193"/>
                    <a:gd name="connsiteY176" fmla="*/ 246728 h 491087"/>
                    <a:gd name="connsiteX177" fmla="*/ 212275 w 958193"/>
                    <a:gd name="connsiteY177" fmla="*/ 259231 h 491087"/>
                    <a:gd name="connsiteX178" fmla="*/ 231030 w 958193"/>
                    <a:gd name="connsiteY178" fmla="*/ 277986 h 491087"/>
                    <a:gd name="connsiteX179" fmla="*/ 262149 w 958193"/>
                    <a:gd name="connsiteY179" fmla="*/ 302992 h 491087"/>
                    <a:gd name="connsiteX180" fmla="*/ 293268 w 958193"/>
                    <a:gd name="connsiteY180" fmla="*/ 302992 h 491087"/>
                    <a:gd name="connsiteX181" fmla="*/ 318135 w 958193"/>
                    <a:gd name="connsiteY181" fmla="*/ 302992 h 491087"/>
                    <a:gd name="connsiteX182" fmla="*/ 311883 w 958193"/>
                    <a:gd name="connsiteY182" fmla="*/ 315495 h 491087"/>
                    <a:gd name="connsiteX183" fmla="*/ 274513 w 958193"/>
                    <a:gd name="connsiteY183" fmla="*/ 315495 h 491087"/>
                    <a:gd name="connsiteX184" fmla="*/ 299519 w 958193"/>
                    <a:gd name="connsiteY184" fmla="*/ 327998 h 491087"/>
                    <a:gd name="connsiteX185" fmla="*/ 268400 w 958193"/>
                    <a:gd name="connsiteY185" fmla="*/ 321747 h 491087"/>
                    <a:gd name="connsiteX186" fmla="*/ 218527 w 958193"/>
                    <a:gd name="connsiteY186" fmla="*/ 309244 h 491087"/>
                    <a:gd name="connsiteX187" fmla="*/ 187408 w 958193"/>
                    <a:gd name="connsiteY187" fmla="*/ 315495 h 491087"/>
                    <a:gd name="connsiteX188" fmla="*/ 162541 w 958193"/>
                    <a:gd name="connsiteY188" fmla="*/ 321747 h 491087"/>
                    <a:gd name="connsiteX189" fmla="*/ 143786 w 958193"/>
                    <a:gd name="connsiteY189" fmla="*/ 334250 h 491087"/>
                    <a:gd name="connsiteX190" fmla="*/ 143786 w 958193"/>
                    <a:gd name="connsiteY190" fmla="*/ 359256 h 491087"/>
                    <a:gd name="connsiteX191" fmla="*/ 168653 w 958193"/>
                    <a:gd name="connsiteY191" fmla="*/ 359256 h 491087"/>
                    <a:gd name="connsiteX192" fmla="*/ 199772 w 958193"/>
                    <a:gd name="connsiteY192" fmla="*/ 359256 h 491087"/>
                    <a:gd name="connsiteX193" fmla="*/ 218527 w 958193"/>
                    <a:gd name="connsiteY193" fmla="*/ 334250 h 491087"/>
                    <a:gd name="connsiteX194" fmla="*/ 218527 w 958193"/>
                    <a:gd name="connsiteY194" fmla="*/ 346753 h 491087"/>
                    <a:gd name="connsiteX195" fmla="*/ 224778 w 958193"/>
                    <a:gd name="connsiteY195" fmla="*/ 346753 h 491087"/>
                    <a:gd name="connsiteX196" fmla="*/ 218527 w 958193"/>
                    <a:gd name="connsiteY196" fmla="*/ 359256 h 491087"/>
                    <a:gd name="connsiteX197" fmla="*/ 224778 w 958193"/>
                    <a:gd name="connsiteY197" fmla="*/ 359256 h 491087"/>
                    <a:gd name="connsiteX198" fmla="*/ 212275 w 958193"/>
                    <a:gd name="connsiteY198" fmla="*/ 365508 h 491087"/>
                    <a:gd name="connsiteX199" fmla="*/ 212275 w 958193"/>
                    <a:gd name="connsiteY199" fmla="*/ 365508 h 491087"/>
                    <a:gd name="connsiteX200" fmla="*/ 187269 w 958193"/>
                    <a:gd name="connsiteY200" fmla="*/ 371759 h 491087"/>
                    <a:gd name="connsiteX201" fmla="*/ 224639 w 958193"/>
                    <a:gd name="connsiteY201" fmla="*/ 378011 h 491087"/>
                    <a:gd name="connsiteX202" fmla="*/ 199633 w 958193"/>
                    <a:gd name="connsiteY202" fmla="*/ 396766 h 491087"/>
                    <a:gd name="connsiteX203" fmla="*/ 230752 w 958193"/>
                    <a:gd name="connsiteY203" fmla="*/ 396766 h 491087"/>
                    <a:gd name="connsiteX204" fmla="*/ 224500 w 958193"/>
                    <a:gd name="connsiteY204" fmla="*/ 396766 h 491087"/>
                    <a:gd name="connsiteX205" fmla="*/ 261871 w 958193"/>
                    <a:gd name="connsiteY205" fmla="*/ 390514 h 491087"/>
                    <a:gd name="connsiteX206" fmla="*/ 292990 w 958193"/>
                    <a:gd name="connsiteY206" fmla="*/ 365508 h 491087"/>
                    <a:gd name="connsiteX207" fmla="*/ 236865 w 958193"/>
                    <a:gd name="connsiteY207" fmla="*/ 415381 h 491087"/>
                    <a:gd name="connsiteX208" fmla="*/ 186991 w 958193"/>
                    <a:gd name="connsiteY208" fmla="*/ 402878 h 491087"/>
                    <a:gd name="connsiteX209" fmla="*/ 162124 w 958193"/>
                    <a:gd name="connsiteY209" fmla="*/ 384124 h 491087"/>
                    <a:gd name="connsiteX210" fmla="*/ 124753 w 958193"/>
                    <a:gd name="connsiteY210" fmla="*/ 377872 h 491087"/>
                    <a:gd name="connsiteX211" fmla="*/ 118502 w 958193"/>
                    <a:gd name="connsiteY211" fmla="*/ 396627 h 491087"/>
                    <a:gd name="connsiteX212" fmla="*/ 137257 w 958193"/>
                    <a:gd name="connsiteY212" fmla="*/ 409130 h 491087"/>
                    <a:gd name="connsiteX213" fmla="*/ 137257 w 958193"/>
                    <a:gd name="connsiteY213" fmla="*/ 415381 h 491087"/>
                    <a:gd name="connsiteX214" fmla="*/ 161290 w 958193"/>
                    <a:gd name="connsiteY214" fmla="*/ 427885 h 49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958193" h="491087">
                      <a:moveTo>
                        <a:pt x="161290" y="427885"/>
                      </a:moveTo>
                      <a:cubicBezTo>
                        <a:pt x="136423" y="427885"/>
                        <a:pt x="105165" y="427885"/>
                        <a:pt x="80298" y="434136"/>
                      </a:cubicBezTo>
                      <a:cubicBezTo>
                        <a:pt x="67795" y="440388"/>
                        <a:pt x="67795" y="459142"/>
                        <a:pt x="74046" y="465255"/>
                      </a:cubicBezTo>
                      <a:cubicBezTo>
                        <a:pt x="80298" y="471507"/>
                        <a:pt x="92801" y="477758"/>
                        <a:pt x="92801" y="471507"/>
                      </a:cubicBezTo>
                      <a:cubicBezTo>
                        <a:pt x="105304" y="471507"/>
                        <a:pt x="99053" y="465255"/>
                        <a:pt x="105304" y="459003"/>
                      </a:cubicBezTo>
                      <a:lnTo>
                        <a:pt x="105304" y="477758"/>
                      </a:lnTo>
                      <a:cubicBezTo>
                        <a:pt x="117807" y="477758"/>
                        <a:pt x="136423" y="477758"/>
                        <a:pt x="148926" y="477758"/>
                      </a:cubicBezTo>
                      <a:cubicBezTo>
                        <a:pt x="161429" y="477758"/>
                        <a:pt x="161429" y="465255"/>
                        <a:pt x="167681" y="465255"/>
                      </a:cubicBezTo>
                      <a:cubicBezTo>
                        <a:pt x="180184" y="465255"/>
                        <a:pt x="167681" y="477758"/>
                        <a:pt x="167681" y="477758"/>
                      </a:cubicBezTo>
                      <a:cubicBezTo>
                        <a:pt x="167681" y="477758"/>
                        <a:pt x="230057" y="484010"/>
                        <a:pt x="230057" y="477758"/>
                      </a:cubicBezTo>
                      <a:cubicBezTo>
                        <a:pt x="230057" y="477758"/>
                        <a:pt x="217554" y="471507"/>
                        <a:pt x="211303" y="465255"/>
                      </a:cubicBezTo>
                      <a:cubicBezTo>
                        <a:pt x="211303" y="465255"/>
                        <a:pt x="236170" y="471507"/>
                        <a:pt x="230057" y="477758"/>
                      </a:cubicBezTo>
                      <a:cubicBezTo>
                        <a:pt x="236309" y="471507"/>
                        <a:pt x="230057" y="465255"/>
                        <a:pt x="236309" y="465255"/>
                      </a:cubicBezTo>
                      <a:cubicBezTo>
                        <a:pt x="236309" y="465255"/>
                        <a:pt x="248812" y="471507"/>
                        <a:pt x="255064" y="471507"/>
                      </a:cubicBezTo>
                      <a:cubicBezTo>
                        <a:pt x="267567" y="484010"/>
                        <a:pt x="255064" y="465255"/>
                        <a:pt x="261315" y="459003"/>
                      </a:cubicBezTo>
                      <a:cubicBezTo>
                        <a:pt x="261315" y="459003"/>
                        <a:pt x="298686" y="477758"/>
                        <a:pt x="298686" y="471507"/>
                      </a:cubicBezTo>
                      <a:cubicBezTo>
                        <a:pt x="298686" y="465255"/>
                        <a:pt x="286183" y="465255"/>
                        <a:pt x="286183" y="459003"/>
                      </a:cubicBezTo>
                      <a:lnTo>
                        <a:pt x="329805" y="465255"/>
                      </a:lnTo>
                      <a:cubicBezTo>
                        <a:pt x="354672" y="465255"/>
                        <a:pt x="323553" y="484010"/>
                        <a:pt x="323553" y="490261"/>
                      </a:cubicBezTo>
                      <a:cubicBezTo>
                        <a:pt x="323553" y="496513"/>
                        <a:pt x="398294" y="465255"/>
                        <a:pt x="404545" y="465255"/>
                      </a:cubicBezTo>
                      <a:cubicBezTo>
                        <a:pt x="417049" y="465255"/>
                        <a:pt x="448167" y="446500"/>
                        <a:pt x="423300" y="440249"/>
                      </a:cubicBezTo>
                      <a:cubicBezTo>
                        <a:pt x="410797" y="433997"/>
                        <a:pt x="392181" y="446500"/>
                        <a:pt x="379678" y="440249"/>
                      </a:cubicBezTo>
                      <a:lnTo>
                        <a:pt x="392181" y="427746"/>
                      </a:lnTo>
                      <a:cubicBezTo>
                        <a:pt x="392181" y="421494"/>
                        <a:pt x="373427" y="427746"/>
                        <a:pt x="367314" y="427746"/>
                      </a:cubicBezTo>
                      <a:cubicBezTo>
                        <a:pt x="354811" y="427746"/>
                        <a:pt x="348559" y="415242"/>
                        <a:pt x="336195" y="415242"/>
                      </a:cubicBezTo>
                      <a:cubicBezTo>
                        <a:pt x="329943" y="421494"/>
                        <a:pt x="311189" y="427746"/>
                        <a:pt x="298825" y="421494"/>
                      </a:cubicBezTo>
                      <a:cubicBezTo>
                        <a:pt x="305076" y="421494"/>
                        <a:pt x="311328" y="421494"/>
                        <a:pt x="317579" y="421494"/>
                      </a:cubicBezTo>
                      <a:cubicBezTo>
                        <a:pt x="323831" y="415242"/>
                        <a:pt x="311328" y="402739"/>
                        <a:pt x="311328" y="396488"/>
                      </a:cubicBezTo>
                      <a:cubicBezTo>
                        <a:pt x="311328" y="408991"/>
                        <a:pt x="367453" y="415242"/>
                        <a:pt x="373704" y="415242"/>
                      </a:cubicBezTo>
                      <a:cubicBezTo>
                        <a:pt x="379956" y="415242"/>
                        <a:pt x="392459" y="415242"/>
                        <a:pt x="404823" y="415242"/>
                      </a:cubicBezTo>
                      <a:cubicBezTo>
                        <a:pt x="417188" y="415242"/>
                        <a:pt x="429691" y="396488"/>
                        <a:pt x="423578" y="390236"/>
                      </a:cubicBezTo>
                      <a:cubicBezTo>
                        <a:pt x="404823" y="371482"/>
                        <a:pt x="442333" y="371482"/>
                        <a:pt x="454697" y="371482"/>
                      </a:cubicBezTo>
                      <a:cubicBezTo>
                        <a:pt x="460948" y="371482"/>
                        <a:pt x="492067" y="371482"/>
                        <a:pt x="498319" y="365230"/>
                      </a:cubicBezTo>
                      <a:lnTo>
                        <a:pt x="467200" y="352727"/>
                      </a:lnTo>
                      <a:cubicBezTo>
                        <a:pt x="479703" y="346475"/>
                        <a:pt x="504570" y="358978"/>
                        <a:pt x="510822" y="346475"/>
                      </a:cubicBezTo>
                      <a:cubicBezTo>
                        <a:pt x="517073" y="340224"/>
                        <a:pt x="479703" y="333972"/>
                        <a:pt x="473452" y="333972"/>
                      </a:cubicBezTo>
                      <a:cubicBezTo>
                        <a:pt x="479703" y="333972"/>
                        <a:pt x="523325" y="327721"/>
                        <a:pt x="529577" y="321469"/>
                      </a:cubicBezTo>
                      <a:cubicBezTo>
                        <a:pt x="542080" y="315218"/>
                        <a:pt x="479703" y="302714"/>
                        <a:pt x="479703" y="308966"/>
                      </a:cubicBezTo>
                      <a:cubicBezTo>
                        <a:pt x="479703" y="302714"/>
                        <a:pt x="492206" y="302714"/>
                        <a:pt x="492206" y="302714"/>
                      </a:cubicBezTo>
                      <a:cubicBezTo>
                        <a:pt x="492206" y="296463"/>
                        <a:pt x="448584" y="302714"/>
                        <a:pt x="442333" y="302714"/>
                      </a:cubicBezTo>
                      <a:cubicBezTo>
                        <a:pt x="429830" y="302714"/>
                        <a:pt x="423578" y="308966"/>
                        <a:pt x="411214" y="315218"/>
                      </a:cubicBezTo>
                      <a:cubicBezTo>
                        <a:pt x="417465" y="315218"/>
                        <a:pt x="436081" y="296463"/>
                        <a:pt x="423717" y="296463"/>
                      </a:cubicBezTo>
                      <a:cubicBezTo>
                        <a:pt x="423717" y="296463"/>
                        <a:pt x="398711" y="296463"/>
                        <a:pt x="398711" y="290211"/>
                      </a:cubicBezTo>
                      <a:cubicBezTo>
                        <a:pt x="398711" y="290211"/>
                        <a:pt x="442333" y="290211"/>
                        <a:pt x="448584" y="290211"/>
                      </a:cubicBezTo>
                      <a:cubicBezTo>
                        <a:pt x="442333" y="290211"/>
                        <a:pt x="423717" y="283960"/>
                        <a:pt x="423717" y="283960"/>
                      </a:cubicBezTo>
                      <a:cubicBezTo>
                        <a:pt x="429968" y="277708"/>
                        <a:pt x="448584" y="290211"/>
                        <a:pt x="461087" y="283960"/>
                      </a:cubicBezTo>
                      <a:cubicBezTo>
                        <a:pt x="454836" y="283960"/>
                        <a:pt x="429968" y="277708"/>
                        <a:pt x="429968" y="277708"/>
                      </a:cubicBezTo>
                      <a:cubicBezTo>
                        <a:pt x="429968" y="271457"/>
                        <a:pt x="479842" y="277708"/>
                        <a:pt x="486093" y="271457"/>
                      </a:cubicBezTo>
                      <a:lnTo>
                        <a:pt x="467339" y="265205"/>
                      </a:lnTo>
                      <a:cubicBezTo>
                        <a:pt x="461087" y="265205"/>
                        <a:pt x="479842" y="265205"/>
                        <a:pt x="479842" y="265205"/>
                      </a:cubicBezTo>
                      <a:cubicBezTo>
                        <a:pt x="492345" y="271457"/>
                        <a:pt x="498597" y="277708"/>
                        <a:pt x="510961" y="277708"/>
                      </a:cubicBezTo>
                      <a:cubicBezTo>
                        <a:pt x="523464" y="277708"/>
                        <a:pt x="542080" y="271457"/>
                        <a:pt x="560834" y="265205"/>
                      </a:cubicBezTo>
                      <a:cubicBezTo>
                        <a:pt x="610708" y="258953"/>
                        <a:pt x="529716" y="252702"/>
                        <a:pt x="523464" y="240199"/>
                      </a:cubicBezTo>
                      <a:cubicBezTo>
                        <a:pt x="523464" y="233947"/>
                        <a:pt x="579589" y="240199"/>
                        <a:pt x="585841" y="246450"/>
                      </a:cubicBezTo>
                      <a:cubicBezTo>
                        <a:pt x="598344" y="252702"/>
                        <a:pt x="604595" y="252702"/>
                        <a:pt x="623211" y="246450"/>
                      </a:cubicBezTo>
                      <a:cubicBezTo>
                        <a:pt x="629463" y="246450"/>
                        <a:pt x="660582" y="233947"/>
                        <a:pt x="654330" y="221444"/>
                      </a:cubicBezTo>
                      <a:cubicBezTo>
                        <a:pt x="654330" y="215193"/>
                        <a:pt x="585702" y="246450"/>
                        <a:pt x="604457" y="215193"/>
                      </a:cubicBezTo>
                      <a:cubicBezTo>
                        <a:pt x="598205" y="221444"/>
                        <a:pt x="629463" y="221444"/>
                        <a:pt x="629463" y="221444"/>
                      </a:cubicBezTo>
                      <a:cubicBezTo>
                        <a:pt x="648218" y="221444"/>
                        <a:pt x="660582" y="215193"/>
                        <a:pt x="673085" y="215193"/>
                      </a:cubicBezTo>
                      <a:cubicBezTo>
                        <a:pt x="673085" y="208941"/>
                        <a:pt x="654330" y="190186"/>
                        <a:pt x="654330" y="190186"/>
                      </a:cubicBezTo>
                      <a:cubicBezTo>
                        <a:pt x="660582" y="190186"/>
                        <a:pt x="666833" y="196438"/>
                        <a:pt x="666833" y="202689"/>
                      </a:cubicBezTo>
                      <a:cubicBezTo>
                        <a:pt x="673085" y="208941"/>
                        <a:pt x="685588" y="202689"/>
                        <a:pt x="691700" y="202689"/>
                      </a:cubicBezTo>
                      <a:cubicBezTo>
                        <a:pt x="710455" y="190186"/>
                        <a:pt x="722819" y="177683"/>
                        <a:pt x="741574" y="171432"/>
                      </a:cubicBezTo>
                      <a:cubicBezTo>
                        <a:pt x="754077" y="165180"/>
                        <a:pt x="847573" y="127810"/>
                        <a:pt x="847573" y="121558"/>
                      </a:cubicBezTo>
                      <a:cubicBezTo>
                        <a:pt x="847573" y="115307"/>
                        <a:pt x="766580" y="134061"/>
                        <a:pt x="760329" y="134061"/>
                      </a:cubicBezTo>
                      <a:cubicBezTo>
                        <a:pt x="741574" y="140313"/>
                        <a:pt x="722958" y="140313"/>
                        <a:pt x="697952" y="146564"/>
                      </a:cubicBezTo>
                      <a:lnTo>
                        <a:pt x="672946" y="146564"/>
                      </a:lnTo>
                      <a:cubicBezTo>
                        <a:pt x="672946" y="140313"/>
                        <a:pt x="710316" y="140313"/>
                        <a:pt x="716568" y="134061"/>
                      </a:cubicBezTo>
                      <a:cubicBezTo>
                        <a:pt x="722819" y="134061"/>
                        <a:pt x="766441" y="127810"/>
                        <a:pt x="766441" y="121558"/>
                      </a:cubicBezTo>
                      <a:cubicBezTo>
                        <a:pt x="766441" y="127810"/>
                        <a:pt x="704065" y="115307"/>
                        <a:pt x="710316" y="109055"/>
                      </a:cubicBezTo>
                      <a:cubicBezTo>
                        <a:pt x="710316" y="109055"/>
                        <a:pt x="785057" y="115307"/>
                        <a:pt x="791309" y="109055"/>
                      </a:cubicBezTo>
                      <a:cubicBezTo>
                        <a:pt x="803812" y="109055"/>
                        <a:pt x="822428" y="102803"/>
                        <a:pt x="834931" y="102803"/>
                      </a:cubicBezTo>
                      <a:cubicBezTo>
                        <a:pt x="841182" y="102803"/>
                        <a:pt x="853685" y="102803"/>
                        <a:pt x="859937" y="102803"/>
                      </a:cubicBezTo>
                      <a:cubicBezTo>
                        <a:pt x="884804" y="96552"/>
                        <a:pt x="909810" y="90300"/>
                        <a:pt x="928565" y="84049"/>
                      </a:cubicBezTo>
                      <a:cubicBezTo>
                        <a:pt x="928565" y="84049"/>
                        <a:pt x="972187" y="59043"/>
                        <a:pt x="953571" y="52791"/>
                      </a:cubicBezTo>
                      <a:cubicBezTo>
                        <a:pt x="941068" y="52791"/>
                        <a:pt x="922453" y="52791"/>
                        <a:pt x="909949" y="52791"/>
                      </a:cubicBezTo>
                      <a:cubicBezTo>
                        <a:pt x="903698" y="46539"/>
                        <a:pt x="891195" y="52791"/>
                        <a:pt x="891195" y="46539"/>
                      </a:cubicBezTo>
                      <a:cubicBezTo>
                        <a:pt x="891195" y="34036"/>
                        <a:pt x="878692" y="34036"/>
                        <a:pt x="878692" y="21533"/>
                      </a:cubicBezTo>
                      <a:cubicBezTo>
                        <a:pt x="878692" y="21533"/>
                        <a:pt x="853824" y="27785"/>
                        <a:pt x="847573" y="27785"/>
                      </a:cubicBezTo>
                      <a:cubicBezTo>
                        <a:pt x="841321" y="21533"/>
                        <a:pt x="835070" y="9030"/>
                        <a:pt x="828818" y="21533"/>
                      </a:cubicBezTo>
                      <a:cubicBezTo>
                        <a:pt x="828818" y="21533"/>
                        <a:pt x="791448" y="27785"/>
                        <a:pt x="785196" y="27785"/>
                      </a:cubicBezTo>
                      <a:cubicBezTo>
                        <a:pt x="772693" y="34036"/>
                        <a:pt x="760190" y="34036"/>
                        <a:pt x="747826" y="34036"/>
                      </a:cubicBezTo>
                      <a:lnTo>
                        <a:pt x="722819" y="34036"/>
                      </a:lnTo>
                      <a:cubicBezTo>
                        <a:pt x="722819" y="27785"/>
                        <a:pt x="747826" y="27785"/>
                        <a:pt x="753938" y="21533"/>
                      </a:cubicBezTo>
                      <a:cubicBezTo>
                        <a:pt x="766441" y="21533"/>
                        <a:pt x="778944" y="15282"/>
                        <a:pt x="785057" y="9030"/>
                      </a:cubicBezTo>
                      <a:cubicBezTo>
                        <a:pt x="772554" y="27785"/>
                        <a:pt x="641688" y="-9725"/>
                        <a:pt x="635436" y="2778"/>
                      </a:cubicBezTo>
                      <a:cubicBezTo>
                        <a:pt x="635436" y="9030"/>
                        <a:pt x="647939" y="9030"/>
                        <a:pt x="654191" y="15282"/>
                      </a:cubicBezTo>
                      <a:cubicBezTo>
                        <a:pt x="654191" y="21533"/>
                        <a:pt x="623072" y="2778"/>
                        <a:pt x="623072" y="2778"/>
                      </a:cubicBezTo>
                      <a:cubicBezTo>
                        <a:pt x="610569" y="-3473"/>
                        <a:pt x="591954" y="2778"/>
                        <a:pt x="585702" y="2778"/>
                      </a:cubicBezTo>
                      <a:cubicBezTo>
                        <a:pt x="579450" y="2778"/>
                        <a:pt x="560696" y="2778"/>
                        <a:pt x="566947" y="9030"/>
                      </a:cubicBezTo>
                      <a:cubicBezTo>
                        <a:pt x="573199" y="15282"/>
                        <a:pt x="585702" y="34036"/>
                        <a:pt x="591814" y="27785"/>
                      </a:cubicBezTo>
                      <a:cubicBezTo>
                        <a:pt x="591814" y="34036"/>
                        <a:pt x="566947" y="27785"/>
                        <a:pt x="566947" y="21533"/>
                      </a:cubicBezTo>
                      <a:cubicBezTo>
                        <a:pt x="548193" y="21533"/>
                        <a:pt x="542080" y="2778"/>
                        <a:pt x="529577" y="2778"/>
                      </a:cubicBezTo>
                      <a:cubicBezTo>
                        <a:pt x="504709" y="2778"/>
                        <a:pt x="485955" y="2778"/>
                        <a:pt x="467200" y="2778"/>
                      </a:cubicBezTo>
                      <a:cubicBezTo>
                        <a:pt x="436081" y="9030"/>
                        <a:pt x="454697" y="15282"/>
                        <a:pt x="473452" y="21533"/>
                      </a:cubicBezTo>
                      <a:cubicBezTo>
                        <a:pt x="479703" y="27785"/>
                        <a:pt x="492206" y="34036"/>
                        <a:pt x="498458" y="40288"/>
                      </a:cubicBezTo>
                      <a:lnTo>
                        <a:pt x="479703" y="52791"/>
                      </a:lnTo>
                      <a:cubicBezTo>
                        <a:pt x="473452" y="52791"/>
                        <a:pt x="485955" y="46539"/>
                        <a:pt x="485955" y="46539"/>
                      </a:cubicBezTo>
                      <a:cubicBezTo>
                        <a:pt x="485955" y="40288"/>
                        <a:pt x="442333" y="15282"/>
                        <a:pt x="436081" y="15282"/>
                      </a:cubicBezTo>
                      <a:cubicBezTo>
                        <a:pt x="411214" y="15282"/>
                        <a:pt x="386208" y="9030"/>
                        <a:pt x="361340" y="15282"/>
                      </a:cubicBezTo>
                      <a:cubicBezTo>
                        <a:pt x="361340" y="15282"/>
                        <a:pt x="373843" y="27785"/>
                        <a:pt x="380095" y="27785"/>
                      </a:cubicBezTo>
                      <a:cubicBezTo>
                        <a:pt x="386346" y="27785"/>
                        <a:pt x="398850" y="34036"/>
                        <a:pt x="411214" y="27785"/>
                      </a:cubicBezTo>
                      <a:cubicBezTo>
                        <a:pt x="398711" y="34036"/>
                        <a:pt x="380095" y="40288"/>
                        <a:pt x="367592" y="34036"/>
                      </a:cubicBezTo>
                      <a:cubicBezTo>
                        <a:pt x="361340" y="34036"/>
                        <a:pt x="317718" y="15282"/>
                        <a:pt x="323970" y="21533"/>
                      </a:cubicBezTo>
                      <a:cubicBezTo>
                        <a:pt x="323970" y="15282"/>
                        <a:pt x="355089" y="52652"/>
                        <a:pt x="330221" y="46539"/>
                      </a:cubicBezTo>
                      <a:cubicBezTo>
                        <a:pt x="323970" y="40288"/>
                        <a:pt x="305354" y="34036"/>
                        <a:pt x="292851" y="40288"/>
                      </a:cubicBezTo>
                      <a:cubicBezTo>
                        <a:pt x="299103" y="40288"/>
                        <a:pt x="317718" y="46539"/>
                        <a:pt x="317718" y="46539"/>
                      </a:cubicBezTo>
                      <a:cubicBezTo>
                        <a:pt x="311467" y="52791"/>
                        <a:pt x="286599" y="40288"/>
                        <a:pt x="286599" y="52791"/>
                      </a:cubicBezTo>
                      <a:cubicBezTo>
                        <a:pt x="286599" y="59043"/>
                        <a:pt x="311467" y="65294"/>
                        <a:pt x="317718" y="71546"/>
                      </a:cubicBezTo>
                      <a:cubicBezTo>
                        <a:pt x="336473" y="71546"/>
                        <a:pt x="380095" y="77797"/>
                        <a:pt x="380095" y="96552"/>
                      </a:cubicBezTo>
                      <a:cubicBezTo>
                        <a:pt x="380095" y="90300"/>
                        <a:pt x="336473" y="84049"/>
                        <a:pt x="323970" y="77797"/>
                      </a:cubicBezTo>
                      <a:cubicBezTo>
                        <a:pt x="311467" y="77797"/>
                        <a:pt x="292851" y="59043"/>
                        <a:pt x="280348" y="65294"/>
                      </a:cubicBezTo>
                      <a:lnTo>
                        <a:pt x="299103" y="77797"/>
                      </a:lnTo>
                      <a:cubicBezTo>
                        <a:pt x="299103" y="77797"/>
                        <a:pt x="280348" y="84049"/>
                        <a:pt x="280348" y="77797"/>
                      </a:cubicBezTo>
                      <a:cubicBezTo>
                        <a:pt x="267845" y="71546"/>
                        <a:pt x="261593" y="65294"/>
                        <a:pt x="249229" y="59043"/>
                      </a:cubicBezTo>
                      <a:cubicBezTo>
                        <a:pt x="242977" y="52791"/>
                        <a:pt x="193104" y="52791"/>
                        <a:pt x="193104" y="52791"/>
                      </a:cubicBezTo>
                      <a:cubicBezTo>
                        <a:pt x="193104" y="59043"/>
                        <a:pt x="211858" y="59043"/>
                        <a:pt x="193104" y="65294"/>
                      </a:cubicBezTo>
                      <a:cubicBezTo>
                        <a:pt x="186852" y="65294"/>
                        <a:pt x="155733" y="77797"/>
                        <a:pt x="155733" y="77797"/>
                      </a:cubicBezTo>
                      <a:cubicBezTo>
                        <a:pt x="161985" y="77797"/>
                        <a:pt x="180740" y="71546"/>
                        <a:pt x="180740" y="71546"/>
                      </a:cubicBezTo>
                      <a:cubicBezTo>
                        <a:pt x="186991" y="77797"/>
                        <a:pt x="211858" y="90300"/>
                        <a:pt x="211858" y="90300"/>
                      </a:cubicBezTo>
                      <a:cubicBezTo>
                        <a:pt x="211858" y="90300"/>
                        <a:pt x="193104" y="84049"/>
                        <a:pt x="193104" y="90300"/>
                      </a:cubicBezTo>
                      <a:cubicBezTo>
                        <a:pt x="193104" y="90300"/>
                        <a:pt x="199355" y="109055"/>
                        <a:pt x="186852" y="96552"/>
                      </a:cubicBezTo>
                      <a:cubicBezTo>
                        <a:pt x="180601" y="90300"/>
                        <a:pt x="174349" y="77797"/>
                        <a:pt x="161985" y="84049"/>
                      </a:cubicBezTo>
                      <a:cubicBezTo>
                        <a:pt x="155733" y="84049"/>
                        <a:pt x="149482" y="96552"/>
                        <a:pt x="143230" y="90300"/>
                      </a:cubicBezTo>
                      <a:cubicBezTo>
                        <a:pt x="136979" y="84049"/>
                        <a:pt x="130727" y="77797"/>
                        <a:pt x="118224" y="77797"/>
                      </a:cubicBezTo>
                      <a:cubicBezTo>
                        <a:pt x="111972" y="77797"/>
                        <a:pt x="93357" y="84049"/>
                        <a:pt x="87105" y="90300"/>
                      </a:cubicBezTo>
                      <a:cubicBezTo>
                        <a:pt x="74602" y="96552"/>
                        <a:pt x="80853" y="102803"/>
                        <a:pt x="62238" y="96552"/>
                      </a:cubicBezTo>
                      <a:cubicBezTo>
                        <a:pt x="49735" y="90300"/>
                        <a:pt x="43483" y="96552"/>
                        <a:pt x="31119" y="96552"/>
                      </a:cubicBezTo>
                      <a:cubicBezTo>
                        <a:pt x="24867" y="102803"/>
                        <a:pt x="0" y="102803"/>
                        <a:pt x="0" y="109055"/>
                      </a:cubicBezTo>
                      <a:cubicBezTo>
                        <a:pt x="0" y="121558"/>
                        <a:pt x="56125" y="109055"/>
                        <a:pt x="56125" y="115307"/>
                      </a:cubicBezTo>
                      <a:cubicBezTo>
                        <a:pt x="56125" y="121558"/>
                        <a:pt x="37370" y="121558"/>
                        <a:pt x="31119" y="127810"/>
                      </a:cubicBezTo>
                      <a:cubicBezTo>
                        <a:pt x="31119" y="121558"/>
                        <a:pt x="62238" y="121558"/>
                        <a:pt x="68489" y="121558"/>
                      </a:cubicBezTo>
                      <a:cubicBezTo>
                        <a:pt x="74741" y="121558"/>
                        <a:pt x="105860" y="121558"/>
                        <a:pt x="105860" y="121558"/>
                      </a:cubicBezTo>
                      <a:cubicBezTo>
                        <a:pt x="105860" y="121558"/>
                        <a:pt x="93357" y="127810"/>
                        <a:pt x="87105" y="127810"/>
                      </a:cubicBezTo>
                      <a:cubicBezTo>
                        <a:pt x="74602" y="127810"/>
                        <a:pt x="68350" y="127810"/>
                        <a:pt x="55986" y="140313"/>
                      </a:cubicBezTo>
                      <a:cubicBezTo>
                        <a:pt x="30980" y="152816"/>
                        <a:pt x="74741" y="152816"/>
                        <a:pt x="80853" y="152816"/>
                      </a:cubicBezTo>
                      <a:cubicBezTo>
                        <a:pt x="105721" y="159067"/>
                        <a:pt x="124475" y="159067"/>
                        <a:pt x="149482" y="152816"/>
                      </a:cubicBezTo>
                      <a:cubicBezTo>
                        <a:pt x="161985" y="146564"/>
                        <a:pt x="193104" y="127810"/>
                        <a:pt x="211858" y="140313"/>
                      </a:cubicBezTo>
                      <a:lnTo>
                        <a:pt x="180740" y="152816"/>
                      </a:lnTo>
                      <a:cubicBezTo>
                        <a:pt x="168236" y="152816"/>
                        <a:pt x="155733" y="152816"/>
                        <a:pt x="143369" y="159067"/>
                      </a:cubicBezTo>
                      <a:cubicBezTo>
                        <a:pt x="137118" y="159067"/>
                        <a:pt x="124614" y="159067"/>
                        <a:pt x="112250" y="159067"/>
                      </a:cubicBezTo>
                      <a:cubicBezTo>
                        <a:pt x="99747" y="165319"/>
                        <a:pt x="87383" y="159067"/>
                        <a:pt x="74880" y="165319"/>
                      </a:cubicBezTo>
                      <a:cubicBezTo>
                        <a:pt x="81131" y="165319"/>
                        <a:pt x="99886" y="171571"/>
                        <a:pt x="99886" y="171571"/>
                      </a:cubicBezTo>
                      <a:cubicBezTo>
                        <a:pt x="106138" y="177822"/>
                        <a:pt x="112389" y="184074"/>
                        <a:pt x="124753" y="184074"/>
                      </a:cubicBezTo>
                      <a:cubicBezTo>
                        <a:pt x="149621" y="184074"/>
                        <a:pt x="162124" y="165319"/>
                        <a:pt x="187130" y="159067"/>
                      </a:cubicBezTo>
                      <a:cubicBezTo>
                        <a:pt x="193382" y="159067"/>
                        <a:pt x="274374" y="152816"/>
                        <a:pt x="274374" y="146564"/>
                      </a:cubicBezTo>
                      <a:cubicBezTo>
                        <a:pt x="274374" y="152816"/>
                        <a:pt x="237004" y="152816"/>
                        <a:pt x="230752" y="152816"/>
                      </a:cubicBezTo>
                      <a:cubicBezTo>
                        <a:pt x="211997" y="159067"/>
                        <a:pt x="180878" y="165319"/>
                        <a:pt x="162124" y="177822"/>
                      </a:cubicBezTo>
                      <a:cubicBezTo>
                        <a:pt x="143369" y="196577"/>
                        <a:pt x="199494" y="190325"/>
                        <a:pt x="205746" y="190325"/>
                      </a:cubicBezTo>
                      <a:cubicBezTo>
                        <a:pt x="218249" y="190325"/>
                        <a:pt x="230613" y="196577"/>
                        <a:pt x="243116" y="184074"/>
                      </a:cubicBezTo>
                      <a:cubicBezTo>
                        <a:pt x="249368" y="184074"/>
                        <a:pt x="249368" y="177822"/>
                        <a:pt x="249368" y="171571"/>
                      </a:cubicBezTo>
                      <a:cubicBezTo>
                        <a:pt x="255619" y="171571"/>
                        <a:pt x="261871" y="171571"/>
                        <a:pt x="261871" y="177822"/>
                      </a:cubicBezTo>
                      <a:cubicBezTo>
                        <a:pt x="261871" y="177822"/>
                        <a:pt x="261871" y="177822"/>
                        <a:pt x="255619" y="177822"/>
                      </a:cubicBezTo>
                      <a:cubicBezTo>
                        <a:pt x="268123" y="177822"/>
                        <a:pt x="299241" y="165319"/>
                        <a:pt x="311745" y="171571"/>
                      </a:cubicBezTo>
                      <a:cubicBezTo>
                        <a:pt x="305493" y="165319"/>
                        <a:pt x="274374" y="190325"/>
                        <a:pt x="268123" y="190325"/>
                      </a:cubicBezTo>
                      <a:cubicBezTo>
                        <a:pt x="274374" y="196577"/>
                        <a:pt x="311745" y="184074"/>
                        <a:pt x="324248" y="184074"/>
                      </a:cubicBezTo>
                      <a:cubicBezTo>
                        <a:pt x="343002" y="184074"/>
                        <a:pt x="361618" y="177822"/>
                        <a:pt x="380373" y="165319"/>
                      </a:cubicBezTo>
                      <a:cubicBezTo>
                        <a:pt x="386624" y="159067"/>
                        <a:pt x="386624" y="146564"/>
                        <a:pt x="386624" y="146564"/>
                      </a:cubicBezTo>
                      <a:cubicBezTo>
                        <a:pt x="399128" y="146564"/>
                        <a:pt x="399128" y="146564"/>
                        <a:pt x="405379" y="140313"/>
                      </a:cubicBezTo>
                      <a:cubicBezTo>
                        <a:pt x="411631" y="140313"/>
                        <a:pt x="455252" y="115307"/>
                        <a:pt x="455252" y="121558"/>
                      </a:cubicBezTo>
                      <a:lnTo>
                        <a:pt x="430246" y="140313"/>
                      </a:lnTo>
                      <a:cubicBezTo>
                        <a:pt x="423995" y="146564"/>
                        <a:pt x="399128" y="159067"/>
                        <a:pt x="399128" y="165319"/>
                      </a:cubicBezTo>
                      <a:cubicBezTo>
                        <a:pt x="399128" y="171571"/>
                        <a:pt x="467756" y="165319"/>
                        <a:pt x="467756" y="171571"/>
                      </a:cubicBezTo>
                      <a:cubicBezTo>
                        <a:pt x="467756" y="165319"/>
                        <a:pt x="374260" y="190325"/>
                        <a:pt x="374260" y="184074"/>
                      </a:cubicBezTo>
                      <a:cubicBezTo>
                        <a:pt x="374260" y="184074"/>
                        <a:pt x="430385" y="190325"/>
                        <a:pt x="424134" y="190325"/>
                      </a:cubicBezTo>
                      <a:cubicBezTo>
                        <a:pt x="424134" y="196577"/>
                        <a:pt x="399128" y="196577"/>
                        <a:pt x="393015" y="196577"/>
                      </a:cubicBezTo>
                      <a:cubicBezTo>
                        <a:pt x="380512" y="196577"/>
                        <a:pt x="361896" y="196577"/>
                        <a:pt x="349393" y="202828"/>
                      </a:cubicBezTo>
                      <a:cubicBezTo>
                        <a:pt x="324525" y="202828"/>
                        <a:pt x="299519" y="202828"/>
                        <a:pt x="274652" y="209080"/>
                      </a:cubicBezTo>
                      <a:cubicBezTo>
                        <a:pt x="268400" y="209080"/>
                        <a:pt x="268400" y="215331"/>
                        <a:pt x="280903" y="215331"/>
                      </a:cubicBezTo>
                      <a:cubicBezTo>
                        <a:pt x="287155" y="221583"/>
                        <a:pt x="305910" y="227835"/>
                        <a:pt x="312022" y="234086"/>
                      </a:cubicBezTo>
                      <a:cubicBezTo>
                        <a:pt x="324525" y="246589"/>
                        <a:pt x="312022" y="259092"/>
                        <a:pt x="330777" y="259092"/>
                      </a:cubicBezTo>
                      <a:cubicBezTo>
                        <a:pt x="337029" y="252841"/>
                        <a:pt x="355644" y="259092"/>
                        <a:pt x="361896" y="252841"/>
                      </a:cubicBezTo>
                      <a:cubicBezTo>
                        <a:pt x="305771" y="283960"/>
                        <a:pt x="274652" y="215470"/>
                        <a:pt x="231030" y="215470"/>
                      </a:cubicBezTo>
                      <a:cubicBezTo>
                        <a:pt x="218527" y="215470"/>
                        <a:pt x="162402" y="202967"/>
                        <a:pt x="162402" y="215470"/>
                      </a:cubicBezTo>
                      <a:lnTo>
                        <a:pt x="156150" y="227974"/>
                      </a:lnTo>
                      <a:cubicBezTo>
                        <a:pt x="162402" y="227974"/>
                        <a:pt x="199772" y="227974"/>
                        <a:pt x="199772" y="234225"/>
                      </a:cubicBezTo>
                      <a:cubicBezTo>
                        <a:pt x="199772" y="234225"/>
                        <a:pt x="162402" y="234225"/>
                        <a:pt x="162402" y="246728"/>
                      </a:cubicBezTo>
                      <a:cubicBezTo>
                        <a:pt x="162402" y="252980"/>
                        <a:pt x="199772" y="252980"/>
                        <a:pt x="212275" y="259231"/>
                      </a:cubicBezTo>
                      <a:cubicBezTo>
                        <a:pt x="218527" y="265483"/>
                        <a:pt x="224778" y="271734"/>
                        <a:pt x="231030" y="277986"/>
                      </a:cubicBezTo>
                      <a:cubicBezTo>
                        <a:pt x="237282" y="290489"/>
                        <a:pt x="249785" y="296741"/>
                        <a:pt x="262149" y="302992"/>
                      </a:cubicBezTo>
                      <a:cubicBezTo>
                        <a:pt x="274652" y="309244"/>
                        <a:pt x="280903" y="309244"/>
                        <a:pt x="293268" y="302992"/>
                      </a:cubicBezTo>
                      <a:cubicBezTo>
                        <a:pt x="299519" y="302992"/>
                        <a:pt x="312022" y="296741"/>
                        <a:pt x="318135" y="302992"/>
                      </a:cubicBezTo>
                      <a:lnTo>
                        <a:pt x="311883" y="315495"/>
                      </a:lnTo>
                      <a:cubicBezTo>
                        <a:pt x="299380" y="315495"/>
                        <a:pt x="280765" y="309244"/>
                        <a:pt x="274513" y="315495"/>
                      </a:cubicBezTo>
                      <a:cubicBezTo>
                        <a:pt x="274513" y="309244"/>
                        <a:pt x="299519" y="327998"/>
                        <a:pt x="299519" y="327998"/>
                      </a:cubicBezTo>
                      <a:cubicBezTo>
                        <a:pt x="299519" y="334250"/>
                        <a:pt x="268400" y="321747"/>
                        <a:pt x="268400" y="321747"/>
                      </a:cubicBezTo>
                      <a:cubicBezTo>
                        <a:pt x="249646" y="309244"/>
                        <a:pt x="237282" y="309244"/>
                        <a:pt x="218527" y="309244"/>
                      </a:cubicBezTo>
                      <a:cubicBezTo>
                        <a:pt x="206024" y="309244"/>
                        <a:pt x="199772" y="309244"/>
                        <a:pt x="187408" y="315495"/>
                      </a:cubicBezTo>
                      <a:cubicBezTo>
                        <a:pt x="174905" y="321747"/>
                        <a:pt x="168653" y="315495"/>
                        <a:pt x="162541" y="321747"/>
                      </a:cubicBezTo>
                      <a:cubicBezTo>
                        <a:pt x="156289" y="327998"/>
                        <a:pt x="156289" y="334250"/>
                        <a:pt x="143786" y="334250"/>
                      </a:cubicBezTo>
                      <a:cubicBezTo>
                        <a:pt x="137534" y="340502"/>
                        <a:pt x="131283" y="359256"/>
                        <a:pt x="143786" y="359256"/>
                      </a:cubicBezTo>
                      <a:cubicBezTo>
                        <a:pt x="156289" y="359256"/>
                        <a:pt x="168653" y="353005"/>
                        <a:pt x="168653" y="359256"/>
                      </a:cubicBezTo>
                      <a:cubicBezTo>
                        <a:pt x="174905" y="371759"/>
                        <a:pt x="199772" y="365508"/>
                        <a:pt x="199772" y="359256"/>
                      </a:cubicBezTo>
                      <a:cubicBezTo>
                        <a:pt x="206024" y="359256"/>
                        <a:pt x="218527" y="340502"/>
                        <a:pt x="218527" y="334250"/>
                      </a:cubicBezTo>
                      <a:cubicBezTo>
                        <a:pt x="218527" y="340502"/>
                        <a:pt x="218527" y="340502"/>
                        <a:pt x="218527" y="346753"/>
                      </a:cubicBezTo>
                      <a:lnTo>
                        <a:pt x="224778" y="346753"/>
                      </a:lnTo>
                      <a:cubicBezTo>
                        <a:pt x="224778" y="346753"/>
                        <a:pt x="218527" y="353005"/>
                        <a:pt x="218527" y="359256"/>
                      </a:cubicBezTo>
                      <a:cubicBezTo>
                        <a:pt x="218527" y="359256"/>
                        <a:pt x="218527" y="359256"/>
                        <a:pt x="224778" y="359256"/>
                      </a:cubicBezTo>
                      <a:cubicBezTo>
                        <a:pt x="224778" y="359256"/>
                        <a:pt x="206024" y="365508"/>
                        <a:pt x="212275" y="365508"/>
                      </a:cubicBezTo>
                      <a:lnTo>
                        <a:pt x="212275" y="365508"/>
                      </a:lnTo>
                      <a:cubicBezTo>
                        <a:pt x="212275" y="371759"/>
                        <a:pt x="193521" y="365508"/>
                        <a:pt x="187269" y="371759"/>
                      </a:cubicBezTo>
                      <a:cubicBezTo>
                        <a:pt x="193521" y="371759"/>
                        <a:pt x="218388" y="371759"/>
                        <a:pt x="224639" y="378011"/>
                      </a:cubicBezTo>
                      <a:cubicBezTo>
                        <a:pt x="224639" y="378011"/>
                        <a:pt x="193521" y="396766"/>
                        <a:pt x="199633" y="396766"/>
                      </a:cubicBezTo>
                      <a:cubicBezTo>
                        <a:pt x="199633" y="403017"/>
                        <a:pt x="230752" y="396766"/>
                        <a:pt x="230752" y="396766"/>
                      </a:cubicBezTo>
                      <a:lnTo>
                        <a:pt x="224500" y="396766"/>
                      </a:lnTo>
                      <a:cubicBezTo>
                        <a:pt x="224500" y="403017"/>
                        <a:pt x="255619" y="396766"/>
                        <a:pt x="261871" y="390514"/>
                      </a:cubicBezTo>
                      <a:cubicBezTo>
                        <a:pt x="261871" y="390514"/>
                        <a:pt x="286738" y="359256"/>
                        <a:pt x="292990" y="365508"/>
                      </a:cubicBezTo>
                      <a:cubicBezTo>
                        <a:pt x="299241" y="371759"/>
                        <a:pt x="249368" y="409130"/>
                        <a:pt x="236865" y="415381"/>
                      </a:cubicBezTo>
                      <a:cubicBezTo>
                        <a:pt x="218110" y="415381"/>
                        <a:pt x="205746" y="415381"/>
                        <a:pt x="186991" y="402878"/>
                      </a:cubicBezTo>
                      <a:cubicBezTo>
                        <a:pt x="174488" y="396627"/>
                        <a:pt x="174488" y="384124"/>
                        <a:pt x="162124" y="384124"/>
                      </a:cubicBezTo>
                      <a:cubicBezTo>
                        <a:pt x="149621" y="377872"/>
                        <a:pt x="137257" y="377872"/>
                        <a:pt x="124753" y="377872"/>
                      </a:cubicBezTo>
                      <a:cubicBezTo>
                        <a:pt x="105999" y="377872"/>
                        <a:pt x="105999" y="384124"/>
                        <a:pt x="118502" y="396627"/>
                      </a:cubicBezTo>
                      <a:cubicBezTo>
                        <a:pt x="124753" y="402878"/>
                        <a:pt x="124753" y="409130"/>
                        <a:pt x="137257" y="409130"/>
                      </a:cubicBezTo>
                      <a:cubicBezTo>
                        <a:pt x="156011" y="409130"/>
                        <a:pt x="137257" y="409130"/>
                        <a:pt x="137257" y="415381"/>
                      </a:cubicBezTo>
                      <a:lnTo>
                        <a:pt x="161290" y="427885"/>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59" name="Freihandform: Form 258">
                  <a:extLst>
                    <a:ext uri="{FF2B5EF4-FFF2-40B4-BE49-F238E27FC236}">
                      <a16:creationId xmlns:a16="http://schemas.microsoft.com/office/drawing/2014/main" id="{055398AB-06F9-4E62-AD76-7A31900947C5}"/>
                    </a:ext>
                  </a:extLst>
                </p:cNvPr>
                <p:cNvSpPr/>
                <p:nvPr/>
              </p:nvSpPr>
              <p:spPr>
                <a:xfrm>
                  <a:off x="10075099" y="4603349"/>
                  <a:ext cx="9586" cy="4260"/>
                </a:xfrm>
                <a:custGeom>
                  <a:avLst/>
                  <a:gdLst>
                    <a:gd name="connsiteX0" fmla="*/ 9586 w 9586"/>
                    <a:gd name="connsiteY0" fmla="*/ 0 h 4260"/>
                    <a:gd name="connsiteX1" fmla="*/ 0 w 9586"/>
                    <a:gd name="connsiteY1" fmla="*/ 0 h 4260"/>
                    <a:gd name="connsiteX2" fmla="*/ 9586 w 9586"/>
                    <a:gd name="connsiteY2" fmla="*/ 0 h 4260"/>
                  </a:gdLst>
                  <a:ahLst/>
                  <a:cxnLst>
                    <a:cxn ang="0">
                      <a:pos x="connsiteX0" y="connsiteY0"/>
                    </a:cxn>
                    <a:cxn ang="0">
                      <a:pos x="connsiteX1" y="connsiteY1"/>
                    </a:cxn>
                    <a:cxn ang="0">
                      <a:pos x="connsiteX2" y="connsiteY2"/>
                    </a:cxn>
                  </a:cxnLst>
                  <a:rect l="l" t="t" r="r" b="b"/>
                  <a:pathLst>
                    <a:path w="9586" h="4260">
                      <a:moveTo>
                        <a:pt x="9586" y="0"/>
                      </a:moveTo>
                      <a:cubicBezTo>
                        <a:pt x="9586" y="9586"/>
                        <a:pt x="0" y="0"/>
                        <a:pt x="0" y="0"/>
                      </a:cubicBezTo>
                      <a:cubicBezTo>
                        <a:pt x="4724" y="0"/>
                        <a:pt x="9586" y="0"/>
                        <a:pt x="958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0" name="Freihandform: Form 259">
                  <a:extLst>
                    <a:ext uri="{FF2B5EF4-FFF2-40B4-BE49-F238E27FC236}">
                      <a16:creationId xmlns:a16="http://schemas.microsoft.com/office/drawing/2014/main" id="{3EF58D68-CD6F-4FAD-93FB-3A4CBB106BF4}"/>
                    </a:ext>
                  </a:extLst>
                </p:cNvPr>
                <p:cNvSpPr/>
                <p:nvPr/>
              </p:nvSpPr>
              <p:spPr>
                <a:xfrm>
                  <a:off x="9989383" y="4584178"/>
                  <a:ext cx="19032" cy="13495"/>
                </a:xfrm>
                <a:custGeom>
                  <a:avLst/>
                  <a:gdLst>
                    <a:gd name="connsiteX0" fmla="*/ 19033 w 19032"/>
                    <a:gd name="connsiteY0" fmla="*/ 0 h 13495"/>
                    <a:gd name="connsiteX1" fmla="*/ 1 w 19032"/>
                    <a:gd name="connsiteY1" fmla="*/ 9586 h 13495"/>
                    <a:gd name="connsiteX2" fmla="*/ 19033 w 19032"/>
                    <a:gd name="connsiteY2" fmla="*/ 0 h 13495"/>
                  </a:gdLst>
                  <a:ahLst/>
                  <a:cxnLst>
                    <a:cxn ang="0">
                      <a:pos x="connsiteX0" y="connsiteY0"/>
                    </a:cxn>
                    <a:cxn ang="0">
                      <a:pos x="connsiteX1" y="connsiteY1"/>
                    </a:cxn>
                    <a:cxn ang="0">
                      <a:pos x="connsiteX2" y="connsiteY2"/>
                    </a:cxn>
                  </a:cxnLst>
                  <a:rect l="l" t="t" r="r" b="b"/>
                  <a:pathLst>
                    <a:path w="19032" h="13495">
                      <a:moveTo>
                        <a:pt x="19033" y="0"/>
                      </a:moveTo>
                      <a:cubicBezTo>
                        <a:pt x="19033" y="9586"/>
                        <a:pt x="1" y="19032"/>
                        <a:pt x="1" y="9586"/>
                      </a:cubicBezTo>
                      <a:cubicBezTo>
                        <a:pt x="-138" y="0"/>
                        <a:pt x="19033" y="0"/>
                        <a:pt x="19033"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1" name="Freihandform: Form 260">
                  <a:extLst>
                    <a:ext uri="{FF2B5EF4-FFF2-40B4-BE49-F238E27FC236}">
                      <a16:creationId xmlns:a16="http://schemas.microsoft.com/office/drawing/2014/main" id="{E7278626-6A70-4686-BFE7-DEEBFCCC1F5B}"/>
                    </a:ext>
                  </a:extLst>
                </p:cNvPr>
                <p:cNvSpPr/>
                <p:nvPr/>
              </p:nvSpPr>
              <p:spPr>
                <a:xfrm>
                  <a:off x="10280176" y="5704410"/>
                  <a:ext cx="28288" cy="15662"/>
                </a:xfrm>
                <a:custGeom>
                  <a:avLst/>
                  <a:gdLst>
                    <a:gd name="connsiteX0" fmla="*/ 27759 w 28288"/>
                    <a:gd name="connsiteY0" fmla="*/ 6577 h 15662"/>
                    <a:gd name="connsiteX1" fmla="*/ 530 w 28288"/>
                    <a:gd name="connsiteY1" fmla="*/ 6577 h 15662"/>
                    <a:gd name="connsiteX2" fmla="*/ 27759 w 28288"/>
                    <a:gd name="connsiteY2" fmla="*/ 6577 h 15662"/>
                  </a:gdLst>
                  <a:ahLst/>
                  <a:cxnLst>
                    <a:cxn ang="0">
                      <a:pos x="connsiteX0" y="connsiteY0"/>
                    </a:cxn>
                    <a:cxn ang="0">
                      <a:pos x="connsiteX1" y="connsiteY1"/>
                    </a:cxn>
                    <a:cxn ang="0">
                      <a:pos x="connsiteX2" y="connsiteY2"/>
                    </a:cxn>
                  </a:cxnLst>
                  <a:rect l="l" t="t" r="r" b="b"/>
                  <a:pathLst>
                    <a:path w="28288" h="15662">
                      <a:moveTo>
                        <a:pt x="27759" y="6577"/>
                      </a:moveTo>
                      <a:cubicBezTo>
                        <a:pt x="33177" y="-4815"/>
                        <a:pt x="-4888" y="881"/>
                        <a:pt x="530" y="6577"/>
                      </a:cubicBezTo>
                      <a:cubicBezTo>
                        <a:pt x="530" y="12273"/>
                        <a:pt x="22341" y="23803"/>
                        <a:pt x="27759" y="657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2" name="Freihandform: Form 261">
                  <a:extLst>
                    <a:ext uri="{FF2B5EF4-FFF2-40B4-BE49-F238E27FC236}">
                      <a16:creationId xmlns:a16="http://schemas.microsoft.com/office/drawing/2014/main" id="{5B37CC0B-8F3B-4F30-A242-FAB7453717B4}"/>
                    </a:ext>
                  </a:extLst>
                </p:cNvPr>
                <p:cNvSpPr/>
                <p:nvPr/>
              </p:nvSpPr>
              <p:spPr>
                <a:xfrm>
                  <a:off x="6595619" y="1972276"/>
                  <a:ext cx="9585" cy="9585"/>
                </a:xfrm>
                <a:custGeom>
                  <a:avLst/>
                  <a:gdLst>
                    <a:gd name="connsiteX0" fmla="*/ 0 w 9585"/>
                    <a:gd name="connsiteY0" fmla="*/ 0 h 9585"/>
                    <a:gd name="connsiteX1" fmla="*/ 9586 w 9585"/>
                    <a:gd name="connsiteY1" fmla="*/ 0 h 9585"/>
                    <a:gd name="connsiteX2" fmla="*/ 9586 w 9585"/>
                    <a:gd name="connsiteY2" fmla="*/ 9586 h 9585"/>
                    <a:gd name="connsiteX3" fmla="*/ 0 w 9585"/>
                    <a:gd name="connsiteY3" fmla="*/ 9586 h 9585"/>
                  </a:gdLst>
                  <a:ahLst/>
                  <a:cxnLst>
                    <a:cxn ang="0">
                      <a:pos x="connsiteX0" y="connsiteY0"/>
                    </a:cxn>
                    <a:cxn ang="0">
                      <a:pos x="connsiteX1" y="connsiteY1"/>
                    </a:cxn>
                    <a:cxn ang="0">
                      <a:pos x="connsiteX2" y="connsiteY2"/>
                    </a:cxn>
                    <a:cxn ang="0">
                      <a:pos x="connsiteX3" y="connsiteY3"/>
                    </a:cxn>
                  </a:cxnLst>
                  <a:rect l="l" t="t" r="r" b="b"/>
                  <a:pathLst>
                    <a:path w="9585" h="9585">
                      <a:moveTo>
                        <a:pt x="0" y="0"/>
                      </a:moveTo>
                      <a:lnTo>
                        <a:pt x="9586" y="0"/>
                      </a:lnTo>
                      <a:lnTo>
                        <a:pt x="9586" y="9586"/>
                      </a:lnTo>
                      <a:lnTo>
                        <a:pt x="0" y="9586"/>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3" name="Freihandform: Form 262">
                  <a:extLst>
                    <a:ext uri="{FF2B5EF4-FFF2-40B4-BE49-F238E27FC236}">
                      <a16:creationId xmlns:a16="http://schemas.microsoft.com/office/drawing/2014/main" id="{132A41F2-46C6-49BE-9AFD-086D17AF167E}"/>
                    </a:ext>
                  </a:extLst>
                </p:cNvPr>
                <p:cNvSpPr/>
                <p:nvPr/>
              </p:nvSpPr>
              <p:spPr>
                <a:xfrm>
                  <a:off x="4460225" y="5508853"/>
                  <a:ext cx="57029" cy="53686"/>
                </a:xfrm>
                <a:custGeom>
                  <a:avLst/>
                  <a:gdLst>
                    <a:gd name="connsiteX0" fmla="*/ 26673 w 57029"/>
                    <a:gd name="connsiteY0" fmla="*/ 25423 h 53686"/>
                    <a:gd name="connsiteX1" fmla="*/ 0 w 57029"/>
                    <a:gd name="connsiteY1" fmla="*/ 50846 h 53686"/>
                    <a:gd name="connsiteX2" fmla="*/ 13336 w 57029"/>
                    <a:gd name="connsiteY2" fmla="*/ 50846 h 53686"/>
                    <a:gd name="connsiteX3" fmla="*/ 33342 w 57029"/>
                    <a:gd name="connsiteY3" fmla="*/ 31813 h 53686"/>
                    <a:gd name="connsiteX4" fmla="*/ 53347 w 57029"/>
                    <a:gd name="connsiteY4" fmla="*/ 0 h 53686"/>
                    <a:gd name="connsiteX5" fmla="*/ 26673 w 57029"/>
                    <a:gd name="connsiteY5" fmla="*/ 25423 h 53686"/>
                    <a:gd name="connsiteX6" fmla="*/ 26673 w 57029"/>
                    <a:gd name="connsiteY6" fmla="*/ 25423 h 53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29" h="53686">
                      <a:moveTo>
                        <a:pt x="26673" y="25423"/>
                      </a:moveTo>
                      <a:cubicBezTo>
                        <a:pt x="26673" y="31813"/>
                        <a:pt x="6668" y="44456"/>
                        <a:pt x="0" y="50846"/>
                      </a:cubicBezTo>
                      <a:cubicBezTo>
                        <a:pt x="0" y="57236"/>
                        <a:pt x="13336" y="50846"/>
                        <a:pt x="13336" y="50846"/>
                      </a:cubicBezTo>
                      <a:cubicBezTo>
                        <a:pt x="20005" y="44456"/>
                        <a:pt x="26673" y="38204"/>
                        <a:pt x="33342" y="31813"/>
                      </a:cubicBezTo>
                      <a:cubicBezTo>
                        <a:pt x="40010" y="25423"/>
                        <a:pt x="66683" y="0"/>
                        <a:pt x="53347" y="0"/>
                      </a:cubicBezTo>
                      <a:cubicBezTo>
                        <a:pt x="46678" y="0"/>
                        <a:pt x="26673" y="19172"/>
                        <a:pt x="26673" y="25423"/>
                      </a:cubicBezTo>
                      <a:cubicBezTo>
                        <a:pt x="26673" y="31813"/>
                        <a:pt x="26673" y="19172"/>
                        <a:pt x="26673" y="254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4" name="Freihandform: Form 263">
                  <a:extLst>
                    <a:ext uri="{FF2B5EF4-FFF2-40B4-BE49-F238E27FC236}">
                      <a16:creationId xmlns:a16="http://schemas.microsoft.com/office/drawing/2014/main" id="{7D043932-2E20-4958-AA56-B8EDA71EDA86}"/>
                    </a:ext>
                  </a:extLst>
                </p:cNvPr>
                <p:cNvSpPr/>
                <p:nvPr/>
              </p:nvSpPr>
              <p:spPr>
                <a:xfrm>
                  <a:off x="3511961" y="2992253"/>
                  <a:ext cx="33175" cy="10725"/>
                </a:xfrm>
                <a:custGeom>
                  <a:avLst/>
                  <a:gdLst>
                    <a:gd name="connsiteX0" fmla="*/ 33175 w 33175"/>
                    <a:gd name="connsiteY0" fmla="*/ 6390 h 10725"/>
                    <a:gd name="connsiteX1" fmla="*/ 528 w 33175"/>
                    <a:gd name="connsiteY1" fmla="*/ 0 h 10725"/>
                    <a:gd name="connsiteX2" fmla="*/ 33175 w 33175"/>
                    <a:gd name="connsiteY2" fmla="*/ 6390 h 10725"/>
                  </a:gdLst>
                  <a:ahLst/>
                  <a:cxnLst>
                    <a:cxn ang="0">
                      <a:pos x="connsiteX0" y="connsiteY0"/>
                    </a:cxn>
                    <a:cxn ang="0">
                      <a:pos x="connsiteX1" y="connsiteY1"/>
                    </a:cxn>
                    <a:cxn ang="0">
                      <a:pos x="connsiteX2" y="connsiteY2"/>
                    </a:cxn>
                  </a:cxnLst>
                  <a:rect l="l" t="t" r="r" b="b"/>
                  <a:pathLst>
                    <a:path w="33175" h="10725">
                      <a:moveTo>
                        <a:pt x="33175" y="6390"/>
                      </a:moveTo>
                      <a:cubicBezTo>
                        <a:pt x="33175" y="0"/>
                        <a:pt x="-4890" y="0"/>
                        <a:pt x="528" y="0"/>
                      </a:cubicBezTo>
                      <a:cubicBezTo>
                        <a:pt x="5946" y="0"/>
                        <a:pt x="27757" y="19032"/>
                        <a:pt x="33175" y="639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5" name="Freihandform: Form 264">
                  <a:extLst>
                    <a:ext uri="{FF2B5EF4-FFF2-40B4-BE49-F238E27FC236}">
                      <a16:creationId xmlns:a16="http://schemas.microsoft.com/office/drawing/2014/main" id="{49464A0E-1876-45B0-A80C-E8D67EB6B724}"/>
                    </a:ext>
                  </a:extLst>
                </p:cNvPr>
                <p:cNvSpPr/>
                <p:nvPr/>
              </p:nvSpPr>
              <p:spPr>
                <a:xfrm>
                  <a:off x="3803547" y="4173936"/>
                  <a:ext cx="427548" cy="336889"/>
                </a:xfrm>
                <a:custGeom>
                  <a:avLst/>
                  <a:gdLst>
                    <a:gd name="connsiteX0" fmla="*/ 384527 w 427548"/>
                    <a:gd name="connsiteY0" fmla="*/ 175044 h 336889"/>
                    <a:gd name="connsiteX1" fmla="*/ 403281 w 427548"/>
                    <a:gd name="connsiteY1" fmla="*/ 150037 h 336889"/>
                    <a:gd name="connsiteX2" fmla="*/ 409533 w 427548"/>
                    <a:gd name="connsiteY2" fmla="*/ 137534 h 336889"/>
                    <a:gd name="connsiteX3" fmla="*/ 409533 w 427548"/>
                    <a:gd name="connsiteY3" fmla="*/ 112528 h 336889"/>
                    <a:gd name="connsiteX4" fmla="*/ 371885 w 427548"/>
                    <a:gd name="connsiteY4" fmla="*/ 93773 h 336889"/>
                    <a:gd name="connsiteX5" fmla="*/ 384388 w 427548"/>
                    <a:gd name="connsiteY5" fmla="*/ 87522 h 336889"/>
                    <a:gd name="connsiteX6" fmla="*/ 390639 w 427548"/>
                    <a:gd name="connsiteY6" fmla="*/ 68767 h 336889"/>
                    <a:gd name="connsiteX7" fmla="*/ 365494 w 427548"/>
                    <a:gd name="connsiteY7" fmla="*/ 56264 h 336889"/>
                    <a:gd name="connsiteX8" fmla="*/ 359243 w 427548"/>
                    <a:gd name="connsiteY8" fmla="*/ 50012 h 336889"/>
                    <a:gd name="connsiteX9" fmla="*/ 346739 w 427548"/>
                    <a:gd name="connsiteY9" fmla="*/ 56264 h 336889"/>
                    <a:gd name="connsiteX10" fmla="*/ 346739 w 427548"/>
                    <a:gd name="connsiteY10" fmla="*/ 43761 h 336889"/>
                    <a:gd name="connsiteX11" fmla="*/ 327985 w 427548"/>
                    <a:gd name="connsiteY11" fmla="*/ 50012 h 336889"/>
                    <a:gd name="connsiteX12" fmla="*/ 327985 w 427548"/>
                    <a:gd name="connsiteY12" fmla="*/ 37509 h 336889"/>
                    <a:gd name="connsiteX13" fmla="*/ 353130 w 427548"/>
                    <a:gd name="connsiteY13" fmla="*/ 31258 h 336889"/>
                    <a:gd name="connsiteX14" fmla="*/ 334375 w 427548"/>
                    <a:gd name="connsiteY14" fmla="*/ 25006 h 336889"/>
                    <a:gd name="connsiteX15" fmla="*/ 296727 w 427548"/>
                    <a:gd name="connsiteY15" fmla="*/ 25006 h 336889"/>
                    <a:gd name="connsiteX16" fmla="*/ 265330 w 427548"/>
                    <a:gd name="connsiteY16" fmla="*/ 43761 h 336889"/>
                    <a:gd name="connsiteX17" fmla="*/ 227682 w 427548"/>
                    <a:gd name="connsiteY17" fmla="*/ 31258 h 336889"/>
                    <a:gd name="connsiteX18" fmla="*/ 171279 w 427548"/>
                    <a:gd name="connsiteY18" fmla="*/ 31258 h 336889"/>
                    <a:gd name="connsiteX19" fmla="*/ 152524 w 427548"/>
                    <a:gd name="connsiteY19" fmla="*/ 12503 h 336889"/>
                    <a:gd name="connsiteX20" fmla="*/ 114876 w 427548"/>
                    <a:gd name="connsiteY20" fmla="*/ 0 h 336889"/>
                    <a:gd name="connsiteX21" fmla="*/ 58473 w 427548"/>
                    <a:gd name="connsiteY21" fmla="*/ 25006 h 336889"/>
                    <a:gd name="connsiteX22" fmla="*/ 70976 w 427548"/>
                    <a:gd name="connsiteY22" fmla="*/ 74880 h 336889"/>
                    <a:gd name="connsiteX23" fmla="*/ 39579 w 427548"/>
                    <a:gd name="connsiteY23" fmla="*/ 49874 h 336889"/>
                    <a:gd name="connsiteX24" fmla="*/ 52082 w 427548"/>
                    <a:gd name="connsiteY24" fmla="*/ 31119 h 336889"/>
                    <a:gd name="connsiteX25" fmla="*/ 39579 w 427548"/>
                    <a:gd name="connsiteY25" fmla="*/ 6113 h 336889"/>
                    <a:gd name="connsiteX26" fmla="*/ 14434 w 427548"/>
                    <a:gd name="connsiteY26" fmla="*/ 43483 h 336889"/>
                    <a:gd name="connsiteX27" fmla="*/ 8183 w 427548"/>
                    <a:gd name="connsiteY27" fmla="*/ 74741 h 336889"/>
                    <a:gd name="connsiteX28" fmla="*/ 20686 w 427548"/>
                    <a:gd name="connsiteY28" fmla="*/ 80992 h 336889"/>
                    <a:gd name="connsiteX29" fmla="*/ 33189 w 427548"/>
                    <a:gd name="connsiteY29" fmla="*/ 99747 h 336889"/>
                    <a:gd name="connsiteX30" fmla="*/ 51944 w 427548"/>
                    <a:gd name="connsiteY30" fmla="*/ 143369 h 336889"/>
                    <a:gd name="connsiteX31" fmla="*/ 70698 w 427548"/>
                    <a:gd name="connsiteY31" fmla="*/ 143369 h 336889"/>
                    <a:gd name="connsiteX32" fmla="*/ 83201 w 427548"/>
                    <a:gd name="connsiteY32" fmla="*/ 137118 h 336889"/>
                    <a:gd name="connsiteX33" fmla="*/ 120850 w 427548"/>
                    <a:gd name="connsiteY33" fmla="*/ 168376 h 336889"/>
                    <a:gd name="connsiteX34" fmla="*/ 133353 w 427548"/>
                    <a:gd name="connsiteY34" fmla="*/ 168376 h 336889"/>
                    <a:gd name="connsiteX35" fmla="*/ 152107 w 427548"/>
                    <a:gd name="connsiteY35" fmla="*/ 168376 h 336889"/>
                    <a:gd name="connsiteX36" fmla="*/ 183504 w 427548"/>
                    <a:gd name="connsiteY36" fmla="*/ 180879 h 336889"/>
                    <a:gd name="connsiteX37" fmla="*/ 183504 w 427548"/>
                    <a:gd name="connsiteY37" fmla="*/ 237004 h 336889"/>
                    <a:gd name="connsiteX38" fmla="*/ 189756 w 427548"/>
                    <a:gd name="connsiteY38" fmla="*/ 255758 h 336889"/>
                    <a:gd name="connsiteX39" fmla="*/ 177253 w 427548"/>
                    <a:gd name="connsiteY39" fmla="*/ 274513 h 336889"/>
                    <a:gd name="connsiteX40" fmla="*/ 239907 w 427548"/>
                    <a:gd name="connsiteY40" fmla="*/ 330638 h 336889"/>
                    <a:gd name="connsiteX41" fmla="*/ 252410 w 427548"/>
                    <a:gd name="connsiteY41" fmla="*/ 336890 h 336889"/>
                    <a:gd name="connsiteX42" fmla="*/ 271165 w 427548"/>
                    <a:gd name="connsiteY42" fmla="*/ 324386 h 336889"/>
                    <a:gd name="connsiteX43" fmla="*/ 308813 w 427548"/>
                    <a:gd name="connsiteY43" fmla="*/ 293129 h 336889"/>
                    <a:gd name="connsiteX44" fmla="*/ 296310 w 427548"/>
                    <a:gd name="connsiteY44" fmla="*/ 274374 h 336889"/>
                    <a:gd name="connsiteX45" fmla="*/ 290059 w 427548"/>
                    <a:gd name="connsiteY45" fmla="*/ 255619 h 336889"/>
                    <a:gd name="connsiteX46" fmla="*/ 271304 w 427548"/>
                    <a:gd name="connsiteY46" fmla="*/ 236865 h 336889"/>
                    <a:gd name="connsiteX47" fmla="*/ 315204 w 427548"/>
                    <a:gd name="connsiteY47" fmla="*/ 236865 h 336889"/>
                    <a:gd name="connsiteX48" fmla="*/ 327707 w 427548"/>
                    <a:gd name="connsiteY48" fmla="*/ 249368 h 336889"/>
                    <a:gd name="connsiteX49" fmla="*/ 340210 w 427548"/>
                    <a:gd name="connsiteY49" fmla="*/ 236865 h 336889"/>
                    <a:gd name="connsiteX50" fmla="*/ 377858 w 427548"/>
                    <a:gd name="connsiteY50" fmla="*/ 224362 h 336889"/>
                    <a:gd name="connsiteX51" fmla="*/ 409255 w 427548"/>
                    <a:gd name="connsiteY51" fmla="*/ 205607 h 336889"/>
                    <a:gd name="connsiteX52" fmla="*/ 384527 w 427548"/>
                    <a:gd name="connsiteY52" fmla="*/ 175044 h 336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7548" h="336889">
                      <a:moveTo>
                        <a:pt x="384527" y="175044"/>
                      </a:moveTo>
                      <a:cubicBezTo>
                        <a:pt x="384527" y="162541"/>
                        <a:pt x="384527" y="156289"/>
                        <a:pt x="403281" y="150037"/>
                      </a:cubicBezTo>
                      <a:cubicBezTo>
                        <a:pt x="403281" y="143786"/>
                        <a:pt x="415784" y="143786"/>
                        <a:pt x="409533" y="137534"/>
                      </a:cubicBezTo>
                      <a:cubicBezTo>
                        <a:pt x="403281" y="131283"/>
                        <a:pt x="397030" y="118780"/>
                        <a:pt x="409533" y="112528"/>
                      </a:cubicBezTo>
                      <a:cubicBezTo>
                        <a:pt x="465936" y="87522"/>
                        <a:pt x="371885" y="93773"/>
                        <a:pt x="371885" y="93773"/>
                      </a:cubicBezTo>
                      <a:cubicBezTo>
                        <a:pt x="371885" y="87522"/>
                        <a:pt x="378136" y="87522"/>
                        <a:pt x="384388" y="87522"/>
                      </a:cubicBezTo>
                      <a:cubicBezTo>
                        <a:pt x="390639" y="87522"/>
                        <a:pt x="390639" y="75019"/>
                        <a:pt x="390639" y="68767"/>
                      </a:cubicBezTo>
                      <a:cubicBezTo>
                        <a:pt x="390639" y="62516"/>
                        <a:pt x="365494" y="50012"/>
                        <a:pt x="365494" y="56264"/>
                      </a:cubicBezTo>
                      <a:cubicBezTo>
                        <a:pt x="365494" y="62516"/>
                        <a:pt x="359243" y="50012"/>
                        <a:pt x="359243" y="50012"/>
                      </a:cubicBezTo>
                      <a:cubicBezTo>
                        <a:pt x="352991" y="50012"/>
                        <a:pt x="352991" y="62516"/>
                        <a:pt x="346739" y="56264"/>
                      </a:cubicBezTo>
                      <a:cubicBezTo>
                        <a:pt x="346739" y="56264"/>
                        <a:pt x="346739" y="50012"/>
                        <a:pt x="346739" y="43761"/>
                      </a:cubicBezTo>
                      <a:cubicBezTo>
                        <a:pt x="340488" y="37509"/>
                        <a:pt x="334236" y="50012"/>
                        <a:pt x="327985" y="50012"/>
                      </a:cubicBezTo>
                      <a:lnTo>
                        <a:pt x="327985" y="37509"/>
                      </a:lnTo>
                      <a:cubicBezTo>
                        <a:pt x="327985" y="25006"/>
                        <a:pt x="346739" y="31258"/>
                        <a:pt x="353130" y="31258"/>
                      </a:cubicBezTo>
                      <a:cubicBezTo>
                        <a:pt x="359382" y="25006"/>
                        <a:pt x="334375" y="25006"/>
                        <a:pt x="334375" y="25006"/>
                      </a:cubicBezTo>
                      <a:cubicBezTo>
                        <a:pt x="321872" y="25006"/>
                        <a:pt x="309230" y="18755"/>
                        <a:pt x="296727" y="25006"/>
                      </a:cubicBezTo>
                      <a:cubicBezTo>
                        <a:pt x="284224" y="31258"/>
                        <a:pt x="277972" y="50012"/>
                        <a:pt x="265330" y="43761"/>
                      </a:cubicBezTo>
                      <a:cubicBezTo>
                        <a:pt x="246575" y="43761"/>
                        <a:pt x="240185" y="43761"/>
                        <a:pt x="227682" y="31258"/>
                      </a:cubicBezTo>
                      <a:cubicBezTo>
                        <a:pt x="215179" y="18755"/>
                        <a:pt x="190034" y="31258"/>
                        <a:pt x="171279" y="31258"/>
                      </a:cubicBezTo>
                      <a:cubicBezTo>
                        <a:pt x="158776" y="31258"/>
                        <a:pt x="158776" y="25006"/>
                        <a:pt x="152524" y="12503"/>
                      </a:cubicBezTo>
                      <a:cubicBezTo>
                        <a:pt x="146273" y="0"/>
                        <a:pt x="133769" y="0"/>
                        <a:pt x="114876" y="0"/>
                      </a:cubicBezTo>
                      <a:cubicBezTo>
                        <a:pt x="108625" y="0"/>
                        <a:pt x="58473" y="6252"/>
                        <a:pt x="58473" y="25006"/>
                      </a:cubicBezTo>
                      <a:cubicBezTo>
                        <a:pt x="58473" y="43761"/>
                        <a:pt x="83618" y="50012"/>
                        <a:pt x="70976" y="74880"/>
                      </a:cubicBezTo>
                      <a:cubicBezTo>
                        <a:pt x="58473" y="87383"/>
                        <a:pt x="33328" y="62377"/>
                        <a:pt x="39579" y="49874"/>
                      </a:cubicBezTo>
                      <a:cubicBezTo>
                        <a:pt x="39579" y="43622"/>
                        <a:pt x="52082" y="37371"/>
                        <a:pt x="52082" y="31119"/>
                      </a:cubicBezTo>
                      <a:cubicBezTo>
                        <a:pt x="58334" y="18616"/>
                        <a:pt x="39579" y="12364"/>
                        <a:pt x="39579" y="6113"/>
                      </a:cubicBezTo>
                      <a:cubicBezTo>
                        <a:pt x="20825" y="18616"/>
                        <a:pt x="14434" y="24868"/>
                        <a:pt x="14434" y="43483"/>
                      </a:cubicBezTo>
                      <a:cubicBezTo>
                        <a:pt x="8183" y="49735"/>
                        <a:pt x="-10711" y="74741"/>
                        <a:pt x="8183" y="74741"/>
                      </a:cubicBezTo>
                      <a:cubicBezTo>
                        <a:pt x="8183" y="74741"/>
                        <a:pt x="14434" y="74741"/>
                        <a:pt x="20686" y="80992"/>
                      </a:cubicBezTo>
                      <a:cubicBezTo>
                        <a:pt x="20686" y="87244"/>
                        <a:pt x="26937" y="93496"/>
                        <a:pt x="33189" y="99747"/>
                      </a:cubicBezTo>
                      <a:cubicBezTo>
                        <a:pt x="45692" y="112250"/>
                        <a:pt x="20686" y="137118"/>
                        <a:pt x="51944" y="143369"/>
                      </a:cubicBezTo>
                      <a:cubicBezTo>
                        <a:pt x="51944" y="143369"/>
                        <a:pt x="64447" y="143369"/>
                        <a:pt x="70698" y="143369"/>
                      </a:cubicBezTo>
                      <a:cubicBezTo>
                        <a:pt x="76950" y="143369"/>
                        <a:pt x="76950" y="137118"/>
                        <a:pt x="83201" y="137118"/>
                      </a:cubicBezTo>
                      <a:cubicBezTo>
                        <a:pt x="101956" y="137118"/>
                        <a:pt x="108346" y="155872"/>
                        <a:pt x="120850" y="168376"/>
                      </a:cubicBezTo>
                      <a:cubicBezTo>
                        <a:pt x="120850" y="168376"/>
                        <a:pt x="127101" y="174627"/>
                        <a:pt x="133353" y="168376"/>
                      </a:cubicBezTo>
                      <a:cubicBezTo>
                        <a:pt x="133353" y="162124"/>
                        <a:pt x="139604" y="168376"/>
                        <a:pt x="152107" y="168376"/>
                      </a:cubicBezTo>
                      <a:cubicBezTo>
                        <a:pt x="164610" y="174627"/>
                        <a:pt x="196007" y="155872"/>
                        <a:pt x="183504" y="180879"/>
                      </a:cubicBezTo>
                      <a:cubicBezTo>
                        <a:pt x="171001" y="199633"/>
                        <a:pt x="171001" y="218249"/>
                        <a:pt x="183504" y="237004"/>
                      </a:cubicBezTo>
                      <a:cubicBezTo>
                        <a:pt x="183504" y="243255"/>
                        <a:pt x="189756" y="249507"/>
                        <a:pt x="189756" y="255758"/>
                      </a:cubicBezTo>
                      <a:cubicBezTo>
                        <a:pt x="189756" y="262010"/>
                        <a:pt x="171001" y="268262"/>
                        <a:pt x="177253" y="274513"/>
                      </a:cubicBezTo>
                      <a:cubicBezTo>
                        <a:pt x="196007" y="293268"/>
                        <a:pt x="202398" y="343141"/>
                        <a:pt x="239907" y="330638"/>
                      </a:cubicBezTo>
                      <a:cubicBezTo>
                        <a:pt x="246159" y="330638"/>
                        <a:pt x="246159" y="336890"/>
                        <a:pt x="252410" y="336890"/>
                      </a:cubicBezTo>
                      <a:cubicBezTo>
                        <a:pt x="258662" y="336890"/>
                        <a:pt x="264914" y="330638"/>
                        <a:pt x="271165" y="324386"/>
                      </a:cubicBezTo>
                      <a:cubicBezTo>
                        <a:pt x="283668" y="318135"/>
                        <a:pt x="289920" y="305632"/>
                        <a:pt x="308813" y="293129"/>
                      </a:cubicBezTo>
                      <a:cubicBezTo>
                        <a:pt x="321316" y="286877"/>
                        <a:pt x="296310" y="286877"/>
                        <a:pt x="296310" y="274374"/>
                      </a:cubicBezTo>
                      <a:cubicBezTo>
                        <a:pt x="296310" y="268122"/>
                        <a:pt x="290059" y="261871"/>
                        <a:pt x="290059" y="255619"/>
                      </a:cubicBezTo>
                      <a:cubicBezTo>
                        <a:pt x="290059" y="249368"/>
                        <a:pt x="271304" y="243116"/>
                        <a:pt x="271304" y="236865"/>
                      </a:cubicBezTo>
                      <a:cubicBezTo>
                        <a:pt x="271304" y="230613"/>
                        <a:pt x="308952" y="236865"/>
                        <a:pt x="315204" y="236865"/>
                      </a:cubicBezTo>
                      <a:cubicBezTo>
                        <a:pt x="327707" y="236865"/>
                        <a:pt x="321455" y="243116"/>
                        <a:pt x="327707" y="249368"/>
                      </a:cubicBezTo>
                      <a:cubicBezTo>
                        <a:pt x="333958" y="249368"/>
                        <a:pt x="333958" y="236865"/>
                        <a:pt x="340210" y="236865"/>
                      </a:cubicBezTo>
                      <a:cubicBezTo>
                        <a:pt x="346462" y="230613"/>
                        <a:pt x="365355" y="230613"/>
                        <a:pt x="377858" y="224362"/>
                      </a:cubicBezTo>
                      <a:cubicBezTo>
                        <a:pt x="384110" y="218110"/>
                        <a:pt x="396613" y="211858"/>
                        <a:pt x="409255" y="205607"/>
                      </a:cubicBezTo>
                      <a:cubicBezTo>
                        <a:pt x="403281" y="193798"/>
                        <a:pt x="384527" y="187547"/>
                        <a:pt x="384527" y="17504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6" name="Freihandform: Form 265">
                  <a:extLst>
                    <a:ext uri="{FF2B5EF4-FFF2-40B4-BE49-F238E27FC236}">
                      <a16:creationId xmlns:a16="http://schemas.microsoft.com/office/drawing/2014/main" id="{BF7B9CA9-08F1-42C8-A72A-86ABF427D9FA}"/>
                    </a:ext>
                  </a:extLst>
                </p:cNvPr>
                <p:cNvSpPr/>
                <p:nvPr/>
              </p:nvSpPr>
              <p:spPr>
                <a:xfrm>
                  <a:off x="4183372" y="4269794"/>
                  <a:ext cx="153071" cy="227695"/>
                </a:xfrm>
                <a:custGeom>
                  <a:avLst/>
                  <a:gdLst>
                    <a:gd name="connsiteX0" fmla="*/ 128066 w 153071"/>
                    <a:gd name="connsiteY0" fmla="*/ 181712 h 227695"/>
                    <a:gd name="connsiteX1" fmla="*/ 103059 w 153071"/>
                    <a:gd name="connsiteY1" fmla="*/ 131561 h 227695"/>
                    <a:gd name="connsiteX2" fmla="*/ 115563 w 153071"/>
                    <a:gd name="connsiteY2" fmla="*/ 112806 h 227695"/>
                    <a:gd name="connsiteX3" fmla="*/ 128066 w 153071"/>
                    <a:gd name="connsiteY3" fmla="*/ 94052 h 227695"/>
                    <a:gd name="connsiteX4" fmla="*/ 128066 w 153071"/>
                    <a:gd name="connsiteY4" fmla="*/ 81548 h 227695"/>
                    <a:gd name="connsiteX5" fmla="*/ 115563 w 153071"/>
                    <a:gd name="connsiteY5" fmla="*/ 69045 h 227695"/>
                    <a:gd name="connsiteX6" fmla="*/ 90695 w 153071"/>
                    <a:gd name="connsiteY6" fmla="*/ 43900 h 227695"/>
                    <a:gd name="connsiteX7" fmla="*/ 47073 w 153071"/>
                    <a:gd name="connsiteY7" fmla="*/ 0 h 227695"/>
                    <a:gd name="connsiteX8" fmla="*/ 22067 w 153071"/>
                    <a:gd name="connsiteY8" fmla="*/ 31397 h 227695"/>
                    <a:gd name="connsiteX9" fmla="*/ 28318 w 153071"/>
                    <a:gd name="connsiteY9" fmla="*/ 50152 h 227695"/>
                    <a:gd name="connsiteX10" fmla="*/ 9564 w 153071"/>
                    <a:gd name="connsiteY10" fmla="*/ 62655 h 227695"/>
                    <a:gd name="connsiteX11" fmla="*/ 15815 w 153071"/>
                    <a:gd name="connsiteY11" fmla="*/ 100303 h 227695"/>
                    <a:gd name="connsiteX12" fmla="*/ 34570 w 153071"/>
                    <a:gd name="connsiteY12" fmla="*/ 112806 h 227695"/>
                    <a:gd name="connsiteX13" fmla="*/ 40822 w 153071"/>
                    <a:gd name="connsiteY13" fmla="*/ 125309 h 227695"/>
                    <a:gd name="connsiteX14" fmla="*/ 40822 w 153071"/>
                    <a:gd name="connsiteY14" fmla="*/ 169209 h 227695"/>
                    <a:gd name="connsiteX15" fmla="*/ 59576 w 153071"/>
                    <a:gd name="connsiteY15" fmla="*/ 219360 h 227695"/>
                    <a:gd name="connsiteX16" fmla="*/ 96947 w 153071"/>
                    <a:gd name="connsiteY16" fmla="*/ 219360 h 227695"/>
                    <a:gd name="connsiteX17" fmla="*/ 121953 w 153071"/>
                    <a:gd name="connsiteY17" fmla="*/ 213109 h 227695"/>
                    <a:gd name="connsiteX18" fmla="*/ 153072 w 153071"/>
                    <a:gd name="connsiteY18" fmla="*/ 213109 h 227695"/>
                    <a:gd name="connsiteX19" fmla="*/ 128066 w 153071"/>
                    <a:gd name="connsiteY19" fmla="*/ 181712 h 227695"/>
                    <a:gd name="connsiteX20" fmla="*/ 128066 w 153071"/>
                    <a:gd name="connsiteY20" fmla="*/ 181712 h 22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3071" h="227695">
                      <a:moveTo>
                        <a:pt x="128066" y="181712"/>
                      </a:moveTo>
                      <a:cubicBezTo>
                        <a:pt x="128066" y="175461"/>
                        <a:pt x="96947" y="137812"/>
                        <a:pt x="103059" y="131561"/>
                      </a:cubicBezTo>
                      <a:cubicBezTo>
                        <a:pt x="109311" y="125309"/>
                        <a:pt x="103059" y="119058"/>
                        <a:pt x="115563" y="112806"/>
                      </a:cubicBezTo>
                      <a:cubicBezTo>
                        <a:pt x="134317" y="112806"/>
                        <a:pt x="128066" y="100303"/>
                        <a:pt x="128066" y="94052"/>
                      </a:cubicBezTo>
                      <a:cubicBezTo>
                        <a:pt x="128066" y="87800"/>
                        <a:pt x="128066" y="81548"/>
                        <a:pt x="128066" y="81548"/>
                      </a:cubicBezTo>
                      <a:cubicBezTo>
                        <a:pt x="128066" y="75297"/>
                        <a:pt x="121814" y="75297"/>
                        <a:pt x="115563" y="69045"/>
                      </a:cubicBezTo>
                      <a:cubicBezTo>
                        <a:pt x="109311" y="56542"/>
                        <a:pt x="90695" y="56542"/>
                        <a:pt x="90695" y="43900"/>
                      </a:cubicBezTo>
                      <a:cubicBezTo>
                        <a:pt x="84444" y="25145"/>
                        <a:pt x="59576" y="6252"/>
                        <a:pt x="47073" y="0"/>
                      </a:cubicBezTo>
                      <a:cubicBezTo>
                        <a:pt x="47073" y="18755"/>
                        <a:pt x="15954" y="18755"/>
                        <a:pt x="22067" y="31397"/>
                      </a:cubicBezTo>
                      <a:cubicBezTo>
                        <a:pt x="22067" y="37648"/>
                        <a:pt x="34570" y="43900"/>
                        <a:pt x="28318" y="50152"/>
                      </a:cubicBezTo>
                      <a:cubicBezTo>
                        <a:pt x="22067" y="50152"/>
                        <a:pt x="9564" y="56403"/>
                        <a:pt x="9564" y="62655"/>
                      </a:cubicBezTo>
                      <a:cubicBezTo>
                        <a:pt x="-9191" y="68906"/>
                        <a:pt x="3312" y="87800"/>
                        <a:pt x="15815" y="100303"/>
                      </a:cubicBezTo>
                      <a:cubicBezTo>
                        <a:pt x="22067" y="106555"/>
                        <a:pt x="22067" y="112806"/>
                        <a:pt x="34570" y="112806"/>
                      </a:cubicBezTo>
                      <a:cubicBezTo>
                        <a:pt x="40822" y="112806"/>
                        <a:pt x="34570" y="119058"/>
                        <a:pt x="40822" y="125309"/>
                      </a:cubicBezTo>
                      <a:cubicBezTo>
                        <a:pt x="53325" y="144064"/>
                        <a:pt x="47073" y="150454"/>
                        <a:pt x="40822" y="169209"/>
                      </a:cubicBezTo>
                      <a:cubicBezTo>
                        <a:pt x="40822" y="187964"/>
                        <a:pt x="53325" y="206857"/>
                        <a:pt x="59576" y="219360"/>
                      </a:cubicBezTo>
                      <a:cubicBezTo>
                        <a:pt x="78331" y="238115"/>
                        <a:pt x="84583" y="219360"/>
                        <a:pt x="96947" y="219360"/>
                      </a:cubicBezTo>
                      <a:cubicBezTo>
                        <a:pt x="109450" y="219360"/>
                        <a:pt x="115702" y="213109"/>
                        <a:pt x="121953" y="213109"/>
                      </a:cubicBezTo>
                      <a:cubicBezTo>
                        <a:pt x="134456" y="206857"/>
                        <a:pt x="140708" y="206857"/>
                        <a:pt x="153072" y="213109"/>
                      </a:cubicBezTo>
                      <a:cubicBezTo>
                        <a:pt x="146681" y="200606"/>
                        <a:pt x="140430" y="187964"/>
                        <a:pt x="128066" y="181712"/>
                      </a:cubicBezTo>
                      <a:cubicBezTo>
                        <a:pt x="121814" y="169209"/>
                        <a:pt x="134317" y="181712"/>
                        <a:pt x="128066" y="18171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7" name="Freihandform: Form 266">
                  <a:extLst>
                    <a:ext uri="{FF2B5EF4-FFF2-40B4-BE49-F238E27FC236}">
                      <a16:creationId xmlns:a16="http://schemas.microsoft.com/office/drawing/2014/main" id="{D4FEEF04-51D3-437C-8C8D-85A57F9ABA9C}"/>
                    </a:ext>
                  </a:extLst>
                </p:cNvPr>
                <p:cNvSpPr/>
                <p:nvPr/>
              </p:nvSpPr>
              <p:spPr>
                <a:xfrm>
                  <a:off x="4283849" y="4345924"/>
                  <a:ext cx="138172" cy="137847"/>
                </a:xfrm>
                <a:custGeom>
                  <a:avLst/>
                  <a:gdLst>
                    <a:gd name="connsiteX0" fmla="*/ 118723 w 138172"/>
                    <a:gd name="connsiteY0" fmla="*/ 43483 h 137847"/>
                    <a:gd name="connsiteX1" fmla="*/ 138172 w 138172"/>
                    <a:gd name="connsiteY1" fmla="*/ 12364 h 137847"/>
                    <a:gd name="connsiteX2" fmla="*/ 73156 w 138172"/>
                    <a:gd name="connsiteY2" fmla="*/ 12364 h 137847"/>
                    <a:gd name="connsiteX3" fmla="*/ 53707 w 138172"/>
                    <a:gd name="connsiteY3" fmla="*/ 0 h 137847"/>
                    <a:gd name="connsiteX4" fmla="*/ 27728 w 138172"/>
                    <a:gd name="connsiteY4" fmla="*/ 6252 h 137847"/>
                    <a:gd name="connsiteX5" fmla="*/ 21198 w 138172"/>
                    <a:gd name="connsiteY5" fmla="*/ 37371 h 137847"/>
                    <a:gd name="connsiteX6" fmla="*/ 1749 w 138172"/>
                    <a:gd name="connsiteY6" fmla="*/ 62238 h 137847"/>
                    <a:gd name="connsiteX7" fmla="*/ 21198 w 138172"/>
                    <a:gd name="connsiteY7" fmla="*/ 93357 h 137847"/>
                    <a:gd name="connsiteX8" fmla="*/ 53707 w 138172"/>
                    <a:gd name="connsiteY8" fmla="*/ 136840 h 137847"/>
                    <a:gd name="connsiteX9" fmla="*/ 73156 w 138172"/>
                    <a:gd name="connsiteY9" fmla="*/ 118224 h 137847"/>
                    <a:gd name="connsiteX10" fmla="*/ 99135 w 138172"/>
                    <a:gd name="connsiteY10" fmla="*/ 111973 h 137847"/>
                    <a:gd name="connsiteX11" fmla="*/ 118584 w 138172"/>
                    <a:gd name="connsiteY11" fmla="*/ 118224 h 137847"/>
                    <a:gd name="connsiteX12" fmla="*/ 125113 w 138172"/>
                    <a:gd name="connsiteY12" fmla="*/ 87105 h 137847"/>
                    <a:gd name="connsiteX13" fmla="*/ 118723 w 138172"/>
                    <a:gd name="connsiteY13" fmla="*/ 43483 h 13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172" h="137847">
                      <a:moveTo>
                        <a:pt x="118723" y="43483"/>
                      </a:moveTo>
                      <a:cubicBezTo>
                        <a:pt x="118723" y="31119"/>
                        <a:pt x="131782" y="18616"/>
                        <a:pt x="138172" y="12364"/>
                      </a:cubicBezTo>
                      <a:cubicBezTo>
                        <a:pt x="118723" y="6113"/>
                        <a:pt x="86215" y="0"/>
                        <a:pt x="73156" y="12364"/>
                      </a:cubicBezTo>
                      <a:cubicBezTo>
                        <a:pt x="60097" y="18616"/>
                        <a:pt x="53707" y="6113"/>
                        <a:pt x="53707" y="0"/>
                      </a:cubicBezTo>
                      <a:cubicBezTo>
                        <a:pt x="47177" y="0"/>
                        <a:pt x="40648" y="12364"/>
                        <a:pt x="27728" y="6252"/>
                      </a:cubicBezTo>
                      <a:cubicBezTo>
                        <a:pt x="27728" y="12503"/>
                        <a:pt x="40787" y="37371"/>
                        <a:pt x="21198" y="37371"/>
                      </a:cubicBezTo>
                      <a:cubicBezTo>
                        <a:pt x="8140" y="43622"/>
                        <a:pt x="-4780" y="49735"/>
                        <a:pt x="1749" y="62238"/>
                      </a:cubicBezTo>
                      <a:cubicBezTo>
                        <a:pt x="8279" y="74602"/>
                        <a:pt x="14808" y="80853"/>
                        <a:pt x="21198" y="93357"/>
                      </a:cubicBezTo>
                      <a:cubicBezTo>
                        <a:pt x="27728" y="105721"/>
                        <a:pt x="40648" y="118224"/>
                        <a:pt x="53707" y="136840"/>
                      </a:cubicBezTo>
                      <a:cubicBezTo>
                        <a:pt x="73156" y="143091"/>
                        <a:pt x="60236" y="118224"/>
                        <a:pt x="73156" y="118224"/>
                      </a:cubicBezTo>
                      <a:cubicBezTo>
                        <a:pt x="86215" y="118224"/>
                        <a:pt x="92605" y="118224"/>
                        <a:pt x="99135" y="111973"/>
                      </a:cubicBezTo>
                      <a:cubicBezTo>
                        <a:pt x="105664" y="111973"/>
                        <a:pt x="105664" y="124476"/>
                        <a:pt x="118584" y="118224"/>
                      </a:cubicBezTo>
                      <a:cubicBezTo>
                        <a:pt x="125113" y="105860"/>
                        <a:pt x="131643" y="99608"/>
                        <a:pt x="125113" y="87105"/>
                      </a:cubicBezTo>
                      <a:cubicBezTo>
                        <a:pt x="125252" y="74602"/>
                        <a:pt x="118723" y="55986"/>
                        <a:pt x="118723" y="4348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8" name="Freihandform: Form 267">
                  <a:extLst>
                    <a:ext uri="{FF2B5EF4-FFF2-40B4-BE49-F238E27FC236}">
                      <a16:creationId xmlns:a16="http://schemas.microsoft.com/office/drawing/2014/main" id="{E335E9B7-6FE5-4689-8CE7-B56927D9B888}"/>
                    </a:ext>
                  </a:extLst>
                </p:cNvPr>
                <p:cNvSpPr/>
                <p:nvPr/>
              </p:nvSpPr>
              <p:spPr>
                <a:xfrm>
                  <a:off x="4393403" y="4360748"/>
                  <a:ext cx="95301" cy="105545"/>
                </a:xfrm>
                <a:custGeom>
                  <a:avLst/>
                  <a:gdLst>
                    <a:gd name="connsiteX0" fmla="*/ 71546 w 95301"/>
                    <a:gd name="connsiteY0" fmla="*/ 26436 h 105545"/>
                    <a:gd name="connsiteX1" fmla="*/ 29869 w 95301"/>
                    <a:gd name="connsiteY1" fmla="*/ 1013 h 105545"/>
                    <a:gd name="connsiteX2" fmla="*/ 5974 w 95301"/>
                    <a:gd name="connsiteY2" fmla="*/ 32827 h 105545"/>
                    <a:gd name="connsiteX3" fmla="*/ 11948 w 95301"/>
                    <a:gd name="connsiteY3" fmla="*/ 70892 h 105545"/>
                    <a:gd name="connsiteX4" fmla="*/ 0 w 95301"/>
                    <a:gd name="connsiteY4" fmla="*/ 102705 h 105545"/>
                    <a:gd name="connsiteX5" fmla="*/ 23895 w 95301"/>
                    <a:gd name="connsiteY5" fmla="*/ 102705 h 105545"/>
                    <a:gd name="connsiteX6" fmla="*/ 53625 w 95301"/>
                    <a:gd name="connsiteY6" fmla="*/ 102705 h 105545"/>
                    <a:gd name="connsiteX7" fmla="*/ 95302 w 95301"/>
                    <a:gd name="connsiteY7" fmla="*/ 45469 h 105545"/>
                    <a:gd name="connsiteX8" fmla="*/ 71546 w 95301"/>
                    <a:gd name="connsiteY8" fmla="*/ 26436 h 105545"/>
                    <a:gd name="connsiteX9" fmla="*/ 71546 w 95301"/>
                    <a:gd name="connsiteY9" fmla="*/ 26436 h 10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01" h="105545">
                      <a:moveTo>
                        <a:pt x="71546" y="26436"/>
                      </a:moveTo>
                      <a:cubicBezTo>
                        <a:pt x="59598" y="13794"/>
                        <a:pt x="47651" y="1013"/>
                        <a:pt x="29869" y="1013"/>
                      </a:cubicBezTo>
                      <a:cubicBezTo>
                        <a:pt x="17921" y="-5377"/>
                        <a:pt x="139" y="20046"/>
                        <a:pt x="5974" y="32827"/>
                      </a:cubicBezTo>
                      <a:cubicBezTo>
                        <a:pt x="5974" y="45469"/>
                        <a:pt x="11948" y="58250"/>
                        <a:pt x="11948" y="70892"/>
                      </a:cubicBezTo>
                      <a:cubicBezTo>
                        <a:pt x="17921" y="83534"/>
                        <a:pt x="5974" y="96315"/>
                        <a:pt x="0" y="102705"/>
                      </a:cubicBezTo>
                      <a:cubicBezTo>
                        <a:pt x="5974" y="109096"/>
                        <a:pt x="17921" y="102705"/>
                        <a:pt x="23895" y="102705"/>
                      </a:cubicBezTo>
                      <a:cubicBezTo>
                        <a:pt x="35842" y="102705"/>
                        <a:pt x="41816" y="109096"/>
                        <a:pt x="53625" y="102705"/>
                      </a:cubicBezTo>
                      <a:cubicBezTo>
                        <a:pt x="71546" y="96315"/>
                        <a:pt x="77519" y="58250"/>
                        <a:pt x="95302" y="45469"/>
                      </a:cubicBezTo>
                      <a:cubicBezTo>
                        <a:pt x="83493" y="39217"/>
                        <a:pt x="77519" y="32827"/>
                        <a:pt x="71546" y="26436"/>
                      </a:cubicBezTo>
                      <a:cubicBezTo>
                        <a:pt x="59737" y="20185"/>
                        <a:pt x="77519" y="32827"/>
                        <a:pt x="71546" y="2643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69" name="Freihandform: Form 268">
                  <a:extLst>
                    <a:ext uri="{FF2B5EF4-FFF2-40B4-BE49-F238E27FC236}">
                      <a16:creationId xmlns:a16="http://schemas.microsoft.com/office/drawing/2014/main" id="{2B70ADC2-C56F-4B6D-9BA7-C1382A0B511E}"/>
                    </a:ext>
                  </a:extLst>
                </p:cNvPr>
                <p:cNvSpPr/>
                <p:nvPr/>
              </p:nvSpPr>
              <p:spPr>
                <a:xfrm>
                  <a:off x="3511068" y="4147602"/>
                  <a:ext cx="479317" cy="522430"/>
                </a:xfrm>
                <a:custGeom>
                  <a:avLst/>
                  <a:gdLst>
                    <a:gd name="connsiteX0" fmla="*/ 467093 w 479317"/>
                    <a:gd name="connsiteY0" fmla="*/ 297791 h 522430"/>
                    <a:gd name="connsiteX1" fmla="*/ 460980 w 479317"/>
                    <a:gd name="connsiteY1" fmla="*/ 241666 h 522430"/>
                    <a:gd name="connsiteX2" fmla="*/ 473205 w 479317"/>
                    <a:gd name="connsiteY2" fmla="*/ 204156 h 522430"/>
                    <a:gd name="connsiteX3" fmla="*/ 448754 w 479317"/>
                    <a:gd name="connsiteY3" fmla="*/ 197905 h 522430"/>
                    <a:gd name="connsiteX4" fmla="*/ 430416 w 479317"/>
                    <a:gd name="connsiteY4" fmla="*/ 197905 h 522430"/>
                    <a:gd name="connsiteX5" fmla="*/ 418191 w 479317"/>
                    <a:gd name="connsiteY5" fmla="*/ 204156 h 522430"/>
                    <a:gd name="connsiteX6" fmla="*/ 399853 w 479317"/>
                    <a:gd name="connsiteY6" fmla="*/ 185402 h 522430"/>
                    <a:gd name="connsiteX7" fmla="*/ 350952 w 479317"/>
                    <a:gd name="connsiteY7" fmla="*/ 172898 h 522430"/>
                    <a:gd name="connsiteX8" fmla="*/ 326502 w 479317"/>
                    <a:gd name="connsiteY8" fmla="*/ 160395 h 522430"/>
                    <a:gd name="connsiteX9" fmla="*/ 320389 w 479317"/>
                    <a:gd name="connsiteY9" fmla="*/ 122886 h 522430"/>
                    <a:gd name="connsiteX10" fmla="*/ 302051 w 479317"/>
                    <a:gd name="connsiteY10" fmla="*/ 104131 h 522430"/>
                    <a:gd name="connsiteX11" fmla="*/ 302051 w 479317"/>
                    <a:gd name="connsiteY11" fmla="*/ 91628 h 522430"/>
                    <a:gd name="connsiteX12" fmla="*/ 308164 w 479317"/>
                    <a:gd name="connsiteY12" fmla="*/ 54119 h 522430"/>
                    <a:gd name="connsiteX13" fmla="*/ 338727 w 479317"/>
                    <a:gd name="connsiteY13" fmla="*/ 29113 h 522430"/>
                    <a:gd name="connsiteX14" fmla="*/ 363178 w 479317"/>
                    <a:gd name="connsiteY14" fmla="*/ 10358 h 522430"/>
                    <a:gd name="connsiteX15" fmla="*/ 338727 w 479317"/>
                    <a:gd name="connsiteY15" fmla="*/ 4106 h 522430"/>
                    <a:gd name="connsiteX16" fmla="*/ 289826 w 479317"/>
                    <a:gd name="connsiteY16" fmla="*/ 35364 h 522430"/>
                    <a:gd name="connsiteX17" fmla="*/ 265375 w 479317"/>
                    <a:gd name="connsiteY17" fmla="*/ 47867 h 522430"/>
                    <a:gd name="connsiteX18" fmla="*/ 247037 w 479317"/>
                    <a:gd name="connsiteY18" fmla="*/ 41616 h 522430"/>
                    <a:gd name="connsiteX19" fmla="*/ 216474 w 479317"/>
                    <a:gd name="connsiteY19" fmla="*/ 97741 h 522430"/>
                    <a:gd name="connsiteX20" fmla="*/ 192024 w 479317"/>
                    <a:gd name="connsiteY20" fmla="*/ 122747 h 522430"/>
                    <a:gd name="connsiteX21" fmla="*/ 185911 w 479317"/>
                    <a:gd name="connsiteY21" fmla="*/ 141502 h 522430"/>
                    <a:gd name="connsiteX22" fmla="*/ 167573 w 479317"/>
                    <a:gd name="connsiteY22" fmla="*/ 116496 h 522430"/>
                    <a:gd name="connsiteX23" fmla="*/ 149235 w 479317"/>
                    <a:gd name="connsiteY23" fmla="*/ 103993 h 522430"/>
                    <a:gd name="connsiteX24" fmla="*/ 88109 w 479317"/>
                    <a:gd name="connsiteY24" fmla="*/ 97741 h 522430"/>
                    <a:gd name="connsiteX25" fmla="*/ 39208 w 479317"/>
                    <a:gd name="connsiteY25" fmla="*/ 110244 h 522430"/>
                    <a:gd name="connsiteX26" fmla="*/ 20870 w 479317"/>
                    <a:gd name="connsiteY26" fmla="*/ 97741 h 522430"/>
                    <a:gd name="connsiteX27" fmla="*/ 2532 w 479317"/>
                    <a:gd name="connsiteY27" fmla="*/ 97741 h 522430"/>
                    <a:gd name="connsiteX28" fmla="*/ 8645 w 479317"/>
                    <a:gd name="connsiteY28" fmla="*/ 110244 h 522430"/>
                    <a:gd name="connsiteX29" fmla="*/ 2532 w 479317"/>
                    <a:gd name="connsiteY29" fmla="*/ 128999 h 522430"/>
                    <a:gd name="connsiteX30" fmla="*/ 33095 w 479317"/>
                    <a:gd name="connsiteY30" fmla="*/ 135250 h 522430"/>
                    <a:gd name="connsiteX31" fmla="*/ 45320 w 479317"/>
                    <a:gd name="connsiteY31" fmla="*/ 147754 h 522430"/>
                    <a:gd name="connsiteX32" fmla="*/ 57546 w 479317"/>
                    <a:gd name="connsiteY32" fmla="*/ 147754 h 522430"/>
                    <a:gd name="connsiteX33" fmla="*/ 63658 w 479317"/>
                    <a:gd name="connsiteY33" fmla="*/ 160257 h 522430"/>
                    <a:gd name="connsiteX34" fmla="*/ 88109 w 479317"/>
                    <a:gd name="connsiteY34" fmla="*/ 154005 h 522430"/>
                    <a:gd name="connsiteX35" fmla="*/ 75884 w 479317"/>
                    <a:gd name="connsiteY35" fmla="*/ 141502 h 522430"/>
                    <a:gd name="connsiteX36" fmla="*/ 94221 w 479317"/>
                    <a:gd name="connsiteY36" fmla="*/ 116496 h 522430"/>
                    <a:gd name="connsiteX37" fmla="*/ 118672 w 479317"/>
                    <a:gd name="connsiteY37" fmla="*/ 110244 h 522430"/>
                    <a:gd name="connsiteX38" fmla="*/ 137010 w 479317"/>
                    <a:gd name="connsiteY38" fmla="*/ 116496 h 522430"/>
                    <a:gd name="connsiteX39" fmla="*/ 143123 w 479317"/>
                    <a:gd name="connsiteY39" fmla="*/ 122747 h 522430"/>
                    <a:gd name="connsiteX40" fmla="*/ 137010 w 479317"/>
                    <a:gd name="connsiteY40" fmla="*/ 135250 h 522430"/>
                    <a:gd name="connsiteX41" fmla="*/ 149235 w 479317"/>
                    <a:gd name="connsiteY41" fmla="*/ 160257 h 522430"/>
                    <a:gd name="connsiteX42" fmla="*/ 173686 w 479317"/>
                    <a:gd name="connsiteY42" fmla="*/ 203878 h 522430"/>
                    <a:gd name="connsiteX43" fmla="*/ 167573 w 479317"/>
                    <a:gd name="connsiteY43" fmla="*/ 260004 h 522430"/>
                    <a:gd name="connsiteX44" fmla="*/ 179798 w 479317"/>
                    <a:gd name="connsiteY44" fmla="*/ 272507 h 522430"/>
                    <a:gd name="connsiteX45" fmla="*/ 167573 w 479317"/>
                    <a:gd name="connsiteY45" fmla="*/ 291262 h 522430"/>
                    <a:gd name="connsiteX46" fmla="*/ 155348 w 479317"/>
                    <a:gd name="connsiteY46" fmla="*/ 310016 h 522430"/>
                    <a:gd name="connsiteX47" fmla="*/ 130897 w 479317"/>
                    <a:gd name="connsiteY47" fmla="*/ 328771 h 522430"/>
                    <a:gd name="connsiteX48" fmla="*/ 130897 w 479317"/>
                    <a:gd name="connsiteY48" fmla="*/ 347526 h 522430"/>
                    <a:gd name="connsiteX49" fmla="*/ 155348 w 479317"/>
                    <a:gd name="connsiteY49" fmla="*/ 360029 h 522430"/>
                    <a:gd name="connsiteX50" fmla="*/ 173686 w 479317"/>
                    <a:gd name="connsiteY50" fmla="*/ 378783 h 522430"/>
                    <a:gd name="connsiteX51" fmla="*/ 204249 w 479317"/>
                    <a:gd name="connsiteY51" fmla="*/ 378783 h 522430"/>
                    <a:gd name="connsiteX52" fmla="*/ 228700 w 479317"/>
                    <a:gd name="connsiteY52" fmla="*/ 391287 h 522430"/>
                    <a:gd name="connsiteX53" fmla="*/ 247037 w 479317"/>
                    <a:gd name="connsiteY53" fmla="*/ 397538 h 522430"/>
                    <a:gd name="connsiteX54" fmla="*/ 289826 w 479317"/>
                    <a:gd name="connsiteY54" fmla="*/ 441160 h 522430"/>
                    <a:gd name="connsiteX55" fmla="*/ 326502 w 479317"/>
                    <a:gd name="connsiteY55" fmla="*/ 472418 h 522430"/>
                    <a:gd name="connsiteX56" fmla="*/ 344840 w 479317"/>
                    <a:gd name="connsiteY56" fmla="*/ 459915 h 522430"/>
                    <a:gd name="connsiteX57" fmla="*/ 363178 w 479317"/>
                    <a:gd name="connsiteY57" fmla="*/ 466166 h 522430"/>
                    <a:gd name="connsiteX58" fmla="*/ 393741 w 479317"/>
                    <a:gd name="connsiteY58" fmla="*/ 472418 h 522430"/>
                    <a:gd name="connsiteX59" fmla="*/ 387628 w 479317"/>
                    <a:gd name="connsiteY59" fmla="*/ 497424 h 522430"/>
                    <a:gd name="connsiteX60" fmla="*/ 387628 w 479317"/>
                    <a:gd name="connsiteY60" fmla="*/ 509927 h 522430"/>
                    <a:gd name="connsiteX61" fmla="*/ 393741 w 479317"/>
                    <a:gd name="connsiteY61" fmla="*/ 522430 h 522430"/>
                    <a:gd name="connsiteX62" fmla="*/ 418191 w 479317"/>
                    <a:gd name="connsiteY62" fmla="*/ 441299 h 522430"/>
                    <a:gd name="connsiteX63" fmla="*/ 393741 w 479317"/>
                    <a:gd name="connsiteY63" fmla="*/ 391425 h 522430"/>
                    <a:gd name="connsiteX64" fmla="*/ 399853 w 479317"/>
                    <a:gd name="connsiteY64" fmla="*/ 372671 h 522430"/>
                    <a:gd name="connsiteX65" fmla="*/ 424304 w 479317"/>
                    <a:gd name="connsiteY65" fmla="*/ 360167 h 522430"/>
                    <a:gd name="connsiteX66" fmla="*/ 405966 w 479317"/>
                    <a:gd name="connsiteY66" fmla="*/ 353916 h 522430"/>
                    <a:gd name="connsiteX67" fmla="*/ 399853 w 479317"/>
                    <a:gd name="connsiteY67" fmla="*/ 341413 h 522430"/>
                    <a:gd name="connsiteX68" fmla="*/ 436529 w 479317"/>
                    <a:gd name="connsiteY68" fmla="*/ 341413 h 522430"/>
                    <a:gd name="connsiteX69" fmla="*/ 479318 w 479317"/>
                    <a:gd name="connsiteY69" fmla="*/ 328910 h 522430"/>
                    <a:gd name="connsiteX70" fmla="*/ 467093 w 479317"/>
                    <a:gd name="connsiteY70" fmla="*/ 297791 h 522430"/>
                    <a:gd name="connsiteX71" fmla="*/ 467093 w 479317"/>
                    <a:gd name="connsiteY71" fmla="*/ 297791 h 52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79317" h="522430">
                      <a:moveTo>
                        <a:pt x="467093" y="297791"/>
                      </a:moveTo>
                      <a:cubicBezTo>
                        <a:pt x="491543" y="279036"/>
                        <a:pt x="460980" y="260282"/>
                        <a:pt x="460980" y="241666"/>
                      </a:cubicBezTo>
                      <a:cubicBezTo>
                        <a:pt x="460980" y="229163"/>
                        <a:pt x="473205" y="216659"/>
                        <a:pt x="473205" y="204156"/>
                      </a:cubicBezTo>
                      <a:cubicBezTo>
                        <a:pt x="479318" y="185402"/>
                        <a:pt x="454867" y="197905"/>
                        <a:pt x="448754" y="197905"/>
                      </a:cubicBezTo>
                      <a:cubicBezTo>
                        <a:pt x="442642" y="197905"/>
                        <a:pt x="436529" y="197905"/>
                        <a:pt x="430416" y="197905"/>
                      </a:cubicBezTo>
                      <a:cubicBezTo>
                        <a:pt x="424304" y="197905"/>
                        <a:pt x="424304" y="204156"/>
                        <a:pt x="418191" y="204156"/>
                      </a:cubicBezTo>
                      <a:cubicBezTo>
                        <a:pt x="412079" y="204156"/>
                        <a:pt x="405966" y="185402"/>
                        <a:pt x="399853" y="185402"/>
                      </a:cubicBezTo>
                      <a:cubicBezTo>
                        <a:pt x="387628" y="160395"/>
                        <a:pt x="375403" y="172898"/>
                        <a:pt x="350952" y="172898"/>
                      </a:cubicBezTo>
                      <a:cubicBezTo>
                        <a:pt x="338727" y="172898"/>
                        <a:pt x="332614" y="172898"/>
                        <a:pt x="326502" y="160395"/>
                      </a:cubicBezTo>
                      <a:cubicBezTo>
                        <a:pt x="320389" y="147892"/>
                        <a:pt x="338727" y="135389"/>
                        <a:pt x="320389" y="122886"/>
                      </a:cubicBezTo>
                      <a:cubicBezTo>
                        <a:pt x="314277" y="116634"/>
                        <a:pt x="314277" y="104131"/>
                        <a:pt x="302051" y="104131"/>
                      </a:cubicBezTo>
                      <a:cubicBezTo>
                        <a:pt x="289826" y="104131"/>
                        <a:pt x="295938" y="104131"/>
                        <a:pt x="302051" y="91628"/>
                      </a:cubicBezTo>
                      <a:cubicBezTo>
                        <a:pt x="308164" y="79125"/>
                        <a:pt x="302051" y="66622"/>
                        <a:pt x="308164" y="54119"/>
                      </a:cubicBezTo>
                      <a:cubicBezTo>
                        <a:pt x="314277" y="41616"/>
                        <a:pt x="326502" y="35364"/>
                        <a:pt x="338727" y="29113"/>
                      </a:cubicBezTo>
                      <a:cubicBezTo>
                        <a:pt x="344840" y="22861"/>
                        <a:pt x="357065" y="22861"/>
                        <a:pt x="363178" y="10358"/>
                      </a:cubicBezTo>
                      <a:cubicBezTo>
                        <a:pt x="363178" y="-2145"/>
                        <a:pt x="338727" y="-2145"/>
                        <a:pt x="338727" y="4106"/>
                      </a:cubicBezTo>
                      <a:cubicBezTo>
                        <a:pt x="326502" y="16609"/>
                        <a:pt x="308164" y="35364"/>
                        <a:pt x="289826" y="35364"/>
                      </a:cubicBezTo>
                      <a:cubicBezTo>
                        <a:pt x="271488" y="35364"/>
                        <a:pt x="271488" y="35364"/>
                        <a:pt x="265375" y="47867"/>
                      </a:cubicBezTo>
                      <a:cubicBezTo>
                        <a:pt x="259263" y="60370"/>
                        <a:pt x="259263" y="41616"/>
                        <a:pt x="247037" y="41616"/>
                      </a:cubicBezTo>
                      <a:cubicBezTo>
                        <a:pt x="222587" y="47867"/>
                        <a:pt x="234812" y="85377"/>
                        <a:pt x="216474" y="97741"/>
                      </a:cubicBezTo>
                      <a:cubicBezTo>
                        <a:pt x="210362" y="103993"/>
                        <a:pt x="198136" y="110244"/>
                        <a:pt x="192024" y="122747"/>
                      </a:cubicBezTo>
                      <a:cubicBezTo>
                        <a:pt x="192024" y="122747"/>
                        <a:pt x="192024" y="141502"/>
                        <a:pt x="185911" y="141502"/>
                      </a:cubicBezTo>
                      <a:cubicBezTo>
                        <a:pt x="179798" y="128999"/>
                        <a:pt x="173686" y="122747"/>
                        <a:pt x="167573" y="116496"/>
                      </a:cubicBezTo>
                      <a:cubicBezTo>
                        <a:pt x="161460" y="103993"/>
                        <a:pt x="155348" y="103993"/>
                        <a:pt x="149235" y="103993"/>
                      </a:cubicBezTo>
                      <a:cubicBezTo>
                        <a:pt x="124785" y="97741"/>
                        <a:pt x="112559" y="78986"/>
                        <a:pt x="88109" y="97741"/>
                      </a:cubicBezTo>
                      <a:cubicBezTo>
                        <a:pt x="75884" y="103993"/>
                        <a:pt x="51433" y="122747"/>
                        <a:pt x="39208" y="110244"/>
                      </a:cubicBezTo>
                      <a:cubicBezTo>
                        <a:pt x="33095" y="103993"/>
                        <a:pt x="26983" y="103993"/>
                        <a:pt x="20870" y="97741"/>
                      </a:cubicBezTo>
                      <a:cubicBezTo>
                        <a:pt x="8645" y="97741"/>
                        <a:pt x="14757" y="85238"/>
                        <a:pt x="2532" y="97741"/>
                      </a:cubicBezTo>
                      <a:cubicBezTo>
                        <a:pt x="-3581" y="103993"/>
                        <a:pt x="2532" y="103993"/>
                        <a:pt x="8645" y="110244"/>
                      </a:cubicBezTo>
                      <a:cubicBezTo>
                        <a:pt x="8645" y="116496"/>
                        <a:pt x="2532" y="122747"/>
                        <a:pt x="2532" y="128999"/>
                      </a:cubicBezTo>
                      <a:cubicBezTo>
                        <a:pt x="14757" y="128999"/>
                        <a:pt x="26983" y="135250"/>
                        <a:pt x="33095" y="135250"/>
                      </a:cubicBezTo>
                      <a:cubicBezTo>
                        <a:pt x="39208" y="141502"/>
                        <a:pt x="45320" y="141502"/>
                        <a:pt x="45320" y="147754"/>
                      </a:cubicBezTo>
                      <a:cubicBezTo>
                        <a:pt x="51433" y="154005"/>
                        <a:pt x="51433" y="147754"/>
                        <a:pt x="57546" y="147754"/>
                      </a:cubicBezTo>
                      <a:cubicBezTo>
                        <a:pt x="57546" y="141502"/>
                        <a:pt x="57546" y="160257"/>
                        <a:pt x="63658" y="160257"/>
                      </a:cubicBezTo>
                      <a:cubicBezTo>
                        <a:pt x="69771" y="166508"/>
                        <a:pt x="75884" y="160257"/>
                        <a:pt x="88109" y="154005"/>
                      </a:cubicBezTo>
                      <a:cubicBezTo>
                        <a:pt x="94221" y="154005"/>
                        <a:pt x="75884" y="141502"/>
                        <a:pt x="75884" y="141502"/>
                      </a:cubicBezTo>
                      <a:cubicBezTo>
                        <a:pt x="75884" y="135250"/>
                        <a:pt x="94221" y="122747"/>
                        <a:pt x="94221" y="116496"/>
                      </a:cubicBezTo>
                      <a:cubicBezTo>
                        <a:pt x="100334" y="110244"/>
                        <a:pt x="112559" y="103993"/>
                        <a:pt x="118672" y="110244"/>
                      </a:cubicBezTo>
                      <a:cubicBezTo>
                        <a:pt x="124785" y="110244"/>
                        <a:pt x="137010" y="116496"/>
                        <a:pt x="137010" y="116496"/>
                      </a:cubicBezTo>
                      <a:cubicBezTo>
                        <a:pt x="137010" y="122747"/>
                        <a:pt x="137010" y="122747"/>
                        <a:pt x="143123" y="122747"/>
                      </a:cubicBezTo>
                      <a:cubicBezTo>
                        <a:pt x="143123" y="128999"/>
                        <a:pt x="137010" y="135250"/>
                        <a:pt x="137010" y="135250"/>
                      </a:cubicBezTo>
                      <a:cubicBezTo>
                        <a:pt x="137010" y="141502"/>
                        <a:pt x="149235" y="154005"/>
                        <a:pt x="149235" y="160257"/>
                      </a:cubicBezTo>
                      <a:cubicBezTo>
                        <a:pt x="161460" y="179011"/>
                        <a:pt x="173686" y="179011"/>
                        <a:pt x="173686" y="203878"/>
                      </a:cubicBezTo>
                      <a:cubicBezTo>
                        <a:pt x="173686" y="222633"/>
                        <a:pt x="173686" y="241388"/>
                        <a:pt x="167573" y="260004"/>
                      </a:cubicBezTo>
                      <a:cubicBezTo>
                        <a:pt x="167573" y="266255"/>
                        <a:pt x="179798" y="266255"/>
                        <a:pt x="179798" y="272507"/>
                      </a:cubicBezTo>
                      <a:cubicBezTo>
                        <a:pt x="173686" y="278758"/>
                        <a:pt x="167573" y="285010"/>
                        <a:pt x="167573" y="291262"/>
                      </a:cubicBezTo>
                      <a:cubicBezTo>
                        <a:pt x="161460" y="297513"/>
                        <a:pt x="161460" y="310016"/>
                        <a:pt x="155348" y="310016"/>
                      </a:cubicBezTo>
                      <a:cubicBezTo>
                        <a:pt x="143123" y="316268"/>
                        <a:pt x="130897" y="310016"/>
                        <a:pt x="130897" y="328771"/>
                      </a:cubicBezTo>
                      <a:cubicBezTo>
                        <a:pt x="130897" y="341274"/>
                        <a:pt x="112559" y="341274"/>
                        <a:pt x="130897" y="347526"/>
                      </a:cubicBezTo>
                      <a:cubicBezTo>
                        <a:pt x="137010" y="353777"/>
                        <a:pt x="143123" y="353777"/>
                        <a:pt x="155348" y="360029"/>
                      </a:cubicBezTo>
                      <a:cubicBezTo>
                        <a:pt x="161460" y="366280"/>
                        <a:pt x="167573" y="372532"/>
                        <a:pt x="173686" y="378783"/>
                      </a:cubicBezTo>
                      <a:cubicBezTo>
                        <a:pt x="185911" y="385035"/>
                        <a:pt x="192024" y="378783"/>
                        <a:pt x="204249" y="378783"/>
                      </a:cubicBezTo>
                      <a:cubicBezTo>
                        <a:pt x="210362" y="378783"/>
                        <a:pt x="216474" y="385035"/>
                        <a:pt x="228700" y="391287"/>
                      </a:cubicBezTo>
                      <a:cubicBezTo>
                        <a:pt x="234812" y="391287"/>
                        <a:pt x="240925" y="391287"/>
                        <a:pt x="247037" y="397538"/>
                      </a:cubicBezTo>
                      <a:cubicBezTo>
                        <a:pt x="265375" y="410041"/>
                        <a:pt x="277601" y="422544"/>
                        <a:pt x="289826" y="441160"/>
                      </a:cubicBezTo>
                      <a:cubicBezTo>
                        <a:pt x="295938" y="459915"/>
                        <a:pt x="302051" y="466166"/>
                        <a:pt x="326502" y="472418"/>
                      </a:cubicBezTo>
                      <a:cubicBezTo>
                        <a:pt x="332614" y="472418"/>
                        <a:pt x="338727" y="466166"/>
                        <a:pt x="344840" y="459915"/>
                      </a:cubicBezTo>
                      <a:cubicBezTo>
                        <a:pt x="350952" y="459915"/>
                        <a:pt x="357065" y="472418"/>
                        <a:pt x="363178" y="466166"/>
                      </a:cubicBezTo>
                      <a:cubicBezTo>
                        <a:pt x="375403" y="459915"/>
                        <a:pt x="387628" y="466166"/>
                        <a:pt x="393741" y="472418"/>
                      </a:cubicBezTo>
                      <a:cubicBezTo>
                        <a:pt x="393741" y="478669"/>
                        <a:pt x="387628" y="491172"/>
                        <a:pt x="387628" y="497424"/>
                      </a:cubicBezTo>
                      <a:cubicBezTo>
                        <a:pt x="381515" y="503676"/>
                        <a:pt x="375403" y="503676"/>
                        <a:pt x="387628" y="509927"/>
                      </a:cubicBezTo>
                      <a:cubicBezTo>
                        <a:pt x="387628" y="509927"/>
                        <a:pt x="399853" y="522430"/>
                        <a:pt x="393741" y="522430"/>
                      </a:cubicBezTo>
                      <a:cubicBezTo>
                        <a:pt x="405966" y="522430"/>
                        <a:pt x="412079" y="453802"/>
                        <a:pt x="418191" y="441299"/>
                      </a:cubicBezTo>
                      <a:cubicBezTo>
                        <a:pt x="418191" y="416293"/>
                        <a:pt x="399853" y="410041"/>
                        <a:pt x="393741" y="391425"/>
                      </a:cubicBezTo>
                      <a:cubicBezTo>
                        <a:pt x="393741" y="378922"/>
                        <a:pt x="393741" y="372671"/>
                        <a:pt x="399853" y="372671"/>
                      </a:cubicBezTo>
                      <a:cubicBezTo>
                        <a:pt x="405966" y="372671"/>
                        <a:pt x="424304" y="366419"/>
                        <a:pt x="424304" y="360167"/>
                      </a:cubicBezTo>
                      <a:cubicBezTo>
                        <a:pt x="418191" y="360167"/>
                        <a:pt x="405966" y="360167"/>
                        <a:pt x="405966" y="353916"/>
                      </a:cubicBezTo>
                      <a:cubicBezTo>
                        <a:pt x="399853" y="353916"/>
                        <a:pt x="399853" y="341413"/>
                        <a:pt x="399853" y="341413"/>
                      </a:cubicBezTo>
                      <a:cubicBezTo>
                        <a:pt x="412079" y="341413"/>
                        <a:pt x="424304" y="341413"/>
                        <a:pt x="436529" y="341413"/>
                      </a:cubicBezTo>
                      <a:cubicBezTo>
                        <a:pt x="442642" y="341413"/>
                        <a:pt x="479318" y="322658"/>
                        <a:pt x="479318" y="328910"/>
                      </a:cubicBezTo>
                      <a:cubicBezTo>
                        <a:pt x="479318" y="316407"/>
                        <a:pt x="460980" y="297791"/>
                        <a:pt x="467093" y="297791"/>
                      </a:cubicBezTo>
                      <a:cubicBezTo>
                        <a:pt x="473205" y="291539"/>
                        <a:pt x="460980" y="297791"/>
                        <a:pt x="467093" y="2977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0" name="Freihandform: Form 269">
                  <a:extLst>
                    <a:ext uri="{FF2B5EF4-FFF2-40B4-BE49-F238E27FC236}">
                      <a16:creationId xmlns:a16="http://schemas.microsoft.com/office/drawing/2014/main" id="{187DCD12-4992-4A59-9AD5-D406C99C0EC7}"/>
                    </a:ext>
                  </a:extLst>
                </p:cNvPr>
                <p:cNvSpPr/>
                <p:nvPr/>
              </p:nvSpPr>
              <p:spPr>
                <a:xfrm>
                  <a:off x="3573615" y="4498462"/>
                  <a:ext cx="168313" cy="195062"/>
                </a:xfrm>
                <a:custGeom>
                  <a:avLst/>
                  <a:gdLst>
                    <a:gd name="connsiteX0" fmla="*/ 122669 w 168313"/>
                    <a:gd name="connsiteY0" fmla="*/ 36398 h 195062"/>
                    <a:gd name="connsiteX1" fmla="*/ 91967 w 168313"/>
                    <a:gd name="connsiteY1" fmla="*/ 18199 h 195062"/>
                    <a:gd name="connsiteX2" fmla="*/ 61265 w 168313"/>
                    <a:gd name="connsiteY2" fmla="*/ 0 h 195062"/>
                    <a:gd name="connsiteX3" fmla="*/ 24451 w 168313"/>
                    <a:gd name="connsiteY3" fmla="*/ 24312 h 195062"/>
                    <a:gd name="connsiteX4" fmla="*/ 18338 w 168313"/>
                    <a:gd name="connsiteY4" fmla="*/ 42511 h 195062"/>
                    <a:gd name="connsiteX5" fmla="*/ 12225 w 168313"/>
                    <a:gd name="connsiteY5" fmla="*/ 60710 h 195062"/>
                    <a:gd name="connsiteX6" fmla="*/ 0 w 168313"/>
                    <a:gd name="connsiteY6" fmla="*/ 78909 h 195062"/>
                    <a:gd name="connsiteX7" fmla="*/ 0 w 168313"/>
                    <a:gd name="connsiteY7" fmla="*/ 90995 h 195062"/>
                    <a:gd name="connsiteX8" fmla="*/ 0 w 168313"/>
                    <a:gd name="connsiteY8" fmla="*/ 109194 h 195062"/>
                    <a:gd name="connsiteX9" fmla="*/ 12225 w 168313"/>
                    <a:gd name="connsiteY9" fmla="*/ 121280 h 195062"/>
                    <a:gd name="connsiteX10" fmla="*/ 30563 w 168313"/>
                    <a:gd name="connsiteY10" fmla="*/ 109194 h 195062"/>
                    <a:gd name="connsiteX11" fmla="*/ 30563 w 168313"/>
                    <a:gd name="connsiteY11" fmla="*/ 121280 h 195062"/>
                    <a:gd name="connsiteX12" fmla="*/ 18338 w 168313"/>
                    <a:gd name="connsiteY12" fmla="*/ 145592 h 195062"/>
                    <a:gd name="connsiteX13" fmla="*/ 18338 w 168313"/>
                    <a:gd name="connsiteY13" fmla="*/ 157678 h 195062"/>
                    <a:gd name="connsiteX14" fmla="*/ 18338 w 168313"/>
                    <a:gd name="connsiteY14" fmla="*/ 169765 h 195062"/>
                    <a:gd name="connsiteX15" fmla="*/ 49040 w 168313"/>
                    <a:gd name="connsiteY15" fmla="*/ 194076 h 195062"/>
                    <a:gd name="connsiteX16" fmla="*/ 67378 w 168313"/>
                    <a:gd name="connsiteY16" fmla="*/ 175877 h 195062"/>
                    <a:gd name="connsiteX17" fmla="*/ 98080 w 168313"/>
                    <a:gd name="connsiteY17" fmla="*/ 133367 h 195062"/>
                    <a:gd name="connsiteX18" fmla="*/ 134895 w 168313"/>
                    <a:gd name="connsiteY18" fmla="*/ 115167 h 195062"/>
                    <a:gd name="connsiteX19" fmla="*/ 165597 w 168313"/>
                    <a:gd name="connsiteY19" fmla="*/ 78770 h 195062"/>
                    <a:gd name="connsiteX20" fmla="*/ 165597 w 168313"/>
                    <a:gd name="connsiteY20" fmla="*/ 48484 h 195062"/>
                    <a:gd name="connsiteX21" fmla="*/ 147259 w 168313"/>
                    <a:gd name="connsiteY21" fmla="*/ 30285 h 195062"/>
                    <a:gd name="connsiteX22" fmla="*/ 122669 w 168313"/>
                    <a:gd name="connsiteY22" fmla="*/ 36398 h 19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8313" h="195062">
                      <a:moveTo>
                        <a:pt x="122669" y="36398"/>
                      </a:moveTo>
                      <a:cubicBezTo>
                        <a:pt x="110444" y="36398"/>
                        <a:pt x="104332" y="24312"/>
                        <a:pt x="91967" y="18199"/>
                      </a:cubicBezTo>
                      <a:cubicBezTo>
                        <a:pt x="85855" y="12086"/>
                        <a:pt x="73629" y="0"/>
                        <a:pt x="61265" y="0"/>
                      </a:cubicBezTo>
                      <a:cubicBezTo>
                        <a:pt x="61265" y="18199"/>
                        <a:pt x="24451" y="6113"/>
                        <a:pt x="24451" y="24312"/>
                      </a:cubicBezTo>
                      <a:cubicBezTo>
                        <a:pt x="24451" y="36398"/>
                        <a:pt x="24451" y="36398"/>
                        <a:pt x="18338" y="42511"/>
                      </a:cubicBezTo>
                      <a:cubicBezTo>
                        <a:pt x="6113" y="48623"/>
                        <a:pt x="12225" y="54597"/>
                        <a:pt x="12225" y="60710"/>
                      </a:cubicBezTo>
                      <a:cubicBezTo>
                        <a:pt x="12225" y="66822"/>
                        <a:pt x="6113" y="72796"/>
                        <a:pt x="0" y="78909"/>
                      </a:cubicBezTo>
                      <a:cubicBezTo>
                        <a:pt x="0" y="78909"/>
                        <a:pt x="0" y="85021"/>
                        <a:pt x="0" y="90995"/>
                      </a:cubicBezTo>
                      <a:cubicBezTo>
                        <a:pt x="6113" y="97107"/>
                        <a:pt x="0" y="103081"/>
                        <a:pt x="0" y="109194"/>
                      </a:cubicBezTo>
                      <a:cubicBezTo>
                        <a:pt x="0" y="109194"/>
                        <a:pt x="6113" y="127393"/>
                        <a:pt x="12225" y="121280"/>
                      </a:cubicBezTo>
                      <a:cubicBezTo>
                        <a:pt x="24451" y="121280"/>
                        <a:pt x="24451" y="109194"/>
                        <a:pt x="30563" y="109194"/>
                      </a:cubicBezTo>
                      <a:cubicBezTo>
                        <a:pt x="24451" y="109194"/>
                        <a:pt x="36676" y="121280"/>
                        <a:pt x="30563" y="121280"/>
                      </a:cubicBezTo>
                      <a:cubicBezTo>
                        <a:pt x="30563" y="133367"/>
                        <a:pt x="30563" y="139479"/>
                        <a:pt x="18338" y="145592"/>
                      </a:cubicBezTo>
                      <a:cubicBezTo>
                        <a:pt x="18338" y="145592"/>
                        <a:pt x="24451" y="157678"/>
                        <a:pt x="18338" y="157678"/>
                      </a:cubicBezTo>
                      <a:cubicBezTo>
                        <a:pt x="18338" y="163791"/>
                        <a:pt x="12225" y="163791"/>
                        <a:pt x="18338" y="169765"/>
                      </a:cubicBezTo>
                      <a:cubicBezTo>
                        <a:pt x="30563" y="175877"/>
                        <a:pt x="36676" y="175877"/>
                        <a:pt x="49040" y="194076"/>
                      </a:cubicBezTo>
                      <a:cubicBezTo>
                        <a:pt x="55153" y="200189"/>
                        <a:pt x="61265" y="175877"/>
                        <a:pt x="67378" y="175877"/>
                      </a:cubicBezTo>
                      <a:cubicBezTo>
                        <a:pt x="73491" y="157678"/>
                        <a:pt x="79603" y="139479"/>
                        <a:pt x="98080" y="133367"/>
                      </a:cubicBezTo>
                      <a:cubicBezTo>
                        <a:pt x="110305" y="127254"/>
                        <a:pt x="122531" y="127254"/>
                        <a:pt x="134895" y="115167"/>
                      </a:cubicBezTo>
                      <a:cubicBezTo>
                        <a:pt x="147120" y="109055"/>
                        <a:pt x="159345" y="96969"/>
                        <a:pt x="165597" y="78770"/>
                      </a:cubicBezTo>
                      <a:cubicBezTo>
                        <a:pt x="165597" y="66683"/>
                        <a:pt x="171710" y="60571"/>
                        <a:pt x="165597" y="48484"/>
                      </a:cubicBezTo>
                      <a:cubicBezTo>
                        <a:pt x="159484" y="42372"/>
                        <a:pt x="153372" y="36398"/>
                        <a:pt x="147259" y="30285"/>
                      </a:cubicBezTo>
                      <a:cubicBezTo>
                        <a:pt x="141007" y="30285"/>
                        <a:pt x="128782" y="36398"/>
                        <a:pt x="122669" y="3639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1" name="Freihandform: Form 270">
                  <a:extLst>
                    <a:ext uri="{FF2B5EF4-FFF2-40B4-BE49-F238E27FC236}">
                      <a16:creationId xmlns:a16="http://schemas.microsoft.com/office/drawing/2014/main" id="{5749136A-69CE-4392-8CC9-0D9E949155CD}"/>
                    </a:ext>
                  </a:extLst>
                </p:cNvPr>
                <p:cNvSpPr/>
                <p:nvPr/>
              </p:nvSpPr>
              <p:spPr>
                <a:xfrm>
                  <a:off x="3563956" y="4536666"/>
                  <a:ext cx="391004" cy="582070"/>
                </a:xfrm>
                <a:custGeom>
                  <a:avLst/>
                  <a:gdLst>
                    <a:gd name="connsiteX0" fmla="*/ 347243 w 391004"/>
                    <a:gd name="connsiteY0" fmla="*/ 130588 h 582070"/>
                    <a:gd name="connsiteX1" fmla="*/ 340992 w 391004"/>
                    <a:gd name="connsiteY1" fmla="*/ 87105 h 582070"/>
                    <a:gd name="connsiteX2" fmla="*/ 303482 w 391004"/>
                    <a:gd name="connsiteY2" fmla="*/ 80853 h 582070"/>
                    <a:gd name="connsiteX3" fmla="*/ 278476 w 391004"/>
                    <a:gd name="connsiteY3" fmla="*/ 87105 h 582070"/>
                    <a:gd name="connsiteX4" fmla="*/ 247218 w 391004"/>
                    <a:gd name="connsiteY4" fmla="*/ 68489 h 582070"/>
                    <a:gd name="connsiteX5" fmla="*/ 228464 w 391004"/>
                    <a:gd name="connsiteY5" fmla="*/ 37370 h 582070"/>
                    <a:gd name="connsiteX6" fmla="*/ 197206 w 391004"/>
                    <a:gd name="connsiteY6" fmla="*/ 12503 h 582070"/>
                    <a:gd name="connsiteX7" fmla="*/ 165948 w 391004"/>
                    <a:gd name="connsiteY7" fmla="*/ 0 h 582070"/>
                    <a:gd name="connsiteX8" fmla="*/ 184703 w 391004"/>
                    <a:gd name="connsiteY8" fmla="*/ 31119 h 582070"/>
                    <a:gd name="connsiteX9" fmla="*/ 165948 w 391004"/>
                    <a:gd name="connsiteY9" fmla="*/ 62238 h 582070"/>
                    <a:gd name="connsiteX10" fmla="*/ 134690 w 391004"/>
                    <a:gd name="connsiteY10" fmla="*/ 87105 h 582070"/>
                    <a:gd name="connsiteX11" fmla="*/ 97181 w 391004"/>
                    <a:gd name="connsiteY11" fmla="*/ 105721 h 582070"/>
                    <a:gd name="connsiteX12" fmla="*/ 59672 w 391004"/>
                    <a:gd name="connsiteY12" fmla="*/ 161707 h 582070"/>
                    <a:gd name="connsiteX13" fmla="*/ 28414 w 391004"/>
                    <a:gd name="connsiteY13" fmla="*/ 136840 h 582070"/>
                    <a:gd name="connsiteX14" fmla="*/ 28414 w 391004"/>
                    <a:gd name="connsiteY14" fmla="*/ 130588 h 582070"/>
                    <a:gd name="connsiteX15" fmla="*/ 28414 w 391004"/>
                    <a:gd name="connsiteY15" fmla="*/ 111973 h 582070"/>
                    <a:gd name="connsiteX16" fmla="*/ 3408 w 391004"/>
                    <a:gd name="connsiteY16" fmla="*/ 161707 h 582070"/>
                    <a:gd name="connsiteX17" fmla="*/ 9659 w 391004"/>
                    <a:gd name="connsiteY17" fmla="*/ 186574 h 582070"/>
                    <a:gd name="connsiteX18" fmla="*/ 9659 w 391004"/>
                    <a:gd name="connsiteY18" fmla="*/ 199078 h 582070"/>
                    <a:gd name="connsiteX19" fmla="*/ 78426 w 391004"/>
                    <a:gd name="connsiteY19" fmla="*/ 292434 h 582070"/>
                    <a:gd name="connsiteX20" fmla="*/ 134690 w 391004"/>
                    <a:gd name="connsiteY20" fmla="*/ 392042 h 582070"/>
                    <a:gd name="connsiteX21" fmla="*/ 153445 w 391004"/>
                    <a:gd name="connsiteY21" fmla="*/ 435525 h 582070"/>
                    <a:gd name="connsiteX22" fmla="*/ 147194 w 391004"/>
                    <a:gd name="connsiteY22" fmla="*/ 441777 h 582070"/>
                    <a:gd name="connsiteX23" fmla="*/ 165948 w 391004"/>
                    <a:gd name="connsiteY23" fmla="*/ 460393 h 582070"/>
                    <a:gd name="connsiteX24" fmla="*/ 190954 w 391004"/>
                    <a:gd name="connsiteY24" fmla="*/ 491512 h 582070"/>
                    <a:gd name="connsiteX25" fmla="*/ 247218 w 391004"/>
                    <a:gd name="connsiteY25" fmla="*/ 516379 h 582070"/>
                    <a:gd name="connsiteX26" fmla="*/ 290979 w 391004"/>
                    <a:gd name="connsiteY26" fmla="*/ 541246 h 582070"/>
                    <a:gd name="connsiteX27" fmla="*/ 328489 w 391004"/>
                    <a:gd name="connsiteY27" fmla="*/ 578617 h 582070"/>
                    <a:gd name="connsiteX28" fmla="*/ 359746 w 391004"/>
                    <a:gd name="connsiteY28" fmla="*/ 560001 h 582070"/>
                    <a:gd name="connsiteX29" fmla="*/ 372250 w 391004"/>
                    <a:gd name="connsiteY29" fmla="*/ 535133 h 582070"/>
                    <a:gd name="connsiteX30" fmla="*/ 384753 w 391004"/>
                    <a:gd name="connsiteY30" fmla="*/ 510266 h 582070"/>
                    <a:gd name="connsiteX31" fmla="*/ 372250 w 391004"/>
                    <a:gd name="connsiteY31" fmla="*/ 485399 h 582070"/>
                    <a:gd name="connsiteX32" fmla="*/ 372250 w 391004"/>
                    <a:gd name="connsiteY32" fmla="*/ 472896 h 582070"/>
                    <a:gd name="connsiteX33" fmla="*/ 384753 w 391004"/>
                    <a:gd name="connsiteY33" fmla="*/ 460393 h 582070"/>
                    <a:gd name="connsiteX34" fmla="*/ 391004 w 391004"/>
                    <a:gd name="connsiteY34" fmla="*/ 398155 h 582070"/>
                    <a:gd name="connsiteX35" fmla="*/ 378501 w 391004"/>
                    <a:gd name="connsiteY35" fmla="*/ 367036 h 582070"/>
                    <a:gd name="connsiteX36" fmla="*/ 347243 w 391004"/>
                    <a:gd name="connsiteY36" fmla="*/ 354533 h 582070"/>
                    <a:gd name="connsiteX37" fmla="*/ 334740 w 391004"/>
                    <a:gd name="connsiteY37" fmla="*/ 298547 h 582070"/>
                    <a:gd name="connsiteX38" fmla="*/ 303482 w 391004"/>
                    <a:gd name="connsiteY38" fmla="*/ 317163 h 582070"/>
                    <a:gd name="connsiteX39" fmla="*/ 278476 w 391004"/>
                    <a:gd name="connsiteY39" fmla="*/ 317163 h 582070"/>
                    <a:gd name="connsiteX40" fmla="*/ 265973 w 391004"/>
                    <a:gd name="connsiteY40" fmla="*/ 298547 h 582070"/>
                    <a:gd name="connsiteX41" fmla="*/ 240967 w 391004"/>
                    <a:gd name="connsiteY41" fmla="*/ 261176 h 582070"/>
                    <a:gd name="connsiteX42" fmla="*/ 234715 w 391004"/>
                    <a:gd name="connsiteY42" fmla="*/ 217554 h 582070"/>
                    <a:gd name="connsiteX43" fmla="*/ 253470 w 391004"/>
                    <a:gd name="connsiteY43" fmla="*/ 205051 h 582070"/>
                    <a:gd name="connsiteX44" fmla="*/ 253470 w 391004"/>
                    <a:gd name="connsiteY44" fmla="*/ 186435 h 582070"/>
                    <a:gd name="connsiteX45" fmla="*/ 272225 w 391004"/>
                    <a:gd name="connsiteY45" fmla="*/ 155317 h 582070"/>
                    <a:gd name="connsiteX46" fmla="*/ 303482 w 391004"/>
                    <a:gd name="connsiteY46" fmla="*/ 149065 h 582070"/>
                    <a:gd name="connsiteX47" fmla="*/ 322237 w 391004"/>
                    <a:gd name="connsiteY47" fmla="*/ 136562 h 582070"/>
                    <a:gd name="connsiteX48" fmla="*/ 347243 w 391004"/>
                    <a:gd name="connsiteY48" fmla="*/ 130588 h 58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1004" h="582070">
                      <a:moveTo>
                        <a:pt x="347243" y="130588"/>
                      </a:moveTo>
                      <a:cubicBezTo>
                        <a:pt x="322237" y="118085"/>
                        <a:pt x="359746" y="93218"/>
                        <a:pt x="340992" y="87105"/>
                      </a:cubicBezTo>
                      <a:cubicBezTo>
                        <a:pt x="328489" y="74602"/>
                        <a:pt x="315986" y="80853"/>
                        <a:pt x="303482" y="80853"/>
                      </a:cubicBezTo>
                      <a:cubicBezTo>
                        <a:pt x="290979" y="74602"/>
                        <a:pt x="290979" y="87105"/>
                        <a:pt x="278476" y="87105"/>
                      </a:cubicBezTo>
                      <a:cubicBezTo>
                        <a:pt x="265973" y="80853"/>
                        <a:pt x="253470" y="80853"/>
                        <a:pt x="247218" y="68489"/>
                      </a:cubicBezTo>
                      <a:cubicBezTo>
                        <a:pt x="240967" y="62238"/>
                        <a:pt x="234715" y="43622"/>
                        <a:pt x="228464" y="37370"/>
                      </a:cubicBezTo>
                      <a:cubicBezTo>
                        <a:pt x="215961" y="31119"/>
                        <a:pt x="209709" y="18755"/>
                        <a:pt x="197206" y="12503"/>
                      </a:cubicBezTo>
                      <a:cubicBezTo>
                        <a:pt x="190954" y="0"/>
                        <a:pt x="178451" y="6252"/>
                        <a:pt x="165948" y="0"/>
                      </a:cubicBezTo>
                      <a:cubicBezTo>
                        <a:pt x="178451" y="12503"/>
                        <a:pt x="184703" y="18616"/>
                        <a:pt x="184703" y="31119"/>
                      </a:cubicBezTo>
                      <a:cubicBezTo>
                        <a:pt x="178451" y="43622"/>
                        <a:pt x="178451" y="55986"/>
                        <a:pt x="165948" y="62238"/>
                      </a:cubicBezTo>
                      <a:cubicBezTo>
                        <a:pt x="153445" y="74741"/>
                        <a:pt x="147194" y="87105"/>
                        <a:pt x="134690" y="87105"/>
                      </a:cubicBezTo>
                      <a:cubicBezTo>
                        <a:pt x="122187" y="93357"/>
                        <a:pt x="109684" y="93357"/>
                        <a:pt x="97181" y="105721"/>
                      </a:cubicBezTo>
                      <a:cubicBezTo>
                        <a:pt x="90929" y="111973"/>
                        <a:pt x="65923" y="167958"/>
                        <a:pt x="59672" y="161707"/>
                      </a:cubicBezTo>
                      <a:cubicBezTo>
                        <a:pt x="47169" y="143091"/>
                        <a:pt x="40917" y="143091"/>
                        <a:pt x="28414" y="136840"/>
                      </a:cubicBezTo>
                      <a:cubicBezTo>
                        <a:pt x="22162" y="136840"/>
                        <a:pt x="22162" y="136840"/>
                        <a:pt x="28414" y="130588"/>
                      </a:cubicBezTo>
                      <a:cubicBezTo>
                        <a:pt x="34665" y="124337"/>
                        <a:pt x="34665" y="118085"/>
                        <a:pt x="28414" y="111973"/>
                      </a:cubicBezTo>
                      <a:cubicBezTo>
                        <a:pt x="15911" y="118224"/>
                        <a:pt x="-9095" y="143091"/>
                        <a:pt x="3408" y="161707"/>
                      </a:cubicBezTo>
                      <a:cubicBezTo>
                        <a:pt x="3408" y="161707"/>
                        <a:pt x="15911" y="180323"/>
                        <a:pt x="9659" y="186574"/>
                      </a:cubicBezTo>
                      <a:cubicBezTo>
                        <a:pt x="3408" y="186574"/>
                        <a:pt x="-2844" y="192826"/>
                        <a:pt x="9659" y="199078"/>
                      </a:cubicBezTo>
                      <a:cubicBezTo>
                        <a:pt x="40917" y="217693"/>
                        <a:pt x="65923" y="255064"/>
                        <a:pt x="78426" y="292434"/>
                      </a:cubicBezTo>
                      <a:cubicBezTo>
                        <a:pt x="97181" y="323553"/>
                        <a:pt x="109684" y="360923"/>
                        <a:pt x="134690" y="392042"/>
                      </a:cubicBezTo>
                      <a:cubicBezTo>
                        <a:pt x="140942" y="404545"/>
                        <a:pt x="153445" y="416910"/>
                        <a:pt x="153445" y="435525"/>
                      </a:cubicBezTo>
                      <a:cubicBezTo>
                        <a:pt x="153445" y="441777"/>
                        <a:pt x="147194" y="435525"/>
                        <a:pt x="147194" y="441777"/>
                      </a:cubicBezTo>
                      <a:cubicBezTo>
                        <a:pt x="153445" y="448028"/>
                        <a:pt x="159696" y="454280"/>
                        <a:pt x="165948" y="460393"/>
                      </a:cubicBezTo>
                      <a:cubicBezTo>
                        <a:pt x="172200" y="472896"/>
                        <a:pt x="178451" y="485260"/>
                        <a:pt x="190954" y="491512"/>
                      </a:cubicBezTo>
                      <a:cubicBezTo>
                        <a:pt x="209709" y="497763"/>
                        <a:pt x="228464" y="510127"/>
                        <a:pt x="247218" y="516379"/>
                      </a:cubicBezTo>
                      <a:cubicBezTo>
                        <a:pt x="259721" y="522630"/>
                        <a:pt x="272225" y="534995"/>
                        <a:pt x="290979" y="541246"/>
                      </a:cubicBezTo>
                      <a:cubicBezTo>
                        <a:pt x="303482" y="553749"/>
                        <a:pt x="315986" y="566113"/>
                        <a:pt x="328489" y="578617"/>
                      </a:cubicBezTo>
                      <a:cubicBezTo>
                        <a:pt x="353495" y="591120"/>
                        <a:pt x="347243" y="566113"/>
                        <a:pt x="359746" y="560001"/>
                      </a:cubicBezTo>
                      <a:cubicBezTo>
                        <a:pt x="365998" y="553749"/>
                        <a:pt x="365998" y="541385"/>
                        <a:pt x="372250" y="535133"/>
                      </a:cubicBezTo>
                      <a:cubicBezTo>
                        <a:pt x="372250" y="528882"/>
                        <a:pt x="391004" y="516518"/>
                        <a:pt x="384753" y="510266"/>
                      </a:cubicBezTo>
                      <a:cubicBezTo>
                        <a:pt x="372250" y="504015"/>
                        <a:pt x="365998" y="504015"/>
                        <a:pt x="372250" y="485399"/>
                      </a:cubicBezTo>
                      <a:cubicBezTo>
                        <a:pt x="372250" y="479147"/>
                        <a:pt x="372250" y="472896"/>
                        <a:pt x="372250" y="472896"/>
                      </a:cubicBezTo>
                      <a:cubicBezTo>
                        <a:pt x="378501" y="466644"/>
                        <a:pt x="384753" y="460393"/>
                        <a:pt x="384753" y="460393"/>
                      </a:cubicBezTo>
                      <a:cubicBezTo>
                        <a:pt x="391004" y="441777"/>
                        <a:pt x="378501" y="410658"/>
                        <a:pt x="391004" y="398155"/>
                      </a:cubicBezTo>
                      <a:cubicBezTo>
                        <a:pt x="391004" y="391903"/>
                        <a:pt x="384753" y="379539"/>
                        <a:pt x="378501" y="367036"/>
                      </a:cubicBezTo>
                      <a:cubicBezTo>
                        <a:pt x="372250" y="348420"/>
                        <a:pt x="365998" y="348420"/>
                        <a:pt x="347243" y="354533"/>
                      </a:cubicBezTo>
                      <a:cubicBezTo>
                        <a:pt x="322237" y="354533"/>
                        <a:pt x="334740" y="311050"/>
                        <a:pt x="334740" y="298547"/>
                      </a:cubicBezTo>
                      <a:cubicBezTo>
                        <a:pt x="322237" y="304798"/>
                        <a:pt x="315986" y="317163"/>
                        <a:pt x="303482" y="317163"/>
                      </a:cubicBezTo>
                      <a:cubicBezTo>
                        <a:pt x="297231" y="317163"/>
                        <a:pt x="284728" y="317163"/>
                        <a:pt x="278476" y="317163"/>
                      </a:cubicBezTo>
                      <a:cubicBezTo>
                        <a:pt x="272225" y="310911"/>
                        <a:pt x="272225" y="298547"/>
                        <a:pt x="265973" y="298547"/>
                      </a:cubicBezTo>
                      <a:cubicBezTo>
                        <a:pt x="247218" y="298547"/>
                        <a:pt x="247218" y="273679"/>
                        <a:pt x="240967" y="261176"/>
                      </a:cubicBezTo>
                      <a:cubicBezTo>
                        <a:pt x="228464" y="248673"/>
                        <a:pt x="222212" y="230058"/>
                        <a:pt x="234715" y="217554"/>
                      </a:cubicBezTo>
                      <a:cubicBezTo>
                        <a:pt x="240967" y="211303"/>
                        <a:pt x="253470" y="211303"/>
                        <a:pt x="253470" y="205051"/>
                      </a:cubicBezTo>
                      <a:cubicBezTo>
                        <a:pt x="253470" y="198800"/>
                        <a:pt x="253470" y="192548"/>
                        <a:pt x="253470" y="186435"/>
                      </a:cubicBezTo>
                      <a:cubicBezTo>
                        <a:pt x="253470" y="167820"/>
                        <a:pt x="253470" y="161568"/>
                        <a:pt x="272225" y="155317"/>
                      </a:cubicBezTo>
                      <a:cubicBezTo>
                        <a:pt x="284728" y="149065"/>
                        <a:pt x="290979" y="149065"/>
                        <a:pt x="303482" y="149065"/>
                      </a:cubicBezTo>
                      <a:cubicBezTo>
                        <a:pt x="309734" y="149065"/>
                        <a:pt x="315986" y="142813"/>
                        <a:pt x="322237" y="136562"/>
                      </a:cubicBezTo>
                      <a:cubicBezTo>
                        <a:pt x="328489" y="136840"/>
                        <a:pt x="359746" y="142952"/>
                        <a:pt x="347243" y="13058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2" name="Freihandform: Form 271">
                  <a:extLst>
                    <a:ext uri="{FF2B5EF4-FFF2-40B4-BE49-F238E27FC236}">
                      <a16:creationId xmlns:a16="http://schemas.microsoft.com/office/drawing/2014/main" id="{8A3A5F30-4DC9-4DE2-AF45-A94291B06DC6}"/>
                    </a:ext>
                  </a:extLst>
                </p:cNvPr>
                <p:cNvSpPr/>
                <p:nvPr/>
              </p:nvSpPr>
              <p:spPr>
                <a:xfrm>
                  <a:off x="3726570" y="5089443"/>
                  <a:ext cx="276457" cy="1317125"/>
                </a:xfrm>
                <a:custGeom>
                  <a:avLst/>
                  <a:gdLst>
                    <a:gd name="connsiteX0" fmla="*/ 251035 w 276457"/>
                    <a:gd name="connsiteY0" fmla="*/ 175044 h 1317125"/>
                    <a:gd name="connsiteX1" fmla="*/ 238532 w 276457"/>
                    <a:gd name="connsiteY1" fmla="*/ 125031 h 1317125"/>
                    <a:gd name="connsiteX2" fmla="*/ 225890 w 276457"/>
                    <a:gd name="connsiteY2" fmla="*/ 87522 h 1317125"/>
                    <a:gd name="connsiteX3" fmla="*/ 225890 w 276457"/>
                    <a:gd name="connsiteY3" fmla="*/ 75019 h 1317125"/>
                    <a:gd name="connsiteX4" fmla="*/ 219638 w 276457"/>
                    <a:gd name="connsiteY4" fmla="*/ 56264 h 1317125"/>
                    <a:gd name="connsiteX5" fmla="*/ 213387 w 276457"/>
                    <a:gd name="connsiteY5" fmla="*/ 31258 h 1317125"/>
                    <a:gd name="connsiteX6" fmla="*/ 200884 w 276457"/>
                    <a:gd name="connsiteY6" fmla="*/ 0 h 1317125"/>
                    <a:gd name="connsiteX7" fmla="*/ 188381 w 276457"/>
                    <a:gd name="connsiteY7" fmla="*/ 18755 h 1317125"/>
                    <a:gd name="connsiteX8" fmla="*/ 175877 w 276457"/>
                    <a:gd name="connsiteY8" fmla="*/ 37509 h 1317125"/>
                    <a:gd name="connsiteX9" fmla="*/ 175877 w 276457"/>
                    <a:gd name="connsiteY9" fmla="*/ 93773 h 1317125"/>
                    <a:gd name="connsiteX10" fmla="*/ 175877 w 276457"/>
                    <a:gd name="connsiteY10" fmla="*/ 175044 h 1317125"/>
                    <a:gd name="connsiteX11" fmla="*/ 163235 w 276457"/>
                    <a:gd name="connsiteY11" fmla="*/ 193798 h 1317125"/>
                    <a:gd name="connsiteX12" fmla="*/ 169487 w 276457"/>
                    <a:gd name="connsiteY12" fmla="*/ 231308 h 1317125"/>
                    <a:gd name="connsiteX13" fmla="*/ 144341 w 276457"/>
                    <a:gd name="connsiteY13" fmla="*/ 350087 h 1317125"/>
                    <a:gd name="connsiteX14" fmla="*/ 144341 w 276457"/>
                    <a:gd name="connsiteY14" fmla="*/ 400100 h 1317125"/>
                    <a:gd name="connsiteX15" fmla="*/ 131838 w 276457"/>
                    <a:gd name="connsiteY15" fmla="*/ 425106 h 1317125"/>
                    <a:gd name="connsiteX16" fmla="*/ 131838 w 276457"/>
                    <a:gd name="connsiteY16" fmla="*/ 443861 h 1317125"/>
                    <a:gd name="connsiteX17" fmla="*/ 131838 w 276457"/>
                    <a:gd name="connsiteY17" fmla="*/ 500125 h 1317125"/>
                    <a:gd name="connsiteX18" fmla="*/ 131838 w 276457"/>
                    <a:gd name="connsiteY18" fmla="*/ 525131 h 1317125"/>
                    <a:gd name="connsiteX19" fmla="*/ 125587 w 276457"/>
                    <a:gd name="connsiteY19" fmla="*/ 550137 h 1317125"/>
                    <a:gd name="connsiteX20" fmla="*/ 87939 w 276457"/>
                    <a:gd name="connsiteY20" fmla="*/ 643911 h 1317125"/>
                    <a:gd name="connsiteX21" fmla="*/ 69045 w 276457"/>
                    <a:gd name="connsiteY21" fmla="*/ 687672 h 1317125"/>
                    <a:gd name="connsiteX22" fmla="*/ 75297 w 276457"/>
                    <a:gd name="connsiteY22" fmla="*/ 762690 h 1317125"/>
                    <a:gd name="connsiteX23" fmla="*/ 62793 w 276457"/>
                    <a:gd name="connsiteY23" fmla="*/ 825206 h 1317125"/>
                    <a:gd name="connsiteX24" fmla="*/ 81687 w 276457"/>
                    <a:gd name="connsiteY24" fmla="*/ 831457 h 1317125"/>
                    <a:gd name="connsiteX25" fmla="*/ 106832 w 276457"/>
                    <a:gd name="connsiteY25" fmla="*/ 831457 h 1317125"/>
                    <a:gd name="connsiteX26" fmla="*/ 94190 w 276457"/>
                    <a:gd name="connsiteY26" fmla="*/ 837709 h 1317125"/>
                    <a:gd name="connsiteX27" fmla="*/ 100442 w 276457"/>
                    <a:gd name="connsiteY27" fmla="*/ 850212 h 1317125"/>
                    <a:gd name="connsiteX28" fmla="*/ 94190 w 276457"/>
                    <a:gd name="connsiteY28" fmla="*/ 856464 h 1317125"/>
                    <a:gd name="connsiteX29" fmla="*/ 87939 w 276457"/>
                    <a:gd name="connsiteY29" fmla="*/ 906476 h 1317125"/>
                    <a:gd name="connsiteX30" fmla="*/ 81687 w 276457"/>
                    <a:gd name="connsiteY30" fmla="*/ 925231 h 1317125"/>
                    <a:gd name="connsiteX31" fmla="*/ 94190 w 276457"/>
                    <a:gd name="connsiteY31" fmla="*/ 937734 h 1317125"/>
                    <a:gd name="connsiteX32" fmla="*/ 87939 w 276457"/>
                    <a:gd name="connsiteY32" fmla="*/ 943986 h 1317125"/>
                    <a:gd name="connsiteX33" fmla="*/ 81687 w 276457"/>
                    <a:gd name="connsiteY33" fmla="*/ 950237 h 1317125"/>
                    <a:gd name="connsiteX34" fmla="*/ 87939 w 276457"/>
                    <a:gd name="connsiteY34" fmla="*/ 975243 h 1317125"/>
                    <a:gd name="connsiteX35" fmla="*/ 69045 w 276457"/>
                    <a:gd name="connsiteY35" fmla="*/ 987746 h 1317125"/>
                    <a:gd name="connsiteX36" fmla="*/ 62793 w 276457"/>
                    <a:gd name="connsiteY36" fmla="*/ 1012753 h 1317125"/>
                    <a:gd name="connsiteX37" fmla="*/ 50290 w 276457"/>
                    <a:gd name="connsiteY37" fmla="*/ 993998 h 1317125"/>
                    <a:gd name="connsiteX38" fmla="*/ 31397 w 276457"/>
                    <a:gd name="connsiteY38" fmla="*/ 987746 h 1317125"/>
                    <a:gd name="connsiteX39" fmla="*/ 25145 w 276457"/>
                    <a:gd name="connsiteY39" fmla="*/ 993998 h 1317125"/>
                    <a:gd name="connsiteX40" fmla="*/ 25145 w 276457"/>
                    <a:gd name="connsiteY40" fmla="*/ 1006501 h 1317125"/>
                    <a:gd name="connsiteX41" fmla="*/ 0 w 276457"/>
                    <a:gd name="connsiteY41" fmla="*/ 1025256 h 1317125"/>
                    <a:gd name="connsiteX42" fmla="*/ 12503 w 276457"/>
                    <a:gd name="connsiteY42" fmla="*/ 1031507 h 1317125"/>
                    <a:gd name="connsiteX43" fmla="*/ 12503 w 276457"/>
                    <a:gd name="connsiteY43" fmla="*/ 1019004 h 1317125"/>
                    <a:gd name="connsiteX44" fmla="*/ 43900 w 276457"/>
                    <a:gd name="connsiteY44" fmla="*/ 1025256 h 1317125"/>
                    <a:gd name="connsiteX45" fmla="*/ 43900 w 276457"/>
                    <a:gd name="connsiteY45" fmla="*/ 1069017 h 1317125"/>
                    <a:gd name="connsiteX46" fmla="*/ 69045 w 276457"/>
                    <a:gd name="connsiteY46" fmla="*/ 1069017 h 1317125"/>
                    <a:gd name="connsiteX47" fmla="*/ 69045 w 276457"/>
                    <a:gd name="connsiteY47" fmla="*/ 1081520 h 1317125"/>
                    <a:gd name="connsiteX48" fmla="*/ 50152 w 276457"/>
                    <a:gd name="connsiteY48" fmla="*/ 1075268 h 1317125"/>
                    <a:gd name="connsiteX49" fmla="*/ 43900 w 276457"/>
                    <a:gd name="connsiteY49" fmla="*/ 1087771 h 1317125"/>
                    <a:gd name="connsiteX50" fmla="*/ 50152 w 276457"/>
                    <a:gd name="connsiteY50" fmla="*/ 1100275 h 1317125"/>
                    <a:gd name="connsiteX51" fmla="*/ 43900 w 276457"/>
                    <a:gd name="connsiteY51" fmla="*/ 1119029 h 1317125"/>
                    <a:gd name="connsiteX52" fmla="*/ 56403 w 276457"/>
                    <a:gd name="connsiteY52" fmla="*/ 1112778 h 1317125"/>
                    <a:gd name="connsiteX53" fmla="*/ 56403 w 276457"/>
                    <a:gd name="connsiteY53" fmla="*/ 1137784 h 1317125"/>
                    <a:gd name="connsiteX54" fmla="*/ 50152 w 276457"/>
                    <a:gd name="connsiteY54" fmla="*/ 1144035 h 1317125"/>
                    <a:gd name="connsiteX55" fmla="*/ 56403 w 276457"/>
                    <a:gd name="connsiteY55" fmla="*/ 1156539 h 1317125"/>
                    <a:gd name="connsiteX56" fmla="*/ 43900 w 276457"/>
                    <a:gd name="connsiteY56" fmla="*/ 1162790 h 1317125"/>
                    <a:gd name="connsiteX57" fmla="*/ 43900 w 276457"/>
                    <a:gd name="connsiteY57" fmla="*/ 1169042 h 1317125"/>
                    <a:gd name="connsiteX58" fmla="*/ 62793 w 276457"/>
                    <a:gd name="connsiteY58" fmla="*/ 1175293 h 1317125"/>
                    <a:gd name="connsiteX59" fmla="*/ 62793 w 276457"/>
                    <a:gd name="connsiteY59" fmla="*/ 1187796 h 1317125"/>
                    <a:gd name="connsiteX60" fmla="*/ 62793 w 276457"/>
                    <a:gd name="connsiteY60" fmla="*/ 1187796 h 1317125"/>
                    <a:gd name="connsiteX61" fmla="*/ 50290 w 276457"/>
                    <a:gd name="connsiteY61" fmla="*/ 1206551 h 1317125"/>
                    <a:gd name="connsiteX62" fmla="*/ 69184 w 276457"/>
                    <a:gd name="connsiteY62" fmla="*/ 1200299 h 1317125"/>
                    <a:gd name="connsiteX63" fmla="*/ 69184 w 276457"/>
                    <a:gd name="connsiteY63" fmla="*/ 1212803 h 1317125"/>
                    <a:gd name="connsiteX64" fmla="*/ 50290 w 276457"/>
                    <a:gd name="connsiteY64" fmla="*/ 1225306 h 1317125"/>
                    <a:gd name="connsiteX65" fmla="*/ 69184 w 276457"/>
                    <a:gd name="connsiteY65" fmla="*/ 1237809 h 1317125"/>
                    <a:gd name="connsiteX66" fmla="*/ 81687 w 276457"/>
                    <a:gd name="connsiteY66" fmla="*/ 1219054 h 1317125"/>
                    <a:gd name="connsiteX67" fmla="*/ 94190 w 276457"/>
                    <a:gd name="connsiteY67" fmla="*/ 1231557 h 1317125"/>
                    <a:gd name="connsiteX68" fmla="*/ 94190 w 276457"/>
                    <a:gd name="connsiteY68" fmla="*/ 1219054 h 1317125"/>
                    <a:gd name="connsiteX69" fmla="*/ 94190 w 276457"/>
                    <a:gd name="connsiteY69" fmla="*/ 1231557 h 1317125"/>
                    <a:gd name="connsiteX70" fmla="*/ 100442 w 276457"/>
                    <a:gd name="connsiteY70" fmla="*/ 1225306 h 1317125"/>
                    <a:gd name="connsiteX71" fmla="*/ 100442 w 276457"/>
                    <a:gd name="connsiteY71" fmla="*/ 1237809 h 1317125"/>
                    <a:gd name="connsiteX72" fmla="*/ 100442 w 276457"/>
                    <a:gd name="connsiteY72" fmla="*/ 1250312 h 1317125"/>
                    <a:gd name="connsiteX73" fmla="*/ 112945 w 276457"/>
                    <a:gd name="connsiteY73" fmla="*/ 1262815 h 1317125"/>
                    <a:gd name="connsiteX74" fmla="*/ 131838 w 276457"/>
                    <a:gd name="connsiteY74" fmla="*/ 1287821 h 1317125"/>
                    <a:gd name="connsiteX75" fmla="*/ 100442 w 276457"/>
                    <a:gd name="connsiteY75" fmla="*/ 1294073 h 1317125"/>
                    <a:gd name="connsiteX76" fmla="*/ 119335 w 276457"/>
                    <a:gd name="connsiteY76" fmla="*/ 1306576 h 1317125"/>
                    <a:gd name="connsiteX77" fmla="*/ 113084 w 276457"/>
                    <a:gd name="connsiteY77" fmla="*/ 1306576 h 1317125"/>
                    <a:gd name="connsiteX78" fmla="*/ 150732 w 276457"/>
                    <a:gd name="connsiteY78" fmla="*/ 1312828 h 1317125"/>
                    <a:gd name="connsiteX79" fmla="*/ 156984 w 276457"/>
                    <a:gd name="connsiteY79" fmla="*/ 1275318 h 1317125"/>
                    <a:gd name="connsiteX80" fmla="*/ 188381 w 276457"/>
                    <a:gd name="connsiteY80" fmla="*/ 1262815 h 1317125"/>
                    <a:gd name="connsiteX81" fmla="*/ 163235 w 276457"/>
                    <a:gd name="connsiteY81" fmla="*/ 1244060 h 1317125"/>
                    <a:gd name="connsiteX82" fmla="*/ 119196 w 276457"/>
                    <a:gd name="connsiteY82" fmla="*/ 1237809 h 1317125"/>
                    <a:gd name="connsiteX83" fmla="*/ 106693 w 276457"/>
                    <a:gd name="connsiteY83" fmla="*/ 1200299 h 1317125"/>
                    <a:gd name="connsiteX84" fmla="*/ 81548 w 276457"/>
                    <a:gd name="connsiteY84" fmla="*/ 1181545 h 1317125"/>
                    <a:gd name="connsiteX85" fmla="*/ 75297 w 276457"/>
                    <a:gd name="connsiteY85" fmla="*/ 1156539 h 1317125"/>
                    <a:gd name="connsiteX86" fmla="*/ 81548 w 276457"/>
                    <a:gd name="connsiteY86" fmla="*/ 1119029 h 1317125"/>
                    <a:gd name="connsiteX87" fmla="*/ 94051 w 276457"/>
                    <a:gd name="connsiteY87" fmla="*/ 1106526 h 1317125"/>
                    <a:gd name="connsiteX88" fmla="*/ 106693 w 276457"/>
                    <a:gd name="connsiteY88" fmla="*/ 1094023 h 1317125"/>
                    <a:gd name="connsiteX89" fmla="*/ 106693 w 276457"/>
                    <a:gd name="connsiteY89" fmla="*/ 1056514 h 1317125"/>
                    <a:gd name="connsiteX90" fmla="*/ 125587 w 276457"/>
                    <a:gd name="connsiteY90" fmla="*/ 1031507 h 1317125"/>
                    <a:gd name="connsiteX91" fmla="*/ 131838 w 276457"/>
                    <a:gd name="connsiteY91" fmla="*/ 987746 h 1317125"/>
                    <a:gd name="connsiteX92" fmla="*/ 131838 w 276457"/>
                    <a:gd name="connsiteY92" fmla="*/ 962740 h 1317125"/>
                    <a:gd name="connsiteX93" fmla="*/ 131838 w 276457"/>
                    <a:gd name="connsiteY93" fmla="*/ 950237 h 1317125"/>
                    <a:gd name="connsiteX94" fmla="*/ 119335 w 276457"/>
                    <a:gd name="connsiteY94" fmla="*/ 931482 h 1317125"/>
                    <a:gd name="connsiteX95" fmla="*/ 119335 w 276457"/>
                    <a:gd name="connsiteY95" fmla="*/ 875218 h 1317125"/>
                    <a:gd name="connsiteX96" fmla="*/ 119335 w 276457"/>
                    <a:gd name="connsiteY96" fmla="*/ 793948 h 1317125"/>
                    <a:gd name="connsiteX97" fmla="*/ 144481 w 276457"/>
                    <a:gd name="connsiteY97" fmla="*/ 731432 h 1317125"/>
                    <a:gd name="connsiteX98" fmla="*/ 144481 w 276457"/>
                    <a:gd name="connsiteY98" fmla="*/ 662665 h 1317125"/>
                    <a:gd name="connsiteX99" fmla="*/ 163374 w 276457"/>
                    <a:gd name="connsiteY99" fmla="*/ 637659 h 1317125"/>
                    <a:gd name="connsiteX100" fmla="*/ 169626 w 276457"/>
                    <a:gd name="connsiteY100" fmla="*/ 600150 h 1317125"/>
                    <a:gd name="connsiteX101" fmla="*/ 182129 w 276457"/>
                    <a:gd name="connsiteY101" fmla="*/ 531383 h 1317125"/>
                    <a:gd name="connsiteX102" fmla="*/ 169626 w 276457"/>
                    <a:gd name="connsiteY102" fmla="*/ 475119 h 1317125"/>
                    <a:gd name="connsiteX103" fmla="*/ 169626 w 276457"/>
                    <a:gd name="connsiteY103" fmla="*/ 456364 h 1317125"/>
                    <a:gd name="connsiteX104" fmla="*/ 182129 w 276457"/>
                    <a:gd name="connsiteY104" fmla="*/ 418854 h 1317125"/>
                    <a:gd name="connsiteX105" fmla="*/ 188381 w 276457"/>
                    <a:gd name="connsiteY105" fmla="*/ 387597 h 1317125"/>
                    <a:gd name="connsiteX106" fmla="*/ 194632 w 276457"/>
                    <a:gd name="connsiteY106" fmla="*/ 362590 h 1317125"/>
                    <a:gd name="connsiteX107" fmla="*/ 213525 w 276457"/>
                    <a:gd name="connsiteY107" fmla="*/ 337584 h 1317125"/>
                    <a:gd name="connsiteX108" fmla="*/ 232419 w 276457"/>
                    <a:gd name="connsiteY108" fmla="*/ 306326 h 1317125"/>
                    <a:gd name="connsiteX109" fmla="*/ 226168 w 276457"/>
                    <a:gd name="connsiteY109" fmla="*/ 275069 h 1317125"/>
                    <a:gd name="connsiteX110" fmla="*/ 226168 w 276457"/>
                    <a:gd name="connsiteY110" fmla="*/ 243811 h 1317125"/>
                    <a:gd name="connsiteX111" fmla="*/ 251313 w 276457"/>
                    <a:gd name="connsiteY111" fmla="*/ 218805 h 1317125"/>
                    <a:gd name="connsiteX112" fmla="*/ 276458 w 276457"/>
                    <a:gd name="connsiteY112" fmla="*/ 175044 h 1317125"/>
                    <a:gd name="connsiteX113" fmla="*/ 251035 w 276457"/>
                    <a:gd name="connsiteY113" fmla="*/ 175044 h 1317125"/>
                    <a:gd name="connsiteX114" fmla="*/ 251035 w 276457"/>
                    <a:gd name="connsiteY114" fmla="*/ 175044 h 131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76457" h="1317125">
                      <a:moveTo>
                        <a:pt x="251035" y="175044"/>
                      </a:moveTo>
                      <a:cubicBezTo>
                        <a:pt x="238532" y="168792"/>
                        <a:pt x="251035" y="137534"/>
                        <a:pt x="238532" y="125031"/>
                      </a:cubicBezTo>
                      <a:cubicBezTo>
                        <a:pt x="232280" y="118780"/>
                        <a:pt x="219638" y="100025"/>
                        <a:pt x="225890" y="87522"/>
                      </a:cubicBezTo>
                      <a:cubicBezTo>
                        <a:pt x="238532" y="81270"/>
                        <a:pt x="219638" y="81270"/>
                        <a:pt x="225890" y="75019"/>
                      </a:cubicBezTo>
                      <a:cubicBezTo>
                        <a:pt x="232141" y="68767"/>
                        <a:pt x="225890" y="62516"/>
                        <a:pt x="219638" y="56264"/>
                      </a:cubicBezTo>
                      <a:cubicBezTo>
                        <a:pt x="213387" y="50012"/>
                        <a:pt x="213387" y="43761"/>
                        <a:pt x="213387" y="31258"/>
                      </a:cubicBezTo>
                      <a:cubicBezTo>
                        <a:pt x="213387" y="18755"/>
                        <a:pt x="207135" y="12503"/>
                        <a:pt x="200884" y="0"/>
                      </a:cubicBezTo>
                      <a:cubicBezTo>
                        <a:pt x="194632" y="6252"/>
                        <a:pt x="188381" y="12503"/>
                        <a:pt x="188381" y="18755"/>
                      </a:cubicBezTo>
                      <a:cubicBezTo>
                        <a:pt x="182129" y="31258"/>
                        <a:pt x="169487" y="25006"/>
                        <a:pt x="175877" y="37509"/>
                      </a:cubicBezTo>
                      <a:cubicBezTo>
                        <a:pt x="175877" y="56264"/>
                        <a:pt x="175877" y="75019"/>
                        <a:pt x="175877" y="93773"/>
                      </a:cubicBezTo>
                      <a:cubicBezTo>
                        <a:pt x="175877" y="118780"/>
                        <a:pt x="182129" y="150037"/>
                        <a:pt x="175877" y="175044"/>
                      </a:cubicBezTo>
                      <a:cubicBezTo>
                        <a:pt x="169626" y="181295"/>
                        <a:pt x="163235" y="187547"/>
                        <a:pt x="163235" y="193798"/>
                      </a:cubicBezTo>
                      <a:cubicBezTo>
                        <a:pt x="163235" y="206301"/>
                        <a:pt x="169487" y="218805"/>
                        <a:pt x="169487" y="231308"/>
                      </a:cubicBezTo>
                      <a:cubicBezTo>
                        <a:pt x="169487" y="268817"/>
                        <a:pt x="156845" y="312578"/>
                        <a:pt x="144341" y="350087"/>
                      </a:cubicBezTo>
                      <a:cubicBezTo>
                        <a:pt x="138090" y="368842"/>
                        <a:pt x="138090" y="381345"/>
                        <a:pt x="144341" y="400100"/>
                      </a:cubicBezTo>
                      <a:cubicBezTo>
                        <a:pt x="144341" y="412603"/>
                        <a:pt x="144341" y="418854"/>
                        <a:pt x="131838" y="425106"/>
                      </a:cubicBezTo>
                      <a:cubicBezTo>
                        <a:pt x="125587" y="431358"/>
                        <a:pt x="131838" y="437609"/>
                        <a:pt x="131838" y="443861"/>
                      </a:cubicBezTo>
                      <a:cubicBezTo>
                        <a:pt x="131838" y="462615"/>
                        <a:pt x="131838" y="481370"/>
                        <a:pt x="131838" y="500125"/>
                      </a:cubicBezTo>
                      <a:cubicBezTo>
                        <a:pt x="131838" y="506376"/>
                        <a:pt x="131838" y="518879"/>
                        <a:pt x="131838" y="525131"/>
                      </a:cubicBezTo>
                      <a:cubicBezTo>
                        <a:pt x="125587" y="531383"/>
                        <a:pt x="131838" y="543886"/>
                        <a:pt x="125587" y="550137"/>
                      </a:cubicBezTo>
                      <a:cubicBezTo>
                        <a:pt x="113084" y="581395"/>
                        <a:pt x="100442" y="612653"/>
                        <a:pt x="87939" y="643911"/>
                      </a:cubicBezTo>
                      <a:cubicBezTo>
                        <a:pt x="81687" y="662665"/>
                        <a:pt x="62793" y="668917"/>
                        <a:pt x="69045" y="687672"/>
                      </a:cubicBezTo>
                      <a:cubicBezTo>
                        <a:pt x="75297" y="706426"/>
                        <a:pt x="87939" y="737684"/>
                        <a:pt x="75297" y="762690"/>
                      </a:cubicBezTo>
                      <a:cubicBezTo>
                        <a:pt x="62793" y="775193"/>
                        <a:pt x="50152" y="806451"/>
                        <a:pt x="62793" y="825206"/>
                      </a:cubicBezTo>
                      <a:cubicBezTo>
                        <a:pt x="69045" y="837709"/>
                        <a:pt x="75297" y="837709"/>
                        <a:pt x="81687" y="831457"/>
                      </a:cubicBezTo>
                      <a:cubicBezTo>
                        <a:pt x="88077" y="825206"/>
                        <a:pt x="113084" y="825206"/>
                        <a:pt x="106832" y="831457"/>
                      </a:cubicBezTo>
                      <a:cubicBezTo>
                        <a:pt x="106832" y="831457"/>
                        <a:pt x="100581" y="831457"/>
                        <a:pt x="94190" y="837709"/>
                      </a:cubicBezTo>
                      <a:cubicBezTo>
                        <a:pt x="94190" y="843961"/>
                        <a:pt x="94190" y="843961"/>
                        <a:pt x="100442" y="850212"/>
                      </a:cubicBezTo>
                      <a:lnTo>
                        <a:pt x="94190" y="856464"/>
                      </a:lnTo>
                      <a:cubicBezTo>
                        <a:pt x="87939" y="868967"/>
                        <a:pt x="81687" y="893973"/>
                        <a:pt x="87939" y="906476"/>
                      </a:cubicBezTo>
                      <a:cubicBezTo>
                        <a:pt x="87939" y="912728"/>
                        <a:pt x="87939" y="912728"/>
                        <a:pt x="81687" y="925231"/>
                      </a:cubicBezTo>
                      <a:cubicBezTo>
                        <a:pt x="75436" y="931482"/>
                        <a:pt x="87939" y="931482"/>
                        <a:pt x="94190" y="937734"/>
                      </a:cubicBezTo>
                      <a:cubicBezTo>
                        <a:pt x="94190" y="937734"/>
                        <a:pt x="94190" y="937734"/>
                        <a:pt x="87939" y="943986"/>
                      </a:cubicBezTo>
                      <a:cubicBezTo>
                        <a:pt x="81687" y="943986"/>
                        <a:pt x="69045" y="950237"/>
                        <a:pt x="81687" y="950237"/>
                      </a:cubicBezTo>
                      <a:cubicBezTo>
                        <a:pt x="75436" y="956489"/>
                        <a:pt x="81687" y="975243"/>
                        <a:pt x="87939" y="975243"/>
                      </a:cubicBezTo>
                      <a:cubicBezTo>
                        <a:pt x="81687" y="975243"/>
                        <a:pt x="62793" y="968992"/>
                        <a:pt x="69045" y="987746"/>
                      </a:cubicBezTo>
                      <a:cubicBezTo>
                        <a:pt x="69045" y="987746"/>
                        <a:pt x="75297" y="1019004"/>
                        <a:pt x="62793" y="1012753"/>
                      </a:cubicBezTo>
                      <a:cubicBezTo>
                        <a:pt x="62793" y="1012753"/>
                        <a:pt x="50290" y="1000250"/>
                        <a:pt x="50290" y="993998"/>
                      </a:cubicBezTo>
                      <a:cubicBezTo>
                        <a:pt x="37787" y="987746"/>
                        <a:pt x="44039" y="981495"/>
                        <a:pt x="31397" y="987746"/>
                      </a:cubicBezTo>
                      <a:lnTo>
                        <a:pt x="25145" y="993998"/>
                      </a:lnTo>
                      <a:cubicBezTo>
                        <a:pt x="25145" y="1000250"/>
                        <a:pt x="31397" y="1000250"/>
                        <a:pt x="25145" y="1006501"/>
                      </a:cubicBezTo>
                      <a:cubicBezTo>
                        <a:pt x="25145" y="1012753"/>
                        <a:pt x="0" y="1012753"/>
                        <a:pt x="0" y="1025256"/>
                      </a:cubicBezTo>
                      <a:cubicBezTo>
                        <a:pt x="0" y="1025256"/>
                        <a:pt x="6252" y="1031507"/>
                        <a:pt x="12503" y="1031507"/>
                      </a:cubicBezTo>
                      <a:cubicBezTo>
                        <a:pt x="12503" y="1031507"/>
                        <a:pt x="6252" y="1025256"/>
                        <a:pt x="12503" y="1019004"/>
                      </a:cubicBezTo>
                      <a:cubicBezTo>
                        <a:pt x="12503" y="1019004"/>
                        <a:pt x="31397" y="1031507"/>
                        <a:pt x="43900" y="1025256"/>
                      </a:cubicBezTo>
                      <a:cubicBezTo>
                        <a:pt x="69045" y="1019004"/>
                        <a:pt x="31397" y="1062765"/>
                        <a:pt x="43900" y="1069017"/>
                      </a:cubicBezTo>
                      <a:cubicBezTo>
                        <a:pt x="50152" y="1069017"/>
                        <a:pt x="62793" y="1062765"/>
                        <a:pt x="69045" y="1069017"/>
                      </a:cubicBezTo>
                      <a:cubicBezTo>
                        <a:pt x="75297" y="1069017"/>
                        <a:pt x="75297" y="1087771"/>
                        <a:pt x="69045" y="1081520"/>
                      </a:cubicBezTo>
                      <a:cubicBezTo>
                        <a:pt x="69045" y="1081520"/>
                        <a:pt x="50152" y="1069017"/>
                        <a:pt x="50152" y="1075268"/>
                      </a:cubicBezTo>
                      <a:cubicBezTo>
                        <a:pt x="43900" y="1081520"/>
                        <a:pt x="37648" y="1081520"/>
                        <a:pt x="43900" y="1087771"/>
                      </a:cubicBezTo>
                      <a:cubicBezTo>
                        <a:pt x="43900" y="1087771"/>
                        <a:pt x="56403" y="1100275"/>
                        <a:pt x="50152" y="1100275"/>
                      </a:cubicBezTo>
                      <a:cubicBezTo>
                        <a:pt x="43900" y="1100275"/>
                        <a:pt x="43900" y="1119029"/>
                        <a:pt x="43900" y="1119029"/>
                      </a:cubicBezTo>
                      <a:cubicBezTo>
                        <a:pt x="37648" y="1137784"/>
                        <a:pt x="56403" y="1112778"/>
                        <a:pt x="56403" y="1112778"/>
                      </a:cubicBezTo>
                      <a:cubicBezTo>
                        <a:pt x="56403" y="1112778"/>
                        <a:pt x="50152" y="1144035"/>
                        <a:pt x="56403" y="1137784"/>
                      </a:cubicBezTo>
                      <a:cubicBezTo>
                        <a:pt x="56403" y="1137784"/>
                        <a:pt x="50152" y="1137784"/>
                        <a:pt x="50152" y="1144035"/>
                      </a:cubicBezTo>
                      <a:cubicBezTo>
                        <a:pt x="43900" y="1150287"/>
                        <a:pt x="50152" y="1150287"/>
                        <a:pt x="56403" y="1156539"/>
                      </a:cubicBezTo>
                      <a:lnTo>
                        <a:pt x="43900" y="1162790"/>
                      </a:lnTo>
                      <a:cubicBezTo>
                        <a:pt x="37648" y="1162790"/>
                        <a:pt x="43900" y="1162790"/>
                        <a:pt x="43900" y="1169042"/>
                      </a:cubicBezTo>
                      <a:cubicBezTo>
                        <a:pt x="37648" y="1181545"/>
                        <a:pt x="62793" y="1181545"/>
                        <a:pt x="62793" y="1175293"/>
                      </a:cubicBezTo>
                      <a:cubicBezTo>
                        <a:pt x="62793" y="1181545"/>
                        <a:pt x="56542" y="1181545"/>
                        <a:pt x="62793" y="1187796"/>
                      </a:cubicBezTo>
                      <a:lnTo>
                        <a:pt x="62793" y="1187796"/>
                      </a:lnTo>
                      <a:cubicBezTo>
                        <a:pt x="62793" y="1194048"/>
                        <a:pt x="50290" y="1200299"/>
                        <a:pt x="50290" y="1206551"/>
                      </a:cubicBezTo>
                      <a:cubicBezTo>
                        <a:pt x="44039" y="1219054"/>
                        <a:pt x="62793" y="1200299"/>
                        <a:pt x="69184" y="1200299"/>
                      </a:cubicBezTo>
                      <a:cubicBezTo>
                        <a:pt x="62932" y="1206551"/>
                        <a:pt x="69184" y="1212803"/>
                        <a:pt x="69184" y="1212803"/>
                      </a:cubicBezTo>
                      <a:cubicBezTo>
                        <a:pt x="69184" y="1219054"/>
                        <a:pt x="50290" y="1225306"/>
                        <a:pt x="50290" y="1225306"/>
                      </a:cubicBezTo>
                      <a:cubicBezTo>
                        <a:pt x="62793" y="1231557"/>
                        <a:pt x="62793" y="1225306"/>
                        <a:pt x="69184" y="1237809"/>
                      </a:cubicBezTo>
                      <a:cubicBezTo>
                        <a:pt x="75436" y="1250312"/>
                        <a:pt x="88077" y="1219054"/>
                        <a:pt x="81687" y="1219054"/>
                      </a:cubicBezTo>
                      <a:cubicBezTo>
                        <a:pt x="87939" y="1219054"/>
                        <a:pt x="87939" y="1225306"/>
                        <a:pt x="94190" y="1231557"/>
                      </a:cubicBezTo>
                      <a:lnTo>
                        <a:pt x="94190" y="1219054"/>
                      </a:lnTo>
                      <a:lnTo>
                        <a:pt x="94190" y="1231557"/>
                      </a:lnTo>
                      <a:cubicBezTo>
                        <a:pt x="100442" y="1225306"/>
                        <a:pt x="100442" y="1219054"/>
                        <a:pt x="100442" y="1225306"/>
                      </a:cubicBezTo>
                      <a:cubicBezTo>
                        <a:pt x="106693" y="1225306"/>
                        <a:pt x="100442" y="1237809"/>
                        <a:pt x="100442" y="1237809"/>
                      </a:cubicBezTo>
                      <a:cubicBezTo>
                        <a:pt x="94190" y="1244060"/>
                        <a:pt x="106693" y="1244060"/>
                        <a:pt x="100442" y="1250312"/>
                      </a:cubicBezTo>
                      <a:cubicBezTo>
                        <a:pt x="94190" y="1262815"/>
                        <a:pt x="106693" y="1256564"/>
                        <a:pt x="112945" y="1262815"/>
                      </a:cubicBezTo>
                      <a:cubicBezTo>
                        <a:pt x="131838" y="1262815"/>
                        <a:pt x="150593" y="1275318"/>
                        <a:pt x="131838" y="1287821"/>
                      </a:cubicBezTo>
                      <a:cubicBezTo>
                        <a:pt x="125587" y="1294073"/>
                        <a:pt x="106693" y="1287821"/>
                        <a:pt x="100442" y="1294073"/>
                      </a:cubicBezTo>
                      <a:cubicBezTo>
                        <a:pt x="94190" y="1306576"/>
                        <a:pt x="112945" y="1300324"/>
                        <a:pt x="119335" y="1306576"/>
                      </a:cubicBezTo>
                      <a:cubicBezTo>
                        <a:pt x="113084" y="1306576"/>
                        <a:pt x="113084" y="1306576"/>
                        <a:pt x="113084" y="1306576"/>
                      </a:cubicBezTo>
                      <a:cubicBezTo>
                        <a:pt x="113084" y="1306576"/>
                        <a:pt x="138229" y="1325331"/>
                        <a:pt x="150732" y="1312828"/>
                      </a:cubicBezTo>
                      <a:cubicBezTo>
                        <a:pt x="156984" y="1300324"/>
                        <a:pt x="144481" y="1287821"/>
                        <a:pt x="156984" y="1275318"/>
                      </a:cubicBezTo>
                      <a:cubicBezTo>
                        <a:pt x="163235" y="1262815"/>
                        <a:pt x="182129" y="1262815"/>
                        <a:pt x="188381" y="1262815"/>
                      </a:cubicBezTo>
                      <a:cubicBezTo>
                        <a:pt x="219777" y="1244060"/>
                        <a:pt x="175877" y="1244060"/>
                        <a:pt x="163235" y="1244060"/>
                      </a:cubicBezTo>
                      <a:cubicBezTo>
                        <a:pt x="150732" y="1244060"/>
                        <a:pt x="131838" y="1244060"/>
                        <a:pt x="119196" y="1237809"/>
                      </a:cubicBezTo>
                      <a:cubicBezTo>
                        <a:pt x="106693" y="1225306"/>
                        <a:pt x="106693" y="1225306"/>
                        <a:pt x="106693" y="1200299"/>
                      </a:cubicBezTo>
                      <a:cubicBezTo>
                        <a:pt x="106693" y="1175293"/>
                        <a:pt x="100442" y="1194048"/>
                        <a:pt x="81548" y="1181545"/>
                      </a:cubicBezTo>
                      <a:cubicBezTo>
                        <a:pt x="75297" y="1181545"/>
                        <a:pt x="75297" y="1162790"/>
                        <a:pt x="75297" y="1156539"/>
                      </a:cubicBezTo>
                      <a:cubicBezTo>
                        <a:pt x="69045" y="1144035"/>
                        <a:pt x="69045" y="1125281"/>
                        <a:pt x="81548" y="1119029"/>
                      </a:cubicBezTo>
                      <a:cubicBezTo>
                        <a:pt x="87800" y="1112778"/>
                        <a:pt x="87800" y="1112778"/>
                        <a:pt x="94051" y="1106526"/>
                      </a:cubicBezTo>
                      <a:cubicBezTo>
                        <a:pt x="94051" y="1100275"/>
                        <a:pt x="100303" y="1094023"/>
                        <a:pt x="106693" y="1094023"/>
                      </a:cubicBezTo>
                      <a:cubicBezTo>
                        <a:pt x="112945" y="1087771"/>
                        <a:pt x="100442" y="1069017"/>
                        <a:pt x="106693" y="1056514"/>
                      </a:cubicBezTo>
                      <a:cubicBezTo>
                        <a:pt x="106693" y="1050262"/>
                        <a:pt x="119196" y="1044010"/>
                        <a:pt x="125587" y="1031507"/>
                      </a:cubicBezTo>
                      <a:cubicBezTo>
                        <a:pt x="125587" y="1019004"/>
                        <a:pt x="125587" y="1000250"/>
                        <a:pt x="131838" y="987746"/>
                      </a:cubicBezTo>
                      <a:cubicBezTo>
                        <a:pt x="131838" y="975243"/>
                        <a:pt x="144341" y="975243"/>
                        <a:pt x="131838" y="962740"/>
                      </a:cubicBezTo>
                      <a:cubicBezTo>
                        <a:pt x="125587" y="956489"/>
                        <a:pt x="106693" y="956489"/>
                        <a:pt x="131838" y="950237"/>
                      </a:cubicBezTo>
                      <a:cubicBezTo>
                        <a:pt x="163235" y="943986"/>
                        <a:pt x="125587" y="943986"/>
                        <a:pt x="119335" y="931482"/>
                      </a:cubicBezTo>
                      <a:cubicBezTo>
                        <a:pt x="119335" y="912728"/>
                        <a:pt x="119335" y="887721"/>
                        <a:pt x="119335" y="875218"/>
                      </a:cubicBezTo>
                      <a:cubicBezTo>
                        <a:pt x="119335" y="850212"/>
                        <a:pt x="119335" y="818954"/>
                        <a:pt x="119335" y="793948"/>
                      </a:cubicBezTo>
                      <a:cubicBezTo>
                        <a:pt x="125587" y="775193"/>
                        <a:pt x="131838" y="743936"/>
                        <a:pt x="144481" y="731432"/>
                      </a:cubicBezTo>
                      <a:cubicBezTo>
                        <a:pt x="163374" y="712678"/>
                        <a:pt x="144481" y="681420"/>
                        <a:pt x="144481" y="662665"/>
                      </a:cubicBezTo>
                      <a:cubicBezTo>
                        <a:pt x="144481" y="650162"/>
                        <a:pt x="150732" y="643911"/>
                        <a:pt x="163374" y="637659"/>
                      </a:cubicBezTo>
                      <a:cubicBezTo>
                        <a:pt x="176016" y="625156"/>
                        <a:pt x="169626" y="618904"/>
                        <a:pt x="169626" y="600150"/>
                      </a:cubicBezTo>
                      <a:cubicBezTo>
                        <a:pt x="169626" y="575143"/>
                        <a:pt x="188519" y="556389"/>
                        <a:pt x="182129" y="531383"/>
                      </a:cubicBezTo>
                      <a:cubicBezTo>
                        <a:pt x="182129" y="512628"/>
                        <a:pt x="175877" y="493873"/>
                        <a:pt x="169626" y="475119"/>
                      </a:cubicBezTo>
                      <a:cubicBezTo>
                        <a:pt x="169626" y="468867"/>
                        <a:pt x="163374" y="462615"/>
                        <a:pt x="169626" y="456364"/>
                      </a:cubicBezTo>
                      <a:cubicBezTo>
                        <a:pt x="175877" y="450112"/>
                        <a:pt x="182129" y="425106"/>
                        <a:pt x="182129" y="418854"/>
                      </a:cubicBezTo>
                      <a:cubicBezTo>
                        <a:pt x="182129" y="412603"/>
                        <a:pt x="175877" y="400100"/>
                        <a:pt x="188381" y="387597"/>
                      </a:cubicBezTo>
                      <a:cubicBezTo>
                        <a:pt x="194632" y="381345"/>
                        <a:pt x="188381" y="368842"/>
                        <a:pt x="194632" y="362590"/>
                      </a:cubicBezTo>
                      <a:cubicBezTo>
                        <a:pt x="194632" y="350087"/>
                        <a:pt x="207135" y="343836"/>
                        <a:pt x="213525" y="337584"/>
                      </a:cubicBezTo>
                      <a:cubicBezTo>
                        <a:pt x="213525" y="331333"/>
                        <a:pt x="232419" y="312578"/>
                        <a:pt x="232419" y="306326"/>
                      </a:cubicBezTo>
                      <a:cubicBezTo>
                        <a:pt x="232419" y="300075"/>
                        <a:pt x="226168" y="287572"/>
                        <a:pt x="226168" y="275069"/>
                      </a:cubicBezTo>
                      <a:cubicBezTo>
                        <a:pt x="226168" y="262566"/>
                        <a:pt x="226168" y="256314"/>
                        <a:pt x="226168" y="243811"/>
                      </a:cubicBezTo>
                      <a:cubicBezTo>
                        <a:pt x="226168" y="225056"/>
                        <a:pt x="232419" y="225056"/>
                        <a:pt x="251313" y="218805"/>
                      </a:cubicBezTo>
                      <a:cubicBezTo>
                        <a:pt x="276458" y="212553"/>
                        <a:pt x="276458" y="200050"/>
                        <a:pt x="276458" y="175044"/>
                      </a:cubicBezTo>
                      <a:cubicBezTo>
                        <a:pt x="269790" y="181295"/>
                        <a:pt x="257286" y="181295"/>
                        <a:pt x="251035" y="175044"/>
                      </a:cubicBezTo>
                      <a:cubicBezTo>
                        <a:pt x="251035" y="175044"/>
                        <a:pt x="251035" y="181295"/>
                        <a:pt x="251035" y="17504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3" name="Freihandform: Form 272">
                  <a:extLst>
                    <a:ext uri="{FF2B5EF4-FFF2-40B4-BE49-F238E27FC236}">
                      <a16:creationId xmlns:a16="http://schemas.microsoft.com/office/drawing/2014/main" id="{159B730B-60B4-43AE-B27B-BD33A298F20E}"/>
                    </a:ext>
                  </a:extLst>
                </p:cNvPr>
                <p:cNvSpPr/>
                <p:nvPr/>
              </p:nvSpPr>
              <p:spPr>
                <a:xfrm>
                  <a:off x="3928953" y="4842342"/>
                  <a:ext cx="376419" cy="423709"/>
                </a:xfrm>
                <a:custGeom>
                  <a:avLst/>
                  <a:gdLst>
                    <a:gd name="connsiteX0" fmla="*/ 369565 w 376419"/>
                    <a:gd name="connsiteY0" fmla="*/ 252797 h 423709"/>
                    <a:gd name="connsiteX1" fmla="*/ 350811 w 376419"/>
                    <a:gd name="connsiteY1" fmla="*/ 208897 h 423709"/>
                    <a:gd name="connsiteX2" fmla="*/ 300798 w 376419"/>
                    <a:gd name="connsiteY2" fmla="*/ 208897 h 423709"/>
                    <a:gd name="connsiteX3" fmla="*/ 294547 w 376419"/>
                    <a:gd name="connsiteY3" fmla="*/ 196394 h 423709"/>
                    <a:gd name="connsiteX4" fmla="*/ 282044 w 376419"/>
                    <a:gd name="connsiteY4" fmla="*/ 177639 h 423709"/>
                    <a:gd name="connsiteX5" fmla="*/ 288295 w 376419"/>
                    <a:gd name="connsiteY5" fmla="*/ 165136 h 423709"/>
                    <a:gd name="connsiteX6" fmla="*/ 282044 w 376419"/>
                    <a:gd name="connsiteY6" fmla="*/ 152633 h 423709"/>
                    <a:gd name="connsiteX7" fmla="*/ 282044 w 376419"/>
                    <a:gd name="connsiteY7" fmla="*/ 133878 h 423709"/>
                    <a:gd name="connsiteX8" fmla="*/ 244534 w 376419"/>
                    <a:gd name="connsiteY8" fmla="*/ 121375 h 423709"/>
                    <a:gd name="connsiteX9" fmla="*/ 219528 w 376419"/>
                    <a:gd name="connsiteY9" fmla="*/ 102620 h 423709"/>
                    <a:gd name="connsiteX10" fmla="*/ 194522 w 376419"/>
                    <a:gd name="connsiteY10" fmla="*/ 90117 h 423709"/>
                    <a:gd name="connsiteX11" fmla="*/ 169515 w 376419"/>
                    <a:gd name="connsiteY11" fmla="*/ 90117 h 423709"/>
                    <a:gd name="connsiteX12" fmla="*/ 132006 w 376419"/>
                    <a:gd name="connsiteY12" fmla="*/ 46218 h 423709"/>
                    <a:gd name="connsiteX13" fmla="*/ 132006 w 376419"/>
                    <a:gd name="connsiteY13" fmla="*/ 27463 h 423709"/>
                    <a:gd name="connsiteX14" fmla="*/ 132006 w 376419"/>
                    <a:gd name="connsiteY14" fmla="*/ 14960 h 423709"/>
                    <a:gd name="connsiteX15" fmla="*/ 100748 w 376419"/>
                    <a:gd name="connsiteY15" fmla="*/ 8708 h 423709"/>
                    <a:gd name="connsiteX16" fmla="*/ 50736 w 376419"/>
                    <a:gd name="connsiteY16" fmla="*/ 27463 h 423709"/>
                    <a:gd name="connsiteX17" fmla="*/ 31981 w 376419"/>
                    <a:gd name="connsiteY17" fmla="*/ 46218 h 423709"/>
                    <a:gd name="connsiteX18" fmla="*/ 723 w 376419"/>
                    <a:gd name="connsiteY18" fmla="*/ 39966 h 423709"/>
                    <a:gd name="connsiteX19" fmla="*/ 25730 w 376419"/>
                    <a:gd name="connsiteY19" fmla="*/ 90117 h 423709"/>
                    <a:gd name="connsiteX20" fmla="*/ 19478 w 376419"/>
                    <a:gd name="connsiteY20" fmla="*/ 134017 h 423709"/>
                    <a:gd name="connsiteX21" fmla="*/ 13226 w 376419"/>
                    <a:gd name="connsiteY21" fmla="*/ 159023 h 423709"/>
                    <a:gd name="connsiteX22" fmla="*/ 6975 w 376419"/>
                    <a:gd name="connsiteY22" fmla="*/ 184030 h 423709"/>
                    <a:gd name="connsiteX23" fmla="*/ 19478 w 376419"/>
                    <a:gd name="connsiteY23" fmla="*/ 209036 h 423709"/>
                    <a:gd name="connsiteX24" fmla="*/ 6975 w 376419"/>
                    <a:gd name="connsiteY24" fmla="*/ 227791 h 423709"/>
                    <a:gd name="connsiteX25" fmla="*/ 13226 w 376419"/>
                    <a:gd name="connsiteY25" fmla="*/ 277942 h 423709"/>
                    <a:gd name="connsiteX26" fmla="*/ 13226 w 376419"/>
                    <a:gd name="connsiteY26" fmla="*/ 296697 h 423709"/>
                    <a:gd name="connsiteX27" fmla="*/ 31981 w 376419"/>
                    <a:gd name="connsiteY27" fmla="*/ 315451 h 423709"/>
                    <a:gd name="connsiteX28" fmla="*/ 31981 w 376419"/>
                    <a:gd name="connsiteY28" fmla="*/ 327955 h 423709"/>
                    <a:gd name="connsiteX29" fmla="*/ 25730 w 376419"/>
                    <a:gd name="connsiteY29" fmla="*/ 340458 h 423709"/>
                    <a:gd name="connsiteX30" fmla="*/ 44484 w 376419"/>
                    <a:gd name="connsiteY30" fmla="*/ 384357 h 423709"/>
                    <a:gd name="connsiteX31" fmla="*/ 69490 w 376419"/>
                    <a:gd name="connsiteY31" fmla="*/ 422006 h 423709"/>
                    <a:gd name="connsiteX32" fmla="*/ 75742 w 376419"/>
                    <a:gd name="connsiteY32" fmla="*/ 409503 h 423709"/>
                    <a:gd name="connsiteX33" fmla="*/ 94497 w 376419"/>
                    <a:gd name="connsiteY33" fmla="*/ 396999 h 423709"/>
                    <a:gd name="connsiteX34" fmla="*/ 113251 w 376419"/>
                    <a:gd name="connsiteY34" fmla="*/ 396999 h 423709"/>
                    <a:gd name="connsiteX35" fmla="*/ 144509 w 376419"/>
                    <a:gd name="connsiteY35" fmla="*/ 396999 h 423709"/>
                    <a:gd name="connsiteX36" fmla="*/ 163264 w 376419"/>
                    <a:gd name="connsiteY36" fmla="*/ 415754 h 423709"/>
                    <a:gd name="connsiteX37" fmla="*/ 182019 w 376419"/>
                    <a:gd name="connsiteY37" fmla="*/ 396999 h 423709"/>
                    <a:gd name="connsiteX38" fmla="*/ 219528 w 376419"/>
                    <a:gd name="connsiteY38" fmla="*/ 390748 h 423709"/>
                    <a:gd name="connsiteX39" fmla="*/ 263289 w 376419"/>
                    <a:gd name="connsiteY39" fmla="*/ 315590 h 423709"/>
                    <a:gd name="connsiteX40" fmla="*/ 313301 w 376419"/>
                    <a:gd name="connsiteY40" fmla="*/ 309339 h 423709"/>
                    <a:gd name="connsiteX41" fmla="*/ 357062 w 376419"/>
                    <a:gd name="connsiteY41" fmla="*/ 328093 h 423709"/>
                    <a:gd name="connsiteX42" fmla="*/ 369565 w 376419"/>
                    <a:gd name="connsiteY42" fmla="*/ 252797 h 423709"/>
                    <a:gd name="connsiteX43" fmla="*/ 369565 w 376419"/>
                    <a:gd name="connsiteY43" fmla="*/ 252797 h 423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76419" h="423709">
                      <a:moveTo>
                        <a:pt x="369565" y="252797"/>
                      </a:moveTo>
                      <a:cubicBezTo>
                        <a:pt x="344559" y="240294"/>
                        <a:pt x="350811" y="234042"/>
                        <a:pt x="350811" y="208897"/>
                      </a:cubicBezTo>
                      <a:cubicBezTo>
                        <a:pt x="332056" y="208897"/>
                        <a:pt x="313301" y="208897"/>
                        <a:pt x="300798" y="208897"/>
                      </a:cubicBezTo>
                      <a:cubicBezTo>
                        <a:pt x="288295" y="208897"/>
                        <a:pt x="294547" y="202645"/>
                        <a:pt x="294547" y="196394"/>
                      </a:cubicBezTo>
                      <a:cubicBezTo>
                        <a:pt x="294547" y="190142"/>
                        <a:pt x="288295" y="177639"/>
                        <a:pt x="282044" y="177639"/>
                      </a:cubicBezTo>
                      <a:cubicBezTo>
                        <a:pt x="282044" y="171387"/>
                        <a:pt x="288295" y="171387"/>
                        <a:pt x="288295" y="165136"/>
                      </a:cubicBezTo>
                      <a:cubicBezTo>
                        <a:pt x="294547" y="158884"/>
                        <a:pt x="288295" y="152633"/>
                        <a:pt x="282044" y="152633"/>
                      </a:cubicBezTo>
                      <a:cubicBezTo>
                        <a:pt x="282044" y="146381"/>
                        <a:pt x="288295" y="140130"/>
                        <a:pt x="282044" y="133878"/>
                      </a:cubicBezTo>
                      <a:cubicBezTo>
                        <a:pt x="269540" y="121375"/>
                        <a:pt x="257037" y="121375"/>
                        <a:pt x="244534" y="121375"/>
                      </a:cubicBezTo>
                      <a:cubicBezTo>
                        <a:pt x="238283" y="121375"/>
                        <a:pt x="225780" y="108872"/>
                        <a:pt x="219528" y="102620"/>
                      </a:cubicBezTo>
                      <a:cubicBezTo>
                        <a:pt x="207025" y="102620"/>
                        <a:pt x="200773" y="90117"/>
                        <a:pt x="194522" y="90117"/>
                      </a:cubicBezTo>
                      <a:cubicBezTo>
                        <a:pt x="182019" y="90117"/>
                        <a:pt x="175767" y="90117"/>
                        <a:pt x="169515" y="90117"/>
                      </a:cubicBezTo>
                      <a:cubicBezTo>
                        <a:pt x="157012" y="90117"/>
                        <a:pt x="132006" y="58859"/>
                        <a:pt x="132006" y="46218"/>
                      </a:cubicBezTo>
                      <a:cubicBezTo>
                        <a:pt x="132006" y="39966"/>
                        <a:pt x="132006" y="33714"/>
                        <a:pt x="132006" y="27463"/>
                      </a:cubicBezTo>
                      <a:cubicBezTo>
                        <a:pt x="132006" y="21211"/>
                        <a:pt x="132006" y="21211"/>
                        <a:pt x="132006" y="14960"/>
                      </a:cubicBezTo>
                      <a:cubicBezTo>
                        <a:pt x="132006" y="-10047"/>
                        <a:pt x="119503" y="2457"/>
                        <a:pt x="100748" y="8708"/>
                      </a:cubicBezTo>
                      <a:cubicBezTo>
                        <a:pt x="81994" y="8708"/>
                        <a:pt x="69490" y="27463"/>
                        <a:pt x="50736" y="27463"/>
                      </a:cubicBezTo>
                      <a:cubicBezTo>
                        <a:pt x="38233" y="27463"/>
                        <a:pt x="38233" y="39966"/>
                        <a:pt x="31981" y="46218"/>
                      </a:cubicBezTo>
                      <a:cubicBezTo>
                        <a:pt x="25730" y="46218"/>
                        <a:pt x="6975" y="39966"/>
                        <a:pt x="723" y="39966"/>
                      </a:cubicBezTo>
                      <a:cubicBezTo>
                        <a:pt x="13226" y="46218"/>
                        <a:pt x="19478" y="77614"/>
                        <a:pt x="25730" y="90117"/>
                      </a:cubicBezTo>
                      <a:cubicBezTo>
                        <a:pt x="13226" y="96369"/>
                        <a:pt x="19478" y="121375"/>
                        <a:pt x="19478" y="134017"/>
                      </a:cubicBezTo>
                      <a:cubicBezTo>
                        <a:pt x="19478" y="146520"/>
                        <a:pt x="19478" y="152772"/>
                        <a:pt x="13226" y="159023"/>
                      </a:cubicBezTo>
                      <a:cubicBezTo>
                        <a:pt x="6975" y="165275"/>
                        <a:pt x="6975" y="177778"/>
                        <a:pt x="6975" y="184030"/>
                      </a:cubicBezTo>
                      <a:cubicBezTo>
                        <a:pt x="723" y="196533"/>
                        <a:pt x="19478" y="196533"/>
                        <a:pt x="19478" y="209036"/>
                      </a:cubicBezTo>
                      <a:cubicBezTo>
                        <a:pt x="19478" y="215287"/>
                        <a:pt x="6975" y="221539"/>
                        <a:pt x="6975" y="227791"/>
                      </a:cubicBezTo>
                      <a:cubicBezTo>
                        <a:pt x="-11780" y="246545"/>
                        <a:pt x="13226" y="252797"/>
                        <a:pt x="13226" y="277942"/>
                      </a:cubicBezTo>
                      <a:cubicBezTo>
                        <a:pt x="13226" y="284194"/>
                        <a:pt x="13226" y="290445"/>
                        <a:pt x="13226" y="296697"/>
                      </a:cubicBezTo>
                      <a:cubicBezTo>
                        <a:pt x="19478" y="302948"/>
                        <a:pt x="25730" y="309200"/>
                        <a:pt x="31981" y="315451"/>
                      </a:cubicBezTo>
                      <a:cubicBezTo>
                        <a:pt x="31981" y="321703"/>
                        <a:pt x="19478" y="321703"/>
                        <a:pt x="31981" y="327955"/>
                      </a:cubicBezTo>
                      <a:lnTo>
                        <a:pt x="25730" y="340458"/>
                      </a:lnTo>
                      <a:cubicBezTo>
                        <a:pt x="25730" y="359212"/>
                        <a:pt x="44484" y="371715"/>
                        <a:pt x="44484" y="384357"/>
                      </a:cubicBezTo>
                      <a:cubicBezTo>
                        <a:pt x="50736" y="403112"/>
                        <a:pt x="38233" y="422006"/>
                        <a:pt x="69490" y="422006"/>
                      </a:cubicBezTo>
                      <a:cubicBezTo>
                        <a:pt x="75742" y="428257"/>
                        <a:pt x="75742" y="415754"/>
                        <a:pt x="75742" y="409503"/>
                      </a:cubicBezTo>
                      <a:cubicBezTo>
                        <a:pt x="75742" y="403251"/>
                        <a:pt x="88245" y="396999"/>
                        <a:pt x="94497" y="396999"/>
                      </a:cubicBezTo>
                      <a:cubicBezTo>
                        <a:pt x="100748" y="390748"/>
                        <a:pt x="107000" y="384496"/>
                        <a:pt x="113251" y="396999"/>
                      </a:cubicBezTo>
                      <a:cubicBezTo>
                        <a:pt x="125755" y="403251"/>
                        <a:pt x="138258" y="396999"/>
                        <a:pt x="144509" y="396999"/>
                      </a:cubicBezTo>
                      <a:cubicBezTo>
                        <a:pt x="157012" y="396999"/>
                        <a:pt x="157012" y="415754"/>
                        <a:pt x="163264" y="415754"/>
                      </a:cubicBezTo>
                      <a:cubicBezTo>
                        <a:pt x="169515" y="415754"/>
                        <a:pt x="175767" y="403251"/>
                        <a:pt x="182019" y="396999"/>
                      </a:cubicBezTo>
                      <a:cubicBezTo>
                        <a:pt x="188270" y="384496"/>
                        <a:pt x="213276" y="403251"/>
                        <a:pt x="219528" y="390748"/>
                      </a:cubicBezTo>
                      <a:cubicBezTo>
                        <a:pt x="232031" y="359490"/>
                        <a:pt x="225780" y="328093"/>
                        <a:pt x="263289" y="315590"/>
                      </a:cubicBezTo>
                      <a:cubicBezTo>
                        <a:pt x="275792" y="309339"/>
                        <a:pt x="294547" y="309339"/>
                        <a:pt x="313301" y="309339"/>
                      </a:cubicBezTo>
                      <a:cubicBezTo>
                        <a:pt x="332056" y="309339"/>
                        <a:pt x="344559" y="315590"/>
                        <a:pt x="357062" y="328093"/>
                      </a:cubicBezTo>
                      <a:cubicBezTo>
                        <a:pt x="363314" y="309200"/>
                        <a:pt x="388320" y="259048"/>
                        <a:pt x="369565" y="252797"/>
                      </a:cubicBezTo>
                      <a:cubicBezTo>
                        <a:pt x="363314" y="246545"/>
                        <a:pt x="375817" y="252797"/>
                        <a:pt x="369565" y="25279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4" name="Freihandform: Form 273">
                  <a:extLst>
                    <a:ext uri="{FF2B5EF4-FFF2-40B4-BE49-F238E27FC236}">
                      <a16:creationId xmlns:a16="http://schemas.microsoft.com/office/drawing/2014/main" id="{40056E9A-8740-43DB-8919-C208B3A97A7E}"/>
                    </a:ext>
                  </a:extLst>
                </p:cNvPr>
                <p:cNvSpPr/>
                <p:nvPr/>
              </p:nvSpPr>
              <p:spPr>
                <a:xfrm>
                  <a:off x="4139860" y="5150418"/>
                  <a:ext cx="266496" cy="272857"/>
                </a:xfrm>
                <a:custGeom>
                  <a:avLst/>
                  <a:gdLst>
                    <a:gd name="connsiteX0" fmla="*/ 250487 w 266496"/>
                    <a:gd name="connsiteY0" fmla="*/ 146993 h 272857"/>
                    <a:gd name="connsiteX1" fmla="*/ 225064 w 266496"/>
                    <a:gd name="connsiteY1" fmla="*/ 146993 h 272857"/>
                    <a:gd name="connsiteX2" fmla="*/ 225064 w 266496"/>
                    <a:gd name="connsiteY2" fmla="*/ 121848 h 272857"/>
                    <a:gd name="connsiteX3" fmla="*/ 212422 w 266496"/>
                    <a:gd name="connsiteY3" fmla="*/ 102954 h 272857"/>
                    <a:gd name="connsiteX4" fmla="*/ 180608 w 266496"/>
                    <a:gd name="connsiteY4" fmla="*/ 96702 h 272857"/>
                    <a:gd name="connsiteX5" fmla="*/ 155185 w 266496"/>
                    <a:gd name="connsiteY5" fmla="*/ 90451 h 272857"/>
                    <a:gd name="connsiteX6" fmla="*/ 155185 w 266496"/>
                    <a:gd name="connsiteY6" fmla="*/ 71557 h 272857"/>
                    <a:gd name="connsiteX7" fmla="*/ 148795 w 266496"/>
                    <a:gd name="connsiteY7" fmla="*/ 40161 h 272857"/>
                    <a:gd name="connsiteX8" fmla="*/ 129762 w 266496"/>
                    <a:gd name="connsiteY8" fmla="*/ 15016 h 272857"/>
                    <a:gd name="connsiteX9" fmla="*/ 85306 w 266496"/>
                    <a:gd name="connsiteY9" fmla="*/ 2512 h 272857"/>
                    <a:gd name="connsiteX10" fmla="*/ 28070 w 266496"/>
                    <a:gd name="connsiteY10" fmla="*/ 15016 h 272857"/>
                    <a:gd name="connsiteX11" fmla="*/ 9038 w 266496"/>
                    <a:gd name="connsiteY11" fmla="*/ 65306 h 272857"/>
                    <a:gd name="connsiteX12" fmla="*/ 2647 w 266496"/>
                    <a:gd name="connsiteY12" fmla="*/ 84199 h 272857"/>
                    <a:gd name="connsiteX13" fmla="*/ 9038 w 266496"/>
                    <a:gd name="connsiteY13" fmla="*/ 103093 h 272857"/>
                    <a:gd name="connsiteX14" fmla="*/ 53493 w 266496"/>
                    <a:gd name="connsiteY14" fmla="*/ 147132 h 272857"/>
                    <a:gd name="connsiteX15" fmla="*/ 78916 w 266496"/>
                    <a:gd name="connsiteY15" fmla="*/ 153383 h 272857"/>
                    <a:gd name="connsiteX16" fmla="*/ 104339 w 266496"/>
                    <a:gd name="connsiteY16" fmla="*/ 166025 h 272857"/>
                    <a:gd name="connsiteX17" fmla="*/ 155185 w 266496"/>
                    <a:gd name="connsiteY17" fmla="*/ 216316 h 272857"/>
                    <a:gd name="connsiteX18" fmla="*/ 136153 w 266496"/>
                    <a:gd name="connsiteY18" fmla="*/ 241461 h 272857"/>
                    <a:gd name="connsiteX19" fmla="*/ 123372 w 266496"/>
                    <a:gd name="connsiteY19" fmla="*/ 260354 h 272857"/>
                    <a:gd name="connsiteX20" fmla="*/ 174218 w 266496"/>
                    <a:gd name="connsiteY20" fmla="*/ 272857 h 272857"/>
                    <a:gd name="connsiteX21" fmla="*/ 199641 w 266496"/>
                    <a:gd name="connsiteY21" fmla="*/ 266606 h 272857"/>
                    <a:gd name="connsiteX22" fmla="*/ 231454 w 266496"/>
                    <a:gd name="connsiteY22" fmla="*/ 260354 h 272857"/>
                    <a:gd name="connsiteX23" fmla="*/ 250487 w 266496"/>
                    <a:gd name="connsiteY23" fmla="*/ 241461 h 272857"/>
                    <a:gd name="connsiteX24" fmla="*/ 256877 w 266496"/>
                    <a:gd name="connsiteY24" fmla="*/ 210064 h 272857"/>
                    <a:gd name="connsiteX25" fmla="*/ 250487 w 266496"/>
                    <a:gd name="connsiteY25" fmla="*/ 146993 h 272857"/>
                    <a:gd name="connsiteX26" fmla="*/ 250487 w 266496"/>
                    <a:gd name="connsiteY26" fmla="*/ 146993 h 27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496" h="272857">
                      <a:moveTo>
                        <a:pt x="250487" y="146993"/>
                      </a:moveTo>
                      <a:cubicBezTo>
                        <a:pt x="244096" y="153245"/>
                        <a:pt x="231454" y="159496"/>
                        <a:pt x="225064" y="146993"/>
                      </a:cubicBezTo>
                      <a:cubicBezTo>
                        <a:pt x="218673" y="140741"/>
                        <a:pt x="231454" y="134490"/>
                        <a:pt x="225064" y="121848"/>
                      </a:cubicBezTo>
                      <a:cubicBezTo>
                        <a:pt x="218673" y="115596"/>
                        <a:pt x="218673" y="109345"/>
                        <a:pt x="212422" y="102954"/>
                      </a:cubicBezTo>
                      <a:cubicBezTo>
                        <a:pt x="193389" y="90312"/>
                        <a:pt x="193389" y="102954"/>
                        <a:pt x="180608" y="96702"/>
                      </a:cubicBezTo>
                      <a:cubicBezTo>
                        <a:pt x="174218" y="96702"/>
                        <a:pt x="167966" y="96702"/>
                        <a:pt x="155185" y="90451"/>
                      </a:cubicBezTo>
                      <a:cubicBezTo>
                        <a:pt x="142404" y="90451"/>
                        <a:pt x="148795" y="77948"/>
                        <a:pt x="155185" y="71557"/>
                      </a:cubicBezTo>
                      <a:cubicBezTo>
                        <a:pt x="155185" y="59054"/>
                        <a:pt x="148795" y="46412"/>
                        <a:pt x="148795" y="40161"/>
                      </a:cubicBezTo>
                      <a:cubicBezTo>
                        <a:pt x="142404" y="21267"/>
                        <a:pt x="148795" y="21267"/>
                        <a:pt x="129762" y="15016"/>
                      </a:cubicBezTo>
                      <a:cubicBezTo>
                        <a:pt x="117120" y="2512"/>
                        <a:pt x="110730" y="-3878"/>
                        <a:pt x="85306" y="2512"/>
                      </a:cubicBezTo>
                      <a:cubicBezTo>
                        <a:pt x="66274" y="2512"/>
                        <a:pt x="40851" y="8764"/>
                        <a:pt x="28070" y="15016"/>
                      </a:cubicBezTo>
                      <a:cubicBezTo>
                        <a:pt x="9038" y="33909"/>
                        <a:pt x="15428" y="46412"/>
                        <a:pt x="9038" y="65306"/>
                      </a:cubicBezTo>
                      <a:cubicBezTo>
                        <a:pt x="9038" y="71557"/>
                        <a:pt x="2647" y="77809"/>
                        <a:pt x="2647" y="84199"/>
                      </a:cubicBezTo>
                      <a:cubicBezTo>
                        <a:pt x="-3743" y="90451"/>
                        <a:pt x="2647" y="90451"/>
                        <a:pt x="9038" y="103093"/>
                      </a:cubicBezTo>
                      <a:cubicBezTo>
                        <a:pt x="21818" y="121987"/>
                        <a:pt x="34461" y="128238"/>
                        <a:pt x="53493" y="147132"/>
                      </a:cubicBezTo>
                      <a:cubicBezTo>
                        <a:pt x="59884" y="153383"/>
                        <a:pt x="72526" y="153383"/>
                        <a:pt x="78916" y="153383"/>
                      </a:cubicBezTo>
                      <a:cubicBezTo>
                        <a:pt x="91558" y="153383"/>
                        <a:pt x="97949" y="159635"/>
                        <a:pt x="104339" y="166025"/>
                      </a:cubicBezTo>
                      <a:cubicBezTo>
                        <a:pt x="117120" y="172277"/>
                        <a:pt x="167827" y="191170"/>
                        <a:pt x="155185" y="216316"/>
                      </a:cubicBezTo>
                      <a:cubicBezTo>
                        <a:pt x="148795" y="222567"/>
                        <a:pt x="136153" y="228819"/>
                        <a:pt x="136153" y="241461"/>
                      </a:cubicBezTo>
                      <a:cubicBezTo>
                        <a:pt x="136153" y="253964"/>
                        <a:pt x="136153" y="253964"/>
                        <a:pt x="123372" y="260354"/>
                      </a:cubicBezTo>
                      <a:cubicBezTo>
                        <a:pt x="116981" y="272857"/>
                        <a:pt x="167827" y="266606"/>
                        <a:pt x="174218" y="272857"/>
                      </a:cubicBezTo>
                      <a:cubicBezTo>
                        <a:pt x="186860" y="272857"/>
                        <a:pt x="186860" y="272857"/>
                        <a:pt x="199641" y="266606"/>
                      </a:cubicBezTo>
                      <a:cubicBezTo>
                        <a:pt x="206031" y="254103"/>
                        <a:pt x="225064" y="266606"/>
                        <a:pt x="231454" y="260354"/>
                      </a:cubicBezTo>
                      <a:cubicBezTo>
                        <a:pt x="237845" y="254103"/>
                        <a:pt x="244096" y="247851"/>
                        <a:pt x="250487" y="241461"/>
                      </a:cubicBezTo>
                      <a:cubicBezTo>
                        <a:pt x="256877" y="228819"/>
                        <a:pt x="250487" y="216316"/>
                        <a:pt x="256877" y="210064"/>
                      </a:cubicBezTo>
                      <a:cubicBezTo>
                        <a:pt x="256877" y="197283"/>
                        <a:pt x="282300" y="146993"/>
                        <a:pt x="250487" y="146993"/>
                      </a:cubicBezTo>
                      <a:cubicBezTo>
                        <a:pt x="250487" y="153383"/>
                        <a:pt x="256877" y="146993"/>
                        <a:pt x="250487" y="14699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5" name="Freihandform: Form 274">
                  <a:extLst>
                    <a:ext uri="{FF2B5EF4-FFF2-40B4-BE49-F238E27FC236}">
                      <a16:creationId xmlns:a16="http://schemas.microsoft.com/office/drawing/2014/main" id="{F2F41E51-54B7-4C62-AC9C-7E2144FFC3F3}"/>
                    </a:ext>
                  </a:extLst>
                </p:cNvPr>
                <p:cNvSpPr/>
                <p:nvPr/>
              </p:nvSpPr>
              <p:spPr>
                <a:xfrm>
                  <a:off x="3790752" y="4379691"/>
                  <a:ext cx="1219683" cy="1252526"/>
                </a:xfrm>
                <a:custGeom>
                  <a:avLst/>
                  <a:gdLst>
                    <a:gd name="connsiteX0" fmla="*/ 1213220 w 1219683"/>
                    <a:gd name="connsiteY0" fmla="*/ 351607 h 1252526"/>
                    <a:gd name="connsiteX1" fmla="*/ 1200717 w 1219683"/>
                    <a:gd name="connsiteY1" fmla="*/ 320349 h 1252526"/>
                    <a:gd name="connsiteX2" fmla="*/ 1163346 w 1219683"/>
                    <a:gd name="connsiteY2" fmla="*/ 314098 h 1252526"/>
                    <a:gd name="connsiteX3" fmla="*/ 1094857 w 1219683"/>
                    <a:gd name="connsiteY3" fmla="*/ 270337 h 1252526"/>
                    <a:gd name="connsiteX4" fmla="*/ 1063738 w 1219683"/>
                    <a:gd name="connsiteY4" fmla="*/ 251582 h 1252526"/>
                    <a:gd name="connsiteX5" fmla="*/ 1020116 w 1219683"/>
                    <a:gd name="connsiteY5" fmla="*/ 251582 h 1252526"/>
                    <a:gd name="connsiteX6" fmla="*/ 945375 w 1219683"/>
                    <a:gd name="connsiteY6" fmla="*/ 239079 h 1252526"/>
                    <a:gd name="connsiteX7" fmla="*/ 895502 w 1219683"/>
                    <a:gd name="connsiteY7" fmla="*/ 207821 h 1252526"/>
                    <a:gd name="connsiteX8" fmla="*/ 833264 w 1219683"/>
                    <a:gd name="connsiteY8" fmla="*/ 182815 h 1252526"/>
                    <a:gd name="connsiteX9" fmla="*/ 802145 w 1219683"/>
                    <a:gd name="connsiteY9" fmla="*/ 182815 h 1252526"/>
                    <a:gd name="connsiteX10" fmla="*/ 771026 w 1219683"/>
                    <a:gd name="connsiteY10" fmla="*/ 220324 h 1252526"/>
                    <a:gd name="connsiteX11" fmla="*/ 752410 w 1219683"/>
                    <a:gd name="connsiteY11" fmla="*/ 220324 h 1252526"/>
                    <a:gd name="connsiteX12" fmla="*/ 746159 w 1219683"/>
                    <a:gd name="connsiteY12" fmla="*/ 214073 h 1252526"/>
                    <a:gd name="connsiteX13" fmla="*/ 733656 w 1219683"/>
                    <a:gd name="connsiteY13" fmla="*/ 226576 h 1252526"/>
                    <a:gd name="connsiteX14" fmla="*/ 715040 w 1219683"/>
                    <a:gd name="connsiteY14" fmla="*/ 176424 h 1252526"/>
                    <a:gd name="connsiteX15" fmla="*/ 690172 w 1219683"/>
                    <a:gd name="connsiteY15" fmla="*/ 201431 h 1252526"/>
                    <a:gd name="connsiteX16" fmla="*/ 708788 w 1219683"/>
                    <a:gd name="connsiteY16" fmla="*/ 176424 h 1252526"/>
                    <a:gd name="connsiteX17" fmla="*/ 683921 w 1219683"/>
                    <a:gd name="connsiteY17" fmla="*/ 201431 h 1252526"/>
                    <a:gd name="connsiteX18" fmla="*/ 708788 w 1219683"/>
                    <a:gd name="connsiteY18" fmla="*/ 157670 h 1252526"/>
                    <a:gd name="connsiteX19" fmla="*/ 721291 w 1219683"/>
                    <a:gd name="connsiteY19" fmla="*/ 145167 h 1252526"/>
                    <a:gd name="connsiteX20" fmla="*/ 739907 w 1219683"/>
                    <a:gd name="connsiteY20" fmla="*/ 138915 h 1252526"/>
                    <a:gd name="connsiteX21" fmla="*/ 739907 w 1219683"/>
                    <a:gd name="connsiteY21" fmla="*/ 120160 h 1252526"/>
                    <a:gd name="connsiteX22" fmla="*/ 733656 w 1219683"/>
                    <a:gd name="connsiteY22" fmla="*/ 95154 h 1252526"/>
                    <a:gd name="connsiteX23" fmla="*/ 715040 w 1219683"/>
                    <a:gd name="connsiteY23" fmla="*/ 45003 h 1252526"/>
                    <a:gd name="connsiteX24" fmla="*/ 702536 w 1219683"/>
                    <a:gd name="connsiteY24" fmla="*/ 26248 h 1252526"/>
                    <a:gd name="connsiteX25" fmla="*/ 683921 w 1219683"/>
                    <a:gd name="connsiteY25" fmla="*/ 45003 h 1252526"/>
                    <a:gd name="connsiteX26" fmla="*/ 646551 w 1219683"/>
                    <a:gd name="connsiteY26" fmla="*/ 88764 h 1252526"/>
                    <a:gd name="connsiteX27" fmla="*/ 621683 w 1219683"/>
                    <a:gd name="connsiteY27" fmla="*/ 82512 h 1252526"/>
                    <a:gd name="connsiteX28" fmla="*/ 603067 w 1219683"/>
                    <a:gd name="connsiteY28" fmla="*/ 82512 h 1252526"/>
                    <a:gd name="connsiteX29" fmla="*/ 571948 w 1219683"/>
                    <a:gd name="connsiteY29" fmla="*/ 82512 h 1252526"/>
                    <a:gd name="connsiteX30" fmla="*/ 559445 w 1219683"/>
                    <a:gd name="connsiteY30" fmla="*/ 95015 h 1252526"/>
                    <a:gd name="connsiteX31" fmla="*/ 515823 w 1219683"/>
                    <a:gd name="connsiteY31" fmla="*/ 101267 h 1252526"/>
                    <a:gd name="connsiteX32" fmla="*/ 472201 w 1219683"/>
                    <a:gd name="connsiteY32" fmla="*/ 113770 h 1252526"/>
                    <a:gd name="connsiteX33" fmla="*/ 441082 w 1219683"/>
                    <a:gd name="connsiteY33" fmla="*/ 76260 h 1252526"/>
                    <a:gd name="connsiteX34" fmla="*/ 447334 w 1219683"/>
                    <a:gd name="connsiteY34" fmla="*/ 26248 h 1252526"/>
                    <a:gd name="connsiteX35" fmla="*/ 422467 w 1219683"/>
                    <a:gd name="connsiteY35" fmla="*/ 1242 h 1252526"/>
                    <a:gd name="connsiteX36" fmla="*/ 372593 w 1219683"/>
                    <a:gd name="connsiteY36" fmla="*/ 26248 h 1252526"/>
                    <a:gd name="connsiteX37" fmla="*/ 353977 w 1219683"/>
                    <a:gd name="connsiteY37" fmla="*/ 32500 h 1252526"/>
                    <a:gd name="connsiteX38" fmla="*/ 341474 w 1219683"/>
                    <a:gd name="connsiteY38" fmla="*/ 38751 h 1252526"/>
                    <a:gd name="connsiteX39" fmla="*/ 285488 w 1219683"/>
                    <a:gd name="connsiteY39" fmla="*/ 32500 h 1252526"/>
                    <a:gd name="connsiteX40" fmla="*/ 297991 w 1219683"/>
                    <a:gd name="connsiteY40" fmla="*/ 38751 h 1252526"/>
                    <a:gd name="connsiteX41" fmla="*/ 304243 w 1219683"/>
                    <a:gd name="connsiteY41" fmla="*/ 63757 h 1252526"/>
                    <a:gd name="connsiteX42" fmla="*/ 316746 w 1219683"/>
                    <a:gd name="connsiteY42" fmla="*/ 82512 h 1252526"/>
                    <a:gd name="connsiteX43" fmla="*/ 329249 w 1219683"/>
                    <a:gd name="connsiteY43" fmla="*/ 82512 h 1252526"/>
                    <a:gd name="connsiteX44" fmla="*/ 310633 w 1219683"/>
                    <a:gd name="connsiteY44" fmla="*/ 95015 h 1252526"/>
                    <a:gd name="connsiteX45" fmla="*/ 298130 w 1219683"/>
                    <a:gd name="connsiteY45" fmla="*/ 113770 h 1252526"/>
                    <a:gd name="connsiteX46" fmla="*/ 260759 w 1219683"/>
                    <a:gd name="connsiteY46" fmla="*/ 132525 h 1252526"/>
                    <a:gd name="connsiteX47" fmla="*/ 248256 w 1219683"/>
                    <a:gd name="connsiteY47" fmla="*/ 132525 h 1252526"/>
                    <a:gd name="connsiteX48" fmla="*/ 229641 w 1219683"/>
                    <a:gd name="connsiteY48" fmla="*/ 126273 h 1252526"/>
                    <a:gd name="connsiteX49" fmla="*/ 204774 w 1219683"/>
                    <a:gd name="connsiteY49" fmla="*/ 95015 h 1252526"/>
                    <a:gd name="connsiteX50" fmla="*/ 161151 w 1219683"/>
                    <a:gd name="connsiteY50" fmla="*/ 107518 h 1252526"/>
                    <a:gd name="connsiteX51" fmla="*/ 123781 w 1219683"/>
                    <a:gd name="connsiteY51" fmla="*/ 107518 h 1252526"/>
                    <a:gd name="connsiteX52" fmla="*/ 130033 w 1219683"/>
                    <a:gd name="connsiteY52" fmla="*/ 120021 h 1252526"/>
                    <a:gd name="connsiteX53" fmla="*/ 148648 w 1219683"/>
                    <a:gd name="connsiteY53" fmla="*/ 126273 h 1252526"/>
                    <a:gd name="connsiteX54" fmla="*/ 117529 w 1219683"/>
                    <a:gd name="connsiteY54" fmla="*/ 138776 h 1252526"/>
                    <a:gd name="connsiteX55" fmla="*/ 130033 w 1219683"/>
                    <a:gd name="connsiteY55" fmla="*/ 170034 h 1252526"/>
                    <a:gd name="connsiteX56" fmla="*/ 130033 w 1219683"/>
                    <a:gd name="connsiteY56" fmla="*/ 238940 h 1252526"/>
                    <a:gd name="connsiteX57" fmla="*/ 117529 w 1219683"/>
                    <a:gd name="connsiteY57" fmla="*/ 289092 h 1252526"/>
                    <a:gd name="connsiteX58" fmla="*/ 86410 w 1219683"/>
                    <a:gd name="connsiteY58" fmla="*/ 295343 h 1252526"/>
                    <a:gd name="connsiteX59" fmla="*/ 55292 w 1219683"/>
                    <a:gd name="connsiteY59" fmla="*/ 301595 h 1252526"/>
                    <a:gd name="connsiteX60" fmla="*/ 24173 w 1219683"/>
                    <a:gd name="connsiteY60" fmla="*/ 351746 h 1252526"/>
                    <a:gd name="connsiteX61" fmla="*/ 5557 w 1219683"/>
                    <a:gd name="connsiteY61" fmla="*/ 370501 h 1252526"/>
                    <a:gd name="connsiteX62" fmla="*/ 5557 w 1219683"/>
                    <a:gd name="connsiteY62" fmla="*/ 408010 h 1252526"/>
                    <a:gd name="connsiteX63" fmla="*/ 24173 w 1219683"/>
                    <a:gd name="connsiteY63" fmla="*/ 445519 h 1252526"/>
                    <a:gd name="connsiteX64" fmla="*/ 36676 w 1219683"/>
                    <a:gd name="connsiteY64" fmla="*/ 451771 h 1252526"/>
                    <a:gd name="connsiteX65" fmla="*/ 49179 w 1219683"/>
                    <a:gd name="connsiteY65" fmla="*/ 464274 h 1252526"/>
                    <a:gd name="connsiteX66" fmla="*/ 105165 w 1219683"/>
                    <a:gd name="connsiteY66" fmla="*/ 451771 h 1252526"/>
                    <a:gd name="connsiteX67" fmla="*/ 111417 w 1219683"/>
                    <a:gd name="connsiteY67" fmla="*/ 508174 h 1252526"/>
                    <a:gd name="connsiteX68" fmla="*/ 142536 w 1219683"/>
                    <a:gd name="connsiteY68" fmla="*/ 501922 h 1252526"/>
                    <a:gd name="connsiteX69" fmla="*/ 179906 w 1219683"/>
                    <a:gd name="connsiteY69" fmla="*/ 495671 h 1252526"/>
                    <a:gd name="connsiteX70" fmla="*/ 198522 w 1219683"/>
                    <a:gd name="connsiteY70" fmla="*/ 489419 h 1252526"/>
                    <a:gd name="connsiteX71" fmla="*/ 235892 w 1219683"/>
                    <a:gd name="connsiteY71" fmla="*/ 470665 h 1252526"/>
                    <a:gd name="connsiteX72" fmla="*/ 267011 w 1219683"/>
                    <a:gd name="connsiteY72" fmla="*/ 476916 h 1252526"/>
                    <a:gd name="connsiteX73" fmla="*/ 267011 w 1219683"/>
                    <a:gd name="connsiteY73" fmla="*/ 514426 h 1252526"/>
                    <a:gd name="connsiteX74" fmla="*/ 298130 w 1219683"/>
                    <a:gd name="connsiteY74" fmla="*/ 545683 h 1252526"/>
                    <a:gd name="connsiteX75" fmla="*/ 341752 w 1219683"/>
                    <a:gd name="connsiteY75" fmla="*/ 558186 h 1252526"/>
                    <a:gd name="connsiteX76" fmla="*/ 360368 w 1219683"/>
                    <a:gd name="connsiteY76" fmla="*/ 570690 h 1252526"/>
                    <a:gd name="connsiteX77" fmla="*/ 372871 w 1219683"/>
                    <a:gd name="connsiteY77" fmla="*/ 583193 h 1252526"/>
                    <a:gd name="connsiteX78" fmla="*/ 416493 w 1219683"/>
                    <a:gd name="connsiteY78" fmla="*/ 595696 h 1252526"/>
                    <a:gd name="connsiteX79" fmla="*/ 422745 w 1219683"/>
                    <a:gd name="connsiteY79" fmla="*/ 620702 h 1252526"/>
                    <a:gd name="connsiteX80" fmla="*/ 416493 w 1219683"/>
                    <a:gd name="connsiteY80" fmla="*/ 633205 h 1252526"/>
                    <a:gd name="connsiteX81" fmla="*/ 428996 w 1219683"/>
                    <a:gd name="connsiteY81" fmla="*/ 670715 h 1252526"/>
                    <a:gd name="connsiteX82" fmla="*/ 484982 w 1219683"/>
                    <a:gd name="connsiteY82" fmla="*/ 670715 h 1252526"/>
                    <a:gd name="connsiteX83" fmla="*/ 491234 w 1219683"/>
                    <a:gd name="connsiteY83" fmla="*/ 708224 h 1252526"/>
                    <a:gd name="connsiteX84" fmla="*/ 503737 w 1219683"/>
                    <a:gd name="connsiteY84" fmla="*/ 758236 h 1252526"/>
                    <a:gd name="connsiteX85" fmla="*/ 497485 w 1219683"/>
                    <a:gd name="connsiteY85" fmla="*/ 808388 h 1252526"/>
                    <a:gd name="connsiteX86" fmla="*/ 503737 w 1219683"/>
                    <a:gd name="connsiteY86" fmla="*/ 839645 h 1252526"/>
                    <a:gd name="connsiteX87" fmla="*/ 503737 w 1219683"/>
                    <a:gd name="connsiteY87" fmla="*/ 858400 h 1252526"/>
                    <a:gd name="connsiteX88" fmla="*/ 541107 w 1219683"/>
                    <a:gd name="connsiteY88" fmla="*/ 864652 h 1252526"/>
                    <a:gd name="connsiteX89" fmla="*/ 572226 w 1219683"/>
                    <a:gd name="connsiteY89" fmla="*/ 902161 h 1252526"/>
                    <a:gd name="connsiteX90" fmla="*/ 578478 w 1219683"/>
                    <a:gd name="connsiteY90" fmla="*/ 920916 h 1252526"/>
                    <a:gd name="connsiteX91" fmla="*/ 603345 w 1219683"/>
                    <a:gd name="connsiteY91" fmla="*/ 920916 h 1252526"/>
                    <a:gd name="connsiteX92" fmla="*/ 603345 w 1219683"/>
                    <a:gd name="connsiteY92" fmla="*/ 977319 h 1252526"/>
                    <a:gd name="connsiteX93" fmla="*/ 628212 w 1219683"/>
                    <a:gd name="connsiteY93" fmla="*/ 996073 h 1252526"/>
                    <a:gd name="connsiteX94" fmla="*/ 603345 w 1219683"/>
                    <a:gd name="connsiteY94" fmla="*/ 1033583 h 1252526"/>
                    <a:gd name="connsiteX95" fmla="*/ 553472 w 1219683"/>
                    <a:gd name="connsiteY95" fmla="*/ 1077344 h 1252526"/>
                    <a:gd name="connsiteX96" fmla="*/ 528604 w 1219683"/>
                    <a:gd name="connsiteY96" fmla="*/ 1102350 h 1252526"/>
                    <a:gd name="connsiteX97" fmla="*/ 497485 w 1219683"/>
                    <a:gd name="connsiteY97" fmla="*/ 1133608 h 1252526"/>
                    <a:gd name="connsiteX98" fmla="*/ 528604 w 1219683"/>
                    <a:gd name="connsiteY98" fmla="*/ 1127356 h 1252526"/>
                    <a:gd name="connsiteX99" fmla="*/ 547220 w 1219683"/>
                    <a:gd name="connsiteY99" fmla="*/ 1139859 h 1252526"/>
                    <a:gd name="connsiteX100" fmla="*/ 559723 w 1219683"/>
                    <a:gd name="connsiteY100" fmla="*/ 1158614 h 1252526"/>
                    <a:gd name="connsiteX101" fmla="*/ 578339 w 1219683"/>
                    <a:gd name="connsiteY101" fmla="*/ 1164866 h 1252526"/>
                    <a:gd name="connsiteX102" fmla="*/ 621961 w 1219683"/>
                    <a:gd name="connsiteY102" fmla="*/ 1202375 h 1252526"/>
                    <a:gd name="connsiteX103" fmla="*/ 640577 w 1219683"/>
                    <a:gd name="connsiteY103" fmla="*/ 1252526 h 1252526"/>
                    <a:gd name="connsiteX104" fmla="*/ 659192 w 1219683"/>
                    <a:gd name="connsiteY104" fmla="*/ 1227520 h 1252526"/>
                    <a:gd name="connsiteX105" fmla="*/ 671695 w 1219683"/>
                    <a:gd name="connsiteY105" fmla="*/ 1202514 h 1252526"/>
                    <a:gd name="connsiteX106" fmla="*/ 715318 w 1219683"/>
                    <a:gd name="connsiteY106" fmla="*/ 1165005 h 1252526"/>
                    <a:gd name="connsiteX107" fmla="*/ 733933 w 1219683"/>
                    <a:gd name="connsiteY107" fmla="*/ 1121244 h 1252526"/>
                    <a:gd name="connsiteX108" fmla="*/ 777555 w 1219683"/>
                    <a:gd name="connsiteY108" fmla="*/ 1071092 h 1252526"/>
                    <a:gd name="connsiteX109" fmla="*/ 783807 w 1219683"/>
                    <a:gd name="connsiteY109" fmla="*/ 1002186 h 1252526"/>
                    <a:gd name="connsiteX110" fmla="*/ 790058 w 1219683"/>
                    <a:gd name="connsiteY110" fmla="*/ 977180 h 1252526"/>
                    <a:gd name="connsiteX111" fmla="*/ 796310 w 1219683"/>
                    <a:gd name="connsiteY111" fmla="*/ 970928 h 1252526"/>
                    <a:gd name="connsiteX112" fmla="*/ 821177 w 1219683"/>
                    <a:gd name="connsiteY112" fmla="*/ 945922 h 1252526"/>
                    <a:gd name="connsiteX113" fmla="*/ 846045 w 1219683"/>
                    <a:gd name="connsiteY113" fmla="*/ 927167 h 1252526"/>
                    <a:gd name="connsiteX114" fmla="*/ 870912 w 1219683"/>
                    <a:gd name="connsiteY114" fmla="*/ 914664 h 1252526"/>
                    <a:gd name="connsiteX115" fmla="*/ 889528 w 1219683"/>
                    <a:gd name="connsiteY115" fmla="*/ 920916 h 1252526"/>
                    <a:gd name="connsiteX116" fmla="*/ 889528 w 1219683"/>
                    <a:gd name="connsiteY116" fmla="*/ 914664 h 1252526"/>
                    <a:gd name="connsiteX117" fmla="*/ 908143 w 1219683"/>
                    <a:gd name="connsiteY117" fmla="*/ 902161 h 1252526"/>
                    <a:gd name="connsiteX118" fmla="*/ 920646 w 1219683"/>
                    <a:gd name="connsiteY118" fmla="*/ 889658 h 1252526"/>
                    <a:gd name="connsiteX119" fmla="*/ 958017 w 1219683"/>
                    <a:gd name="connsiteY119" fmla="*/ 883406 h 1252526"/>
                    <a:gd name="connsiteX120" fmla="*/ 964269 w 1219683"/>
                    <a:gd name="connsiteY120" fmla="*/ 889658 h 1252526"/>
                    <a:gd name="connsiteX121" fmla="*/ 995387 w 1219683"/>
                    <a:gd name="connsiteY121" fmla="*/ 883406 h 1252526"/>
                    <a:gd name="connsiteX122" fmla="*/ 1007891 w 1219683"/>
                    <a:gd name="connsiteY122" fmla="*/ 864652 h 1252526"/>
                    <a:gd name="connsiteX123" fmla="*/ 1020394 w 1219683"/>
                    <a:gd name="connsiteY123" fmla="*/ 852148 h 1252526"/>
                    <a:gd name="connsiteX124" fmla="*/ 1026645 w 1219683"/>
                    <a:gd name="connsiteY124" fmla="*/ 827142 h 1252526"/>
                    <a:gd name="connsiteX125" fmla="*/ 1045261 w 1219683"/>
                    <a:gd name="connsiteY125" fmla="*/ 808388 h 1252526"/>
                    <a:gd name="connsiteX126" fmla="*/ 1063877 w 1219683"/>
                    <a:gd name="connsiteY126" fmla="*/ 764627 h 1252526"/>
                    <a:gd name="connsiteX127" fmla="*/ 1070128 w 1219683"/>
                    <a:gd name="connsiteY127" fmla="*/ 733369 h 1252526"/>
                    <a:gd name="connsiteX128" fmla="*/ 1082632 w 1219683"/>
                    <a:gd name="connsiteY128" fmla="*/ 720866 h 1252526"/>
                    <a:gd name="connsiteX129" fmla="*/ 1082632 w 1219683"/>
                    <a:gd name="connsiteY129" fmla="*/ 695859 h 1252526"/>
                    <a:gd name="connsiteX130" fmla="*/ 1088883 w 1219683"/>
                    <a:gd name="connsiteY130" fmla="*/ 664602 h 1252526"/>
                    <a:gd name="connsiteX131" fmla="*/ 1088883 w 1219683"/>
                    <a:gd name="connsiteY131" fmla="*/ 608199 h 1252526"/>
                    <a:gd name="connsiteX132" fmla="*/ 1088883 w 1219683"/>
                    <a:gd name="connsiteY132" fmla="*/ 576941 h 1252526"/>
                    <a:gd name="connsiteX133" fmla="*/ 1088883 w 1219683"/>
                    <a:gd name="connsiteY133" fmla="*/ 558186 h 1252526"/>
                    <a:gd name="connsiteX134" fmla="*/ 1101386 w 1219683"/>
                    <a:gd name="connsiteY134" fmla="*/ 564438 h 1252526"/>
                    <a:gd name="connsiteX135" fmla="*/ 1101386 w 1219683"/>
                    <a:gd name="connsiteY135" fmla="*/ 558186 h 1252526"/>
                    <a:gd name="connsiteX136" fmla="*/ 1107638 w 1219683"/>
                    <a:gd name="connsiteY136" fmla="*/ 558186 h 1252526"/>
                    <a:gd name="connsiteX137" fmla="*/ 1126253 w 1219683"/>
                    <a:gd name="connsiteY137" fmla="*/ 533180 h 1252526"/>
                    <a:gd name="connsiteX138" fmla="*/ 1144869 w 1219683"/>
                    <a:gd name="connsiteY138" fmla="*/ 501922 h 1252526"/>
                    <a:gd name="connsiteX139" fmla="*/ 1175988 w 1219683"/>
                    <a:gd name="connsiteY139" fmla="*/ 476916 h 1252526"/>
                    <a:gd name="connsiteX140" fmla="*/ 1213220 w 1219683"/>
                    <a:gd name="connsiteY140" fmla="*/ 351607 h 1252526"/>
                    <a:gd name="connsiteX141" fmla="*/ 1213220 w 1219683"/>
                    <a:gd name="connsiteY141" fmla="*/ 351607 h 1252526"/>
                    <a:gd name="connsiteX142" fmla="*/ 708788 w 1219683"/>
                    <a:gd name="connsiteY142" fmla="*/ 1159309 h 1252526"/>
                    <a:gd name="connsiteX143" fmla="*/ 677669 w 1219683"/>
                    <a:gd name="connsiteY143" fmla="*/ 1184315 h 1252526"/>
                    <a:gd name="connsiteX144" fmla="*/ 690172 w 1219683"/>
                    <a:gd name="connsiteY144" fmla="*/ 1165560 h 1252526"/>
                    <a:gd name="connsiteX145" fmla="*/ 715040 w 1219683"/>
                    <a:gd name="connsiteY145" fmla="*/ 1134302 h 1252526"/>
                    <a:gd name="connsiteX146" fmla="*/ 708788 w 1219683"/>
                    <a:gd name="connsiteY146" fmla="*/ 1159309 h 1252526"/>
                    <a:gd name="connsiteX147" fmla="*/ 708788 w 1219683"/>
                    <a:gd name="connsiteY147" fmla="*/ 1159309 h 125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219683" h="1252526">
                      <a:moveTo>
                        <a:pt x="1213220" y="351607"/>
                      </a:moveTo>
                      <a:cubicBezTo>
                        <a:pt x="1206968" y="339104"/>
                        <a:pt x="1206968" y="326601"/>
                        <a:pt x="1200717" y="320349"/>
                      </a:cubicBezTo>
                      <a:cubicBezTo>
                        <a:pt x="1188213" y="314098"/>
                        <a:pt x="1169598" y="320349"/>
                        <a:pt x="1163346" y="314098"/>
                      </a:cubicBezTo>
                      <a:cubicBezTo>
                        <a:pt x="1132227" y="307846"/>
                        <a:pt x="1113472" y="282840"/>
                        <a:pt x="1094857" y="270337"/>
                      </a:cubicBezTo>
                      <a:cubicBezTo>
                        <a:pt x="1082354" y="264085"/>
                        <a:pt x="1069989" y="257834"/>
                        <a:pt x="1063738" y="251582"/>
                      </a:cubicBezTo>
                      <a:cubicBezTo>
                        <a:pt x="1045122" y="245331"/>
                        <a:pt x="1038871" y="251582"/>
                        <a:pt x="1020116" y="251582"/>
                      </a:cubicBezTo>
                      <a:cubicBezTo>
                        <a:pt x="995249" y="257834"/>
                        <a:pt x="970242" y="226576"/>
                        <a:pt x="945375" y="239079"/>
                      </a:cubicBezTo>
                      <a:cubicBezTo>
                        <a:pt x="926759" y="245331"/>
                        <a:pt x="908005" y="214073"/>
                        <a:pt x="895502" y="207821"/>
                      </a:cubicBezTo>
                      <a:cubicBezTo>
                        <a:pt x="876886" y="195318"/>
                        <a:pt x="851879" y="182815"/>
                        <a:pt x="833264" y="182815"/>
                      </a:cubicBezTo>
                      <a:cubicBezTo>
                        <a:pt x="820761" y="176564"/>
                        <a:pt x="808396" y="176564"/>
                        <a:pt x="802145" y="182815"/>
                      </a:cubicBezTo>
                      <a:cubicBezTo>
                        <a:pt x="795893" y="201570"/>
                        <a:pt x="777277" y="207821"/>
                        <a:pt x="771026" y="220324"/>
                      </a:cubicBezTo>
                      <a:cubicBezTo>
                        <a:pt x="758523" y="239079"/>
                        <a:pt x="764774" y="232828"/>
                        <a:pt x="752410" y="220324"/>
                      </a:cubicBezTo>
                      <a:lnTo>
                        <a:pt x="746159" y="214073"/>
                      </a:lnTo>
                      <a:cubicBezTo>
                        <a:pt x="733656" y="207821"/>
                        <a:pt x="739907" y="220324"/>
                        <a:pt x="733656" y="226576"/>
                      </a:cubicBezTo>
                      <a:cubicBezTo>
                        <a:pt x="727404" y="232828"/>
                        <a:pt x="708788" y="176424"/>
                        <a:pt x="715040" y="176424"/>
                      </a:cubicBezTo>
                      <a:cubicBezTo>
                        <a:pt x="715040" y="176424"/>
                        <a:pt x="696424" y="201431"/>
                        <a:pt x="690172" y="201431"/>
                      </a:cubicBezTo>
                      <a:cubicBezTo>
                        <a:pt x="690172" y="201431"/>
                        <a:pt x="715040" y="182676"/>
                        <a:pt x="708788" y="176424"/>
                      </a:cubicBezTo>
                      <a:cubicBezTo>
                        <a:pt x="696285" y="170173"/>
                        <a:pt x="696285" y="201431"/>
                        <a:pt x="683921" y="201431"/>
                      </a:cubicBezTo>
                      <a:cubicBezTo>
                        <a:pt x="683921" y="201431"/>
                        <a:pt x="708788" y="163921"/>
                        <a:pt x="708788" y="157670"/>
                      </a:cubicBezTo>
                      <a:cubicBezTo>
                        <a:pt x="708788" y="151418"/>
                        <a:pt x="721291" y="151418"/>
                        <a:pt x="721291" y="145167"/>
                      </a:cubicBezTo>
                      <a:cubicBezTo>
                        <a:pt x="727543" y="138915"/>
                        <a:pt x="733794" y="151418"/>
                        <a:pt x="739907" y="138915"/>
                      </a:cubicBezTo>
                      <a:cubicBezTo>
                        <a:pt x="746159" y="132664"/>
                        <a:pt x="739907" y="132664"/>
                        <a:pt x="739907" y="120160"/>
                      </a:cubicBezTo>
                      <a:cubicBezTo>
                        <a:pt x="746159" y="113909"/>
                        <a:pt x="746159" y="101406"/>
                        <a:pt x="733656" y="95154"/>
                      </a:cubicBezTo>
                      <a:cubicBezTo>
                        <a:pt x="715040" y="88903"/>
                        <a:pt x="715040" y="63896"/>
                        <a:pt x="715040" y="45003"/>
                      </a:cubicBezTo>
                      <a:cubicBezTo>
                        <a:pt x="715040" y="38751"/>
                        <a:pt x="708788" y="32500"/>
                        <a:pt x="702536" y="26248"/>
                      </a:cubicBezTo>
                      <a:cubicBezTo>
                        <a:pt x="696285" y="19996"/>
                        <a:pt x="690033" y="38751"/>
                        <a:pt x="683921" y="45003"/>
                      </a:cubicBezTo>
                      <a:cubicBezTo>
                        <a:pt x="677669" y="63757"/>
                        <a:pt x="665305" y="88764"/>
                        <a:pt x="646551" y="88764"/>
                      </a:cubicBezTo>
                      <a:cubicBezTo>
                        <a:pt x="640299" y="88764"/>
                        <a:pt x="634047" y="82512"/>
                        <a:pt x="621683" y="82512"/>
                      </a:cubicBezTo>
                      <a:cubicBezTo>
                        <a:pt x="615431" y="82512"/>
                        <a:pt x="609180" y="88764"/>
                        <a:pt x="603067" y="82512"/>
                      </a:cubicBezTo>
                      <a:cubicBezTo>
                        <a:pt x="590564" y="76260"/>
                        <a:pt x="584451" y="82512"/>
                        <a:pt x="571948" y="82512"/>
                      </a:cubicBezTo>
                      <a:cubicBezTo>
                        <a:pt x="559445" y="82512"/>
                        <a:pt x="565697" y="82512"/>
                        <a:pt x="559445" y="95015"/>
                      </a:cubicBezTo>
                      <a:cubicBezTo>
                        <a:pt x="553194" y="101267"/>
                        <a:pt x="522075" y="95015"/>
                        <a:pt x="515823" y="101267"/>
                      </a:cubicBezTo>
                      <a:cubicBezTo>
                        <a:pt x="503320" y="101267"/>
                        <a:pt x="484705" y="113770"/>
                        <a:pt x="472201" y="113770"/>
                      </a:cubicBezTo>
                      <a:cubicBezTo>
                        <a:pt x="453585" y="113770"/>
                        <a:pt x="441082" y="88764"/>
                        <a:pt x="441082" y="76260"/>
                      </a:cubicBezTo>
                      <a:cubicBezTo>
                        <a:pt x="428579" y="57506"/>
                        <a:pt x="453585" y="45003"/>
                        <a:pt x="447334" y="26248"/>
                      </a:cubicBezTo>
                      <a:cubicBezTo>
                        <a:pt x="441082" y="13745"/>
                        <a:pt x="434831" y="-5010"/>
                        <a:pt x="422467" y="1242"/>
                      </a:cubicBezTo>
                      <a:cubicBezTo>
                        <a:pt x="422467" y="7493"/>
                        <a:pt x="378845" y="26248"/>
                        <a:pt x="372593" y="26248"/>
                      </a:cubicBezTo>
                      <a:cubicBezTo>
                        <a:pt x="366341" y="26248"/>
                        <a:pt x="353977" y="26248"/>
                        <a:pt x="353977" y="32500"/>
                      </a:cubicBezTo>
                      <a:cubicBezTo>
                        <a:pt x="347726" y="32500"/>
                        <a:pt x="347726" y="51254"/>
                        <a:pt x="341474" y="38751"/>
                      </a:cubicBezTo>
                      <a:cubicBezTo>
                        <a:pt x="335223" y="32500"/>
                        <a:pt x="285488" y="26248"/>
                        <a:pt x="285488" y="32500"/>
                      </a:cubicBezTo>
                      <a:lnTo>
                        <a:pt x="297991" y="38751"/>
                      </a:lnTo>
                      <a:cubicBezTo>
                        <a:pt x="304243" y="45003"/>
                        <a:pt x="304243" y="51254"/>
                        <a:pt x="304243" y="63757"/>
                      </a:cubicBezTo>
                      <a:cubicBezTo>
                        <a:pt x="310494" y="63757"/>
                        <a:pt x="310494" y="76260"/>
                        <a:pt x="316746" y="82512"/>
                      </a:cubicBezTo>
                      <a:lnTo>
                        <a:pt x="329249" y="82512"/>
                      </a:lnTo>
                      <a:cubicBezTo>
                        <a:pt x="329249" y="88764"/>
                        <a:pt x="316746" y="95015"/>
                        <a:pt x="310633" y="95015"/>
                      </a:cubicBezTo>
                      <a:cubicBezTo>
                        <a:pt x="304382" y="101267"/>
                        <a:pt x="304382" y="107518"/>
                        <a:pt x="298130" y="113770"/>
                      </a:cubicBezTo>
                      <a:cubicBezTo>
                        <a:pt x="298130" y="113770"/>
                        <a:pt x="267011" y="138776"/>
                        <a:pt x="260759" y="132525"/>
                      </a:cubicBezTo>
                      <a:cubicBezTo>
                        <a:pt x="260759" y="126273"/>
                        <a:pt x="254508" y="126273"/>
                        <a:pt x="248256" y="132525"/>
                      </a:cubicBezTo>
                      <a:cubicBezTo>
                        <a:pt x="242005" y="138776"/>
                        <a:pt x="229641" y="126273"/>
                        <a:pt x="229641" y="126273"/>
                      </a:cubicBezTo>
                      <a:cubicBezTo>
                        <a:pt x="217138" y="120021"/>
                        <a:pt x="211025" y="95015"/>
                        <a:pt x="204774" y="95015"/>
                      </a:cubicBezTo>
                      <a:cubicBezTo>
                        <a:pt x="192270" y="88764"/>
                        <a:pt x="173654" y="107518"/>
                        <a:pt x="161151" y="107518"/>
                      </a:cubicBezTo>
                      <a:cubicBezTo>
                        <a:pt x="148648" y="107518"/>
                        <a:pt x="136284" y="107518"/>
                        <a:pt x="123781" y="107518"/>
                      </a:cubicBezTo>
                      <a:cubicBezTo>
                        <a:pt x="123781" y="107518"/>
                        <a:pt x="123781" y="120021"/>
                        <a:pt x="130033" y="120021"/>
                      </a:cubicBezTo>
                      <a:cubicBezTo>
                        <a:pt x="130033" y="126273"/>
                        <a:pt x="142536" y="126273"/>
                        <a:pt x="148648" y="126273"/>
                      </a:cubicBezTo>
                      <a:cubicBezTo>
                        <a:pt x="148648" y="132525"/>
                        <a:pt x="123781" y="138776"/>
                        <a:pt x="117529" y="138776"/>
                      </a:cubicBezTo>
                      <a:cubicBezTo>
                        <a:pt x="111278" y="145028"/>
                        <a:pt x="123781" y="163782"/>
                        <a:pt x="130033" y="170034"/>
                      </a:cubicBezTo>
                      <a:cubicBezTo>
                        <a:pt x="142536" y="195040"/>
                        <a:pt x="142536" y="213795"/>
                        <a:pt x="130033" y="238940"/>
                      </a:cubicBezTo>
                      <a:cubicBezTo>
                        <a:pt x="130033" y="251443"/>
                        <a:pt x="130033" y="289092"/>
                        <a:pt x="117529" y="289092"/>
                      </a:cubicBezTo>
                      <a:cubicBezTo>
                        <a:pt x="111278" y="295343"/>
                        <a:pt x="98914" y="289092"/>
                        <a:pt x="86410" y="295343"/>
                      </a:cubicBezTo>
                      <a:cubicBezTo>
                        <a:pt x="80159" y="301595"/>
                        <a:pt x="61543" y="301595"/>
                        <a:pt x="55292" y="301595"/>
                      </a:cubicBezTo>
                      <a:cubicBezTo>
                        <a:pt x="24173" y="314098"/>
                        <a:pt x="24173" y="326601"/>
                        <a:pt x="24173" y="351746"/>
                      </a:cubicBezTo>
                      <a:cubicBezTo>
                        <a:pt x="24173" y="364249"/>
                        <a:pt x="5557" y="364249"/>
                        <a:pt x="5557" y="370501"/>
                      </a:cubicBezTo>
                      <a:cubicBezTo>
                        <a:pt x="5557" y="389255"/>
                        <a:pt x="-6946" y="395507"/>
                        <a:pt x="5557" y="408010"/>
                      </a:cubicBezTo>
                      <a:cubicBezTo>
                        <a:pt x="18060" y="420513"/>
                        <a:pt x="18060" y="433016"/>
                        <a:pt x="24173" y="445519"/>
                      </a:cubicBezTo>
                      <a:cubicBezTo>
                        <a:pt x="24173" y="451771"/>
                        <a:pt x="30424" y="451771"/>
                        <a:pt x="36676" y="451771"/>
                      </a:cubicBezTo>
                      <a:cubicBezTo>
                        <a:pt x="42928" y="451771"/>
                        <a:pt x="42928" y="458022"/>
                        <a:pt x="49179" y="464274"/>
                      </a:cubicBezTo>
                      <a:cubicBezTo>
                        <a:pt x="61682" y="483029"/>
                        <a:pt x="92801" y="464274"/>
                        <a:pt x="105165" y="451771"/>
                      </a:cubicBezTo>
                      <a:cubicBezTo>
                        <a:pt x="105165" y="470526"/>
                        <a:pt x="92662" y="501922"/>
                        <a:pt x="111417" y="508174"/>
                      </a:cubicBezTo>
                      <a:cubicBezTo>
                        <a:pt x="117668" y="508174"/>
                        <a:pt x="136284" y="501922"/>
                        <a:pt x="142536" y="501922"/>
                      </a:cubicBezTo>
                      <a:cubicBezTo>
                        <a:pt x="161151" y="508174"/>
                        <a:pt x="167403" y="508174"/>
                        <a:pt x="179906" y="495671"/>
                      </a:cubicBezTo>
                      <a:cubicBezTo>
                        <a:pt x="179906" y="489419"/>
                        <a:pt x="192409" y="489419"/>
                        <a:pt x="198522" y="489419"/>
                      </a:cubicBezTo>
                      <a:cubicBezTo>
                        <a:pt x="211025" y="476916"/>
                        <a:pt x="223389" y="470665"/>
                        <a:pt x="235892" y="470665"/>
                      </a:cubicBezTo>
                      <a:cubicBezTo>
                        <a:pt x="248395" y="464413"/>
                        <a:pt x="279514" y="451910"/>
                        <a:pt x="267011" y="476916"/>
                      </a:cubicBezTo>
                      <a:cubicBezTo>
                        <a:pt x="267011" y="489419"/>
                        <a:pt x="260759" y="501922"/>
                        <a:pt x="267011" y="514426"/>
                      </a:cubicBezTo>
                      <a:cubicBezTo>
                        <a:pt x="273263" y="526929"/>
                        <a:pt x="285627" y="539432"/>
                        <a:pt x="298130" y="545683"/>
                      </a:cubicBezTo>
                      <a:cubicBezTo>
                        <a:pt x="310633" y="558186"/>
                        <a:pt x="329249" y="551935"/>
                        <a:pt x="341752" y="558186"/>
                      </a:cubicBezTo>
                      <a:cubicBezTo>
                        <a:pt x="348004" y="564438"/>
                        <a:pt x="354255" y="570690"/>
                        <a:pt x="360368" y="570690"/>
                      </a:cubicBezTo>
                      <a:cubicBezTo>
                        <a:pt x="366620" y="570690"/>
                        <a:pt x="372871" y="576941"/>
                        <a:pt x="372871" y="583193"/>
                      </a:cubicBezTo>
                      <a:cubicBezTo>
                        <a:pt x="385374" y="583193"/>
                        <a:pt x="416493" y="576941"/>
                        <a:pt x="416493" y="595696"/>
                      </a:cubicBezTo>
                      <a:cubicBezTo>
                        <a:pt x="422745" y="608199"/>
                        <a:pt x="416493" y="608199"/>
                        <a:pt x="422745" y="620702"/>
                      </a:cubicBezTo>
                      <a:cubicBezTo>
                        <a:pt x="428996" y="626954"/>
                        <a:pt x="422745" y="626954"/>
                        <a:pt x="416493" y="633205"/>
                      </a:cubicBezTo>
                      <a:cubicBezTo>
                        <a:pt x="416493" y="633205"/>
                        <a:pt x="428996" y="664463"/>
                        <a:pt x="428996" y="670715"/>
                      </a:cubicBezTo>
                      <a:cubicBezTo>
                        <a:pt x="428996" y="676966"/>
                        <a:pt x="478869" y="670715"/>
                        <a:pt x="484982" y="670715"/>
                      </a:cubicBezTo>
                      <a:cubicBezTo>
                        <a:pt x="484982" y="683218"/>
                        <a:pt x="478731" y="701972"/>
                        <a:pt x="491234" y="708224"/>
                      </a:cubicBezTo>
                      <a:cubicBezTo>
                        <a:pt x="509850" y="720727"/>
                        <a:pt x="509850" y="733230"/>
                        <a:pt x="503737" y="758236"/>
                      </a:cubicBezTo>
                      <a:cubicBezTo>
                        <a:pt x="497485" y="770739"/>
                        <a:pt x="491234" y="789494"/>
                        <a:pt x="497485" y="808388"/>
                      </a:cubicBezTo>
                      <a:cubicBezTo>
                        <a:pt x="497485" y="814639"/>
                        <a:pt x="503737" y="827142"/>
                        <a:pt x="503737" y="839645"/>
                      </a:cubicBezTo>
                      <a:cubicBezTo>
                        <a:pt x="503737" y="845897"/>
                        <a:pt x="491234" y="858400"/>
                        <a:pt x="503737" y="858400"/>
                      </a:cubicBezTo>
                      <a:cubicBezTo>
                        <a:pt x="509989" y="864652"/>
                        <a:pt x="528604" y="870903"/>
                        <a:pt x="541107" y="864652"/>
                      </a:cubicBezTo>
                      <a:cubicBezTo>
                        <a:pt x="553610" y="852148"/>
                        <a:pt x="578478" y="895909"/>
                        <a:pt x="572226" y="902161"/>
                      </a:cubicBezTo>
                      <a:cubicBezTo>
                        <a:pt x="572226" y="908413"/>
                        <a:pt x="572226" y="914664"/>
                        <a:pt x="578478" y="920916"/>
                      </a:cubicBezTo>
                      <a:cubicBezTo>
                        <a:pt x="584730" y="927167"/>
                        <a:pt x="597094" y="914664"/>
                        <a:pt x="603345" y="920916"/>
                      </a:cubicBezTo>
                      <a:cubicBezTo>
                        <a:pt x="628212" y="933419"/>
                        <a:pt x="603345" y="958425"/>
                        <a:pt x="603345" y="977319"/>
                      </a:cubicBezTo>
                      <a:cubicBezTo>
                        <a:pt x="615848" y="958564"/>
                        <a:pt x="628212" y="996073"/>
                        <a:pt x="628212" y="996073"/>
                      </a:cubicBezTo>
                      <a:cubicBezTo>
                        <a:pt x="634464" y="1021080"/>
                        <a:pt x="621961" y="1027331"/>
                        <a:pt x="603345" y="1033583"/>
                      </a:cubicBezTo>
                      <a:cubicBezTo>
                        <a:pt x="578478" y="1046086"/>
                        <a:pt x="565975" y="1058589"/>
                        <a:pt x="553472" y="1077344"/>
                      </a:cubicBezTo>
                      <a:cubicBezTo>
                        <a:pt x="547220" y="1089847"/>
                        <a:pt x="540969" y="1096098"/>
                        <a:pt x="528604" y="1102350"/>
                      </a:cubicBezTo>
                      <a:cubicBezTo>
                        <a:pt x="522353" y="1114853"/>
                        <a:pt x="509989" y="1121105"/>
                        <a:pt x="497485" y="1133608"/>
                      </a:cubicBezTo>
                      <a:cubicBezTo>
                        <a:pt x="509989" y="1133608"/>
                        <a:pt x="522353" y="1127356"/>
                        <a:pt x="528604" y="1127356"/>
                      </a:cubicBezTo>
                      <a:cubicBezTo>
                        <a:pt x="534856" y="1127356"/>
                        <a:pt x="541107" y="1139859"/>
                        <a:pt x="547220" y="1139859"/>
                      </a:cubicBezTo>
                      <a:cubicBezTo>
                        <a:pt x="547220" y="1146111"/>
                        <a:pt x="553472" y="1152362"/>
                        <a:pt x="559723" y="1158614"/>
                      </a:cubicBezTo>
                      <a:cubicBezTo>
                        <a:pt x="565975" y="1164866"/>
                        <a:pt x="572226" y="1158614"/>
                        <a:pt x="578339" y="1164866"/>
                      </a:cubicBezTo>
                      <a:cubicBezTo>
                        <a:pt x="590842" y="1177369"/>
                        <a:pt x="615709" y="1183620"/>
                        <a:pt x="621961" y="1202375"/>
                      </a:cubicBezTo>
                      <a:cubicBezTo>
                        <a:pt x="628212" y="1214878"/>
                        <a:pt x="634464" y="1239884"/>
                        <a:pt x="640577" y="1252526"/>
                      </a:cubicBezTo>
                      <a:cubicBezTo>
                        <a:pt x="646828" y="1246275"/>
                        <a:pt x="653080" y="1240023"/>
                        <a:pt x="659192" y="1227520"/>
                      </a:cubicBezTo>
                      <a:cubicBezTo>
                        <a:pt x="659192" y="1221269"/>
                        <a:pt x="665444" y="1208766"/>
                        <a:pt x="671695" y="1202514"/>
                      </a:cubicBezTo>
                      <a:cubicBezTo>
                        <a:pt x="677947" y="1183759"/>
                        <a:pt x="696563" y="1177508"/>
                        <a:pt x="715318" y="1165005"/>
                      </a:cubicBezTo>
                      <a:cubicBezTo>
                        <a:pt x="727821" y="1152501"/>
                        <a:pt x="727821" y="1139998"/>
                        <a:pt x="733933" y="1121244"/>
                      </a:cubicBezTo>
                      <a:cubicBezTo>
                        <a:pt x="746436" y="1096237"/>
                        <a:pt x="765052" y="1089986"/>
                        <a:pt x="777555" y="1071092"/>
                      </a:cubicBezTo>
                      <a:cubicBezTo>
                        <a:pt x="796171" y="1052337"/>
                        <a:pt x="777555" y="1027331"/>
                        <a:pt x="783807" y="1002186"/>
                      </a:cubicBezTo>
                      <a:cubicBezTo>
                        <a:pt x="790058" y="995934"/>
                        <a:pt x="790058" y="989683"/>
                        <a:pt x="790058" y="977180"/>
                      </a:cubicBezTo>
                      <a:cubicBezTo>
                        <a:pt x="790058" y="970928"/>
                        <a:pt x="790058" y="970928"/>
                        <a:pt x="796310" y="970928"/>
                      </a:cubicBezTo>
                      <a:cubicBezTo>
                        <a:pt x="808813" y="964677"/>
                        <a:pt x="814926" y="952173"/>
                        <a:pt x="821177" y="945922"/>
                      </a:cubicBezTo>
                      <a:cubicBezTo>
                        <a:pt x="827429" y="939670"/>
                        <a:pt x="833681" y="933419"/>
                        <a:pt x="846045" y="927167"/>
                      </a:cubicBezTo>
                      <a:cubicBezTo>
                        <a:pt x="852296" y="927167"/>
                        <a:pt x="858548" y="920916"/>
                        <a:pt x="870912" y="914664"/>
                      </a:cubicBezTo>
                      <a:cubicBezTo>
                        <a:pt x="877164" y="914664"/>
                        <a:pt x="883415" y="920916"/>
                        <a:pt x="889528" y="920916"/>
                      </a:cubicBezTo>
                      <a:cubicBezTo>
                        <a:pt x="895779" y="920916"/>
                        <a:pt x="889528" y="914664"/>
                        <a:pt x="889528" y="914664"/>
                      </a:cubicBezTo>
                      <a:cubicBezTo>
                        <a:pt x="883276" y="908413"/>
                        <a:pt x="908143" y="902161"/>
                        <a:pt x="908143" y="902161"/>
                      </a:cubicBezTo>
                      <a:cubicBezTo>
                        <a:pt x="908143" y="902161"/>
                        <a:pt x="920646" y="883406"/>
                        <a:pt x="920646" y="889658"/>
                      </a:cubicBezTo>
                      <a:cubicBezTo>
                        <a:pt x="926898" y="895909"/>
                        <a:pt x="958017" y="883406"/>
                        <a:pt x="958017" y="883406"/>
                      </a:cubicBezTo>
                      <a:cubicBezTo>
                        <a:pt x="964269" y="883406"/>
                        <a:pt x="958017" y="889658"/>
                        <a:pt x="964269" y="889658"/>
                      </a:cubicBezTo>
                      <a:cubicBezTo>
                        <a:pt x="970520" y="889658"/>
                        <a:pt x="989136" y="889658"/>
                        <a:pt x="995387" y="883406"/>
                      </a:cubicBezTo>
                      <a:cubicBezTo>
                        <a:pt x="1001639" y="877155"/>
                        <a:pt x="1001639" y="870903"/>
                        <a:pt x="1007891" y="864652"/>
                      </a:cubicBezTo>
                      <a:cubicBezTo>
                        <a:pt x="1014142" y="864652"/>
                        <a:pt x="1020394" y="858400"/>
                        <a:pt x="1020394" y="852148"/>
                      </a:cubicBezTo>
                      <a:cubicBezTo>
                        <a:pt x="1026645" y="845897"/>
                        <a:pt x="1020394" y="833394"/>
                        <a:pt x="1026645" y="827142"/>
                      </a:cubicBezTo>
                      <a:cubicBezTo>
                        <a:pt x="1032897" y="820891"/>
                        <a:pt x="1039148" y="814639"/>
                        <a:pt x="1045261" y="808388"/>
                      </a:cubicBezTo>
                      <a:cubicBezTo>
                        <a:pt x="1057764" y="789633"/>
                        <a:pt x="1063877" y="783381"/>
                        <a:pt x="1063877" y="764627"/>
                      </a:cubicBezTo>
                      <a:cubicBezTo>
                        <a:pt x="1063877" y="752124"/>
                        <a:pt x="1063877" y="745872"/>
                        <a:pt x="1070128" y="733369"/>
                      </a:cubicBezTo>
                      <a:cubicBezTo>
                        <a:pt x="1070128" y="727117"/>
                        <a:pt x="1076380" y="727117"/>
                        <a:pt x="1082632" y="720866"/>
                      </a:cubicBezTo>
                      <a:cubicBezTo>
                        <a:pt x="1088883" y="714614"/>
                        <a:pt x="1082632" y="702111"/>
                        <a:pt x="1082632" y="695859"/>
                      </a:cubicBezTo>
                      <a:cubicBezTo>
                        <a:pt x="1082632" y="683356"/>
                        <a:pt x="1088883" y="677105"/>
                        <a:pt x="1088883" y="664602"/>
                      </a:cubicBezTo>
                      <a:cubicBezTo>
                        <a:pt x="1095135" y="645847"/>
                        <a:pt x="1088883" y="627092"/>
                        <a:pt x="1088883" y="608199"/>
                      </a:cubicBezTo>
                      <a:cubicBezTo>
                        <a:pt x="1088883" y="595696"/>
                        <a:pt x="1082632" y="583193"/>
                        <a:pt x="1088883" y="576941"/>
                      </a:cubicBezTo>
                      <a:cubicBezTo>
                        <a:pt x="1095135" y="564438"/>
                        <a:pt x="1088883" y="570690"/>
                        <a:pt x="1088883" y="558186"/>
                      </a:cubicBezTo>
                      <a:lnTo>
                        <a:pt x="1101386" y="564438"/>
                      </a:lnTo>
                      <a:lnTo>
                        <a:pt x="1101386" y="558186"/>
                      </a:lnTo>
                      <a:lnTo>
                        <a:pt x="1107638" y="558186"/>
                      </a:lnTo>
                      <a:cubicBezTo>
                        <a:pt x="1120141" y="558186"/>
                        <a:pt x="1126253" y="539432"/>
                        <a:pt x="1126253" y="533180"/>
                      </a:cubicBezTo>
                      <a:cubicBezTo>
                        <a:pt x="1132505" y="526929"/>
                        <a:pt x="1138757" y="514426"/>
                        <a:pt x="1144869" y="501922"/>
                      </a:cubicBezTo>
                      <a:cubicBezTo>
                        <a:pt x="1157372" y="489419"/>
                        <a:pt x="1169737" y="489419"/>
                        <a:pt x="1175988" y="476916"/>
                      </a:cubicBezTo>
                      <a:cubicBezTo>
                        <a:pt x="1206968" y="439268"/>
                        <a:pt x="1231974" y="395507"/>
                        <a:pt x="1213220" y="351607"/>
                      </a:cubicBezTo>
                      <a:cubicBezTo>
                        <a:pt x="1200856" y="326601"/>
                        <a:pt x="1225723" y="370501"/>
                        <a:pt x="1213220" y="351607"/>
                      </a:cubicBezTo>
                      <a:close/>
                      <a:moveTo>
                        <a:pt x="708788" y="1159309"/>
                      </a:moveTo>
                      <a:cubicBezTo>
                        <a:pt x="696285" y="1165560"/>
                        <a:pt x="690172" y="1178063"/>
                        <a:pt x="677669" y="1184315"/>
                      </a:cubicBezTo>
                      <a:cubicBezTo>
                        <a:pt x="659054" y="1190566"/>
                        <a:pt x="690172" y="1171812"/>
                        <a:pt x="690172" y="1165560"/>
                      </a:cubicBezTo>
                      <a:cubicBezTo>
                        <a:pt x="696424" y="1159309"/>
                        <a:pt x="702676" y="1146805"/>
                        <a:pt x="715040" y="1134302"/>
                      </a:cubicBezTo>
                      <a:cubicBezTo>
                        <a:pt x="727543" y="1121660"/>
                        <a:pt x="721291" y="1146666"/>
                        <a:pt x="708788" y="1159309"/>
                      </a:cubicBezTo>
                      <a:cubicBezTo>
                        <a:pt x="708788" y="1159309"/>
                        <a:pt x="715040" y="1153057"/>
                        <a:pt x="708788" y="115930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6" name="Freihandform: Form 275">
                  <a:extLst>
                    <a:ext uri="{FF2B5EF4-FFF2-40B4-BE49-F238E27FC236}">
                      <a16:creationId xmlns:a16="http://schemas.microsoft.com/office/drawing/2014/main" id="{7BD579D6-08CD-4678-9352-FC9F5784E508}"/>
                    </a:ext>
                  </a:extLst>
                </p:cNvPr>
                <p:cNvSpPr/>
                <p:nvPr/>
              </p:nvSpPr>
              <p:spPr>
                <a:xfrm>
                  <a:off x="4262330" y="5505658"/>
                  <a:ext cx="165395" cy="165458"/>
                </a:xfrm>
                <a:custGeom>
                  <a:avLst/>
                  <a:gdLst>
                    <a:gd name="connsiteX0" fmla="*/ 131212 w 165395"/>
                    <a:gd name="connsiteY0" fmla="*/ 55014 h 165458"/>
                    <a:gd name="connsiteX1" fmla="*/ 105789 w 165395"/>
                    <a:gd name="connsiteY1" fmla="*/ 36676 h 165458"/>
                    <a:gd name="connsiteX2" fmla="*/ 86756 w 165395"/>
                    <a:gd name="connsiteY2" fmla="*/ 30563 h 165458"/>
                    <a:gd name="connsiteX3" fmla="*/ 67723 w 165395"/>
                    <a:gd name="connsiteY3" fmla="*/ 12225 h 165458"/>
                    <a:gd name="connsiteX4" fmla="*/ 35910 w 165395"/>
                    <a:gd name="connsiteY4" fmla="*/ 6112 h 165458"/>
                    <a:gd name="connsiteX5" fmla="*/ 23268 w 165395"/>
                    <a:gd name="connsiteY5" fmla="*/ 12225 h 165458"/>
                    <a:gd name="connsiteX6" fmla="*/ 16877 w 165395"/>
                    <a:gd name="connsiteY6" fmla="*/ 30563 h 165458"/>
                    <a:gd name="connsiteX7" fmla="*/ 16877 w 165395"/>
                    <a:gd name="connsiteY7" fmla="*/ 67378 h 165458"/>
                    <a:gd name="connsiteX8" fmla="*/ 10487 w 165395"/>
                    <a:gd name="connsiteY8" fmla="*/ 98080 h 165458"/>
                    <a:gd name="connsiteX9" fmla="*/ 4097 w 165395"/>
                    <a:gd name="connsiteY9" fmla="*/ 128782 h 165458"/>
                    <a:gd name="connsiteX10" fmla="*/ 23129 w 165395"/>
                    <a:gd name="connsiteY10" fmla="*/ 147120 h 165458"/>
                    <a:gd name="connsiteX11" fmla="*/ 54942 w 165395"/>
                    <a:gd name="connsiteY11" fmla="*/ 153233 h 165458"/>
                    <a:gd name="connsiteX12" fmla="*/ 80365 w 165395"/>
                    <a:gd name="connsiteY12" fmla="*/ 165458 h 165458"/>
                    <a:gd name="connsiteX13" fmla="*/ 118430 w 165395"/>
                    <a:gd name="connsiteY13" fmla="*/ 165458 h 165458"/>
                    <a:gd name="connsiteX14" fmla="*/ 150244 w 165395"/>
                    <a:gd name="connsiteY14" fmla="*/ 147120 h 165458"/>
                    <a:gd name="connsiteX15" fmla="*/ 162886 w 165395"/>
                    <a:gd name="connsiteY15" fmla="*/ 110305 h 165458"/>
                    <a:gd name="connsiteX16" fmla="*/ 150244 w 165395"/>
                    <a:gd name="connsiteY16" fmla="*/ 79603 h 165458"/>
                    <a:gd name="connsiteX17" fmla="*/ 131212 w 165395"/>
                    <a:gd name="connsiteY17" fmla="*/ 55014 h 165458"/>
                    <a:gd name="connsiteX18" fmla="*/ 131212 w 165395"/>
                    <a:gd name="connsiteY18" fmla="*/ 55014 h 16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395" h="165458">
                      <a:moveTo>
                        <a:pt x="131212" y="55014"/>
                      </a:moveTo>
                      <a:cubicBezTo>
                        <a:pt x="124821" y="42788"/>
                        <a:pt x="112179" y="42788"/>
                        <a:pt x="105789" y="36676"/>
                      </a:cubicBezTo>
                      <a:cubicBezTo>
                        <a:pt x="99398" y="30563"/>
                        <a:pt x="93146" y="36676"/>
                        <a:pt x="86756" y="30563"/>
                      </a:cubicBezTo>
                      <a:cubicBezTo>
                        <a:pt x="80365" y="24451"/>
                        <a:pt x="74114" y="18338"/>
                        <a:pt x="67723" y="12225"/>
                      </a:cubicBezTo>
                      <a:cubicBezTo>
                        <a:pt x="61333" y="-6113"/>
                        <a:pt x="55081" y="0"/>
                        <a:pt x="35910" y="6112"/>
                      </a:cubicBezTo>
                      <a:cubicBezTo>
                        <a:pt x="29519" y="6112"/>
                        <a:pt x="29519" y="0"/>
                        <a:pt x="23268" y="12225"/>
                      </a:cubicBezTo>
                      <a:cubicBezTo>
                        <a:pt x="16877" y="18338"/>
                        <a:pt x="16877" y="24451"/>
                        <a:pt x="16877" y="30563"/>
                      </a:cubicBezTo>
                      <a:cubicBezTo>
                        <a:pt x="16877" y="42788"/>
                        <a:pt x="16877" y="55014"/>
                        <a:pt x="16877" y="67378"/>
                      </a:cubicBezTo>
                      <a:cubicBezTo>
                        <a:pt x="16877" y="73490"/>
                        <a:pt x="16877" y="85716"/>
                        <a:pt x="10487" y="98080"/>
                      </a:cubicBezTo>
                      <a:cubicBezTo>
                        <a:pt x="-2155" y="110305"/>
                        <a:pt x="-2155" y="110305"/>
                        <a:pt x="4097" y="128782"/>
                      </a:cubicBezTo>
                      <a:cubicBezTo>
                        <a:pt x="10487" y="141007"/>
                        <a:pt x="10487" y="141007"/>
                        <a:pt x="23129" y="147120"/>
                      </a:cubicBezTo>
                      <a:cubicBezTo>
                        <a:pt x="35771" y="147120"/>
                        <a:pt x="48552" y="147120"/>
                        <a:pt x="54942" y="153233"/>
                      </a:cubicBezTo>
                      <a:cubicBezTo>
                        <a:pt x="61333" y="153233"/>
                        <a:pt x="73975" y="165458"/>
                        <a:pt x="80365" y="165458"/>
                      </a:cubicBezTo>
                      <a:cubicBezTo>
                        <a:pt x="93008" y="159345"/>
                        <a:pt x="105789" y="165458"/>
                        <a:pt x="118430" y="165458"/>
                      </a:cubicBezTo>
                      <a:cubicBezTo>
                        <a:pt x="124821" y="165458"/>
                        <a:pt x="143853" y="153233"/>
                        <a:pt x="150244" y="147120"/>
                      </a:cubicBezTo>
                      <a:cubicBezTo>
                        <a:pt x="162886" y="134895"/>
                        <a:pt x="169277" y="122670"/>
                        <a:pt x="162886" y="110305"/>
                      </a:cubicBezTo>
                      <a:cubicBezTo>
                        <a:pt x="156496" y="98080"/>
                        <a:pt x="156496" y="91967"/>
                        <a:pt x="150244" y="79603"/>
                      </a:cubicBezTo>
                      <a:cubicBezTo>
                        <a:pt x="150244" y="67239"/>
                        <a:pt x="143853" y="61126"/>
                        <a:pt x="131212" y="55014"/>
                      </a:cubicBezTo>
                      <a:cubicBezTo>
                        <a:pt x="124821" y="48901"/>
                        <a:pt x="137602" y="55014"/>
                        <a:pt x="131212" y="550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7" name="Freihandform: Form 276">
                  <a:extLst>
                    <a:ext uri="{FF2B5EF4-FFF2-40B4-BE49-F238E27FC236}">
                      <a16:creationId xmlns:a16="http://schemas.microsoft.com/office/drawing/2014/main" id="{ABBA601B-8931-4333-8E88-67DAB10C3FBB}"/>
                    </a:ext>
                  </a:extLst>
                </p:cNvPr>
                <p:cNvSpPr/>
                <p:nvPr/>
              </p:nvSpPr>
              <p:spPr>
                <a:xfrm>
                  <a:off x="3796561" y="5227449"/>
                  <a:ext cx="621798" cy="1110499"/>
                </a:xfrm>
                <a:custGeom>
                  <a:avLst/>
                  <a:gdLst>
                    <a:gd name="connsiteX0" fmla="*/ 470561 w 621798"/>
                    <a:gd name="connsiteY0" fmla="*/ 381845 h 1110499"/>
                    <a:gd name="connsiteX1" fmla="*/ 482925 w 621798"/>
                    <a:gd name="connsiteY1" fmla="*/ 319608 h 1110499"/>
                    <a:gd name="connsiteX2" fmla="*/ 482925 w 621798"/>
                    <a:gd name="connsiteY2" fmla="*/ 294740 h 1110499"/>
                    <a:gd name="connsiteX3" fmla="*/ 513905 w 621798"/>
                    <a:gd name="connsiteY3" fmla="*/ 257370 h 1110499"/>
                    <a:gd name="connsiteX4" fmla="*/ 575865 w 621798"/>
                    <a:gd name="connsiteY4" fmla="*/ 188880 h 1110499"/>
                    <a:gd name="connsiteX5" fmla="*/ 619209 w 621798"/>
                    <a:gd name="connsiteY5" fmla="*/ 176377 h 1110499"/>
                    <a:gd name="connsiteX6" fmla="*/ 612957 w 621798"/>
                    <a:gd name="connsiteY6" fmla="*/ 139007 h 1110499"/>
                    <a:gd name="connsiteX7" fmla="*/ 600593 w 621798"/>
                    <a:gd name="connsiteY7" fmla="*/ 126504 h 1110499"/>
                    <a:gd name="connsiteX8" fmla="*/ 588229 w 621798"/>
                    <a:gd name="connsiteY8" fmla="*/ 151371 h 1110499"/>
                    <a:gd name="connsiteX9" fmla="*/ 569613 w 621798"/>
                    <a:gd name="connsiteY9" fmla="*/ 176239 h 1110499"/>
                    <a:gd name="connsiteX10" fmla="*/ 532382 w 621798"/>
                    <a:gd name="connsiteY10" fmla="*/ 182490 h 1110499"/>
                    <a:gd name="connsiteX11" fmla="*/ 495150 w 621798"/>
                    <a:gd name="connsiteY11" fmla="*/ 182490 h 1110499"/>
                    <a:gd name="connsiteX12" fmla="*/ 470283 w 621798"/>
                    <a:gd name="connsiteY12" fmla="*/ 182490 h 1110499"/>
                    <a:gd name="connsiteX13" fmla="*/ 476534 w 621798"/>
                    <a:gd name="connsiteY13" fmla="*/ 169987 h 1110499"/>
                    <a:gd name="connsiteX14" fmla="*/ 476534 w 621798"/>
                    <a:gd name="connsiteY14" fmla="*/ 157484 h 1110499"/>
                    <a:gd name="connsiteX15" fmla="*/ 488899 w 621798"/>
                    <a:gd name="connsiteY15" fmla="*/ 132616 h 1110499"/>
                    <a:gd name="connsiteX16" fmla="*/ 445554 w 621798"/>
                    <a:gd name="connsiteY16" fmla="*/ 82743 h 1110499"/>
                    <a:gd name="connsiteX17" fmla="*/ 383594 w 621798"/>
                    <a:gd name="connsiteY17" fmla="*/ 51624 h 1110499"/>
                    <a:gd name="connsiteX18" fmla="*/ 358727 w 621798"/>
                    <a:gd name="connsiteY18" fmla="*/ 32869 h 1110499"/>
                    <a:gd name="connsiteX19" fmla="*/ 340111 w 621798"/>
                    <a:gd name="connsiteY19" fmla="*/ 8002 h 1110499"/>
                    <a:gd name="connsiteX20" fmla="*/ 309131 w 621798"/>
                    <a:gd name="connsiteY20" fmla="*/ 8002 h 1110499"/>
                    <a:gd name="connsiteX21" fmla="*/ 284264 w 621798"/>
                    <a:gd name="connsiteY21" fmla="*/ 20505 h 1110499"/>
                    <a:gd name="connsiteX22" fmla="*/ 253284 w 621798"/>
                    <a:gd name="connsiteY22" fmla="*/ 8002 h 1110499"/>
                    <a:gd name="connsiteX23" fmla="*/ 228417 w 621798"/>
                    <a:gd name="connsiteY23" fmla="*/ 1750 h 1110499"/>
                    <a:gd name="connsiteX24" fmla="*/ 203549 w 621798"/>
                    <a:gd name="connsiteY24" fmla="*/ 20505 h 1110499"/>
                    <a:gd name="connsiteX25" fmla="*/ 203549 w 621798"/>
                    <a:gd name="connsiteY25" fmla="*/ 51624 h 1110499"/>
                    <a:gd name="connsiteX26" fmla="*/ 160205 w 621798"/>
                    <a:gd name="connsiteY26" fmla="*/ 82743 h 1110499"/>
                    <a:gd name="connsiteX27" fmla="*/ 153954 w 621798"/>
                    <a:gd name="connsiteY27" fmla="*/ 132616 h 1110499"/>
                    <a:gd name="connsiteX28" fmla="*/ 160205 w 621798"/>
                    <a:gd name="connsiteY28" fmla="*/ 163735 h 1110499"/>
                    <a:gd name="connsiteX29" fmla="*/ 141590 w 621798"/>
                    <a:gd name="connsiteY29" fmla="*/ 194854 h 1110499"/>
                    <a:gd name="connsiteX30" fmla="*/ 116722 w 621798"/>
                    <a:gd name="connsiteY30" fmla="*/ 219721 h 1110499"/>
                    <a:gd name="connsiteX31" fmla="*/ 116722 w 621798"/>
                    <a:gd name="connsiteY31" fmla="*/ 238476 h 1110499"/>
                    <a:gd name="connsiteX32" fmla="*/ 110471 w 621798"/>
                    <a:gd name="connsiteY32" fmla="*/ 257231 h 1110499"/>
                    <a:gd name="connsiteX33" fmla="*/ 104219 w 621798"/>
                    <a:gd name="connsiteY33" fmla="*/ 288350 h 1110499"/>
                    <a:gd name="connsiteX34" fmla="*/ 104219 w 621798"/>
                    <a:gd name="connsiteY34" fmla="*/ 313217 h 1110499"/>
                    <a:gd name="connsiteX35" fmla="*/ 91855 w 621798"/>
                    <a:gd name="connsiteY35" fmla="*/ 319469 h 1110499"/>
                    <a:gd name="connsiteX36" fmla="*/ 104219 w 621798"/>
                    <a:gd name="connsiteY36" fmla="*/ 350588 h 1110499"/>
                    <a:gd name="connsiteX37" fmla="*/ 110471 w 621798"/>
                    <a:gd name="connsiteY37" fmla="*/ 375455 h 1110499"/>
                    <a:gd name="connsiteX38" fmla="*/ 98106 w 621798"/>
                    <a:gd name="connsiteY38" fmla="*/ 450196 h 1110499"/>
                    <a:gd name="connsiteX39" fmla="*/ 98106 w 621798"/>
                    <a:gd name="connsiteY39" fmla="*/ 487566 h 1110499"/>
                    <a:gd name="connsiteX40" fmla="*/ 73239 w 621798"/>
                    <a:gd name="connsiteY40" fmla="*/ 512434 h 1110499"/>
                    <a:gd name="connsiteX41" fmla="*/ 79491 w 621798"/>
                    <a:gd name="connsiteY41" fmla="*/ 580923 h 1110499"/>
                    <a:gd name="connsiteX42" fmla="*/ 54623 w 621798"/>
                    <a:gd name="connsiteY42" fmla="*/ 649412 h 1110499"/>
                    <a:gd name="connsiteX43" fmla="*/ 48372 w 621798"/>
                    <a:gd name="connsiteY43" fmla="*/ 724153 h 1110499"/>
                    <a:gd name="connsiteX44" fmla="*/ 48372 w 621798"/>
                    <a:gd name="connsiteY44" fmla="*/ 780278 h 1110499"/>
                    <a:gd name="connsiteX45" fmla="*/ 66988 w 621798"/>
                    <a:gd name="connsiteY45" fmla="*/ 805145 h 1110499"/>
                    <a:gd name="connsiteX46" fmla="*/ 54623 w 621798"/>
                    <a:gd name="connsiteY46" fmla="*/ 817649 h 1110499"/>
                    <a:gd name="connsiteX47" fmla="*/ 60875 w 621798"/>
                    <a:gd name="connsiteY47" fmla="*/ 836403 h 1110499"/>
                    <a:gd name="connsiteX48" fmla="*/ 54623 w 621798"/>
                    <a:gd name="connsiteY48" fmla="*/ 880025 h 1110499"/>
                    <a:gd name="connsiteX49" fmla="*/ 36008 w 621798"/>
                    <a:gd name="connsiteY49" fmla="*/ 911144 h 1110499"/>
                    <a:gd name="connsiteX50" fmla="*/ 36008 w 621798"/>
                    <a:gd name="connsiteY50" fmla="*/ 942263 h 1110499"/>
                    <a:gd name="connsiteX51" fmla="*/ 17392 w 621798"/>
                    <a:gd name="connsiteY51" fmla="*/ 967130 h 1110499"/>
                    <a:gd name="connsiteX52" fmla="*/ 11140 w 621798"/>
                    <a:gd name="connsiteY52" fmla="*/ 1035619 h 1110499"/>
                    <a:gd name="connsiteX53" fmla="*/ 36008 w 621798"/>
                    <a:gd name="connsiteY53" fmla="*/ 1054374 h 1110499"/>
                    <a:gd name="connsiteX54" fmla="*/ 42259 w 621798"/>
                    <a:gd name="connsiteY54" fmla="*/ 1085493 h 1110499"/>
                    <a:gd name="connsiteX55" fmla="*/ 67126 w 621798"/>
                    <a:gd name="connsiteY55" fmla="*/ 1091745 h 1110499"/>
                    <a:gd name="connsiteX56" fmla="*/ 110471 w 621798"/>
                    <a:gd name="connsiteY56" fmla="*/ 1097996 h 1110499"/>
                    <a:gd name="connsiteX57" fmla="*/ 129086 w 621798"/>
                    <a:gd name="connsiteY57" fmla="*/ 1104248 h 1110499"/>
                    <a:gd name="connsiteX58" fmla="*/ 141451 w 621798"/>
                    <a:gd name="connsiteY58" fmla="*/ 1097996 h 1110499"/>
                    <a:gd name="connsiteX59" fmla="*/ 153815 w 621798"/>
                    <a:gd name="connsiteY59" fmla="*/ 1110499 h 1110499"/>
                    <a:gd name="connsiteX60" fmla="*/ 147563 w 621798"/>
                    <a:gd name="connsiteY60" fmla="*/ 1085632 h 1110499"/>
                    <a:gd name="connsiteX61" fmla="*/ 135199 w 621798"/>
                    <a:gd name="connsiteY61" fmla="*/ 1048262 h 1110499"/>
                    <a:gd name="connsiteX62" fmla="*/ 153815 w 621798"/>
                    <a:gd name="connsiteY62" fmla="*/ 1017143 h 1110499"/>
                    <a:gd name="connsiteX63" fmla="*/ 141451 w 621798"/>
                    <a:gd name="connsiteY63" fmla="*/ 1010891 h 1110499"/>
                    <a:gd name="connsiteX64" fmla="*/ 147702 w 621798"/>
                    <a:gd name="connsiteY64" fmla="*/ 1004639 h 1110499"/>
                    <a:gd name="connsiteX65" fmla="*/ 160067 w 621798"/>
                    <a:gd name="connsiteY65" fmla="*/ 1010891 h 1110499"/>
                    <a:gd name="connsiteX66" fmla="*/ 178682 w 621798"/>
                    <a:gd name="connsiteY66" fmla="*/ 1010891 h 1110499"/>
                    <a:gd name="connsiteX67" fmla="*/ 178682 w 621798"/>
                    <a:gd name="connsiteY67" fmla="*/ 973521 h 1110499"/>
                    <a:gd name="connsiteX68" fmla="*/ 215914 w 621798"/>
                    <a:gd name="connsiteY68" fmla="*/ 948653 h 1110499"/>
                    <a:gd name="connsiteX69" fmla="*/ 234529 w 621798"/>
                    <a:gd name="connsiteY69" fmla="*/ 936150 h 1110499"/>
                    <a:gd name="connsiteX70" fmla="*/ 228278 w 621798"/>
                    <a:gd name="connsiteY70" fmla="*/ 923647 h 1110499"/>
                    <a:gd name="connsiteX71" fmla="*/ 240642 w 621798"/>
                    <a:gd name="connsiteY71" fmla="*/ 898780 h 1110499"/>
                    <a:gd name="connsiteX72" fmla="*/ 203411 w 621798"/>
                    <a:gd name="connsiteY72" fmla="*/ 886277 h 1110499"/>
                    <a:gd name="connsiteX73" fmla="*/ 184795 w 621798"/>
                    <a:gd name="connsiteY73" fmla="*/ 867522 h 1110499"/>
                    <a:gd name="connsiteX74" fmla="*/ 197159 w 621798"/>
                    <a:gd name="connsiteY74" fmla="*/ 830152 h 1110499"/>
                    <a:gd name="connsiteX75" fmla="*/ 228139 w 621798"/>
                    <a:gd name="connsiteY75" fmla="*/ 811397 h 1110499"/>
                    <a:gd name="connsiteX76" fmla="*/ 246755 w 621798"/>
                    <a:gd name="connsiteY76" fmla="*/ 798894 h 1110499"/>
                    <a:gd name="connsiteX77" fmla="*/ 253006 w 621798"/>
                    <a:gd name="connsiteY77" fmla="*/ 767775 h 1110499"/>
                    <a:gd name="connsiteX78" fmla="*/ 283986 w 621798"/>
                    <a:gd name="connsiteY78" fmla="*/ 736656 h 1110499"/>
                    <a:gd name="connsiteX79" fmla="*/ 283986 w 621798"/>
                    <a:gd name="connsiteY79" fmla="*/ 717901 h 1110499"/>
                    <a:gd name="connsiteX80" fmla="*/ 296350 w 621798"/>
                    <a:gd name="connsiteY80" fmla="*/ 730404 h 1110499"/>
                    <a:gd name="connsiteX81" fmla="*/ 302602 w 621798"/>
                    <a:gd name="connsiteY81" fmla="*/ 705537 h 1110499"/>
                    <a:gd name="connsiteX82" fmla="*/ 290238 w 621798"/>
                    <a:gd name="connsiteY82" fmla="*/ 711789 h 1110499"/>
                    <a:gd name="connsiteX83" fmla="*/ 265370 w 621798"/>
                    <a:gd name="connsiteY83" fmla="*/ 699286 h 1110499"/>
                    <a:gd name="connsiteX84" fmla="*/ 265370 w 621798"/>
                    <a:gd name="connsiteY84" fmla="*/ 649412 h 1110499"/>
                    <a:gd name="connsiteX85" fmla="*/ 321218 w 621798"/>
                    <a:gd name="connsiteY85" fmla="*/ 668167 h 1110499"/>
                    <a:gd name="connsiteX86" fmla="*/ 339833 w 621798"/>
                    <a:gd name="connsiteY86" fmla="*/ 661915 h 1110499"/>
                    <a:gd name="connsiteX87" fmla="*/ 346085 w 621798"/>
                    <a:gd name="connsiteY87" fmla="*/ 630796 h 1110499"/>
                    <a:gd name="connsiteX88" fmla="*/ 352337 w 621798"/>
                    <a:gd name="connsiteY88" fmla="*/ 618293 h 1110499"/>
                    <a:gd name="connsiteX89" fmla="*/ 352337 w 621798"/>
                    <a:gd name="connsiteY89" fmla="*/ 599539 h 1110499"/>
                    <a:gd name="connsiteX90" fmla="*/ 352337 w 621798"/>
                    <a:gd name="connsiteY90" fmla="*/ 580784 h 1110499"/>
                    <a:gd name="connsiteX91" fmla="*/ 358588 w 621798"/>
                    <a:gd name="connsiteY91" fmla="*/ 593287 h 1110499"/>
                    <a:gd name="connsiteX92" fmla="*/ 389568 w 621798"/>
                    <a:gd name="connsiteY92" fmla="*/ 587035 h 1110499"/>
                    <a:gd name="connsiteX93" fmla="*/ 457779 w 621798"/>
                    <a:gd name="connsiteY93" fmla="*/ 574532 h 1110499"/>
                    <a:gd name="connsiteX94" fmla="*/ 495011 w 621798"/>
                    <a:gd name="connsiteY94" fmla="*/ 555778 h 1110499"/>
                    <a:gd name="connsiteX95" fmla="*/ 507375 w 621798"/>
                    <a:gd name="connsiteY95" fmla="*/ 537023 h 1110499"/>
                    <a:gd name="connsiteX96" fmla="*/ 525991 w 621798"/>
                    <a:gd name="connsiteY96" fmla="*/ 512155 h 1110499"/>
                    <a:gd name="connsiteX97" fmla="*/ 501124 w 621798"/>
                    <a:gd name="connsiteY97" fmla="*/ 481037 h 1110499"/>
                    <a:gd name="connsiteX98" fmla="*/ 501124 w 621798"/>
                    <a:gd name="connsiteY98" fmla="*/ 449918 h 1110499"/>
                    <a:gd name="connsiteX99" fmla="*/ 470144 w 621798"/>
                    <a:gd name="connsiteY99" fmla="*/ 425050 h 1110499"/>
                    <a:gd name="connsiteX100" fmla="*/ 476395 w 621798"/>
                    <a:gd name="connsiteY100" fmla="*/ 418799 h 1110499"/>
                    <a:gd name="connsiteX101" fmla="*/ 470144 w 621798"/>
                    <a:gd name="connsiteY101" fmla="*/ 406296 h 1110499"/>
                    <a:gd name="connsiteX102" fmla="*/ 470561 w 621798"/>
                    <a:gd name="connsiteY102" fmla="*/ 381845 h 1110499"/>
                    <a:gd name="connsiteX103" fmla="*/ 470561 w 621798"/>
                    <a:gd name="connsiteY103" fmla="*/ 381845 h 111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21798" h="1110499">
                      <a:moveTo>
                        <a:pt x="470561" y="381845"/>
                      </a:moveTo>
                      <a:cubicBezTo>
                        <a:pt x="489176" y="363091"/>
                        <a:pt x="476812" y="344475"/>
                        <a:pt x="482925" y="319608"/>
                      </a:cubicBezTo>
                      <a:cubicBezTo>
                        <a:pt x="482925" y="313356"/>
                        <a:pt x="482925" y="300853"/>
                        <a:pt x="482925" y="294740"/>
                      </a:cubicBezTo>
                      <a:cubicBezTo>
                        <a:pt x="489176" y="275985"/>
                        <a:pt x="501540" y="269873"/>
                        <a:pt x="513905" y="257370"/>
                      </a:cubicBezTo>
                      <a:cubicBezTo>
                        <a:pt x="538772" y="238615"/>
                        <a:pt x="551136" y="207496"/>
                        <a:pt x="575865" y="188880"/>
                      </a:cubicBezTo>
                      <a:cubicBezTo>
                        <a:pt x="588229" y="182629"/>
                        <a:pt x="606845" y="182629"/>
                        <a:pt x="619209" y="176377"/>
                      </a:cubicBezTo>
                      <a:cubicBezTo>
                        <a:pt x="625460" y="163874"/>
                        <a:pt x="619209" y="145259"/>
                        <a:pt x="612957" y="139007"/>
                      </a:cubicBezTo>
                      <a:cubicBezTo>
                        <a:pt x="606706" y="126504"/>
                        <a:pt x="612957" y="126504"/>
                        <a:pt x="600593" y="126504"/>
                      </a:cubicBezTo>
                      <a:cubicBezTo>
                        <a:pt x="588229" y="120252"/>
                        <a:pt x="594341" y="145259"/>
                        <a:pt x="588229" y="151371"/>
                      </a:cubicBezTo>
                      <a:cubicBezTo>
                        <a:pt x="581977" y="157623"/>
                        <a:pt x="575865" y="170126"/>
                        <a:pt x="569613" y="176239"/>
                      </a:cubicBezTo>
                      <a:cubicBezTo>
                        <a:pt x="563361" y="182490"/>
                        <a:pt x="544746" y="176239"/>
                        <a:pt x="532382" y="182490"/>
                      </a:cubicBezTo>
                      <a:cubicBezTo>
                        <a:pt x="526130" y="194993"/>
                        <a:pt x="507514" y="182490"/>
                        <a:pt x="495150" y="182490"/>
                      </a:cubicBezTo>
                      <a:cubicBezTo>
                        <a:pt x="488899" y="182490"/>
                        <a:pt x="476534" y="188742"/>
                        <a:pt x="470283" y="182490"/>
                      </a:cubicBezTo>
                      <a:cubicBezTo>
                        <a:pt x="457919" y="182490"/>
                        <a:pt x="476534" y="169987"/>
                        <a:pt x="476534" y="169987"/>
                      </a:cubicBezTo>
                      <a:cubicBezTo>
                        <a:pt x="482786" y="163735"/>
                        <a:pt x="476534" y="157484"/>
                        <a:pt x="476534" y="157484"/>
                      </a:cubicBezTo>
                      <a:cubicBezTo>
                        <a:pt x="476534" y="144981"/>
                        <a:pt x="482786" y="138868"/>
                        <a:pt x="488899" y="132616"/>
                      </a:cubicBezTo>
                      <a:cubicBezTo>
                        <a:pt x="513766" y="107749"/>
                        <a:pt x="464031" y="95246"/>
                        <a:pt x="445554" y="82743"/>
                      </a:cubicBezTo>
                      <a:cubicBezTo>
                        <a:pt x="427078" y="70240"/>
                        <a:pt x="402210" y="70240"/>
                        <a:pt x="383594" y="51624"/>
                      </a:cubicBezTo>
                      <a:cubicBezTo>
                        <a:pt x="377343" y="45372"/>
                        <a:pt x="364979" y="39121"/>
                        <a:pt x="358727" y="32869"/>
                      </a:cubicBezTo>
                      <a:cubicBezTo>
                        <a:pt x="352476" y="20366"/>
                        <a:pt x="346363" y="8002"/>
                        <a:pt x="340111" y="8002"/>
                      </a:cubicBezTo>
                      <a:cubicBezTo>
                        <a:pt x="333860" y="1750"/>
                        <a:pt x="315244" y="1750"/>
                        <a:pt x="309131" y="8002"/>
                      </a:cubicBezTo>
                      <a:cubicBezTo>
                        <a:pt x="302880" y="14254"/>
                        <a:pt x="296767" y="32869"/>
                        <a:pt x="284264" y="20505"/>
                      </a:cubicBezTo>
                      <a:cubicBezTo>
                        <a:pt x="278012" y="8002"/>
                        <a:pt x="265648" y="8002"/>
                        <a:pt x="253284" y="8002"/>
                      </a:cubicBezTo>
                      <a:cubicBezTo>
                        <a:pt x="240920" y="8002"/>
                        <a:pt x="240920" y="-4501"/>
                        <a:pt x="228417" y="1750"/>
                      </a:cubicBezTo>
                      <a:cubicBezTo>
                        <a:pt x="222165" y="8002"/>
                        <a:pt x="203549" y="14254"/>
                        <a:pt x="203549" y="20505"/>
                      </a:cubicBezTo>
                      <a:cubicBezTo>
                        <a:pt x="197298" y="33008"/>
                        <a:pt x="203549" y="45372"/>
                        <a:pt x="203549" y="51624"/>
                      </a:cubicBezTo>
                      <a:cubicBezTo>
                        <a:pt x="197298" y="76491"/>
                        <a:pt x="178682" y="76491"/>
                        <a:pt x="160205" y="82743"/>
                      </a:cubicBezTo>
                      <a:cubicBezTo>
                        <a:pt x="147841" y="88994"/>
                        <a:pt x="153954" y="120113"/>
                        <a:pt x="153954" y="132616"/>
                      </a:cubicBezTo>
                      <a:cubicBezTo>
                        <a:pt x="153954" y="145119"/>
                        <a:pt x="160205" y="157484"/>
                        <a:pt x="160205" y="163735"/>
                      </a:cubicBezTo>
                      <a:cubicBezTo>
                        <a:pt x="160205" y="169987"/>
                        <a:pt x="141590" y="188603"/>
                        <a:pt x="141590" y="194854"/>
                      </a:cubicBezTo>
                      <a:cubicBezTo>
                        <a:pt x="135338" y="201106"/>
                        <a:pt x="116722" y="213609"/>
                        <a:pt x="116722" y="219721"/>
                      </a:cubicBezTo>
                      <a:cubicBezTo>
                        <a:pt x="116722" y="225973"/>
                        <a:pt x="116722" y="232224"/>
                        <a:pt x="116722" y="238476"/>
                      </a:cubicBezTo>
                      <a:cubicBezTo>
                        <a:pt x="116722" y="244728"/>
                        <a:pt x="110471" y="250979"/>
                        <a:pt x="110471" y="257231"/>
                      </a:cubicBezTo>
                      <a:cubicBezTo>
                        <a:pt x="110471" y="263482"/>
                        <a:pt x="116722" y="282098"/>
                        <a:pt x="104219" y="288350"/>
                      </a:cubicBezTo>
                      <a:cubicBezTo>
                        <a:pt x="104219" y="294601"/>
                        <a:pt x="104219" y="307104"/>
                        <a:pt x="104219" y="313217"/>
                      </a:cubicBezTo>
                      <a:cubicBezTo>
                        <a:pt x="97967" y="313217"/>
                        <a:pt x="91855" y="313217"/>
                        <a:pt x="91855" y="319469"/>
                      </a:cubicBezTo>
                      <a:cubicBezTo>
                        <a:pt x="91855" y="331972"/>
                        <a:pt x="104219" y="338223"/>
                        <a:pt x="104219" y="350588"/>
                      </a:cubicBezTo>
                      <a:cubicBezTo>
                        <a:pt x="104219" y="356839"/>
                        <a:pt x="104219" y="369342"/>
                        <a:pt x="110471" y="375455"/>
                      </a:cubicBezTo>
                      <a:cubicBezTo>
                        <a:pt x="122835" y="400322"/>
                        <a:pt x="98106" y="425328"/>
                        <a:pt x="98106" y="450196"/>
                      </a:cubicBezTo>
                      <a:cubicBezTo>
                        <a:pt x="91855" y="462699"/>
                        <a:pt x="104358" y="475063"/>
                        <a:pt x="98106" y="487566"/>
                      </a:cubicBezTo>
                      <a:cubicBezTo>
                        <a:pt x="91855" y="493818"/>
                        <a:pt x="79491" y="500069"/>
                        <a:pt x="73239" y="512434"/>
                      </a:cubicBezTo>
                      <a:cubicBezTo>
                        <a:pt x="66988" y="524937"/>
                        <a:pt x="91855" y="574810"/>
                        <a:pt x="79491" y="580923"/>
                      </a:cubicBezTo>
                      <a:cubicBezTo>
                        <a:pt x="54623" y="593426"/>
                        <a:pt x="60875" y="624545"/>
                        <a:pt x="54623" y="649412"/>
                      </a:cubicBezTo>
                      <a:cubicBezTo>
                        <a:pt x="42259" y="668167"/>
                        <a:pt x="48372" y="699286"/>
                        <a:pt x="48372" y="724153"/>
                      </a:cubicBezTo>
                      <a:cubicBezTo>
                        <a:pt x="48372" y="742908"/>
                        <a:pt x="48372" y="761523"/>
                        <a:pt x="48372" y="780278"/>
                      </a:cubicBezTo>
                      <a:cubicBezTo>
                        <a:pt x="48372" y="786529"/>
                        <a:pt x="79352" y="805145"/>
                        <a:pt x="66988" y="805145"/>
                      </a:cubicBezTo>
                      <a:cubicBezTo>
                        <a:pt x="66988" y="805145"/>
                        <a:pt x="42120" y="811397"/>
                        <a:pt x="54623" y="817649"/>
                      </a:cubicBezTo>
                      <a:cubicBezTo>
                        <a:pt x="66988" y="817649"/>
                        <a:pt x="66988" y="823900"/>
                        <a:pt x="60875" y="836403"/>
                      </a:cubicBezTo>
                      <a:cubicBezTo>
                        <a:pt x="54623" y="848906"/>
                        <a:pt x="54623" y="861270"/>
                        <a:pt x="54623" y="880025"/>
                      </a:cubicBezTo>
                      <a:cubicBezTo>
                        <a:pt x="54623" y="892528"/>
                        <a:pt x="42259" y="898780"/>
                        <a:pt x="36008" y="911144"/>
                      </a:cubicBezTo>
                      <a:cubicBezTo>
                        <a:pt x="29756" y="917396"/>
                        <a:pt x="36008" y="929899"/>
                        <a:pt x="36008" y="942263"/>
                      </a:cubicBezTo>
                      <a:cubicBezTo>
                        <a:pt x="36008" y="948514"/>
                        <a:pt x="23643" y="967130"/>
                        <a:pt x="17392" y="967130"/>
                      </a:cubicBezTo>
                      <a:cubicBezTo>
                        <a:pt x="-13588" y="979633"/>
                        <a:pt x="5028" y="1017004"/>
                        <a:pt x="11140" y="1035619"/>
                      </a:cubicBezTo>
                      <a:cubicBezTo>
                        <a:pt x="17392" y="1048123"/>
                        <a:pt x="36008" y="1029368"/>
                        <a:pt x="36008" y="1054374"/>
                      </a:cubicBezTo>
                      <a:cubicBezTo>
                        <a:pt x="36008" y="1060626"/>
                        <a:pt x="29756" y="1079242"/>
                        <a:pt x="42259" y="1085493"/>
                      </a:cubicBezTo>
                      <a:cubicBezTo>
                        <a:pt x="48511" y="1091745"/>
                        <a:pt x="54623" y="1091745"/>
                        <a:pt x="67126" y="1091745"/>
                      </a:cubicBezTo>
                      <a:cubicBezTo>
                        <a:pt x="79491" y="1097996"/>
                        <a:pt x="98106" y="1097996"/>
                        <a:pt x="110471" y="1097996"/>
                      </a:cubicBezTo>
                      <a:cubicBezTo>
                        <a:pt x="116722" y="1097996"/>
                        <a:pt x="122835" y="1097996"/>
                        <a:pt x="129086" y="1104248"/>
                      </a:cubicBezTo>
                      <a:cubicBezTo>
                        <a:pt x="129086" y="1097996"/>
                        <a:pt x="135338" y="1097996"/>
                        <a:pt x="141451" y="1097996"/>
                      </a:cubicBezTo>
                      <a:cubicBezTo>
                        <a:pt x="141451" y="1104248"/>
                        <a:pt x="153815" y="1110499"/>
                        <a:pt x="153815" y="1110499"/>
                      </a:cubicBezTo>
                      <a:cubicBezTo>
                        <a:pt x="160067" y="1110499"/>
                        <a:pt x="147563" y="1091745"/>
                        <a:pt x="147563" y="1085632"/>
                      </a:cubicBezTo>
                      <a:cubicBezTo>
                        <a:pt x="135199" y="1073129"/>
                        <a:pt x="135199" y="1060765"/>
                        <a:pt x="135199" y="1048262"/>
                      </a:cubicBezTo>
                      <a:cubicBezTo>
                        <a:pt x="135199" y="1035758"/>
                        <a:pt x="135199" y="1029507"/>
                        <a:pt x="153815" y="1017143"/>
                      </a:cubicBezTo>
                      <a:cubicBezTo>
                        <a:pt x="166179" y="1010891"/>
                        <a:pt x="141451" y="1010891"/>
                        <a:pt x="141451" y="1010891"/>
                      </a:cubicBezTo>
                      <a:cubicBezTo>
                        <a:pt x="141451" y="1010891"/>
                        <a:pt x="153815" y="1004639"/>
                        <a:pt x="147702" y="1004639"/>
                      </a:cubicBezTo>
                      <a:cubicBezTo>
                        <a:pt x="153954" y="1004639"/>
                        <a:pt x="153954" y="1010891"/>
                        <a:pt x="160067" y="1010891"/>
                      </a:cubicBezTo>
                      <a:cubicBezTo>
                        <a:pt x="166318" y="1017143"/>
                        <a:pt x="172431" y="1010891"/>
                        <a:pt x="178682" y="1010891"/>
                      </a:cubicBezTo>
                      <a:cubicBezTo>
                        <a:pt x="184934" y="998388"/>
                        <a:pt x="178682" y="986024"/>
                        <a:pt x="178682" y="973521"/>
                      </a:cubicBezTo>
                      <a:cubicBezTo>
                        <a:pt x="184934" y="961018"/>
                        <a:pt x="197298" y="954766"/>
                        <a:pt x="215914" y="948653"/>
                      </a:cubicBezTo>
                      <a:cubicBezTo>
                        <a:pt x="222165" y="942402"/>
                        <a:pt x="228278" y="942402"/>
                        <a:pt x="234529" y="936150"/>
                      </a:cubicBezTo>
                      <a:cubicBezTo>
                        <a:pt x="240781" y="929899"/>
                        <a:pt x="228278" y="923647"/>
                        <a:pt x="228278" y="923647"/>
                      </a:cubicBezTo>
                      <a:cubicBezTo>
                        <a:pt x="228278" y="917396"/>
                        <a:pt x="246894" y="911144"/>
                        <a:pt x="240642" y="898780"/>
                      </a:cubicBezTo>
                      <a:cubicBezTo>
                        <a:pt x="234391" y="886277"/>
                        <a:pt x="209662" y="898780"/>
                        <a:pt x="203411" y="886277"/>
                      </a:cubicBezTo>
                      <a:cubicBezTo>
                        <a:pt x="197159" y="880025"/>
                        <a:pt x="191046" y="880025"/>
                        <a:pt x="184795" y="867522"/>
                      </a:cubicBezTo>
                      <a:cubicBezTo>
                        <a:pt x="178543" y="855019"/>
                        <a:pt x="191046" y="836403"/>
                        <a:pt x="197159" y="830152"/>
                      </a:cubicBezTo>
                      <a:cubicBezTo>
                        <a:pt x="209523" y="823900"/>
                        <a:pt x="215775" y="811397"/>
                        <a:pt x="228139" y="811397"/>
                      </a:cubicBezTo>
                      <a:cubicBezTo>
                        <a:pt x="240503" y="805145"/>
                        <a:pt x="240503" y="817649"/>
                        <a:pt x="246755" y="798894"/>
                      </a:cubicBezTo>
                      <a:cubicBezTo>
                        <a:pt x="246755" y="786391"/>
                        <a:pt x="259119" y="780278"/>
                        <a:pt x="253006" y="767775"/>
                      </a:cubicBezTo>
                      <a:cubicBezTo>
                        <a:pt x="246755" y="749020"/>
                        <a:pt x="277873" y="749020"/>
                        <a:pt x="283986" y="736656"/>
                      </a:cubicBezTo>
                      <a:cubicBezTo>
                        <a:pt x="283986" y="736656"/>
                        <a:pt x="253006" y="711789"/>
                        <a:pt x="283986" y="717901"/>
                      </a:cubicBezTo>
                      <a:cubicBezTo>
                        <a:pt x="290238" y="724153"/>
                        <a:pt x="290238" y="730404"/>
                        <a:pt x="296350" y="730404"/>
                      </a:cubicBezTo>
                      <a:cubicBezTo>
                        <a:pt x="308715" y="730404"/>
                        <a:pt x="308715" y="711650"/>
                        <a:pt x="302602" y="705537"/>
                      </a:cubicBezTo>
                      <a:cubicBezTo>
                        <a:pt x="302602" y="699286"/>
                        <a:pt x="290238" y="711789"/>
                        <a:pt x="290238" y="711789"/>
                      </a:cubicBezTo>
                      <a:cubicBezTo>
                        <a:pt x="277873" y="711789"/>
                        <a:pt x="265370" y="705537"/>
                        <a:pt x="265370" y="699286"/>
                      </a:cubicBezTo>
                      <a:cubicBezTo>
                        <a:pt x="265370" y="693034"/>
                        <a:pt x="253006" y="649412"/>
                        <a:pt x="265370" y="649412"/>
                      </a:cubicBezTo>
                      <a:cubicBezTo>
                        <a:pt x="283986" y="655664"/>
                        <a:pt x="296350" y="668167"/>
                        <a:pt x="321218" y="668167"/>
                      </a:cubicBezTo>
                      <a:cubicBezTo>
                        <a:pt x="327469" y="668167"/>
                        <a:pt x="333582" y="661915"/>
                        <a:pt x="339833" y="661915"/>
                      </a:cubicBezTo>
                      <a:cubicBezTo>
                        <a:pt x="352198" y="649412"/>
                        <a:pt x="339833" y="643160"/>
                        <a:pt x="346085" y="630796"/>
                      </a:cubicBezTo>
                      <a:cubicBezTo>
                        <a:pt x="346085" y="624545"/>
                        <a:pt x="352337" y="618293"/>
                        <a:pt x="352337" y="618293"/>
                      </a:cubicBezTo>
                      <a:cubicBezTo>
                        <a:pt x="358588" y="605790"/>
                        <a:pt x="352337" y="605790"/>
                        <a:pt x="352337" y="599539"/>
                      </a:cubicBezTo>
                      <a:cubicBezTo>
                        <a:pt x="346085" y="593287"/>
                        <a:pt x="346085" y="580784"/>
                        <a:pt x="352337" y="580784"/>
                      </a:cubicBezTo>
                      <a:cubicBezTo>
                        <a:pt x="364701" y="580784"/>
                        <a:pt x="358588" y="593287"/>
                        <a:pt x="358588" y="593287"/>
                      </a:cubicBezTo>
                      <a:cubicBezTo>
                        <a:pt x="352337" y="587035"/>
                        <a:pt x="389568" y="587035"/>
                        <a:pt x="389568" y="587035"/>
                      </a:cubicBezTo>
                      <a:cubicBezTo>
                        <a:pt x="414435" y="587035"/>
                        <a:pt x="432912" y="574532"/>
                        <a:pt x="457779" y="574532"/>
                      </a:cubicBezTo>
                      <a:cubicBezTo>
                        <a:pt x="464031" y="568281"/>
                        <a:pt x="482647" y="562029"/>
                        <a:pt x="495011" y="555778"/>
                      </a:cubicBezTo>
                      <a:cubicBezTo>
                        <a:pt x="501263" y="549526"/>
                        <a:pt x="501263" y="543275"/>
                        <a:pt x="507375" y="537023"/>
                      </a:cubicBezTo>
                      <a:cubicBezTo>
                        <a:pt x="513627" y="530771"/>
                        <a:pt x="519740" y="524520"/>
                        <a:pt x="525991" y="512155"/>
                      </a:cubicBezTo>
                      <a:cubicBezTo>
                        <a:pt x="525991" y="493540"/>
                        <a:pt x="513627" y="493540"/>
                        <a:pt x="501124" y="481037"/>
                      </a:cubicBezTo>
                      <a:cubicBezTo>
                        <a:pt x="494872" y="468534"/>
                        <a:pt x="513488" y="462282"/>
                        <a:pt x="501124" y="449918"/>
                      </a:cubicBezTo>
                      <a:cubicBezTo>
                        <a:pt x="494872" y="443666"/>
                        <a:pt x="470144" y="437415"/>
                        <a:pt x="470144" y="425050"/>
                      </a:cubicBezTo>
                      <a:cubicBezTo>
                        <a:pt x="470144" y="425050"/>
                        <a:pt x="470144" y="418799"/>
                        <a:pt x="476395" y="418799"/>
                      </a:cubicBezTo>
                      <a:cubicBezTo>
                        <a:pt x="476395" y="412547"/>
                        <a:pt x="470144" y="412547"/>
                        <a:pt x="470144" y="406296"/>
                      </a:cubicBezTo>
                      <a:cubicBezTo>
                        <a:pt x="470561" y="400461"/>
                        <a:pt x="464309" y="388097"/>
                        <a:pt x="470561" y="381845"/>
                      </a:cubicBezTo>
                      <a:cubicBezTo>
                        <a:pt x="476673" y="375594"/>
                        <a:pt x="464309" y="388097"/>
                        <a:pt x="470561" y="38184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8" name="Freihandform: Form 277">
                  <a:extLst>
                    <a:ext uri="{FF2B5EF4-FFF2-40B4-BE49-F238E27FC236}">
                      <a16:creationId xmlns:a16="http://schemas.microsoft.com/office/drawing/2014/main" id="{4086427E-12C1-4D48-BE9C-CF8A0341254B}"/>
                    </a:ext>
                  </a:extLst>
                </p:cNvPr>
                <p:cNvSpPr/>
                <p:nvPr/>
              </p:nvSpPr>
              <p:spPr>
                <a:xfrm>
                  <a:off x="3364118" y="4062535"/>
                  <a:ext cx="142952" cy="140436"/>
                </a:xfrm>
                <a:custGeom>
                  <a:avLst/>
                  <a:gdLst>
                    <a:gd name="connsiteX0" fmla="*/ 97385 w 142952"/>
                    <a:gd name="connsiteY0" fmla="*/ 134046 h 140436"/>
                    <a:gd name="connsiteX1" fmla="*/ 123364 w 142952"/>
                    <a:gd name="connsiteY1" fmla="*/ 140436 h 140436"/>
                    <a:gd name="connsiteX2" fmla="*/ 123364 w 142952"/>
                    <a:gd name="connsiteY2" fmla="*/ 95981 h 140436"/>
                    <a:gd name="connsiteX3" fmla="*/ 129894 w 142952"/>
                    <a:gd name="connsiteY3" fmla="*/ 51525 h 140436"/>
                    <a:gd name="connsiteX4" fmla="*/ 136423 w 142952"/>
                    <a:gd name="connsiteY4" fmla="*/ 32493 h 140436"/>
                    <a:gd name="connsiteX5" fmla="*/ 142952 w 142952"/>
                    <a:gd name="connsiteY5" fmla="*/ 7070 h 140436"/>
                    <a:gd name="connsiteX6" fmla="*/ 110444 w 142952"/>
                    <a:gd name="connsiteY6" fmla="*/ 13460 h 140436"/>
                    <a:gd name="connsiteX7" fmla="*/ 77936 w 142952"/>
                    <a:gd name="connsiteY7" fmla="*/ 19851 h 140436"/>
                    <a:gd name="connsiteX8" fmla="*/ 58487 w 142952"/>
                    <a:gd name="connsiteY8" fmla="*/ 38883 h 140436"/>
                    <a:gd name="connsiteX9" fmla="*/ 25979 w 142952"/>
                    <a:gd name="connsiteY9" fmla="*/ 45274 h 140436"/>
                    <a:gd name="connsiteX10" fmla="*/ 19449 w 142952"/>
                    <a:gd name="connsiteY10" fmla="*/ 64306 h 140436"/>
                    <a:gd name="connsiteX11" fmla="*/ 0 w 142952"/>
                    <a:gd name="connsiteY11" fmla="*/ 70697 h 140436"/>
                    <a:gd name="connsiteX12" fmla="*/ 39037 w 142952"/>
                    <a:gd name="connsiteY12" fmla="*/ 108762 h 140436"/>
                    <a:gd name="connsiteX13" fmla="*/ 71546 w 142952"/>
                    <a:gd name="connsiteY13" fmla="*/ 127794 h 140436"/>
                    <a:gd name="connsiteX14" fmla="*/ 97385 w 142952"/>
                    <a:gd name="connsiteY14" fmla="*/ 134046 h 140436"/>
                    <a:gd name="connsiteX15" fmla="*/ 97385 w 142952"/>
                    <a:gd name="connsiteY15" fmla="*/ 134046 h 14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952" h="140436">
                      <a:moveTo>
                        <a:pt x="97385" y="134046"/>
                      </a:moveTo>
                      <a:cubicBezTo>
                        <a:pt x="103915" y="140436"/>
                        <a:pt x="110444" y="140436"/>
                        <a:pt x="123364" y="140436"/>
                      </a:cubicBezTo>
                      <a:cubicBezTo>
                        <a:pt x="110305" y="121404"/>
                        <a:pt x="123364" y="115013"/>
                        <a:pt x="123364" y="95981"/>
                      </a:cubicBezTo>
                      <a:cubicBezTo>
                        <a:pt x="123364" y="83339"/>
                        <a:pt x="129894" y="64167"/>
                        <a:pt x="129894" y="51525"/>
                      </a:cubicBezTo>
                      <a:cubicBezTo>
                        <a:pt x="129894" y="45135"/>
                        <a:pt x="136423" y="38744"/>
                        <a:pt x="136423" y="32493"/>
                      </a:cubicBezTo>
                      <a:cubicBezTo>
                        <a:pt x="142952" y="26102"/>
                        <a:pt x="136423" y="19712"/>
                        <a:pt x="142952" y="7070"/>
                      </a:cubicBezTo>
                      <a:cubicBezTo>
                        <a:pt x="142952" y="-11963"/>
                        <a:pt x="116974" y="13460"/>
                        <a:pt x="110444" y="13460"/>
                      </a:cubicBezTo>
                      <a:cubicBezTo>
                        <a:pt x="97385" y="13460"/>
                        <a:pt x="90995" y="7070"/>
                        <a:pt x="77936" y="19851"/>
                      </a:cubicBezTo>
                      <a:cubicBezTo>
                        <a:pt x="77936" y="19851"/>
                        <a:pt x="64877" y="45274"/>
                        <a:pt x="58487" y="38883"/>
                      </a:cubicBezTo>
                      <a:cubicBezTo>
                        <a:pt x="45428" y="38883"/>
                        <a:pt x="39037" y="38883"/>
                        <a:pt x="25979" y="45274"/>
                      </a:cubicBezTo>
                      <a:cubicBezTo>
                        <a:pt x="25979" y="51664"/>
                        <a:pt x="25979" y="64306"/>
                        <a:pt x="19449" y="64306"/>
                      </a:cubicBezTo>
                      <a:cubicBezTo>
                        <a:pt x="19449" y="70697"/>
                        <a:pt x="6390" y="70697"/>
                        <a:pt x="0" y="70697"/>
                      </a:cubicBezTo>
                      <a:cubicBezTo>
                        <a:pt x="13059" y="83339"/>
                        <a:pt x="25979" y="102510"/>
                        <a:pt x="39037" y="108762"/>
                      </a:cubicBezTo>
                      <a:cubicBezTo>
                        <a:pt x="45567" y="121404"/>
                        <a:pt x="58487" y="127794"/>
                        <a:pt x="71546" y="127794"/>
                      </a:cubicBezTo>
                      <a:cubicBezTo>
                        <a:pt x="77797" y="127655"/>
                        <a:pt x="90856" y="127655"/>
                        <a:pt x="97385" y="134046"/>
                      </a:cubicBezTo>
                      <a:cubicBezTo>
                        <a:pt x="103915" y="134046"/>
                        <a:pt x="97385" y="127655"/>
                        <a:pt x="97385" y="13404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79" name="Freihandform: Form 278">
                  <a:extLst>
                    <a:ext uri="{FF2B5EF4-FFF2-40B4-BE49-F238E27FC236}">
                      <a16:creationId xmlns:a16="http://schemas.microsoft.com/office/drawing/2014/main" id="{FA7D8C61-60BE-4527-B463-16B6551473F6}"/>
                    </a:ext>
                  </a:extLst>
                </p:cNvPr>
                <p:cNvSpPr/>
                <p:nvPr/>
              </p:nvSpPr>
              <p:spPr>
                <a:xfrm>
                  <a:off x="3422957" y="4183800"/>
                  <a:ext cx="93421" cy="90230"/>
                </a:xfrm>
                <a:custGeom>
                  <a:avLst/>
                  <a:gdLst>
                    <a:gd name="connsiteX0" fmla="*/ 87309 w 93421"/>
                    <a:gd name="connsiteY0" fmla="*/ 63627 h 90230"/>
                    <a:gd name="connsiteX1" fmla="*/ 93422 w 93421"/>
                    <a:gd name="connsiteY1" fmla="*/ 50846 h 90230"/>
                    <a:gd name="connsiteX2" fmla="*/ 81058 w 93421"/>
                    <a:gd name="connsiteY2" fmla="*/ 38204 h 90230"/>
                    <a:gd name="connsiteX3" fmla="*/ 62581 w 93421"/>
                    <a:gd name="connsiteY3" fmla="*/ 12781 h 90230"/>
                    <a:gd name="connsiteX4" fmla="*/ 37852 w 93421"/>
                    <a:gd name="connsiteY4" fmla="*/ 6391 h 90230"/>
                    <a:gd name="connsiteX5" fmla="*/ 7011 w 93421"/>
                    <a:gd name="connsiteY5" fmla="*/ 0 h 90230"/>
                    <a:gd name="connsiteX6" fmla="*/ 7011 w 93421"/>
                    <a:gd name="connsiteY6" fmla="*/ 38065 h 90230"/>
                    <a:gd name="connsiteX7" fmla="*/ 25488 w 93421"/>
                    <a:gd name="connsiteY7" fmla="*/ 44456 h 90230"/>
                    <a:gd name="connsiteX8" fmla="*/ 13124 w 93421"/>
                    <a:gd name="connsiteY8" fmla="*/ 31675 h 90230"/>
                    <a:gd name="connsiteX9" fmla="*/ 31601 w 93421"/>
                    <a:gd name="connsiteY9" fmla="*/ 44456 h 90230"/>
                    <a:gd name="connsiteX10" fmla="*/ 56329 w 93421"/>
                    <a:gd name="connsiteY10" fmla="*/ 63488 h 90230"/>
                    <a:gd name="connsiteX11" fmla="*/ 74806 w 93421"/>
                    <a:gd name="connsiteY11" fmla="*/ 88911 h 90230"/>
                    <a:gd name="connsiteX12" fmla="*/ 87309 w 93421"/>
                    <a:gd name="connsiteY12" fmla="*/ 63627 h 90230"/>
                    <a:gd name="connsiteX13" fmla="*/ 87309 w 93421"/>
                    <a:gd name="connsiteY13" fmla="*/ 63627 h 90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421" h="90230">
                      <a:moveTo>
                        <a:pt x="87309" y="63627"/>
                      </a:moveTo>
                      <a:cubicBezTo>
                        <a:pt x="87309" y="57236"/>
                        <a:pt x="87309" y="50846"/>
                        <a:pt x="93422" y="50846"/>
                      </a:cubicBezTo>
                      <a:cubicBezTo>
                        <a:pt x="87309" y="44456"/>
                        <a:pt x="87309" y="38204"/>
                        <a:pt x="81058" y="38204"/>
                      </a:cubicBezTo>
                      <a:cubicBezTo>
                        <a:pt x="74945" y="31813"/>
                        <a:pt x="68694" y="12781"/>
                        <a:pt x="62581" y="12781"/>
                      </a:cubicBezTo>
                      <a:cubicBezTo>
                        <a:pt x="50217" y="12781"/>
                        <a:pt x="44104" y="12781"/>
                        <a:pt x="37852" y="6391"/>
                      </a:cubicBezTo>
                      <a:cubicBezTo>
                        <a:pt x="31740" y="0"/>
                        <a:pt x="13124" y="0"/>
                        <a:pt x="7011" y="0"/>
                      </a:cubicBezTo>
                      <a:cubicBezTo>
                        <a:pt x="13124" y="6391"/>
                        <a:pt x="-11465" y="38065"/>
                        <a:pt x="7011" y="38065"/>
                      </a:cubicBezTo>
                      <a:cubicBezTo>
                        <a:pt x="13124" y="38065"/>
                        <a:pt x="13124" y="50707"/>
                        <a:pt x="25488" y="44456"/>
                      </a:cubicBezTo>
                      <a:cubicBezTo>
                        <a:pt x="31601" y="38065"/>
                        <a:pt x="13124" y="31675"/>
                        <a:pt x="13124" y="31675"/>
                      </a:cubicBezTo>
                      <a:cubicBezTo>
                        <a:pt x="19237" y="31675"/>
                        <a:pt x="31601" y="38065"/>
                        <a:pt x="31601" y="44456"/>
                      </a:cubicBezTo>
                      <a:cubicBezTo>
                        <a:pt x="37713" y="57098"/>
                        <a:pt x="50078" y="50846"/>
                        <a:pt x="56329" y="63488"/>
                      </a:cubicBezTo>
                      <a:cubicBezTo>
                        <a:pt x="62442" y="69879"/>
                        <a:pt x="62442" y="82520"/>
                        <a:pt x="74806" y="88911"/>
                      </a:cubicBezTo>
                      <a:cubicBezTo>
                        <a:pt x="93561" y="95440"/>
                        <a:pt x="93561" y="76269"/>
                        <a:pt x="87309" y="63627"/>
                      </a:cubicBezTo>
                      <a:cubicBezTo>
                        <a:pt x="87309" y="57236"/>
                        <a:pt x="87309" y="70017"/>
                        <a:pt x="87309" y="636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0" name="Freihandform: Form 279">
                  <a:extLst>
                    <a:ext uri="{FF2B5EF4-FFF2-40B4-BE49-F238E27FC236}">
                      <a16:creationId xmlns:a16="http://schemas.microsoft.com/office/drawing/2014/main" id="{D2E27AD6-9964-45B4-ACCE-2F127C60D676}"/>
                    </a:ext>
                  </a:extLst>
                </p:cNvPr>
                <p:cNvSpPr/>
                <p:nvPr/>
              </p:nvSpPr>
              <p:spPr>
                <a:xfrm>
                  <a:off x="3287710" y="4078913"/>
                  <a:ext cx="76269" cy="42889"/>
                </a:xfrm>
                <a:custGeom>
                  <a:avLst/>
                  <a:gdLst>
                    <a:gd name="connsiteX0" fmla="*/ 27785 w 76269"/>
                    <a:gd name="connsiteY0" fmla="*/ 6391 h 42889"/>
                    <a:gd name="connsiteX1" fmla="*/ 27785 w 76269"/>
                    <a:gd name="connsiteY1" fmla="*/ 0 h 42889"/>
                    <a:gd name="connsiteX2" fmla="*/ 0 w 76269"/>
                    <a:gd name="connsiteY2" fmla="*/ 25423 h 42889"/>
                    <a:gd name="connsiteX3" fmla="*/ 76269 w 76269"/>
                    <a:gd name="connsiteY3" fmla="*/ 31813 h 42889"/>
                    <a:gd name="connsiteX4" fmla="*/ 27785 w 76269"/>
                    <a:gd name="connsiteY4" fmla="*/ 6391 h 42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9" h="42889">
                      <a:moveTo>
                        <a:pt x="27785" y="6391"/>
                      </a:moveTo>
                      <a:cubicBezTo>
                        <a:pt x="27785" y="0"/>
                        <a:pt x="27785" y="0"/>
                        <a:pt x="27785" y="0"/>
                      </a:cubicBezTo>
                      <a:cubicBezTo>
                        <a:pt x="20839" y="6391"/>
                        <a:pt x="6946" y="19032"/>
                        <a:pt x="0" y="25423"/>
                      </a:cubicBezTo>
                      <a:cubicBezTo>
                        <a:pt x="13892" y="31813"/>
                        <a:pt x="76269" y="57236"/>
                        <a:pt x="76269" y="31813"/>
                      </a:cubicBezTo>
                      <a:cubicBezTo>
                        <a:pt x="76269" y="12781"/>
                        <a:pt x="41538" y="19172"/>
                        <a:pt x="27785" y="63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1" name="Freihandform: Form 280">
                  <a:extLst>
                    <a:ext uri="{FF2B5EF4-FFF2-40B4-BE49-F238E27FC236}">
                      <a16:creationId xmlns:a16="http://schemas.microsoft.com/office/drawing/2014/main" id="{F4C7B8E2-1B34-4682-A10C-F0C9FCACE1D3}"/>
                    </a:ext>
                  </a:extLst>
                </p:cNvPr>
                <p:cNvSpPr/>
                <p:nvPr/>
              </p:nvSpPr>
              <p:spPr>
                <a:xfrm>
                  <a:off x="3222812" y="3977638"/>
                  <a:ext cx="122135" cy="129701"/>
                </a:xfrm>
                <a:custGeom>
                  <a:avLst/>
                  <a:gdLst>
                    <a:gd name="connsiteX0" fmla="*/ 95462 w 122135"/>
                    <a:gd name="connsiteY0" fmla="*/ 95996 h 129701"/>
                    <a:gd name="connsiteX1" fmla="*/ 122135 w 122135"/>
                    <a:gd name="connsiteY1" fmla="*/ 71129 h 129701"/>
                    <a:gd name="connsiteX2" fmla="*/ 95462 w 122135"/>
                    <a:gd name="connsiteY2" fmla="*/ 46261 h 129701"/>
                    <a:gd name="connsiteX3" fmla="*/ 95462 w 122135"/>
                    <a:gd name="connsiteY3" fmla="*/ 2778 h 129701"/>
                    <a:gd name="connsiteX4" fmla="*/ 42115 w 122135"/>
                    <a:gd name="connsiteY4" fmla="*/ 2778 h 129701"/>
                    <a:gd name="connsiteX5" fmla="*/ 35447 w 122135"/>
                    <a:gd name="connsiteY5" fmla="*/ 33897 h 129701"/>
                    <a:gd name="connsiteX6" fmla="*/ 42115 w 122135"/>
                    <a:gd name="connsiteY6" fmla="*/ 58764 h 129701"/>
                    <a:gd name="connsiteX7" fmla="*/ 15442 w 122135"/>
                    <a:gd name="connsiteY7" fmla="*/ 58764 h 129701"/>
                    <a:gd name="connsiteX8" fmla="*/ 2105 w 122135"/>
                    <a:gd name="connsiteY8" fmla="*/ 89883 h 129701"/>
                    <a:gd name="connsiteX9" fmla="*/ 68789 w 122135"/>
                    <a:gd name="connsiteY9" fmla="*/ 127254 h 129701"/>
                    <a:gd name="connsiteX10" fmla="*/ 95462 w 122135"/>
                    <a:gd name="connsiteY10" fmla="*/ 95996 h 12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135" h="129701">
                      <a:moveTo>
                        <a:pt x="95462" y="95996"/>
                      </a:moveTo>
                      <a:cubicBezTo>
                        <a:pt x="95462" y="83493"/>
                        <a:pt x="115467" y="77380"/>
                        <a:pt x="122135" y="71129"/>
                      </a:cubicBezTo>
                      <a:cubicBezTo>
                        <a:pt x="102130" y="64877"/>
                        <a:pt x="95462" y="64877"/>
                        <a:pt x="95462" y="46261"/>
                      </a:cubicBezTo>
                      <a:cubicBezTo>
                        <a:pt x="95462" y="40010"/>
                        <a:pt x="102130" y="8891"/>
                        <a:pt x="95462" y="2778"/>
                      </a:cubicBezTo>
                      <a:cubicBezTo>
                        <a:pt x="88794" y="-3473"/>
                        <a:pt x="55452" y="2778"/>
                        <a:pt x="42115" y="2778"/>
                      </a:cubicBezTo>
                      <a:cubicBezTo>
                        <a:pt x="28779" y="2778"/>
                        <a:pt x="28779" y="21394"/>
                        <a:pt x="35447" y="33897"/>
                      </a:cubicBezTo>
                      <a:cubicBezTo>
                        <a:pt x="42115" y="40149"/>
                        <a:pt x="68789" y="58764"/>
                        <a:pt x="42115" y="58764"/>
                      </a:cubicBezTo>
                      <a:cubicBezTo>
                        <a:pt x="35447" y="58764"/>
                        <a:pt x="22110" y="58764"/>
                        <a:pt x="15442" y="58764"/>
                      </a:cubicBezTo>
                      <a:cubicBezTo>
                        <a:pt x="2105" y="58764"/>
                        <a:pt x="2105" y="83632"/>
                        <a:pt x="2105" y="89883"/>
                      </a:cubicBezTo>
                      <a:cubicBezTo>
                        <a:pt x="-11231" y="127254"/>
                        <a:pt x="42115" y="121002"/>
                        <a:pt x="68789" y="127254"/>
                      </a:cubicBezTo>
                      <a:cubicBezTo>
                        <a:pt x="75318" y="139479"/>
                        <a:pt x="95462" y="102248"/>
                        <a:pt x="95462" y="9599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2" name="Freihandform: Form 281">
                  <a:extLst>
                    <a:ext uri="{FF2B5EF4-FFF2-40B4-BE49-F238E27FC236}">
                      <a16:creationId xmlns:a16="http://schemas.microsoft.com/office/drawing/2014/main" id="{209A9280-B27A-467B-8C12-BB5B05B35E2E}"/>
                    </a:ext>
                  </a:extLst>
                </p:cNvPr>
                <p:cNvSpPr/>
                <p:nvPr/>
              </p:nvSpPr>
              <p:spPr>
                <a:xfrm>
                  <a:off x="2459031" y="3482425"/>
                  <a:ext cx="933705" cy="596487"/>
                </a:xfrm>
                <a:custGeom>
                  <a:avLst/>
                  <a:gdLst>
                    <a:gd name="connsiteX0" fmla="*/ 784085 w 933705"/>
                    <a:gd name="connsiteY0" fmla="*/ 552727 h 596487"/>
                    <a:gd name="connsiteX1" fmla="*/ 821455 w 933705"/>
                    <a:gd name="connsiteY1" fmla="*/ 546475 h 596487"/>
                    <a:gd name="connsiteX2" fmla="*/ 796588 w 933705"/>
                    <a:gd name="connsiteY2" fmla="*/ 515217 h 596487"/>
                    <a:gd name="connsiteX3" fmla="*/ 809091 w 933705"/>
                    <a:gd name="connsiteY3" fmla="*/ 496463 h 596487"/>
                    <a:gd name="connsiteX4" fmla="*/ 858965 w 933705"/>
                    <a:gd name="connsiteY4" fmla="*/ 496463 h 596487"/>
                    <a:gd name="connsiteX5" fmla="*/ 896335 w 933705"/>
                    <a:gd name="connsiteY5" fmla="*/ 483960 h 596487"/>
                    <a:gd name="connsiteX6" fmla="*/ 908838 w 933705"/>
                    <a:gd name="connsiteY6" fmla="*/ 452702 h 596487"/>
                    <a:gd name="connsiteX7" fmla="*/ 908838 w 933705"/>
                    <a:gd name="connsiteY7" fmla="*/ 421444 h 596487"/>
                    <a:gd name="connsiteX8" fmla="*/ 933705 w 933705"/>
                    <a:gd name="connsiteY8" fmla="*/ 390186 h 596487"/>
                    <a:gd name="connsiteX9" fmla="*/ 908838 w 933705"/>
                    <a:gd name="connsiteY9" fmla="*/ 377683 h 596487"/>
                    <a:gd name="connsiteX10" fmla="*/ 846600 w 933705"/>
                    <a:gd name="connsiteY10" fmla="*/ 383935 h 596487"/>
                    <a:gd name="connsiteX11" fmla="*/ 821733 w 933705"/>
                    <a:gd name="connsiteY11" fmla="*/ 396438 h 596487"/>
                    <a:gd name="connsiteX12" fmla="*/ 815481 w 933705"/>
                    <a:gd name="connsiteY12" fmla="*/ 433947 h 596487"/>
                    <a:gd name="connsiteX13" fmla="*/ 784362 w 933705"/>
                    <a:gd name="connsiteY13" fmla="*/ 471456 h 596487"/>
                    <a:gd name="connsiteX14" fmla="*/ 709622 w 933705"/>
                    <a:gd name="connsiteY14" fmla="*/ 483960 h 596487"/>
                    <a:gd name="connsiteX15" fmla="*/ 684754 w 933705"/>
                    <a:gd name="connsiteY15" fmla="*/ 471456 h 596487"/>
                    <a:gd name="connsiteX16" fmla="*/ 653635 w 933705"/>
                    <a:gd name="connsiteY16" fmla="*/ 458953 h 596487"/>
                    <a:gd name="connsiteX17" fmla="*/ 635020 w 933705"/>
                    <a:gd name="connsiteY17" fmla="*/ 427696 h 596487"/>
                    <a:gd name="connsiteX18" fmla="*/ 610152 w 933705"/>
                    <a:gd name="connsiteY18" fmla="*/ 396438 h 596487"/>
                    <a:gd name="connsiteX19" fmla="*/ 597649 w 933705"/>
                    <a:gd name="connsiteY19" fmla="*/ 315167 h 596487"/>
                    <a:gd name="connsiteX20" fmla="*/ 603901 w 933705"/>
                    <a:gd name="connsiteY20" fmla="*/ 252652 h 596487"/>
                    <a:gd name="connsiteX21" fmla="*/ 610152 w 933705"/>
                    <a:gd name="connsiteY21" fmla="*/ 233897 h 596487"/>
                    <a:gd name="connsiteX22" fmla="*/ 597649 w 933705"/>
                    <a:gd name="connsiteY22" fmla="*/ 221394 h 596487"/>
                    <a:gd name="connsiteX23" fmla="*/ 560279 w 933705"/>
                    <a:gd name="connsiteY23" fmla="*/ 215143 h 596487"/>
                    <a:gd name="connsiteX24" fmla="*/ 541663 w 933705"/>
                    <a:gd name="connsiteY24" fmla="*/ 183885 h 596487"/>
                    <a:gd name="connsiteX25" fmla="*/ 510544 w 933705"/>
                    <a:gd name="connsiteY25" fmla="*/ 146375 h 596487"/>
                    <a:gd name="connsiteX26" fmla="*/ 498041 w 933705"/>
                    <a:gd name="connsiteY26" fmla="*/ 108866 h 596487"/>
                    <a:gd name="connsiteX27" fmla="*/ 466922 w 933705"/>
                    <a:gd name="connsiteY27" fmla="*/ 102614 h 596487"/>
                    <a:gd name="connsiteX28" fmla="*/ 442055 w 933705"/>
                    <a:gd name="connsiteY28" fmla="*/ 102614 h 596487"/>
                    <a:gd name="connsiteX29" fmla="*/ 423439 w 933705"/>
                    <a:gd name="connsiteY29" fmla="*/ 121369 h 596487"/>
                    <a:gd name="connsiteX30" fmla="*/ 386069 w 933705"/>
                    <a:gd name="connsiteY30" fmla="*/ 96363 h 596487"/>
                    <a:gd name="connsiteX31" fmla="*/ 367453 w 933705"/>
                    <a:gd name="connsiteY31" fmla="*/ 58854 h 596487"/>
                    <a:gd name="connsiteX32" fmla="*/ 323831 w 933705"/>
                    <a:gd name="connsiteY32" fmla="*/ 33847 h 596487"/>
                    <a:gd name="connsiteX33" fmla="*/ 280209 w 933705"/>
                    <a:gd name="connsiteY33" fmla="*/ 33847 h 596487"/>
                    <a:gd name="connsiteX34" fmla="*/ 242838 w 933705"/>
                    <a:gd name="connsiteY34" fmla="*/ 46350 h 596487"/>
                    <a:gd name="connsiteX35" fmla="*/ 180601 w 933705"/>
                    <a:gd name="connsiteY35" fmla="*/ 46350 h 596487"/>
                    <a:gd name="connsiteX36" fmla="*/ 143230 w 933705"/>
                    <a:gd name="connsiteY36" fmla="*/ 27596 h 596487"/>
                    <a:gd name="connsiteX37" fmla="*/ 80993 w 933705"/>
                    <a:gd name="connsiteY37" fmla="*/ 2589 h 596487"/>
                    <a:gd name="connsiteX38" fmla="*/ 0 w 933705"/>
                    <a:gd name="connsiteY38" fmla="*/ 8841 h 596487"/>
                    <a:gd name="connsiteX39" fmla="*/ 43622 w 933705"/>
                    <a:gd name="connsiteY39" fmla="*/ 96363 h 596487"/>
                    <a:gd name="connsiteX40" fmla="*/ 80993 w 933705"/>
                    <a:gd name="connsiteY40" fmla="*/ 127621 h 596487"/>
                    <a:gd name="connsiteX41" fmla="*/ 93496 w 933705"/>
                    <a:gd name="connsiteY41" fmla="*/ 171382 h 596487"/>
                    <a:gd name="connsiteX42" fmla="*/ 74880 w 933705"/>
                    <a:gd name="connsiteY42" fmla="*/ 177633 h 596487"/>
                    <a:gd name="connsiteX43" fmla="*/ 93496 w 933705"/>
                    <a:gd name="connsiteY43" fmla="*/ 196388 h 596487"/>
                    <a:gd name="connsiteX44" fmla="*/ 118363 w 933705"/>
                    <a:gd name="connsiteY44" fmla="*/ 202639 h 596487"/>
                    <a:gd name="connsiteX45" fmla="*/ 155733 w 933705"/>
                    <a:gd name="connsiteY45" fmla="*/ 233897 h 596487"/>
                    <a:gd name="connsiteX46" fmla="*/ 149482 w 933705"/>
                    <a:gd name="connsiteY46" fmla="*/ 258903 h 596487"/>
                    <a:gd name="connsiteX47" fmla="*/ 161985 w 933705"/>
                    <a:gd name="connsiteY47" fmla="*/ 271407 h 596487"/>
                    <a:gd name="connsiteX48" fmla="*/ 205607 w 933705"/>
                    <a:gd name="connsiteY48" fmla="*/ 308916 h 596487"/>
                    <a:gd name="connsiteX49" fmla="*/ 224223 w 933705"/>
                    <a:gd name="connsiteY49" fmla="*/ 327671 h 596487"/>
                    <a:gd name="connsiteX50" fmla="*/ 230474 w 933705"/>
                    <a:gd name="connsiteY50" fmla="*/ 308916 h 596487"/>
                    <a:gd name="connsiteX51" fmla="*/ 224223 w 933705"/>
                    <a:gd name="connsiteY51" fmla="*/ 290161 h 596487"/>
                    <a:gd name="connsiteX52" fmla="*/ 199355 w 933705"/>
                    <a:gd name="connsiteY52" fmla="*/ 283910 h 596487"/>
                    <a:gd name="connsiteX53" fmla="*/ 199355 w 933705"/>
                    <a:gd name="connsiteY53" fmla="*/ 258903 h 596487"/>
                    <a:gd name="connsiteX54" fmla="*/ 186852 w 933705"/>
                    <a:gd name="connsiteY54" fmla="*/ 240149 h 596487"/>
                    <a:gd name="connsiteX55" fmla="*/ 161985 w 933705"/>
                    <a:gd name="connsiteY55" fmla="*/ 196388 h 596487"/>
                    <a:gd name="connsiteX56" fmla="*/ 130866 w 933705"/>
                    <a:gd name="connsiteY56" fmla="*/ 165130 h 596487"/>
                    <a:gd name="connsiteX57" fmla="*/ 124615 w 933705"/>
                    <a:gd name="connsiteY57" fmla="*/ 140124 h 596487"/>
                    <a:gd name="connsiteX58" fmla="*/ 105999 w 933705"/>
                    <a:gd name="connsiteY58" fmla="*/ 121369 h 596487"/>
                    <a:gd name="connsiteX59" fmla="*/ 81131 w 933705"/>
                    <a:gd name="connsiteY59" fmla="*/ 96363 h 596487"/>
                    <a:gd name="connsiteX60" fmla="*/ 74880 w 933705"/>
                    <a:gd name="connsiteY60" fmla="*/ 71357 h 596487"/>
                    <a:gd name="connsiteX61" fmla="*/ 68628 w 933705"/>
                    <a:gd name="connsiteY61" fmla="*/ 27596 h 596487"/>
                    <a:gd name="connsiteX62" fmla="*/ 87244 w 933705"/>
                    <a:gd name="connsiteY62" fmla="*/ 40099 h 596487"/>
                    <a:gd name="connsiteX63" fmla="*/ 93496 w 933705"/>
                    <a:gd name="connsiteY63" fmla="*/ 40099 h 596487"/>
                    <a:gd name="connsiteX64" fmla="*/ 112111 w 933705"/>
                    <a:gd name="connsiteY64" fmla="*/ 46350 h 596487"/>
                    <a:gd name="connsiteX65" fmla="*/ 124615 w 933705"/>
                    <a:gd name="connsiteY65" fmla="*/ 52602 h 596487"/>
                    <a:gd name="connsiteX66" fmla="*/ 137118 w 933705"/>
                    <a:gd name="connsiteY66" fmla="*/ 90111 h 596487"/>
                    <a:gd name="connsiteX67" fmla="*/ 143369 w 933705"/>
                    <a:gd name="connsiteY67" fmla="*/ 115118 h 596487"/>
                    <a:gd name="connsiteX68" fmla="*/ 137118 w 933705"/>
                    <a:gd name="connsiteY68" fmla="*/ 133872 h 596487"/>
                    <a:gd name="connsiteX69" fmla="*/ 143369 w 933705"/>
                    <a:gd name="connsiteY69" fmla="*/ 121369 h 596487"/>
                    <a:gd name="connsiteX70" fmla="*/ 161985 w 933705"/>
                    <a:gd name="connsiteY70" fmla="*/ 133872 h 596487"/>
                    <a:gd name="connsiteX71" fmla="*/ 199355 w 933705"/>
                    <a:gd name="connsiteY71" fmla="*/ 165130 h 596487"/>
                    <a:gd name="connsiteX72" fmla="*/ 211858 w 933705"/>
                    <a:gd name="connsiteY72" fmla="*/ 183885 h 596487"/>
                    <a:gd name="connsiteX73" fmla="*/ 224362 w 933705"/>
                    <a:gd name="connsiteY73" fmla="*/ 202639 h 596487"/>
                    <a:gd name="connsiteX74" fmla="*/ 236865 w 933705"/>
                    <a:gd name="connsiteY74" fmla="*/ 208891 h 596487"/>
                    <a:gd name="connsiteX75" fmla="*/ 236865 w 933705"/>
                    <a:gd name="connsiteY75" fmla="*/ 233897 h 596487"/>
                    <a:gd name="connsiteX76" fmla="*/ 274235 w 933705"/>
                    <a:gd name="connsiteY76" fmla="*/ 258903 h 596487"/>
                    <a:gd name="connsiteX77" fmla="*/ 286738 w 933705"/>
                    <a:gd name="connsiteY77" fmla="*/ 277658 h 596487"/>
                    <a:gd name="connsiteX78" fmla="*/ 305354 w 933705"/>
                    <a:gd name="connsiteY78" fmla="*/ 296413 h 596487"/>
                    <a:gd name="connsiteX79" fmla="*/ 336473 w 933705"/>
                    <a:gd name="connsiteY79" fmla="*/ 327671 h 596487"/>
                    <a:gd name="connsiteX80" fmla="*/ 355089 w 933705"/>
                    <a:gd name="connsiteY80" fmla="*/ 346425 h 596487"/>
                    <a:gd name="connsiteX81" fmla="*/ 348837 w 933705"/>
                    <a:gd name="connsiteY81" fmla="*/ 365180 h 596487"/>
                    <a:gd name="connsiteX82" fmla="*/ 367453 w 933705"/>
                    <a:gd name="connsiteY82" fmla="*/ 377683 h 596487"/>
                    <a:gd name="connsiteX83" fmla="*/ 361201 w 933705"/>
                    <a:gd name="connsiteY83" fmla="*/ 402689 h 596487"/>
                    <a:gd name="connsiteX84" fmla="*/ 354950 w 933705"/>
                    <a:gd name="connsiteY84" fmla="*/ 421444 h 596487"/>
                    <a:gd name="connsiteX85" fmla="*/ 373566 w 933705"/>
                    <a:gd name="connsiteY85" fmla="*/ 446450 h 596487"/>
                    <a:gd name="connsiteX86" fmla="*/ 392181 w 933705"/>
                    <a:gd name="connsiteY86" fmla="*/ 452702 h 596487"/>
                    <a:gd name="connsiteX87" fmla="*/ 423300 w 933705"/>
                    <a:gd name="connsiteY87" fmla="*/ 477708 h 596487"/>
                    <a:gd name="connsiteX88" fmla="*/ 479286 w 933705"/>
                    <a:gd name="connsiteY88" fmla="*/ 502714 h 596487"/>
                    <a:gd name="connsiteX89" fmla="*/ 554027 w 933705"/>
                    <a:gd name="connsiteY89" fmla="*/ 533972 h 596487"/>
                    <a:gd name="connsiteX90" fmla="*/ 628768 w 933705"/>
                    <a:gd name="connsiteY90" fmla="*/ 565230 h 596487"/>
                    <a:gd name="connsiteX91" fmla="*/ 703509 w 933705"/>
                    <a:gd name="connsiteY91" fmla="*/ 546475 h 596487"/>
                    <a:gd name="connsiteX92" fmla="*/ 765747 w 933705"/>
                    <a:gd name="connsiteY92" fmla="*/ 596488 h 596487"/>
                    <a:gd name="connsiteX93" fmla="*/ 784085 w 933705"/>
                    <a:gd name="connsiteY93" fmla="*/ 552727 h 596487"/>
                    <a:gd name="connsiteX94" fmla="*/ 784085 w 933705"/>
                    <a:gd name="connsiteY94" fmla="*/ 552727 h 596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933705" h="596487">
                      <a:moveTo>
                        <a:pt x="784085" y="552727"/>
                      </a:moveTo>
                      <a:cubicBezTo>
                        <a:pt x="790336" y="552727"/>
                        <a:pt x="833958" y="558978"/>
                        <a:pt x="821455" y="546475"/>
                      </a:cubicBezTo>
                      <a:cubicBezTo>
                        <a:pt x="815204" y="533972"/>
                        <a:pt x="802839" y="527721"/>
                        <a:pt x="796588" y="515217"/>
                      </a:cubicBezTo>
                      <a:cubicBezTo>
                        <a:pt x="796588" y="515217"/>
                        <a:pt x="802839" y="496463"/>
                        <a:pt x="809091" y="496463"/>
                      </a:cubicBezTo>
                      <a:cubicBezTo>
                        <a:pt x="815343" y="490211"/>
                        <a:pt x="846461" y="496463"/>
                        <a:pt x="858965" y="496463"/>
                      </a:cubicBezTo>
                      <a:cubicBezTo>
                        <a:pt x="877580" y="496463"/>
                        <a:pt x="871468" y="465205"/>
                        <a:pt x="896335" y="483960"/>
                      </a:cubicBezTo>
                      <a:cubicBezTo>
                        <a:pt x="902587" y="471456"/>
                        <a:pt x="908838" y="465205"/>
                        <a:pt x="908838" y="452702"/>
                      </a:cubicBezTo>
                      <a:cubicBezTo>
                        <a:pt x="908838" y="440199"/>
                        <a:pt x="902587" y="427696"/>
                        <a:pt x="908838" y="421444"/>
                      </a:cubicBezTo>
                      <a:cubicBezTo>
                        <a:pt x="915090" y="408941"/>
                        <a:pt x="933705" y="396438"/>
                        <a:pt x="933705" y="390186"/>
                      </a:cubicBezTo>
                      <a:cubicBezTo>
                        <a:pt x="927454" y="377683"/>
                        <a:pt x="921202" y="377683"/>
                        <a:pt x="908838" y="377683"/>
                      </a:cubicBezTo>
                      <a:cubicBezTo>
                        <a:pt x="890222" y="377683"/>
                        <a:pt x="865216" y="377683"/>
                        <a:pt x="846600" y="383935"/>
                      </a:cubicBezTo>
                      <a:cubicBezTo>
                        <a:pt x="834097" y="383935"/>
                        <a:pt x="827985" y="390186"/>
                        <a:pt x="821733" y="396438"/>
                      </a:cubicBezTo>
                      <a:cubicBezTo>
                        <a:pt x="815481" y="408941"/>
                        <a:pt x="821733" y="421444"/>
                        <a:pt x="815481" y="433947"/>
                      </a:cubicBezTo>
                      <a:cubicBezTo>
                        <a:pt x="815481" y="440199"/>
                        <a:pt x="784362" y="471456"/>
                        <a:pt x="784362" y="471456"/>
                      </a:cubicBezTo>
                      <a:cubicBezTo>
                        <a:pt x="759495" y="465205"/>
                        <a:pt x="734489" y="471456"/>
                        <a:pt x="709622" y="483960"/>
                      </a:cubicBezTo>
                      <a:cubicBezTo>
                        <a:pt x="697119" y="483960"/>
                        <a:pt x="691006" y="477708"/>
                        <a:pt x="684754" y="471456"/>
                      </a:cubicBezTo>
                      <a:cubicBezTo>
                        <a:pt x="678503" y="465205"/>
                        <a:pt x="666139" y="465205"/>
                        <a:pt x="653635" y="458953"/>
                      </a:cubicBezTo>
                      <a:cubicBezTo>
                        <a:pt x="641132" y="458953"/>
                        <a:pt x="641132" y="440199"/>
                        <a:pt x="635020" y="427696"/>
                      </a:cubicBezTo>
                      <a:cubicBezTo>
                        <a:pt x="628768" y="415192"/>
                        <a:pt x="616404" y="408941"/>
                        <a:pt x="610152" y="396438"/>
                      </a:cubicBezTo>
                      <a:cubicBezTo>
                        <a:pt x="603901" y="371432"/>
                        <a:pt x="591537" y="340174"/>
                        <a:pt x="597649" y="315167"/>
                      </a:cubicBezTo>
                      <a:cubicBezTo>
                        <a:pt x="597649" y="296413"/>
                        <a:pt x="591398" y="271407"/>
                        <a:pt x="603901" y="252652"/>
                      </a:cubicBezTo>
                      <a:cubicBezTo>
                        <a:pt x="610152" y="246400"/>
                        <a:pt x="610152" y="240149"/>
                        <a:pt x="610152" y="233897"/>
                      </a:cubicBezTo>
                      <a:cubicBezTo>
                        <a:pt x="616404" y="221394"/>
                        <a:pt x="603901" y="227646"/>
                        <a:pt x="597649" y="221394"/>
                      </a:cubicBezTo>
                      <a:cubicBezTo>
                        <a:pt x="585146" y="221394"/>
                        <a:pt x="572782" y="215143"/>
                        <a:pt x="560279" y="215143"/>
                      </a:cubicBezTo>
                      <a:cubicBezTo>
                        <a:pt x="554027" y="208891"/>
                        <a:pt x="541663" y="196388"/>
                        <a:pt x="541663" y="183885"/>
                      </a:cubicBezTo>
                      <a:cubicBezTo>
                        <a:pt x="541663" y="165130"/>
                        <a:pt x="523047" y="158878"/>
                        <a:pt x="510544" y="146375"/>
                      </a:cubicBezTo>
                      <a:cubicBezTo>
                        <a:pt x="504293" y="133872"/>
                        <a:pt x="504293" y="121369"/>
                        <a:pt x="498041" y="108866"/>
                      </a:cubicBezTo>
                      <a:cubicBezTo>
                        <a:pt x="491789" y="102614"/>
                        <a:pt x="479425" y="102614"/>
                        <a:pt x="466922" y="102614"/>
                      </a:cubicBezTo>
                      <a:cubicBezTo>
                        <a:pt x="460671" y="96363"/>
                        <a:pt x="448306" y="96363"/>
                        <a:pt x="442055" y="102614"/>
                      </a:cubicBezTo>
                      <a:cubicBezTo>
                        <a:pt x="442055" y="108866"/>
                        <a:pt x="435803" y="121369"/>
                        <a:pt x="423439" y="121369"/>
                      </a:cubicBezTo>
                      <a:cubicBezTo>
                        <a:pt x="410936" y="121369"/>
                        <a:pt x="392320" y="108866"/>
                        <a:pt x="386069" y="96363"/>
                      </a:cubicBezTo>
                      <a:cubicBezTo>
                        <a:pt x="379817" y="77608"/>
                        <a:pt x="379817" y="71357"/>
                        <a:pt x="367453" y="58854"/>
                      </a:cubicBezTo>
                      <a:cubicBezTo>
                        <a:pt x="354950" y="52602"/>
                        <a:pt x="336334" y="33847"/>
                        <a:pt x="323831" y="33847"/>
                      </a:cubicBezTo>
                      <a:cubicBezTo>
                        <a:pt x="317579" y="27596"/>
                        <a:pt x="280209" y="27596"/>
                        <a:pt x="280209" y="33847"/>
                      </a:cubicBezTo>
                      <a:cubicBezTo>
                        <a:pt x="267706" y="52602"/>
                        <a:pt x="261593" y="46350"/>
                        <a:pt x="242838" y="46350"/>
                      </a:cubicBezTo>
                      <a:cubicBezTo>
                        <a:pt x="217971" y="46350"/>
                        <a:pt x="199216" y="46350"/>
                        <a:pt x="180601" y="46350"/>
                      </a:cubicBezTo>
                      <a:cubicBezTo>
                        <a:pt x="174349" y="46350"/>
                        <a:pt x="155733" y="33847"/>
                        <a:pt x="143230" y="27596"/>
                      </a:cubicBezTo>
                      <a:cubicBezTo>
                        <a:pt x="124615" y="21344"/>
                        <a:pt x="105860" y="15093"/>
                        <a:pt x="80993" y="2589"/>
                      </a:cubicBezTo>
                      <a:cubicBezTo>
                        <a:pt x="56125" y="-3662"/>
                        <a:pt x="25006" y="2589"/>
                        <a:pt x="0" y="8841"/>
                      </a:cubicBezTo>
                      <a:cubicBezTo>
                        <a:pt x="6252" y="40099"/>
                        <a:pt x="31119" y="65105"/>
                        <a:pt x="43622" y="96363"/>
                      </a:cubicBezTo>
                      <a:cubicBezTo>
                        <a:pt x="49874" y="108866"/>
                        <a:pt x="68489" y="121369"/>
                        <a:pt x="80993" y="127621"/>
                      </a:cubicBezTo>
                      <a:cubicBezTo>
                        <a:pt x="87244" y="140124"/>
                        <a:pt x="99608" y="158878"/>
                        <a:pt x="93496" y="171382"/>
                      </a:cubicBezTo>
                      <a:cubicBezTo>
                        <a:pt x="93496" y="171382"/>
                        <a:pt x="49874" y="158878"/>
                        <a:pt x="74880" y="177633"/>
                      </a:cubicBezTo>
                      <a:cubicBezTo>
                        <a:pt x="81131" y="183885"/>
                        <a:pt x="87383" y="190136"/>
                        <a:pt x="93496" y="196388"/>
                      </a:cubicBezTo>
                      <a:cubicBezTo>
                        <a:pt x="105999" y="196388"/>
                        <a:pt x="112111" y="196388"/>
                        <a:pt x="118363" y="202639"/>
                      </a:cubicBezTo>
                      <a:cubicBezTo>
                        <a:pt x="130866" y="208891"/>
                        <a:pt x="143230" y="221394"/>
                        <a:pt x="155733" y="233897"/>
                      </a:cubicBezTo>
                      <a:cubicBezTo>
                        <a:pt x="161985" y="240149"/>
                        <a:pt x="155733" y="252652"/>
                        <a:pt x="149482" y="258903"/>
                      </a:cubicBezTo>
                      <a:cubicBezTo>
                        <a:pt x="143230" y="265155"/>
                        <a:pt x="155733" y="271407"/>
                        <a:pt x="161985" y="271407"/>
                      </a:cubicBezTo>
                      <a:cubicBezTo>
                        <a:pt x="180601" y="283910"/>
                        <a:pt x="193104" y="296413"/>
                        <a:pt x="205607" y="308916"/>
                      </a:cubicBezTo>
                      <a:cubicBezTo>
                        <a:pt x="211858" y="315167"/>
                        <a:pt x="218110" y="327671"/>
                        <a:pt x="224223" y="327671"/>
                      </a:cubicBezTo>
                      <a:cubicBezTo>
                        <a:pt x="230474" y="327671"/>
                        <a:pt x="236726" y="315167"/>
                        <a:pt x="230474" y="308916"/>
                      </a:cubicBezTo>
                      <a:cubicBezTo>
                        <a:pt x="230474" y="302664"/>
                        <a:pt x="224223" y="296413"/>
                        <a:pt x="224223" y="290161"/>
                      </a:cubicBezTo>
                      <a:cubicBezTo>
                        <a:pt x="217971" y="283910"/>
                        <a:pt x="205607" y="290161"/>
                        <a:pt x="199355" y="283910"/>
                      </a:cubicBezTo>
                      <a:cubicBezTo>
                        <a:pt x="186852" y="271407"/>
                        <a:pt x="199355" y="271407"/>
                        <a:pt x="199355" y="258903"/>
                      </a:cubicBezTo>
                      <a:cubicBezTo>
                        <a:pt x="199355" y="258903"/>
                        <a:pt x="186852" y="246400"/>
                        <a:pt x="186852" y="240149"/>
                      </a:cubicBezTo>
                      <a:cubicBezTo>
                        <a:pt x="174349" y="227646"/>
                        <a:pt x="174349" y="208891"/>
                        <a:pt x="161985" y="196388"/>
                      </a:cubicBezTo>
                      <a:cubicBezTo>
                        <a:pt x="149482" y="190136"/>
                        <a:pt x="137118" y="177633"/>
                        <a:pt x="130866" y="165130"/>
                      </a:cubicBezTo>
                      <a:cubicBezTo>
                        <a:pt x="130866" y="158878"/>
                        <a:pt x="130866" y="146375"/>
                        <a:pt x="124615" y="140124"/>
                      </a:cubicBezTo>
                      <a:cubicBezTo>
                        <a:pt x="118363" y="133872"/>
                        <a:pt x="112111" y="127621"/>
                        <a:pt x="105999" y="121369"/>
                      </a:cubicBezTo>
                      <a:cubicBezTo>
                        <a:pt x="99747" y="108866"/>
                        <a:pt x="93496" y="102614"/>
                        <a:pt x="81131" y="96363"/>
                      </a:cubicBezTo>
                      <a:cubicBezTo>
                        <a:pt x="74880" y="90111"/>
                        <a:pt x="74880" y="77608"/>
                        <a:pt x="74880" y="71357"/>
                      </a:cubicBezTo>
                      <a:cubicBezTo>
                        <a:pt x="74880" y="65105"/>
                        <a:pt x="62377" y="33847"/>
                        <a:pt x="68628" y="27596"/>
                      </a:cubicBezTo>
                      <a:cubicBezTo>
                        <a:pt x="74880" y="21344"/>
                        <a:pt x="81131" y="40099"/>
                        <a:pt x="87244" y="40099"/>
                      </a:cubicBezTo>
                      <a:cubicBezTo>
                        <a:pt x="93496" y="40099"/>
                        <a:pt x="93496" y="40099"/>
                        <a:pt x="93496" y="40099"/>
                      </a:cubicBezTo>
                      <a:cubicBezTo>
                        <a:pt x="105999" y="33847"/>
                        <a:pt x="105999" y="40099"/>
                        <a:pt x="112111" y="46350"/>
                      </a:cubicBezTo>
                      <a:cubicBezTo>
                        <a:pt x="118363" y="46350"/>
                        <a:pt x="124615" y="46350"/>
                        <a:pt x="124615" y="52602"/>
                      </a:cubicBezTo>
                      <a:cubicBezTo>
                        <a:pt x="124615" y="65105"/>
                        <a:pt x="130866" y="77608"/>
                        <a:pt x="137118" y="90111"/>
                      </a:cubicBezTo>
                      <a:cubicBezTo>
                        <a:pt x="137118" y="96363"/>
                        <a:pt x="143369" y="108866"/>
                        <a:pt x="143369" y="115118"/>
                      </a:cubicBezTo>
                      <a:cubicBezTo>
                        <a:pt x="143369" y="121369"/>
                        <a:pt x="137118" y="127621"/>
                        <a:pt x="137118" y="133872"/>
                      </a:cubicBezTo>
                      <a:cubicBezTo>
                        <a:pt x="143369" y="133872"/>
                        <a:pt x="143369" y="121369"/>
                        <a:pt x="143369" y="121369"/>
                      </a:cubicBezTo>
                      <a:cubicBezTo>
                        <a:pt x="149621" y="115118"/>
                        <a:pt x="155872" y="133872"/>
                        <a:pt x="161985" y="133872"/>
                      </a:cubicBezTo>
                      <a:cubicBezTo>
                        <a:pt x="168236" y="140124"/>
                        <a:pt x="199355" y="158878"/>
                        <a:pt x="199355" y="165130"/>
                      </a:cubicBezTo>
                      <a:cubicBezTo>
                        <a:pt x="199355" y="177633"/>
                        <a:pt x="205607" y="183885"/>
                        <a:pt x="211858" y="183885"/>
                      </a:cubicBezTo>
                      <a:cubicBezTo>
                        <a:pt x="218110" y="190136"/>
                        <a:pt x="218110" y="196388"/>
                        <a:pt x="224362" y="202639"/>
                      </a:cubicBezTo>
                      <a:cubicBezTo>
                        <a:pt x="230613" y="208891"/>
                        <a:pt x="236865" y="202639"/>
                        <a:pt x="236865" y="208891"/>
                      </a:cubicBezTo>
                      <a:cubicBezTo>
                        <a:pt x="243116" y="215143"/>
                        <a:pt x="230613" y="221394"/>
                        <a:pt x="236865" y="233897"/>
                      </a:cubicBezTo>
                      <a:cubicBezTo>
                        <a:pt x="249368" y="240149"/>
                        <a:pt x="261732" y="246400"/>
                        <a:pt x="274235" y="258903"/>
                      </a:cubicBezTo>
                      <a:cubicBezTo>
                        <a:pt x="280487" y="265155"/>
                        <a:pt x="280487" y="271407"/>
                        <a:pt x="286738" y="277658"/>
                      </a:cubicBezTo>
                      <a:cubicBezTo>
                        <a:pt x="292990" y="283910"/>
                        <a:pt x="299241" y="283910"/>
                        <a:pt x="305354" y="296413"/>
                      </a:cubicBezTo>
                      <a:cubicBezTo>
                        <a:pt x="317857" y="302664"/>
                        <a:pt x="323970" y="315167"/>
                        <a:pt x="336473" y="327671"/>
                      </a:cubicBezTo>
                      <a:cubicBezTo>
                        <a:pt x="342725" y="333922"/>
                        <a:pt x="348976" y="340174"/>
                        <a:pt x="355089" y="346425"/>
                      </a:cubicBezTo>
                      <a:cubicBezTo>
                        <a:pt x="361340" y="358928"/>
                        <a:pt x="348837" y="358928"/>
                        <a:pt x="348837" y="365180"/>
                      </a:cubicBezTo>
                      <a:cubicBezTo>
                        <a:pt x="348837" y="371432"/>
                        <a:pt x="367453" y="365180"/>
                        <a:pt x="367453" y="377683"/>
                      </a:cubicBezTo>
                      <a:cubicBezTo>
                        <a:pt x="361201" y="390186"/>
                        <a:pt x="354950" y="390186"/>
                        <a:pt x="361201" y="402689"/>
                      </a:cubicBezTo>
                      <a:cubicBezTo>
                        <a:pt x="361201" y="402689"/>
                        <a:pt x="348698" y="415192"/>
                        <a:pt x="354950" y="421444"/>
                      </a:cubicBezTo>
                      <a:cubicBezTo>
                        <a:pt x="361201" y="427696"/>
                        <a:pt x="367453" y="440199"/>
                        <a:pt x="373566" y="446450"/>
                      </a:cubicBezTo>
                      <a:cubicBezTo>
                        <a:pt x="379817" y="452702"/>
                        <a:pt x="386069" y="452702"/>
                        <a:pt x="392181" y="452702"/>
                      </a:cubicBezTo>
                      <a:cubicBezTo>
                        <a:pt x="410797" y="458953"/>
                        <a:pt x="410797" y="471456"/>
                        <a:pt x="423300" y="477708"/>
                      </a:cubicBezTo>
                      <a:cubicBezTo>
                        <a:pt x="441916" y="490211"/>
                        <a:pt x="466922" y="490211"/>
                        <a:pt x="479286" y="502714"/>
                      </a:cubicBezTo>
                      <a:cubicBezTo>
                        <a:pt x="504154" y="515217"/>
                        <a:pt x="529160" y="527721"/>
                        <a:pt x="554027" y="533972"/>
                      </a:cubicBezTo>
                      <a:cubicBezTo>
                        <a:pt x="572643" y="546475"/>
                        <a:pt x="603901" y="558978"/>
                        <a:pt x="628768" y="565230"/>
                      </a:cubicBezTo>
                      <a:cubicBezTo>
                        <a:pt x="653635" y="565230"/>
                        <a:pt x="672390" y="540224"/>
                        <a:pt x="703509" y="546475"/>
                      </a:cubicBezTo>
                      <a:cubicBezTo>
                        <a:pt x="728376" y="552727"/>
                        <a:pt x="747131" y="577733"/>
                        <a:pt x="765747" y="596488"/>
                      </a:cubicBezTo>
                      <a:cubicBezTo>
                        <a:pt x="765330" y="590375"/>
                        <a:pt x="771582" y="558978"/>
                        <a:pt x="784085" y="552727"/>
                      </a:cubicBezTo>
                      <a:cubicBezTo>
                        <a:pt x="790336" y="552727"/>
                        <a:pt x="777833" y="552727"/>
                        <a:pt x="784085" y="5527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3" name="Freihandform: Form 282">
                  <a:extLst>
                    <a:ext uri="{FF2B5EF4-FFF2-40B4-BE49-F238E27FC236}">
                      <a16:creationId xmlns:a16="http://schemas.microsoft.com/office/drawing/2014/main" id="{48666311-6398-40B7-B86B-889055A95E58}"/>
                    </a:ext>
                  </a:extLst>
                </p:cNvPr>
                <p:cNvSpPr/>
                <p:nvPr/>
              </p:nvSpPr>
              <p:spPr>
                <a:xfrm>
                  <a:off x="3311536" y="4036779"/>
                  <a:ext cx="185809" cy="99508"/>
                </a:xfrm>
                <a:custGeom>
                  <a:avLst/>
                  <a:gdLst>
                    <a:gd name="connsiteX0" fmla="*/ 71476 w 185809"/>
                    <a:gd name="connsiteY0" fmla="*/ 92840 h 99508"/>
                    <a:gd name="connsiteX1" fmla="*/ 77866 w 185809"/>
                    <a:gd name="connsiteY1" fmla="*/ 79782 h 99508"/>
                    <a:gd name="connsiteX2" fmla="*/ 96899 w 185809"/>
                    <a:gd name="connsiteY2" fmla="*/ 66723 h 99508"/>
                    <a:gd name="connsiteX3" fmla="*/ 122322 w 185809"/>
                    <a:gd name="connsiteY3" fmla="*/ 60193 h 99508"/>
                    <a:gd name="connsiteX4" fmla="*/ 147745 w 185809"/>
                    <a:gd name="connsiteY4" fmla="*/ 40605 h 99508"/>
                    <a:gd name="connsiteX5" fmla="*/ 185810 w 185809"/>
                    <a:gd name="connsiteY5" fmla="*/ 27546 h 99508"/>
                    <a:gd name="connsiteX6" fmla="*/ 122322 w 185809"/>
                    <a:gd name="connsiteY6" fmla="*/ 1290 h 99508"/>
                    <a:gd name="connsiteX7" fmla="*/ 84257 w 185809"/>
                    <a:gd name="connsiteY7" fmla="*/ 7819 h 99508"/>
                    <a:gd name="connsiteX8" fmla="*/ 46192 w 185809"/>
                    <a:gd name="connsiteY8" fmla="*/ 1290 h 99508"/>
                    <a:gd name="connsiteX9" fmla="*/ 8127 w 185809"/>
                    <a:gd name="connsiteY9" fmla="*/ 20878 h 99508"/>
                    <a:gd name="connsiteX10" fmla="*/ 1736 w 185809"/>
                    <a:gd name="connsiteY10" fmla="*/ 53664 h 99508"/>
                    <a:gd name="connsiteX11" fmla="*/ 46192 w 185809"/>
                    <a:gd name="connsiteY11" fmla="*/ 86450 h 99508"/>
                    <a:gd name="connsiteX12" fmla="*/ 58973 w 185809"/>
                    <a:gd name="connsiteY12" fmla="*/ 86450 h 99508"/>
                    <a:gd name="connsiteX13" fmla="*/ 52582 w 185809"/>
                    <a:gd name="connsiteY13" fmla="*/ 99509 h 99508"/>
                    <a:gd name="connsiteX14" fmla="*/ 71476 w 185809"/>
                    <a:gd name="connsiteY14" fmla="*/ 92840 h 9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809" h="99508">
                      <a:moveTo>
                        <a:pt x="71476" y="92840"/>
                      </a:moveTo>
                      <a:cubicBezTo>
                        <a:pt x="77866" y="92840"/>
                        <a:pt x="77866" y="86311"/>
                        <a:pt x="77866" y="79782"/>
                      </a:cubicBezTo>
                      <a:cubicBezTo>
                        <a:pt x="77866" y="73252"/>
                        <a:pt x="90508" y="66723"/>
                        <a:pt x="96899" y="66723"/>
                      </a:cubicBezTo>
                      <a:cubicBezTo>
                        <a:pt x="109541" y="60193"/>
                        <a:pt x="109541" y="73252"/>
                        <a:pt x="122322" y="60193"/>
                      </a:cubicBezTo>
                      <a:cubicBezTo>
                        <a:pt x="128712" y="53664"/>
                        <a:pt x="135103" y="33937"/>
                        <a:pt x="147745" y="40605"/>
                      </a:cubicBezTo>
                      <a:cubicBezTo>
                        <a:pt x="166777" y="40605"/>
                        <a:pt x="166777" y="34076"/>
                        <a:pt x="185810" y="27546"/>
                      </a:cubicBezTo>
                      <a:cubicBezTo>
                        <a:pt x="160387" y="14488"/>
                        <a:pt x="153996" y="-5240"/>
                        <a:pt x="122322" y="1290"/>
                      </a:cubicBezTo>
                      <a:cubicBezTo>
                        <a:pt x="109680" y="1290"/>
                        <a:pt x="96899" y="7819"/>
                        <a:pt x="84257" y="7819"/>
                      </a:cubicBezTo>
                      <a:cubicBezTo>
                        <a:pt x="71615" y="7819"/>
                        <a:pt x="58834" y="1290"/>
                        <a:pt x="46192" y="1290"/>
                      </a:cubicBezTo>
                      <a:cubicBezTo>
                        <a:pt x="27159" y="7819"/>
                        <a:pt x="20769" y="7819"/>
                        <a:pt x="8127" y="20878"/>
                      </a:cubicBezTo>
                      <a:cubicBezTo>
                        <a:pt x="8127" y="27407"/>
                        <a:pt x="-4515" y="40605"/>
                        <a:pt x="1736" y="53664"/>
                      </a:cubicBezTo>
                      <a:cubicBezTo>
                        <a:pt x="20769" y="66723"/>
                        <a:pt x="46192" y="53664"/>
                        <a:pt x="46192" y="86450"/>
                      </a:cubicBezTo>
                      <a:lnTo>
                        <a:pt x="58973" y="86450"/>
                      </a:lnTo>
                      <a:lnTo>
                        <a:pt x="52582" y="99509"/>
                      </a:lnTo>
                      <a:cubicBezTo>
                        <a:pt x="58834" y="99370"/>
                        <a:pt x="71476" y="99370"/>
                        <a:pt x="71476" y="9284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4" name="Freihandform: Form 283">
                  <a:extLst>
                    <a:ext uri="{FF2B5EF4-FFF2-40B4-BE49-F238E27FC236}">
                      <a16:creationId xmlns:a16="http://schemas.microsoft.com/office/drawing/2014/main" id="{9E1DC089-8D1D-485A-BECA-6F31277057EB}"/>
                    </a:ext>
                  </a:extLst>
                </p:cNvPr>
                <p:cNvSpPr/>
                <p:nvPr/>
              </p:nvSpPr>
              <p:spPr>
                <a:xfrm>
                  <a:off x="3311848" y="3949097"/>
                  <a:ext cx="42545" cy="85915"/>
                </a:xfrm>
                <a:custGeom>
                  <a:avLst/>
                  <a:gdLst>
                    <a:gd name="connsiteX0" fmla="*/ 28931 w 42545"/>
                    <a:gd name="connsiteY0" fmla="*/ 2840 h 85915"/>
                    <a:gd name="connsiteX1" fmla="*/ 8509 w 42545"/>
                    <a:gd name="connsiteY1" fmla="*/ 21873 h 85915"/>
                    <a:gd name="connsiteX2" fmla="*/ 1702 w 42545"/>
                    <a:gd name="connsiteY2" fmla="*/ 34515 h 85915"/>
                    <a:gd name="connsiteX3" fmla="*/ 8509 w 42545"/>
                    <a:gd name="connsiteY3" fmla="*/ 85361 h 85915"/>
                    <a:gd name="connsiteX4" fmla="*/ 35738 w 42545"/>
                    <a:gd name="connsiteY4" fmla="*/ 47296 h 85915"/>
                    <a:gd name="connsiteX5" fmla="*/ 42545 w 42545"/>
                    <a:gd name="connsiteY5" fmla="*/ 9231 h 85915"/>
                    <a:gd name="connsiteX6" fmla="*/ 28931 w 42545"/>
                    <a:gd name="connsiteY6" fmla="*/ 2840 h 85915"/>
                    <a:gd name="connsiteX7" fmla="*/ 28931 w 42545"/>
                    <a:gd name="connsiteY7" fmla="*/ 2840 h 8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45" h="85915">
                      <a:moveTo>
                        <a:pt x="28931" y="2840"/>
                      </a:moveTo>
                      <a:cubicBezTo>
                        <a:pt x="22124" y="-3550"/>
                        <a:pt x="8509" y="15482"/>
                        <a:pt x="8509" y="21873"/>
                      </a:cubicBezTo>
                      <a:cubicBezTo>
                        <a:pt x="1702" y="28263"/>
                        <a:pt x="1702" y="21873"/>
                        <a:pt x="1702" y="34515"/>
                      </a:cubicBezTo>
                      <a:cubicBezTo>
                        <a:pt x="1702" y="40905"/>
                        <a:pt x="-5105" y="91751"/>
                        <a:pt x="8509" y="85361"/>
                      </a:cubicBezTo>
                      <a:cubicBezTo>
                        <a:pt x="8509" y="78970"/>
                        <a:pt x="28931" y="59938"/>
                        <a:pt x="35738" y="47296"/>
                      </a:cubicBezTo>
                      <a:cubicBezTo>
                        <a:pt x="35738" y="28263"/>
                        <a:pt x="35738" y="21873"/>
                        <a:pt x="42545" y="9231"/>
                      </a:cubicBezTo>
                      <a:cubicBezTo>
                        <a:pt x="42545" y="2840"/>
                        <a:pt x="35738" y="2840"/>
                        <a:pt x="28931" y="2840"/>
                      </a:cubicBezTo>
                      <a:cubicBezTo>
                        <a:pt x="22124" y="-3550"/>
                        <a:pt x="35738" y="2840"/>
                        <a:pt x="28931" y="284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5" name="Freihandform: Form 284">
                  <a:extLst>
                    <a:ext uri="{FF2B5EF4-FFF2-40B4-BE49-F238E27FC236}">
                      <a16:creationId xmlns:a16="http://schemas.microsoft.com/office/drawing/2014/main" id="{EB531429-5497-46C7-B5FE-DA9CFE64440E}"/>
                    </a:ext>
                  </a:extLst>
                </p:cNvPr>
                <p:cNvSpPr/>
                <p:nvPr/>
              </p:nvSpPr>
              <p:spPr>
                <a:xfrm>
                  <a:off x="870312" y="1823259"/>
                  <a:ext cx="1187647" cy="803244"/>
                </a:xfrm>
                <a:custGeom>
                  <a:avLst/>
                  <a:gdLst>
                    <a:gd name="connsiteX0" fmla="*/ 1187647 w 1187647"/>
                    <a:gd name="connsiteY0" fmla="*/ 781814 h 803244"/>
                    <a:gd name="connsiteX1" fmla="*/ 1181396 w 1187647"/>
                    <a:gd name="connsiteY1" fmla="*/ 763059 h 803244"/>
                    <a:gd name="connsiteX2" fmla="*/ 1168893 w 1187647"/>
                    <a:gd name="connsiteY2" fmla="*/ 756807 h 803244"/>
                    <a:gd name="connsiteX3" fmla="*/ 1125270 w 1187647"/>
                    <a:gd name="connsiteY3" fmla="*/ 731940 h 803244"/>
                    <a:gd name="connsiteX4" fmla="*/ 1062894 w 1187647"/>
                    <a:gd name="connsiteY4" fmla="*/ 638445 h 803244"/>
                    <a:gd name="connsiteX5" fmla="*/ 1031636 w 1187647"/>
                    <a:gd name="connsiteY5" fmla="*/ 613577 h 803244"/>
                    <a:gd name="connsiteX6" fmla="*/ 1006630 w 1187647"/>
                    <a:gd name="connsiteY6" fmla="*/ 588571 h 803244"/>
                    <a:gd name="connsiteX7" fmla="*/ 981623 w 1187647"/>
                    <a:gd name="connsiteY7" fmla="*/ 601074 h 803244"/>
                    <a:gd name="connsiteX8" fmla="*/ 962869 w 1187647"/>
                    <a:gd name="connsiteY8" fmla="*/ 619829 h 803244"/>
                    <a:gd name="connsiteX9" fmla="*/ 912995 w 1187647"/>
                    <a:gd name="connsiteY9" fmla="*/ 588710 h 803244"/>
                    <a:gd name="connsiteX10" fmla="*/ 894241 w 1187647"/>
                    <a:gd name="connsiteY10" fmla="*/ 569955 h 803244"/>
                    <a:gd name="connsiteX11" fmla="*/ 869234 w 1187647"/>
                    <a:gd name="connsiteY11" fmla="*/ 569955 h 803244"/>
                    <a:gd name="connsiteX12" fmla="*/ 844228 w 1187647"/>
                    <a:gd name="connsiteY12" fmla="*/ 569955 h 803244"/>
                    <a:gd name="connsiteX13" fmla="*/ 837977 w 1187647"/>
                    <a:gd name="connsiteY13" fmla="*/ 563704 h 803244"/>
                    <a:gd name="connsiteX14" fmla="*/ 837977 w 1187647"/>
                    <a:gd name="connsiteY14" fmla="*/ 551201 h 803244"/>
                    <a:gd name="connsiteX15" fmla="*/ 837977 w 1187647"/>
                    <a:gd name="connsiteY15" fmla="*/ 470208 h 803244"/>
                    <a:gd name="connsiteX16" fmla="*/ 837977 w 1187647"/>
                    <a:gd name="connsiteY16" fmla="*/ 233343 h 803244"/>
                    <a:gd name="connsiteX17" fmla="*/ 837977 w 1187647"/>
                    <a:gd name="connsiteY17" fmla="*/ 127345 h 803244"/>
                    <a:gd name="connsiteX18" fmla="*/ 837977 w 1187647"/>
                    <a:gd name="connsiteY18" fmla="*/ 96226 h 803244"/>
                    <a:gd name="connsiteX19" fmla="*/ 819222 w 1187647"/>
                    <a:gd name="connsiteY19" fmla="*/ 83723 h 803244"/>
                    <a:gd name="connsiteX20" fmla="*/ 738090 w 1187647"/>
                    <a:gd name="connsiteY20" fmla="*/ 71220 h 803244"/>
                    <a:gd name="connsiteX21" fmla="*/ 650708 w 1187647"/>
                    <a:gd name="connsiteY21" fmla="*/ 58717 h 803244"/>
                    <a:gd name="connsiteX22" fmla="*/ 550821 w 1187647"/>
                    <a:gd name="connsiteY22" fmla="*/ 46213 h 803244"/>
                    <a:gd name="connsiteX23" fmla="*/ 500948 w 1187647"/>
                    <a:gd name="connsiteY23" fmla="*/ 46213 h 803244"/>
                    <a:gd name="connsiteX24" fmla="*/ 475942 w 1187647"/>
                    <a:gd name="connsiteY24" fmla="*/ 39962 h 803244"/>
                    <a:gd name="connsiteX25" fmla="*/ 482193 w 1187647"/>
                    <a:gd name="connsiteY25" fmla="*/ 21207 h 803244"/>
                    <a:gd name="connsiteX26" fmla="*/ 463439 w 1187647"/>
                    <a:gd name="connsiteY26" fmla="*/ 21207 h 803244"/>
                    <a:gd name="connsiteX27" fmla="*/ 419817 w 1187647"/>
                    <a:gd name="connsiteY27" fmla="*/ 27459 h 803244"/>
                    <a:gd name="connsiteX28" fmla="*/ 394810 w 1187647"/>
                    <a:gd name="connsiteY28" fmla="*/ 14956 h 803244"/>
                    <a:gd name="connsiteX29" fmla="*/ 376056 w 1187647"/>
                    <a:gd name="connsiteY29" fmla="*/ 21207 h 803244"/>
                    <a:gd name="connsiteX30" fmla="*/ 376056 w 1187647"/>
                    <a:gd name="connsiteY30" fmla="*/ 8704 h 803244"/>
                    <a:gd name="connsiteX31" fmla="*/ 363553 w 1187647"/>
                    <a:gd name="connsiteY31" fmla="*/ 2453 h 803244"/>
                    <a:gd name="connsiteX32" fmla="*/ 326043 w 1187647"/>
                    <a:gd name="connsiteY32" fmla="*/ 14956 h 803244"/>
                    <a:gd name="connsiteX33" fmla="*/ 257415 w 1187647"/>
                    <a:gd name="connsiteY33" fmla="*/ 27459 h 803244"/>
                    <a:gd name="connsiteX34" fmla="*/ 257415 w 1187647"/>
                    <a:gd name="connsiteY34" fmla="*/ 46213 h 803244"/>
                    <a:gd name="connsiteX35" fmla="*/ 244912 w 1187647"/>
                    <a:gd name="connsiteY35" fmla="*/ 46213 h 803244"/>
                    <a:gd name="connsiteX36" fmla="*/ 244912 w 1187647"/>
                    <a:gd name="connsiteY36" fmla="*/ 58717 h 803244"/>
                    <a:gd name="connsiteX37" fmla="*/ 238660 w 1187647"/>
                    <a:gd name="connsiteY37" fmla="*/ 39962 h 803244"/>
                    <a:gd name="connsiteX38" fmla="*/ 213654 w 1187647"/>
                    <a:gd name="connsiteY38" fmla="*/ 58717 h 803244"/>
                    <a:gd name="connsiteX39" fmla="*/ 176284 w 1187647"/>
                    <a:gd name="connsiteY39" fmla="*/ 64968 h 803244"/>
                    <a:gd name="connsiteX40" fmla="*/ 145026 w 1187647"/>
                    <a:gd name="connsiteY40" fmla="*/ 89974 h 803244"/>
                    <a:gd name="connsiteX41" fmla="*/ 132523 w 1187647"/>
                    <a:gd name="connsiteY41" fmla="*/ 121093 h 803244"/>
                    <a:gd name="connsiteX42" fmla="*/ 101265 w 1187647"/>
                    <a:gd name="connsiteY42" fmla="*/ 133596 h 803244"/>
                    <a:gd name="connsiteX43" fmla="*/ 51391 w 1187647"/>
                    <a:gd name="connsiteY43" fmla="*/ 139848 h 803244"/>
                    <a:gd name="connsiteX44" fmla="*/ 38888 w 1187647"/>
                    <a:gd name="connsiteY44" fmla="*/ 164715 h 803244"/>
                    <a:gd name="connsiteX45" fmla="*/ 70146 w 1187647"/>
                    <a:gd name="connsiteY45" fmla="*/ 177218 h 803244"/>
                    <a:gd name="connsiteX46" fmla="*/ 120019 w 1187647"/>
                    <a:gd name="connsiteY46" fmla="*/ 208337 h 803244"/>
                    <a:gd name="connsiteX47" fmla="*/ 138774 w 1187647"/>
                    <a:gd name="connsiteY47" fmla="*/ 233205 h 803244"/>
                    <a:gd name="connsiteX48" fmla="*/ 170032 w 1187647"/>
                    <a:gd name="connsiteY48" fmla="*/ 226953 h 803244"/>
                    <a:gd name="connsiteX49" fmla="*/ 188787 w 1187647"/>
                    <a:gd name="connsiteY49" fmla="*/ 233205 h 803244"/>
                    <a:gd name="connsiteX50" fmla="*/ 170032 w 1187647"/>
                    <a:gd name="connsiteY50" fmla="*/ 239456 h 803244"/>
                    <a:gd name="connsiteX51" fmla="*/ 182535 w 1187647"/>
                    <a:gd name="connsiteY51" fmla="*/ 258211 h 803244"/>
                    <a:gd name="connsiteX52" fmla="*/ 207541 w 1187647"/>
                    <a:gd name="connsiteY52" fmla="*/ 258211 h 803244"/>
                    <a:gd name="connsiteX53" fmla="*/ 238799 w 1187647"/>
                    <a:gd name="connsiteY53" fmla="*/ 258211 h 803244"/>
                    <a:gd name="connsiteX54" fmla="*/ 213793 w 1187647"/>
                    <a:gd name="connsiteY54" fmla="*/ 270714 h 803244"/>
                    <a:gd name="connsiteX55" fmla="*/ 213793 w 1187647"/>
                    <a:gd name="connsiteY55" fmla="*/ 276966 h 803244"/>
                    <a:gd name="connsiteX56" fmla="*/ 201290 w 1187647"/>
                    <a:gd name="connsiteY56" fmla="*/ 276966 h 803244"/>
                    <a:gd name="connsiteX57" fmla="*/ 176284 w 1187647"/>
                    <a:gd name="connsiteY57" fmla="*/ 283217 h 803244"/>
                    <a:gd name="connsiteX58" fmla="*/ 126410 w 1187647"/>
                    <a:gd name="connsiteY58" fmla="*/ 283217 h 803244"/>
                    <a:gd name="connsiteX59" fmla="*/ 126410 w 1187647"/>
                    <a:gd name="connsiteY59" fmla="*/ 258350 h 803244"/>
                    <a:gd name="connsiteX60" fmla="*/ 101404 w 1187647"/>
                    <a:gd name="connsiteY60" fmla="*/ 264601 h 803244"/>
                    <a:gd name="connsiteX61" fmla="*/ 76397 w 1187647"/>
                    <a:gd name="connsiteY61" fmla="*/ 264601 h 803244"/>
                    <a:gd name="connsiteX62" fmla="*/ 70146 w 1187647"/>
                    <a:gd name="connsiteY62" fmla="*/ 283356 h 803244"/>
                    <a:gd name="connsiteX63" fmla="*/ 32637 w 1187647"/>
                    <a:gd name="connsiteY63" fmla="*/ 283356 h 803244"/>
                    <a:gd name="connsiteX64" fmla="*/ 7630 w 1187647"/>
                    <a:gd name="connsiteY64" fmla="*/ 302111 h 803244"/>
                    <a:gd name="connsiteX65" fmla="*/ 51252 w 1187647"/>
                    <a:gd name="connsiteY65" fmla="*/ 326978 h 803244"/>
                    <a:gd name="connsiteX66" fmla="*/ 38749 w 1187647"/>
                    <a:gd name="connsiteY66" fmla="*/ 339481 h 803244"/>
                    <a:gd name="connsiteX67" fmla="*/ 51252 w 1187647"/>
                    <a:gd name="connsiteY67" fmla="*/ 358236 h 803244"/>
                    <a:gd name="connsiteX68" fmla="*/ 119881 w 1187647"/>
                    <a:gd name="connsiteY68" fmla="*/ 358236 h 803244"/>
                    <a:gd name="connsiteX69" fmla="*/ 138635 w 1187647"/>
                    <a:gd name="connsiteY69" fmla="*/ 364487 h 803244"/>
                    <a:gd name="connsiteX70" fmla="*/ 157390 w 1187647"/>
                    <a:gd name="connsiteY70" fmla="*/ 370739 h 803244"/>
                    <a:gd name="connsiteX71" fmla="*/ 176145 w 1187647"/>
                    <a:gd name="connsiteY71" fmla="*/ 358236 h 803244"/>
                    <a:gd name="connsiteX72" fmla="*/ 194899 w 1187647"/>
                    <a:gd name="connsiteY72" fmla="*/ 351984 h 803244"/>
                    <a:gd name="connsiteX73" fmla="*/ 207402 w 1187647"/>
                    <a:gd name="connsiteY73" fmla="*/ 339481 h 803244"/>
                    <a:gd name="connsiteX74" fmla="*/ 213654 w 1187647"/>
                    <a:gd name="connsiteY74" fmla="*/ 358236 h 803244"/>
                    <a:gd name="connsiteX75" fmla="*/ 213654 w 1187647"/>
                    <a:gd name="connsiteY75" fmla="*/ 376990 h 803244"/>
                    <a:gd name="connsiteX76" fmla="*/ 182396 w 1187647"/>
                    <a:gd name="connsiteY76" fmla="*/ 414361 h 803244"/>
                    <a:gd name="connsiteX77" fmla="*/ 169893 w 1187647"/>
                    <a:gd name="connsiteY77" fmla="*/ 414361 h 803244"/>
                    <a:gd name="connsiteX78" fmla="*/ 151138 w 1187647"/>
                    <a:gd name="connsiteY78" fmla="*/ 433116 h 803244"/>
                    <a:gd name="connsiteX79" fmla="*/ 107516 w 1187647"/>
                    <a:gd name="connsiteY79" fmla="*/ 439367 h 803244"/>
                    <a:gd name="connsiteX80" fmla="*/ 95013 w 1187647"/>
                    <a:gd name="connsiteY80" fmla="*/ 451870 h 803244"/>
                    <a:gd name="connsiteX81" fmla="*/ 101265 w 1187647"/>
                    <a:gd name="connsiteY81" fmla="*/ 451870 h 803244"/>
                    <a:gd name="connsiteX82" fmla="*/ 82510 w 1187647"/>
                    <a:gd name="connsiteY82" fmla="*/ 470625 h 803244"/>
                    <a:gd name="connsiteX83" fmla="*/ 70007 w 1187647"/>
                    <a:gd name="connsiteY83" fmla="*/ 483128 h 803244"/>
                    <a:gd name="connsiteX84" fmla="*/ 63755 w 1187647"/>
                    <a:gd name="connsiteY84" fmla="*/ 501883 h 803244"/>
                    <a:gd name="connsiteX85" fmla="*/ 70007 w 1187647"/>
                    <a:gd name="connsiteY85" fmla="*/ 526750 h 803244"/>
                    <a:gd name="connsiteX86" fmla="*/ 95013 w 1187647"/>
                    <a:gd name="connsiteY86" fmla="*/ 501883 h 803244"/>
                    <a:gd name="connsiteX87" fmla="*/ 82510 w 1187647"/>
                    <a:gd name="connsiteY87" fmla="*/ 520637 h 803244"/>
                    <a:gd name="connsiteX88" fmla="*/ 101265 w 1187647"/>
                    <a:gd name="connsiteY88" fmla="*/ 539392 h 803244"/>
                    <a:gd name="connsiteX89" fmla="*/ 113768 w 1187647"/>
                    <a:gd name="connsiteY89" fmla="*/ 545644 h 803244"/>
                    <a:gd name="connsiteX90" fmla="*/ 126271 w 1187647"/>
                    <a:gd name="connsiteY90" fmla="*/ 533140 h 803244"/>
                    <a:gd name="connsiteX91" fmla="*/ 138774 w 1187647"/>
                    <a:gd name="connsiteY91" fmla="*/ 551895 h 803244"/>
                    <a:gd name="connsiteX92" fmla="*/ 113768 w 1187647"/>
                    <a:gd name="connsiteY92" fmla="*/ 551895 h 803244"/>
                    <a:gd name="connsiteX93" fmla="*/ 95013 w 1187647"/>
                    <a:gd name="connsiteY93" fmla="*/ 539392 h 803244"/>
                    <a:gd name="connsiteX94" fmla="*/ 88762 w 1187647"/>
                    <a:gd name="connsiteY94" fmla="*/ 564259 h 803244"/>
                    <a:gd name="connsiteX95" fmla="*/ 113768 w 1187647"/>
                    <a:gd name="connsiteY95" fmla="*/ 583014 h 803244"/>
                    <a:gd name="connsiteX96" fmla="*/ 145026 w 1187647"/>
                    <a:gd name="connsiteY96" fmla="*/ 589266 h 803244"/>
                    <a:gd name="connsiteX97" fmla="*/ 163780 w 1187647"/>
                    <a:gd name="connsiteY97" fmla="*/ 576763 h 803244"/>
                    <a:gd name="connsiteX98" fmla="*/ 182535 w 1187647"/>
                    <a:gd name="connsiteY98" fmla="*/ 551756 h 803244"/>
                    <a:gd name="connsiteX99" fmla="*/ 170032 w 1187647"/>
                    <a:gd name="connsiteY99" fmla="*/ 576763 h 803244"/>
                    <a:gd name="connsiteX100" fmla="*/ 188787 w 1187647"/>
                    <a:gd name="connsiteY100" fmla="*/ 607881 h 803244"/>
                    <a:gd name="connsiteX101" fmla="*/ 195038 w 1187647"/>
                    <a:gd name="connsiteY101" fmla="*/ 626636 h 803244"/>
                    <a:gd name="connsiteX102" fmla="*/ 176284 w 1187647"/>
                    <a:gd name="connsiteY102" fmla="*/ 645391 h 803244"/>
                    <a:gd name="connsiteX103" fmla="*/ 213654 w 1187647"/>
                    <a:gd name="connsiteY103" fmla="*/ 632888 h 803244"/>
                    <a:gd name="connsiteX104" fmla="*/ 207402 w 1187647"/>
                    <a:gd name="connsiteY104" fmla="*/ 645391 h 803244"/>
                    <a:gd name="connsiteX105" fmla="*/ 226157 w 1187647"/>
                    <a:gd name="connsiteY105" fmla="*/ 626636 h 803244"/>
                    <a:gd name="connsiteX106" fmla="*/ 257415 w 1187647"/>
                    <a:gd name="connsiteY106" fmla="*/ 639139 h 803244"/>
                    <a:gd name="connsiteX107" fmla="*/ 276170 w 1187647"/>
                    <a:gd name="connsiteY107" fmla="*/ 651642 h 803244"/>
                    <a:gd name="connsiteX108" fmla="*/ 288673 w 1187647"/>
                    <a:gd name="connsiteY108" fmla="*/ 620523 h 803244"/>
                    <a:gd name="connsiteX109" fmla="*/ 307427 w 1187647"/>
                    <a:gd name="connsiteY109" fmla="*/ 626775 h 803244"/>
                    <a:gd name="connsiteX110" fmla="*/ 288673 w 1187647"/>
                    <a:gd name="connsiteY110" fmla="*/ 633027 h 803244"/>
                    <a:gd name="connsiteX111" fmla="*/ 313679 w 1187647"/>
                    <a:gd name="connsiteY111" fmla="*/ 639278 h 803244"/>
                    <a:gd name="connsiteX112" fmla="*/ 332434 w 1187647"/>
                    <a:gd name="connsiteY112" fmla="*/ 633027 h 803244"/>
                    <a:gd name="connsiteX113" fmla="*/ 344937 w 1187647"/>
                    <a:gd name="connsiteY113" fmla="*/ 620523 h 803244"/>
                    <a:gd name="connsiteX114" fmla="*/ 326182 w 1187647"/>
                    <a:gd name="connsiteY114" fmla="*/ 645391 h 803244"/>
                    <a:gd name="connsiteX115" fmla="*/ 319931 w 1187647"/>
                    <a:gd name="connsiteY115" fmla="*/ 657894 h 803244"/>
                    <a:gd name="connsiteX116" fmla="*/ 326182 w 1187647"/>
                    <a:gd name="connsiteY116" fmla="*/ 664145 h 803244"/>
                    <a:gd name="connsiteX117" fmla="*/ 313679 w 1187647"/>
                    <a:gd name="connsiteY117" fmla="*/ 676649 h 803244"/>
                    <a:gd name="connsiteX118" fmla="*/ 319931 w 1187647"/>
                    <a:gd name="connsiteY118" fmla="*/ 695403 h 803244"/>
                    <a:gd name="connsiteX119" fmla="*/ 294924 w 1187647"/>
                    <a:gd name="connsiteY119" fmla="*/ 707906 h 803244"/>
                    <a:gd name="connsiteX120" fmla="*/ 269918 w 1187647"/>
                    <a:gd name="connsiteY120" fmla="*/ 732774 h 803244"/>
                    <a:gd name="connsiteX121" fmla="*/ 238660 w 1187647"/>
                    <a:gd name="connsiteY121" fmla="*/ 751528 h 803244"/>
                    <a:gd name="connsiteX122" fmla="*/ 226157 w 1187647"/>
                    <a:gd name="connsiteY122" fmla="*/ 757780 h 803244"/>
                    <a:gd name="connsiteX123" fmla="*/ 232409 w 1187647"/>
                    <a:gd name="connsiteY123" fmla="*/ 770283 h 803244"/>
                    <a:gd name="connsiteX124" fmla="*/ 201151 w 1187647"/>
                    <a:gd name="connsiteY124" fmla="*/ 770283 h 803244"/>
                    <a:gd name="connsiteX125" fmla="*/ 163641 w 1187647"/>
                    <a:gd name="connsiteY125" fmla="*/ 789038 h 803244"/>
                    <a:gd name="connsiteX126" fmla="*/ 169893 w 1187647"/>
                    <a:gd name="connsiteY126" fmla="*/ 801541 h 803244"/>
                    <a:gd name="connsiteX127" fmla="*/ 201151 w 1187647"/>
                    <a:gd name="connsiteY127" fmla="*/ 782786 h 803244"/>
                    <a:gd name="connsiteX128" fmla="*/ 213654 w 1187647"/>
                    <a:gd name="connsiteY128" fmla="*/ 782786 h 803244"/>
                    <a:gd name="connsiteX129" fmla="*/ 232409 w 1187647"/>
                    <a:gd name="connsiteY129" fmla="*/ 789038 h 803244"/>
                    <a:gd name="connsiteX130" fmla="*/ 232409 w 1187647"/>
                    <a:gd name="connsiteY130" fmla="*/ 782786 h 803244"/>
                    <a:gd name="connsiteX131" fmla="*/ 244912 w 1187647"/>
                    <a:gd name="connsiteY131" fmla="*/ 776535 h 803244"/>
                    <a:gd name="connsiteX132" fmla="*/ 257415 w 1187647"/>
                    <a:gd name="connsiteY132" fmla="*/ 770283 h 803244"/>
                    <a:gd name="connsiteX133" fmla="*/ 288673 w 1187647"/>
                    <a:gd name="connsiteY133" fmla="*/ 757780 h 803244"/>
                    <a:gd name="connsiteX134" fmla="*/ 294924 w 1187647"/>
                    <a:gd name="connsiteY134" fmla="*/ 745277 h 803244"/>
                    <a:gd name="connsiteX135" fmla="*/ 313679 w 1187647"/>
                    <a:gd name="connsiteY135" fmla="*/ 732774 h 803244"/>
                    <a:gd name="connsiteX136" fmla="*/ 344937 w 1187647"/>
                    <a:gd name="connsiteY136" fmla="*/ 720271 h 803244"/>
                    <a:gd name="connsiteX137" fmla="*/ 351188 w 1187647"/>
                    <a:gd name="connsiteY137" fmla="*/ 701516 h 803244"/>
                    <a:gd name="connsiteX138" fmla="*/ 407313 w 1187647"/>
                    <a:gd name="connsiteY138" fmla="*/ 670397 h 803244"/>
                    <a:gd name="connsiteX139" fmla="*/ 426068 w 1187647"/>
                    <a:gd name="connsiteY139" fmla="*/ 664145 h 803244"/>
                    <a:gd name="connsiteX140" fmla="*/ 444823 w 1187647"/>
                    <a:gd name="connsiteY140" fmla="*/ 645391 h 803244"/>
                    <a:gd name="connsiteX141" fmla="*/ 432320 w 1187647"/>
                    <a:gd name="connsiteY141" fmla="*/ 601769 h 803244"/>
                    <a:gd name="connsiteX142" fmla="*/ 463577 w 1187647"/>
                    <a:gd name="connsiteY142" fmla="*/ 589266 h 803244"/>
                    <a:gd name="connsiteX143" fmla="*/ 457326 w 1187647"/>
                    <a:gd name="connsiteY143" fmla="*/ 564398 h 803244"/>
                    <a:gd name="connsiteX144" fmla="*/ 482332 w 1187647"/>
                    <a:gd name="connsiteY144" fmla="*/ 564398 h 803244"/>
                    <a:gd name="connsiteX145" fmla="*/ 507338 w 1187647"/>
                    <a:gd name="connsiteY145" fmla="*/ 539531 h 803244"/>
                    <a:gd name="connsiteX146" fmla="*/ 532345 w 1187647"/>
                    <a:gd name="connsiteY146" fmla="*/ 520776 h 803244"/>
                    <a:gd name="connsiteX147" fmla="*/ 563602 w 1187647"/>
                    <a:gd name="connsiteY147" fmla="*/ 533279 h 803244"/>
                    <a:gd name="connsiteX148" fmla="*/ 532345 w 1187647"/>
                    <a:gd name="connsiteY148" fmla="*/ 533279 h 803244"/>
                    <a:gd name="connsiteX149" fmla="*/ 513590 w 1187647"/>
                    <a:gd name="connsiteY149" fmla="*/ 558147 h 803244"/>
                    <a:gd name="connsiteX150" fmla="*/ 501087 w 1187647"/>
                    <a:gd name="connsiteY150" fmla="*/ 595517 h 803244"/>
                    <a:gd name="connsiteX151" fmla="*/ 519842 w 1187647"/>
                    <a:gd name="connsiteY151" fmla="*/ 601769 h 803244"/>
                    <a:gd name="connsiteX152" fmla="*/ 507338 w 1187647"/>
                    <a:gd name="connsiteY152" fmla="*/ 614272 h 803244"/>
                    <a:gd name="connsiteX153" fmla="*/ 557212 w 1187647"/>
                    <a:gd name="connsiteY153" fmla="*/ 595517 h 803244"/>
                    <a:gd name="connsiteX154" fmla="*/ 594582 w 1187647"/>
                    <a:gd name="connsiteY154" fmla="*/ 576763 h 803244"/>
                    <a:gd name="connsiteX155" fmla="*/ 607086 w 1187647"/>
                    <a:gd name="connsiteY155" fmla="*/ 545644 h 803244"/>
                    <a:gd name="connsiteX156" fmla="*/ 669462 w 1187647"/>
                    <a:gd name="connsiteY156" fmla="*/ 545644 h 803244"/>
                    <a:gd name="connsiteX157" fmla="*/ 700720 w 1187647"/>
                    <a:gd name="connsiteY157" fmla="*/ 564398 h 803244"/>
                    <a:gd name="connsiteX158" fmla="*/ 719475 w 1187647"/>
                    <a:gd name="connsiteY158" fmla="*/ 551895 h 803244"/>
                    <a:gd name="connsiteX159" fmla="*/ 719475 w 1187647"/>
                    <a:gd name="connsiteY159" fmla="*/ 570650 h 803244"/>
                    <a:gd name="connsiteX160" fmla="*/ 744481 w 1187647"/>
                    <a:gd name="connsiteY160" fmla="*/ 576901 h 803244"/>
                    <a:gd name="connsiteX161" fmla="*/ 794354 w 1187647"/>
                    <a:gd name="connsiteY161" fmla="*/ 576901 h 803244"/>
                    <a:gd name="connsiteX162" fmla="*/ 813109 w 1187647"/>
                    <a:gd name="connsiteY162" fmla="*/ 576901 h 803244"/>
                    <a:gd name="connsiteX163" fmla="*/ 825612 w 1187647"/>
                    <a:gd name="connsiteY163" fmla="*/ 589405 h 803244"/>
                    <a:gd name="connsiteX164" fmla="*/ 850619 w 1187647"/>
                    <a:gd name="connsiteY164" fmla="*/ 595656 h 803244"/>
                    <a:gd name="connsiteX165" fmla="*/ 875625 w 1187647"/>
                    <a:gd name="connsiteY165" fmla="*/ 583153 h 803244"/>
                    <a:gd name="connsiteX166" fmla="*/ 881876 w 1187647"/>
                    <a:gd name="connsiteY166" fmla="*/ 595656 h 803244"/>
                    <a:gd name="connsiteX167" fmla="*/ 881876 w 1187647"/>
                    <a:gd name="connsiteY167" fmla="*/ 608159 h 803244"/>
                    <a:gd name="connsiteX168" fmla="*/ 925498 w 1187647"/>
                    <a:gd name="connsiteY168" fmla="*/ 626914 h 803244"/>
                    <a:gd name="connsiteX169" fmla="*/ 963008 w 1187647"/>
                    <a:gd name="connsiteY169" fmla="*/ 658033 h 803244"/>
                    <a:gd name="connsiteX170" fmla="*/ 981762 w 1187647"/>
                    <a:gd name="connsiteY170" fmla="*/ 651781 h 803244"/>
                    <a:gd name="connsiteX171" fmla="*/ 975511 w 1187647"/>
                    <a:gd name="connsiteY171" fmla="*/ 633027 h 803244"/>
                    <a:gd name="connsiteX172" fmla="*/ 994266 w 1187647"/>
                    <a:gd name="connsiteY172" fmla="*/ 639278 h 803244"/>
                    <a:gd name="connsiteX173" fmla="*/ 1019272 w 1187647"/>
                    <a:gd name="connsiteY173" fmla="*/ 651781 h 803244"/>
                    <a:gd name="connsiteX174" fmla="*/ 1006769 w 1187647"/>
                    <a:gd name="connsiteY174" fmla="*/ 614411 h 803244"/>
                    <a:gd name="connsiteX175" fmla="*/ 1031775 w 1187647"/>
                    <a:gd name="connsiteY175" fmla="*/ 645530 h 803244"/>
                    <a:gd name="connsiteX176" fmla="*/ 1044278 w 1187647"/>
                    <a:gd name="connsiteY176" fmla="*/ 664284 h 803244"/>
                    <a:gd name="connsiteX177" fmla="*/ 1056781 w 1187647"/>
                    <a:gd name="connsiteY177" fmla="*/ 651781 h 803244"/>
                    <a:gd name="connsiteX178" fmla="*/ 1081787 w 1187647"/>
                    <a:gd name="connsiteY178" fmla="*/ 689152 h 803244"/>
                    <a:gd name="connsiteX179" fmla="*/ 1075536 w 1187647"/>
                    <a:gd name="connsiteY179" fmla="*/ 689152 h 803244"/>
                    <a:gd name="connsiteX180" fmla="*/ 1081787 w 1187647"/>
                    <a:gd name="connsiteY180" fmla="*/ 701655 h 803244"/>
                    <a:gd name="connsiteX181" fmla="*/ 1075536 w 1187647"/>
                    <a:gd name="connsiteY181" fmla="*/ 707906 h 803244"/>
                    <a:gd name="connsiteX182" fmla="*/ 1094291 w 1187647"/>
                    <a:gd name="connsiteY182" fmla="*/ 726661 h 803244"/>
                    <a:gd name="connsiteX183" fmla="*/ 1125548 w 1187647"/>
                    <a:gd name="connsiteY183" fmla="*/ 751528 h 803244"/>
                    <a:gd name="connsiteX184" fmla="*/ 1119297 w 1187647"/>
                    <a:gd name="connsiteY184" fmla="*/ 776535 h 803244"/>
                    <a:gd name="connsiteX185" fmla="*/ 1125548 w 1187647"/>
                    <a:gd name="connsiteY185" fmla="*/ 770283 h 803244"/>
                    <a:gd name="connsiteX186" fmla="*/ 1138051 w 1187647"/>
                    <a:gd name="connsiteY186" fmla="*/ 789038 h 803244"/>
                    <a:gd name="connsiteX187" fmla="*/ 1138051 w 1187647"/>
                    <a:gd name="connsiteY187" fmla="*/ 776535 h 803244"/>
                    <a:gd name="connsiteX188" fmla="*/ 1181673 w 1187647"/>
                    <a:gd name="connsiteY188" fmla="*/ 789038 h 803244"/>
                    <a:gd name="connsiteX189" fmla="*/ 1181673 w 1187647"/>
                    <a:gd name="connsiteY189" fmla="*/ 795289 h 803244"/>
                    <a:gd name="connsiteX190" fmla="*/ 1187647 w 1187647"/>
                    <a:gd name="connsiteY190" fmla="*/ 781814 h 803244"/>
                    <a:gd name="connsiteX191" fmla="*/ 1187647 w 1187647"/>
                    <a:gd name="connsiteY191" fmla="*/ 781814 h 80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1187647" h="803244">
                      <a:moveTo>
                        <a:pt x="1187647" y="781814"/>
                      </a:moveTo>
                      <a:cubicBezTo>
                        <a:pt x="1181396" y="775562"/>
                        <a:pt x="1168893" y="775562"/>
                        <a:pt x="1181396" y="763059"/>
                      </a:cubicBezTo>
                      <a:cubicBezTo>
                        <a:pt x="1181396" y="756807"/>
                        <a:pt x="1175144" y="756807"/>
                        <a:pt x="1168893" y="756807"/>
                      </a:cubicBezTo>
                      <a:cubicBezTo>
                        <a:pt x="1156389" y="744304"/>
                        <a:pt x="1131383" y="738053"/>
                        <a:pt x="1125270" y="731940"/>
                      </a:cubicBezTo>
                      <a:cubicBezTo>
                        <a:pt x="1100264" y="700821"/>
                        <a:pt x="1087761" y="663312"/>
                        <a:pt x="1062894" y="638445"/>
                      </a:cubicBezTo>
                      <a:cubicBezTo>
                        <a:pt x="1050391" y="632193"/>
                        <a:pt x="1037887" y="619690"/>
                        <a:pt x="1031636" y="613577"/>
                      </a:cubicBezTo>
                      <a:cubicBezTo>
                        <a:pt x="1019133" y="607326"/>
                        <a:pt x="1019133" y="588571"/>
                        <a:pt x="1006630" y="588571"/>
                      </a:cubicBezTo>
                      <a:cubicBezTo>
                        <a:pt x="1000378" y="588571"/>
                        <a:pt x="981623" y="601074"/>
                        <a:pt x="981623" y="601074"/>
                      </a:cubicBezTo>
                      <a:cubicBezTo>
                        <a:pt x="987875" y="613577"/>
                        <a:pt x="969120" y="619829"/>
                        <a:pt x="962869" y="619829"/>
                      </a:cubicBezTo>
                      <a:cubicBezTo>
                        <a:pt x="944114" y="626080"/>
                        <a:pt x="925359" y="601074"/>
                        <a:pt x="912995" y="588710"/>
                      </a:cubicBezTo>
                      <a:cubicBezTo>
                        <a:pt x="906744" y="582458"/>
                        <a:pt x="900492" y="582458"/>
                        <a:pt x="894241" y="569955"/>
                      </a:cubicBezTo>
                      <a:cubicBezTo>
                        <a:pt x="887989" y="557452"/>
                        <a:pt x="875486" y="563704"/>
                        <a:pt x="869234" y="569955"/>
                      </a:cubicBezTo>
                      <a:cubicBezTo>
                        <a:pt x="856731" y="569955"/>
                        <a:pt x="856731" y="563704"/>
                        <a:pt x="844228" y="569955"/>
                      </a:cubicBezTo>
                      <a:cubicBezTo>
                        <a:pt x="844228" y="569955"/>
                        <a:pt x="837977" y="569955"/>
                        <a:pt x="837977" y="563704"/>
                      </a:cubicBezTo>
                      <a:cubicBezTo>
                        <a:pt x="837977" y="557452"/>
                        <a:pt x="837977" y="557452"/>
                        <a:pt x="837977" y="551201"/>
                      </a:cubicBezTo>
                      <a:cubicBezTo>
                        <a:pt x="837977" y="526333"/>
                        <a:pt x="837977" y="495075"/>
                        <a:pt x="837977" y="470208"/>
                      </a:cubicBezTo>
                      <a:cubicBezTo>
                        <a:pt x="837977" y="395467"/>
                        <a:pt x="837977" y="314336"/>
                        <a:pt x="837977" y="233343"/>
                      </a:cubicBezTo>
                      <a:cubicBezTo>
                        <a:pt x="837977" y="202225"/>
                        <a:pt x="837977" y="164715"/>
                        <a:pt x="837977" y="127345"/>
                      </a:cubicBezTo>
                      <a:cubicBezTo>
                        <a:pt x="837977" y="121093"/>
                        <a:pt x="837977" y="108590"/>
                        <a:pt x="837977" y="96226"/>
                      </a:cubicBezTo>
                      <a:cubicBezTo>
                        <a:pt x="837977" y="89974"/>
                        <a:pt x="831725" y="89974"/>
                        <a:pt x="819222" y="83723"/>
                      </a:cubicBezTo>
                      <a:cubicBezTo>
                        <a:pt x="787964" y="71220"/>
                        <a:pt x="769348" y="71220"/>
                        <a:pt x="738090" y="71220"/>
                      </a:cubicBezTo>
                      <a:cubicBezTo>
                        <a:pt x="706833" y="71220"/>
                        <a:pt x="681965" y="64968"/>
                        <a:pt x="650708" y="58717"/>
                      </a:cubicBezTo>
                      <a:cubicBezTo>
                        <a:pt x="613198" y="58717"/>
                        <a:pt x="582079" y="46213"/>
                        <a:pt x="550821" y="46213"/>
                      </a:cubicBezTo>
                      <a:cubicBezTo>
                        <a:pt x="532067" y="46213"/>
                        <a:pt x="519564" y="52465"/>
                        <a:pt x="500948" y="46213"/>
                      </a:cubicBezTo>
                      <a:lnTo>
                        <a:pt x="475942" y="39962"/>
                      </a:lnTo>
                      <a:cubicBezTo>
                        <a:pt x="475942" y="39962"/>
                        <a:pt x="482193" y="27459"/>
                        <a:pt x="482193" y="21207"/>
                      </a:cubicBezTo>
                      <a:lnTo>
                        <a:pt x="463439" y="21207"/>
                      </a:lnTo>
                      <a:cubicBezTo>
                        <a:pt x="450935" y="21207"/>
                        <a:pt x="432181" y="27459"/>
                        <a:pt x="419817" y="27459"/>
                      </a:cubicBezTo>
                      <a:cubicBezTo>
                        <a:pt x="407313" y="27459"/>
                        <a:pt x="413565" y="2591"/>
                        <a:pt x="394810" y="14956"/>
                      </a:cubicBezTo>
                      <a:cubicBezTo>
                        <a:pt x="388559" y="14956"/>
                        <a:pt x="382307" y="27459"/>
                        <a:pt x="376056" y="21207"/>
                      </a:cubicBezTo>
                      <a:cubicBezTo>
                        <a:pt x="363553" y="21207"/>
                        <a:pt x="363553" y="14956"/>
                        <a:pt x="376056" y="8704"/>
                      </a:cubicBezTo>
                      <a:cubicBezTo>
                        <a:pt x="388559" y="8704"/>
                        <a:pt x="369804" y="2453"/>
                        <a:pt x="363553" y="2453"/>
                      </a:cubicBezTo>
                      <a:cubicBezTo>
                        <a:pt x="338546" y="-3799"/>
                        <a:pt x="338546" y="2453"/>
                        <a:pt x="326043" y="14956"/>
                      </a:cubicBezTo>
                      <a:cubicBezTo>
                        <a:pt x="307288" y="33710"/>
                        <a:pt x="282421" y="21207"/>
                        <a:pt x="257415" y="27459"/>
                      </a:cubicBezTo>
                      <a:cubicBezTo>
                        <a:pt x="232409" y="33710"/>
                        <a:pt x="257415" y="46213"/>
                        <a:pt x="257415" y="46213"/>
                      </a:cubicBezTo>
                      <a:cubicBezTo>
                        <a:pt x="251163" y="46213"/>
                        <a:pt x="244912" y="46213"/>
                        <a:pt x="244912" y="46213"/>
                      </a:cubicBezTo>
                      <a:cubicBezTo>
                        <a:pt x="244912" y="46213"/>
                        <a:pt x="251163" y="58717"/>
                        <a:pt x="244912" y="58717"/>
                      </a:cubicBezTo>
                      <a:cubicBezTo>
                        <a:pt x="238660" y="58717"/>
                        <a:pt x="238660" y="46213"/>
                        <a:pt x="238660" y="39962"/>
                      </a:cubicBezTo>
                      <a:cubicBezTo>
                        <a:pt x="232409" y="39962"/>
                        <a:pt x="213654" y="58717"/>
                        <a:pt x="213654" y="58717"/>
                      </a:cubicBezTo>
                      <a:cubicBezTo>
                        <a:pt x="201151" y="64968"/>
                        <a:pt x="188648" y="52465"/>
                        <a:pt x="176284" y="64968"/>
                      </a:cubicBezTo>
                      <a:cubicBezTo>
                        <a:pt x="163780" y="71220"/>
                        <a:pt x="151277" y="77471"/>
                        <a:pt x="145026" y="89974"/>
                      </a:cubicBezTo>
                      <a:cubicBezTo>
                        <a:pt x="145026" y="102477"/>
                        <a:pt x="145026" y="114842"/>
                        <a:pt x="132523" y="121093"/>
                      </a:cubicBezTo>
                      <a:cubicBezTo>
                        <a:pt x="120019" y="127345"/>
                        <a:pt x="113768" y="133596"/>
                        <a:pt x="101265" y="133596"/>
                      </a:cubicBezTo>
                      <a:cubicBezTo>
                        <a:pt x="95013" y="133596"/>
                        <a:pt x="57643" y="133596"/>
                        <a:pt x="51391" y="139848"/>
                      </a:cubicBezTo>
                      <a:cubicBezTo>
                        <a:pt x="51391" y="146100"/>
                        <a:pt x="38888" y="164715"/>
                        <a:pt x="38888" y="164715"/>
                      </a:cubicBezTo>
                      <a:cubicBezTo>
                        <a:pt x="45140" y="170967"/>
                        <a:pt x="63894" y="170967"/>
                        <a:pt x="70146" y="177218"/>
                      </a:cubicBezTo>
                      <a:cubicBezTo>
                        <a:pt x="88901" y="183470"/>
                        <a:pt x="107516" y="195973"/>
                        <a:pt x="120019" y="208337"/>
                      </a:cubicBezTo>
                      <a:cubicBezTo>
                        <a:pt x="126271" y="214589"/>
                        <a:pt x="126271" y="227092"/>
                        <a:pt x="138774" y="233205"/>
                      </a:cubicBezTo>
                      <a:cubicBezTo>
                        <a:pt x="151277" y="233205"/>
                        <a:pt x="157529" y="233205"/>
                        <a:pt x="170032" y="226953"/>
                      </a:cubicBezTo>
                      <a:lnTo>
                        <a:pt x="188787" y="233205"/>
                      </a:lnTo>
                      <a:cubicBezTo>
                        <a:pt x="201290" y="251959"/>
                        <a:pt x="170032" y="239456"/>
                        <a:pt x="170032" y="239456"/>
                      </a:cubicBezTo>
                      <a:cubicBezTo>
                        <a:pt x="157529" y="239456"/>
                        <a:pt x="176284" y="251959"/>
                        <a:pt x="182535" y="258211"/>
                      </a:cubicBezTo>
                      <a:cubicBezTo>
                        <a:pt x="188787" y="270714"/>
                        <a:pt x="195038" y="264462"/>
                        <a:pt x="207541" y="258211"/>
                      </a:cubicBezTo>
                      <a:cubicBezTo>
                        <a:pt x="213793" y="251959"/>
                        <a:pt x="232548" y="251959"/>
                        <a:pt x="238799" y="258211"/>
                      </a:cubicBezTo>
                      <a:cubicBezTo>
                        <a:pt x="245051" y="264462"/>
                        <a:pt x="213793" y="270714"/>
                        <a:pt x="213793" y="270714"/>
                      </a:cubicBezTo>
                      <a:cubicBezTo>
                        <a:pt x="207541" y="270714"/>
                        <a:pt x="213793" y="270714"/>
                        <a:pt x="213793" y="276966"/>
                      </a:cubicBezTo>
                      <a:cubicBezTo>
                        <a:pt x="213793" y="283217"/>
                        <a:pt x="201290" y="276966"/>
                        <a:pt x="201290" y="276966"/>
                      </a:cubicBezTo>
                      <a:cubicBezTo>
                        <a:pt x="195038" y="276966"/>
                        <a:pt x="188787" y="283217"/>
                        <a:pt x="176284" y="283217"/>
                      </a:cubicBezTo>
                      <a:cubicBezTo>
                        <a:pt x="163780" y="283217"/>
                        <a:pt x="138774" y="289469"/>
                        <a:pt x="126410" y="283217"/>
                      </a:cubicBezTo>
                      <a:cubicBezTo>
                        <a:pt x="113907" y="276966"/>
                        <a:pt x="132662" y="264462"/>
                        <a:pt x="126410" y="258350"/>
                      </a:cubicBezTo>
                      <a:cubicBezTo>
                        <a:pt x="120158" y="258350"/>
                        <a:pt x="107655" y="258350"/>
                        <a:pt x="101404" y="264601"/>
                      </a:cubicBezTo>
                      <a:cubicBezTo>
                        <a:pt x="95152" y="264601"/>
                        <a:pt x="82649" y="264601"/>
                        <a:pt x="76397" y="264601"/>
                      </a:cubicBezTo>
                      <a:cubicBezTo>
                        <a:pt x="63894" y="270853"/>
                        <a:pt x="70146" y="283356"/>
                        <a:pt x="70146" y="283356"/>
                      </a:cubicBezTo>
                      <a:cubicBezTo>
                        <a:pt x="57643" y="283356"/>
                        <a:pt x="45140" y="277104"/>
                        <a:pt x="32637" y="283356"/>
                      </a:cubicBezTo>
                      <a:cubicBezTo>
                        <a:pt x="26385" y="289608"/>
                        <a:pt x="13882" y="295859"/>
                        <a:pt x="7630" y="302111"/>
                      </a:cubicBezTo>
                      <a:cubicBezTo>
                        <a:pt x="-23628" y="320865"/>
                        <a:pt x="51252" y="320865"/>
                        <a:pt x="51252" y="326978"/>
                      </a:cubicBezTo>
                      <a:cubicBezTo>
                        <a:pt x="45001" y="333230"/>
                        <a:pt x="26246" y="333230"/>
                        <a:pt x="38749" y="339481"/>
                      </a:cubicBezTo>
                      <a:cubicBezTo>
                        <a:pt x="45001" y="345733"/>
                        <a:pt x="45001" y="358236"/>
                        <a:pt x="51252" y="358236"/>
                      </a:cubicBezTo>
                      <a:cubicBezTo>
                        <a:pt x="76259" y="364487"/>
                        <a:pt x="94874" y="358236"/>
                        <a:pt x="119881" y="358236"/>
                      </a:cubicBezTo>
                      <a:cubicBezTo>
                        <a:pt x="126132" y="364487"/>
                        <a:pt x="132384" y="364487"/>
                        <a:pt x="138635" y="364487"/>
                      </a:cubicBezTo>
                      <a:cubicBezTo>
                        <a:pt x="151138" y="364487"/>
                        <a:pt x="144887" y="364487"/>
                        <a:pt x="157390" y="370739"/>
                      </a:cubicBezTo>
                      <a:cubicBezTo>
                        <a:pt x="157390" y="370739"/>
                        <a:pt x="169893" y="358236"/>
                        <a:pt x="176145" y="358236"/>
                      </a:cubicBezTo>
                      <a:cubicBezTo>
                        <a:pt x="182396" y="351984"/>
                        <a:pt x="188648" y="351984"/>
                        <a:pt x="194899" y="351984"/>
                      </a:cubicBezTo>
                      <a:cubicBezTo>
                        <a:pt x="201151" y="345733"/>
                        <a:pt x="207402" y="339481"/>
                        <a:pt x="207402" y="339481"/>
                      </a:cubicBezTo>
                      <a:cubicBezTo>
                        <a:pt x="213654" y="345733"/>
                        <a:pt x="219906" y="351984"/>
                        <a:pt x="213654" y="358236"/>
                      </a:cubicBezTo>
                      <a:cubicBezTo>
                        <a:pt x="207402" y="364487"/>
                        <a:pt x="201151" y="364487"/>
                        <a:pt x="213654" y="376990"/>
                      </a:cubicBezTo>
                      <a:cubicBezTo>
                        <a:pt x="226157" y="401858"/>
                        <a:pt x="213654" y="420612"/>
                        <a:pt x="182396" y="414361"/>
                      </a:cubicBezTo>
                      <a:cubicBezTo>
                        <a:pt x="182396" y="414361"/>
                        <a:pt x="176145" y="408109"/>
                        <a:pt x="169893" y="414361"/>
                      </a:cubicBezTo>
                      <a:cubicBezTo>
                        <a:pt x="163641" y="420612"/>
                        <a:pt x="157390" y="433116"/>
                        <a:pt x="151138" y="433116"/>
                      </a:cubicBezTo>
                      <a:cubicBezTo>
                        <a:pt x="138635" y="439367"/>
                        <a:pt x="101265" y="420612"/>
                        <a:pt x="107516" y="439367"/>
                      </a:cubicBezTo>
                      <a:cubicBezTo>
                        <a:pt x="107516" y="439367"/>
                        <a:pt x="88762" y="451870"/>
                        <a:pt x="95013" y="451870"/>
                      </a:cubicBezTo>
                      <a:lnTo>
                        <a:pt x="101265" y="451870"/>
                      </a:lnTo>
                      <a:cubicBezTo>
                        <a:pt x="107516" y="458122"/>
                        <a:pt x="88762" y="464373"/>
                        <a:pt x="82510" y="470625"/>
                      </a:cubicBezTo>
                      <a:cubicBezTo>
                        <a:pt x="76259" y="470625"/>
                        <a:pt x="70007" y="476876"/>
                        <a:pt x="70007" y="483128"/>
                      </a:cubicBezTo>
                      <a:cubicBezTo>
                        <a:pt x="63755" y="495631"/>
                        <a:pt x="76259" y="495631"/>
                        <a:pt x="63755" y="501883"/>
                      </a:cubicBezTo>
                      <a:cubicBezTo>
                        <a:pt x="51252" y="508134"/>
                        <a:pt x="63755" y="520637"/>
                        <a:pt x="70007" y="526750"/>
                      </a:cubicBezTo>
                      <a:cubicBezTo>
                        <a:pt x="70007" y="533002"/>
                        <a:pt x="88762" y="501883"/>
                        <a:pt x="95013" y="501883"/>
                      </a:cubicBezTo>
                      <a:lnTo>
                        <a:pt x="82510" y="520637"/>
                      </a:lnTo>
                      <a:cubicBezTo>
                        <a:pt x="76259" y="526889"/>
                        <a:pt x="95013" y="539392"/>
                        <a:pt x="101265" y="539392"/>
                      </a:cubicBezTo>
                      <a:cubicBezTo>
                        <a:pt x="107516" y="545644"/>
                        <a:pt x="107516" y="551895"/>
                        <a:pt x="113768" y="545644"/>
                      </a:cubicBezTo>
                      <a:cubicBezTo>
                        <a:pt x="120019" y="539392"/>
                        <a:pt x="126271" y="533140"/>
                        <a:pt x="126271" y="533140"/>
                      </a:cubicBezTo>
                      <a:cubicBezTo>
                        <a:pt x="126271" y="539392"/>
                        <a:pt x="132523" y="551895"/>
                        <a:pt x="138774" y="551895"/>
                      </a:cubicBezTo>
                      <a:cubicBezTo>
                        <a:pt x="126271" y="558147"/>
                        <a:pt x="120019" y="551895"/>
                        <a:pt x="113768" y="551895"/>
                      </a:cubicBezTo>
                      <a:cubicBezTo>
                        <a:pt x="107516" y="558147"/>
                        <a:pt x="101265" y="539392"/>
                        <a:pt x="95013" y="539392"/>
                      </a:cubicBezTo>
                      <a:cubicBezTo>
                        <a:pt x="88762" y="539392"/>
                        <a:pt x="76259" y="558147"/>
                        <a:pt x="88762" y="564259"/>
                      </a:cubicBezTo>
                      <a:cubicBezTo>
                        <a:pt x="101265" y="570511"/>
                        <a:pt x="101265" y="576763"/>
                        <a:pt x="113768" y="583014"/>
                      </a:cubicBezTo>
                      <a:cubicBezTo>
                        <a:pt x="120019" y="595517"/>
                        <a:pt x="132523" y="589266"/>
                        <a:pt x="145026" y="589266"/>
                      </a:cubicBezTo>
                      <a:cubicBezTo>
                        <a:pt x="151277" y="583014"/>
                        <a:pt x="163780" y="589266"/>
                        <a:pt x="163780" y="576763"/>
                      </a:cubicBezTo>
                      <a:cubicBezTo>
                        <a:pt x="163780" y="564259"/>
                        <a:pt x="170032" y="545644"/>
                        <a:pt x="182535" y="551756"/>
                      </a:cubicBezTo>
                      <a:cubicBezTo>
                        <a:pt x="182535" y="545505"/>
                        <a:pt x="170032" y="570511"/>
                        <a:pt x="170032" y="576763"/>
                      </a:cubicBezTo>
                      <a:cubicBezTo>
                        <a:pt x="170032" y="583014"/>
                        <a:pt x="195038" y="601630"/>
                        <a:pt x="188787" y="607881"/>
                      </a:cubicBezTo>
                      <a:cubicBezTo>
                        <a:pt x="176284" y="620385"/>
                        <a:pt x="195038" y="626636"/>
                        <a:pt x="195038" y="626636"/>
                      </a:cubicBezTo>
                      <a:cubicBezTo>
                        <a:pt x="188787" y="626636"/>
                        <a:pt x="176284" y="645391"/>
                        <a:pt x="176284" y="645391"/>
                      </a:cubicBezTo>
                      <a:cubicBezTo>
                        <a:pt x="182535" y="651642"/>
                        <a:pt x="213654" y="632888"/>
                        <a:pt x="213654" y="632888"/>
                      </a:cubicBezTo>
                      <a:cubicBezTo>
                        <a:pt x="213654" y="639139"/>
                        <a:pt x="207402" y="639139"/>
                        <a:pt x="207402" y="645391"/>
                      </a:cubicBezTo>
                      <a:cubicBezTo>
                        <a:pt x="207402" y="645391"/>
                        <a:pt x="219906" y="632888"/>
                        <a:pt x="226157" y="626636"/>
                      </a:cubicBezTo>
                      <a:cubicBezTo>
                        <a:pt x="232409" y="626636"/>
                        <a:pt x="257415" y="632888"/>
                        <a:pt x="257415" y="639139"/>
                      </a:cubicBezTo>
                      <a:cubicBezTo>
                        <a:pt x="263666" y="645391"/>
                        <a:pt x="276170" y="664145"/>
                        <a:pt x="276170" y="651642"/>
                      </a:cubicBezTo>
                      <a:cubicBezTo>
                        <a:pt x="276170" y="645391"/>
                        <a:pt x="288673" y="620523"/>
                        <a:pt x="288673" y="620523"/>
                      </a:cubicBezTo>
                      <a:cubicBezTo>
                        <a:pt x="288673" y="614272"/>
                        <a:pt x="307427" y="633027"/>
                        <a:pt x="307427" y="626775"/>
                      </a:cubicBezTo>
                      <a:cubicBezTo>
                        <a:pt x="307427" y="626775"/>
                        <a:pt x="288673" y="626775"/>
                        <a:pt x="288673" y="633027"/>
                      </a:cubicBezTo>
                      <a:cubicBezTo>
                        <a:pt x="288673" y="645530"/>
                        <a:pt x="307427" y="645530"/>
                        <a:pt x="313679" y="639278"/>
                      </a:cubicBezTo>
                      <a:cubicBezTo>
                        <a:pt x="319931" y="633027"/>
                        <a:pt x="326182" y="639278"/>
                        <a:pt x="332434" y="633027"/>
                      </a:cubicBezTo>
                      <a:lnTo>
                        <a:pt x="344937" y="620523"/>
                      </a:lnTo>
                      <a:cubicBezTo>
                        <a:pt x="344937" y="620523"/>
                        <a:pt x="332434" y="639278"/>
                        <a:pt x="326182" y="645391"/>
                      </a:cubicBezTo>
                      <a:cubicBezTo>
                        <a:pt x="326182" y="651642"/>
                        <a:pt x="326182" y="651642"/>
                        <a:pt x="319931" y="657894"/>
                      </a:cubicBezTo>
                      <a:cubicBezTo>
                        <a:pt x="319931" y="664145"/>
                        <a:pt x="326182" y="657894"/>
                        <a:pt x="326182" y="664145"/>
                      </a:cubicBezTo>
                      <a:cubicBezTo>
                        <a:pt x="326182" y="664145"/>
                        <a:pt x="319931" y="670397"/>
                        <a:pt x="313679" y="676649"/>
                      </a:cubicBezTo>
                      <a:cubicBezTo>
                        <a:pt x="313679" y="689152"/>
                        <a:pt x="313679" y="689152"/>
                        <a:pt x="319931" y="695403"/>
                      </a:cubicBezTo>
                      <a:cubicBezTo>
                        <a:pt x="319931" y="695403"/>
                        <a:pt x="301176" y="707906"/>
                        <a:pt x="294924" y="707906"/>
                      </a:cubicBezTo>
                      <a:cubicBezTo>
                        <a:pt x="288673" y="720409"/>
                        <a:pt x="282421" y="726661"/>
                        <a:pt x="269918" y="732774"/>
                      </a:cubicBezTo>
                      <a:cubicBezTo>
                        <a:pt x="257415" y="732774"/>
                        <a:pt x="244912" y="745277"/>
                        <a:pt x="238660" y="751528"/>
                      </a:cubicBezTo>
                      <a:cubicBezTo>
                        <a:pt x="232409" y="751528"/>
                        <a:pt x="232409" y="757780"/>
                        <a:pt x="226157" y="757780"/>
                      </a:cubicBezTo>
                      <a:cubicBezTo>
                        <a:pt x="226157" y="764032"/>
                        <a:pt x="232409" y="770283"/>
                        <a:pt x="232409" y="770283"/>
                      </a:cubicBezTo>
                      <a:cubicBezTo>
                        <a:pt x="226157" y="776535"/>
                        <a:pt x="207402" y="770283"/>
                        <a:pt x="201151" y="770283"/>
                      </a:cubicBezTo>
                      <a:cubicBezTo>
                        <a:pt x="182396" y="770283"/>
                        <a:pt x="176145" y="776535"/>
                        <a:pt x="163641" y="789038"/>
                      </a:cubicBezTo>
                      <a:cubicBezTo>
                        <a:pt x="157390" y="795289"/>
                        <a:pt x="163641" y="807792"/>
                        <a:pt x="169893" y="801541"/>
                      </a:cubicBezTo>
                      <a:cubicBezTo>
                        <a:pt x="182396" y="795289"/>
                        <a:pt x="194899" y="776674"/>
                        <a:pt x="201151" y="782786"/>
                      </a:cubicBezTo>
                      <a:cubicBezTo>
                        <a:pt x="201151" y="776535"/>
                        <a:pt x="194899" y="801541"/>
                        <a:pt x="213654" y="782786"/>
                      </a:cubicBezTo>
                      <a:cubicBezTo>
                        <a:pt x="213654" y="782786"/>
                        <a:pt x="226157" y="801541"/>
                        <a:pt x="232409" y="789038"/>
                      </a:cubicBezTo>
                      <a:cubicBezTo>
                        <a:pt x="232409" y="782786"/>
                        <a:pt x="226157" y="782786"/>
                        <a:pt x="232409" y="782786"/>
                      </a:cubicBezTo>
                      <a:cubicBezTo>
                        <a:pt x="238660" y="776535"/>
                        <a:pt x="238660" y="776535"/>
                        <a:pt x="244912" y="776535"/>
                      </a:cubicBezTo>
                      <a:cubicBezTo>
                        <a:pt x="251163" y="776535"/>
                        <a:pt x="251163" y="776535"/>
                        <a:pt x="257415" y="770283"/>
                      </a:cubicBezTo>
                      <a:cubicBezTo>
                        <a:pt x="263666" y="764032"/>
                        <a:pt x="276170" y="764032"/>
                        <a:pt x="288673" y="757780"/>
                      </a:cubicBezTo>
                      <a:cubicBezTo>
                        <a:pt x="307427" y="751528"/>
                        <a:pt x="282421" y="751528"/>
                        <a:pt x="294924" y="745277"/>
                      </a:cubicBezTo>
                      <a:cubicBezTo>
                        <a:pt x="301176" y="739025"/>
                        <a:pt x="307427" y="732774"/>
                        <a:pt x="313679" y="732774"/>
                      </a:cubicBezTo>
                      <a:cubicBezTo>
                        <a:pt x="326182" y="726522"/>
                        <a:pt x="338685" y="720271"/>
                        <a:pt x="344937" y="720271"/>
                      </a:cubicBezTo>
                      <a:cubicBezTo>
                        <a:pt x="363691" y="707767"/>
                        <a:pt x="351188" y="714019"/>
                        <a:pt x="351188" y="701516"/>
                      </a:cubicBezTo>
                      <a:cubicBezTo>
                        <a:pt x="351188" y="701516"/>
                        <a:pt x="401062" y="676510"/>
                        <a:pt x="407313" y="670397"/>
                      </a:cubicBezTo>
                      <a:cubicBezTo>
                        <a:pt x="413565" y="670397"/>
                        <a:pt x="426068" y="670397"/>
                        <a:pt x="426068" y="664145"/>
                      </a:cubicBezTo>
                      <a:cubicBezTo>
                        <a:pt x="426068" y="645391"/>
                        <a:pt x="432320" y="651642"/>
                        <a:pt x="444823" y="645391"/>
                      </a:cubicBezTo>
                      <a:cubicBezTo>
                        <a:pt x="463577" y="632888"/>
                        <a:pt x="407313" y="626636"/>
                        <a:pt x="432320" y="601769"/>
                      </a:cubicBezTo>
                      <a:cubicBezTo>
                        <a:pt x="444823" y="595517"/>
                        <a:pt x="457326" y="595517"/>
                        <a:pt x="463577" y="589266"/>
                      </a:cubicBezTo>
                      <a:cubicBezTo>
                        <a:pt x="469829" y="583014"/>
                        <a:pt x="469829" y="564398"/>
                        <a:pt x="457326" y="564398"/>
                      </a:cubicBezTo>
                      <a:cubicBezTo>
                        <a:pt x="469829" y="564398"/>
                        <a:pt x="469829" y="570650"/>
                        <a:pt x="482332" y="564398"/>
                      </a:cubicBezTo>
                      <a:cubicBezTo>
                        <a:pt x="488584" y="558147"/>
                        <a:pt x="494835" y="545644"/>
                        <a:pt x="507338" y="539531"/>
                      </a:cubicBezTo>
                      <a:cubicBezTo>
                        <a:pt x="513590" y="533279"/>
                        <a:pt x="526093" y="520776"/>
                        <a:pt x="532345" y="520776"/>
                      </a:cubicBezTo>
                      <a:cubicBezTo>
                        <a:pt x="538596" y="520776"/>
                        <a:pt x="569854" y="520776"/>
                        <a:pt x="563602" y="533279"/>
                      </a:cubicBezTo>
                      <a:cubicBezTo>
                        <a:pt x="557351" y="539531"/>
                        <a:pt x="544848" y="527028"/>
                        <a:pt x="532345" y="533279"/>
                      </a:cubicBezTo>
                      <a:cubicBezTo>
                        <a:pt x="519842" y="539531"/>
                        <a:pt x="519842" y="545783"/>
                        <a:pt x="513590" y="558147"/>
                      </a:cubicBezTo>
                      <a:cubicBezTo>
                        <a:pt x="513590" y="570650"/>
                        <a:pt x="501087" y="583153"/>
                        <a:pt x="501087" y="595517"/>
                      </a:cubicBezTo>
                      <a:cubicBezTo>
                        <a:pt x="494835" y="601769"/>
                        <a:pt x="519842" y="595517"/>
                        <a:pt x="519842" y="601769"/>
                      </a:cubicBezTo>
                      <a:cubicBezTo>
                        <a:pt x="513590" y="601769"/>
                        <a:pt x="482332" y="614272"/>
                        <a:pt x="507338" y="614272"/>
                      </a:cubicBezTo>
                      <a:cubicBezTo>
                        <a:pt x="526093" y="614272"/>
                        <a:pt x="538596" y="601769"/>
                        <a:pt x="557212" y="595517"/>
                      </a:cubicBezTo>
                      <a:cubicBezTo>
                        <a:pt x="569715" y="583014"/>
                        <a:pt x="582218" y="583014"/>
                        <a:pt x="594582" y="576763"/>
                      </a:cubicBezTo>
                      <a:cubicBezTo>
                        <a:pt x="619589" y="570511"/>
                        <a:pt x="607086" y="558008"/>
                        <a:pt x="607086" y="545644"/>
                      </a:cubicBezTo>
                      <a:cubicBezTo>
                        <a:pt x="600834" y="520637"/>
                        <a:pt x="656959" y="539392"/>
                        <a:pt x="669462" y="545644"/>
                      </a:cubicBezTo>
                      <a:cubicBezTo>
                        <a:pt x="681965" y="545644"/>
                        <a:pt x="688217" y="558147"/>
                        <a:pt x="700720" y="564398"/>
                      </a:cubicBezTo>
                      <a:cubicBezTo>
                        <a:pt x="700720" y="564398"/>
                        <a:pt x="713223" y="545644"/>
                        <a:pt x="719475" y="551895"/>
                      </a:cubicBezTo>
                      <a:cubicBezTo>
                        <a:pt x="719475" y="551895"/>
                        <a:pt x="719475" y="564398"/>
                        <a:pt x="719475" y="570650"/>
                      </a:cubicBezTo>
                      <a:cubicBezTo>
                        <a:pt x="731978" y="576901"/>
                        <a:pt x="738229" y="576901"/>
                        <a:pt x="744481" y="576901"/>
                      </a:cubicBezTo>
                      <a:cubicBezTo>
                        <a:pt x="763236" y="576901"/>
                        <a:pt x="781990" y="570650"/>
                        <a:pt x="794354" y="576901"/>
                      </a:cubicBezTo>
                      <a:cubicBezTo>
                        <a:pt x="800606" y="576901"/>
                        <a:pt x="806858" y="583153"/>
                        <a:pt x="813109" y="576901"/>
                      </a:cubicBezTo>
                      <a:cubicBezTo>
                        <a:pt x="819361" y="576901"/>
                        <a:pt x="819361" y="583153"/>
                        <a:pt x="825612" y="589405"/>
                      </a:cubicBezTo>
                      <a:cubicBezTo>
                        <a:pt x="831864" y="589405"/>
                        <a:pt x="844367" y="595656"/>
                        <a:pt x="850619" y="595656"/>
                      </a:cubicBezTo>
                      <a:cubicBezTo>
                        <a:pt x="863122" y="595656"/>
                        <a:pt x="869373" y="583153"/>
                        <a:pt x="875625" y="583153"/>
                      </a:cubicBezTo>
                      <a:cubicBezTo>
                        <a:pt x="888128" y="576901"/>
                        <a:pt x="881876" y="595656"/>
                        <a:pt x="881876" y="595656"/>
                      </a:cubicBezTo>
                      <a:cubicBezTo>
                        <a:pt x="875625" y="601908"/>
                        <a:pt x="875625" y="601908"/>
                        <a:pt x="881876" y="608159"/>
                      </a:cubicBezTo>
                      <a:cubicBezTo>
                        <a:pt x="900631" y="614411"/>
                        <a:pt x="913134" y="620662"/>
                        <a:pt x="925498" y="626914"/>
                      </a:cubicBezTo>
                      <a:cubicBezTo>
                        <a:pt x="938002" y="639417"/>
                        <a:pt x="950505" y="651781"/>
                        <a:pt x="963008" y="658033"/>
                      </a:cubicBezTo>
                      <a:cubicBezTo>
                        <a:pt x="969259" y="658033"/>
                        <a:pt x="975511" y="651781"/>
                        <a:pt x="981762" y="651781"/>
                      </a:cubicBezTo>
                      <a:cubicBezTo>
                        <a:pt x="988014" y="645530"/>
                        <a:pt x="975511" y="639278"/>
                        <a:pt x="975511" y="633027"/>
                      </a:cubicBezTo>
                      <a:cubicBezTo>
                        <a:pt x="975511" y="626775"/>
                        <a:pt x="994266" y="639278"/>
                        <a:pt x="994266" y="639278"/>
                      </a:cubicBezTo>
                      <a:cubicBezTo>
                        <a:pt x="994266" y="645530"/>
                        <a:pt x="1013020" y="658033"/>
                        <a:pt x="1019272" y="651781"/>
                      </a:cubicBezTo>
                      <a:lnTo>
                        <a:pt x="1006769" y="614411"/>
                      </a:lnTo>
                      <a:cubicBezTo>
                        <a:pt x="1013020" y="614411"/>
                        <a:pt x="1025523" y="645530"/>
                        <a:pt x="1031775" y="645530"/>
                      </a:cubicBezTo>
                      <a:cubicBezTo>
                        <a:pt x="1031775" y="651781"/>
                        <a:pt x="1038026" y="664284"/>
                        <a:pt x="1044278" y="664284"/>
                      </a:cubicBezTo>
                      <a:cubicBezTo>
                        <a:pt x="1050530" y="664284"/>
                        <a:pt x="1056781" y="651781"/>
                        <a:pt x="1056781" y="651781"/>
                      </a:cubicBezTo>
                      <a:cubicBezTo>
                        <a:pt x="1044278" y="658033"/>
                        <a:pt x="1081787" y="682900"/>
                        <a:pt x="1081787" y="689152"/>
                      </a:cubicBezTo>
                      <a:cubicBezTo>
                        <a:pt x="1075536" y="689152"/>
                        <a:pt x="1075536" y="689152"/>
                        <a:pt x="1075536" y="689152"/>
                      </a:cubicBezTo>
                      <a:cubicBezTo>
                        <a:pt x="1069284" y="695403"/>
                        <a:pt x="1081787" y="695403"/>
                        <a:pt x="1081787" y="701655"/>
                      </a:cubicBezTo>
                      <a:cubicBezTo>
                        <a:pt x="1081787" y="701655"/>
                        <a:pt x="1069284" y="707906"/>
                        <a:pt x="1075536" y="707906"/>
                      </a:cubicBezTo>
                      <a:cubicBezTo>
                        <a:pt x="1081787" y="714158"/>
                        <a:pt x="1088039" y="720409"/>
                        <a:pt x="1094291" y="726661"/>
                      </a:cubicBezTo>
                      <a:cubicBezTo>
                        <a:pt x="1106794" y="739164"/>
                        <a:pt x="1113045" y="745416"/>
                        <a:pt x="1125548" y="751528"/>
                      </a:cubicBezTo>
                      <a:cubicBezTo>
                        <a:pt x="1125548" y="751528"/>
                        <a:pt x="1113045" y="776535"/>
                        <a:pt x="1119297" y="776535"/>
                      </a:cubicBezTo>
                      <a:cubicBezTo>
                        <a:pt x="1125548" y="782786"/>
                        <a:pt x="1125548" y="770283"/>
                        <a:pt x="1125548" y="770283"/>
                      </a:cubicBezTo>
                      <a:cubicBezTo>
                        <a:pt x="1131800" y="764032"/>
                        <a:pt x="1131800" y="782786"/>
                        <a:pt x="1138051" y="789038"/>
                      </a:cubicBezTo>
                      <a:cubicBezTo>
                        <a:pt x="1138051" y="789038"/>
                        <a:pt x="1138051" y="782786"/>
                        <a:pt x="1138051" y="776535"/>
                      </a:cubicBezTo>
                      <a:cubicBezTo>
                        <a:pt x="1138051" y="789038"/>
                        <a:pt x="1175561" y="807653"/>
                        <a:pt x="1181673" y="789038"/>
                      </a:cubicBezTo>
                      <a:lnTo>
                        <a:pt x="1181673" y="795289"/>
                      </a:lnTo>
                      <a:cubicBezTo>
                        <a:pt x="1181396" y="794317"/>
                        <a:pt x="1187647" y="788065"/>
                        <a:pt x="1187647" y="781814"/>
                      </a:cubicBezTo>
                      <a:cubicBezTo>
                        <a:pt x="1181396" y="781814"/>
                        <a:pt x="1187647" y="788065"/>
                        <a:pt x="1187647" y="7818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6" name="Freihandform: Form 285">
                  <a:extLst>
                    <a:ext uri="{FF2B5EF4-FFF2-40B4-BE49-F238E27FC236}">
                      <a16:creationId xmlns:a16="http://schemas.microsoft.com/office/drawing/2014/main" id="{A7E95459-E77D-4A7F-A274-99C28844B76F}"/>
                    </a:ext>
                  </a:extLst>
                </p:cNvPr>
                <p:cNvSpPr/>
                <p:nvPr/>
              </p:nvSpPr>
              <p:spPr>
                <a:xfrm>
                  <a:off x="2215276" y="2854554"/>
                  <a:ext cx="1793484" cy="890664"/>
                </a:xfrm>
                <a:custGeom>
                  <a:avLst/>
                  <a:gdLst>
                    <a:gd name="connsiteX0" fmla="*/ 419216 w 1793484"/>
                    <a:gd name="connsiteY0" fmla="*/ 671443 h 890664"/>
                    <a:gd name="connsiteX1" fmla="*/ 481592 w 1793484"/>
                    <a:gd name="connsiteY1" fmla="*/ 671443 h 890664"/>
                    <a:gd name="connsiteX2" fmla="*/ 506599 w 1793484"/>
                    <a:gd name="connsiteY2" fmla="*/ 671443 h 890664"/>
                    <a:gd name="connsiteX3" fmla="*/ 519102 w 1793484"/>
                    <a:gd name="connsiteY3" fmla="*/ 658940 h 890664"/>
                    <a:gd name="connsiteX4" fmla="*/ 562724 w 1793484"/>
                    <a:gd name="connsiteY4" fmla="*/ 658940 h 890664"/>
                    <a:gd name="connsiteX5" fmla="*/ 618849 w 1793484"/>
                    <a:gd name="connsiteY5" fmla="*/ 696588 h 890664"/>
                    <a:gd name="connsiteX6" fmla="*/ 625100 w 1793484"/>
                    <a:gd name="connsiteY6" fmla="*/ 721594 h 890664"/>
                    <a:gd name="connsiteX7" fmla="*/ 650107 w 1793484"/>
                    <a:gd name="connsiteY7" fmla="*/ 740349 h 890664"/>
                    <a:gd name="connsiteX8" fmla="*/ 675113 w 1793484"/>
                    <a:gd name="connsiteY8" fmla="*/ 740349 h 890664"/>
                    <a:gd name="connsiteX9" fmla="*/ 706232 w 1793484"/>
                    <a:gd name="connsiteY9" fmla="*/ 727846 h 890664"/>
                    <a:gd name="connsiteX10" fmla="*/ 737351 w 1793484"/>
                    <a:gd name="connsiteY10" fmla="*/ 746601 h 890664"/>
                    <a:gd name="connsiteX11" fmla="*/ 774721 w 1793484"/>
                    <a:gd name="connsiteY11" fmla="*/ 790500 h 890664"/>
                    <a:gd name="connsiteX12" fmla="*/ 799727 w 1793484"/>
                    <a:gd name="connsiteY12" fmla="*/ 834400 h 890664"/>
                    <a:gd name="connsiteX13" fmla="*/ 849601 w 1793484"/>
                    <a:gd name="connsiteY13" fmla="*/ 853155 h 890664"/>
                    <a:gd name="connsiteX14" fmla="*/ 837098 w 1793484"/>
                    <a:gd name="connsiteY14" fmla="*/ 803004 h 890664"/>
                    <a:gd name="connsiteX15" fmla="*/ 849601 w 1793484"/>
                    <a:gd name="connsiteY15" fmla="*/ 790500 h 890664"/>
                    <a:gd name="connsiteX16" fmla="*/ 868356 w 1793484"/>
                    <a:gd name="connsiteY16" fmla="*/ 777997 h 890664"/>
                    <a:gd name="connsiteX17" fmla="*/ 880859 w 1793484"/>
                    <a:gd name="connsiteY17" fmla="*/ 759243 h 890664"/>
                    <a:gd name="connsiteX18" fmla="*/ 899613 w 1793484"/>
                    <a:gd name="connsiteY18" fmla="*/ 759243 h 890664"/>
                    <a:gd name="connsiteX19" fmla="*/ 924620 w 1793484"/>
                    <a:gd name="connsiteY19" fmla="*/ 740488 h 890664"/>
                    <a:gd name="connsiteX20" fmla="*/ 918368 w 1793484"/>
                    <a:gd name="connsiteY20" fmla="*/ 727985 h 890664"/>
                    <a:gd name="connsiteX21" fmla="*/ 943374 w 1793484"/>
                    <a:gd name="connsiteY21" fmla="*/ 727985 h 890664"/>
                    <a:gd name="connsiteX22" fmla="*/ 974493 w 1793484"/>
                    <a:gd name="connsiteY22" fmla="*/ 721733 h 890664"/>
                    <a:gd name="connsiteX23" fmla="*/ 1005612 w 1793484"/>
                    <a:gd name="connsiteY23" fmla="*/ 734236 h 890664"/>
                    <a:gd name="connsiteX24" fmla="*/ 1042983 w 1793484"/>
                    <a:gd name="connsiteY24" fmla="*/ 740488 h 890664"/>
                    <a:gd name="connsiteX25" fmla="*/ 1067850 w 1793484"/>
                    <a:gd name="connsiteY25" fmla="*/ 734236 h 890664"/>
                    <a:gd name="connsiteX26" fmla="*/ 1092856 w 1793484"/>
                    <a:gd name="connsiteY26" fmla="*/ 746740 h 890664"/>
                    <a:gd name="connsiteX27" fmla="*/ 1099108 w 1793484"/>
                    <a:gd name="connsiteY27" fmla="*/ 740488 h 890664"/>
                    <a:gd name="connsiteX28" fmla="*/ 1086605 w 1793484"/>
                    <a:gd name="connsiteY28" fmla="*/ 734236 h 890664"/>
                    <a:gd name="connsiteX29" fmla="*/ 1092856 w 1793484"/>
                    <a:gd name="connsiteY29" fmla="*/ 727985 h 890664"/>
                    <a:gd name="connsiteX30" fmla="*/ 1074102 w 1793484"/>
                    <a:gd name="connsiteY30" fmla="*/ 715482 h 890664"/>
                    <a:gd name="connsiteX31" fmla="*/ 1061598 w 1793484"/>
                    <a:gd name="connsiteY31" fmla="*/ 702979 h 890664"/>
                    <a:gd name="connsiteX32" fmla="*/ 1086466 w 1793484"/>
                    <a:gd name="connsiteY32" fmla="*/ 709230 h 890664"/>
                    <a:gd name="connsiteX33" fmla="*/ 1136339 w 1793484"/>
                    <a:gd name="connsiteY33" fmla="*/ 702979 h 890664"/>
                    <a:gd name="connsiteX34" fmla="*/ 1142591 w 1793484"/>
                    <a:gd name="connsiteY34" fmla="*/ 709230 h 890664"/>
                    <a:gd name="connsiteX35" fmla="*/ 1155094 w 1793484"/>
                    <a:gd name="connsiteY35" fmla="*/ 702979 h 890664"/>
                    <a:gd name="connsiteX36" fmla="*/ 1192464 w 1793484"/>
                    <a:gd name="connsiteY36" fmla="*/ 702979 h 890664"/>
                    <a:gd name="connsiteX37" fmla="*/ 1217471 w 1793484"/>
                    <a:gd name="connsiteY37" fmla="*/ 721733 h 890664"/>
                    <a:gd name="connsiteX38" fmla="*/ 1254841 w 1793484"/>
                    <a:gd name="connsiteY38" fmla="*/ 715482 h 890664"/>
                    <a:gd name="connsiteX39" fmla="*/ 1298463 w 1793484"/>
                    <a:gd name="connsiteY39" fmla="*/ 759382 h 890664"/>
                    <a:gd name="connsiteX40" fmla="*/ 1298463 w 1793484"/>
                    <a:gd name="connsiteY40" fmla="*/ 784388 h 890664"/>
                    <a:gd name="connsiteX41" fmla="*/ 1304715 w 1793484"/>
                    <a:gd name="connsiteY41" fmla="*/ 809394 h 890664"/>
                    <a:gd name="connsiteX42" fmla="*/ 1310966 w 1793484"/>
                    <a:gd name="connsiteY42" fmla="*/ 821897 h 890664"/>
                    <a:gd name="connsiteX43" fmla="*/ 1323469 w 1793484"/>
                    <a:gd name="connsiteY43" fmla="*/ 828149 h 890664"/>
                    <a:gd name="connsiteX44" fmla="*/ 1329721 w 1793484"/>
                    <a:gd name="connsiteY44" fmla="*/ 853155 h 890664"/>
                    <a:gd name="connsiteX45" fmla="*/ 1348476 w 1793484"/>
                    <a:gd name="connsiteY45" fmla="*/ 871910 h 890664"/>
                    <a:gd name="connsiteX46" fmla="*/ 1367230 w 1793484"/>
                    <a:gd name="connsiteY46" fmla="*/ 878161 h 890664"/>
                    <a:gd name="connsiteX47" fmla="*/ 1367230 w 1793484"/>
                    <a:gd name="connsiteY47" fmla="*/ 890664 h 890664"/>
                    <a:gd name="connsiteX48" fmla="*/ 1379733 w 1793484"/>
                    <a:gd name="connsiteY48" fmla="*/ 840513 h 890664"/>
                    <a:gd name="connsiteX49" fmla="*/ 1367230 w 1793484"/>
                    <a:gd name="connsiteY49" fmla="*/ 784110 h 890664"/>
                    <a:gd name="connsiteX50" fmla="*/ 1348476 w 1793484"/>
                    <a:gd name="connsiteY50" fmla="*/ 727707 h 890664"/>
                    <a:gd name="connsiteX51" fmla="*/ 1335973 w 1793484"/>
                    <a:gd name="connsiteY51" fmla="*/ 671304 h 890664"/>
                    <a:gd name="connsiteX52" fmla="*/ 1373343 w 1793484"/>
                    <a:gd name="connsiteY52" fmla="*/ 627404 h 890664"/>
                    <a:gd name="connsiteX53" fmla="*/ 1392097 w 1793484"/>
                    <a:gd name="connsiteY53" fmla="*/ 614901 h 890664"/>
                    <a:gd name="connsiteX54" fmla="*/ 1410852 w 1793484"/>
                    <a:gd name="connsiteY54" fmla="*/ 596147 h 890664"/>
                    <a:gd name="connsiteX55" fmla="*/ 1454474 w 1793484"/>
                    <a:gd name="connsiteY55" fmla="*/ 571140 h 890664"/>
                    <a:gd name="connsiteX56" fmla="*/ 1479480 w 1793484"/>
                    <a:gd name="connsiteY56" fmla="*/ 552386 h 890664"/>
                    <a:gd name="connsiteX57" fmla="*/ 1498235 w 1793484"/>
                    <a:gd name="connsiteY57" fmla="*/ 539883 h 890664"/>
                    <a:gd name="connsiteX58" fmla="*/ 1479480 w 1793484"/>
                    <a:gd name="connsiteY58" fmla="*/ 546134 h 890664"/>
                    <a:gd name="connsiteX59" fmla="*/ 1485732 w 1793484"/>
                    <a:gd name="connsiteY59" fmla="*/ 533631 h 890664"/>
                    <a:gd name="connsiteX60" fmla="*/ 1485732 w 1793484"/>
                    <a:gd name="connsiteY60" fmla="*/ 527379 h 890664"/>
                    <a:gd name="connsiteX61" fmla="*/ 1491984 w 1793484"/>
                    <a:gd name="connsiteY61" fmla="*/ 521128 h 890664"/>
                    <a:gd name="connsiteX62" fmla="*/ 1498235 w 1793484"/>
                    <a:gd name="connsiteY62" fmla="*/ 527379 h 890664"/>
                    <a:gd name="connsiteX63" fmla="*/ 1516990 w 1793484"/>
                    <a:gd name="connsiteY63" fmla="*/ 508625 h 890664"/>
                    <a:gd name="connsiteX64" fmla="*/ 1485871 w 1793484"/>
                    <a:gd name="connsiteY64" fmla="*/ 502373 h 890664"/>
                    <a:gd name="connsiteX65" fmla="*/ 1498374 w 1793484"/>
                    <a:gd name="connsiteY65" fmla="*/ 502373 h 890664"/>
                    <a:gd name="connsiteX66" fmla="*/ 1510877 w 1793484"/>
                    <a:gd name="connsiteY66" fmla="*/ 496122 h 890664"/>
                    <a:gd name="connsiteX67" fmla="*/ 1504626 w 1793484"/>
                    <a:gd name="connsiteY67" fmla="*/ 483618 h 890664"/>
                    <a:gd name="connsiteX68" fmla="*/ 1498374 w 1793484"/>
                    <a:gd name="connsiteY68" fmla="*/ 471115 h 890664"/>
                    <a:gd name="connsiteX69" fmla="*/ 1473368 w 1793484"/>
                    <a:gd name="connsiteY69" fmla="*/ 458612 h 890664"/>
                    <a:gd name="connsiteX70" fmla="*/ 1492122 w 1793484"/>
                    <a:gd name="connsiteY70" fmla="*/ 458612 h 890664"/>
                    <a:gd name="connsiteX71" fmla="*/ 1479619 w 1793484"/>
                    <a:gd name="connsiteY71" fmla="*/ 439858 h 890664"/>
                    <a:gd name="connsiteX72" fmla="*/ 1467116 w 1793484"/>
                    <a:gd name="connsiteY72" fmla="*/ 421103 h 890664"/>
                    <a:gd name="connsiteX73" fmla="*/ 1473368 w 1793484"/>
                    <a:gd name="connsiteY73" fmla="*/ 396097 h 890664"/>
                    <a:gd name="connsiteX74" fmla="*/ 1473368 w 1793484"/>
                    <a:gd name="connsiteY74" fmla="*/ 414851 h 890664"/>
                    <a:gd name="connsiteX75" fmla="*/ 1485871 w 1793484"/>
                    <a:gd name="connsiteY75" fmla="*/ 427354 h 890664"/>
                    <a:gd name="connsiteX76" fmla="*/ 1504626 w 1793484"/>
                    <a:gd name="connsiteY76" fmla="*/ 377203 h 890664"/>
                    <a:gd name="connsiteX77" fmla="*/ 1504626 w 1793484"/>
                    <a:gd name="connsiteY77" fmla="*/ 414851 h 890664"/>
                    <a:gd name="connsiteX78" fmla="*/ 1517129 w 1793484"/>
                    <a:gd name="connsiteY78" fmla="*/ 439858 h 890664"/>
                    <a:gd name="connsiteX79" fmla="*/ 1504626 w 1793484"/>
                    <a:gd name="connsiteY79" fmla="*/ 464864 h 890664"/>
                    <a:gd name="connsiteX80" fmla="*/ 1535745 w 1793484"/>
                    <a:gd name="connsiteY80" fmla="*/ 414712 h 890664"/>
                    <a:gd name="connsiteX81" fmla="*/ 1523242 w 1793484"/>
                    <a:gd name="connsiteY81" fmla="*/ 383316 h 890664"/>
                    <a:gd name="connsiteX82" fmla="*/ 1535745 w 1793484"/>
                    <a:gd name="connsiteY82" fmla="*/ 364561 h 890664"/>
                    <a:gd name="connsiteX83" fmla="*/ 1529493 w 1793484"/>
                    <a:gd name="connsiteY83" fmla="*/ 383316 h 890664"/>
                    <a:gd name="connsiteX84" fmla="*/ 1554499 w 1793484"/>
                    <a:gd name="connsiteY84" fmla="*/ 383316 h 890664"/>
                    <a:gd name="connsiteX85" fmla="*/ 1567002 w 1793484"/>
                    <a:gd name="connsiteY85" fmla="*/ 345667 h 890664"/>
                    <a:gd name="connsiteX86" fmla="*/ 1567002 w 1793484"/>
                    <a:gd name="connsiteY86" fmla="*/ 333164 h 890664"/>
                    <a:gd name="connsiteX87" fmla="*/ 1573254 w 1793484"/>
                    <a:gd name="connsiteY87" fmla="*/ 320661 h 890664"/>
                    <a:gd name="connsiteX88" fmla="*/ 1573254 w 1793484"/>
                    <a:gd name="connsiteY88" fmla="*/ 333164 h 890664"/>
                    <a:gd name="connsiteX89" fmla="*/ 1616876 w 1793484"/>
                    <a:gd name="connsiteY89" fmla="*/ 314410 h 890664"/>
                    <a:gd name="connsiteX90" fmla="*/ 1641882 w 1793484"/>
                    <a:gd name="connsiteY90" fmla="*/ 314410 h 890664"/>
                    <a:gd name="connsiteX91" fmla="*/ 1648134 w 1793484"/>
                    <a:gd name="connsiteY91" fmla="*/ 295655 h 890664"/>
                    <a:gd name="connsiteX92" fmla="*/ 1660637 w 1793484"/>
                    <a:gd name="connsiteY92" fmla="*/ 308158 h 890664"/>
                    <a:gd name="connsiteX93" fmla="*/ 1673140 w 1793484"/>
                    <a:gd name="connsiteY93" fmla="*/ 301906 h 890664"/>
                    <a:gd name="connsiteX94" fmla="*/ 1691895 w 1793484"/>
                    <a:gd name="connsiteY94" fmla="*/ 283152 h 890664"/>
                    <a:gd name="connsiteX95" fmla="*/ 1685643 w 1793484"/>
                    <a:gd name="connsiteY95" fmla="*/ 295655 h 890664"/>
                    <a:gd name="connsiteX96" fmla="*/ 1666888 w 1793484"/>
                    <a:gd name="connsiteY96" fmla="*/ 270649 h 890664"/>
                    <a:gd name="connsiteX97" fmla="*/ 1673140 w 1793484"/>
                    <a:gd name="connsiteY97" fmla="*/ 251894 h 890664"/>
                    <a:gd name="connsiteX98" fmla="*/ 1691895 w 1793484"/>
                    <a:gd name="connsiteY98" fmla="*/ 220497 h 890664"/>
                    <a:gd name="connsiteX99" fmla="*/ 1704398 w 1793484"/>
                    <a:gd name="connsiteY99" fmla="*/ 214246 h 890664"/>
                    <a:gd name="connsiteX100" fmla="*/ 1729404 w 1793484"/>
                    <a:gd name="connsiteY100" fmla="*/ 195491 h 890664"/>
                    <a:gd name="connsiteX101" fmla="*/ 1748159 w 1793484"/>
                    <a:gd name="connsiteY101" fmla="*/ 195491 h 890664"/>
                    <a:gd name="connsiteX102" fmla="*/ 1779277 w 1793484"/>
                    <a:gd name="connsiteY102" fmla="*/ 182988 h 890664"/>
                    <a:gd name="connsiteX103" fmla="*/ 1791781 w 1793484"/>
                    <a:gd name="connsiteY103" fmla="*/ 170485 h 890664"/>
                    <a:gd name="connsiteX104" fmla="*/ 1773026 w 1793484"/>
                    <a:gd name="connsiteY104" fmla="*/ 145479 h 890664"/>
                    <a:gd name="connsiteX105" fmla="*/ 1748020 w 1793484"/>
                    <a:gd name="connsiteY105" fmla="*/ 82824 h 890664"/>
                    <a:gd name="connsiteX106" fmla="*/ 1729265 w 1793484"/>
                    <a:gd name="connsiteY106" fmla="*/ 82824 h 890664"/>
                    <a:gd name="connsiteX107" fmla="*/ 1716762 w 1793484"/>
                    <a:gd name="connsiteY107" fmla="*/ 76572 h 890664"/>
                    <a:gd name="connsiteX108" fmla="*/ 1698007 w 1793484"/>
                    <a:gd name="connsiteY108" fmla="*/ 101579 h 890664"/>
                    <a:gd name="connsiteX109" fmla="*/ 1685504 w 1793484"/>
                    <a:gd name="connsiteY109" fmla="*/ 126585 h 890664"/>
                    <a:gd name="connsiteX110" fmla="*/ 1666749 w 1793484"/>
                    <a:gd name="connsiteY110" fmla="*/ 157982 h 890664"/>
                    <a:gd name="connsiteX111" fmla="*/ 1641882 w 1793484"/>
                    <a:gd name="connsiteY111" fmla="*/ 170485 h 890664"/>
                    <a:gd name="connsiteX112" fmla="*/ 1548387 w 1793484"/>
                    <a:gd name="connsiteY112" fmla="*/ 170485 h 890664"/>
                    <a:gd name="connsiteX113" fmla="*/ 1529632 w 1793484"/>
                    <a:gd name="connsiteY113" fmla="*/ 176736 h 890664"/>
                    <a:gd name="connsiteX114" fmla="*/ 1498513 w 1793484"/>
                    <a:gd name="connsiteY114" fmla="*/ 208133 h 890664"/>
                    <a:gd name="connsiteX115" fmla="*/ 1473507 w 1793484"/>
                    <a:gd name="connsiteY115" fmla="*/ 239391 h 890664"/>
                    <a:gd name="connsiteX116" fmla="*/ 1442388 w 1793484"/>
                    <a:gd name="connsiteY116" fmla="*/ 233139 h 890664"/>
                    <a:gd name="connsiteX117" fmla="*/ 1411269 w 1793484"/>
                    <a:gd name="connsiteY117" fmla="*/ 239391 h 890664"/>
                    <a:gd name="connsiteX118" fmla="*/ 1417521 w 1793484"/>
                    <a:gd name="connsiteY118" fmla="*/ 258146 h 890664"/>
                    <a:gd name="connsiteX119" fmla="*/ 1392514 w 1793484"/>
                    <a:gd name="connsiteY119" fmla="*/ 276900 h 890664"/>
                    <a:gd name="connsiteX120" fmla="*/ 1342641 w 1793484"/>
                    <a:gd name="connsiteY120" fmla="*/ 301906 h 890664"/>
                    <a:gd name="connsiteX121" fmla="*/ 1286516 w 1793484"/>
                    <a:gd name="connsiteY121" fmla="*/ 301906 h 890664"/>
                    <a:gd name="connsiteX122" fmla="*/ 1280264 w 1793484"/>
                    <a:gd name="connsiteY122" fmla="*/ 283152 h 890664"/>
                    <a:gd name="connsiteX123" fmla="*/ 1292767 w 1793484"/>
                    <a:gd name="connsiteY123" fmla="*/ 270649 h 890664"/>
                    <a:gd name="connsiteX124" fmla="*/ 1292767 w 1793484"/>
                    <a:gd name="connsiteY124" fmla="*/ 283152 h 890664"/>
                    <a:gd name="connsiteX125" fmla="*/ 1299019 w 1793484"/>
                    <a:gd name="connsiteY125" fmla="*/ 214246 h 890664"/>
                    <a:gd name="connsiteX126" fmla="*/ 1274012 w 1793484"/>
                    <a:gd name="connsiteY126" fmla="*/ 220497 h 890664"/>
                    <a:gd name="connsiteX127" fmla="*/ 1261509 w 1793484"/>
                    <a:gd name="connsiteY127" fmla="*/ 220497 h 890664"/>
                    <a:gd name="connsiteX128" fmla="*/ 1267761 w 1793484"/>
                    <a:gd name="connsiteY128" fmla="*/ 207994 h 890664"/>
                    <a:gd name="connsiteX129" fmla="*/ 1249006 w 1793484"/>
                    <a:gd name="connsiteY129" fmla="*/ 151591 h 890664"/>
                    <a:gd name="connsiteX130" fmla="*/ 1217887 w 1793484"/>
                    <a:gd name="connsiteY130" fmla="*/ 157843 h 890664"/>
                    <a:gd name="connsiteX131" fmla="*/ 1217887 w 1793484"/>
                    <a:gd name="connsiteY131" fmla="*/ 170346 h 890664"/>
                    <a:gd name="connsiteX132" fmla="*/ 1199133 w 1793484"/>
                    <a:gd name="connsiteY132" fmla="*/ 170346 h 890664"/>
                    <a:gd name="connsiteX133" fmla="*/ 1180378 w 1793484"/>
                    <a:gd name="connsiteY133" fmla="*/ 226749 h 890664"/>
                    <a:gd name="connsiteX134" fmla="*/ 1167875 w 1793484"/>
                    <a:gd name="connsiteY134" fmla="*/ 289403 h 890664"/>
                    <a:gd name="connsiteX135" fmla="*/ 1149120 w 1793484"/>
                    <a:gd name="connsiteY135" fmla="*/ 295655 h 890664"/>
                    <a:gd name="connsiteX136" fmla="*/ 1142869 w 1793484"/>
                    <a:gd name="connsiteY136" fmla="*/ 258007 h 890664"/>
                    <a:gd name="connsiteX137" fmla="*/ 1155372 w 1793484"/>
                    <a:gd name="connsiteY137" fmla="*/ 182849 h 890664"/>
                    <a:gd name="connsiteX138" fmla="*/ 1136617 w 1793484"/>
                    <a:gd name="connsiteY138" fmla="*/ 189101 h 890664"/>
                    <a:gd name="connsiteX139" fmla="*/ 1161623 w 1793484"/>
                    <a:gd name="connsiteY139" fmla="*/ 151452 h 890664"/>
                    <a:gd name="connsiteX140" fmla="*/ 1198994 w 1793484"/>
                    <a:gd name="connsiteY140" fmla="*/ 132697 h 890664"/>
                    <a:gd name="connsiteX141" fmla="*/ 1255119 w 1793484"/>
                    <a:gd name="connsiteY141" fmla="*/ 138949 h 890664"/>
                    <a:gd name="connsiteX142" fmla="*/ 1236364 w 1793484"/>
                    <a:gd name="connsiteY142" fmla="*/ 120194 h 890664"/>
                    <a:gd name="connsiteX143" fmla="*/ 1217610 w 1793484"/>
                    <a:gd name="connsiteY143" fmla="*/ 101440 h 890664"/>
                    <a:gd name="connsiteX144" fmla="*/ 1173987 w 1793484"/>
                    <a:gd name="connsiteY144" fmla="*/ 113943 h 890664"/>
                    <a:gd name="connsiteX145" fmla="*/ 1136617 w 1793484"/>
                    <a:gd name="connsiteY145" fmla="*/ 95188 h 890664"/>
                    <a:gd name="connsiteX146" fmla="*/ 1124114 w 1793484"/>
                    <a:gd name="connsiteY146" fmla="*/ 88937 h 890664"/>
                    <a:gd name="connsiteX147" fmla="*/ 1142869 w 1793484"/>
                    <a:gd name="connsiteY147" fmla="*/ 76433 h 890664"/>
                    <a:gd name="connsiteX148" fmla="*/ 1086744 w 1793484"/>
                    <a:gd name="connsiteY148" fmla="*/ 95188 h 890664"/>
                    <a:gd name="connsiteX149" fmla="*/ 1067989 w 1793484"/>
                    <a:gd name="connsiteY149" fmla="*/ 107691 h 890664"/>
                    <a:gd name="connsiteX150" fmla="*/ 1043122 w 1793484"/>
                    <a:gd name="connsiteY150" fmla="*/ 95188 h 890664"/>
                    <a:gd name="connsiteX151" fmla="*/ 1024367 w 1793484"/>
                    <a:gd name="connsiteY151" fmla="*/ 88937 h 890664"/>
                    <a:gd name="connsiteX152" fmla="*/ 1080492 w 1793484"/>
                    <a:gd name="connsiteY152" fmla="*/ 51288 h 890664"/>
                    <a:gd name="connsiteX153" fmla="*/ 1043122 w 1793484"/>
                    <a:gd name="connsiteY153" fmla="*/ 51288 h 890664"/>
                    <a:gd name="connsiteX154" fmla="*/ 999499 w 1793484"/>
                    <a:gd name="connsiteY154" fmla="*/ 38785 h 890664"/>
                    <a:gd name="connsiteX155" fmla="*/ 980745 w 1793484"/>
                    <a:gd name="connsiteY155" fmla="*/ 26282 h 890664"/>
                    <a:gd name="connsiteX156" fmla="*/ 949626 w 1793484"/>
                    <a:gd name="connsiteY156" fmla="*/ 32534 h 890664"/>
                    <a:gd name="connsiteX157" fmla="*/ 930871 w 1793484"/>
                    <a:gd name="connsiteY157" fmla="*/ 13779 h 890664"/>
                    <a:gd name="connsiteX158" fmla="*/ 918368 w 1793484"/>
                    <a:gd name="connsiteY158" fmla="*/ 1276 h 890664"/>
                    <a:gd name="connsiteX159" fmla="*/ 912117 w 1793484"/>
                    <a:gd name="connsiteY159" fmla="*/ 20031 h 890664"/>
                    <a:gd name="connsiteX160" fmla="*/ 899613 w 1793484"/>
                    <a:gd name="connsiteY160" fmla="*/ 20031 h 890664"/>
                    <a:gd name="connsiteX161" fmla="*/ 843488 w 1793484"/>
                    <a:gd name="connsiteY161" fmla="*/ 20031 h 890664"/>
                    <a:gd name="connsiteX162" fmla="*/ 650246 w 1793484"/>
                    <a:gd name="connsiteY162" fmla="*/ 20031 h 890664"/>
                    <a:gd name="connsiteX163" fmla="*/ 182629 w 1793484"/>
                    <a:gd name="connsiteY163" fmla="*/ 20031 h 890664"/>
                    <a:gd name="connsiteX164" fmla="*/ 64127 w 1793484"/>
                    <a:gd name="connsiteY164" fmla="*/ 20031 h 890664"/>
                    <a:gd name="connsiteX165" fmla="*/ 64127 w 1793484"/>
                    <a:gd name="connsiteY165" fmla="*/ 82685 h 890664"/>
                    <a:gd name="connsiteX166" fmla="*/ 57876 w 1793484"/>
                    <a:gd name="connsiteY166" fmla="*/ 70182 h 890664"/>
                    <a:gd name="connsiteX167" fmla="*/ 39121 w 1793484"/>
                    <a:gd name="connsiteY167" fmla="*/ 51427 h 890664"/>
                    <a:gd name="connsiteX168" fmla="*/ 1750 w 1793484"/>
                    <a:gd name="connsiteY168" fmla="*/ 38924 h 890664"/>
                    <a:gd name="connsiteX169" fmla="*/ 8002 w 1793484"/>
                    <a:gd name="connsiteY169" fmla="*/ 70321 h 890664"/>
                    <a:gd name="connsiteX170" fmla="*/ 20505 w 1793484"/>
                    <a:gd name="connsiteY170" fmla="*/ 107969 h 890664"/>
                    <a:gd name="connsiteX171" fmla="*/ 45511 w 1793484"/>
                    <a:gd name="connsiteY171" fmla="*/ 126724 h 890664"/>
                    <a:gd name="connsiteX172" fmla="*/ 26757 w 1793484"/>
                    <a:gd name="connsiteY172" fmla="*/ 132975 h 890664"/>
                    <a:gd name="connsiteX173" fmla="*/ 26757 w 1793484"/>
                    <a:gd name="connsiteY173" fmla="*/ 151730 h 890664"/>
                    <a:gd name="connsiteX174" fmla="*/ 20505 w 1793484"/>
                    <a:gd name="connsiteY174" fmla="*/ 195630 h 890664"/>
                    <a:gd name="connsiteX175" fmla="*/ 8002 w 1793484"/>
                    <a:gd name="connsiteY175" fmla="*/ 245781 h 890664"/>
                    <a:gd name="connsiteX176" fmla="*/ 20505 w 1793484"/>
                    <a:gd name="connsiteY176" fmla="*/ 302184 h 890664"/>
                    <a:gd name="connsiteX177" fmla="*/ 14254 w 1793484"/>
                    <a:gd name="connsiteY177" fmla="*/ 346084 h 890664"/>
                    <a:gd name="connsiteX178" fmla="*/ 20505 w 1793484"/>
                    <a:gd name="connsiteY178" fmla="*/ 364839 h 890664"/>
                    <a:gd name="connsiteX179" fmla="*/ 26757 w 1793484"/>
                    <a:gd name="connsiteY179" fmla="*/ 389845 h 890664"/>
                    <a:gd name="connsiteX180" fmla="*/ 57876 w 1793484"/>
                    <a:gd name="connsiteY180" fmla="*/ 433745 h 890664"/>
                    <a:gd name="connsiteX181" fmla="*/ 70379 w 1793484"/>
                    <a:gd name="connsiteY181" fmla="*/ 433745 h 890664"/>
                    <a:gd name="connsiteX182" fmla="*/ 76630 w 1793484"/>
                    <a:gd name="connsiteY182" fmla="*/ 452500 h 890664"/>
                    <a:gd name="connsiteX183" fmla="*/ 70379 w 1793484"/>
                    <a:gd name="connsiteY183" fmla="*/ 452500 h 890664"/>
                    <a:gd name="connsiteX184" fmla="*/ 76630 w 1793484"/>
                    <a:gd name="connsiteY184" fmla="*/ 471254 h 890664"/>
                    <a:gd name="connsiteX185" fmla="*/ 89133 w 1793484"/>
                    <a:gd name="connsiteY185" fmla="*/ 477506 h 890664"/>
                    <a:gd name="connsiteX186" fmla="*/ 89133 w 1793484"/>
                    <a:gd name="connsiteY186" fmla="*/ 496260 h 890664"/>
                    <a:gd name="connsiteX187" fmla="*/ 126504 w 1793484"/>
                    <a:gd name="connsiteY187" fmla="*/ 546412 h 890664"/>
                    <a:gd name="connsiteX188" fmla="*/ 151510 w 1793484"/>
                    <a:gd name="connsiteY188" fmla="*/ 565167 h 890664"/>
                    <a:gd name="connsiteX189" fmla="*/ 188880 w 1793484"/>
                    <a:gd name="connsiteY189" fmla="*/ 577670 h 890664"/>
                    <a:gd name="connsiteX190" fmla="*/ 219999 w 1793484"/>
                    <a:gd name="connsiteY190" fmla="*/ 596424 h 890664"/>
                    <a:gd name="connsiteX191" fmla="*/ 238754 w 1793484"/>
                    <a:gd name="connsiteY191" fmla="*/ 634073 h 890664"/>
                    <a:gd name="connsiteX192" fmla="*/ 319747 w 1793484"/>
                    <a:gd name="connsiteY192" fmla="*/ 627821 h 890664"/>
                    <a:gd name="connsiteX193" fmla="*/ 419216 w 1793484"/>
                    <a:gd name="connsiteY193" fmla="*/ 671443 h 89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793484" h="890664">
                      <a:moveTo>
                        <a:pt x="419216" y="671443"/>
                      </a:moveTo>
                      <a:cubicBezTo>
                        <a:pt x="437970" y="671443"/>
                        <a:pt x="456586" y="671443"/>
                        <a:pt x="481592" y="671443"/>
                      </a:cubicBezTo>
                      <a:cubicBezTo>
                        <a:pt x="487844" y="671443"/>
                        <a:pt x="500347" y="671443"/>
                        <a:pt x="506599" y="671443"/>
                      </a:cubicBezTo>
                      <a:cubicBezTo>
                        <a:pt x="512850" y="671443"/>
                        <a:pt x="512850" y="658940"/>
                        <a:pt x="519102" y="658940"/>
                      </a:cubicBezTo>
                      <a:cubicBezTo>
                        <a:pt x="525353" y="652688"/>
                        <a:pt x="562724" y="652688"/>
                        <a:pt x="562724" y="658940"/>
                      </a:cubicBezTo>
                      <a:cubicBezTo>
                        <a:pt x="581478" y="671443"/>
                        <a:pt x="600094" y="683946"/>
                        <a:pt x="618849" y="696588"/>
                      </a:cubicBezTo>
                      <a:cubicBezTo>
                        <a:pt x="618849" y="696588"/>
                        <a:pt x="625100" y="715343"/>
                        <a:pt x="625100" y="721594"/>
                      </a:cubicBezTo>
                      <a:cubicBezTo>
                        <a:pt x="631352" y="734098"/>
                        <a:pt x="631352" y="734098"/>
                        <a:pt x="650107" y="740349"/>
                      </a:cubicBezTo>
                      <a:cubicBezTo>
                        <a:pt x="662610" y="746601"/>
                        <a:pt x="668861" y="752852"/>
                        <a:pt x="675113" y="740349"/>
                      </a:cubicBezTo>
                      <a:cubicBezTo>
                        <a:pt x="681365" y="721594"/>
                        <a:pt x="687616" y="721594"/>
                        <a:pt x="706232" y="727846"/>
                      </a:cubicBezTo>
                      <a:cubicBezTo>
                        <a:pt x="718735" y="727846"/>
                        <a:pt x="737351" y="734098"/>
                        <a:pt x="737351" y="746601"/>
                      </a:cubicBezTo>
                      <a:cubicBezTo>
                        <a:pt x="749854" y="765355"/>
                        <a:pt x="762218" y="771607"/>
                        <a:pt x="774721" y="790500"/>
                      </a:cubicBezTo>
                      <a:cubicBezTo>
                        <a:pt x="787224" y="803004"/>
                        <a:pt x="780973" y="828149"/>
                        <a:pt x="799727" y="834400"/>
                      </a:cubicBezTo>
                      <a:cubicBezTo>
                        <a:pt x="812231" y="846904"/>
                        <a:pt x="837098" y="846904"/>
                        <a:pt x="849601" y="853155"/>
                      </a:cubicBezTo>
                      <a:cubicBezTo>
                        <a:pt x="849601" y="846904"/>
                        <a:pt x="837098" y="803004"/>
                        <a:pt x="837098" y="803004"/>
                      </a:cubicBezTo>
                      <a:cubicBezTo>
                        <a:pt x="849601" y="809255"/>
                        <a:pt x="843349" y="790500"/>
                        <a:pt x="849601" y="790500"/>
                      </a:cubicBezTo>
                      <a:cubicBezTo>
                        <a:pt x="849601" y="784249"/>
                        <a:pt x="862104" y="784249"/>
                        <a:pt x="868356" y="777997"/>
                      </a:cubicBezTo>
                      <a:cubicBezTo>
                        <a:pt x="874607" y="777997"/>
                        <a:pt x="880859" y="759243"/>
                        <a:pt x="880859" y="759243"/>
                      </a:cubicBezTo>
                      <a:cubicBezTo>
                        <a:pt x="887110" y="765494"/>
                        <a:pt x="893362" y="765494"/>
                        <a:pt x="899613" y="759243"/>
                      </a:cubicBezTo>
                      <a:cubicBezTo>
                        <a:pt x="912117" y="752991"/>
                        <a:pt x="918368" y="752991"/>
                        <a:pt x="924620" y="740488"/>
                      </a:cubicBezTo>
                      <a:cubicBezTo>
                        <a:pt x="937123" y="734236"/>
                        <a:pt x="918368" y="734236"/>
                        <a:pt x="918368" y="727985"/>
                      </a:cubicBezTo>
                      <a:cubicBezTo>
                        <a:pt x="918368" y="727985"/>
                        <a:pt x="937123" y="734236"/>
                        <a:pt x="943374" y="727985"/>
                      </a:cubicBezTo>
                      <a:cubicBezTo>
                        <a:pt x="955877" y="721733"/>
                        <a:pt x="962129" y="721733"/>
                        <a:pt x="974493" y="721733"/>
                      </a:cubicBezTo>
                      <a:cubicBezTo>
                        <a:pt x="986996" y="721733"/>
                        <a:pt x="993248" y="740488"/>
                        <a:pt x="1005612" y="734236"/>
                      </a:cubicBezTo>
                      <a:cubicBezTo>
                        <a:pt x="1024367" y="721733"/>
                        <a:pt x="1030618" y="734236"/>
                        <a:pt x="1042983" y="740488"/>
                      </a:cubicBezTo>
                      <a:cubicBezTo>
                        <a:pt x="1055486" y="746740"/>
                        <a:pt x="1061737" y="734236"/>
                        <a:pt x="1067850" y="734236"/>
                      </a:cubicBezTo>
                      <a:cubicBezTo>
                        <a:pt x="1074102" y="727985"/>
                        <a:pt x="1092856" y="740488"/>
                        <a:pt x="1092856" y="746740"/>
                      </a:cubicBezTo>
                      <a:cubicBezTo>
                        <a:pt x="1099108" y="752991"/>
                        <a:pt x="1105359" y="746740"/>
                        <a:pt x="1099108" y="740488"/>
                      </a:cubicBezTo>
                      <a:cubicBezTo>
                        <a:pt x="1099108" y="740488"/>
                        <a:pt x="1092856" y="734236"/>
                        <a:pt x="1086605" y="734236"/>
                      </a:cubicBezTo>
                      <a:cubicBezTo>
                        <a:pt x="1080353" y="727985"/>
                        <a:pt x="1092856" y="727985"/>
                        <a:pt x="1092856" y="727985"/>
                      </a:cubicBezTo>
                      <a:cubicBezTo>
                        <a:pt x="1086605" y="715482"/>
                        <a:pt x="1086605" y="709230"/>
                        <a:pt x="1074102" y="715482"/>
                      </a:cubicBezTo>
                      <a:cubicBezTo>
                        <a:pt x="1074102" y="715482"/>
                        <a:pt x="1049234" y="715482"/>
                        <a:pt x="1061598" y="702979"/>
                      </a:cubicBezTo>
                      <a:cubicBezTo>
                        <a:pt x="1074102" y="702979"/>
                        <a:pt x="1080353" y="709230"/>
                        <a:pt x="1086466" y="709230"/>
                      </a:cubicBezTo>
                      <a:cubicBezTo>
                        <a:pt x="1105220" y="702979"/>
                        <a:pt x="1117585" y="702979"/>
                        <a:pt x="1136339" y="702979"/>
                      </a:cubicBezTo>
                      <a:cubicBezTo>
                        <a:pt x="1142591" y="702979"/>
                        <a:pt x="1136339" y="702979"/>
                        <a:pt x="1142591" y="709230"/>
                      </a:cubicBezTo>
                      <a:cubicBezTo>
                        <a:pt x="1142591" y="709230"/>
                        <a:pt x="1148842" y="709230"/>
                        <a:pt x="1155094" y="702979"/>
                      </a:cubicBezTo>
                      <a:cubicBezTo>
                        <a:pt x="1167597" y="702979"/>
                        <a:pt x="1180100" y="702979"/>
                        <a:pt x="1192464" y="702979"/>
                      </a:cubicBezTo>
                      <a:cubicBezTo>
                        <a:pt x="1204968" y="702979"/>
                        <a:pt x="1204968" y="715482"/>
                        <a:pt x="1217471" y="721733"/>
                      </a:cubicBezTo>
                      <a:cubicBezTo>
                        <a:pt x="1229974" y="734236"/>
                        <a:pt x="1242477" y="721733"/>
                        <a:pt x="1254841" y="715482"/>
                      </a:cubicBezTo>
                      <a:cubicBezTo>
                        <a:pt x="1261093" y="715482"/>
                        <a:pt x="1298463" y="753130"/>
                        <a:pt x="1298463" y="759382"/>
                      </a:cubicBezTo>
                      <a:cubicBezTo>
                        <a:pt x="1304715" y="765633"/>
                        <a:pt x="1292212" y="778136"/>
                        <a:pt x="1298463" y="784388"/>
                      </a:cubicBezTo>
                      <a:cubicBezTo>
                        <a:pt x="1304715" y="796891"/>
                        <a:pt x="1298463" y="796891"/>
                        <a:pt x="1304715" y="809394"/>
                      </a:cubicBezTo>
                      <a:cubicBezTo>
                        <a:pt x="1304715" y="815646"/>
                        <a:pt x="1310966" y="821897"/>
                        <a:pt x="1310966" y="821897"/>
                      </a:cubicBezTo>
                      <a:cubicBezTo>
                        <a:pt x="1317218" y="821897"/>
                        <a:pt x="1317218" y="828149"/>
                        <a:pt x="1323469" y="828149"/>
                      </a:cubicBezTo>
                      <a:cubicBezTo>
                        <a:pt x="1329721" y="834400"/>
                        <a:pt x="1323469" y="846904"/>
                        <a:pt x="1329721" y="853155"/>
                      </a:cubicBezTo>
                      <a:cubicBezTo>
                        <a:pt x="1335973" y="859407"/>
                        <a:pt x="1342224" y="859407"/>
                        <a:pt x="1348476" y="871910"/>
                      </a:cubicBezTo>
                      <a:cubicBezTo>
                        <a:pt x="1360979" y="890664"/>
                        <a:pt x="1354727" y="871910"/>
                        <a:pt x="1367230" y="878161"/>
                      </a:cubicBezTo>
                      <a:lnTo>
                        <a:pt x="1367230" y="890664"/>
                      </a:lnTo>
                      <a:cubicBezTo>
                        <a:pt x="1373482" y="890664"/>
                        <a:pt x="1379733" y="846765"/>
                        <a:pt x="1379733" y="840513"/>
                      </a:cubicBezTo>
                      <a:cubicBezTo>
                        <a:pt x="1379733" y="821758"/>
                        <a:pt x="1373482" y="809255"/>
                        <a:pt x="1367230" y="784110"/>
                      </a:cubicBezTo>
                      <a:cubicBezTo>
                        <a:pt x="1354727" y="765355"/>
                        <a:pt x="1354727" y="746462"/>
                        <a:pt x="1348476" y="727707"/>
                      </a:cubicBezTo>
                      <a:cubicBezTo>
                        <a:pt x="1335973" y="715204"/>
                        <a:pt x="1329721" y="690059"/>
                        <a:pt x="1335973" y="671304"/>
                      </a:cubicBezTo>
                      <a:cubicBezTo>
                        <a:pt x="1342224" y="652549"/>
                        <a:pt x="1354727" y="639907"/>
                        <a:pt x="1373343" y="627404"/>
                      </a:cubicBezTo>
                      <a:cubicBezTo>
                        <a:pt x="1379594" y="621153"/>
                        <a:pt x="1385846" y="621153"/>
                        <a:pt x="1392097" y="614901"/>
                      </a:cubicBezTo>
                      <a:cubicBezTo>
                        <a:pt x="1398349" y="608650"/>
                        <a:pt x="1404601" y="596147"/>
                        <a:pt x="1410852" y="596147"/>
                      </a:cubicBezTo>
                      <a:cubicBezTo>
                        <a:pt x="1423355" y="583643"/>
                        <a:pt x="1441971" y="583643"/>
                        <a:pt x="1454474" y="571140"/>
                      </a:cubicBezTo>
                      <a:cubicBezTo>
                        <a:pt x="1460726" y="564889"/>
                        <a:pt x="1466977" y="552386"/>
                        <a:pt x="1479480" y="552386"/>
                      </a:cubicBezTo>
                      <a:cubicBezTo>
                        <a:pt x="1479480" y="552386"/>
                        <a:pt x="1504487" y="552386"/>
                        <a:pt x="1498235" y="539883"/>
                      </a:cubicBezTo>
                      <a:lnTo>
                        <a:pt x="1479480" y="546134"/>
                      </a:lnTo>
                      <a:cubicBezTo>
                        <a:pt x="1479480" y="539883"/>
                        <a:pt x="1491984" y="546134"/>
                        <a:pt x="1485732" y="533631"/>
                      </a:cubicBezTo>
                      <a:cubicBezTo>
                        <a:pt x="1485732" y="533631"/>
                        <a:pt x="1479480" y="527379"/>
                        <a:pt x="1485732" y="527379"/>
                      </a:cubicBezTo>
                      <a:cubicBezTo>
                        <a:pt x="1485732" y="521128"/>
                        <a:pt x="1485732" y="527379"/>
                        <a:pt x="1491984" y="521128"/>
                      </a:cubicBezTo>
                      <a:cubicBezTo>
                        <a:pt x="1485732" y="527379"/>
                        <a:pt x="1498235" y="533631"/>
                        <a:pt x="1498235" y="527379"/>
                      </a:cubicBezTo>
                      <a:cubicBezTo>
                        <a:pt x="1504487" y="527379"/>
                        <a:pt x="1523242" y="514876"/>
                        <a:pt x="1516990" y="508625"/>
                      </a:cubicBezTo>
                      <a:cubicBezTo>
                        <a:pt x="1516990" y="514876"/>
                        <a:pt x="1479619" y="508625"/>
                        <a:pt x="1485871" y="502373"/>
                      </a:cubicBezTo>
                      <a:cubicBezTo>
                        <a:pt x="1485871" y="496122"/>
                        <a:pt x="1492122" y="508625"/>
                        <a:pt x="1498374" y="502373"/>
                      </a:cubicBezTo>
                      <a:lnTo>
                        <a:pt x="1510877" y="496122"/>
                      </a:lnTo>
                      <a:cubicBezTo>
                        <a:pt x="1510877" y="496122"/>
                        <a:pt x="1504626" y="489870"/>
                        <a:pt x="1504626" y="483618"/>
                      </a:cubicBezTo>
                      <a:cubicBezTo>
                        <a:pt x="1510877" y="477367"/>
                        <a:pt x="1510877" y="471115"/>
                        <a:pt x="1498374" y="471115"/>
                      </a:cubicBezTo>
                      <a:lnTo>
                        <a:pt x="1473368" y="458612"/>
                      </a:lnTo>
                      <a:cubicBezTo>
                        <a:pt x="1479619" y="452361"/>
                        <a:pt x="1485871" y="458612"/>
                        <a:pt x="1492122" y="458612"/>
                      </a:cubicBezTo>
                      <a:cubicBezTo>
                        <a:pt x="1498374" y="452361"/>
                        <a:pt x="1485871" y="439858"/>
                        <a:pt x="1479619" y="439858"/>
                      </a:cubicBezTo>
                      <a:cubicBezTo>
                        <a:pt x="1473368" y="433606"/>
                        <a:pt x="1467116" y="427354"/>
                        <a:pt x="1467116" y="421103"/>
                      </a:cubicBezTo>
                      <a:cubicBezTo>
                        <a:pt x="1460865" y="414851"/>
                        <a:pt x="1479619" y="402348"/>
                        <a:pt x="1473368" y="396097"/>
                      </a:cubicBezTo>
                      <a:cubicBezTo>
                        <a:pt x="1479619" y="402348"/>
                        <a:pt x="1473368" y="408600"/>
                        <a:pt x="1473368" y="414851"/>
                      </a:cubicBezTo>
                      <a:lnTo>
                        <a:pt x="1485871" y="427354"/>
                      </a:lnTo>
                      <a:cubicBezTo>
                        <a:pt x="1498374" y="414851"/>
                        <a:pt x="1485871" y="383454"/>
                        <a:pt x="1504626" y="377203"/>
                      </a:cubicBezTo>
                      <a:cubicBezTo>
                        <a:pt x="1498374" y="377203"/>
                        <a:pt x="1498374" y="408600"/>
                        <a:pt x="1504626" y="414851"/>
                      </a:cubicBezTo>
                      <a:cubicBezTo>
                        <a:pt x="1504626" y="427354"/>
                        <a:pt x="1517129" y="427354"/>
                        <a:pt x="1517129" y="439858"/>
                      </a:cubicBezTo>
                      <a:cubicBezTo>
                        <a:pt x="1517129" y="446109"/>
                        <a:pt x="1498374" y="458612"/>
                        <a:pt x="1504626" y="464864"/>
                      </a:cubicBezTo>
                      <a:cubicBezTo>
                        <a:pt x="1504626" y="464864"/>
                        <a:pt x="1541996" y="427215"/>
                        <a:pt x="1535745" y="414712"/>
                      </a:cubicBezTo>
                      <a:cubicBezTo>
                        <a:pt x="1535745" y="402209"/>
                        <a:pt x="1523242" y="395958"/>
                        <a:pt x="1523242" y="383316"/>
                      </a:cubicBezTo>
                      <a:cubicBezTo>
                        <a:pt x="1516990" y="377064"/>
                        <a:pt x="1523242" y="358309"/>
                        <a:pt x="1535745" y="364561"/>
                      </a:cubicBezTo>
                      <a:cubicBezTo>
                        <a:pt x="1529493" y="358309"/>
                        <a:pt x="1523242" y="377064"/>
                        <a:pt x="1529493" y="383316"/>
                      </a:cubicBezTo>
                      <a:cubicBezTo>
                        <a:pt x="1541996" y="395819"/>
                        <a:pt x="1541996" y="402070"/>
                        <a:pt x="1554499" y="383316"/>
                      </a:cubicBezTo>
                      <a:cubicBezTo>
                        <a:pt x="1560751" y="377064"/>
                        <a:pt x="1573254" y="358309"/>
                        <a:pt x="1567002" y="345667"/>
                      </a:cubicBezTo>
                      <a:cubicBezTo>
                        <a:pt x="1567002" y="345667"/>
                        <a:pt x="1560751" y="339416"/>
                        <a:pt x="1567002" y="333164"/>
                      </a:cubicBezTo>
                      <a:lnTo>
                        <a:pt x="1573254" y="320661"/>
                      </a:lnTo>
                      <a:lnTo>
                        <a:pt x="1573254" y="333164"/>
                      </a:lnTo>
                      <a:cubicBezTo>
                        <a:pt x="1573254" y="333164"/>
                        <a:pt x="1604373" y="314410"/>
                        <a:pt x="1616876" y="314410"/>
                      </a:cubicBezTo>
                      <a:cubicBezTo>
                        <a:pt x="1623127" y="308158"/>
                        <a:pt x="1635631" y="314410"/>
                        <a:pt x="1641882" y="314410"/>
                      </a:cubicBezTo>
                      <a:cubicBezTo>
                        <a:pt x="1654385" y="308158"/>
                        <a:pt x="1648134" y="301906"/>
                        <a:pt x="1648134" y="295655"/>
                      </a:cubicBezTo>
                      <a:cubicBezTo>
                        <a:pt x="1654385" y="295655"/>
                        <a:pt x="1654385" y="308158"/>
                        <a:pt x="1660637" y="308158"/>
                      </a:cubicBezTo>
                      <a:lnTo>
                        <a:pt x="1673140" y="301906"/>
                      </a:lnTo>
                      <a:cubicBezTo>
                        <a:pt x="1685643" y="314410"/>
                        <a:pt x="1710510" y="283152"/>
                        <a:pt x="1691895" y="283152"/>
                      </a:cubicBezTo>
                      <a:cubicBezTo>
                        <a:pt x="1691895" y="283152"/>
                        <a:pt x="1691895" y="295655"/>
                        <a:pt x="1685643" y="295655"/>
                      </a:cubicBezTo>
                      <a:cubicBezTo>
                        <a:pt x="1679392" y="295655"/>
                        <a:pt x="1666888" y="270649"/>
                        <a:pt x="1666888" y="270649"/>
                      </a:cubicBezTo>
                      <a:cubicBezTo>
                        <a:pt x="1673140" y="264397"/>
                        <a:pt x="1666888" y="258146"/>
                        <a:pt x="1673140" y="251894"/>
                      </a:cubicBezTo>
                      <a:cubicBezTo>
                        <a:pt x="1679392" y="239391"/>
                        <a:pt x="1685643" y="226888"/>
                        <a:pt x="1691895" y="220497"/>
                      </a:cubicBezTo>
                      <a:cubicBezTo>
                        <a:pt x="1698146" y="220497"/>
                        <a:pt x="1704398" y="214246"/>
                        <a:pt x="1704398" y="214246"/>
                      </a:cubicBezTo>
                      <a:cubicBezTo>
                        <a:pt x="1716901" y="220497"/>
                        <a:pt x="1723152" y="201743"/>
                        <a:pt x="1729404" y="195491"/>
                      </a:cubicBezTo>
                      <a:cubicBezTo>
                        <a:pt x="1729404" y="195491"/>
                        <a:pt x="1741907" y="201743"/>
                        <a:pt x="1748159" y="195491"/>
                      </a:cubicBezTo>
                      <a:cubicBezTo>
                        <a:pt x="1760662" y="189239"/>
                        <a:pt x="1773165" y="189239"/>
                        <a:pt x="1779277" y="182988"/>
                      </a:cubicBezTo>
                      <a:cubicBezTo>
                        <a:pt x="1785529" y="182988"/>
                        <a:pt x="1798032" y="176736"/>
                        <a:pt x="1791781" y="170485"/>
                      </a:cubicBezTo>
                      <a:cubicBezTo>
                        <a:pt x="1779277" y="157982"/>
                        <a:pt x="1779277" y="151730"/>
                        <a:pt x="1773026" y="145479"/>
                      </a:cubicBezTo>
                      <a:cubicBezTo>
                        <a:pt x="1748020" y="139227"/>
                        <a:pt x="1785529" y="82824"/>
                        <a:pt x="1748020" y="82824"/>
                      </a:cubicBezTo>
                      <a:cubicBezTo>
                        <a:pt x="1741768" y="76572"/>
                        <a:pt x="1735516" y="89076"/>
                        <a:pt x="1729265" y="82824"/>
                      </a:cubicBezTo>
                      <a:cubicBezTo>
                        <a:pt x="1723013" y="76572"/>
                        <a:pt x="1723013" y="70321"/>
                        <a:pt x="1716762" y="76572"/>
                      </a:cubicBezTo>
                      <a:cubicBezTo>
                        <a:pt x="1710510" y="82824"/>
                        <a:pt x="1704259" y="95327"/>
                        <a:pt x="1698007" y="101579"/>
                      </a:cubicBezTo>
                      <a:cubicBezTo>
                        <a:pt x="1691756" y="107830"/>
                        <a:pt x="1691756" y="120333"/>
                        <a:pt x="1685504" y="126585"/>
                      </a:cubicBezTo>
                      <a:cubicBezTo>
                        <a:pt x="1685504" y="139088"/>
                        <a:pt x="1679252" y="157982"/>
                        <a:pt x="1666749" y="157982"/>
                      </a:cubicBezTo>
                      <a:cubicBezTo>
                        <a:pt x="1654246" y="157982"/>
                        <a:pt x="1654246" y="170485"/>
                        <a:pt x="1641882" y="170485"/>
                      </a:cubicBezTo>
                      <a:cubicBezTo>
                        <a:pt x="1610763" y="170485"/>
                        <a:pt x="1579506" y="170485"/>
                        <a:pt x="1548387" y="170485"/>
                      </a:cubicBezTo>
                      <a:cubicBezTo>
                        <a:pt x="1535883" y="170485"/>
                        <a:pt x="1535883" y="170485"/>
                        <a:pt x="1529632" y="176736"/>
                      </a:cubicBezTo>
                      <a:cubicBezTo>
                        <a:pt x="1523380" y="189239"/>
                        <a:pt x="1498513" y="201743"/>
                        <a:pt x="1498513" y="208133"/>
                      </a:cubicBezTo>
                      <a:cubicBezTo>
                        <a:pt x="1504765" y="226888"/>
                        <a:pt x="1486010" y="239391"/>
                        <a:pt x="1473507" y="239391"/>
                      </a:cubicBezTo>
                      <a:cubicBezTo>
                        <a:pt x="1461004" y="239391"/>
                        <a:pt x="1454752" y="233139"/>
                        <a:pt x="1442388" y="233139"/>
                      </a:cubicBezTo>
                      <a:cubicBezTo>
                        <a:pt x="1429885" y="233139"/>
                        <a:pt x="1417382" y="239391"/>
                        <a:pt x="1411269" y="239391"/>
                      </a:cubicBezTo>
                      <a:cubicBezTo>
                        <a:pt x="1411269" y="239391"/>
                        <a:pt x="1411269" y="258146"/>
                        <a:pt x="1417521" y="258146"/>
                      </a:cubicBezTo>
                      <a:cubicBezTo>
                        <a:pt x="1411269" y="264397"/>
                        <a:pt x="1405017" y="270649"/>
                        <a:pt x="1392514" y="276900"/>
                      </a:cubicBezTo>
                      <a:cubicBezTo>
                        <a:pt x="1380011" y="283152"/>
                        <a:pt x="1361395" y="295655"/>
                        <a:pt x="1342641" y="301906"/>
                      </a:cubicBezTo>
                      <a:cubicBezTo>
                        <a:pt x="1323886" y="308158"/>
                        <a:pt x="1305270" y="308158"/>
                        <a:pt x="1286516" y="301906"/>
                      </a:cubicBezTo>
                      <a:cubicBezTo>
                        <a:pt x="1280264" y="295655"/>
                        <a:pt x="1274012" y="289403"/>
                        <a:pt x="1280264" y="283152"/>
                      </a:cubicBezTo>
                      <a:cubicBezTo>
                        <a:pt x="1280264" y="283152"/>
                        <a:pt x="1286516" y="270649"/>
                        <a:pt x="1292767" y="270649"/>
                      </a:cubicBezTo>
                      <a:cubicBezTo>
                        <a:pt x="1292767" y="270649"/>
                        <a:pt x="1292767" y="276900"/>
                        <a:pt x="1292767" y="283152"/>
                      </a:cubicBezTo>
                      <a:cubicBezTo>
                        <a:pt x="1305270" y="258146"/>
                        <a:pt x="1311522" y="239252"/>
                        <a:pt x="1299019" y="214246"/>
                      </a:cubicBezTo>
                      <a:cubicBezTo>
                        <a:pt x="1292767" y="207994"/>
                        <a:pt x="1280264" y="220497"/>
                        <a:pt x="1274012" y="220497"/>
                      </a:cubicBezTo>
                      <a:cubicBezTo>
                        <a:pt x="1267761" y="226749"/>
                        <a:pt x="1267761" y="220497"/>
                        <a:pt x="1261509" y="220497"/>
                      </a:cubicBezTo>
                      <a:cubicBezTo>
                        <a:pt x="1255258" y="214246"/>
                        <a:pt x="1267761" y="207994"/>
                        <a:pt x="1267761" y="207994"/>
                      </a:cubicBezTo>
                      <a:cubicBezTo>
                        <a:pt x="1292767" y="182988"/>
                        <a:pt x="1274012" y="157843"/>
                        <a:pt x="1249006" y="151591"/>
                      </a:cubicBezTo>
                      <a:cubicBezTo>
                        <a:pt x="1230252" y="145340"/>
                        <a:pt x="1230252" y="151591"/>
                        <a:pt x="1217887" y="157843"/>
                      </a:cubicBezTo>
                      <a:cubicBezTo>
                        <a:pt x="1217887" y="164094"/>
                        <a:pt x="1217887" y="164094"/>
                        <a:pt x="1217887" y="170346"/>
                      </a:cubicBezTo>
                      <a:cubicBezTo>
                        <a:pt x="1217887" y="176597"/>
                        <a:pt x="1205384" y="170346"/>
                        <a:pt x="1199133" y="170346"/>
                      </a:cubicBezTo>
                      <a:cubicBezTo>
                        <a:pt x="1192881" y="170346"/>
                        <a:pt x="1180378" y="220497"/>
                        <a:pt x="1180378" y="226749"/>
                      </a:cubicBezTo>
                      <a:cubicBezTo>
                        <a:pt x="1186630" y="258007"/>
                        <a:pt x="1192881" y="276900"/>
                        <a:pt x="1167875" y="289403"/>
                      </a:cubicBezTo>
                      <a:cubicBezTo>
                        <a:pt x="1167875" y="295655"/>
                        <a:pt x="1149120" y="301906"/>
                        <a:pt x="1149120" y="295655"/>
                      </a:cubicBezTo>
                      <a:cubicBezTo>
                        <a:pt x="1149120" y="283152"/>
                        <a:pt x="1142869" y="270649"/>
                        <a:pt x="1142869" y="258007"/>
                      </a:cubicBezTo>
                      <a:cubicBezTo>
                        <a:pt x="1142869" y="251755"/>
                        <a:pt x="1155372" y="182849"/>
                        <a:pt x="1155372" y="182849"/>
                      </a:cubicBezTo>
                      <a:cubicBezTo>
                        <a:pt x="1149120" y="182849"/>
                        <a:pt x="1136617" y="195352"/>
                        <a:pt x="1136617" y="189101"/>
                      </a:cubicBezTo>
                      <a:cubicBezTo>
                        <a:pt x="1136617" y="182849"/>
                        <a:pt x="1155372" y="157704"/>
                        <a:pt x="1161623" y="151452"/>
                      </a:cubicBezTo>
                      <a:cubicBezTo>
                        <a:pt x="1167875" y="138949"/>
                        <a:pt x="1186630" y="138949"/>
                        <a:pt x="1198994" y="132697"/>
                      </a:cubicBezTo>
                      <a:cubicBezTo>
                        <a:pt x="1217748" y="132697"/>
                        <a:pt x="1236364" y="138949"/>
                        <a:pt x="1255119" y="138949"/>
                      </a:cubicBezTo>
                      <a:cubicBezTo>
                        <a:pt x="1273874" y="138949"/>
                        <a:pt x="1248867" y="120194"/>
                        <a:pt x="1236364" y="120194"/>
                      </a:cubicBezTo>
                      <a:cubicBezTo>
                        <a:pt x="1223861" y="120194"/>
                        <a:pt x="1236364" y="101440"/>
                        <a:pt x="1217610" y="101440"/>
                      </a:cubicBezTo>
                      <a:cubicBezTo>
                        <a:pt x="1205106" y="107691"/>
                        <a:pt x="1192603" y="113943"/>
                        <a:pt x="1173987" y="113943"/>
                      </a:cubicBezTo>
                      <a:cubicBezTo>
                        <a:pt x="1161484" y="113943"/>
                        <a:pt x="1148981" y="101440"/>
                        <a:pt x="1136617" y="95188"/>
                      </a:cubicBezTo>
                      <a:cubicBezTo>
                        <a:pt x="1136617" y="95188"/>
                        <a:pt x="1117862" y="95188"/>
                        <a:pt x="1124114" y="88937"/>
                      </a:cubicBezTo>
                      <a:cubicBezTo>
                        <a:pt x="1130366" y="88937"/>
                        <a:pt x="1142869" y="82685"/>
                        <a:pt x="1142869" y="76433"/>
                      </a:cubicBezTo>
                      <a:cubicBezTo>
                        <a:pt x="1142869" y="76433"/>
                        <a:pt x="1092995" y="95188"/>
                        <a:pt x="1086744" y="95188"/>
                      </a:cubicBezTo>
                      <a:cubicBezTo>
                        <a:pt x="1080492" y="101440"/>
                        <a:pt x="1074240" y="107691"/>
                        <a:pt x="1067989" y="107691"/>
                      </a:cubicBezTo>
                      <a:cubicBezTo>
                        <a:pt x="1055486" y="107691"/>
                        <a:pt x="1055486" y="95188"/>
                        <a:pt x="1043122" y="95188"/>
                      </a:cubicBezTo>
                      <a:cubicBezTo>
                        <a:pt x="1036870" y="95188"/>
                        <a:pt x="1005751" y="107691"/>
                        <a:pt x="1024367" y="88937"/>
                      </a:cubicBezTo>
                      <a:cubicBezTo>
                        <a:pt x="1043122" y="76433"/>
                        <a:pt x="1061737" y="63930"/>
                        <a:pt x="1080492" y="51288"/>
                      </a:cubicBezTo>
                      <a:cubicBezTo>
                        <a:pt x="1067989" y="51288"/>
                        <a:pt x="1055625" y="38785"/>
                        <a:pt x="1043122" y="51288"/>
                      </a:cubicBezTo>
                      <a:cubicBezTo>
                        <a:pt x="1024367" y="57540"/>
                        <a:pt x="1018115" y="45037"/>
                        <a:pt x="999499" y="38785"/>
                      </a:cubicBezTo>
                      <a:cubicBezTo>
                        <a:pt x="993248" y="38785"/>
                        <a:pt x="986996" y="32534"/>
                        <a:pt x="980745" y="26282"/>
                      </a:cubicBezTo>
                      <a:cubicBezTo>
                        <a:pt x="968242" y="26282"/>
                        <a:pt x="961990" y="32534"/>
                        <a:pt x="949626" y="32534"/>
                      </a:cubicBezTo>
                      <a:cubicBezTo>
                        <a:pt x="943374" y="26282"/>
                        <a:pt x="930871" y="26282"/>
                        <a:pt x="930871" y="13779"/>
                      </a:cubicBezTo>
                      <a:cubicBezTo>
                        <a:pt x="930871" y="13779"/>
                        <a:pt x="918368" y="-4976"/>
                        <a:pt x="918368" y="1276"/>
                      </a:cubicBezTo>
                      <a:cubicBezTo>
                        <a:pt x="912117" y="1276"/>
                        <a:pt x="918368" y="20031"/>
                        <a:pt x="912117" y="20031"/>
                      </a:cubicBezTo>
                      <a:cubicBezTo>
                        <a:pt x="905865" y="20031"/>
                        <a:pt x="899613" y="20031"/>
                        <a:pt x="899613" y="20031"/>
                      </a:cubicBezTo>
                      <a:cubicBezTo>
                        <a:pt x="880859" y="20031"/>
                        <a:pt x="862243" y="20031"/>
                        <a:pt x="843488" y="20031"/>
                      </a:cubicBezTo>
                      <a:cubicBezTo>
                        <a:pt x="774860" y="20031"/>
                        <a:pt x="712622" y="20031"/>
                        <a:pt x="650246" y="20031"/>
                      </a:cubicBezTo>
                      <a:cubicBezTo>
                        <a:pt x="494373" y="20031"/>
                        <a:pt x="338501" y="20031"/>
                        <a:pt x="182629" y="20031"/>
                      </a:cubicBezTo>
                      <a:cubicBezTo>
                        <a:pt x="145258" y="20031"/>
                        <a:pt x="101637" y="20031"/>
                        <a:pt x="64127" y="20031"/>
                      </a:cubicBezTo>
                      <a:cubicBezTo>
                        <a:pt x="70379" y="26282"/>
                        <a:pt x="82882" y="76433"/>
                        <a:pt x="64127" y="82685"/>
                      </a:cubicBezTo>
                      <a:cubicBezTo>
                        <a:pt x="51624" y="82685"/>
                        <a:pt x="45372" y="82685"/>
                        <a:pt x="57876" y="70182"/>
                      </a:cubicBezTo>
                      <a:cubicBezTo>
                        <a:pt x="70379" y="51427"/>
                        <a:pt x="51624" y="51427"/>
                        <a:pt x="39121" y="51427"/>
                      </a:cubicBezTo>
                      <a:cubicBezTo>
                        <a:pt x="26618" y="51427"/>
                        <a:pt x="8002" y="38924"/>
                        <a:pt x="1750" y="38924"/>
                      </a:cubicBezTo>
                      <a:cubicBezTo>
                        <a:pt x="-4501" y="45176"/>
                        <a:pt x="8002" y="70321"/>
                        <a:pt x="8002" y="70321"/>
                      </a:cubicBezTo>
                      <a:cubicBezTo>
                        <a:pt x="14254" y="89076"/>
                        <a:pt x="20505" y="95327"/>
                        <a:pt x="20505" y="107969"/>
                      </a:cubicBezTo>
                      <a:cubicBezTo>
                        <a:pt x="20505" y="114221"/>
                        <a:pt x="39260" y="126724"/>
                        <a:pt x="45511" y="126724"/>
                      </a:cubicBezTo>
                      <a:cubicBezTo>
                        <a:pt x="39260" y="126724"/>
                        <a:pt x="33008" y="126724"/>
                        <a:pt x="26757" y="132975"/>
                      </a:cubicBezTo>
                      <a:cubicBezTo>
                        <a:pt x="20505" y="139227"/>
                        <a:pt x="26757" y="145479"/>
                        <a:pt x="26757" y="151730"/>
                      </a:cubicBezTo>
                      <a:cubicBezTo>
                        <a:pt x="26757" y="170485"/>
                        <a:pt x="26757" y="182988"/>
                        <a:pt x="20505" y="195630"/>
                      </a:cubicBezTo>
                      <a:cubicBezTo>
                        <a:pt x="20505" y="214385"/>
                        <a:pt x="14254" y="227027"/>
                        <a:pt x="8002" y="245781"/>
                      </a:cubicBezTo>
                      <a:cubicBezTo>
                        <a:pt x="1750" y="264536"/>
                        <a:pt x="14254" y="283430"/>
                        <a:pt x="20505" y="302184"/>
                      </a:cubicBezTo>
                      <a:cubicBezTo>
                        <a:pt x="20505" y="320939"/>
                        <a:pt x="14254" y="333581"/>
                        <a:pt x="14254" y="346084"/>
                      </a:cubicBezTo>
                      <a:cubicBezTo>
                        <a:pt x="14254" y="352336"/>
                        <a:pt x="20505" y="358587"/>
                        <a:pt x="20505" y="364839"/>
                      </a:cubicBezTo>
                      <a:cubicBezTo>
                        <a:pt x="26757" y="371090"/>
                        <a:pt x="26757" y="383594"/>
                        <a:pt x="26757" y="389845"/>
                      </a:cubicBezTo>
                      <a:cubicBezTo>
                        <a:pt x="33008" y="408600"/>
                        <a:pt x="51763" y="414851"/>
                        <a:pt x="57876" y="433745"/>
                      </a:cubicBezTo>
                      <a:cubicBezTo>
                        <a:pt x="64127" y="446248"/>
                        <a:pt x="64127" y="439996"/>
                        <a:pt x="70379" y="433745"/>
                      </a:cubicBezTo>
                      <a:lnTo>
                        <a:pt x="76630" y="452500"/>
                      </a:lnTo>
                      <a:cubicBezTo>
                        <a:pt x="76630" y="452500"/>
                        <a:pt x="70379" y="446248"/>
                        <a:pt x="70379" y="452500"/>
                      </a:cubicBezTo>
                      <a:cubicBezTo>
                        <a:pt x="70379" y="458751"/>
                        <a:pt x="70379" y="465003"/>
                        <a:pt x="76630" y="471254"/>
                      </a:cubicBezTo>
                      <a:cubicBezTo>
                        <a:pt x="82882" y="471254"/>
                        <a:pt x="82882" y="471254"/>
                        <a:pt x="89133" y="477506"/>
                      </a:cubicBezTo>
                      <a:cubicBezTo>
                        <a:pt x="95385" y="483757"/>
                        <a:pt x="82882" y="490009"/>
                        <a:pt x="89133" y="496260"/>
                      </a:cubicBezTo>
                      <a:cubicBezTo>
                        <a:pt x="101637" y="515015"/>
                        <a:pt x="126504" y="527657"/>
                        <a:pt x="126504" y="546412"/>
                      </a:cubicBezTo>
                      <a:cubicBezTo>
                        <a:pt x="132755" y="558915"/>
                        <a:pt x="139007" y="558915"/>
                        <a:pt x="151510" y="565167"/>
                      </a:cubicBezTo>
                      <a:cubicBezTo>
                        <a:pt x="164013" y="571418"/>
                        <a:pt x="176377" y="577670"/>
                        <a:pt x="188880" y="577670"/>
                      </a:cubicBezTo>
                      <a:cubicBezTo>
                        <a:pt x="201384" y="577670"/>
                        <a:pt x="213887" y="590173"/>
                        <a:pt x="219999" y="596424"/>
                      </a:cubicBezTo>
                      <a:cubicBezTo>
                        <a:pt x="219999" y="602676"/>
                        <a:pt x="245006" y="627821"/>
                        <a:pt x="238754" y="634073"/>
                      </a:cubicBezTo>
                      <a:cubicBezTo>
                        <a:pt x="263760" y="627821"/>
                        <a:pt x="294879" y="621569"/>
                        <a:pt x="319747" y="627821"/>
                      </a:cubicBezTo>
                      <a:cubicBezTo>
                        <a:pt x="356839" y="640185"/>
                        <a:pt x="387958" y="658940"/>
                        <a:pt x="419216" y="67144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7" name="Freihandform: Form 286">
                  <a:extLst>
                    <a:ext uri="{FF2B5EF4-FFF2-40B4-BE49-F238E27FC236}">
                      <a16:creationId xmlns:a16="http://schemas.microsoft.com/office/drawing/2014/main" id="{557DA7BF-21EC-430D-8F57-52822B8D15E5}"/>
                    </a:ext>
                  </a:extLst>
                </p:cNvPr>
                <p:cNvSpPr/>
                <p:nvPr/>
              </p:nvSpPr>
              <p:spPr>
                <a:xfrm>
                  <a:off x="1705649" y="1780979"/>
                  <a:ext cx="2649039" cy="1363951"/>
                </a:xfrm>
                <a:custGeom>
                  <a:avLst/>
                  <a:gdLst>
                    <a:gd name="connsiteX0" fmla="*/ 1426051 w 2649039"/>
                    <a:gd name="connsiteY0" fmla="*/ 1083743 h 1363951"/>
                    <a:gd name="connsiteX1" fmla="*/ 1426051 w 2649039"/>
                    <a:gd name="connsiteY1" fmla="*/ 1077491 h 1363951"/>
                    <a:gd name="connsiteX2" fmla="*/ 1444666 w 2649039"/>
                    <a:gd name="connsiteY2" fmla="*/ 1102358 h 1363951"/>
                    <a:gd name="connsiteX3" fmla="*/ 1469534 w 2649039"/>
                    <a:gd name="connsiteY3" fmla="*/ 1108610 h 1363951"/>
                    <a:gd name="connsiteX4" fmla="*/ 1488288 w 2649039"/>
                    <a:gd name="connsiteY4" fmla="*/ 1108610 h 1363951"/>
                    <a:gd name="connsiteX5" fmla="*/ 1531910 w 2649039"/>
                    <a:gd name="connsiteY5" fmla="*/ 1127226 h 1363951"/>
                    <a:gd name="connsiteX6" fmla="*/ 1550665 w 2649039"/>
                    <a:gd name="connsiteY6" fmla="*/ 1127226 h 1363951"/>
                    <a:gd name="connsiteX7" fmla="*/ 1569281 w 2649039"/>
                    <a:gd name="connsiteY7" fmla="*/ 1120974 h 1363951"/>
                    <a:gd name="connsiteX8" fmla="*/ 1587897 w 2649039"/>
                    <a:gd name="connsiteY8" fmla="*/ 1127226 h 1363951"/>
                    <a:gd name="connsiteX9" fmla="*/ 1612764 w 2649039"/>
                    <a:gd name="connsiteY9" fmla="*/ 1114723 h 1363951"/>
                    <a:gd name="connsiteX10" fmla="*/ 1643883 w 2649039"/>
                    <a:gd name="connsiteY10" fmla="*/ 1089855 h 1363951"/>
                    <a:gd name="connsiteX11" fmla="*/ 1650134 w 2649039"/>
                    <a:gd name="connsiteY11" fmla="*/ 1096107 h 1363951"/>
                    <a:gd name="connsiteX12" fmla="*/ 1675002 w 2649039"/>
                    <a:gd name="connsiteY12" fmla="*/ 1096107 h 1363951"/>
                    <a:gd name="connsiteX13" fmla="*/ 1706120 w 2649039"/>
                    <a:gd name="connsiteY13" fmla="*/ 1127226 h 1363951"/>
                    <a:gd name="connsiteX14" fmla="*/ 1737239 w 2649039"/>
                    <a:gd name="connsiteY14" fmla="*/ 1139729 h 1363951"/>
                    <a:gd name="connsiteX15" fmla="*/ 1749743 w 2649039"/>
                    <a:gd name="connsiteY15" fmla="*/ 1177099 h 1363951"/>
                    <a:gd name="connsiteX16" fmla="*/ 1824483 w 2649039"/>
                    <a:gd name="connsiteY16" fmla="*/ 1208218 h 1363951"/>
                    <a:gd name="connsiteX17" fmla="*/ 1861854 w 2649039"/>
                    <a:gd name="connsiteY17" fmla="*/ 1214470 h 1363951"/>
                    <a:gd name="connsiteX18" fmla="*/ 1892973 w 2649039"/>
                    <a:gd name="connsiteY18" fmla="*/ 1251840 h 1363951"/>
                    <a:gd name="connsiteX19" fmla="*/ 1868105 w 2649039"/>
                    <a:gd name="connsiteY19" fmla="*/ 1258092 h 1363951"/>
                    <a:gd name="connsiteX20" fmla="*/ 1836986 w 2649039"/>
                    <a:gd name="connsiteY20" fmla="*/ 1239476 h 1363951"/>
                    <a:gd name="connsiteX21" fmla="*/ 1849490 w 2649039"/>
                    <a:gd name="connsiteY21" fmla="*/ 1264343 h 1363951"/>
                    <a:gd name="connsiteX22" fmla="*/ 1836986 w 2649039"/>
                    <a:gd name="connsiteY22" fmla="*/ 1289211 h 1363951"/>
                    <a:gd name="connsiteX23" fmla="*/ 1830735 w 2649039"/>
                    <a:gd name="connsiteY23" fmla="*/ 1314078 h 1363951"/>
                    <a:gd name="connsiteX24" fmla="*/ 1812119 w 2649039"/>
                    <a:gd name="connsiteY24" fmla="*/ 1326581 h 1363951"/>
                    <a:gd name="connsiteX25" fmla="*/ 1812119 w 2649039"/>
                    <a:gd name="connsiteY25" fmla="*/ 1363951 h 1363951"/>
                    <a:gd name="connsiteX26" fmla="*/ 1843238 w 2649039"/>
                    <a:gd name="connsiteY26" fmla="*/ 1339084 h 1363951"/>
                    <a:gd name="connsiteX27" fmla="*/ 1874357 w 2649039"/>
                    <a:gd name="connsiteY27" fmla="*/ 1339084 h 1363951"/>
                    <a:gd name="connsiteX28" fmla="*/ 1917979 w 2649039"/>
                    <a:gd name="connsiteY28" fmla="*/ 1326581 h 1363951"/>
                    <a:gd name="connsiteX29" fmla="*/ 1905476 w 2649039"/>
                    <a:gd name="connsiteY29" fmla="*/ 1314078 h 1363951"/>
                    <a:gd name="connsiteX30" fmla="*/ 1905476 w 2649039"/>
                    <a:gd name="connsiteY30" fmla="*/ 1307826 h 1363951"/>
                    <a:gd name="connsiteX31" fmla="*/ 1936595 w 2649039"/>
                    <a:gd name="connsiteY31" fmla="*/ 1289211 h 1363951"/>
                    <a:gd name="connsiteX32" fmla="*/ 1973965 w 2649039"/>
                    <a:gd name="connsiteY32" fmla="*/ 1282959 h 1363951"/>
                    <a:gd name="connsiteX33" fmla="*/ 2005084 w 2649039"/>
                    <a:gd name="connsiteY33" fmla="*/ 1282959 h 1363951"/>
                    <a:gd name="connsiteX34" fmla="*/ 2036203 w 2649039"/>
                    <a:gd name="connsiteY34" fmla="*/ 1251840 h 1363951"/>
                    <a:gd name="connsiteX35" fmla="*/ 2067322 w 2649039"/>
                    <a:gd name="connsiteY35" fmla="*/ 1245589 h 1363951"/>
                    <a:gd name="connsiteX36" fmla="*/ 2129559 w 2649039"/>
                    <a:gd name="connsiteY36" fmla="*/ 1245589 h 1363951"/>
                    <a:gd name="connsiteX37" fmla="*/ 2160679 w 2649039"/>
                    <a:gd name="connsiteY37" fmla="*/ 1239337 h 1363951"/>
                    <a:gd name="connsiteX38" fmla="*/ 2179433 w 2649039"/>
                    <a:gd name="connsiteY38" fmla="*/ 1233085 h 1363951"/>
                    <a:gd name="connsiteX39" fmla="*/ 2191936 w 2649039"/>
                    <a:gd name="connsiteY39" fmla="*/ 1201966 h 1363951"/>
                    <a:gd name="connsiteX40" fmla="*/ 2204439 w 2649039"/>
                    <a:gd name="connsiteY40" fmla="*/ 1170848 h 1363951"/>
                    <a:gd name="connsiteX41" fmla="*/ 2223055 w 2649039"/>
                    <a:gd name="connsiteY41" fmla="*/ 1152232 h 1363951"/>
                    <a:gd name="connsiteX42" fmla="*/ 2247922 w 2649039"/>
                    <a:gd name="connsiteY42" fmla="*/ 1158484 h 1363951"/>
                    <a:gd name="connsiteX43" fmla="*/ 2272790 w 2649039"/>
                    <a:gd name="connsiteY43" fmla="*/ 1177099 h 1363951"/>
                    <a:gd name="connsiteX44" fmla="*/ 2279041 w 2649039"/>
                    <a:gd name="connsiteY44" fmla="*/ 1220721 h 1363951"/>
                    <a:gd name="connsiteX45" fmla="*/ 2297657 w 2649039"/>
                    <a:gd name="connsiteY45" fmla="*/ 1251840 h 1363951"/>
                    <a:gd name="connsiteX46" fmla="*/ 2372398 w 2649039"/>
                    <a:gd name="connsiteY46" fmla="*/ 1220721 h 1363951"/>
                    <a:gd name="connsiteX47" fmla="*/ 2366146 w 2649039"/>
                    <a:gd name="connsiteY47" fmla="*/ 1208218 h 1363951"/>
                    <a:gd name="connsiteX48" fmla="*/ 2378650 w 2649039"/>
                    <a:gd name="connsiteY48" fmla="*/ 1220721 h 1363951"/>
                    <a:gd name="connsiteX49" fmla="*/ 2366146 w 2649039"/>
                    <a:gd name="connsiteY49" fmla="*/ 1226973 h 1363951"/>
                    <a:gd name="connsiteX50" fmla="*/ 2403517 w 2649039"/>
                    <a:gd name="connsiteY50" fmla="*/ 1233224 h 1363951"/>
                    <a:gd name="connsiteX51" fmla="*/ 2403517 w 2649039"/>
                    <a:gd name="connsiteY51" fmla="*/ 1233224 h 1363951"/>
                    <a:gd name="connsiteX52" fmla="*/ 2403517 w 2649039"/>
                    <a:gd name="connsiteY52" fmla="*/ 1239476 h 1363951"/>
                    <a:gd name="connsiteX53" fmla="*/ 2384901 w 2649039"/>
                    <a:gd name="connsiteY53" fmla="*/ 1245727 h 1363951"/>
                    <a:gd name="connsiteX54" fmla="*/ 2378650 w 2649039"/>
                    <a:gd name="connsiteY54" fmla="*/ 1233224 h 1363951"/>
                    <a:gd name="connsiteX55" fmla="*/ 2372398 w 2649039"/>
                    <a:gd name="connsiteY55" fmla="*/ 1239476 h 1363951"/>
                    <a:gd name="connsiteX56" fmla="*/ 2366146 w 2649039"/>
                    <a:gd name="connsiteY56" fmla="*/ 1239476 h 1363951"/>
                    <a:gd name="connsiteX57" fmla="*/ 2347531 w 2649039"/>
                    <a:gd name="connsiteY57" fmla="*/ 1251979 h 1363951"/>
                    <a:gd name="connsiteX58" fmla="*/ 2322663 w 2649039"/>
                    <a:gd name="connsiteY58" fmla="*/ 1295601 h 1363951"/>
                    <a:gd name="connsiteX59" fmla="*/ 2360034 w 2649039"/>
                    <a:gd name="connsiteY59" fmla="*/ 1289349 h 1363951"/>
                    <a:gd name="connsiteX60" fmla="*/ 2391153 w 2649039"/>
                    <a:gd name="connsiteY60" fmla="*/ 1258231 h 1363951"/>
                    <a:gd name="connsiteX61" fmla="*/ 2409768 w 2649039"/>
                    <a:gd name="connsiteY61" fmla="*/ 1264482 h 1363951"/>
                    <a:gd name="connsiteX62" fmla="*/ 2434636 w 2649039"/>
                    <a:gd name="connsiteY62" fmla="*/ 1251979 h 1363951"/>
                    <a:gd name="connsiteX63" fmla="*/ 2472006 w 2649039"/>
                    <a:gd name="connsiteY63" fmla="*/ 1239476 h 1363951"/>
                    <a:gd name="connsiteX64" fmla="*/ 2478258 w 2649039"/>
                    <a:gd name="connsiteY64" fmla="*/ 1233224 h 1363951"/>
                    <a:gd name="connsiteX65" fmla="*/ 2478258 w 2649039"/>
                    <a:gd name="connsiteY65" fmla="*/ 1226973 h 1363951"/>
                    <a:gd name="connsiteX66" fmla="*/ 2459503 w 2649039"/>
                    <a:gd name="connsiteY66" fmla="*/ 1220721 h 1363951"/>
                    <a:gd name="connsiteX67" fmla="*/ 2447000 w 2649039"/>
                    <a:gd name="connsiteY67" fmla="*/ 1220721 h 1363951"/>
                    <a:gd name="connsiteX68" fmla="*/ 2397126 w 2649039"/>
                    <a:gd name="connsiteY68" fmla="*/ 1214470 h 1363951"/>
                    <a:gd name="connsiteX69" fmla="*/ 2390875 w 2649039"/>
                    <a:gd name="connsiteY69" fmla="*/ 1201966 h 1363951"/>
                    <a:gd name="connsiteX70" fmla="*/ 2372259 w 2649039"/>
                    <a:gd name="connsiteY70" fmla="*/ 1195715 h 1363951"/>
                    <a:gd name="connsiteX71" fmla="*/ 2366007 w 2649039"/>
                    <a:gd name="connsiteY71" fmla="*/ 1170848 h 1363951"/>
                    <a:gd name="connsiteX72" fmla="*/ 2347392 w 2649039"/>
                    <a:gd name="connsiteY72" fmla="*/ 1164596 h 1363951"/>
                    <a:gd name="connsiteX73" fmla="*/ 2359895 w 2649039"/>
                    <a:gd name="connsiteY73" fmla="*/ 1152093 h 1363951"/>
                    <a:gd name="connsiteX74" fmla="*/ 2353643 w 2649039"/>
                    <a:gd name="connsiteY74" fmla="*/ 1127226 h 1363951"/>
                    <a:gd name="connsiteX75" fmla="*/ 2334889 w 2649039"/>
                    <a:gd name="connsiteY75" fmla="*/ 1139729 h 1363951"/>
                    <a:gd name="connsiteX76" fmla="*/ 2322385 w 2649039"/>
                    <a:gd name="connsiteY76" fmla="*/ 1127226 h 1363951"/>
                    <a:gd name="connsiteX77" fmla="*/ 2341001 w 2649039"/>
                    <a:gd name="connsiteY77" fmla="*/ 1127226 h 1363951"/>
                    <a:gd name="connsiteX78" fmla="*/ 2365869 w 2649039"/>
                    <a:gd name="connsiteY78" fmla="*/ 1120974 h 1363951"/>
                    <a:gd name="connsiteX79" fmla="*/ 2384623 w 2649039"/>
                    <a:gd name="connsiteY79" fmla="*/ 1114723 h 1363951"/>
                    <a:gd name="connsiteX80" fmla="*/ 2378372 w 2649039"/>
                    <a:gd name="connsiteY80" fmla="*/ 1096107 h 1363951"/>
                    <a:gd name="connsiteX81" fmla="*/ 2384623 w 2649039"/>
                    <a:gd name="connsiteY81" fmla="*/ 1096107 h 1363951"/>
                    <a:gd name="connsiteX82" fmla="*/ 2359756 w 2649039"/>
                    <a:gd name="connsiteY82" fmla="*/ 1083604 h 1363951"/>
                    <a:gd name="connsiteX83" fmla="*/ 2322385 w 2649039"/>
                    <a:gd name="connsiteY83" fmla="*/ 1083604 h 1363951"/>
                    <a:gd name="connsiteX84" fmla="*/ 2260148 w 2649039"/>
                    <a:gd name="connsiteY84" fmla="*/ 1108471 h 1363951"/>
                    <a:gd name="connsiteX85" fmla="*/ 2210274 w 2649039"/>
                    <a:gd name="connsiteY85" fmla="*/ 1139590 h 1363951"/>
                    <a:gd name="connsiteX86" fmla="*/ 2191520 w 2649039"/>
                    <a:gd name="connsiteY86" fmla="*/ 1164457 h 1363951"/>
                    <a:gd name="connsiteX87" fmla="*/ 2166652 w 2649039"/>
                    <a:gd name="connsiteY87" fmla="*/ 1176960 h 1363951"/>
                    <a:gd name="connsiteX88" fmla="*/ 2204023 w 2649039"/>
                    <a:gd name="connsiteY88" fmla="*/ 1139590 h 1363951"/>
                    <a:gd name="connsiteX89" fmla="*/ 2204023 w 2649039"/>
                    <a:gd name="connsiteY89" fmla="*/ 1120974 h 1363951"/>
                    <a:gd name="connsiteX90" fmla="*/ 2179155 w 2649039"/>
                    <a:gd name="connsiteY90" fmla="*/ 1114723 h 1363951"/>
                    <a:gd name="connsiteX91" fmla="*/ 2204023 w 2649039"/>
                    <a:gd name="connsiteY91" fmla="*/ 1120974 h 1363951"/>
                    <a:gd name="connsiteX92" fmla="*/ 2235141 w 2649039"/>
                    <a:gd name="connsiteY92" fmla="*/ 1102358 h 1363951"/>
                    <a:gd name="connsiteX93" fmla="*/ 2260009 w 2649039"/>
                    <a:gd name="connsiteY93" fmla="*/ 1077491 h 1363951"/>
                    <a:gd name="connsiteX94" fmla="*/ 2291128 w 2649039"/>
                    <a:gd name="connsiteY94" fmla="*/ 1071239 h 1363951"/>
                    <a:gd name="connsiteX95" fmla="*/ 2334750 w 2649039"/>
                    <a:gd name="connsiteY95" fmla="*/ 1040121 h 1363951"/>
                    <a:gd name="connsiteX96" fmla="*/ 2409490 w 2649039"/>
                    <a:gd name="connsiteY96" fmla="*/ 1040121 h 1363951"/>
                    <a:gd name="connsiteX97" fmla="*/ 2546469 w 2649039"/>
                    <a:gd name="connsiteY97" fmla="*/ 1015253 h 1363951"/>
                    <a:gd name="connsiteX98" fmla="*/ 2577588 w 2649039"/>
                    <a:gd name="connsiteY98" fmla="*/ 996638 h 1363951"/>
                    <a:gd name="connsiteX99" fmla="*/ 2621210 w 2649039"/>
                    <a:gd name="connsiteY99" fmla="*/ 984134 h 1363951"/>
                    <a:gd name="connsiteX100" fmla="*/ 2646077 w 2649039"/>
                    <a:gd name="connsiteY100" fmla="*/ 965519 h 1363951"/>
                    <a:gd name="connsiteX101" fmla="*/ 2627462 w 2649039"/>
                    <a:gd name="connsiteY101" fmla="*/ 946903 h 1363951"/>
                    <a:gd name="connsiteX102" fmla="*/ 2639965 w 2649039"/>
                    <a:gd name="connsiteY102" fmla="*/ 940651 h 1363951"/>
                    <a:gd name="connsiteX103" fmla="*/ 2639965 w 2649039"/>
                    <a:gd name="connsiteY103" fmla="*/ 922036 h 1363951"/>
                    <a:gd name="connsiteX104" fmla="*/ 2646216 w 2649039"/>
                    <a:gd name="connsiteY104" fmla="*/ 915784 h 1363951"/>
                    <a:gd name="connsiteX105" fmla="*/ 2633713 w 2649039"/>
                    <a:gd name="connsiteY105" fmla="*/ 903281 h 1363951"/>
                    <a:gd name="connsiteX106" fmla="*/ 2621210 w 2649039"/>
                    <a:gd name="connsiteY106" fmla="*/ 890778 h 1363951"/>
                    <a:gd name="connsiteX107" fmla="*/ 2596343 w 2649039"/>
                    <a:gd name="connsiteY107" fmla="*/ 897029 h 1363951"/>
                    <a:gd name="connsiteX108" fmla="*/ 2602594 w 2649039"/>
                    <a:gd name="connsiteY108" fmla="*/ 890778 h 1363951"/>
                    <a:gd name="connsiteX109" fmla="*/ 2590091 w 2649039"/>
                    <a:gd name="connsiteY109" fmla="*/ 878275 h 1363951"/>
                    <a:gd name="connsiteX110" fmla="*/ 2552721 w 2649039"/>
                    <a:gd name="connsiteY110" fmla="*/ 884526 h 1363951"/>
                    <a:gd name="connsiteX111" fmla="*/ 2515350 w 2649039"/>
                    <a:gd name="connsiteY111" fmla="*/ 909394 h 1363951"/>
                    <a:gd name="connsiteX112" fmla="*/ 2490483 w 2649039"/>
                    <a:gd name="connsiteY112" fmla="*/ 890778 h 1363951"/>
                    <a:gd name="connsiteX113" fmla="*/ 2509238 w 2649039"/>
                    <a:gd name="connsiteY113" fmla="*/ 903281 h 1363951"/>
                    <a:gd name="connsiteX114" fmla="*/ 2540356 w 2649039"/>
                    <a:gd name="connsiteY114" fmla="*/ 884665 h 1363951"/>
                    <a:gd name="connsiteX115" fmla="*/ 2527853 w 2649039"/>
                    <a:gd name="connsiteY115" fmla="*/ 878413 h 1363951"/>
                    <a:gd name="connsiteX116" fmla="*/ 2583840 w 2649039"/>
                    <a:gd name="connsiteY116" fmla="*/ 865910 h 1363951"/>
                    <a:gd name="connsiteX117" fmla="*/ 2590091 w 2649039"/>
                    <a:gd name="connsiteY117" fmla="*/ 853407 h 1363951"/>
                    <a:gd name="connsiteX118" fmla="*/ 2577588 w 2649039"/>
                    <a:gd name="connsiteY118" fmla="*/ 840904 h 1363951"/>
                    <a:gd name="connsiteX119" fmla="*/ 2546469 w 2649039"/>
                    <a:gd name="connsiteY119" fmla="*/ 834653 h 1363951"/>
                    <a:gd name="connsiteX120" fmla="*/ 2515350 w 2649039"/>
                    <a:gd name="connsiteY120" fmla="*/ 847156 h 1363951"/>
                    <a:gd name="connsiteX121" fmla="*/ 2515350 w 2649039"/>
                    <a:gd name="connsiteY121" fmla="*/ 834653 h 1363951"/>
                    <a:gd name="connsiteX122" fmla="*/ 2490483 w 2649039"/>
                    <a:gd name="connsiteY122" fmla="*/ 840904 h 1363951"/>
                    <a:gd name="connsiteX123" fmla="*/ 2502986 w 2649039"/>
                    <a:gd name="connsiteY123" fmla="*/ 809785 h 1363951"/>
                    <a:gd name="connsiteX124" fmla="*/ 2478119 w 2649039"/>
                    <a:gd name="connsiteY124" fmla="*/ 797282 h 1363951"/>
                    <a:gd name="connsiteX125" fmla="*/ 2453251 w 2649039"/>
                    <a:gd name="connsiteY125" fmla="*/ 784779 h 1363951"/>
                    <a:gd name="connsiteX126" fmla="*/ 2440748 w 2649039"/>
                    <a:gd name="connsiteY126" fmla="*/ 759912 h 1363951"/>
                    <a:gd name="connsiteX127" fmla="*/ 2453251 w 2649039"/>
                    <a:gd name="connsiteY127" fmla="*/ 766163 h 1363951"/>
                    <a:gd name="connsiteX128" fmla="*/ 2465755 w 2649039"/>
                    <a:gd name="connsiteY128" fmla="*/ 759912 h 1363951"/>
                    <a:gd name="connsiteX129" fmla="*/ 2440887 w 2649039"/>
                    <a:gd name="connsiteY129" fmla="*/ 728793 h 1363951"/>
                    <a:gd name="connsiteX130" fmla="*/ 2453390 w 2649039"/>
                    <a:gd name="connsiteY130" fmla="*/ 722541 h 1363951"/>
                    <a:gd name="connsiteX131" fmla="*/ 2440887 w 2649039"/>
                    <a:gd name="connsiteY131" fmla="*/ 710038 h 1363951"/>
                    <a:gd name="connsiteX132" fmla="*/ 2428384 w 2649039"/>
                    <a:gd name="connsiteY132" fmla="*/ 703787 h 1363951"/>
                    <a:gd name="connsiteX133" fmla="*/ 2415881 w 2649039"/>
                    <a:gd name="connsiteY133" fmla="*/ 703787 h 1363951"/>
                    <a:gd name="connsiteX134" fmla="*/ 2428384 w 2649039"/>
                    <a:gd name="connsiteY134" fmla="*/ 685171 h 1363951"/>
                    <a:gd name="connsiteX135" fmla="*/ 2403517 w 2649039"/>
                    <a:gd name="connsiteY135" fmla="*/ 691422 h 1363951"/>
                    <a:gd name="connsiteX136" fmla="*/ 2416020 w 2649039"/>
                    <a:gd name="connsiteY136" fmla="*/ 672807 h 1363951"/>
                    <a:gd name="connsiteX137" fmla="*/ 2409768 w 2649039"/>
                    <a:gd name="connsiteY137" fmla="*/ 654191 h 1363951"/>
                    <a:gd name="connsiteX138" fmla="*/ 2403517 w 2649039"/>
                    <a:gd name="connsiteY138" fmla="*/ 654191 h 1363951"/>
                    <a:gd name="connsiteX139" fmla="*/ 2391014 w 2649039"/>
                    <a:gd name="connsiteY139" fmla="*/ 635575 h 1363951"/>
                    <a:gd name="connsiteX140" fmla="*/ 2378510 w 2649039"/>
                    <a:gd name="connsiteY140" fmla="*/ 610708 h 1363951"/>
                    <a:gd name="connsiteX141" fmla="*/ 2359895 w 2649039"/>
                    <a:gd name="connsiteY141" fmla="*/ 604456 h 1363951"/>
                    <a:gd name="connsiteX142" fmla="*/ 2359895 w 2649039"/>
                    <a:gd name="connsiteY142" fmla="*/ 623072 h 1363951"/>
                    <a:gd name="connsiteX143" fmla="*/ 2353643 w 2649039"/>
                    <a:gd name="connsiteY143" fmla="*/ 647939 h 1363951"/>
                    <a:gd name="connsiteX144" fmla="*/ 2347392 w 2649039"/>
                    <a:gd name="connsiteY144" fmla="*/ 647939 h 1363951"/>
                    <a:gd name="connsiteX145" fmla="*/ 2334889 w 2649039"/>
                    <a:gd name="connsiteY145" fmla="*/ 654191 h 1363951"/>
                    <a:gd name="connsiteX146" fmla="*/ 2347392 w 2649039"/>
                    <a:gd name="connsiteY146" fmla="*/ 660443 h 1363951"/>
                    <a:gd name="connsiteX147" fmla="*/ 2328776 w 2649039"/>
                    <a:gd name="connsiteY147" fmla="*/ 666694 h 1363951"/>
                    <a:gd name="connsiteX148" fmla="*/ 2322525 w 2649039"/>
                    <a:gd name="connsiteY148" fmla="*/ 691561 h 1363951"/>
                    <a:gd name="connsiteX149" fmla="*/ 2303770 w 2649039"/>
                    <a:gd name="connsiteY149" fmla="*/ 679058 h 1363951"/>
                    <a:gd name="connsiteX150" fmla="*/ 2278902 w 2649039"/>
                    <a:gd name="connsiteY150" fmla="*/ 703926 h 1363951"/>
                    <a:gd name="connsiteX151" fmla="*/ 2272651 w 2649039"/>
                    <a:gd name="connsiteY151" fmla="*/ 691422 h 1363951"/>
                    <a:gd name="connsiteX152" fmla="*/ 2266399 w 2649039"/>
                    <a:gd name="connsiteY152" fmla="*/ 697674 h 1363951"/>
                    <a:gd name="connsiteX153" fmla="*/ 2266399 w 2649039"/>
                    <a:gd name="connsiteY153" fmla="*/ 685171 h 1363951"/>
                    <a:gd name="connsiteX154" fmla="*/ 2222777 w 2649039"/>
                    <a:gd name="connsiteY154" fmla="*/ 716290 h 1363951"/>
                    <a:gd name="connsiteX155" fmla="*/ 2247645 w 2649039"/>
                    <a:gd name="connsiteY155" fmla="*/ 703787 h 1363951"/>
                    <a:gd name="connsiteX156" fmla="*/ 2253896 w 2649039"/>
                    <a:gd name="connsiteY156" fmla="*/ 672668 h 1363951"/>
                    <a:gd name="connsiteX157" fmla="*/ 2222777 w 2649039"/>
                    <a:gd name="connsiteY157" fmla="*/ 666416 h 1363951"/>
                    <a:gd name="connsiteX158" fmla="*/ 2216526 w 2649039"/>
                    <a:gd name="connsiteY158" fmla="*/ 672668 h 1363951"/>
                    <a:gd name="connsiteX159" fmla="*/ 2191658 w 2649039"/>
                    <a:gd name="connsiteY159" fmla="*/ 672668 h 1363951"/>
                    <a:gd name="connsiteX160" fmla="*/ 2210413 w 2649039"/>
                    <a:gd name="connsiteY160" fmla="*/ 660165 h 1363951"/>
                    <a:gd name="connsiteX161" fmla="*/ 2216664 w 2649039"/>
                    <a:gd name="connsiteY161" fmla="*/ 666416 h 1363951"/>
                    <a:gd name="connsiteX162" fmla="*/ 2222916 w 2649039"/>
                    <a:gd name="connsiteY162" fmla="*/ 653913 h 1363951"/>
                    <a:gd name="connsiteX163" fmla="*/ 2210413 w 2649039"/>
                    <a:gd name="connsiteY163" fmla="*/ 641410 h 1363951"/>
                    <a:gd name="connsiteX164" fmla="*/ 2204161 w 2649039"/>
                    <a:gd name="connsiteY164" fmla="*/ 616543 h 1363951"/>
                    <a:gd name="connsiteX165" fmla="*/ 2210413 w 2649039"/>
                    <a:gd name="connsiteY165" fmla="*/ 597927 h 1363951"/>
                    <a:gd name="connsiteX166" fmla="*/ 2216664 w 2649039"/>
                    <a:gd name="connsiteY166" fmla="*/ 573060 h 1363951"/>
                    <a:gd name="connsiteX167" fmla="*/ 2198049 w 2649039"/>
                    <a:gd name="connsiteY167" fmla="*/ 573060 h 1363951"/>
                    <a:gd name="connsiteX168" fmla="*/ 2173182 w 2649039"/>
                    <a:gd name="connsiteY168" fmla="*/ 566808 h 1363951"/>
                    <a:gd name="connsiteX169" fmla="*/ 2148314 w 2649039"/>
                    <a:gd name="connsiteY169" fmla="*/ 548192 h 1363951"/>
                    <a:gd name="connsiteX170" fmla="*/ 2129559 w 2649039"/>
                    <a:gd name="connsiteY170" fmla="*/ 529577 h 1363951"/>
                    <a:gd name="connsiteX171" fmla="*/ 2117056 w 2649039"/>
                    <a:gd name="connsiteY171" fmla="*/ 529577 h 1363951"/>
                    <a:gd name="connsiteX172" fmla="*/ 2104553 w 2649039"/>
                    <a:gd name="connsiteY172" fmla="*/ 510961 h 1363951"/>
                    <a:gd name="connsiteX173" fmla="*/ 2079686 w 2649039"/>
                    <a:gd name="connsiteY173" fmla="*/ 504709 h 1363951"/>
                    <a:gd name="connsiteX174" fmla="*/ 2048567 w 2649039"/>
                    <a:gd name="connsiteY174" fmla="*/ 510961 h 1363951"/>
                    <a:gd name="connsiteX175" fmla="*/ 2017448 w 2649039"/>
                    <a:gd name="connsiteY175" fmla="*/ 510961 h 1363951"/>
                    <a:gd name="connsiteX176" fmla="*/ 1980078 w 2649039"/>
                    <a:gd name="connsiteY176" fmla="*/ 498458 h 1363951"/>
                    <a:gd name="connsiteX177" fmla="*/ 1948959 w 2649039"/>
                    <a:gd name="connsiteY177" fmla="*/ 510961 h 1363951"/>
                    <a:gd name="connsiteX178" fmla="*/ 1961462 w 2649039"/>
                    <a:gd name="connsiteY178" fmla="*/ 535828 h 1363951"/>
                    <a:gd name="connsiteX179" fmla="*/ 1955210 w 2649039"/>
                    <a:gd name="connsiteY179" fmla="*/ 566947 h 1363951"/>
                    <a:gd name="connsiteX180" fmla="*/ 1948959 w 2649039"/>
                    <a:gd name="connsiteY180" fmla="*/ 573199 h 1363951"/>
                    <a:gd name="connsiteX181" fmla="*/ 1961462 w 2649039"/>
                    <a:gd name="connsiteY181" fmla="*/ 585702 h 1363951"/>
                    <a:gd name="connsiteX182" fmla="*/ 1967713 w 2649039"/>
                    <a:gd name="connsiteY182" fmla="*/ 616821 h 1363951"/>
                    <a:gd name="connsiteX183" fmla="*/ 1967713 w 2649039"/>
                    <a:gd name="connsiteY183" fmla="*/ 629324 h 1363951"/>
                    <a:gd name="connsiteX184" fmla="*/ 1961462 w 2649039"/>
                    <a:gd name="connsiteY184" fmla="*/ 629324 h 1363951"/>
                    <a:gd name="connsiteX185" fmla="*/ 1955210 w 2649039"/>
                    <a:gd name="connsiteY185" fmla="*/ 647939 h 1363951"/>
                    <a:gd name="connsiteX186" fmla="*/ 1942707 w 2649039"/>
                    <a:gd name="connsiteY186" fmla="*/ 666555 h 1363951"/>
                    <a:gd name="connsiteX187" fmla="*/ 1942707 w 2649039"/>
                    <a:gd name="connsiteY187" fmla="*/ 685171 h 1363951"/>
                    <a:gd name="connsiteX188" fmla="*/ 1992581 w 2649039"/>
                    <a:gd name="connsiteY188" fmla="*/ 722541 h 1363951"/>
                    <a:gd name="connsiteX189" fmla="*/ 1998832 w 2649039"/>
                    <a:gd name="connsiteY189" fmla="*/ 791031 h 1363951"/>
                    <a:gd name="connsiteX190" fmla="*/ 1930343 w 2649039"/>
                    <a:gd name="connsiteY190" fmla="*/ 840765 h 1363951"/>
                    <a:gd name="connsiteX191" fmla="*/ 1911727 w 2649039"/>
                    <a:gd name="connsiteY191" fmla="*/ 853268 h 1363951"/>
                    <a:gd name="connsiteX192" fmla="*/ 1917979 w 2649039"/>
                    <a:gd name="connsiteY192" fmla="*/ 890639 h 1363951"/>
                    <a:gd name="connsiteX193" fmla="*/ 1924230 w 2649039"/>
                    <a:gd name="connsiteY193" fmla="*/ 909255 h 1363951"/>
                    <a:gd name="connsiteX194" fmla="*/ 1930482 w 2649039"/>
                    <a:gd name="connsiteY194" fmla="*/ 940374 h 1363951"/>
                    <a:gd name="connsiteX195" fmla="*/ 1924230 w 2649039"/>
                    <a:gd name="connsiteY195" fmla="*/ 971492 h 1363951"/>
                    <a:gd name="connsiteX196" fmla="*/ 1924230 w 2649039"/>
                    <a:gd name="connsiteY196" fmla="*/ 1002611 h 1363951"/>
                    <a:gd name="connsiteX197" fmla="*/ 1905615 w 2649039"/>
                    <a:gd name="connsiteY197" fmla="*/ 990108 h 1363951"/>
                    <a:gd name="connsiteX198" fmla="*/ 1911866 w 2649039"/>
                    <a:gd name="connsiteY198" fmla="*/ 1021227 h 1363951"/>
                    <a:gd name="connsiteX199" fmla="*/ 1855741 w 2649039"/>
                    <a:gd name="connsiteY199" fmla="*/ 1002611 h 1363951"/>
                    <a:gd name="connsiteX200" fmla="*/ 1868244 w 2649039"/>
                    <a:gd name="connsiteY200" fmla="*/ 977744 h 1363951"/>
                    <a:gd name="connsiteX201" fmla="*/ 1849628 w 2649039"/>
                    <a:gd name="connsiteY201" fmla="*/ 965241 h 1363951"/>
                    <a:gd name="connsiteX202" fmla="*/ 1830874 w 2649039"/>
                    <a:gd name="connsiteY202" fmla="*/ 958989 h 1363951"/>
                    <a:gd name="connsiteX203" fmla="*/ 1830874 w 2649039"/>
                    <a:gd name="connsiteY203" fmla="*/ 940374 h 1363951"/>
                    <a:gd name="connsiteX204" fmla="*/ 1824622 w 2649039"/>
                    <a:gd name="connsiteY204" fmla="*/ 909255 h 1363951"/>
                    <a:gd name="connsiteX205" fmla="*/ 1812119 w 2649039"/>
                    <a:gd name="connsiteY205" fmla="*/ 871884 h 1363951"/>
                    <a:gd name="connsiteX206" fmla="*/ 1818371 w 2649039"/>
                    <a:gd name="connsiteY206" fmla="*/ 840765 h 1363951"/>
                    <a:gd name="connsiteX207" fmla="*/ 1762246 w 2649039"/>
                    <a:gd name="connsiteY207" fmla="*/ 828262 h 1363951"/>
                    <a:gd name="connsiteX208" fmla="*/ 1737378 w 2649039"/>
                    <a:gd name="connsiteY208" fmla="*/ 828262 h 1363951"/>
                    <a:gd name="connsiteX209" fmla="*/ 1724875 w 2649039"/>
                    <a:gd name="connsiteY209" fmla="*/ 840765 h 1363951"/>
                    <a:gd name="connsiteX210" fmla="*/ 1724875 w 2649039"/>
                    <a:gd name="connsiteY210" fmla="*/ 828262 h 1363951"/>
                    <a:gd name="connsiteX211" fmla="*/ 1712372 w 2649039"/>
                    <a:gd name="connsiteY211" fmla="*/ 815759 h 1363951"/>
                    <a:gd name="connsiteX212" fmla="*/ 1675002 w 2649039"/>
                    <a:gd name="connsiteY212" fmla="*/ 803256 h 1363951"/>
                    <a:gd name="connsiteX213" fmla="*/ 1625128 w 2649039"/>
                    <a:gd name="connsiteY213" fmla="*/ 765885 h 1363951"/>
                    <a:gd name="connsiteX214" fmla="*/ 1594009 w 2649039"/>
                    <a:gd name="connsiteY214" fmla="*/ 753382 h 1363951"/>
                    <a:gd name="connsiteX215" fmla="*/ 1556639 w 2649039"/>
                    <a:gd name="connsiteY215" fmla="*/ 740879 h 1363951"/>
                    <a:gd name="connsiteX216" fmla="*/ 1494401 w 2649039"/>
                    <a:gd name="connsiteY216" fmla="*/ 753382 h 1363951"/>
                    <a:gd name="connsiteX217" fmla="*/ 1506904 w 2649039"/>
                    <a:gd name="connsiteY217" fmla="*/ 740879 h 1363951"/>
                    <a:gd name="connsiteX218" fmla="*/ 1500652 w 2649039"/>
                    <a:gd name="connsiteY218" fmla="*/ 728376 h 1363951"/>
                    <a:gd name="connsiteX219" fmla="*/ 1482037 w 2649039"/>
                    <a:gd name="connsiteY219" fmla="*/ 684754 h 1363951"/>
                    <a:gd name="connsiteX220" fmla="*/ 1457169 w 2649039"/>
                    <a:gd name="connsiteY220" fmla="*/ 672251 h 1363951"/>
                    <a:gd name="connsiteX221" fmla="*/ 1432302 w 2649039"/>
                    <a:gd name="connsiteY221" fmla="*/ 653635 h 1363951"/>
                    <a:gd name="connsiteX222" fmla="*/ 1432302 w 2649039"/>
                    <a:gd name="connsiteY222" fmla="*/ 610013 h 1363951"/>
                    <a:gd name="connsiteX223" fmla="*/ 1457169 w 2649039"/>
                    <a:gd name="connsiteY223" fmla="*/ 560279 h 1363951"/>
                    <a:gd name="connsiteX224" fmla="*/ 1475785 w 2649039"/>
                    <a:gd name="connsiteY224" fmla="*/ 535411 h 1363951"/>
                    <a:gd name="connsiteX225" fmla="*/ 1475785 w 2649039"/>
                    <a:gd name="connsiteY225" fmla="*/ 522908 h 1363951"/>
                    <a:gd name="connsiteX226" fmla="*/ 1494401 w 2649039"/>
                    <a:gd name="connsiteY226" fmla="*/ 510405 h 1363951"/>
                    <a:gd name="connsiteX227" fmla="*/ 1488149 w 2649039"/>
                    <a:gd name="connsiteY227" fmla="*/ 504154 h 1363951"/>
                    <a:gd name="connsiteX228" fmla="*/ 1494401 w 2649039"/>
                    <a:gd name="connsiteY228" fmla="*/ 504154 h 1363951"/>
                    <a:gd name="connsiteX229" fmla="*/ 1513017 w 2649039"/>
                    <a:gd name="connsiteY229" fmla="*/ 497902 h 1363951"/>
                    <a:gd name="connsiteX230" fmla="*/ 1519268 w 2649039"/>
                    <a:gd name="connsiteY230" fmla="*/ 491650 h 1363951"/>
                    <a:gd name="connsiteX231" fmla="*/ 1506765 w 2649039"/>
                    <a:gd name="connsiteY231" fmla="*/ 479147 h 1363951"/>
                    <a:gd name="connsiteX232" fmla="*/ 1519268 w 2649039"/>
                    <a:gd name="connsiteY232" fmla="*/ 479147 h 1363951"/>
                    <a:gd name="connsiteX233" fmla="*/ 1531771 w 2649039"/>
                    <a:gd name="connsiteY233" fmla="*/ 479147 h 1363951"/>
                    <a:gd name="connsiteX234" fmla="*/ 1556639 w 2649039"/>
                    <a:gd name="connsiteY234" fmla="*/ 472896 h 1363951"/>
                    <a:gd name="connsiteX235" fmla="*/ 1531771 w 2649039"/>
                    <a:gd name="connsiteY235" fmla="*/ 441777 h 1363951"/>
                    <a:gd name="connsiteX236" fmla="*/ 1500652 w 2649039"/>
                    <a:gd name="connsiteY236" fmla="*/ 448028 h 1363951"/>
                    <a:gd name="connsiteX237" fmla="*/ 1494401 w 2649039"/>
                    <a:gd name="connsiteY237" fmla="*/ 429413 h 1363951"/>
                    <a:gd name="connsiteX238" fmla="*/ 1457030 w 2649039"/>
                    <a:gd name="connsiteY238" fmla="*/ 423161 h 1363951"/>
                    <a:gd name="connsiteX239" fmla="*/ 1469534 w 2649039"/>
                    <a:gd name="connsiteY239" fmla="*/ 416910 h 1363951"/>
                    <a:gd name="connsiteX240" fmla="*/ 1482037 w 2649039"/>
                    <a:gd name="connsiteY240" fmla="*/ 416910 h 1363951"/>
                    <a:gd name="connsiteX241" fmla="*/ 1494540 w 2649039"/>
                    <a:gd name="connsiteY241" fmla="*/ 423161 h 1363951"/>
                    <a:gd name="connsiteX242" fmla="*/ 1531910 w 2649039"/>
                    <a:gd name="connsiteY242" fmla="*/ 435664 h 1363951"/>
                    <a:gd name="connsiteX243" fmla="*/ 1550665 w 2649039"/>
                    <a:gd name="connsiteY243" fmla="*/ 441916 h 1363951"/>
                    <a:gd name="connsiteX244" fmla="*/ 1563168 w 2649039"/>
                    <a:gd name="connsiteY244" fmla="*/ 441916 h 1363951"/>
                    <a:gd name="connsiteX245" fmla="*/ 1581923 w 2649039"/>
                    <a:gd name="connsiteY245" fmla="*/ 435664 h 1363951"/>
                    <a:gd name="connsiteX246" fmla="*/ 1588174 w 2649039"/>
                    <a:gd name="connsiteY246" fmla="*/ 410797 h 1363951"/>
                    <a:gd name="connsiteX247" fmla="*/ 1606790 w 2649039"/>
                    <a:gd name="connsiteY247" fmla="*/ 423300 h 1363951"/>
                    <a:gd name="connsiteX248" fmla="*/ 1637909 w 2649039"/>
                    <a:gd name="connsiteY248" fmla="*/ 417048 h 1363951"/>
                    <a:gd name="connsiteX249" fmla="*/ 1656525 w 2649039"/>
                    <a:gd name="connsiteY249" fmla="*/ 392181 h 1363951"/>
                    <a:gd name="connsiteX250" fmla="*/ 1669028 w 2649039"/>
                    <a:gd name="connsiteY250" fmla="*/ 367314 h 1363951"/>
                    <a:gd name="connsiteX251" fmla="*/ 1637909 w 2649039"/>
                    <a:gd name="connsiteY251" fmla="*/ 361062 h 1363951"/>
                    <a:gd name="connsiteX252" fmla="*/ 1594287 w 2649039"/>
                    <a:gd name="connsiteY252" fmla="*/ 348559 h 1363951"/>
                    <a:gd name="connsiteX253" fmla="*/ 1569420 w 2649039"/>
                    <a:gd name="connsiteY253" fmla="*/ 329943 h 1363951"/>
                    <a:gd name="connsiteX254" fmla="*/ 1538301 w 2649039"/>
                    <a:gd name="connsiteY254" fmla="*/ 329943 h 1363951"/>
                    <a:gd name="connsiteX255" fmla="*/ 1575671 w 2649039"/>
                    <a:gd name="connsiteY255" fmla="*/ 329943 h 1363951"/>
                    <a:gd name="connsiteX256" fmla="*/ 1600539 w 2649039"/>
                    <a:gd name="connsiteY256" fmla="*/ 329943 h 1363951"/>
                    <a:gd name="connsiteX257" fmla="*/ 1675279 w 2649039"/>
                    <a:gd name="connsiteY257" fmla="*/ 348559 h 1363951"/>
                    <a:gd name="connsiteX258" fmla="*/ 1700147 w 2649039"/>
                    <a:gd name="connsiteY258" fmla="*/ 317440 h 1363951"/>
                    <a:gd name="connsiteX259" fmla="*/ 1687644 w 2649039"/>
                    <a:gd name="connsiteY259" fmla="*/ 292573 h 1363951"/>
                    <a:gd name="connsiteX260" fmla="*/ 1718762 w 2649039"/>
                    <a:gd name="connsiteY260" fmla="*/ 298825 h 1363951"/>
                    <a:gd name="connsiteX261" fmla="*/ 1756133 w 2649039"/>
                    <a:gd name="connsiteY261" fmla="*/ 298825 h 1363951"/>
                    <a:gd name="connsiteX262" fmla="*/ 1768636 w 2649039"/>
                    <a:gd name="connsiteY262" fmla="*/ 292573 h 1363951"/>
                    <a:gd name="connsiteX263" fmla="*/ 1731266 w 2649039"/>
                    <a:gd name="connsiteY263" fmla="*/ 273957 h 1363951"/>
                    <a:gd name="connsiteX264" fmla="*/ 1768636 w 2649039"/>
                    <a:gd name="connsiteY264" fmla="*/ 280209 h 1363951"/>
                    <a:gd name="connsiteX265" fmla="*/ 1799755 w 2649039"/>
                    <a:gd name="connsiteY265" fmla="*/ 305076 h 1363951"/>
                    <a:gd name="connsiteX266" fmla="*/ 1793503 w 2649039"/>
                    <a:gd name="connsiteY266" fmla="*/ 298825 h 1363951"/>
                    <a:gd name="connsiteX267" fmla="*/ 1818371 w 2649039"/>
                    <a:gd name="connsiteY267" fmla="*/ 286321 h 1363951"/>
                    <a:gd name="connsiteX268" fmla="*/ 1849490 w 2649039"/>
                    <a:gd name="connsiteY268" fmla="*/ 255202 h 1363951"/>
                    <a:gd name="connsiteX269" fmla="*/ 1824622 w 2649039"/>
                    <a:gd name="connsiteY269" fmla="*/ 224084 h 1363951"/>
                    <a:gd name="connsiteX270" fmla="*/ 1806007 w 2649039"/>
                    <a:gd name="connsiteY270" fmla="*/ 192965 h 1363951"/>
                    <a:gd name="connsiteX271" fmla="*/ 1843377 w 2649039"/>
                    <a:gd name="connsiteY271" fmla="*/ 186713 h 1363951"/>
                    <a:gd name="connsiteX272" fmla="*/ 1830874 w 2649039"/>
                    <a:gd name="connsiteY272" fmla="*/ 168097 h 1363951"/>
                    <a:gd name="connsiteX273" fmla="*/ 1849628 w 2649039"/>
                    <a:gd name="connsiteY273" fmla="*/ 155594 h 1363951"/>
                    <a:gd name="connsiteX274" fmla="*/ 1787391 w 2649039"/>
                    <a:gd name="connsiteY274" fmla="*/ 130727 h 1363951"/>
                    <a:gd name="connsiteX275" fmla="*/ 1812258 w 2649039"/>
                    <a:gd name="connsiteY275" fmla="*/ 124475 h 1363951"/>
                    <a:gd name="connsiteX276" fmla="*/ 1756272 w 2649039"/>
                    <a:gd name="connsiteY276" fmla="*/ 118224 h 1363951"/>
                    <a:gd name="connsiteX277" fmla="*/ 1718901 w 2649039"/>
                    <a:gd name="connsiteY277" fmla="*/ 118224 h 1363951"/>
                    <a:gd name="connsiteX278" fmla="*/ 1718901 w 2649039"/>
                    <a:gd name="connsiteY278" fmla="*/ 143091 h 1363951"/>
                    <a:gd name="connsiteX279" fmla="*/ 1743769 w 2649039"/>
                    <a:gd name="connsiteY279" fmla="*/ 161707 h 1363951"/>
                    <a:gd name="connsiteX280" fmla="*/ 1731266 w 2649039"/>
                    <a:gd name="connsiteY280" fmla="*/ 167959 h 1363951"/>
                    <a:gd name="connsiteX281" fmla="*/ 1737517 w 2649039"/>
                    <a:gd name="connsiteY281" fmla="*/ 174210 h 1363951"/>
                    <a:gd name="connsiteX282" fmla="*/ 1712650 w 2649039"/>
                    <a:gd name="connsiteY282" fmla="*/ 192826 h 1363951"/>
                    <a:gd name="connsiteX283" fmla="*/ 1700147 w 2649039"/>
                    <a:gd name="connsiteY283" fmla="*/ 230196 h 1363951"/>
                    <a:gd name="connsiteX284" fmla="*/ 1687644 w 2649039"/>
                    <a:gd name="connsiteY284" fmla="*/ 242699 h 1363951"/>
                    <a:gd name="connsiteX285" fmla="*/ 1681392 w 2649039"/>
                    <a:gd name="connsiteY285" fmla="*/ 255202 h 1363951"/>
                    <a:gd name="connsiteX286" fmla="*/ 1656525 w 2649039"/>
                    <a:gd name="connsiteY286" fmla="*/ 248951 h 1363951"/>
                    <a:gd name="connsiteX287" fmla="*/ 1631657 w 2649039"/>
                    <a:gd name="connsiteY287" fmla="*/ 217832 h 1363951"/>
                    <a:gd name="connsiteX288" fmla="*/ 1637909 w 2649039"/>
                    <a:gd name="connsiteY288" fmla="*/ 199216 h 1363951"/>
                    <a:gd name="connsiteX289" fmla="*/ 1650412 w 2649039"/>
                    <a:gd name="connsiteY289" fmla="*/ 192965 h 1363951"/>
                    <a:gd name="connsiteX290" fmla="*/ 1631796 w 2649039"/>
                    <a:gd name="connsiteY290" fmla="*/ 161846 h 1363951"/>
                    <a:gd name="connsiteX291" fmla="*/ 1594426 w 2649039"/>
                    <a:gd name="connsiteY291" fmla="*/ 155594 h 1363951"/>
                    <a:gd name="connsiteX292" fmla="*/ 1588174 w 2649039"/>
                    <a:gd name="connsiteY292" fmla="*/ 186713 h 1363951"/>
                    <a:gd name="connsiteX293" fmla="*/ 1563307 w 2649039"/>
                    <a:gd name="connsiteY293" fmla="*/ 186713 h 1363951"/>
                    <a:gd name="connsiteX294" fmla="*/ 1557055 w 2649039"/>
                    <a:gd name="connsiteY294" fmla="*/ 155594 h 1363951"/>
                    <a:gd name="connsiteX295" fmla="*/ 1563307 w 2649039"/>
                    <a:gd name="connsiteY295" fmla="*/ 149343 h 1363951"/>
                    <a:gd name="connsiteX296" fmla="*/ 1569559 w 2649039"/>
                    <a:gd name="connsiteY296" fmla="*/ 143091 h 1363951"/>
                    <a:gd name="connsiteX297" fmla="*/ 1557055 w 2649039"/>
                    <a:gd name="connsiteY297" fmla="*/ 136840 h 1363951"/>
                    <a:gd name="connsiteX298" fmla="*/ 1544552 w 2649039"/>
                    <a:gd name="connsiteY298" fmla="*/ 130588 h 1363951"/>
                    <a:gd name="connsiteX299" fmla="*/ 1525937 w 2649039"/>
                    <a:gd name="connsiteY299" fmla="*/ 130588 h 1363951"/>
                    <a:gd name="connsiteX300" fmla="*/ 1513433 w 2649039"/>
                    <a:gd name="connsiteY300" fmla="*/ 111972 h 1363951"/>
                    <a:gd name="connsiteX301" fmla="*/ 1519685 w 2649039"/>
                    <a:gd name="connsiteY301" fmla="*/ 111972 h 1363951"/>
                    <a:gd name="connsiteX302" fmla="*/ 1519685 w 2649039"/>
                    <a:gd name="connsiteY302" fmla="*/ 99469 h 1363951"/>
                    <a:gd name="connsiteX303" fmla="*/ 1532188 w 2649039"/>
                    <a:gd name="connsiteY303" fmla="*/ 99469 h 1363951"/>
                    <a:gd name="connsiteX304" fmla="*/ 1519685 w 2649039"/>
                    <a:gd name="connsiteY304" fmla="*/ 80853 h 1363951"/>
                    <a:gd name="connsiteX305" fmla="*/ 1500930 w 2649039"/>
                    <a:gd name="connsiteY305" fmla="*/ 62238 h 1363951"/>
                    <a:gd name="connsiteX306" fmla="*/ 1488427 w 2649039"/>
                    <a:gd name="connsiteY306" fmla="*/ 43622 h 1363951"/>
                    <a:gd name="connsiteX307" fmla="*/ 1475924 w 2649039"/>
                    <a:gd name="connsiteY307" fmla="*/ 18755 h 1363951"/>
                    <a:gd name="connsiteX308" fmla="*/ 1444805 w 2649039"/>
                    <a:gd name="connsiteY308" fmla="*/ 6252 h 1363951"/>
                    <a:gd name="connsiteX309" fmla="*/ 1432302 w 2649039"/>
                    <a:gd name="connsiteY309" fmla="*/ 0 h 1363951"/>
                    <a:gd name="connsiteX310" fmla="*/ 1419799 w 2649039"/>
                    <a:gd name="connsiteY310" fmla="*/ 12503 h 1363951"/>
                    <a:gd name="connsiteX311" fmla="*/ 1401183 w 2649039"/>
                    <a:gd name="connsiteY311" fmla="*/ 18755 h 1363951"/>
                    <a:gd name="connsiteX312" fmla="*/ 1419799 w 2649039"/>
                    <a:gd name="connsiteY312" fmla="*/ 25006 h 1363951"/>
                    <a:gd name="connsiteX313" fmla="*/ 1407296 w 2649039"/>
                    <a:gd name="connsiteY313" fmla="*/ 31258 h 1363951"/>
                    <a:gd name="connsiteX314" fmla="*/ 1388680 w 2649039"/>
                    <a:gd name="connsiteY314" fmla="*/ 37509 h 1363951"/>
                    <a:gd name="connsiteX315" fmla="*/ 1376177 w 2649039"/>
                    <a:gd name="connsiteY315" fmla="*/ 62377 h 1363951"/>
                    <a:gd name="connsiteX316" fmla="*/ 1401044 w 2649039"/>
                    <a:gd name="connsiteY316" fmla="*/ 68628 h 1363951"/>
                    <a:gd name="connsiteX317" fmla="*/ 1382429 w 2649039"/>
                    <a:gd name="connsiteY317" fmla="*/ 93496 h 1363951"/>
                    <a:gd name="connsiteX318" fmla="*/ 1401044 w 2649039"/>
                    <a:gd name="connsiteY318" fmla="*/ 118363 h 1363951"/>
                    <a:gd name="connsiteX319" fmla="*/ 1425912 w 2649039"/>
                    <a:gd name="connsiteY319" fmla="*/ 130866 h 1363951"/>
                    <a:gd name="connsiteX320" fmla="*/ 1444527 w 2649039"/>
                    <a:gd name="connsiteY320" fmla="*/ 130866 h 1363951"/>
                    <a:gd name="connsiteX321" fmla="*/ 1463143 w 2649039"/>
                    <a:gd name="connsiteY321" fmla="*/ 143369 h 1363951"/>
                    <a:gd name="connsiteX322" fmla="*/ 1450640 w 2649039"/>
                    <a:gd name="connsiteY322" fmla="*/ 149621 h 1363951"/>
                    <a:gd name="connsiteX323" fmla="*/ 1444388 w 2649039"/>
                    <a:gd name="connsiteY323" fmla="*/ 168236 h 1363951"/>
                    <a:gd name="connsiteX324" fmla="*/ 1456892 w 2649039"/>
                    <a:gd name="connsiteY324" fmla="*/ 174488 h 1363951"/>
                    <a:gd name="connsiteX325" fmla="*/ 1469395 w 2649039"/>
                    <a:gd name="connsiteY325" fmla="*/ 161985 h 1363951"/>
                    <a:gd name="connsiteX326" fmla="*/ 1469395 w 2649039"/>
                    <a:gd name="connsiteY326" fmla="*/ 186852 h 1363951"/>
                    <a:gd name="connsiteX327" fmla="*/ 1450779 w 2649039"/>
                    <a:gd name="connsiteY327" fmla="*/ 193104 h 1363951"/>
                    <a:gd name="connsiteX328" fmla="*/ 1444527 w 2649039"/>
                    <a:gd name="connsiteY328" fmla="*/ 211719 h 1363951"/>
                    <a:gd name="connsiteX329" fmla="*/ 1419660 w 2649039"/>
                    <a:gd name="connsiteY329" fmla="*/ 217971 h 1363951"/>
                    <a:gd name="connsiteX330" fmla="*/ 1407157 w 2649039"/>
                    <a:gd name="connsiteY330" fmla="*/ 230474 h 1363951"/>
                    <a:gd name="connsiteX331" fmla="*/ 1419660 w 2649039"/>
                    <a:gd name="connsiteY331" fmla="*/ 255341 h 1363951"/>
                    <a:gd name="connsiteX332" fmla="*/ 1407157 w 2649039"/>
                    <a:gd name="connsiteY332" fmla="*/ 249090 h 1363951"/>
                    <a:gd name="connsiteX333" fmla="*/ 1400905 w 2649039"/>
                    <a:gd name="connsiteY333" fmla="*/ 255341 h 1363951"/>
                    <a:gd name="connsiteX334" fmla="*/ 1382290 w 2649039"/>
                    <a:gd name="connsiteY334" fmla="*/ 242838 h 1363951"/>
                    <a:gd name="connsiteX335" fmla="*/ 1394793 w 2649039"/>
                    <a:gd name="connsiteY335" fmla="*/ 211719 h 1363951"/>
                    <a:gd name="connsiteX336" fmla="*/ 1382290 w 2649039"/>
                    <a:gd name="connsiteY336" fmla="*/ 211719 h 1363951"/>
                    <a:gd name="connsiteX337" fmla="*/ 1351171 w 2649039"/>
                    <a:gd name="connsiteY337" fmla="*/ 193104 h 1363951"/>
                    <a:gd name="connsiteX338" fmla="*/ 1332555 w 2649039"/>
                    <a:gd name="connsiteY338" fmla="*/ 199355 h 1363951"/>
                    <a:gd name="connsiteX339" fmla="*/ 1320052 w 2649039"/>
                    <a:gd name="connsiteY339" fmla="*/ 205607 h 1363951"/>
                    <a:gd name="connsiteX340" fmla="*/ 1338668 w 2649039"/>
                    <a:gd name="connsiteY340" fmla="*/ 218110 h 1363951"/>
                    <a:gd name="connsiteX341" fmla="*/ 1357283 w 2649039"/>
                    <a:gd name="connsiteY341" fmla="*/ 230613 h 1363951"/>
                    <a:gd name="connsiteX342" fmla="*/ 1326165 w 2649039"/>
                    <a:gd name="connsiteY342" fmla="*/ 218110 h 1363951"/>
                    <a:gd name="connsiteX343" fmla="*/ 1301297 w 2649039"/>
                    <a:gd name="connsiteY343" fmla="*/ 230613 h 1363951"/>
                    <a:gd name="connsiteX344" fmla="*/ 1270178 w 2649039"/>
                    <a:gd name="connsiteY344" fmla="*/ 224362 h 1363951"/>
                    <a:gd name="connsiteX345" fmla="*/ 1201689 w 2649039"/>
                    <a:gd name="connsiteY345" fmla="*/ 230613 h 1363951"/>
                    <a:gd name="connsiteX346" fmla="*/ 1133200 w 2649039"/>
                    <a:gd name="connsiteY346" fmla="*/ 205746 h 1363951"/>
                    <a:gd name="connsiteX347" fmla="*/ 1108332 w 2649039"/>
                    <a:gd name="connsiteY347" fmla="*/ 199494 h 1363951"/>
                    <a:gd name="connsiteX348" fmla="*/ 1095829 w 2649039"/>
                    <a:gd name="connsiteY348" fmla="*/ 174627 h 1363951"/>
                    <a:gd name="connsiteX349" fmla="*/ 1064710 w 2649039"/>
                    <a:gd name="connsiteY349" fmla="*/ 174627 h 1363951"/>
                    <a:gd name="connsiteX350" fmla="*/ 1021088 w 2649039"/>
                    <a:gd name="connsiteY350" fmla="*/ 180878 h 1363951"/>
                    <a:gd name="connsiteX351" fmla="*/ 1002473 w 2649039"/>
                    <a:gd name="connsiteY351" fmla="*/ 199494 h 1363951"/>
                    <a:gd name="connsiteX352" fmla="*/ 1033591 w 2649039"/>
                    <a:gd name="connsiteY352" fmla="*/ 211997 h 1363951"/>
                    <a:gd name="connsiteX353" fmla="*/ 1039843 w 2649039"/>
                    <a:gd name="connsiteY353" fmla="*/ 199494 h 1363951"/>
                    <a:gd name="connsiteX354" fmla="*/ 1052346 w 2649039"/>
                    <a:gd name="connsiteY354" fmla="*/ 199494 h 1363951"/>
                    <a:gd name="connsiteX355" fmla="*/ 1095968 w 2649039"/>
                    <a:gd name="connsiteY355" fmla="*/ 186991 h 1363951"/>
                    <a:gd name="connsiteX356" fmla="*/ 1071101 w 2649039"/>
                    <a:gd name="connsiteY356" fmla="*/ 205607 h 1363951"/>
                    <a:gd name="connsiteX357" fmla="*/ 1039982 w 2649039"/>
                    <a:gd name="connsiteY357" fmla="*/ 211858 h 1363951"/>
                    <a:gd name="connsiteX358" fmla="*/ 1027479 w 2649039"/>
                    <a:gd name="connsiteY358" fmla="*/ 236726 h 1363951"/>
                    <a:gd name="connsiteX359" fmla="*/ 1033730 w 2649039"/>
                    <a:gd name="connsiteY359" fmla="*/ 255341 h 1363951"/>
                    <a:gd name="connsiteX360" fmla="*/ 1046233 w 2649039"/>
                    <a:gd name="connsiteY360" fmla="*/ 267845 h 1363951"/>
                    <a:gd name="connsiteX361" fmla="*/ 1039982 w 2649039"/>
                    <a:gd name="connsiteY361" fmla="*/ 274096 h 1363951"/>
                    <a:gd name="connsiteX362" fmla="*/ 1033730 w 2649039"/>
                    <a:gd name="connsiteY362" fmla="*/ 280348 h 1363951"/>
                    <a:gd name="connsiteX363" fmla="*/ 1008863 w 2649039"/>
                    <a:gd name="connsiteY363" fmla="*/ 267845 h 1363951"/>
                    <a:gd name="connsiteX364" fmla="*/ 1021366 w 2649039"/>
                    <a:gd name="connsiteY364" fmla="*/ 255341 h 1363951"/>
                    <a:gd name="connsiteX365" fmla="*/ 1021366 w 2649039"/>
                    <a:gd name="connsiteY365" fmla="*/ 242838 h 1363951"/>
                    <a:gd name="connsiteX366" fmla="*/ 1008863 w 2649039"/>
                    <a:gd name="connsiteY366" fmla="*/ 249090 h 1363951"/>
                    <a:gd name="connsiteX367" fmla="*/ 1015115 w 2649039"/>
                    <a:gd name="connsiteY367" fmla="*/ 242838 h 1363951"/>
                    <a:gd name="connsiteX368" fmla="*/ 996360 w 2649039"/>
                    <a:gd name="connsiteY368" fmla="*/ 249090 h 1363951"/>
                    <a:gd name="connsiteX369" fmla="*/ 990108 w 2649039"/>
                    <a:gd name="connsiteY369" fmla="*/ 230474 h 1363951"/>
                    <a:gd name="connsiteX370" fmla="*/ 977605 w 2649039"/>
                    <a:gd name="connsiteY370" fmla="*/ 230474 h 1363951"/>
                    <a:gd name="connsiteX371" fmla="*/ 952738 w 2649039"/>
                    <a:gd name="connsiteY371" fmla="*/ 217971 h 1363951"/>
                    <a:gd name="connsiteX372" fmla="*/ 915367 w 2649039"/>
                    <a:gd name="connsiteY372" fmla="*/ 230474 h 1363951"/>
                    <a:gd name="connsiteX373" fmla="*/ 846878 w 2649039"/>
                    <a:gd name="connsiteY373" fmla="*/ 230474 h 1363951"/>
                    <a:gd name="connsiteX374" fmla="*/ 797005 w 2649039"/>
                    <a:gd name="connsiteY374" fmla="*/ 224223 h 1363951"/>
                    <a:gd name="connsiteX375" fmla="*/ 815620 w 2649039"/>
                    <a:gd name="connsiteY375" fmla="*/ 205607 h 1363951"/>
                    <a:gd name="connsiteX376" fmla="*/ 840488 w 2649039"/>
                    <a:gd name="connsiteY376" fmla="*/ 205607 h 1363951"/>
                    <a:gd name="connsiteX377" fmla="*/ 827985 w 2649039"/>
                    <a:gd name="connsiteY377" fmla="*/ 186991 h 1363951"/>
                    <a:gd name="connsiteX378" fmla="*/ 796866 w 2649039"/>
                    <a:gd name="connsiteY378" fmla="*/ 168375 h 1363951"/>
                    <a:gd name="connsiteX379" fmla="*/ 778111 w 2649039"/>
                    <a:gd name="connsiteY379" fmla="*/ 168375 h 1363951"/>
                    <a:gd name="connsiteX380" fmla="*/ 759495 w 2649039"/>
                    <a:gd name="connsiteY380" fmla="*/ 174627 h 1363951"/>
                    <a:gd name="connsiteX381" fmla="*/ 703509 w 2649039"/>
                    <a:gd name="connsiteY381" fmla="*/ 156011 h 1363951"/>
                    <a:gd name="connsiteX382" fmla="*/ 635020 w 2649039"/>
                    <a:gd name="connsiteY382" fmla="*/ 137395 h 1363951"/>
                    <a:gd name="connsiteX383" fmla="*/ 579033 w 2649039"/>
                    <a:gd name="connsiteY383" fmla="*/ 118780 h 1363951"/>
                    <a:gd name="connsiteX384" fmla="*/ 560418 w 2649039"/>
                    <a:gd name="connsiteY384" fmla="*/ 125031 h 1363951"/>
                    <a:gd name="connsiteX385" fmla="*/ 541663 w 2649039"/>
                    <a:gd name="connsiteY385" fmla="*/ 143647 h 1363951"/>
                    <a:gd name="connsiteX386" fmla="*/ 516796 w 2649039"/>
                    <a:gd name="connsiteY386" fmla="*/ 143647 h 1363951"/>
                    <a:gd name="connsiteX387" fmla="*/ 529299 w 2649039"/>
                    <a:gd name="connsiteY387" fmla="*/ 125031 h 1363951"/>
                    <a:gd name="connsiteX388" fmla="*/ 510544 w 2649039"/>
                    <a:gd name="connsiteY388" fmla="*/ 125031 h 1363951"/>
                    <a:gd name="connsiteX389" fmla="*/ 510544 w 2649039"/>
                    <a:gd name="connsiteY389" fmla="*/ 106415 h 1363951"/>
                    <a:gd name="connsiteX390" fmla="*/ 485677 w 2649039"/>
                    <a:gd name="connsiteY390" fmla="*/ 112667 h 1363951"/>
                    <a:gd name="connsiteX391" fmla="*/ 498180 w 2649039"/>
                    <a:gd name="connsiteY391" fmla="*/ 112667 h 1363951"/>
                    <a:gd name="connsiteX392" fmla="*/ 498180 w 2649039"/>
                    <a:gd name="connsiteY392" fmla="*/ 125170 h 1363951"/>
                    <a:gd name="connsiteX393" fmla="*/ 485677 w 2649039"/>
                    <a:gd name="connsiteY393" fmla="*/ 137673 h 1363951"/>
                    <a:gd name="connsiteX394" fmla="*/ 473174 w 2649039"/>
                    <a:gd name="connsiteY394" fmla="*/ 143925 h 1363951"/>
                    <a:gd name="connsiteX395" fmla="*/ 442055 w 2649039"/>
                    <a:gd name="connsiteY395" fmla="*/ 112806 h 1363951"/>
                    <a:gd name="connsiteX396" fmla="*/ 410936 w 2649039"/>
                    <a:gd name="connsiteY396" fmla="*/ 81687 h 1363951"/>
                    <a:gd name="connsiteX397" fmla="*/ 392320 w 2649039"/>
                    <a:gd name="connsiteY397" fmla="*/ 75435 h 1363951"/>
                    <a:gd name="connsiteX398" fmla="*/ 417187 w 2649039"/>
                    <a:gd name="connsiteY398" fmla="*/ 100303 h 1363951"/>
                    <a:gd name="connsiteX399" fmla="*/ 392320 w 2649039"/>
                    <a:gd name="connsiteY399" fmla="*/ 106554 h 1363951"/>
                    <a:gd name="connsiteX400" fmla="*/ 386069 w 2649039"/>
                    <a:gd name="connsiteY400" fmla="*/ 119057 h 1363951"/>
                    <a:gd name="connsiteX401" fmla="*/ 367314 w 2649039"/>
                    <a:gd name="connsiteY401" fmla="*/ 125309 h 1363951"/>
                    <a:gd name="connsiteX402" fmla="*/ 367314 w 2649039"/>
                    <a:gd name="connsiteY402" fmla="*/ 118919 h 1363951"/>
                    <a:gd name="connsiteX403" fmla="*/ 336195 w 2649039"/>
                    <a:gd name="connsiteY403" fmla="*/ 131422 h 1363951"/>
                    <a:gd name="connsiteX404" fmla="*/ 311328 w 2649039"/>
                    <a:gd name="connsiteY404" fmla="*/ 150037 h 1363951"/>
                    <a:gd name="connsiteX405" fmla="*/ 305076 w 2649039"/>
                    <a:gd name="connsiteY405" fmla="*/ 137534 h 1363951"/>
                    <a:gd name="connsiteX406" fmla="*/ 286460 w 2649039"/>
                    <a:gd name="connsiteY406" fmla="*/ 143786 h 1363951"/>
                    <a:gd name="connsiteX407" fmla="*/ 273957 w 2649039"/>
                    <a:gd name="connsiteY407" fmla="*/ 156289 h 1363951"/>
                    <a:gd name="connsiteX408" fmla="*/ 255342 w 2649039"/>
                    <a:gd name="connsiteY408" fmla="*/ 168792 h 1363951"/>
                    <a:gd name="connsiteX409" fmla="*/ 249090 w 2649039"/>
                    <a:gd name="connsiteY409" fmla="*/ 181295 h 1363951"/>
                    <a:gd name="connsiteX410" fmla="*/ 230474 w 2649039"/>
                    <a:gd name="connsiteY410" fmla="*/ 175044 h 1363951"/>
                    <a:gd name="connsiteX411" fmla="*/ 249090 w 2649039"/>
                    <a:gd name="connsiteY411" fmla="*/ 162541 h 1363951"/>
                    <a:gd name="connsiteX412" fmla="*/ 273957 w 2649039"/>
                    <a:gd name="connsiteY412" fmla="*/ 137673 h 1363951"/>
                    <a:gd name="connsiteX413" fmla="*/ 305076 w 2649039"/>
                    <a:gd name="connsiteY413" fmla="*/ 137673 h 1363951"/>
                    <a:gd name="connsiteX414" fmla="*/ 348698 w 2649039"/>
                    <a:gd name="connsiteY414" fmla="*/ 112806 h 1363951"/>
                    <a:gd name="connsiteX415" fmla="*/ 348698 w 2649039"/>
                    <a:gd name="connsiteY415" fmla="*/ 100303 h 1363951"/>
                    <a:gd name="connsiteX416" fmla="*/ 311328 w 2649039"/>
                    <a:gd name="connsiteY416" fmla="*/ 106554 h 1363951"/>
                    <a:gd name="connsiteX417" fmla="*/ 292712 w 2649039"/>
                    <a:gd name="connsiteY417" fmla="*/ 119057 h 1363951"/>
                    <a:gd name="connsiteX418" fmla="*/ 267845 w 2649039"/>
                    <a:gd name="connsiteY418" fmla="*/ 125309 h 1363951"/>
                    <a:gd name="connsiteX419" fmla="*/ 217971 w 2649039"/>
                    <a:gd name="connsiteY419" fmla="*/ 150176 h 1363951"/>
                    <a:gd name="connsiteX420" fmla="*/ 224223 w 2649039"/>
                    <a:gd name="connsiteY420" fmla="*/ 137673 h 1363951"/>
                    <a:gd name="connsiteX421" fmla="*/ 205607 w 2649039"/>
                    <a:gd name="connsiteY421" fmla="*/ 131422 h 1363951"/>
                    <a:gd name="connsiteX422" fmla="*/ 180740 w 2649039"/>
                    <a:gd name="connsiteY422" fmla="*/ 143925 h 1363951"/>
                    <a:gd name="connsiteX423" fmla="*/ 155872 w 2649039"/>
                    <a:gd name="connsiteY423" fmla="*/ 156428 h 1363951"/>
                    <a:gd name="connsiteX424" fmla="*/ 162124 w 2649039"/>
                    <a:gd name="connsiteY424" fmla="*/ 162679 h 1363951"/>
                    <a:gd name="connsiteX425" fmla="*/ 162124 w 2649039"/>
                    <a:gd name="connsiteY425" fmla="*/ 168931 h 1363951"/>
                    <a:gd name="connsiteX426" fmla="*/ 186991 w 2649039"/>
                    <a:gd name="connsiteY426" fmla="*/ 168931 h 1363951"/>
                    <a:gd name="connsiteX427" fmla="*/ 211858 w 2649039"/>
                    <a:gd name="connsiteY427" fmla="*/ 150315 h 1363951"/>
                    <a:gd name="connsiteX428" fmla="*/ 205607 w 2649039"/>
                    <a:gd name="connsiteY428" fmla="*/ 181434 h 1363951"/>
                    <a:gd name="connsiteX429" fmla="*/ 199355 w 2649039"/>
                    <a:gd name="connsiteY429" fmla="*/ 175183 h 1363951"/>
                    <a:gd name="connsiteX430" fmla="*/ 174488 w 2649039"/>
                    <a:gd name="connsiteY430" fmla="*/ 181434 h 1363951"/>
                    <a:gd name="connsiteX431" fmla="*/ 130866 w 2649039"/>
                    <a:gd name="connsiteY431" fmla="*/ 175183 h 1363951"/>
                    <a:gd name="connsiteX432" fmla="*/ 87244 w 2649039"/>
                    <a:gd name="connsiteY432" fmla="*/ 156567 h 1363951"/>
                    <a:gd name="connsiteX433" fmla="*/ 68489 w 2649039"/>
                    <a:gd name="connsiteY433" fmla="*/ 150315 h 1363951"/>
                    <a:gd name="connsiteX434" fmla="*/ 62238 w 2649039"/>
                    <a:gd name="connsiteY434" fmla="*/ 131700 h 1363951"/>
                    <a:gd name="connsiteX435" fmla="*/ 37370 w 2649039"/>
                    <a:gd name="connsiteY435" fmla="*/ 137951 h 1363951"/>
                    <a:gd name="connsiteX436" fmla="*/ 0 w 2649039"/>
                    <a:gd name="connsiteY436" fmla="*/ 131700 h 1363951"/>
                    <a:gd name="connsiteX437" fmla="*/ 0 w 2649039"/>
                    <a:gd name="connsiteY437" fmla="*/ 499013 h 1363951"/>
                    <a:gd name="connsiteX438" fmla="*/ 0 w 2649039"/>
                    <a:gd name="connsiteY438" fmla="*/ 586118 h 1363951"/>
                    <a:gd name="connsiteX439" fmla="*/ 0 w 2649039"/>
                    <a:gd name="connsiteY439" fmla="*/ 604734 h 1363951"/>
                    <a:gd name="connsiteX440" fmla="*/ 18616 w 2649039"/>
                    <a:gd name="connsiteY440" fmla="*/ 604734 h 1363951"/>
                    <a:gd name="connsiteX441" fmla="*/ 43483 w 2649039"/>
                    <a:gd name="connsiteY441" fmla="*/ 604734 h 1363951"/>
                    <a:gd name="connsiteX442" fmla="*/ 62099 w 2649039"/>
                    <a:gd name="connsiteY442" fmla="*/ 617237 h 1363951"/>
                    <a:gd name="connsiteX443" fmla="*/ 111972 w 2649039"/>
                    <a:gd name="connsiteY443" fmla="*/ 666972 h 1363951"/>
                    <a:gd name="connsiteX444" fmla="*/ 136840 w 2649039"/>
                    <a:gd name="connsiteY444" fmla="*/ 654469 h 1363951"/>
                    <a:gd name="connsiteX445" fmla="*/ 143091 w 2649039"/>
                    <a:gd name="connsiteY445" fmla="*/ 635853 h 1363951"/>
                    <a:gd name="connsiteX446" fmla="*/ 174210 w 2649039"/>
                    <a:gd name="connsiteY446" fmla="*/ 635853 h 1363951"/>
                    <a:gd name="connsiteX447" fmla="*/ 205329 w 2649039"/>
                    <a:gd name="connsiteY447" fmla="*/ 666972 h 1363951"/>
                    <a:gd name="connsiteX448" fmla="*/ 236448 w 2649039"/>
                    <a:gd name="connsiteY448" fmla="*/ 698091 h 1363951"/>
                    <a:gd name="connsiteX449" fmla="*/ 248951 w 2649039"/>
                    <a:gd name="connsiteY449" fmla="*/ 722958 h 1363951"/>
                    <a:gd name="connsiteX450" fmla="*/ 286322 w 2649039"/>
                    <a:gd name="connsiteY450" fmla="*/ 772693 h 1363951"/>
                    <a:gd name="connsiteX451" fmla="*/ 336195 w 2649039"/>
                    <a:gd name="connsiteY451" fmla="*/ 797560 h 1363951"/>
                    <a:gd name="connsiteX452" fmla="*/ 336195 w 2649039"/>
                    <a:gd name="connsiteY452" fmla="*/ 822427 h 1363951"/>
                    <a:gd name="connsiteX453" fmla="*/ 348698 w 2649039"/>
                    <a:gd name="connsiteY453" fmla="*/ 828679 h 1363951"/>
                    <a:gd name="connsiteX454" fmla="*/ 348698 w 2649039"/>
                    <a:gd name="connsiteY454" fmla="*/ 841182 h 1363951"/>
                    <a:gd name="connsiteX455" fmla="*/ 330082 w 2649039"/>
                    <a:gd name="connsiteY455" fmla="*/ 859798 h 1363951"/>
                    <a:gd name="connsiteX456" fmla="*/ 348698 w 2649039"/>
                    <a:gd name="connsiteY456" fmla="*/ 878413 h 1363951"/>
                    <a:gd name="connsiteX457" fmla="*/ 336195 w 2649039"/>
                    <a:gd name="connsiteY457" fmla="*/ 890917 h 1363951"/>
                    <a:gd name="connsiteX458" fmla="*/ 329943 w 2649039"/>
                    <a:gd name="connsiteY458" fmla="*/ 878413 h 1363951"/>
                    <a:gd name="connsiteX459" fmla="*/ 329943 w 2649039"/>
                    <a:gd name="connsiteY459" fmla="*/ 890917 h 1363951"/>
                    <a:gd name="connsiteX460" fmla="*/ 336195 w 2649039"/>
                    <a:gd name="connsiteY460" fmla="*/ 909532 h 1363951"/>
                    <a:gd name="connsiteX461" fmla="*/ 354950 w 2649039"/>
                    <a:gd name="connsiteY461" fmla="*/ 915784 h 1363951"/>
                    <a:gd name="connsiteX462" fmla="*/ 361201 w 2649039"/>
                    <a:gd name="connsiteY462" fmla="*/ 915784 h 1363951"/>
                    <a:gd name="connsiteX463" fmla="*/ 367453 w 2649039"/>
                    <a:gd name="connsiteY463" fmla="*/ 903281 h 1363951"/>
                    <a:gd name="connsiteX464" fmla="*/ 379956 w 2649039"/>
                    <a:gd name="connsiteY464" fmla="*/ 915784 h 1363951"/>
                    <a:gd name="connsiteX465" fmla="*/ 373704 w 2649039"/>
                    <a:gd name="connsiteY465" fmla="*/ 934400 h 1363951"/>
                    <a:gd name="connsiteX466" fmla="*/ 379956 w 2649039"/>
                    <a:gd name="connsiteY466" fmla="*/ 940651 h 1363951"/>
                    <a:gd name="connsiteX467" fmla="*/ 386208 w 2649039"/>
                    <a:gd name="connsiteY467" fmla="*/ 934400 h 1363951"/>
                    <a:gd name="connsiteX468" fmla="*/ 392459 w 2649039"/>
                    <a:gd name="connsiteY468" fmla="*/ 928148 h 1363951"/>
                    <a:gd name="connsiteX469" fmla="*/ 398711 w 2649039"/>
                    <a:gd name="connsiteY469" fmla="*/ 946764 h 1363951"/>
                    <a:gd name="connsiteX470" fmla="*/ 411214 w 2649039"/>
                    <a:gd name="connsiteY470" fmla="*/ 959267 h 1363951"/>
                    <a:gd name="connsiteX471" fmla="*/ 429830 w 2649039"/>
                    <a:gd name="connsiteY471" fmla="*/ 946764 h 1363951"/>
                    <a:gd name="connsiteX472" fmla="*/ 423578 w 2649039"/>
                    <a:gd name="connsiteY472" fmla="*/ 953016 h 1363951"/>
                    <a:gd name="connsiteX473" fmla="*/ 436081 w 2649039"/>
                    <a:gd name="connsiteY473" fmla="*/ 959267 h 1363951"/>
                    <a:gd name="connsiteX474" fmla="*/ 411214 w 2649039"/>
                    <a:gd name="connsiteY474" fmla="*/ 984134 h 1363951"/>
                    <a:gd name="connsiteX475" fmla="*/ 442333 w 2649039"/>
                    <a:gd name="connsiteY475" fmla="*/ 984134 h 1363951"/>
                    <a:gd name="connsiteX476" fmla="*/ 417465 w 2649039"/>
                    <a:gd name="connsiteY476" fmla="*/ 996638 h 1363951"/>
                    <a:gd name="connsiteX477" fmla="*/ 429968 w 2649039"/>
                    <a:gd name="connsiteY477" fmla="*/ 996638 h 1363951"/>
                    <a:gd name="connsiteX478" fmla="*/ 417465 w 2649039"/>
                    <a:gd name="connsiteY478" fmla="*/ 1009141 h 1363951"/>
                    <a:gd name="connsiteX479" fmla="*/ 448584 w 2649039"/>
                    <a:gd name="connsiteY479" fmla="*/ 1015392 h 1363951"/>
                    <a:gd name="connsiteX480" fmla="*/ 461087 w 2649039"/>
                    <a:gd name="connsiteY480" fmla="*/ 1021644 h 1363951"/>
                    <a:gd name="connsiteX481" fmla="*/ 479842 w 2649039"/>
                    <a:gd name="connsiteY481" fmla="*/ 1009141 h 1363951"/>
                    <a:gd name="connsiteX482" fmla="*/ 479842 w 2649039"/>
                    <a:gd name="connsiteY482" fmla="*/ 1021644 h 1363951"/>
                    <a:gd name="connsiteX483" fmla="*/ 479842 w 2649039"/>
                    <a:gd name="connsiteY483" fmla="*/ 1034147 h 1363951"/>
                    <a:gd name="connsiteX484" fmla="*/ 504709 w 2649039"/>
                    <a:gd name="connsiteY484" fmla="*/ 1015531 h 1363951"/>
                    <a:gd name="connsiteX485" fmla="*/ 498458 w 2649039"/>
                    <a:gd name="connsiteY485" fmla="*/ 1034147 h 1363951"/>
                    <a:gd name="connsiteX486" fmla="*/ 517074 w 2649039"/>
                    <a:gd name="connsiteY486" fmla="*/ 1034147 h 1363951"/>
                    <a:gd name="connsiteX487" fmla="*/ 517074 w 2649039"/>
                    <a:gd name="connsiteY487" fmla="*/ 1059014 h 1363951"/>
                    <a:gd name="connsiteX488" fmla="*/ 535689 w 2649039"/>
                    <a:gd name="connsiteY488" fmla="*/ 1046511 h 1363951"/>
                    <a:gd name="connsiteX489" fmla="*/ 535689 w 2649039"/>
                    <a:gd name="connsiteY489" fmla="*/ 1059014 h 1363951"/>
                    <a:gd name="connsiteX490" fmla="*/ 529438 w 2649039"/>
                    <a:gd name="connsiteY490" fmla="*/ 1065266 h 1363951"/>
                    <a:gd name="connsiteX491" fmla="*/ 554305 w 2649039"/>
                    <a:gd name="connsiteY491" fmla="*/ 1065266 h 1363951"/>
                    <a:gd name="connsiteX492" fmla="*/ 585424 w 2649039"/>
                    <a:gd name="connsiteY492" fmla="*/ 1096385 h 1363951"/>
                    <a:gd name="connsiteX493" fmla="*/ 635298 w 2649039"/>
                    <a:gd name="connsiteY493" fmla="*/ 1096385 h 1363951"/>
                    <a:gd name="connsiteX494" fmla="*/ 828401 w 2649039"/>
                    <a:gd name="connsiteY494" fmla="*/ 1096385 h 1363951"/>
                    <a:gd name="connsiteX495" fmla="*/ 1295601 w 2649039"/>
                    <a:gd name="connsiteY495" fmla="*/ 1096385 h 1363951"/>
                    <a:gd name="connsiteX496" fmla="*/ 1389097 w 2649039"/>
                    <a:gd name="connsiteY496" fmla="*/ 1096385 h 1363951"/>
                    <a:gd name="connsiteX497" fmla="*/ 1426051 w 2649039"/>
                    <a:gd name="connsiteY497" fmla="*/ 1083743 h 1363951"/>
                    <a:gd name="connsiteX498" fmla="*/ 697257 w 2649039"/>
                    <a:gd name="connsiteY498" fmla="*/ 336751 h 1363951"/>
                    <a:gd name="connsiteX499" fmla="*/ 659887 w 2649039"/>
                    <a:gd name="connsiteY499" fmla="*/ 336751 h 1363951"/>
                    <a:gd name="connsiteX500" fmla="*/ 672390 w 2649039"/>
                    <a:gd name="connsiteY500" fmla="*/ 355366 h 1363951"/>
                    <a:gd name="connsiteX501" fmla="*/ 622517 w 2649039"/>
                    <a:gd name="connsiteY501" fmla="*/ 373982 h 1363951"/>
                    <a:gd name="connsiteX502" fmla="*/ 616265 w 2649039"/>
                    <a:gd name="connsiteY502" fmla="*/ 349115 h 1363951"/>
                    <a:gd name="connsiteX503" fmla="*/ 603762 w 2649039"/>
                    <a:gd name="connsiteY503" fmla="*/ 355366 h 1363951"/>
                    <a:gd name="connsiteX504" fmla="*/ 597510 w 2649039"/>
                    <a:gd name="connsiteY504" fmla="*/ 373982 h 1363951"/>
                    <a:gd name="connsiteX505" fmla="*/ 547637 w 2649039"/>
                    <a:gd name="connsiteY505" fmla="*/ 367731 h 1363951"/>
                    <a:gd name="connsiteX506" fmla="*/ 566253 w 2649039"/>
                    <a:gd name="connsiteY506" fmla="*/ 361479 h 1363951"/>
                    <a:gd name="connsiteX507" fmla="*/ 572504 w 2649039"/>
                    <a:gd name="connsiteY507" fmla="*/ 348976 h 1363951"/>
                    <a:gd name="connsiteX508" fmla="*/ 585007 w 2649039"/>
                    <a:gd name="connsiteY508" fmla="*/ 336473 h 1363951"/>
                    <a:gd name="connsiteX509" fmla="*/ 585007 w 2649039"/>
                    <a:gd name="connsiteY509" fmla="*/ 323970 h 1363951"/>
                    <a:gd name="connsiteX510" fmla="*/ 609875 w 2649039"/>
                    <a:gd name="connsiteY510" fmla="*/ 323970 h 1363951"/>
                    <a:gd name="connsiteX511" fmla="*/ 572504 w 2649039"/>
                    <a:gd name="connsiteY511" fmla="*/ 311467 h 1363951"/>
                    <a:gd name="connsiteX512" fmla="*/ 541385 w 2649039"/>
                    <a:gd name="connsiteY512" fmla="*/ 317718 h 1363951"/>
                    <a:gd name="connsiteX513" fmla="*/ 510266 w 2649039"/>
                    <a:gd name="connsiteY513" fmla="*/ 317718 h 1363951"/>
                    <a:gd name="connsiteX514" fmla="*/ 497763 w 2649039"/>
                    <a:gd name="connsiteY514" fmla="*/ 317718 h 1363951"/>
                    <a:gd name="connsiteX515" fmla="*/ 522631 w 2649039"/>
                    <a:gd name="connsiteY515" fmla="*/ 305215 h 1363951"/>
                    <a:gd name="connsiteX516" fmla="*/ 566253 w 2649039"/>
                    <a:gd name="connsiteY516" fmla="*/ 292712 h 1363951"/>
                    <a:gd name="connsiteX517" fmla="*/ 634742 w 2649039"/>
                    <a:gd name="connsiteY517" fmla="*/ 274096 h 1363951"/>
                    <a:gd name="connsiteX518" fmla="*/ 672112 w 2649039"/>
                    <a:gd name="connsiteY518" fmla="*/ 280348 h 1363951"/>
                    <a:gd name="connsiteX519" fmla="*/ 647245 w 2649039"/>
                    <a:gd name="connsiteY519" fmla="*/ 298963 h 1363951"/>
                    <a:gd name="connsiteX520" fmla="*/ 690867 w 2649039"/>
                    <a:gd name="connsiteY520" fmla="*/ 305215 h 1363951"/>
                    <a:gd name="connsiteX521" fmla="*/ 703370 w 2649039"/>
                    <a:gd name="connsiteY521" fmla="*/ 305215 h 1363951"/>
                    <a:gd name="connsiteX522" fmla="*/ 728237 w 2649039"/>
                    <a:gd name="connsiteY522" fmla="*/ 292712 h 1363951"/>
                    <a:gd name="connsiteX523" fmla="*/ 697257 w 2649039"/>
                    <a:gd name="connsiteY523" fmla="*/ 336751 h 1363951"/>
                    <a:gd name="connsiteX524" fmla="*/ 697257 w 2649039"/>
                    <a:gd name="connsiteY524" fmla="*/ 336751 h 1363951"/>
                    <a:gd name="connsiteX525" fmla="*/ 977466 w 2649039"/>
                    <a:gd name="connsiteY525" fmla="*/ 486093 h 1363951"/>
                    <a:gd name="connsiteX526" fmla="*/ 952599 w 2649039"/>
                    <a:gd name="connsiteY526" fmla="*/ 486093 h 1363951"/>
                    <a:gd name="connsiteX527" fmla="*/ 965102 w 2649039"/>
                    <a:gd name="connsiteY527" fmla="*/ 492345 h 1363951"/>
                    <a:gd name="connsiteX528" fmla="*/ 933983 w 2649039"/>
                    <a:gd name="connsiteY528" fmla="*/ 504848 h 1363951"/>
                    <a:gd name="connsiteX529" fmla="*/ 902864 w 2649039"/>
                    <a:gd name="connsiteY529" fmla="*/ 523464 h 1363951"/>
                    <a:gd name="connsiteX530" fmla="*/ 884249 w 2649039"/>
                    <a:gd name="connsiteY530" fmla="*/ 529715 h 1363951"/>
                    <a:gd name="connsiteX531" fmla="*/ 884249 w 2649039"/>
                    <a:gd name="connsiteY531" fmla="*/ 548331 h 1363951"/>
                    <a:gd name="connsiteX532" fmla="*/ 853130 w 2649039"/>
                    <a:gd name="connsiteY532" fmla="*/ 554583 h 1363951"/>
                    <a:gd name="connsiteX533" fmla="*/ 853130 w 2649039"/>
                    <a:gd name="connsiteY533" fmla="*/ 560834 h 1363951"/>
                    <a:gd name="connsiteX534" fmla="*/ 834514 w 2649039"/>
                    <a:gd name="connsiteY534" fmla="*/ 573337 h 1363951"/>
                    <a:gd name="connsiteX535" fmla="*/ 778389 w 2649039"/>
                    <a:gd name="connsiteY535" fmla="*/ 579589 h 1363951"/>
                    <a:gd name="connsiteX536" fmla="*/ 747270 w 2649039"/>
                    <a:gd name="connsiteY536" fmla="*/ 560973 h 1363951"/>
                    <a:gd name="connsiteX537" fmla="*/ 784640 w 2649039"/>
                    <a:gd name="connsiteY537" fmla="*/ 554722 h 1363951"/>
                    <a:gd name="connsiteX538" fmla="*/ 790892 w 2649039"/>
                    <a:gd name="connsiteY538" fmla="*/ 542219 h 1363951"/>
                    <a:gd name="connsiteX539" fmla="*/ 815759 w 2649039"/>
                    <a:gd name="connsiteY539" fmla="*/ 529715 h 1363951"/>
                    <a:gd name="connsiteX540" fmla="*/ 809508 w 2649039"/>
                    <a:gd name="connsiteY540" fmla="*/ 517212 h 1363951"/>
                    <a:gd name="connsiteX541" fmla="*/ 797005 w 2649039"/>
                    <a:gd name="connsiteY541" fmla="*/ 504709 h 1363951"/>
                    <a:gd name="connsiteX542" fmla="*/ 784501 w 2649039"/>
                    <a:gd name="connsiteY542" fmla="*/ 492206 h 1363951"/>
                    <a:gd name="connsiteX543" fmla="*/ 797005 w 2649039"/>
                    <a:gd name="connsiteY543" fmla="*/ 492206 h 1363951"/>
                    <a:gd name="connsiteX544" fmla="*/ 846878 w 2649039"/>
                    <a:gd name="connsiteY544" fmla="*/ 510822 h 1363951"/>
                    <a:gd name="connsiteX545" fmla="*/ 896752 w 2649039"/>
                    <a:gd name="connsiteY545" fmla="*/ 510822 h 1363951"/>
                    <a:gd name="connsiteX546" fmla="*/ 946625 w 2649039"/>
                    <a:gd name="connsiteY546" fmla="*/ 479703 h 1363951"/>
                    <a:gd name="connsiteX547" fmla="*/ 977744 w 2649039"/>
                    <a:gd name="connsiteY547" fmla="*/ 479703 h 1363951"/>
                    <a:gd name="connsiteX548" fmla="*/ 996360 w 2649039"/>
                    <a:gd name="connsiteY548" fmla="*/ 485955 h 1363951"/>
                    <a:gd name="connsiteX549" fmla="*/ 977466 w 2649039"/>
                    <a:gd name="connsiteY549" fmla="*/ 486093 h 1363951"/>
                    <a:gd name="connsiteX550" fmla="*/ 1382429 w 2649039"/>
                    <a:gd name="connsiteY550" fmla="*/ 1027617 h 1363951"/>
                    <a:gd name="connsiteX551" fmla="*/ 1363813 w 2649039"/>
                    <a:gd name="connsiteY551" fmla="*/ 1009002 h 1363951"/>
                    <a:gd name="connsiteX552" fmla="*/ 1376316 w 2649039"/>
                    <a:gd name="connsiteY552" fmla="*/ 977883 h 1363951"/>
                    <a:gd name="connsiteX553" fmla="*/ 1357561 w 2649039"/>
                    <a:gd name="connsiteY553" fmla="*/ 984134 h 1363951"/>
                    <a:gd name="connsiteX554" fmla="*/ 1345058 w 2649039"/>
                    <a:gd name="connsiteY554" fmla="*/ 959267 h 1363951"/>
                    <a:gd name="connsiteX555" fmla="*/ 1338807 w 2649039"/>
                    <a:gd name="connsiteY555" fmla="*/ 971770 h 1363951"/>
                    <a:gd name="connsiteX556" fmla="*/ 1326303 w 2649039"/>
                    <a:gd name="connsiteY556" fmla="*/ 953154 h 1363951"/>
                    <a:gd name="connsiteX557" fmla="*/ 1307688 w 2649039"/>
                    <a:gd name="connsiteY557" fmla="*/ 934539 h 1363951"/>
                    <a:gd name="connsiteX558" fmla="*/ 1320191 w 2649039"/>
                    <a:gd name="connsiteY558" fmla="*/ 922036 h 1363951"/>
                    <a:gd name="connsiteX559" fmla="*/ 1301575 w 2649039"/>
                    <a:gd name="connsiteY559" fmla="*/ 915784 h 1363951"/>
                    <a:gd name="connsiteX560" fmla="*/ 1307827 w 2649039"/>
                    <a:gd name="connsiteY560" fmla="*/ 884665 h 1363951"/>
                    <a:gd name="connsiteX561" fmla="*/ 1351449 w 2649039"/>
                    <a:gd name="connsiteY561" fmla="*/ 922036 h 1363951"/>
                    <a:gd name="connsiteX562" fmla="*/ 1363952 w 2649039"/>
                    <a:gd name="connsiteY562" fmla="*/ 953154 h 1363951"/>
                    <a:gd name="connsiteX563" fmla="*/ 1376455 w 2649039"/>
                    <a:gd name="connsiteY563" fmla="*/ 971770 h 1363951"/>
                    <a:gd name="connsiteX564" fmla="*/ 1382706 w 2649039"/>
                    <a:gd name="connsiteY564" fmla="*/ 990386 h 1363951"/>
                    <a:gd name="connsiteX565" fmla="*/ 1382429 w 2649039"/>
                    <a:gd name="connsiteY565" fmla="*/ 1027617 h 1363951"/>
                    <a:gd name="connsiteX566" fmla="*/ 1382429 w 2649039"/>
                    <a:gd name="connsiteY566" fmla="*/ 1027617 h 136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2649039" h="1363951">
                      <a:moveTo>
                        <a:pt x="1426051" y="1083743"/>
                      </a:moveTo>
                      <a:lnTo>
                        <a:pt x="1426051" y="1077491"/>
                      </a:lnTo>
                      <a:lnTo>
                        <a:pt x="1444666" y="1102358"/>
                      </a:lnTo>
                      <a:cubicBezTo>
                        <a:pt x="1457169" y="1102358"/>
                        <a:pt x="1463282" y="1108610"/>
                        <a:pt x="1469534" y="1108610"/>
                      </a:cubicBezTo>
                      <a:cubicBezTo>
                        <a:pt x="1482037" y="1108610"/>
                        <a:pt x="1482037" y="1102358"/>
                        <a:pt x="1488288" y="1108610"/>
                      </a:cubicBezTo>
                      <a:cubicBezTo>
                        <a:pt x="1506904" y="1114861"/>
                        <a:pt x="1519407" y="1121113"/>
                        <a:pt x="1531910" y="1127226"/>
                      </a:cubicBezTo>
                      <a:cubicBezTo>
                        <a:pt x="1538162" y="1133477"/>
                        <a:pt x="1544413" y="1127226"/>
                        <a:pt x="1550665" y="1127226"/>
                      </a:cubicBezTo>
                      <a:cubicBezTo>
                        <a:pt x="1556917" y="1120974"/>
                        <a:pt x="1563168" y="1120974"/>
                        <a:pt x="1569281" y="1120974"/>
                      </a:cubicBezTo>
                      <a:cubicBezTo>
                        <a:pt x="1575532" y="1120974"/>
                        <a:pt x="1581784" y="1127226"/>
                        <a:pt x="1587897" y="1127226"/>
                      </a:cubicBezTo>
                      <a:cubicBezTo>
                        <a:pt x="1600400" y="1127226"/>
                        <a:pt x="1606512" y="1120974"/>
                        <a:pt x="1612764" y="1114723"/>
                      </a:cubicBezTo>
                      <a:cubicBezTo>
                        <a:pt x="1619015" y="1108471"/>
                        <a:pt x="1637631" y="1089855"/>
                        <a:pt x="1643883" y="1089855"/>
                      </a:cubicBezTo>
                      <a:lnTo>
                        <a:pt x="1650134" y="1096107"/>
                      </a:lnTo>
                      <a:cubicBezTo>
                        <a:pt x="1662637" y="1096107"/>
                        <a:pt x="1668750" y="1096107"/>
                        <a:pt x="1675002" y="1096107"/>
                      </a:cubicBezTo>
                      <a:cubicBezTo>
                        <a:pt x="1699869" y="1096107"/>
                        <a:pt x="1693756" y="1114723"/>
                        <a:pt x="1706120" y="1127226"/>
                      </a:cubicBezTo>
                      <a:cubicBezTo>
                        <a:pt x="1712372" y="1133477"/>
                        <a:pt x="1737239" y="1127226"/>
                        <a:pt x="1737239" y="1139729"/>
                      </a:cubicBezTo>
                      <a:cubicBezTo>
                        <a:pt x="1737239" y="1152232"/>
                        <a:pt x="1743491" y="1164596"/>
                        <a:pt x="1749743" y="1177099"/>
                      </a:cubicBezTo>
                      <a:cubicBezTo>
                        <a:pt x="1749743" y="1208218"/>
                        <a:pt x="1805868" y="1201966"/>
                        <a:pt x="1824483" y="1208218"/>
                      </a:cubicBezTo>
                      <a:cubicBezTo>
                        <a:pt x="1836986" y="1208218"/>
                        <a:pt x="1855602" y="1208218"/>
                        <a:pt x="1861854" y="1214470"/>
                      </a:cubicBezTo>
                      <a:cubicBezTo>
                        <a:pt x="1868105" y="1220721"/>
                        <a:pt x="1899224" y="1251840"/>
                        <a:pt x="1892973" y="1251840"/>
                      </a:cubicBezTo>
                      <a:cubicBezTo>
                        <a:pt x="1880470" y="1264343"/>
                        <a:pt x="1880470" y="1264343"/>
                        <a:pt x="1868105" y="1258092"/>
                      </a:cubicBezTo>
                      <a:cubicBezTo>
                        <a:pt x="1861854" y="1251840"/>
                        <a:pt x="1836986" y="1239476"/>
                        <a:pt x="1836986" y="1239476"/>
                      </a:cubicBezTo>
                      <a:cubicBezTo>
                        <a:pt x="1836986" y="1245727"/>
                        <a:pt x="1855602" y="1251979"/>
                        <a:pt x="1849490" y="1264343"/>
                      </a:cubicBezTo>
                      <a:cubicBezTo>
                        <a:pt x="1843238" y="1270595"/>
                        <a:pt x="1836986" y="1282959"/>
                        <a:pt x="1836986" y="1289211"/>
                      </a:cubicBezTo>
                      <a:cubicBezTo>
                        <a:pt x="1836986" y="1301714"/>
                        <a:pt x="1836986" y="1307826"/>
                        <a:pt x="1830735" y="1314078"/>
                      </a:cubicBezTo>
                      <a:cubicBezTo>
                        <a:pt x="1830735" y="1320329"/>
                        <a:pt x="1812119" y="1326581"/>
                        <a:pt x="1812119" y="1326581"/>
                      </a:cubicBezTo>
                      <a:cubicBezTo>
                        <a:pt x="1805868" y="1332833"/>
                        <a:pt x="1787252" y="1363951"/>
                        <a:pt x="1812119" y="1363951"/>
                      </a:cubicBezTo>
                      <a:cubicBezTo>
                        <a:pt x="1818371" y="1363951"/>
                        <a:pt x="1830735" y="1351448"/>
                        <a:pt x="1843238" y="1339084"/>
                      </a:cubicBezTo>
                      <a:cubicBezTo>
                        <a:pt x="1855741" y="1332833"/>
                        <a:pt x="1861854" y="1345336"/>
                        <a:pt x="1874357" y="1339084"/>
                      </a:cubicBezTo>
                      <a:cubicBezTo>
                        <a:pt x="1892973" y="1339084"/>
                        <a:pt x="1899224" y="1326581"/>
                        <a:pt x="1917979" y="1326581"/>
                      </a:cubicBezTo>
                      <a:cubicBezTo>
                        <a:pt x="1917979" y="1314078"/>
                        <a:pt x="1917979" y="1320329"/>
                        <a:pt x="1905476" y="1314078"/>
                      </a:cubicBezTo>
                      <a:cubicBezTo>
                        <a:pt x="1899224" y="1314078"/>
                        <a:pt x="1899224" y="1307826"/>
                        <a:pt x="1905476" y="1307826"/>
                      </a:cubicBezTo>
                      <a:cubicBezTo>
                        <a:pt x="1911727" y="1295323"/>
                        <a:pt x="1917979" y="1289211"/>
                        <a:pt x="1936595" y="1289211"/>
                      </a:cubicBezTo>
                      <a:cubicBezTo>
                        <a:pt x="1942846" y="1289211"/>
                        <a:pt x="1961462" y="1276707"/>
                        <a:pt x="1973965" y="1282959"/>
                      </a:cubicBezTo>
                      <a:cubicBezTo>
                        <a:pt x="1986468" y="1289211"/>
                        <a:pt x="1992581" y="1264343"/>
                        <a:pt x="2005084" y="1282959"/>
                      </a:cubicBezTo>
                      <a:cubicBezTo>
                        <a:pt x="2017587" y="1270456"/>
                        <a:pt x="2023839" y="1264343"/>
                        <a:pt x="2036203" y="1251840"/>
                      </a:cubicBezTo>
                      <a:cubicBezTo>
                        <a:pt x="2048706" y="1245589"/>
                        <a:pt x="2054958" y="1245589"/>
                        <a:pt x="2067322" y="1245589"/>
                      </a:cubicBezTo>
                      <a:cubicBezTo>
                        <a:pt x="2086076" y="1245589"/>
                        <a:pt x="2110944" y="1245589"/>
                        <a:pt x="2129559" y="1245589"/>
                      </a:cubicBezTo>
                      <a:cubicBezTo>
                        <a:pt x="2148314" y="1245589"/>
                        <a:pt x="2154427" y="1251840"/>
                        <a:pt x="2160679" y="1239337"/>
                      </a:cubicBezTo>
                      <a:cubicBezTo>
                        <a:pt x="2166930" y="1233085"/>
                        <a:pt x="2173182" y="1239337"/>
                        <a:pt x="2179433" y="1233085"/>
                      </a:cubicBezTo>
                      <a:cubicBezTo>
                        <a:pt x="2185685" y="1220582"/>
                        <a:pt x="2191936" y="1214470"/>
                        <a:pt x="2191936" y="1201966"/>
                      </a:cubicBezTo>
                      <a:cubicBezTo>
                        <a:pt x="2198188" y="1189463"/>
                        <a:pt x="2198188" y="1183351"/>
                        <a:pt x="2204439" y="1170848"/>
                      </a:cubicBezTo>
                      <a:cubicBezTo>
                        <a:pt x="2210691" y="1164596"/>
                        <a:pt x="2216943" y="1158344"/>
                        <a:pt x="2223055" y="1152232"/>
                      </a:cubicBezTo>
                      <a:cubicBezTo>
                        <a:pt x="2229307" y="1145980"/>
                        <a:pt x="2235558" y="1164735"/>
                        <a:pt x="2247922" y="1158484"/>
                      </a:cubicBezTo>
                      <a:cubicBezTo>
                        <a:pt x="2260425" y="1145980"/>
                        <a:pt x="2272790" y="1164735"/>
                        <a:pt x="2272790" y="1177099"/>
                      </a:cubicBezTo>
                      <a:cubicBezTo>
                        <a:pt x="2272790" y="1183351"/>
                        <a:pt x="2266538" y="1220721"/>
                        <a:pt x="2279041" y="1220721"/>
                      </a:cubicBezTo>
                      <a:cubicBezTo>
                        <a:pt x="2285293" y="1226973"/>
                        <a:pt x="2291545" y="1239337"/>
                        <a:pt x="2297657" y="1251840"/>
                      </a:cubicBezTo>
                      <a:cubicBezTo>
                        <a:pt x="2303909" y="1239337"/>
                        <a:pt x="2372398" y="1220721"/>
                        <a:pt x="2372398" y="1220721"/>
                      </a:cubicBezTo>
                      <a:cubicBezTo>
                        <a:pt x="2372398" y="1214470"/>
                        <a:pt x="2366146" y="1214470"/>
                        <a:pt x="2366146" y="1208218"/>
                      </a:cubicBezTo>
                      <a:lnTo>
                        <a:pt x="2378650" y="1220721"/>
                      </a:lnTo>
                      <a:cubicBezTo>
                        <a:pt x="2378650" y="1226973"/>
                        <a:pt x="2366146" y="1226973"/>
                        <a:pt x="2366146" y="1226973"/>
                      </a:cubicBezTo>
                      <a:lnTo>
                        <a:pt x="2403517" y="1233224"/>
                      </a:lnTo>
                      <a:lnTo>
                        <a:pt x="2403517" y="1233224"/>
                      </a:lnTo>
                      <a:lnTo>
                        <a:pt x="2403517" y="1239476"/>
                      </a:lnTo>
                      <a:cubicBezTo>
                        <a:pt x="2397265" y="1239476"/>
                        <a:pt x="2391014" y="1239476"/>
                        <a:pt x="2384901" y="1245727"/>
                      </a:cubicBezTo>
                      <a:cubicBezTo>
                        <a:pt x="2384901" y="1251979"/>
                        <a:pt x="2378650" y="1233224"/>
                        <a:pt x="2378650" y="1233224"/>
                      </a:cubicBezTo>
                      <a:cubicBezTo>
                        <a:pt x="2372398" y="1233224"/>
                        <a:pt x="2372398" y="1239476"/>
                        <a:pt x="2372398" y="1239476"/>
                      </a:cubicBezTo>
                      <a:cubicBezTo>
                        <a:pt x="2372398" y="1239476"/>
                        <a:pt x="2372398" y="1233224"/>
                        <a:pt x="2366146" y="1239476"/>
                      </a:cubicBezTo>
                      <a:cubicBezTo>
                        <a:pt x="2359895" y="1245727"/>
                        <a:pt x="2353643" y="1245727"/>
                        <a:pt x="2347531" y="1251979"/>
                      </a:cubicBezTo>
                      <a:cubicBezTo>
                        <a:pt x="2335028" y="1258231"/>
                        <a:pt x="2310160" y="1276846"/>
                        <a:pt x="2322663" y="1295601"/>
                      </a:cubicBezTo>
                      <a:cubicBezTo>
                        <a:pt x="2341279" y="1308104"/>
                        <a:pt x="2353782" y="1295601"/>
                        <a:pt x="2360034" y="1289349"/>
                      </a:cubicBezTo>
                      <a:cubicBezTo>
                        <a:pt x="2366285" y="1283098"/>
                        <a:pt x="2391153" y="1264482"/>
                        <a:pt x="2391153" y="1258231"/>
                      </a:cubicBezTo>
                      <a:cubicBezTo>
                        <a:pt x="2391153" y="1264482"/>
                        <a:pt x="2403656" y="1270734"/>
                        <a:pt x="2409768" y="1264482"/>
                      </a:cubicBezTo>
                      <a:cubicBezTo>
                        <a:pt x="2409768" y="1258231"/>
                        <a:pt x="2428384" y="1251979"/>
                        <a:pt x="2434636" y="1251979"/>
                      </a:cubicBezTo>
                      <a:cubicBezTo>
                        <a:pt x="2447139" y="1245727"/>
                        <a:pt x="2459503" y="1239476"/>
                        <a:pt x="2472006" y="1239476"/>
                      </a:cubicBezTo>
                      <a:cubicBezTo>
                        <a:pt x="2478258" y="1239476"/>
                        <a:pt x="2478258" y="1239476"/>
                        <a:pt x="2478258" y="1233224"/>
                      </a:cubicBezTo>
                      <a:cubicBezTo>
                        <a:pt x="2472006" y="1226973"/>
                        <a:pt x="2478258" y="1226973"/>
                        <a:pt x="2478258" y="1226973"/>
                      </a:cubicBezTo>
                      <a:cubicBezTo>
                        <a:pt x="2478258" y="1220721"/>
                        <a:pt x="2465755" y="1226973"/>
                        <a:pt x="2459503" y="1220721"/>
                      </a:cubicBezTo>
                      <a:cubicBezTo>
                        <a:pt x="2453251" y="1220721"/>
                        <a:pt x="2459503" y="1208218"/>
                        <a:pt x="2447000" y="1220721"/>
                      </a:cubicBezTo>
                      <a:cubicBezTo>
                        <a:pt x="2434497" y="1226973"/>
                        <a:pt x="2409630" y="1220721"/>
                        <a:pt x="2397126" y="1214470"/>
                      </a:cubicBezTo>
                      <a:cubicBezTo>
                        <a:pt x="2390875" y="1214470"/>
                        <a:pt x="2397126" y="1201966"/>
                        <a:pt x="2390875" y="1201966"/>
                      </a:cubicBezTo>
                      <a:cubicBezTo>
                        <a:pt x="2390875" y="1201966"/>
                        <a:pt x="2378372" y="1201966"/>
                        <a:pt x="2372259" y="1195715"/>
                      </a:cubicBezTo>
                      <a:cubicBezTo>
                        <a:pt x="2366007" y="1195715"/>
                        <a:pt x="2366007" y="1177099"/>
                        <a:pt x="2366007" y="1170848"/>
                      </a:cubicBezTo>
                      <a:cubicBezTo>
                        <a:pt x="2366007" y="1164596"/>
                        <a:pt x="2353504" y="1170848"/>
                        <a:pt x="2347392" y="1164596"/>
                      </a:cubicBezTo>
                      <a:lnTo>
                        <a:pt x="2359895" y="1152093"/>
                      </a:lnTo>
                      <a:cubicBezTo>
                        <a:pt x="2366146" y="1145841"/>
                        <a:pt x="2366146" y="1127226"/>
                        <a:pt x="2353643" y="1127226"/>
                      </a:cubicBezTo>
                      <a:cubicBezTo>
                        <a:pt x="2353643" y="1127226"/>
                        <a:pt x="2341140" y="1152093"/>
                        <a:pt x="2334889" y="1139729"/>
                      </a:cubicBezTo>
                      <a:cubicBezTo>
                        <a:pt x="2334889" y="1127226"/>
                        <a:pt x="2328637" y="1133477"/>
                        <a:pt x="2322385" y="1127226"/>
                      </a:cubicBezTo>
                      <a:cubicBezTo>
                        <a:pt x="2322385" y="1120974"/>
                        <a:pt x="2341001" y="1127226"/>
                        <a:pt x="2341001" y="1127226"/>
                      </a:cubicBezTo>
                      <a:cubicBezTo>
                        <a:pt x="2353504" y="1127226"/>
                        <a:pt x="2359617" y="1120974"/>
                        <a:pt x="2365869" y="1120974"/>
                      </a:cubicBezTo>
                      <a:cubicBezTo>
                        <a:pt x="2372120" y="1114723"/>
                        <a:pt x="2378372" y="1114723"/>
                        <a:pt x="2384623" y="1114723"/>
                      </a:cubicBezTo>
                      <a:cubicBezTo>
                        <a:pt x="2390875" y="1108471"/>
                        <a:pt x="2378372" y="1096107"/>
                        <a:pt x="2378372" y="1096107"/>
                      </a:cubicBezTo>
                      <a:lnTo>
                        <a:pt x="2384623" y="1096107"/>
                      </a:lnTo>
                      <a:lnTo>
                        <a:pt x="2359756" y="1083604"/>
                      </a:lnTo>
                      <a:cubicBezTo>
                        <a:pt x="2347253" y="1077352"/>
                        <a:pt x="2334889" y="1077352"/>
                        <a:pt x="2322385" y="1083604"/>
                      </a:cubicBezTo>
                      <a:cubicBezTo>
                        <a:pt x="2297518" y="1089855"/>
                        <a:pt x="2278764" y="1096107"/>
                        <a:pt x="2260148" y="1108471"/>
                      </a:cubicBezTo>
                      <a:cubicBezTo>
                        <a:pt x="2241532" y="1114723"/>
                        <a:pt x="2229029" y="1127087"/>
                        <a:pt x="2210274" y="1139590"/>
                      </a:cubicBezTo>
                      <a:cubicBezTo>
                        <a:pt x="2204023" y="1145841"/>
                        <a:pt x="2197771" y="1152093"/>
                        <a:pt x="2191520" y="1164457"/>
                      </a:cubicBezTo>
                      <a:lnTo>
                        <a:pt x="2166652" y="1176960"/>
                      </a:lnTo>
                      <a:cubicBezTo>
                        <a:pt x="2166652" y="1170709"/>
                        <a:pt x="2197771" y="1145841"/>
                        <a:pt x="2204023" y="1139590"/>
                      </a:cubicBezTo>
                      <a:cubicBezTo>
                        <a:pt x="2204023" y="1133338"/>
                        <a:pt x="2210274" y="1127087"/>
                        <a:pt x="2204023" y="1120974"/>
                      </a:cubicBezTo>
                      <a:cubicBezTo>
                        <a:pt x="2197771" y="1120974"/>
                        <a:pt x="2185407" y="1114723"/>
                        <a:pt x="2179155" y="1114723"/>
                      </a:cubicBezTo>
                      <a:cubicBezTo>
                        <a:pt x="2185407" y="1114723"/>
                        <a:pt x="2197771" y="1120974"/>
                        <a:pt x="2204023" y="1120974"/>
                      </a:cubicBezTo>
                      <a:cubicBezTo>
                        <a:pt x="2216526" y="1127226"/>
                        <a:pt x="2228890" y="1108471"/>
                        <a:pt x="2235141" y="1102358"/>
                      </a:cubicBezTo>
                      <a:cubicBezTo>
                        <a:pt x="2241393" y="1096107"/>
                        <a:pt x="2247645" y="1083743"/>
                        <a:pt x="2260009" y="1077491"/>
                      </a:cubicBezTo>
                      <a:cubicBezTo>
                        <a:pt x="2272512" y="1077491"/>
                        <a:pt x="2284876" y="1083743"/>
                        <a:pt x="2291128" y="1071239"/>
                      </a:cubicBezTo>
                      <a:cubicBezTo>
                        <a:pt x="2297379" y="1046372"/>
                        <a:pt x="2309743" y="1040121"/>
                        <a:pt x="2334750" y="1040121"/>
                      </a:cubicBezTo>
                      <a:cubicBezTo>
                        <a:pt x="2359617" y="1040121"/>
                        <a:pt x="2384623" y="1040121"/>
                        <a:pt x="2409490" y="1040121"/>
                      </a:cubicBezTo>
                      <a:cubicBezTo>
                        <a:pt x="2453113" y="1040121"/>
                        <a:pt x="2515350" y="1052624"/>
                        <a:pt x="2546469" y="1015253"/>
                      </a:cubicBezTo>
                      <a:cubicBezTo>
                        <a:pt x="2558972" y="1002750"/>
                        <a:pt x="2565085" y="996638"/>
                        <a:pt x="2577588" y="996638"/>
                      </a:cubicBezTo>
                      <a:cubicBezTo>
                        <a:pt x="2590091" y="996638"/>
                        <a:pt x="2602456" y="996638"/>
                        <a:pt x="2621210" y="984134"/>
                      </a:cubicBezTo>
                      <a:cubicBezTo>
                        <a:pt x="2627462" y="984134"/>
                        <a:pt x="2646077" y="971631"/>
                        <a:pt x="2646077" y="965519"/>
                      </a:cubicBezTo>
                      <a:cubicBezTo>
                        <a:pt x="2658581" y="946903"/>
                        <a:pt x="2627462" y="953016"/>
                        <a:pt x="2627462" y="946903"/>
                      </a:cubicBezTo>
                      <a:cubicBezTo>
                        <a:pt x="2627462" y="940651"/>
                        <a:pt x="2639965" y="940651"/>
                        <a:pt x="2639965" y="940651"/>
                      </a:cubicBezTo>
                      <a:cubicBezTo>
                        <a:pt x="2646216" y="934400"/>
                        <a:pt x="2639965" y="928148"/>
                        <a:pt x="2639965" y="922036"/>
                      </a:cubicBezTo>
                      <a:lnTo>
                        <a:pt x="2646216" y="915784"/>
                      </a:lnTo>
                      <a:cubicBezTo>
                        <a:pt x="2646216" y="909532"/>
                        <a:pt x="2633713" y="903281"/>
                        <a:pt x="2633713" y="903281"/>
                      </a:cubicBezTo>
                      <a:cubicBezTo>
                        <a:pt x="2627462" y="897029"/>
                        <a:pt x="2621210" y="897029"/>
                        <a:pt x="2621210" y="890778"/>
                      </a:cubicBezTo>
                      <a:cubicBezTo>
                        <a:pt x="2614959" y="890778"/>
                        <a:pt x="2602594" y="909394"/>
                        <a:pt x="2596343" y="897029"/>
                      </a:cubicBezTo>
                      <a:cubicBezTo>
                        <a:pt x="2596343" y="897029"/>
                        <a:pt x="2608846" y="890778"/>
                        <a:pt x="2602594" y="890778"/>
                      </a:cubicBezTo>
                      <a:cubicBezTo>
                        <a:pt x="2602594" y="884526"/>
                        <a:pt x="2596343" y="878275"/>
                        <a:pt x="2590091" y="878275"/>
                      </a:cubicBezTo>
                      <a:cubicBezTo>
                        <a:pt x="2583840" y="872023"/>
                        <a:pt x="2558972" y="878275"/>
                        <a:pt x="2552721" y="884526"/>
                      </a:cubicBezTo>
                      <a:cubicBezTo>
                        <a:pt x="2546469" y="897029"/>
                        <a:pt x="2527853" y="903142"/>
                        <a:pt x="2515350" y="909394"/>
                      </a:cubicBezTo>
                      <a:cubicBezTo>
                        <a:pt x="2509099" y="909394"/>
                        <a:pt x="2490483" y="896890"/>
                        <a:pt x="2490483" y="890778"/>
                      </a:cubicBezTo>
                      <a:cubicBezTo>
                        <a:pt x="2490483" y="884526"/>
                        <a:pt x="2509238" y="903281"/>
                        <a:pt x="2509238" y="903281"/>
                      </a:cubicBezTo>
                      <a:cubicBezTo>
                        <a:pt x="2515489" y="903281"/>
                        <a:pt x="2540356" y="884665"/>
                        <a:pt x="2540356" y="884665"/>
                      </a:cubicBezTo>
                      <a:lnTo>
                        <a:pt x="2527853" y="878413"/>
                      </a:lnTo>
                      <a:cubicBezTo>
                        <a:pt x="2546469" y="872162"/>
                        <a:pt x="2565224" y="872162"/>
                        <a:pt x="2583840" y="865910"/>
                      </a:cubicBezTo>
                      <a:cubicBezTo>
                        <a:pt x="2583840" y="865910"/>
                        <a:pt x="2596343" y="859659"/>
                        <a:pt x="2590091" y="853407"/>
                      </a:cubicBezTo>
                      <a:lnTo>
                        <a:pt x="2577588" y="840904"/>
                      </a:lnTo>
                      <a:cubicBezTo>
                        <a:pt x="2565085" y="847156"/>
                        <a:pt x="2552721" y="847156"/>
                        <a:pt x="2546469" y="834653"/>
                      </a:cubicBezTo>
                      <a:cubicBezTo>
                        <a:pt x="2540218" y="834653"/>
                        <a:pt x="2515350" y="853268"/>
                        <a:pt x="2515350" y="847156"/>
                      </a:cubicBezTo>
                      <a:cubicBezTo>
                        <a:pt x="2515350" y="847156"/>
                        <a:pt x="2533966" y="828540"/>
                        <a:pt x="2515350" y="834653"/>
                      </a:cubicBezTo>
                      <a:lnTo>
                        <a:pt x="2490483" y="840904"/>
                      </a:lnTo>
                      <a:cubicBezTo>
                        <a:pt x="2496735" y="828401"/>
                        <a:pt x="2515350" y="828401"/>
                        <a:pt x="2502986" y="809785"/>
                      </a:cubicBezTo>
                      <a:lnTo>
                        <a:pt x="2478119" y="797282"/>
                      </a:lnTo>
                      <a:cubicBezTo>
                        <a:pt x="2465616" y="797282"/>
                        <a:pt x="2465616" y="784779"/>
                        <a:pt x="2453251" y="784779"/>
                      </a:cubicBezTo>
                      <a:cubicBezTo>
                        <a:pt x="2459503" y="784779"/>
                        <a:pt x="2440748" y="759912"/>
                        <a:pt x="2440748" y="759912"/>
                      </a:cubicBezTo>
                      <a:cubicBezTo>
                        <a:pt x="2440748" y="759912"/>
                        <a:pt x="2447000" y="766163"/>
                        <a:pt x="2453251" y="766163"/>
                      </a:cubicBezTo>
                      <a:cubicBezTo>
                        <a:pt x="2459503" y="772415"/>
                        <a:pt x="2459503" y="759912"/>
                        <a:pt x="2465755" y="759912"/>
                      </a:cubicBezTo>
                      <a:cubicBezTo>
                        <a:pt x="2490622" y="753660"/>
                        <a:pt x="2447139" y="735044"/>
                        <a:pt x="2440887" y="728793"/>
                      </a:cubicBezTo>
                      <a:cubicBezTo>
                        <a:pt x="2440887" y="735044"/>
                        <a:pt x="2453390" y="722541"/>
                        <a:pt x="2453390" y="722541"/>
                      </a:cubicBezTo>
                      <a:cubicBezTo>
                        <a:pt x="2459642" y="716290"/>
                        <a:pt x="2447139" y="716290"/>
                        <a:pt x="2440887" y="710038"/>
                      </a:cubicBezTo>
                      <a:cubicBezTo>
                        <a:pt x="2440887" y="710038"/>
                        <a:pt x="2434636" y="703787"/>
                        <a:pt x="2428384" y="703787"/>
                      </a:cubicBezTo>
                      <a:lnTo>
                        <a:pt x="2415881" y="703787"/>
                      </a:lnTo>
                      <a:cubicBezTo>
                        <a:pt x="2422133" y="697535"/>
                        <a:pt x="2434497" y="703787"/>
                        <a:pt x="2428384" y="685171"/>
                      </a:cubicBezTo>
                      <a:cubicBezTo>
                        <a:pt x="2422133" y="685171"/>
                        <a:pt x="2403517" y="691422"/>
                        <a:pt x="2403517" y="691422"/>
                      </a:cubicBezTo>
                      <a:cubicBezTo>
                        <a:pt x="2403517" y="685171"/>
                        <a:pt x="2422133" y="685171"/>
                        <a:pt x="2416020" y="672807"/>
                      </a:cubicBezTo>
                      <a:cubicBezTo>
                        <a:pt x="2416020" y="666555"/>
                        <a:pt x="2416020" y="660304"/>
                        <a:pt x="2409768" y="654191"/>
                      </a:cubicBezTo>
                      <a:cubicBezTo>
                        <a:pt x="2409768" y="654191"/>
                        <a:pt x="2403517" y="660443"/>
                        <a:pt x="2403517" y="654191"/>
                      </a:cubicBezTo>
                      <a:cubicBezTo>
                        <a:pt x="2403517" y="660443"/>
                        <a:pt x="2391014" y="635575"/>
                        <a:pt x="2391014" y="635575"/>
                      </a:cubicBezTo>
                      <a:cubicBezTo>
                        <a:pt x="2384762" y="623072"/>
                        <a:pt x="2378510" y="616959"/>
                        <a:pt x="2378510" y="610708"/>
                      </a:cubicBezTo>
                      <a:cubicBezTo>
                        <a:pt x="2372259" y="598205"/>
                        <a:pt x="2372259" y="585841"/>
                        <a:pt x="2359895" y="604456"/>
                      </a:cubicBezTo>
                      <a:cubicBezTo>
                        <a:pt x="2359895" y="604456"/>
                        <a:pt x="2353643" y="629324"/>
                        <a:pt x="2359895" y="623072"/>
                      </a:cubicBezTo>
                      <a:cubicBezTo>
                        <a:pt x="2335028" y="629324"/>
                        <a:pt x="2347392" y="629324"/>
                        <a:pt x="2353643" y="647939"/>
                      </a:cubicBezTo>
                      <a:cubicBezTo>
                        <a:pt x="2353643" y="641688"/>
                        <a:pt x="2347392" y="641688"/>
                        <a:pt x="2347392" y="647939"/>
                      </a:cubicBezTo>
                      <a:cubicBezTo>
                        <a:pt x="2341140" y="647939"/>
                        <a:pt x="2341140" y="647939"/>
                        <a:pt x="2334889" y="654191"/>
                      </a:cubicBezTo>
                      <a:lnTo>
                        <a:pt x="2347392" y="660443"/>
                      </a:lnTo>
                      <a:cubicBezTo>
                        <a:pt x="2341140" y="666694"/>
                        <a:pt x="2328776" y="660443"/>
                        <a:pt x="2328776" y="666694"/>
                      </a:cubicBezTo>
                      <a:cubicBezTo>
                        <a:pt x="2322525" y="672946"/>
                        <a:pt x="2335028" y="685310"/>
                        <a:pt x="2322525" y="691561"/>
                      </a:cubicBezTo>
                      <a:cubicBezTo>
                        <a:pt x="2328776" y="691561"/>
                        <a:pt x="2316273" y="666694"/>
                        <a:pt x="2303770" y="679058"/>
                      </a:cubicBezTo>
                      <a:cubicBezTo>
                        <a:pt x="2303770" y="685310"/>
                        <a:pt x="2278902" y="703926"/>
                        <a:pt x="2278902" y="703926"/>
                      </a:cubicBezTo>
                      <a:cubicBezTo>
                        <a:pt x="2272651" y="703926"/>
                        <a:pt x="2272651" y="697674"/>
                        <a:pt x="2272651" y="691422"/>
                      </a:cubicBezTo>
                      <a:cubicBezTo>
                        <a:pt x="2266399" y="691422"/>
                        <a:pt x="2266399" y="697674"/>
                        <a:pt x="2266399" y="697674"/>
                      </a:cubicBezTo>
                      <a:cubicBezTo>
                        <a:pt x="2260148" y="691422"/>
                        <a:pt x="2266399" y="691422"/>
                        <a:pt x="2266399" y="685171"/>
                      </a:cubicBezTo>
                      <a:cubicBezTo>
                        <a:pt x="2266399" y="691422"/>
                        <a:pt x="2222777" y="722541"/>
                        <a:pt x="2222777" y="716290"/>
                      </a:cubicBezTo>
                      <a:cubicBezTo>
                        <a:pt x="2216526" y="710038"/>
                        <a:pt x="2241532" y="703787"/>
                        <a:pt x="2247645" y="703787"/>
                      </a:cubicBezTo>
                      <a:cubicBezTo>
                        <a:pt x="2260148" y="691284"/>
                        <a:pt x="2260148" y="685171"/>
                        <a:pt x="2253896" y="672668"/>
                      </a:cubicBezTo>
                      <a:cubicBezTo>
                        <a:pt x="2247645" y="666416"/>
                        <a:pt x="2229029" y="666416"/>
                        <a:pt x="2222777" y="666416"/>
                      </a:cubicBezTo>
                      <a:cubicBezTo>
                        <a:pt x="2216526" y="666416"/>
                        <a:pt x="2216526" y="672668"/>
                        <a:pt x="2216526" y="672668"/>
                      </a:cubicBezTo>
                      <a:cubicBezTo>
                        <a:pt x="2210274" y="685171"/>
                        <a:pt x="2197910" y="672668"/>
                        <a:pt x="2191658" y="672668"/>
                      </a:cubicBezTo>
                      <a:cubicBezTo>
                        <a:pt x="2197910" y="672668"/>
                        <a:pt x="2210413" y="660165"/>
                        <a:pt x="2210413" y="660165"/>
                      </a:cubicBezTo>
                      <a:lnTo>
                        <a:pt x="2216664" y="666416"/>
                      </a:lnTo>
                      <a:cubicBezTo>
                        <a:pt x="2210413" y="666416"/>
                        <a:pt x="2222916" y="653913"/>
                        <a:pt x="2222916" y="653913"/>
                      </a:cubicBezTo>
                      <a:cubicBezTo>
                        <a:pt x="2229168" y="641410"/>
                        <a:pt x="2216664" y="647662"/>
                        <a:pt x="2210413" y="641410"/>
                      </a:cubicBezTo>
                      <a:cubicBezTo>
                        <a:pt x="2210413" y="641410"/>
                        <a:pt x="2216664" y="610291"/>
                        <a:pt x="2204161" y="616543"/>
                      </a:cubicBezTo>
                      <a:cubicBezTo>
                        <a:pt x="2210413" y="610291"/>
                        <a:pt x="2216664" y="610291"/>
                        <a:pt x="2210413" y="597927"/>
                      </a:cubicBezTo>
                      <a:cubicBezTo>
                        <a:pt x="2197910" y="591675"/>
                        <a:pt x="2222916" y="585424"/>
                        <a:pt x="2216664" y="573060"/>
                      </a:cubicBezTo>
                      <a:cubicBezTo>
                        <a:pt x="2216664" y="566808"/>
                        <a:pt x="2204161" y="579311"/>
                        <a:pt x="2198049" y="573060"/>
                      </a:cubicBezTo>
                      <a:cubicBezTo>
                        <a:pt x="2191797" y="566808"/>
                        <a:pt x="2179433" y="566808"/>
                        <a:pt x="2173182" y="566808"/>
                      </a:cubicBezTo>
                      <a:cubicBezTo>
                        <a:pt x="2160679" y="560557"/>
                        <a:pt x="2154566" y="560557"/>
                        <a:pt x="2148314" y="548192"/>
                      </a:cubicBezTo>
                      <a:cubicBezTo>
                        <a:pt x="2148314" y="535689"/>
                        <a:pt x="2129559" y="541941"/>
                        <a:pt x="2129559" y="529577"/>
                      </a:cubicBezTo>
                      <a:cubicBezTo>
                        <a:pt x="2129559" y="523325"/>
                        <a:pt x="2117056" y="529577"/>
                        <a:pt x="2117056" y="529577"/>
                      </a:cubicBezTo>
                      <a:cubicBezTo>
                        <a:pt x="2123308" y="517073"/>
                        <a:pt x="2110805" y="517073"/>
                        <a:pt x="2104553" y="510961"/>
                      </a:cubicBezTo>
                      <a:cubicBezTo>
                        <a:pt x="2092050" y="504709"/>
                        <a:pt x="2092050" y="498458"/>
                        <a:pt x="2079686" y="504709"/>
                      </a:cubicBezTo>
                      <a:cubicBezTo>
                        <a:pt x="2067322" y="510961"/>
                        <a:pt x="2061070" y="517212"/>
                        <a:pt x="2048567" y="510961"/>
                      </a:cubicBezTo>
                      <a:cubicBezTo>
                        <a:pt x="2036064" y="504709"/>
                        <a:pt x="2029951" y="517212"/>
                        <a:pt x="2017448" y="510961"/>
                      </a:cubicBezTo>
                      <a:cubicBezTo>
                        <a:pt x="2004945" y="498458"/>
                        <a:pt x="1992581" y="498458"/>
                        <a:pt x="1980078" y="498458"/>
                      </a:cubicBezTo>
                      <a:cubicBezTo>
                        <a:pt x="1967575" y="498458"/>
                        <a:pt x="1955210" y="498458"/>
                        <a:pt x="1948959" y="510961"/>
                      </a:cubicBezTo>
                      <a:cubicBezTo>
                        <a:pt x="1942707" y="523464"/>
                        <a:pt x="1961462" y="529577"/>
                        <a:pt x="1961462" y="535828"/>
                      </a:cubicBezTo>
                      <a:cubicBezTo>
                        <a:pt x="1967713" y="542080"/>
                        <a:pt x="1961462" y="560695"/>
                        <a:pt x="1955210" y="566947"/>
                      </a:cubicBezTo>
                      <a:cubicBezTo>
                        <a:pt x="1955210" y="573199"/>
                        <a:pt x="1955210" y="566947"/>
                        <a:pt x="1948959" y="573199"/>
                      </a:cubicBezTo>
                      <a:lnTo>
                        <a:pt x="1961462" y="585702"/>
                      </a:lnTo>
                      <a:cubicBezTo>
                        <a:pt x="1961462" y="598205"/>
                        <a:pt x="1967713" y="610569"/>
                        <a:pt x="1967713" y="616821"/>
                      </a:cubicBezTo>
                      <a:cubicBezTo>
                        <a:pt x="1967713" y="623072"/>
                        <a:pt x="1967713" y="623072"/>
                        <a:pt x="1967713" y="629324"/>
                      </a:cubicBezTo>
                      <a:cubicBezTo>
                        <a:pt x="1967713" y="635575"/>
                        <a:pt x="1961462" y="629324"/>
                        <a:pt x="1961462" y="629324"/>
                      </a:cubicBezTo>
                      <a:cubicBezTo>
                        <a:pt x="1955210" y="635575"/>
                        <a:pt x="1955210" y="647939"/>
                        <a:pt x="1955210" y="647939"/>
                      </a:cubicBezTo>
                      <a:cubicBezTo>
                        <a:pt x="1948959" y="654191"/>
                        <a:pt x="1942707" y="660443"/>
                        <a:pt x="1942707" y="666555"/>
                      </a:cubicBezTo>
                      <a:cubicBezTo>
                        <a:pt x="1936456" y="679058"/>
                        <a:pt x="1936456" y="679058"/>
                        <a:pt x="1942707" y="685171"/>
                      </a:cubicBezTo>
                      <a:cubicBezTo>
                        <a:pt x="1961323" y="697674"/>
                        <a:pt x="1980078" y="710038"/>
                        <a:pt x="1992581" y="722541"/>
                      </a:cubicBezTo>
                      <a:cubicBezTo>
                        <a:pt x="1998832" y="741157"/>
                        <a:pt x="2005084" y="772276"/>
                        <a:pt x="1998832" y="791031"/>
                      </a:cubicBezTo>
                      <a:cubicBezTo>
                        <a:pt x="1986329" y="815898"/>
                        <a:pt x="1948959" y="828401"/>
                        <a:pt x="1930343" y="840765"/>
                      </a:cubicBezTo>
                      <a:cubicBezTo>
                        <a:pt x="1924092" y="847017"/>
                        <a:pt x="1917840" y="847017"/>
                        <a:pt x="1911727" y="853268"/>
                      </a:cubicBezTo>
                      <a:cubicBezTo>
                        <a:pt x="1892973" y="859520"/>
                        <a:pt x="1917979" y="878136"/>
                        <a:pt x="1917979" y="890639"/>
                      </a:cubicBezTo>
                      <a:cubicBezTo>
                        <a:pt x="1917979" y="890639"/>
                        <a:pt x="1924230" y="903142"/>
                        <a:pt x="1924230" y="909255"/>
                      </a:cubicBezTo>
                      <a:cubicBezTo>
                        <a:pt x="1924230" y="921758"/>
                        <a:pt x="1924230" y="927870"/>
                        <a:pt x="1930482" y="940374"/>
                      </a:cubicBezTo>
                      <a:cubicBezTo>
                        <a:pt x="1936734" y="952877"/>
                        <a:pt x="1936734" y="958989"/>
                        <a:pt x="1924230" y="971492"/>
                      </a:cubicBezTo>
                      <a:cubicBezTo>
                        <a:pt x="1924230" y="971492"/>
                        <a:pt x="1930482" y="996360"/>
                        <a:pt x="1924230" y="1002611"/>
                      </a:cubicBezTo>
                      <a:cubicBezTo>
                        <a:pt x="1917979" y="1002611"/>
                        <a:pt x="1911727" y="977744"/>
                        <a:pt x="1905615" y="990108"/>
                      </a:cubicBezTo>
                      <a:cubicBezTo>
                        <a:pt x="1899363" y="1002611"/>
                        <a:pt x="1911866" y="1021227"/>
                        <a:pt x="1911866" y="1021227"/>
                      </a:cubicBezTo>
                      <a:cubicBezTo>
                        <a:pt x="1911866" y="1014975"/>
                        <a:pt x="1874496" y="983856"/>
                        <a:pt x="1855741" y="1002611"/>
                      </a:cubicBezTo>
                      <a:cubicBezTo>
                        <a:pt x="1861993" y="996360"/>
                        <a:pt x="1880608" y="990108"/>
                        <a:pt x="1868244" y="977744"/>
                      </a:cubicBezTo>
                      <a:cubicBezTo>
                        <a:pt x="1861993" y="971492"/>
                        <a:pt x="1855741" y="965241"/>
                        <a:pt x="1849628" y="965241"/>
                      </a:cubicBezTo>
                      <a:cubicBezTo>
                        <a:pt x="1849628" y="958989"/>
                        <a:pt x="1837125" y="958989"/>
                        <a:pt x="1830874" y="958989"/>
                      </a:cubicBezTo>
                      <a:cubicBezTo>
                        <a:pt x="1830874" y="952738"/>
                        <a:pt x="1837125" y="952738"/>
                        <a:pt x="1830874" y="940374"/>
                      </a:cubicBezTo>
                      <a:cubicBezTo>
                        <a:pt x="1824622" y="934122"/>
                        <a:pt x="1818371" y="921758"/>
                        <a:pt x="1824622" y="909255"/>
                      </a:cubicBezTo>
                      <a:cubicBezTo>
                        <a:pt x="1830874" y="890639"/>
                        <a:pt x="1812119" y="884387"/>
                        <a:pt x="1812119" y="871884"/>
                      </a:cubicBezTo>
                      <a:cubicBezTo>
                        <a:pt x="1812119" y="859381"/>
                        <a:pt x="1824622" y="853268"/>
                        <a:pt x="1818371" y="840765"/>
                      </a:cubicBezTo>
                      <a:cubicBezTo>
                        <a:pt x="1805868" y="828262"/>
                        <a:pt x="1781000" y="828262"/>
                        <a:pt x="1762246" y="828262"/>
                      </a:cubicBezTo>
                      <a:cubicBezTo>
                        <a:pt x="1755994" y="828262"/>
                        <a:pt x="1749743" y="828262"/>
                        <a:pt x="1737378" y="828262"/>
                      </a:cubicBezTo>
                      <a:lnTo>
                        <a:pt x="1724875" y="840765"/>
                      </a:lnTo>
                      <a:cubicBezTo>
                        <a:pt x="1724875" y="834514"/>
                        <a:pt x="1731127" y="834514"/>
                        <a:pt x="1724875" y="828262"/>
                      </a:cubicBezTo>
                      <a:cubicBezTo>
                        <a:pt x="1724875" y="822011"/>
                        <a:pt x="1718624" y="815759"/>
                        <a:pt x="1712372" y="815759"/>
                      </a:cubicBezTo>
                      <a:cubicBezTo>
                        <a:pt x="1699869" y="809507"/>
                        <a:pt x="1687505" y="809507"/>
                        <a:pt x="1675002" y="803256"/>
                      </a:cubicBezTo>
                      <a:cubicBezTo>
                        <a:pt x="1656386" y="797004"/>
                        <a:pt x="1643883" y="778389"/>
                        <a:pt x="1625128" y="765885"/>
                      </a:cubicBezTo>
                      <a:cubicBezTo>
                        <a:pt x="1612625" y="759634"/>
                        <a:pt x="1600261" y="753382"/>
                        <a:pt x="1594009" y="753382"/>
                      </a:cubicBezTo>
                      <a:cubicBezTo>
                        <a:pt x="1581506" y="753382"/>
                        <a:pt x="1569142" y="740879"/>
                        <a:pt x="1556639" y="740879"/>
                      </a:cubicBezTo>
                      <a:cubicBezTo>
                        <a:pt x="1550387" y="740879"/>
                        <a:pt x="1494401" y="753382"/>
                        <a:pt x="1494401" y="753382"/>
                      </a:cubicBezTo>
                      <a:cubicBezTo>
                        <a:pt x="1494401" y="747131"/>
                        <a:pt x="1500652" y="747131"/>
                        <a:pt x="1506904" y="740879"/>
                      </a:cubicBezTo>
                      <a:cubicBezTo>
                        <a:pt x="1506904" y="734628"/>
                        <a:pt x="1500652" y="728376"/>
                        <a:pt x="1500652" y="728376"/>
                      </a:cubicBezTo>
                      <a:cubicBezTo>
                        <a:pt x="1494401" y="709760"/>
                        <a:pt x="1488149" y="697257"/>
                        <a:pt x="1482037" y="684754"/>
                      </a:cubicBezTo>
                      <a:cubicBezTo>
                        <a:pt x="1475785" y="672251"/>
                        <a:pt x="1469534" y="672251"/>
                        <a:pt x="1457169" y="672251"/>
                      </a:cubicBezTo>
                      <a:cubicBezTo>
                        <a:pt x="1438415" y="672251"/>
                        <a:pt x="1432302" y="672251"/>
                        <a:pt x="1432302" y="653635"/>
                      </a:cubicBezTo>
                      <a:cubicBezTo>
                        <a:pt x="1438554" y="641132"/>
                        <a:pt x="1432302" y="622516"/>
                        <a:pt x="1432302" y="610013"/>
                      </a:cubicBezTo>
                      <a:cubicBezTo>
                        <a:pt x="1438554" y="591397"/>
                        <a:pt x="1450918" y="578894"/>
                        <a:pt x="1457169" y="560279"/>
                      </a:cubicBezTo>
                      <a:cubicBezTo>
                        <a:pt x="1463421" y="547776"/>
                        <a:pt x="1463421" y="541663"/>
                        <a:pt x="1475785" y="535411"/>
                      </a:cubicBezTo>
                      <a:cubicBezTo>
                        <a:pt x="1482037" y="535411"/>
                        <a:pt x="1475785" y="529160"/>
                        <a:pt x="1475785" y="522908"/>
                      </a:cubicBezTo>
                      <a:cubicBezTo>
                        <a:pt x="1482037" y="522908"/>
                        <a:pt x="1494401" y="510405"/>
                        <a:pt x="1494401" y="510405"/>
                      </a:cubicBezTo>
                      <a:cubicBezTo>
                        <a:pt x="1494401" y="510405"/>
                        <a:pt x="1494401" y="510405"/>
                        <a:pt x="1488149" y="504154"/>
                      </a:cubicBezTo>
                      <a:lnTo>
                        <a:pt x="1494401" y="504154"/>
                      </a:lnTo>
                      <a:cubicBezTo>
                        <a:pt x="1494401" y="491650"/>
                        <a:pt x="1506904" y="497902"/>
                        <a:pt x="1513017" y="497902"/>
                      </a:cubicBezTo>
                      <a:cubicBezTo>
                        <a:pt x="1519268" y="497902"/>
                        <a:pt x="1519268" y="491650"/>
                        <a:pt x="1519268" y="491650"/>
                      </a:cubicBezTo>
                      <a:cubicBezTo>
                        <a:pt x="1525520" y="479147"/>
                        <a:pt x="1513017" y="485399"/>
                        <a:pt x="1506765" y="479147"/>
                      </a:cubicBezTo>
                      <a:lnTo>
                        <a:pt x="1519268" y="479147"/>
                      </a:lnTo>
                      <a:cubicBezTo>
                        <a:pt x="1525520" y="472896"/>
                        <a:pt x="1531771" y="479147"/>
                        <a:pt x="1531771" y="479147"/>
                      </a:cubicBezTo>
                      <a:cubicBezTo>
                        <a:pt x="1544275" y="491650"/>
                        <a:pt x="1544275" y="479147"/>
                        <a:pt x="1556639" y="472896"/>
                      </a:cubicBezTo>
                      <a:cubicBezTo>
                        <a:pt x="1569142" y="460393"/>
                        <a:pt x="1544136" y="448028"/>
                        <a:pt x="1531771" y="441777"/>
                      </a:cubicBezTo>
                      <a:cubicBezTo>
                        <a:pt x="1525520" y="441777"/>
                        <a:pt x="1500652" y="448028"/>
                        <a:pt x="1500652" y="448028"/>
                      </a:cubicBezTo>
                      <a:cubicBezTo>
                        <a:pt x="1494401" y="435525"/>
                        <a:pt x="1513156" y="435525"/>
                        <a:pt x="1494401" y="429413"/>
                      </a:cubicBezTo>
                      <a:cubicBezTo>
                        <a:pt x="1488149" y="429413"/>
                        <a:pt x="1457030" y="429413"/>
                        <a:pt x="1457030" y="423161"/>
                      </a:cubicBezTo>
                      <a:cubicBezTo>
                        <a:pt x="1457030" y="416910"/>
                        <a:pt x="1469534" y="416910"/>
                        <a:pt x="1469534" y="416910"/>
                      </a:cubicBezTo>
                      <a:cubicBezTo>
                        <a:pt x="1475785" y="410658"/>
                        <a:pt x="1475785" y="416910"/>
                        <a:pt x="1482037" y="416910"/>
                      </a:cubicBezTo>
                      <a:cubicBezTo>
                        <a:pt x="1475785" y="423161"/>
                        <a:pt x="1494540" y="423161"/>
                        <a:pt x="1494540" y="423161"/>
                      </a:cubicBezTo>
                      <a:cubicBezTo>
                        <a:pt x="1507043" y="423161"/>
                        <a:pt x="1525659" y="435664"/>
                        <a:pt x="1531910" y="435664"/>
                      </a:cubicBezTo>
                      <a:cubicBezTo>
                        <a:pt x="1538162" y="435664"/>
                        <a:pt x="1544413" y="441916"/>
                        <a:pt x="1550665" y="441916"/>
                      </a:cubicBezTo>
                      <a:cubicBezTo>
                        <a:pt x="1563168" y="448167"/>
                        <a:pt x="1556917" y="441916"/>
                        <a:pt x="1563168" y="441916"/>
                      </a:cubicBezTo>
                      <a:cubicBezTo>
                        <a:pt x="1569420" y="441916"/>
                        <a:pt x="1588035" y="441916"/>
                        <a:pt x="1581923" y="435664"/>
                      </a:cubicBezTo>
                      <a:cubicBezTo>
                        <a:pt x="1575671" y="429413"/>
                        <a:pt x="1581923" y="417048"/>
                        <a:pt x="1588174" y="410797"/>
                      </a:cubicBezTo>
                      <a:cubicBezTo>
                        <a:pt x="1588174" y="417048"/>
                        <a:pt x="1606790" y="423300"/>
                        <a:pt x="1606790" y="423300"/>
                      </a:cubicBezTo>
                      <a:cubicBezTo>
                        <a:pt x="1619293" y="423300"/>
                        <a:pt x="1625406" y="423300"/>
                        <a:pt x="1637909" y="417048"/>
                      </a:cubicBezTo>
                      <a:cubicBezTo>
                        <a:pt x="1644161" y="410797"/>
                        <a:pt x="1650412" y="398433"/>
                        <a:pt x="1656525" y="392181"/>
                      </a:cubicBezTo>
                      <a:cubicBezTo>
                        <a:pt x="1662776" y="385930"/>
                        <a:pt x="1675140" y="379678"/>
                        <a:pt x="1669028" y="367314"/>
                      </a:cubicBezTo>
                      <a:cubicBezTo>
                        <a:pt x="1662776" y="354811"/>
                        <a:pt x="1644161" y="361062"/>
                        <a:pt x="1637909" y="361062"/>
                      </a:cubicBezTo>
                      <a:cubicBezTo>
                        <a:pt x="1619293" y="361062"/>
                        <a:pt x="1606790" y="354811"/>
                        <a:pt x="1594287" y="348559"/>
                      </a:cubicBezTo>
                      <a:cubicBezTo>
                        <a:pt x="1588035" y="342308"/>
                        <a:pt x="1581784" y="336056"/>
                        <a:pt x="1569420" y="329943"/>
                      </a:cubicBezTo>
                      <a:lnTo>
                        <a:pt x="1538301" y="329943"/>
                      </a:lnTo>
                      <a:cubicBezTo>
                        <a:pt x="1538301" y="323692"/>
                        <a:pt x="1569420" y="329943"/>
                        <a:pt x="1575671" y="329943"/>
                      </a:cubicBezTo>
                      <a:cubicBezTo>
                        <a:pt x="1588174" y="329943"/>
                        <a:pt x="1588174" y="323692"/>
                        <a:pt x="1600539" y="329943"/>
                      </a:cubicBezTo>
                      <a:cubicBezTo>
                        <a:pt x="1625406" y="342447"/>
                        <a:pt x="1650412" y="367314"/>
                        <a:pt x="1675279" y="348559"/>
                      </a:cubicBezTo>
                      <a:cubicBezTo>
                        <a:pt x="1687782" y="336056"/>
                        <a:pt x="1694034" y="329943"/>
                        <a:pt x="1700147" y="317440"/>
                      </a:cubicBezTo>
                      <a:cubicBezTo>
                        <a:pt x="1706398" y="311189"/>
                        <a:pt x="1669028" y="304937"/>
                        <a:pt x="1687644" y="292573"/>
                      </a:cubicBezTo>
                      <a:cubicBezTo>
                        <a:pt x="1693895" y="292573"/>
                        <a:pt x="1712511" y="292573"/>
                        <a:pt x="1718762" y="298825"/>
                      </a:cubicBezTo>
                      <a:cubicBezTo>
                        <a:pt x="1737378" y="298825"/>
                        <a:pt x="1737378" y="311328"/>
                        <a:pt x="1756133" y="298825"/>
                      </a:cubicBezTo>
                      <a:cubicBezTo>
                        <a:pt x="1756133" y="298825"/>
                        <a:pt x="1774749" y="305076"/>
                        <a:pt x="1768636" y="292573"/>
                      </a:cubicBezTo>
                      <a:cubicBezTo>
                        <a:pt x="1762385" y="286321"/>
                        <a:pt x="1737517" y="273957"/>
                        <a:pt x="1731266" y="273957"/>
                      </a:cubicBezTo>
                      <a:cubicBezTo>
                        <a:pt x="1743769" y="267706"/>
                        <a:pt x="1756133" y="280209"/>
                        <a:pt x="1768636" y="280209"/>
                      </a:cubicBezTo>
                      <a:cubicBezTo>
                        <a:pt x="1774888" y="280209"/>
                        <a:pt x="1787391" y="311328"/>
                        <a:pt x="1799755" y="305076"/>
                      </a:cubicBezTo>
                      <a:lnTo>
                        <a:pt x="1793503" y="298825"/>
                      </a:lnTo>
                      <a:cubicBezTo>
                        <a:pt x="1799755" y="292573"/>
                        <a:pt x="1806007" y="292573"/>
                        <a:pt x="1818371" y="286321"/>
                      </a:cubicBezTo>
                      <a:cubicBezTo>
                        <a:pt x="1824622" y="280070"/>
                        <a:pt x="1843238" y="261454"/>
                        <a:pt x="1849490" y="255202"/>
                      </a:cubicBezTo>
                      <a:cubicBezTo>
                        <a:pt x="1849490" y="236587"/>
                        <a:pt x="1836986" y="236587"/>
                        <a:pt x="1824622" y="224084"/>
                      </a:cubicBezTo>
                      <a:cubicBezTo>
                        <a:pt x="1824622" y="224084"/>
                        <a:pt x="1806007" y="186713"/>
                        <a:pt x="1806007" y="192965"/>
                      </a:cubicBezTo>
                      <a:cubicBezTo>
                        <a:pt x="1812258" y="186713"/>
                        <a:pt x="1837125" y="186713"/>
                        <a:pt x="1843377" y="186713"/>
                      </a:cubicBezTo>
                      <a:cubicBezTo>
                        <a:pt x="1861993" y="180462"/>
                        <a:pt x="1830874" y="174210"/>
                        <a:pt x="1830874" y="168097"/>
                      </a:cubicBezTo>
                      <a:cubicBezTo>
                        <a:pt x="1824622" y="161846"/>
                        <a:pt x="1849628" y="161846"/>
                        <a:pt x="1849628" y="155594"/>
                      </a:cubicBezTo>
                      <a:lnTo>
                        <a:pt x="1787391" y="130727"/>
                      </a:lnTo>
                      <a:cubicBezTo>
                        <a:pt x="1793642" y="130727"/>
                        <a:pt x="1806007" y="124475"/>
                        <a:pt x="1812258" y="124475"/>
                      </a:cubicBezTo>
                      <a:cubicBezTo>
                        <a:pt x="1793642" y="124475"/>
                        <a:pt x="1774888" y="118224"/>
                        <a:pt x="1756272" y="118224"/>
                      </a:cubicBezTo>
                      <a:cubicBezTo>
                        <a:pt x="1743769" y="118224"/>
                        <a:pt x="1725153" y="124475"/>
                        <a:pt x="1718901" y="118224"/>
                      </a:cubicBezTo>
                      <a:cubicBezTo>
                        <a:pt x="1731405" y="124475"/>
                        <a:pt x="1712650" y="130727"/>
                        <a:pt x="1718901" y="143091"/>
                      </a:cubicBezTo>
                      <a:cubicBezTo>
                        <a:pt x="1725153" y="149343"/>
                        <a:pt x="1743769" y="155594"/>
                        <a:pt x="1743769" y="161707"/>
                      </a:cubicBezTo>
                      <a:lnTo>
                        <a:pt x="1731266" y="167959"/>
                      </a:lnTo>
                      <a:cubicBezTo>
                        <a:pt x="1731266" y="167959"/>
                        <a:pt x="1743769" y="174210"/>
                        <a:pt x="1737517" y="174210"/>
                      </a:cubicBezTo>
                      <a:cubicBezTo>
                        <a:pt x="1725014" y="180462"/>
                        <a:pt x="1718901" y="167959"/>
                        <a:pt x="1712650" y="192826"/>
                      </a:cubicBezTo>
                      <a:cubicBezTo>
                        <a:pt x="1706398" y="205329"/>
                        <a:pt x="1706398" y="217693"/>
                        <a:pt x="1700147" y="230196"/>
                      </a:cubicBezTo>
                      <a:cubicBezTo>
                        <a:pt x="1693895" y="230196"/>
                        <a:pt x="1687644" y="236448"/>
                        <a:pt x="1687644" y="242699"/>
                      </a:cubicBezTo>
                      <a:cubicBezTo>
                        <a:pt x="1687644" y="248951"/>
                        <a:pt x="1681392" y="248951"/>
                        <a:pt x="1681392" y="255202"/>
                      </a:cubicBezTo>
                      <a:cubicBezTo>
                        <a:pt x="1662776" y="261454"/>
                        <a:pt x="1668889" y="267706"/>
                        <a:pt x="1656525" y="248951"/>
                      </a:cubicBezTo>
                      <a:cubicBezTo>
                        <a:pt x="1650273" y="242699"/>
                        <a:pt x="1631657" y="230335"/>
                        <a:pt x="1631657" y="217832"/>
                      </a:cubicBezTo>
                      <a:cubicBezTo>
                        <a:pt x="1631657" y="217832"/>
                        <a:pt x="1631657" y="199216"/>
                        <a:pt x="1637909" y="199216"/>
                      </a:cubicBezTo>
                      <a:cubicBezTo>
                        <a:pt x="1637909" y="199216"/>
                        <a:pt x="1650412" y="205468"/>
                        <a:pt x="1650412" y="192965"/>
                      </a:cubicBezTo>
                      <a:cubicBezTo>
                        <a:pt x="1644161" y="180462"/>
                        <a:pt x="1644161" y="174349"/>
                        <a:pt x="1631796" y="161846"/>
                      </a:cubicBezTo>
                      <a:cubicBezTo>
                        <a:pt x="1619293" y="155594"/>
                        <a:pt x="1606929" y="143230"/>
                        <a:pt x="1594426" y="155594"/>
                      </a:cubicBezTo>
                      <a:cubicBezTo>
                        <a:pt x="1588174" y="161846"/>
                        <a:pt x="1588174" y="174210"/>
                        <a:pt x="1588174" y="186713"/>
                      </a:cubicBezTo>
                      <a:cubicBezTo>
                        <a:pt x="1588174" y="192965"/>
                        <a:pt x="1563307" y="192965"/>
                        <a:pt x="1563307" y="186713"/>
                      </a:cubicBezTo>
                      <a:cubicBezTo>
                        <a:pt x="1563307" y="180462"/>
                        <a:pt x="1563307" y="161846"/>
                        <a:pt x="1557055" y="155594"/>
                      </a:cubicBezTo>
                      <a:cubicBezTo>
                        <a:pt x="1532188" y="136979"/>
                        <a:pt x="1563307" y="155594"/>
                        <a:pt x="1563307" y="149343"/>
                      </a:cubicBezTo>
                      <a:cubicBezTo>
                        <a:pt x="1569559" y="149343"/>
                        <a:pt x="1575810" y="143091"/>
                        <a:pt x="1569559" y="143091"/>
                      </a:cubicBezTo>
                      <a:cubicBezTo>
                        <a:pt x="1569559" y="136840"/>
                        <a:pt x="1563307" y="130588"/>
                        <a:pt x="1557055" y="136840"/>
                      </a:cubicBezTo>
                      <a:cubicBezTo>
                        <a:pt x="1550804" y="143091"/>
                        <a:pt x="1550804" y="130588"/>
                        <a:pt x="1544552" y="130588"/>
                      </a:cubicBezTo>
                      <a:cubicBezTo>
                        <a:pt x="1538301" y="124337"/>
                        <a:pt x="1532049" y="136840"/>
                        <a:pt x="1525937" y="130588"/>
                      </a:cubicBezTo>
                      <a:cubicBezTo>
                        <a:pt x="1513433" y="124337"/>
                        <a:pt x="1507321" y="130588"/>
                        <a:pt x="1513433" y="111972"/>
                      </a:cubicBezTo>
                      <a:cubicBezTo>
                        <a:pt x="1513433" y="111972"/>
                        <a:pt x="1513433" y="111972"/>
                        <a:pt x="1519685" y="111972"/>
                      </a:cubicBezTo>
                      <a:cubicBezTo>
                        <a:pt x="1519685" y="105721"/>
                        <a:pt x="1519685" y="105721"/>
                        <a:pt x="1519685" y="99469"/>
                      </a:cubicBezTo>
                      <a:cubicBezTo>
                        <a:pt x="1525937" y="99469"/>
                        <a:pt x="1525937" y="99469"/>
                        <a:pt x="1532188" y="99469"/>
                      </a:cubicBezTo>
                      <a:cubicBezTo>
                        <a:pt x="1525937" y="99469"/>
                        <a:pt x="1519685" y="80853"/>
                        <a:pt x="1519685" y="80853"/>
                      </a:cubicBezTo>
                      <a:cubicBezTo>
                        <a:pt x="1513433" y="68350"/>
                        <a:pt x="1500930" y="68350"/>
                        <a:pt x="1500930" y="62238"/>
                      </a:cubicBezTo>
                      <a:cubicBezTo>
                        <a:pt x="1488427" y="55986"/>
                        <a:pt x="1494679" y="55986"/>
                        <a:pt x="1488427" y="43622"/>
                      </a:cubicBezTo>
                      <a:cubicBezTo>
                        <a:pt x="1488427" y="31119"/>
                        <a:pt x="1475924" y="25006"/>
                        <a:pt x="1475924" y="18755"/>
                      </a:cubicBezTo>
                      <a:cubicBezTo>
                        <a:pt x="1469672" y="6252"/>
                        <a:pt x="1457308" y="6252"/>
                        <a:pt x="1444805" y="6252"/>
                      </a:cubicBezTo>
                      <a:cubicBezTo>
                        <a:pt x="1438554" y="6252"/>
                        <a:pt x="1444805" y="0"/>
                        <a:pt x="1432302" y="0"/>
                      </a:cubicBezTo>
                      <a:cubicBezTo>
                        <a:pt x="1426051" y="0"/>
                        <a:pt x="1419799" y="0"/>
                        <a:pt x="1419799" y="12503"/>
                      </a:cubicBezTo>
                      <a:lnTo>
                        <a:pt x="1401183" y="18755"/>
                      </a:lnTo>
                      <a:cubicBezTo>
                        <a:pt x="1407435" y="18755"/>
                        <a:pt x="1419799" y="18755"/>
                        <a:pt x="1419799" y="25006"/>
                      </a:cubicBezTo>
                      <a:lnTo>
                        <a:pt x="1407296" y="31258"/>
                      </a:lnTo>
                      <a:cubicBezTo>
                        <a:pt x="1401044" y="37509"/>
                        <a:pt x="1394793" y="25006"/>
                        <a:pt x="1388680" y="37509"/>
                      </a:cubicBezTo>
                      <a:cubicBezTo>
                        <a:pt x="1382429" y="37509"/>
                        <a:pt x="1376177" y="56125"/>
                        <a:pt x="1376177" y="62377"/>
                      </a:cubicBezTo>
                      <a:cubicBezTo>
                        <a:pt x="1382429" y="62377"/>
                        <a:pt x="1394793" y="62377"/>
                        <a:pt x="1401044" y="68628"/>
                      </a:cubicBezTo>
                      <a:cubicBezTo>
                        <a:pt x="1394793" y="62377"/>
                        <a:pt x="1382429" y="87244"/>
                        <a:pt x="1382429" y="93496"/>
                      </a:cubicBezTo>
                      <a:cubicBezTo>
                        <a:pt x="1382429" y="99747"/>
                        <a:pt x="1394932" y="112111"/>
                        <a:pt x="1401044" y="118363"/>
                      </a:cubicBezTo>
                      <a:cubicBezTo>
                        <a:pt x="1407296" y="118363"/>
                        <a:pt x="1419660" y="130866"/>
                        <a:pt x="1425912" y="130866"/>
                      </a:cubicBezTo>
                      <a:cubicBezTo>
                        <a:pt x="1438415" y="124614"/>
                        <a:pt x="1438415" y="124614"/>
                        <a:pt x="1444527" y="130866"/>
                      </a:cubicBezTo>
                      <a:cubicBezTo>
                        <a:pt x="1450779" y="130866"/>
                        <a:pt x="1463143" y="143369"/>
                        <a:pt x="1463143" y="143369"/>
                      </a:cubicBezTo>
                      <a:cubicBezTo>
                        <a:pt x="1456892" y="149621"/>
                        <a:pt x="1450640" y="137117"/>
                        <a:pt x="1450640" y="149621"/>
                      </a:cubicBezTo>
                      <a:cubicBezTo>
                        <a:pt x="1450640" y="162124"/>
                        <a:pt x="1444388" y="162124"/>
                        <a:pt x="1444388" y="168236"/>
                      </a:cubicBezTo>
                      <a:cubicBezTo>
                        <a:pt x="1438137" y="180740"/>
                        <a:pt x="1450640" y="180740"/>
                        <a:pt x="1456892" y="174488"/>
                      </a:cubicBezTo>
                      <a:cubicBezTo>
                        <a:pt x="1456892" y="174488"/>
                        <a:pt x="1469395" y="155872"/>
                        <a:pt x="1469395" y="161985"/>
                      </a:cubicBezTo>
                      <a:cubicBezTo>
                        <a:pt x="1475646" y="168236"/>
                        <a:pt x="1469395" y="180601"/>
                        <a:pt x="1469395" y="186852"/>
                      </a:cubicBezTo>
                      <a:cubicBezTo>
                        <a:pt x="1463143" y="193104"/>
                        <a:pt x="1456892" y="193104"/>
                        <a:pt x="1450779" y="193104"/>
                      </a:cubicBezTo>
                      <a:cubicBezTo>
                        <a:pt x="1450779" y="199355"/>
                        <a:pt x="1450779" y="205607"/>
                        <a:pt x="1444527" y="211719"/>
                      </a:cubicBezTo>
                      <a:cubicBezTo>
                        <a:pt x="1438276" y="211719"/>
                        <a:pt x="1425912" y="211719"/>
                        <a:pt x="1419660" y="217971"/>
                      </a:cubicBezTo>
                      <a:cubicBezTo>
                        <a:pt x="1413408" y="217971"/>
                        <a:pt x="1407157" y="230474"/>
                        <a:pt x="1407157" y="230474"/>
                      </a:cubicBezTo>
                      <a:cubicBezTo>
                        <a:pt x="1413408" y="236726"/>
                        <a:pt x="1419660" y="242977"/>
                        <a:pt x="1419660" y="255341"/>
                      </a:cubicBezTo>
                      <a:cubicBezTo>
                        <a:pt x="1419660" y="261593"/>
                        <a:pt x="1413408" y="255341"/>
                        <a:pt x="1407157" y="249090"/>
                      </a:cubicBezTo>
                      <a:cubicBezTo>
                        <a:pt x="1407157" y="249090"/>
                        <a:pt x="1400905" y="249090"/>
                        <a:pt x="1400905" y="255341"/>
                      </a:cubicBezTo>
                      <a:cubicBezTo>
                        <a:pt x="1394654" y="255341"/>
                        <a:pt x="1382290" y="249090"/>
                        <a:pt x="1382290" y="242838"/>
                      </a:cubicBezTo>
                      <a:cubicBezTo>
                        <a:pt x="1382290" y="236587"/>
                        <a:pt x="1394793" y="217971"/>
                        <a:pt x="1394793" y="211719"/>
                      </a:cubicBezTo>
                      <a:cubicBezTo>
                        <a:pt x="1401044" y="199216"/>
                        <a:pt x="1382290" y="211719"/>
                        <a:pt x="1382290" y="211719"/>
                      </a:cubicBezTo>
                      <a:cubicBezTo>
                        <a:pt x="1376038" y="211719"/>
                        <a:pt x="1357422" y="199216"/>
                        <a:pt x="1351171" y="193104"/>
                      </a:cubicBezTo>
                      <a:cubicBezTo>
                        <a:pt x="1338668" y="186852"/>
                        <a:pt x="1344919" y="199355"/>
                        <a:pt x="1332555" y="199355"/>
                      </a:cubicBezTo>
                      <a:cubicBezTo>
                        <a:pt x="1326303" y="199355"/>
                        <a:pt x="1307688" y="193104"/>
                        <a:pt x="1320052" y="205607"/>
                      </a:cubicBezTo>
                      <a:cubicBezTo>
                        <a:pt x="1326303" y="211858"/>
                        <a:pt x="1326303" y="218110"/>
                        <a:pt x="1338668" y="218110"/>
                      </a:cubicBezTo>
                      <a:cubicBezTo>
                        <a:pt x="1344919" y="218110"/>
                        <a:pt x="1357283" y="218110"/>
                        <a:pt x="1357283" y="230613"/>
                      </a:cubicBezTo>
                      <a:cubicBezTo>
                        <a:pt x="1369787" y="255480"/>
                        <a:pt x="1332416" y="224362"/>
                        <a:pt x="1326165" y="218110"/>
                      </a:cubicBezTo>
                      <a:cubicBezTo>
                        <a:pt x="1313661" y="218110"/>
                        <a:pt x="1313661" y="230613"/>
                        <a:pt x="1301297" y="230613"/>
                      </a:cubicBezTo>
                      <a:cubicBezTo>
                        <a:pt x="1288794" y="230613"/>
                        <a:pt x="1282681" y="224362"/>
                        <a:pt x="1270178" y="224362"/>
                      </a:cubicBezTo>
                      <a:cubicBezTo>
                        <a:pt x="1245311" y="230613"/>
                        <a:pt x="1226556" y="230613"/>
                        <a:pt x="1201689" y="230613"/>
                      </a:cubicBezTo>
                      <a:cubicBezTo>
                        <a:pt x="1183073" y="224362"/>
                        <a:pt x="1158067" y="211997"/>
                        <a:pt x="1133200" y="205746"/>
                      </a:cubicBezTo>
                      <a:cubicBezTo>
                        <a:pt x="1126948" y="205746"/>
                        <a:pt x="1114584" y="205746"/>
                        <a:pt x="1108332" y="199494"/>
                      </a:cubicBezTo>
                      <a:cubicBezTo>
                        <a:pt x="1102081" y="186991"/>
                        <a:pt x="1102081" y="174627"/>
                        <a:pt x="1095829" y="174627"/>
                      </a:cubicBezTo>
                      <a:cubicBezTo>
                        <a:pt x="1083326" y="168375"/>
                        <a:pt x="1070962" y="174627"/>
                        <a:pt x="1064710" y="174627"/>
                      </a:cubicBezTo>
                      <a:cubicBezTo>
                        <a:pt x="1046095" y="180878"/>
                        <a:pt x="1033591" y="180878"/>
                        <a:pt x="1021088" y="180878"/>
                      </a:cubicBezTo>
                      <a:cubicBezTo>
                        <a:pt x="1014837" y="187130"/>
                        <a:pt x="1002473" y="193382"/>
                        <a:pt x="1002473" y="199494"/>
                      </a:cubicBezTo>
                      <a:cubicBezTo>
                        <a:pt x="1002473" y="199494"/>
                        <a:pt x="1027340" y="211997"/>
                        <a:pt x="1033591" y="211997"/>
                      </a:cubicBezTo>
                      <a:cubicBezTo>
                        <a:pt x="1033591" y="211997"/>
                        <a:pt x="1027340" y="193382"/>
                        <a:pt x="1039843" y="199494"/>
                      </a:cubicBezTo>
                      <a:cubicBezTo>
                        <a:pt x="1046095" y="199494"/>
                        <a:pt x="1046095" y="205746"/>
                        <a:pt x="1052346" y="199494"/>
                      </a:cubicBezTo>
                      <a:cubicBezTo>
                        <a:pt x="1058598" y="199494"/>
                        <a:pt x="1095968" y="174627"/>
                        <a:pt x="1095968" y="186991"/>
                      </a:cubicBezTo>
                      <a:cubicBezTo>
                        <a:pt x="1095968" y="193243"/>
                        <a:pt x="1077352" y="199494"/>
                        <a:pt x="1071101" y="205607"/>
                      </a:cubicBezTo>
                      <a:cubicBezTo>
                        <a:pt x="1064849" y="211858"/>
                        <a:pt x="1052485" y="211858"/>
                        <a:pt x="1039982" y="211858"/>
                      </a:cubicBezTo>
                      <a:cubicBezTo>
                        <a:pt x="1033730" y="218110"/>
                        <a:pt x="1015115" y="230474"/>
                        <a:pt x="1027479" y="236726"/>
                      </a:cubicBezTo>
                      <a:cubicBezTo>
                        <a:pt x="1039982" y="236726"/>
                        <a:pt x="1039982" y="242977"/>
                        <a:pt x="1033730" y="255341"/>
                      </a:cubicBezTo>
                      <a:cubicBezTo>
                        <a:pt x="1033730" y="261593"/>
                        <a:pt x="1046233" y="261593"/>
                        <a:pt x="1046233" y="267845"/>
                      </a:cubicBezTo>
                      <a:cubicBezTo>
                        <a:pt x="1052485" y="274096"/>
                        <a:pt x="1052485" y="286460"/>
                        <a:pt x="1039982" y="274096"/>
                      </a:cubicBezTo>
                      <a:cubicBezTo>
                        <a:pt x="1027479" y="261593"/>
                        <a:pt x="1039982" y="286599"/>
                        <a:pt x="1033730" y="280348"/>
                      </a:cubicBezTo>
                      <a:cubicBezTo>
                        <a:pt x="1027479" y="280348"/>
                        <a:pt x="1015115" y="261732"/>
                        <a:pt x="1008863" y="267845"/>
                      </a:cubicBezTo>
                      <a:cubicBezTo>
                        <a:pt x="1021366" y="261593"/>
                        <a:pt x="1039982" y="267845"/>
                        <a:pt x="1021366" y="255341"/>
                      </a:cubicBezTo>
                      <a:cubicBezTo>
                        <a:pt x="1027618" y="255341"/>
                        <a:pt x="1033869" y="249090"/>
                        <a:pt x="1021366" y="242838"/>
                      </a:cubicBezTo>
                      <a:cubicBezTo>
                        <a:pt x="1033869" y="249090"/>
                        <a:pt x="1002750" y="249090"/>
                        <a:pt x="1008863" y="249090"/>
                      </a:cubicBezTo>
                      <a:cubicBezTo>
                        <a:pt x="1008863" y="242838"/>
                        <a:pt x="1008863" y="242838"/>
                        <a:pt x="1015115" y="242838"/>
                      </a:cubicBezTo>
                      <a:cubicBezTo>
                        <a:pt x="1015115" y="236587"/>
                        <a:pt x="996360" y="249090"/>
                        <a:pt x="996360" y="249090"/>
                      </a:cubicBezTo>
                      <a:cubicBezTo>
                        <a:pt x="990108" y="249090"/>
                        <a:pt x="996360" y="236587"/>
                        <a:pt x="990108" y="230474"/>
                      </a:cubicBezTo>
                      <a:lnTo>
                        <a:pt x="977605" y="230474"/>
                      </a:lnTo>
                      <a:cubicBezTo>
                        <a:pt x="965102" y="230474"/>
                        <a:pt x="965102" y="211858"/>
                        <a:pt x="952738" y="217971"/>
                      </a:cubicBezTo>
                      <a:cubicBezTo>
                        <a:pt x="940235" y="230474"/>
                        <a:pt x="933983" y="230474"/>
                        <a:pt x="915367" y="230474"/>
                      </a:cubicBezTo>
                      <a:cubicBezTo>
                        <a:pt x="890500" y="230474"/>
                        <a:pt x="871746" y="230474"/>
                        <a:pt x="846878" y="230474"/>
                      </a:cubicBezTo>
                      <a:cubicBezTo>
                        <a:pt x="840627" y="230474"/>
                        <a:pt x="797005" y="230474"/>
                        <a:pt x="797005" y="224223"/>
                      </a:cubicBezTo>
                      <a:cubicBezTo>
                        <a:pt x="790753" y="224223"/>
                        <a:pt x="809508" y="211719"/>
                        <a:pt x="815620" y="205607"/>
                      </a:cubicBezTo>
                      <a:cubicBezTo>
                        <a:pt x="821872" y="199355"/>
                        <a:pt x="828123" y="205607"/>
                        <a:pt x="840488" y="205607"/>
                      </a:cubicBezTo>
                      <a:cubicBezTo>
                        <a:pt x="846739" y="199355"/>
                        <a:pt x="827985" y="186991"/>
                        <a:pt x="827985" y="186991"/>
                      </a:cubicBezTo>
                      <a:cubicBezTo>
                        <a:pt x="815481" y="174488"/>
                        <a:pt x="809230" y="174488"/>
                        <a:pt x="796866" y="168375"/>
                      </a:cubicBezTo>
                      <a:cubicBezTo>
                        <a:pt x="790614" y="168375"/>
                        <a:pt x="784363" y="162124"/>
                        <a:pt x="778111" y="168375"/>
                      </a:cubicBezTo>
                      <a:cubicBezTo>
                        <a:pt x="771859" y="174627"/>
                        <a:pt x="765608" y="180878"/>
                        <a:pt x="759495" y="174627"/>
                      </a:cubicBezTo>
                      <a:cubicBezTo>
                        <a:pt x="740879" y="162124"/>
                        <a:pt x="722125" y="162124"/>
                        <a:pt x="703509" y="156011"/>
                      </a:cubicBezTo>
                      <a:cubicBezTo>
                        <a:pt x="678642" y="149760"/>
                        <a:pt x="659887" y="149760"/>
                        <a:pt x="635020" y="137395"/>
                      </a:cubicBezTo>
                      <a:cubicBezTo>
                        <a:pt x="616404" y="124892"/>
                        <a:pt x="603901" y="118780"/>
                        <a:pt x="579033" y="118780"/>
                      </a:cubicBezTo>
                      <a:cubicBezTo>
                        <a:pt x="572782" y="118780"/>
                        <a:pt x="566530" y="118780"/>
                        <a:pt x="560418" y="125031"/>
                      </a:cubicBezTo>
                      <a:cubicBezTo>
                        <a:pt x="554166" y="131283"/>
                        <a:pt x="547915" y="143647"/>
                        <a:pt x="541663" y="143647"/>
                      </a:cubicBezTo>
                      <a:cubicBezTo>
                        <a:pt x="535412" y="143647"/>
                        <a:pt x="516796" y="149898"/>
                        <a:pt x="516796" y="143647"/>
                      </a:cubicBezTo>
                      <a:cubicBezTo>
                        <a:pt x="516796" y="137395"/>
                        <a:pt x="529299" y="131144"/>
                        <a:pt x="529299" y="125031"/>
                      </a:cubicBezTo>
                      <a:cubicBezTo>
                        <a:pt x="529299" y="125031"/>
                        <a:pt x="510544" y="131283"/>
                        <a:pt x="510544" y="125031"/>
                      </a:cubicBezTo>
                      <a:cubicBezTo>
                        <a:pt x="516796" y="118780"/>
                        <a:pt x="516796" y="112528"/>
                        <a:pt x="510544" y="106415"/>
                      </a:cubicBezTo>
                      <a:cubicBezTo>
                        <a:pt x="510544" y="93912"/>
                        <a:pt x="485677" y="106415"/>
                        <a:pt x="485677" y="112667"/>
                      </a:cubicBezTo>
                      <a:cubicBezTo>
                        <a:pt x="485677" y="112667"/>
                        <a:pt x="498180" y="106415"/>
                        <a:pt x="498180" y="112667"/>
                      </a:cubicBezTo>
                      <a:cubicBezTo>
                        <a:pt x="504432" y="112667"/>
                        <a:pt x="479564" y="125170"/>
                        <a:pt x="498180" y="125170"/>
                      </a:cubicBezTo>
                      <a:cubicBezTo>
                        <a:pt x="491928" y="125170"/>
                        <a:pt x="485677" y="125170"/>
                        <a:pt x="485677" y="137673"/>
                      </a:cubicBezTo>
                      <a:cubicBezTo>
                        <a:pt x="485677" y="143925"/>
                        <a:pt x="479425" y="150176"/>
                        <a:pt x="473174" y="143925"/>
                      </a:cubicBezTo>
                      <a:cubicBezTo>
                        <a:pt x="454558" y="137673"/>
                        <a:pt x="448306" y="131422"/>
                        <a:pt x="442055" y="112806"/>
                      </a:cubicBezTo>
                      <a:cubicBezTo>
                        <a:pt x="435803" y="100303"/>
                        <a:pt x="423439" y="94190"/>
                        <a:pt x="410936" y="81687"/>
                      </a:cubicBezTo>
                      <a:cubicBezTo>
                        <a:pt x="404684" y="81687"/>
                        <a:pt x="398433" y="69184"/>
                        <a:pt x="392320" y="75435"/>
                      </a:cubicBezTo>
                      <a:cubicBezTo>
                        <a:pt x="392320" y="87939"/>
                        <a:pt x="410936" y="94051"/>
                        <a:pt x="417187" y="100303"/>
                      </a:cubicBezTo>
                      <a:cubicBezTo>
                        <a:pt x="417187" y="94051"/>
                        <a:pt x="392320" y="100303"/>
                        <a:pt x="392320" y="106554"/>
                      </a:cubicBezTo>
                      <a:cubicBezTo>
                        <a:pt x="386069" y="112806"/>
                        <a:pt x="392320" y="112806"/>
                        <a:pt x="386069" y="119057"/>
                      </a:cubicBezTo>
                      <a:cubicBezTo>
                        <a:pt x="379817" y="119057"/>
                        <a:pt x="373566" y="131561"/>
                        <a:pt x="367314" y="125309"/>
                      </a:cubicBezTo>
                      <a:lnTo>
                        <a:pt x="367314" y="118919"/>
                      </a:lnTo>
                      <a:cubicBezTo>
                        <a:pt x="367314" y="112667"/>
                        <a:pt x="336195" y="125170"/>
                        <a:pt x="336195" y="131422"/>
                      </a:cubicBezTo>
                      <a:cubicBezTo>
                        <a:pt x="329943" y="137673"/>
                        <a:pt x="323692" y="143925"/>
                        <a:pt x="311328" y="150037"/>
                      </a:cubicBezTo>
                      <a:cubicBezTo>
                        <a:pt x="305076" y="156289"/>
                        <a:pt x="311328" y="137534"/>
                        <a:pt x="305076" y="137534"/>
                      </a:cubicBezTo>
                      <a:cubicBezTo>
                        <a:pt x="298825" y="137534"/>
                        <a:pt x="292573" y="143786"/>
                        <a:pt x="286460" y="143786"/>
                      </a:cubicBezTo>
                      <a:cubicBezTo>
                        <a:pt x="280209" y="143786"/>
                        <a:pt x="280209" y="156289"/>
                        <a:pt x="273957" y="156289"/>
                      </a:cubicBezTo>
                      <a:cubicBezTo>
                        <a:pt x="267706" y="156289"/>
                        <a:pt x="249090" y="168792"/>
                        <a:pt x="255342" y="168792"/>
                      </a:cubicBezTo>
                      <a:cubicBezTo>
                        <a:pt x="255342" y="175044"/>
                        <a:pt x="267845" y="175044"/>
                        <a:pt x="249090" y="181295"/>
                      </a:cubicBezTo>
                      <a:cubicBezTo>
                        <a:pt x="249090" y="181295"/>
                        <a:pt x="230474" y="181295"/>
                        <a:pt x="230474" y="175044"/>
                      </a:cubicBezTo>
                      <a:cubicBezTo>
                        <a:pt x="230474" y="168792"/>
                        <a:pt x="249090" y="162541"/>
                        <a:pt x="249090" y="162541"/>
                      </a:cubicBezTo>
                      <a:cubicBezTo>
                        <a:pt x="255342" y="150037"/>
                        <a:pt x="267706" y="143925"/>
                        <a:pt x="273957" y="137673"/>
                      </a:cubicBezTo>
                      <a:cubicBezTo>
                        <a:pt x="286460" y="131422"/>
                        <a:pt x="292712" y="131422"/>
                        <a:pt x="305076" y="137673"/>
                      </a:cubicBezTo>
                      <a:cubicBezTo>
                        <a:pt x="298825" y="137673"/>
                        <a:pt x="348698" y="112806"/>
                        <a:pt x="348698" y="112806"/>
                      </a:cubicBezTo>
                      <a:cubicBezTo>
                        <a:pt x="361201" y="106554"/>
                        <a:pt x="354950" y="100303"/>
                        <a:pt x="348698" y="100303"/>
                      </a:cubicBezTo>
                      <a:cubicBezTo>
                        <a:pt x="336195" y="100303"/>
                        <a:pt x="323831" y="100303"/>
                        <a:pt x="311328" y="106554"/>
                      </a:cubicBezTo>
                      <a:cubicBezTo>
                        <a:pt x="305076" y="106554"/>
                        <a:pt x="305076" y="119057"/>
                        <a:pt x="292712" y="119057"/>
                      </a:cubicBezTo>
                      <a:cubicBezTo>
                        <a:pt x="286460" y="119057"/>
                        <a:pt x="273957" y="125309"/>
                        <a:pt x="267845" y="125309"/>
                      </a:cubicBezTo>
                      <a:cubicBezTo>
                        <a:pt x="255342" y="125309"/>
                        <a:pt x="224223" y="156428"/>
                        <a:pt x="217971" y="150176"/>
                      </a:cubicBezTo>
                      <a:cubicBezTo>
                        <a:pt x="211720" y="150176"/>
                        <a:pt x="224223" y="143925"/>
                        <a:pt x="224223" y="137673"/>
                      </a:cubicBezTo>
                      <a:lnTo>
                        <a:pt x="205607" y="131422"/>
                      </a:lnTo>
                      <a:cubicBezTo>
                        <a:pt x="205607" y="131422"/>
                        <a:pt x="186991" y="143925"/>
                        <a:pt x="180740" y="143925"/>
                      </a:cubicBezTo>
                      <a:cubicBezTo>
                        <a:pt x="174488" y="143925"/>
                        <a:pt x="161985" y="150176"/>
                        <a:pt x="155872" y="156428"/>
                      </a:cubicBezTo>
                      <a:cubicBezTo>
                        <a:pt x="149621" y="156428"/>
                        <a:pt x="162124" y="162679"/>
                        <a:pt x="162124" y="162679"/>
                      </a:cubicBezTo>
                      <a:cubicBezTo>
                        <a:pt x="168375" y="162679"/>
                        <a:pt x="162124" y="168931"/>
                        <a:pt x="162124" y="168931"/>
                      </a:cubicBezTo>
                      <a:cubicBezTo>
                        <a:pt x="162124" y="175183"/>
                        <a:pt x="186991" y="168931"/>
                        <a:pt x="186991" y="168931"/>
                      </a:cubicBezTo>
                      <a:cubicBezTo>
                        <a:pt x="193243" y="162679"/>
                        <a:pt x="205607" y="156428"/>
                        <a:pt x="211858" y="150315"/>
                      </a:cubicBezTo>
                      <a:cubicBezTo>
                        <a:pt x="180740" y="162818"/>
                        <a:pt x="211858" y="168931"/>
                        <a:pt x="205607" y="181434"/>
                      </a:cubicBezTo>
                      <a:lnTo>
                        <a:pt x="199355" y="175183"/>
                      </a:lnTo>
                      <a:cubicBezTo>
                        <a:pt x="186852" y="168931"/>
                        <a:pt x="180740" y="175183"/>
                        <a:pt x="174488" y="181434"/>
                      </a:cubicBezTo>
                      <a:cubicBezTo>
                        <a:pt x="168237" y="181434"/>
                        <a:pt x="143369" y="175183"/>
                        <a:pt x="130866" y="175183"/>
                      </a:cubicBezTo>
                      <a:cubicBezTo>
                        <a:pt x="118363" y="175183"/>
                        <a:pt x="99747" y="162679"/>
                        <a:pt x="87244" y="156567"/>
                      </a:cubicBezTo>
                      <a:cubicBezTo>
                        <a:pt x="80992" y="156567"/>
                        <a:pt x="74741" y="150315"/>
                        <a:pt x="68489" y="150315"/>
                      </a:cubicBezTo>
                      <a:cubicBezTo>
                        <a:pt x="62238" y="144064"/>
                        <a:pt x="55986" y="131700"/>
                        <a:pt x="62238" y="131700"/>
                      </a:cubicBezTo>
                      <a:cubicBezTo>
                        <a:pt x="55986" y="131700"/>
                        <a:pt x="43622" y="131700"/>
                        <a:pt x="37370" y="137951"/>
                      </a:cubicBezTo>
                      <a:cubicBezTo>
                        <a:pt x="24867" y="137951"/>
                        <a:pt x="12503" y="137951"/>
                        <a:pt x="0" y="131700"/>
                      </a:cubicBezTo>
                      <a:cubicBezTo>
                        <a:pt x="0" y="256175"/>
                        <a:pt x="0" y="380651"/>
                        <a:pt x="0" y="499013"/>
                      </a:cubicBezTo>
                      <a:cubicBezTo>
                        <a:pt x="0" y="530132"/>
                        <a:pt x="0" y="555000"/>
                        <a:pt x="0" y="586118"/>
                      </a:cubicBezTo>
                      <a:cubicBezTo>
                        <a:pt x="0" y="592370"/>
                        <a:pt x="0" y="598622"/>
                        <a:pt x="0" y="604734"/>
                      </a:cubicBezTo>
                      <a:cubicBezTo>
                        <a:pt x="0" y="617237"/>
                        <a:pt x="12503" y="604734"/>
                        <a:pt x="18616" y="604734"/>
                      </a:cubicBezTo>
                      <a:cubicBezTo>
                        <a:pt x="31119" y="610986"/>
                        <a:pt x="31119" y="604734"/>
                        <a:pt x="43483" y="604734"/>
                      </a:cubicBezTo>
                      <a:cubicBezTo>
                        <a:pt x="55986" y="604734"/>
                        <a:pt x="55986" y="610986"/>
                        <a:pt x="62099" y="617237"/>
                      </a:cubicBezTo>
                      <a:cubicBezTo>
                        <a:pt x="68350" y="629740"/>
                        <a:pt x="99469" y="666972"/>
                        <a:pt x="111972" y="666972"/>
                      </a:cubicBezTo>
                      <a:cubicBezTo>
                        <a:pt x="118224" y="666972"/>
                        <a:pt x="130588" y="660720"/>
                        <a:pt x="136840" y="654469"/>
                      </a:cubicBezTo>
                      <a:cubicBezTo>
                        <a:pt x="143091" y="648217"/>
                        <a:pt x="136840" y="641966"/>
                        <a:pt x="143091" y="635853"/>
                      </a:cubicBezTo>
                      <a:cubicBezTo>
                        <a:pt x="149343" y="635853"/>
                        <a:pt x="174210" y="629601"/>
                        <a:pt x="174210" y="635853"/>
                      </a:cubicBezTo>
                      <a:cubicBezTo>
                        <a:pt x="186713" y="648356"/>
                        <a:pt x="199077" y="654469"/>
                        <a:pt x="205329" y="666972"/>
                      </a:cubicBezTo>
                      <a:cubicBezTo>
                        <a:pt x="217832" y="679475"/>
                        <a:pt x="230196" y="685588"/>
                        <a:pt x="236448" y="698091"/>
                      </a:cubicBezTo>
                      <a:cubicBezTo>
                        <a:pt x="242700" y="704342"/>
                        <a:pt x="242700" y="710594"/>
                        <a:pt x="248951" y="722958"/>
                      </a:cubicBezTo>
                      <a:cubicBezTo>
                        <a:pt x="261454" y="735461"/>
                        <a:pt x="267567" y="760328"/>
                        <a:pt x="286322" y="772693"/>
                      </a:cubicBezTo>
                      <a:cubicBezTo>
                        <a:pt x="298825" y="785196"/>
                        <a:pt x="323692" y="791308"/>
                        <a:pt x="336195" y="797560"/>
                      </a:cubicBezTo>
                      <a:cubicBezTo>
                        <a:pt x="348698" y="803812"/>
                        <a:pt x="329943" y="810063"/>
                        <a:pt x="336195" y="822427"/>
                      </a:cubicBezTo>
                      <a:cubicBezTo>
                        <a:pt x="342447" y="822427"/>
                        <a:pt x="348698" y="822427"/>
                        <a:pt x="348698" y="828679"/>
                      </a:cubicBezTo>
                      <a:cubicBezTo>
                        <a:pt x="348698" y="828679"/>
                        <a:pt x="342447" y="847295"/>
                        <a:pt x="348698" y="841182"/>
                      </a:cubicBezTo>
                      <a:cubicBezTo>
                        <a:pt x="342447" y="847434"/>
                        <a:pt x="330082" y="847434"/>
                        <a:pt x="330082" y="859798"/>
                      </a:cubicBezTo>
                      <a:cubicBezTo>
                        <a:pt x="323831" y="866049"/>
                        <a:pt x="342586" y="878413"/>
                        <a:pt x="348698" y="878413"/>
                      </a:cubicBezTo>
                      <a:lnTo>
                        <a:pt x="336195" y="890917"/>
                      </a:lnTo>
                      <a:cubicBezTo>
                        <a:pt x="336195" y="890917"/>
                        <a:pt x="329943" y="884665"/>
                        <a:pt x="329943" y="878413"/>
                      </a:cubicBezTo>
                      <a:cubicBezTo>
                        <a:pt x="323692" y="878413"/>
                        <a:pt x="329943" y="890917"/>
                        <a:pt x="329943" y="890917"/>
                      </a:cubicBezTo>
                      <a:cubicBezTo>
                        <a:pt x="336195" y="897168"/>
                        <a:pt x="329943" y="903420"/>
                        <a:pt x="336195" y="909532"/>
                      </a:cubicBezTo>
                      <a:cubicBezTo>
                        <a:pt x="342447" y="922036"/>
                        <a:pt x="342447" y="922036"/>
                        <a:pt x="354950" y="915784"/>
                      </a:cubicBezTo>
                      <a:lnTo>
                        <a:pt x="361201" y="915784"/>
                      </a:lnTo>
                      <a:cubicBezTo>
                        <a:pt x="367453" y="915784"/>
                        <a:pt x="367453" y="903281"/>
                        <a:pt x="367453" y="903281"/>
                      </a:cubicBezTo>
                      <a:cubicBezTo>
                        <a:pt x="367453" y="903281"/>
                        <a:pt x="373704" y="915784"/>
                        <a:pt x="379956" y="915784"/>
                      </a:cubicBezTo>
                      <a:cubicBezTo>
                        <a:pt x="379956" y="915784"/>
                        <a:pt x="373704" y="928287"/>
                        <a:pt x="373704" y="934400"/>
                      </a:cubicBezTo>
                      <a:cubicBezTo>
                        <a:pt x="367453" y="940651"/>
                        <a:pt x="367453" y="946903"/>
                        <a:pt x="379956" y="940651"/>
                      </a:cubicBezTo>
                      <a:cubicBezTo>
                        <a:pt x="379956" y="934400"/>
                        <a:pt x="386208" y="934400"/>
                        <a:pt x="386208" y="934400"/>
                      </a:cubicBezTo>
                      <a:cubicBezTo>
                        <a:pt x="392459" y="934400"/>
                        <a:pt x="392459" y="928148"/>
                        <a:pt x="392459" y="928148"/>
                      </a:cubicBezTo>
                      <a:cubicBezTo>
                        <a:pt x="404962" y="921897"/>
                        <a:pt x="398711" y="940651"/>
                        <a:pt x="398711" y="946764"/>
                      </a:cubicBezTo>
                      <a:cubicBezTo>
                        <a:pt x="398711" y="953016"/>
                        <a:pt x="404962" y="959267"/>
                        <a:pt x="411214" y="959267"/>
                      </a:cubicBezTo>
                      <a:cubicBezTo>
                        <a:pt x="417465" y="959267"/>
                        <a:pt x="423717" y="946764"/>
                        <a:pt x="429830" y="946764"/>
                      </a:cubicBezTo>
                      <a:lnTo>
                        <a:pt x="423578" y="953016"/>
                      </a:lnTo>
                      <a:lnTo>
                        <a:pt x="436081" y="959267"/>
                      </a:lnTo>
                      <a:cubicBezTo>
                        <a:pt x="436081" y="959267"/>
                        <a:pt x="392459" y="971770"/>
                        <a:pt x="411214" y="984134"/>
                      </a:cubicBezTo>
                      <a:cubicBezTo>
                        <a:pt x="411214" y="984134"/>
                        <a:pt x="448584" y="977883"/>
                        <a:pt x="442333" y="984134"/>
                      </a:cubicBezTo>
                      <a:cubicBezTo>
                        <a:pt x="442333" y="984134"/>
                        <a:pt x="411214" y="984134"/>
                        <a:pt x="417465" y="996638"/>
                      </a:cubicBezTo>
                      <a:lnTo>
                        <a:pt x="429968" y="996638"/>
                      </a:lnTo>
                      <a:cubicBezTo>
                        <a:pt x="423717" y="1002889"/>
                        <a:pt x="411353" y="1002889"/>
                        <a:pt x="417465" y="1009141"/>
                      </a:cubicBezTo>
                      <a:cubicBezTo>
                        <a:pt x="429968" y="1015392"/>
                        <a:pt x="442333" y="1015392"/>
                        <a:pt x="448584" y="1015392"/>
                      </a:cubicBezTo>
                      <a:cubicBezTo>
                        <a:pt x="461087" y="1015392"/>
                        <a:pt x="454836" y="1021644"/>
                        <a:pt x="461087" y="1021644"/>
                      </a:cubicBezTo>
                      <a:cubicBezTo>
                        <a:pt x="473591" y="1027895"/>
                        <a:pt x="473591" y="1009141"/>
                        <a:pt x="479842" y="1009141"/>
                      </a:cubicBezTo>
                      <a:cubicBezTo>
                        <a:pt x="486094" y="1009141"/>
                        <a:pt x="479842" y="1021644"/>
                        <a:pt x="479842" y="1021644"/>
                      </a:cubicBezTo>
                      <a:cubicBezTo>
                        <a:pt x="473591" y="1027895"/>
                        <a:pt x="473591" y="1027895"/>
                        <a:pt x="479842" y="1034147"/>
                      </a:cubicBezTo>
                      <a:cubicBezTo>
                        <a:pt x="498458" y="1046650"/>
                        <a:pt x="504709" y="1015531"/>
                        <a:pt x="504709" y="1015531"/>
                      </a:cubicBezTo>
                      <a:cubicBezTo>
                        <a:pt x="504709" y="1015531"/>
                        <a:pt x="504709" y="1034147"/>
                        <a:pt x="498458" y="1034147"/>
                      </a:cubicBezTo>
                      <a:cubicBezTo>
                        <a:pt x="498458" y="1040398"/>
                        <a:pt x="510961" y="1034147"/>
                        <a:pt x="517074" y="1034147"/>
                      </a:cubicBezTo>
                      <a:cubicBezTo>
                        <a:pt x="510822" y="1046650"/>
                        <a:pt x="504570" y="1052763"/>
                        <a:pt x="517074" y="1059014"/>
                      </a:cubicBezTo>
                      <a:cubicBezTo>
                        <a:pt x="529577" y="1065266"/>
                        <a:pt x="535689" y="1046511"/>
                        <a:pt x="535689" y="1046511"/>
                      </a:cubicBezTo>
                      <a:cubicBezTo>
                        <a:pt x="535689" y="1046511"/>
                        <a:pt x="535689" y="1052763"/>
                        <a:pt x="535689" y="1059014"/>
                      </a:cubicBezTo>
                      <a:cubicBezTo>
                        <a:pt x="541941" y="1071517"/>
                        <a:pt x="535689" y="1065266"/>
                        <a:pt x="529438" y="1065266"/>
                      </a:cubicBezTo>
                      <a:cubicBezTo>
                        <a:pt x="523186" y="1071517"/>
                        <a:pt x="560557" y="1077769"/>
                        <a:pt x="554305" y="1065266"/>
                      </a:cubicBezTo>
                      <a:cubicBezTo>
                        <a:pt x="566808" y="1083881"/>
                        <a:pt x="560557" y="1096385"/>
                        <a:pt x="585424" y="1096385"/>
                      </a:cubicBezTo>
                      <a:cubicBezTo>
                        <a:pt x="604040" y="1096385"/>
                        <a:pt x="616543" y="1096385"/>
                        <a:pt x="635298" y="1096385"/>
                      </a:cubicBezTo>
                      <a:cubicBezTo>
                        <a:pt x="703787" y="1096385"/>
                        <a:pt x="766164" y="1096385"/>
                        <a:pt x="828401" y="1096385"/>
                      </a:cubicBezTo>
                      <a:cubicBezTo>
                        <a:pt x="984135" y="1096385"/>
                        <a:pt x="1139868" y="1096385"/>
                        <a:pt x="1295601" y="1096385"/>
                      </a:cubicBezTo>
                      <a:cubicBezTo>
                        <a:pt x="1326720" y="1096385"/>
                        <a:pt x="1357839" y="1096385"/>
                        <a:pt x="1389097" y="1096385"/>
                      </a:cubicBezTo>
                      <a:cubicBezTo>
                        <a:pt x="1394793" y="1096107"/>
                        <a:pt x="1426051" y="1102358"/>
                        <a:pt x="1426051" y="1083743"/>
                      </a:cubicBezTo>
                      <a:close/>
                      <a:moveTo>
                        <a:pt x="697257" y="336751"/>
                      </a:moveTo>
                      <a:cubicBezTo>
                        <a:pt x="684754" y="336751"/>
                        <a:pt x="672390" y="330499"/>
                        <a:pt x="659887" y="336751"/>
                      </a:cubicBezTo>
                      <a:cubicBezTo>
                        <a:pt x="647384" y="355366"/>
                        <a:pt x="672390" y="349254"/>
                        <a:pt x="672390" y="355366"/>
                      </a:cubicBezTo>
                      <a:cubicBezTo>
                        <a:pt x="672390" y="349115"/>
                        <a:pt x="622517" y="373982"/>
                        <a:pt x="622517" y="373982"/>
                      </a:cubicBezTo>
                      <a:cubicBezTo>
                        <a:pt x="610013" y="367731"/>
                        <a:pt x="666139" y="330360"/>
                        <a:pt x="616265" y="349115"/>
                      </a:cubicBezTo>
                      <a:cubicBezTo>
                        <a:pt x="610013" y="349115"/>
                        <a:pt x="603762" y="355366"/>
                        <a:pt x="603762" y="355366"/>
                      </a:cubicBezTo>
                      <a:cubicBezTo>
                        <a:pt x="597510" y="361618"/>
                        <a:pt x="603762" y="367870"/>
                        <a:pt x="597510" y="373982"/>
                      </a:cubicBezTo>
                      <a:cubicBezTo>
                        <a:pt x="591259" y="373982"/>
                        <a:pt x="547637" y="367731"/>
                        <a:pt x="547637" y="367731"/>
                      </a:cubicBezTo>
                      <a:cubicBezTo>
                        <a:pt x="547637" y="361479"/>
                        <a:pt x="566253" y="367731"/>
                        <a:pt x="566253" y="361479"/>
                      </a:cubicBezTo>
                      <a:cubicBezTo>
                        <a:pt x="572504" y="355227"/>
                        <a:pt x="566253" y="355227"/>
                        <a:pt x="572504" y="348976"/>
                      </a:cubicBezTo>
                      <a:cubicBezTo>
                        <a:pt x="572504" y="342724"/>
                        <a:pt x="585007" y="336473"/>
                        <a:pt x="585007" y="336473"/>
                      </a:cubicBezTo>
                      <a:cubicBezTo>
                        <a:pt x="585007" y="330221"/>
                        <a:pt x="566391" y="323970"/>
                        <a:pt x="585007" y="323970"/>
                      </a:cubicBezTo>
                      <a:cubicBezTo>
                        <a:pt x="585007" y="323970"/>
                        <a:pt x="609875" y="330221"/>
                        <a:pt x="609875" y="323970"/>
                      </a:cubicBezTo>
                      <a:cubicBezTo>
                        <a:pt x="609875" y="317718"/>
                        <a:pt x="578756" y="311467"/>
                        <a:pt x="572504" y="311467"/>
                      </a:cubicBezTo>
                      <a:cubicBezTo>
                        <a:pt x="566253" y="311467"/>
                        <a:pt x="553888" y="317718"/>
                        <a:pt x="541385" y="317718"/>
                      </a:cubicBezTo>
                      <a:cubicBezTo>
                        <a:pt x="535134" y="317718"/>
                        <a:pt x="522769" y="311467"/>
                        <a:pt x="510266" y="317718"/>
                      </a:cubicBezTo>
                      <a:cubicBezTo>
                        <a:pt x="504015" y="317718"/>
                        <a:pt x="491651" y="330221"/>
                        <a:pt x="497763" y="317718"/>
                      </a:cubicBezTo>
                      <a:cubicBezTo>
                        <a:pt x="504015" y="305215"/>
                        <a:pt x="516379" y="311467"/>
                        <a:pt x="522631" y="305215"/>
                      </a:cubicBezTo>
                      <a:cubicBezTo>
                        <a:pt x="535134" y="305215"/>
                        <a:pt x="553749" y="298963"/>
                        <a:pt x="566253" y="292712"/>
                      </a:cubicBezTo>
                      <a:cubicBezTo>
                        <a:pt x="591120" y="286460"/>
                        <a:pt x="616126" y="286460"/>
                        <a:pt x="634742" y="274096"/>
                      </a:cubicBezTo>
                      <a:cubicBezTo>
                        <a:pt x="647245" y="274096"/>
                        <a:pt x="665861" y="267845"/>
                        <a:pt x="672112" y="280348"/>
                      </a:cubicBezTo>
                      <a:cubicBezTo>
                        <a:pt x="678364" y="286599"/>
                        <a:pt x="653496" y="292851"/>
                        <a:pt x="647245" y="298963"/>
                      </a:cubicBezTo>
                      <a:cubicBezTo>
                        <a:pt x="634742" y="305215"/>
                        <a:pt x="684615" y="305215"/>
                        <a:pt x="690867" y="305215"/>
                      </a:cubicBezTo>
                      <a:lnTo>
                        <a:pt x="703370" y="305215"/>
                      </a:lnTo>
                      <a:cubicBezTo>
                        <a:pt x="709622" y="298963"/>
                        <a:pt x="721986" y="286599"/>
                        <a:pt x="728237" y="292712"/>
                      </a:cubicBezTo>
                      <a:cubicBezTo>
                        <a:pt x="734628" y="299380"/>
                        <a:pt x="703509" y="336751"/>
                        <a:pt x="697257" y="336751"/>
                      </a:cubicBezTo>
                      <a:cubicBezTo>
                        <a:pt x="684754" y="336751"/>
                        <a:pt x="709622" y="336751"/>
                        <a:pt x="697257" y="336751"/>
                      </a:cubicBezTo>
                      <a:close/>
                      <a:moveTo>
                        <a:pt x="977466" y="486093"/>
                      </a:moveTo>
                      <a:cubicBezTo>
                        <a:pt x="977466" y="486093"/>
                        <a:pt x="946347" y="486093"/>
                        <a:pt x="952599" y="486093"/>
                      </a:cubicBezTo>
                      <a:cubicBezTo>
                        <a:pt x="952599" y="492345"/>
                        <a:pt x="965102" y="486093"/>
                        <a:pt x="965102" y="492345"/>
                      </a:cubicBezTo>
                      <a:cubicBezTo>
                        <a:pt x="965102" y="498597"/>
                        <a:pt x="940235" y="504848"/>
                        <a:pt x="933983" y="504848"/>
                      </a:cubicBezTo>
                      <a:cubicBezTo>
                        <a:pt x="921480" y="504848"/>
                        <a:pt x="915367" y="517351"/>
                        <a:pt x="902864" y="523464"/>
                      </a:cubicBezTo>
                      <a:cubicBezTo>
                        <a:pt x="902864" y="523464"/>
                        <a:pt x="877997" y="523464"/>
                        <a:pt x="884249" y="529715"/>
                      </a:cubicBezTo>
                      <a:cubicBezTo>
                        <a:pt x="884249" y="535967"/>
                        <a:pt x="902864" y="535967"/>
                        <a:pt x="884249" y="548331"/>
                      </a:cubicBezTo>
                      <a:cubicBezTo>
                        <a:pt x="877997" y="548331"/>
                        <a:pt x="853130" y="548331"/>
                        <a:pt x="853130" y="554583"/>
                      </a:cubicBezTo>
                      <a:cubicBezTo>
                        <a:pt x="846878" y="554583"/>
                        <a:pt x="853130" y="560834"/>
                        <a:pt x="853130" y="560834"/>
                      </a:cubicBezTo>
                      <a:cubicBezTo>
                        <a:pt x="853130" y="573337"/>
                        <a:pt x="840627" y="573337"/>
                        <a:pt x="834514" y="573337"/>
                      </a:cubicBezTo>
                      <a:cubicBezTo>
                        <a:pt x="815898" y="579589"/>
                        <a:pt x="797143" y="579589"/>
                        <a:pt x="778389" y="579589"/>
                      </a:cubicBezTo>
                      <a:lnTo>
                        <a:pt x="747270" y="560973"/>
                      </a:lnTo>
                      <a:cubicBezTo>
                        <a:pt x="759773" y="554722"/>
                        <a:pt x="778389" y="560973"/>
                        <a:pt x="784640" y="554722"/>
                      </a:cubicBezTo>
                      <a:cubicBezTo>
                        <a:pt x="790892" y="554722"/>
                        <a:pt x="784640" y="542219"/>
                        <a:pt x="790892" y="542219"/>
                      </a:cubicBezTo>
                      <a:cubicBezTo>
                        <a:pt x="797143" y="529715"/>
                        <a:pt x="809508" y="535967"/>
                        <a:pt x="815759" y="529715"/>
                      </a:cubicBezTo>
                      <a:cubicBezTo>
                        <a:pt x="822011" y="529715"/>
                        <a:pt x="809508" y="517212"/>
                        <a:pt x="809508" y="517212"/>
                      </a:cubicBezTo>
                      <a:cubicBezTo>
                        <a:pt x="797005" y="510961"/>
                        <a:pt x="797005" y="510961"/>
                        <a:pt x="797005" y="504709"/>
                      </a:cubicBezTo>
                      <a:cubicBezTo>
                        <a:pt x="797005" y="492206"/>
                        <a:pt x="784501" y="498458"/>
                        <a:pt x="784501" y="492206"/>
                      </a:cubicBezTo>
                      <a:cubicBezTo>
                        <a:pt x="778250" y="485955"/>
                        <a:pt x="797005" y="492206"/>
                        <a:pt x="797005" y="492206"/>
                      </a:cubicBezTo>
                      <a:cubicBezTo>
                        <a:pt x="815620" y="498458"/>
                        <a:pt x="834375" y="504709"/>
                        <a:pt x="846878" y="510822"/>
                      </a:cubicBezTo>
                      <a:cubicBezTo>
                        <a:pt x="859381" y="523325"/>
                        <a:pt x="884249" y="517073"/>
                        <a:pt x="896752" y="510822"/>
                      </a:cubicBezTo>
                      <a:cubicBezTo>
                        <a:pt x="915367" y="504570"/>
                        <a:pt x="921619" y="485955"/>
                        <a:pt x="946625" y="479703"/>
                      </a:cubicBezTo>
                      <a:cubicBezTo>
                        <a:pt x="952877" y="473451"/>
                        <a:pt x="965241" y="473451"/>
                        <a:pt x="977744" y="479703"/>
                      </a:cubicBezTo>
                      <a:lnTo>
                        <a:pt x="996360" y="485955"/>
                      </a:lnTo>
                      <a:cubicBezTo>
                        <a:pt x="996221" y="486093"/>
                        <a:pt x="983718" y="486093"/>
                        <a:pt x="977466" y="486093"/>
                      </a:cubicBezTo>
                      <a:close/>
                      <a:moveTo>
                        <a:pt x="1382429" y="1027617"/>
                      </a:moveTo>
                      <a:cubicBezTo>
                        <a:pt x="1376177" y="1040121"/>
                        <a:pt x="1363813" y="1015114"/>
                        <a:pt x="1363813" y="1009002"/>
                      </a:cubicBezTo>
                      <a:cubicBezTo>
                        <a:pt x="1363813" y="996499"/>
                        <a:pt x="1376316" y="990386"/>
                        <a:pt x="1376316" y="977883"/>
                      </a:cubicBezTo>
                      <a:cubicBezTo>
                        <a:pt x="1370064" y="971631"/>
                        <a:pt x="1363813" y="990386"/>
                        <a:pt x="1357561" y="984134"/>
                      </a:cubicBezTo>
                      <a:cubicBezTo>
                        <a:pt x="1357561" y="977883"/>
                        <a:pt x="1357561" y="959267"/>
                        <a:pt x="1345058" y="959267"/>
                      </a:cubicBezTo>
                      <a:cubicBezTo>
                        <a:pt x="1345058" y="959267"/>
                        <a:pt x="1345058" y="971770"/>
                        <a:pt x="1338807" y="971770"/>
                      </a:cubicBezTo>
                      <a:cubicBezTo>
                        <a:pt x="1332555" y="965519"/>
                        <a:pt x="1332555" y="959267"/>
                        <a:pt x="1326303" y="953154"/>
                      </a:cubicBezTo>
                      <a:cubicBezTo>
                        <a:pt x="1320052" y="946903"/>
                        <a:pt x="1313800" y="940651"/>
                        <a:pt x="1307688" y="934539"/>
                      </a:cubicBezTo>
                      <a:cubicBezTo>
                        <a:pt x="1301436" y="928287"/>
                        <a:pt x="1320191" y="928287"/>
                        <a:pt x="1320191" y="922036"/>
                      </a:cubicBezTo>
                      <a:cubicBezTo>
                        <a:pt x="1313939" y="915784"/>
                        <a:pt x="1301575" y="922036"/>
                        <a:pt x="1301575" y="915784"/>
                      </a:cubicBezTo>
                      <a:cubicBezTo>
                        <a:pt x="1301575" y="909532"/>
                        <a:pt x="1307827" y="890917"/>
                        <a:pt x="1307827" y="884665"/>
                      </a:cubicBezTo>
                      <a:cubicBezTo>
                        <a:pt x="1320330" y="872162"/>
                        <a:pt x="1351449" y="915784"/>
                        <a:pt x="1351449" y="922036"/>
                      </a:cubicBezTo>
                      <a:cubicBezTo>
                        <a:pt x="1357700" y="934539"/>
                        <a:pt x="1363952" y="940651"/>
                        <a:pt x="1363952" y="953154"/>
                      </a:cubicBezTo>
                      <a:cubicBezTo>
                        <a:pt x="1370203" y="965658"/>
                        <a:pt x="1370203" y="959406"/>
                        <a:pt x="1376455" y="971770"/>
                      </a:cubicBezTo>
                      <a:cubicBezTo>
                        <a:pt x="1376455" y="978022"/>
                        <a:pt x="1382706" y="984273"/>
                        <a:pt x="1382706" y="990386"/>
                      </a:cubicBezTo>
                      <a:cubicBezTo>
                        <a:pt x="1388680" y="1002750"/>
                        <a:pt x="1382429" y="1015253"/>
                        <a:pt x="1382429" y="1027617"/>
                      </a:cubicBezTo>
                      <a:cubicBezTo>
                        <a:pt x="1376177" y="1033869"/>
                        <a:pt x="1382429" y="1021505"/>
                        <a:pt x="1382429" y="102761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8" name="Freihandform: Form 287">
                  <a:extLst>
                    <a:ext uri="{FF2B5EF4-FFF2-40B4-BE49-F238E27FC236}">
                      <a16:creationId xmlns:a16="http://schemas.microsoft.com/office/drawing/2014/main" id="{DFAC6DD8-9293-470B-8750-5D325CC4BE07}"/>
                    </a:ext>
                  </a:extLst>
                </p:cNvPr>
                <p:cNvSpPr/>
                <p:nvPr/>
              </p:nvSpPr>
              <p:spPr>
                <a:xfrm>
                  <a:off x="9874796" y="4822571"/>
                  <a:ext cx="47764" cy="47027"/>
                </a:xfrm>
                <a:custGeom>
                  <a:avLst/>
                  <a:gdLst>
                    <a:gd name="connsiteX0" fmla="*/ 42069 w 47764"/>
                    <a:gd name="connsiteY0" fmla="*/ 0 h 47027"/>
                    <a:gd name="connsiteX1" fmla="*/ 2059 w 47764"/>
                    <a:gd name="connsiteY1" fmla="*/ 44456 h 47027"/>
                    <a:gd name="connsiteX2" fmla="*/ 47765 w 47764"/>
                    <a:gd name="connsiteY2" fmla="*/ 19032 h 47027"/>
                    <a:gd name="connsiteX3" fmla="*/ 42069 w 47764"/>
                    <a:gd name="connsiteY3" fmla="*/ 0 h 47027"/>
                  </a:gdLst>
                  <a:ahLst/>
                  <a:cxnLst>
                    <a:cxn ang="0">
                      <a:pos x="connsiteX0" y="connsiteY0"/>
                    </a:cxn>
                    <a:cxn ang="0">
                      <a:pos x="connsiteX1" y="connsiteY1"/>
                    </a:cxn>
                    <a:cxn ang="0">
                      <a:pos x="connsiteX2" y="connsiteY2"/>
                    </a:cxn>
                    <a:cxn ang="0">
                      <a:pos x="connsiteX3" y="connsiteY3"/>
                    </a:cxn>
                  </a:cxnLst>
                  <a:rect l="l" t="t" r="r" b="b"/>
                  <a:pathLst>
                    <a:path w="47764" h="47027">
                      <a:moveTo>
                        <a:pt x="42069" y="0"/>
                      </a:moveTo>
                      <a:cubicBezTo>
                        <a:pt x="30677" y="6390"/>
                        <a:pt x="-9472" y="25423"/>
                        <a:pt x="2059" y="44456"/>
                      </a:cubicBezTo>
                      <a:cubicBezTo>
                        <a:pt x="13450" y="57097"/>
                        <a:pt x="42069" y="19032"/>
                        <a:pt x="47765" y="19032"/>
                      </a:cubicBezTo>
                      <a:cubicBezTo>
                        <a:pt x="47765" y="12642"/>
                        <a:pt x="42069" y="6390"/>
                        <a:pt x="42069"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89" name="Freihandform: Form 288">
                  <a:extLst>
                    <a:ext uri="{FF2B5EF4-FFF2-40B4-BE49-F238E27FC236}">
                      <a16:creationId xmlns:a16="http://schemas.microsoft.com/office/drawing/2014/main" id="{A72E9F0F-DFEE-4780-9F9E-6D95332E3D40}"/>
                    </a:ext>
                  </a:extLst>
                </p:cNvPr>
                <p:cNvSpPr/>
                <p:nvPr/>
              </p:nvSpPr>
              <p:spPr>
                <a:xfrm>
                  <a:off x="9918268" y="4803538"/>
                  <a:ext cx="65822" cy="33572"/>
                </a:xfrm>
                <a:custGeom>
                  <a:avLst/>
                  <a:gdLst>
                    <a:gd name="connsiteX0" fmla="*/ 65141 w 65822"/>
                    <a:gd name="connsiteY0" fmla="*/ 0 h 33572"/>
                    <a:gd name="connsiteX1" fmla="*/ 35829 w 65822"/>
                    <a:gd name="connsiteY1" fmla="*/ 0 h 33572"/>
                    <a:gd name="connsiteX2" fmla="*/ 681 w 65822"/>
                    <a:gd name="connsiteY2" fmla="*/ 15282 h 33572"/>
                    <a:gd name="connsiteX3" fmla="*/ 24159 w 65822"/>
                    <a:gd name="connsiteY3" fmla="*/ 22922 h 33572"/>
                    <a:gd name="connsiteX4" fmla="*/ 65141 w 65822"/>
                    <a:gd name="connsiteY4" fmla="*/ 0 h 33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22" h="33572">
                      <a:moveTo>
                        <a:pt x="65141" y="0"/>
                      </a:moveTo>
                      <a:cubicBezTo>
                        <a:pt x="71115" y="0"/>
                        <a:pt x="35829" y="0"/>
                        <a:pt x="35829" y="0"/>
                      </a:cubicBezTo>
                      <a:cubicBezTo>
                        <a:pt x="29855" y="0"/>
                        <a:pt x="-5293" y="7641"/>
                        <a:pt x="681" y="15282"/>
                      </a:cubicBezTo>
                      <a:cubicBezTo>
                        <a:pt x="12350" y="38204"/>
                        <a:pt x="6516" y="38204"/>
                        <a:pt x="24159" y="22922"/>
                      </a:cubicBezTo>
                      <a:cubicBezTo>
                        <a:pt x="41663" y="15143"/>
                        <a:pt x="53333" y="15143"/>
                        <a:pt x="65141"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0" name="Freihandform: Form 289">
                  <a:extLst>
                    <a:ext uri="{FF2B5EF4-FFF2-40B4-BE49-F238E27FC236}">
                      <a16:creationId xmlns:a16="http://schemas.microsoft.com/office/drawing/2014/main" id="{CC578341-0273-4FE9-925B-4903363B3069}"/>
                    </a:ext>
                  </a:extLst>
                </p:cNvPr>
                <p:cNvSpPr/>
                <p:nvPr/>
              </p:nvSpPr>
              <p:spPr>
                <a:xfrm>
                  <a:off x="6471561" y="2782478"/>
                  <a:ext cx="192759" cy="104887"/>
                </a:xfrm>
                <a:custGeom>
                  <a:avLst/>
                  <a:gdLst>
                    <a:gd name="connsiteX0" fmla="*/ 64739 w 192759"/>
                    <a:gd name="connsiteY0" fmla="*/ 104887 h 104887"/>
                    <a:gd name="connsiteX1" fmla="*/ 84188 w 192759"/>
                    <a:gd name="connsiteY1" fmla="*/ 86410 h 104887"/>
                    <a:gd name="connsiteX2" fmla="*/ 116418 w 192759"/>
                    <a:gd name="connsiteY2" fmla="*/ 98775 h 104887"/>
                    <a:gd name="connsiteX3" fmla="*/ 135729 w 192759"/>
                    <a:gd name="connsiteY3" fmla="*/ 98775 h 104887"/>
                    <a:gd name="connsiteX4" fmla="*/ 148648 w 192759"/>
                    <a:gd name="connsiteY4" fmla="*/ 92662 h 104887"/>
                    <a:gd name="connsiteX5" fmla="*/ 187408 w 192759"/>
                    <a:gd name="connsiteY5" fmla="*/ 67933 h 104887"/>
                    <a:gd name="connsiteX6" fmla="*/ 174488 w 192759"/>
                    <a:gd name="connsiteY6" fmla="*/ 43205 h 104887"/>
                    <a:gd name="connsiteX7" fmla="*/ 135729 w 192759"/>
                    <a:gd name="connsiteY7" fmla="*/ 30841 h 104887"/>
                    <a:gd name="connsiteX8" fmla="*/ 109889 w 192759"/>
                    <a:gd name="connsiteY8" fmla="*/ 18477 h 104887"/>
                    <a:gd name="connsiteX9" fmla="*/ 84049 w 192759"/>
                    <a:gd name="connsiteY9" fmla="*/ 0 h 104887"/>
                    <a:gd name="connsiteX10" fmla="*/ 71129 w 192759"/>
                    <a:gd name="connsiteY10" fmla="*/ 12364 h 104887"/>
                    <a:gd name="connsiteX11" fmla="*/ 51680 w 192759"/>
                    <a:gd name="connsiteY11" fmla="*/ 12364 h 104887"/>
                    <a:gd name="connsiteX12" fmla="*/ 0 w 192759"/>
                    <a:gd name="connsiteY12" fmla="*/ 37093 h 104887"/>
                    <a:gd name="connsiteX13" fmla="*/ 12920 w 192759"/>
                    <a:gd name="connsiteY13" fmla="*/ 61821 h 104887"/>
                    <a:gd name="connsiteX14" fmla="*/ 25840 w 192759"/>
                    <a:gd name="connsiteY14" fmla="*/ 80298 h 104887"/>
                    <a:gd name="connsiteX15" fmla="*/ 64739 w 192759"/>
                    <a:gd name="connsiteY15" fmla="*/ 104887 h 1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2759" h="104887">
                      <a:moveTo>
                        <a:pt x="64739" y="104887"/>
                      </a:moveTo>
                      <a:cubicBezTo>
                        <a:pt x="77658" y="104887"/>
                        <a:pt x="71268" y="86410"/>
                        <a:pt x="84188" y="86410"/>
                      </a:cubicBezTo>
                      <a:cubicBezTo>
                        <a:pt x="97107" y="86410"/>
                        <a:pt x="103498" y="98775"/>
                        <a:pt x="116418" y="98775"/>
                      </a:cubicBezTo>
                      <a:cubicBezTo>
                        <a:pt x="122808" y="98775"/>
                        <a:pt x="129338" y="98775"/>
                        <a:pt x="135729" y="98775"/>
                      </a:cubicBezTo>
                      <a:cubicBezTo>
                        <a:pt x="142119" y="98775"/>
                        <a:pt x="148648" y="92662"/>
                        <a:pt x="148648" y="92662"/>
                      </a:cubicBezTo>
                      <a:cubicBezTo>
                        <a:pt x="167958" y="86549"/>
                        <a:pt x="174488" y="80298"/>
                        <a:pt x="187408" y="67933"/>
                      </a:cubicBezTo>
                      <a:cubicBezTo>
                        <a:pt x="200328" y="55569"/>
                        <a:pt x="187408" y="49457"/>
                        <a:pt x="174488" y="43205"/>
                      </a:cubicBezTo>
                      <a:cubicBezTo>
                        <a:pt x="161569" y="37093"/>
                        <a:pt x="142258" y="18477"/>
                        <a:pt x="135729" y="30841"/>
                      </a:cubicBezTo>
                      <a:cubicBezTo>
                        <a:pt x="122808" y="49318"/>
                        <a:pt x="116418" y="24728"/>
                        <a:pt x="109889" y="18477"/>
                      </a:cubicBezTo>
                      <a:cubicBezTo>
                        <a:pt x="103498" y="12364"/>
                        <a:pt x="84049" y="18477"/>
                        <a:pt x="84049" y="0"/>
                      </a:cubicBezTo>
                      <a:cubicBezTo>
                        <a:pt x="84049" y="6113"/>
                        <a:pt x="77519" y="18477"/>
                        <a:pt x="71129" y="12364"/>
                      </a:cubicBezTo>
                      <a:cubicBezTo>
                        <a:pt x="58209" y="0"/>
                        <a:pt x="58209" y="0"/>
                        <a:pt x="51680" y="12364"/>
                      </a:cubicBezTo>
                      <a:cubicBezTo>
                        <a:pt x="45289" y="18477"/>
                        <a:pt x="0" y="30841"/>
                        <a:pt x="0" y="37093"/>
                      </a:cubicBezTo>
                      <a:cubicBezTo>
                        <a:pt x="0" y="37093"/>
                        <a:pt x="6391" y="55569"/>
                        <a:pt x="12920" y="61821"/>
                      </a:cubicBezTo>
                      <a:cubicBezTo>
                        <a:pt x="12920" y="67933"/>
                        <a:pt x="19311" y="74185"/>
                        <a:pt x="25840" y="80298"/>
                      </a:cubicBezTo>
                      <a:cubicBezTo>
                        <a:pt x="38899" y="86410"/>
                        <a:pt x="51819" y="104887"/>
                        <a:pt x="64739" y="10488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1" name="Freihandform: Form 290">
                  <a:extLst>
                    <a:ext uri="{FF2B5EF4-FFF2-40B4-BE49-F238E27FC236}">
                      <a16:creationId xmlns:a16="http://schemas.microsoft.com/office/drawing/2014/main" id="{EAFE9551-6C27-4585-BCC1-0D35A6DA2D09}"/>
                    </a:ext>
                  </a:extLst>
                </p:cNvPr>
                <p:cNvSpPr/>
                <p:nvPr/>
              </p:nvSpPr>
              <p:spPr>
                <a:xfrm>
                  <a:off x="6386123" y="2868333"/>
                  <a:ext cx="234703" cy="104887"/>
                </a:xfrm>
                <a:custGeom>
                  <a:avLst/>
                  <a:gdLst>
                    <a:gd name="connsiteX0" fmla="*/ 205885 w 234703"/>
                    <a:gd name="connsiteY0" fmla="*/ 13059 h 104887"/>
                    <a:gd name="connsiteX1" fmla="*/ 173654 w 234703"/>
                    <a:gd name="connsiteY1" fmla="*/ 0 h 104887"/>
                    <a:gd name="connsiteX2" fmla="*/ 154344 w 234703"/>
                    <a:gd name="connsiteY2" fmla="*/ 19727 h 104887"/>
                    <a:gd name="connsiteX3" fmla="*/ 128643 w 234703"/>
                    <a:gd name="connsiteY3" fmla="*/ 19727 h 104887"/>
                    <a:gd name="connsiteX4" fmla="*/ 109333 w 234703"/>
                    <a:gd name="connsiteY4" fmla="*/ 45984 h 104887"/>
                    <a:gd name="connsiteX5" fmla="*/ 102943 w 234703"/>
                    <a:gd name="connsiteY5" fmla="*/ 59043 h 104887"/>
                    <a:gd name="connsiteX6" fmla="*/ 83632 w 234703"/>
                    <a:gd name="connsiteY6" fmla="*/ 59043 h 104887"/>
                    <a:gd name="connsiteX7" fmla="*/ 57931 w 234703"/>
                    <a:gd name="connsiteY7" fmla="*/ 65572 h 104887"/>
                    <a:gd name="connsiteX8" fmla="*/ 32231 w 234703"/>
                    <a:gd name="connsiteY8" fmla="*/ 72101 h 104887"/>
                    <a:gd name="connsiteX9" fmla="*/ 0 w 234703"/>
                    <a:gd name="connsiteY9" fmla="*/ 59043 h 104887"/>
                    <a:gd name="connsiteX10" fmla="*/ 25701 w 234703"/>
                    <a:gd name="connsiteY10" fmla="*/ 85299 h 104887"/>
                    <a:gd name="connsiteX11" fmla="*/ 38621 w 234703"/>
                    <a:gd name="connsiteY11" fmla="*/ 85299 h 104887"/>
                    <a:gd name="connsiteX12" fmla="*/ 51541 w 234703"/>
                    <a:gd name="connsiteY12" fmla="*/ 91828 h 104887"/>
                    <a:gd name="connsiteX13" fmla="*/ 77242 w 234703"/>
                    <a:gd name="connsiteY13" fmla="*/ 85299 h 104887"/>
                    <a:gd name="connsiteX14" fmla="*/ 96552 w 234703"/>
                    <a:gd name="connsiteY14" fmla="*/ 98358 h 104887"/>
                    <a:gd name="connsiteX15" fmla="*/ 141702 w 234703"/>
                    <a:gd name="connsiteY15" fmla="*/ 104887 h 104887"/>
                    <a:gd name="connsiteX16" fmla="*/ 186852 w 234703"/>
                    <a:gd name="connsiteY16" fmla="*/ 91828 h 104887"/>
                    <a:gd name="connsiteX17" fmla="*/ 212553 w 234703"/>
                    <a:gd name="connsiteY17" fmla="*/ 78770 h 104887"/>
                    <a:gd name="connsiteX18" fmla="*/ 218944 w 234703"/>
                    <a:gd name="connsiteY18" fmla="*/ 59181 h 104887"/>
                    <a:gd name="connsiteX19" fmla="*/ 231863 w 234703"/>
                    <a:gd name="connsiteY19" fmla="*/ 52652 h 104887"/>
                    <a:gd name="connsiteX20" fmla="*/ 231863 w 234703"/>
                    <a:gd name="connsiteY20" fmla="*/ 13337 h 104887"/>
                    <a:gd name="connsiteX21" fmla="*/ 205885 w 234703"/>
                    <a:gd name="connsiteY21" fmla="*/ 13059 h 1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703" h="104887">
                      <a:moveTo>
                        <a:pt x="205885" y="13059"/>
                      </a:moveTo>
                      <a:cubicBezTo>
                        <a:pt x="192965" y="13059"/>
                        <a:pt x="180184" y="0"/>
                        <a:pt x="173654" y="0"/>
                      </a:cubicBezTo>
                      <a:cubicBezTo>
                        <a:pt x="160735" y="0"/>
                        <a:pt x="167264" y="19727"/>
                        <a:pt x="154344" y="19727"/>
                      </a:cubicBezTo>
                      <a:cubicBezTo>
                        <a:pt x="141424" y="19727"/>
                        <a:pt x="141424" y="13198"/>
                        <a:pt x="128643" y="19727"/>
                      </a:cubicBezTo>
                      <a:cubicBezTo>
                        <a:pt x="128643" y="19727"/>
                        <a:pt x="102943" y="39315"/>
                        <a:pt x="109333" y="45984"/>
                      </a:cubicBezTo>
                      <a:cubicBezTo>
                        <a:pt x="109333" y="52513"/>
                        <a:pt x="122253" y="65572"/>
                        <a:pt x="102943" y="59043"/>
                      </a:cubicBezTo>
                      <a:cubicBezTo>
                        <a:pt x="96552" y="59043"/>
                        <a:pt x="90023" y="52513"/>
                        <a:pt x="83632" y="59043"/>
                      </a:cubicBezTo>
                      <a:cubicBezTo>
                        <a:pt x="77242" y="59043"/>
                        <a:pt x="64322" y="65572"/>
                        <a:pt x="57931" y="65572"/>
                      </a:cubicBezTo>
                      <a:cubicBezTo>
                        <a:pt x="45011" y="65572"/>
                        <a:pt x="38621" y="52513"/>
                        <a:pt x="32231" y="72101"/>
                      </a:cubicBezTo>
                      <a:cubicBezTo>
                        <a:pt x="32231" y="72101"/>
                        <a:pt x="6530" y="59043"/>
                        <a:pt x="0" y="59043"/>
                      </a:cubicBezTo>
                      <a:cubicBezTo>
                        <a:pt x="0" y="72101"/>
                        <a:pt x="6391" y="78631"/>
                        <a:pt x="25701" y="85299"/>
                      </a:cubicBezTo>
                      <a:cubicBezTo>
                        <a:pt x="32091" y="85299"/>
                        <a:pt x="32091" y="85299"/>
                        <a:pt x="38621" y="85299"/>
                      </a:cubicBezTo>
                      <a:cubicBezTo>
                        <a:pt x="45011" y="85299"/>
                        <a:pt x="45011" y="98358"/>
                        <a:pt x="51541" y="91828"/>
                      </a:cubicBezTo>
                      <a:cubicBezTo>
                        <a:pt x="64461" y="85299"/>
                        <a:pt x="64461" y="85299"/>
                        <a:pt x="77242" y="85299"/>
                      </a:cubicBezTo>
                      <a:cubicBezTo>
                        <a:pt x="90162" y="85299"/>
                        <a:pt x="83632" y="91828"/>
                        <a:pt x="96552" y="98358"/>
                      </a:cubicBezTo>
                      <a:cubicBezTo>
                        <a:pt x="109472" y="104887"/>
                        <a:pt x="128782" y="104887"/>
                        <a:pt x="141702" y="104887"/>
                      </a:cubicBezTo>
                      <a:cubicBezTo>
                        <a:pt x="161013" y="104887"/>
                        <a:pt x="167403" y="91828"/>
                        <a:pt x="186852" y="91828"/>
                      </a:cubicBezTo>
                      <a:cubicBezTo>
                        <a:pt x="199773" y="91828"/>
                        <a:pt x="212553" y="85299"/>
                        <a:pt x="212553" y="78770"/>
                      </a:cubicBezTo>
                      <a:cubicBezTo>
                        <a:pt x="218944" y="72240"/>
                        <a:pt x="218944" y="65711"/>
                        <a:pt x="218944" y="59181"/>
                      </a:cubicBezTo>
                      <a:cubicBezTo>
                        <a:pt x="218944" y="46123"/>
                        <a:pt x="225334" y="59181"/>
                        <a:pt x="231863" y="52652"/>
                      </a:cubicBezTo>
                      <a:cubicBezTo>
                        <a:pt x="238254" y="39593"/>
                        <a:pt x="231863" y="19866"/>
                        <a:pt x="231863" y="13337"/>
                      </a:cubicBezTo>
                      <a:cubicBezTo>
                        <a:pt x="218805" y="13059"/>
                        <a:pt x="212276" y="13059"/>
                        <a:pt x="205885" y="1305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2" name="Freihandform: Form 291">
                  <a:extLst>
                    <a:ext uri="{FF2B5EF4-FFF2-40B4-BE49-F238E27FC236}">
                      <a16:creationId xmlns:a16="http://schemas.microsoft.com/office/drawing/2014/main" id="{AED75DEF-5F08-471B-ADBA-C37E875623D7}"/>
                    </a:ext>
                  </a:extLst>
                </p:cNvPr>
                <p:cNvSpPr/>
                <p:nvPr/>
              </p:nvSpPr>
              <p:spPr>
                <a:xfrm>
                  <a:off x="6281235" y="2948322"/>
                  <a:ext cx="381813" cy="377625"/>
                </a:xfrm>
                <a:custGeom>
                  <a:avLst/>
                  <a:gdLst>
                    <a:gd name="connsiteX0" fmla="*/ 253536 w 381813"/>
                    <a:gd name="connsiteY0" fmla="*/ 65603 h 377625"/>
                    <a:gd name="connsiteX1" fmla="*/ 280904 w 381813"/>
                    <a:gd name="connsiteY1" fmla="*/ 58657 h 377625"/>
                    <a:gd name="connsiteX2" fmla="*/ 294657 w 381813"/>
                    <a:gd name="connsiteY2" fmla="*/ 37818 h 377625"/>
                    <a:gd name="connsiteX3" fmla="*/ 308410 w 381813"/>
                    <a:gd name="connsiteY3" fmla="*/ 23926 h 377625"/>
                    <a:gd name="connsiteX4" fmla="*/ 308410 w 381813"/>
                    <a:gd name="connsiteY4" fmla="*/ 3087 h 377625"/>
                    <a:gd name="connsiteX5" fmla="*/ 281043 w 381813"/>
                    <a:gd name="connsiteY5" fmla="*/ 10033 h 377625"/>
                    <a:gd name="connsiteX6" fmla="*/ 246728 w 381813"/>
                    <a:gd name="connsiteY6" fmla="*/ 23926 h 377625"/>
                    <a:gd name="connsiteX7" fmla="*/ 185046 w 381813"/>
                    <a:gd name="connsiteY7" fmla="*/ 3087 h 377625"/>
                    <a:gd name="connsiteX8" fmla="*/ 150732 w 381813"/>
                    <a:gd name="connsiteY8" fmla="*/ 3087 h 377625"/>
                    <a:gd name="connsiteX9" fmla="*/ 130172 w 381813"/>
                    <a:gd name="connsiteY9" fmla="*/ 3087 h 377625"/>
                    <a:gd name="connsiteX10" fmla="*/ 123364 w 381813"/>
                    <a:gd name="connsiteY10" fmla="*/ 16980 h 377625"/>
                    <a:gd name="connsiteX11" fmla="*/ 116557 w 381813"/>
                    <a:gd name="connsiteY11" fmla="*/ 23926 h 377625"/>
                    <a:gd name="connsiteX12" fmla="*/ 102803 w 381813"/>
                    <a:gd name="connsiteY12" fmla="*/ 30872 h 377625"/>
                    <a:gd name="connsiteX13" fmla="*/ 89050 w 381813"/>
                    <a:gd name="connsiteY13" fmla="*/ 30872 h 377625"/>
                    <a:gd name="connsiteX14" fmla="*/ 82243 w 381813"/>
                    <a:gd name="connsiteY14" fmla="*/ 23926 h 377625"/>
                    <a:gd name="connsiteX15" fmla="*/ 75436 w 381813"/>
                    <a:gd name="connsiteY15" fmla="*/ 51710 h 377625"/>
                    <a:gd name="connsiteX16" fmla="*/ 61682 w 381813"/>
                    <a:gd name="connsiteY16" fmla="*/ 30872 h 377625"/>
                    <a:gd name="connsiteX17" fmla="*/ 34314 w 381813"/>
                    <a:gd name="connsiteY17" fmla="*/ 44764 h 377625"/>
                    <a:gd name="connsiteX18" fmla="*/ 0 w 381813"/>
                    <a:gd name="connsiteY18" fmla="*/ 44764 h 377625"/>
                    <a:gd name="connsiteX19" fmla="*/ 6807 w 381813"/>
                    <a:gd name="connsiteY19" fmla="*/ 65603 h 377625"/>
                    <a:gd name="connsiteX20" fmla="*/ 0 w 381813"/>
                    <a:gd name="connsiteY20" fmla="*/ 93387 h 377625"/>
                    <a:gd name="connsiteX21" fmla="*/ 13754 w 381813"/>
                    <a:gd name="connsiteY21" fmla="*/ 121172 h 377625"/>
                    <a:gd name="connsiteX22" fmla="*/ 27507 w 381813"/>
                    <a:gd name="connsiteY22" fmla="*/ 142011 h 377625"/>
                    <a:gd name="connsiteX23" fmla="*/ 82382 w 381813"/>
                    <a:gd name="connsiteY23" fmla="*/ 114226 h 377625"/>
                    <a:gd name="connsiteX24" fmla="*/ 102943 w 381813"/>
                    <a:gd name="connsiteY24" fmla="*/ 128118 h 377625"/>
                    <a:gd name="connsiteX25" fmla="*/ 116696 w 381813"/>
                    <a:gd name="connsiteY25" fmla="*/ 148957 h 377625"/>
                    <a:gd name="connsiteX26" fmla="*/ 123503 w 381813"/>
                    <a:gd name="connsiteY26" fmla="*/ 169795 h 377625"/>
                    <a:gd name="connsiteX27" fmla="*/ 144064 w 381813"/>
                    <a:gd name="connsiteY27" fmla="*/ 190634 h 377625"/>
                    <a:gd name="connsiteX28" fmla="*/ 192131 w 381813"/>
                    <a:gd name="connsiteY28" fmla="*/ 225226 h 377625"/>
                    <a:gd name="connsiteX29" fmla="*/ 226445 w 381813"/>
                    <a:gd name="connsiteY29" fmla="*/ 246065 h 377625"/>
                    <a:gd name="connsiteX30" fmla="*/ 288127 w 381813"/>
                    <a:gd name="connsiteY30" fmla="*/ 287603 h 377625"/>
                    <a:gd name="connsiteX31" fmla="*/ 308688 w 381813"/>
                    <a:gd name="connsiteY31" fmla="*/ 329141 h 377625"/>
                    <a:gd name="connsiteX32" fmla="*/ 294935 w 381813"/>
                    <a:gd name="connsiteY32" fmla="*/ 377625 h 377625"/>
                    <a:gd name="connsiteX33" fmla="*/ 336056 w 381813"/>
                    <a:gd name="connsiteY33" fmla="*/ 329141 h 377625"/>
                    <a:gd name="connsiteX34" fmla="*/ 322303 w 381813"/>
                    <a:gd name="connsiteY34" fmla="*/ 308302 h 377625"/>
                    <a:gd name="connsiteX35" fmla="*/ 342864 w 381813"/>
                    <a:gd name="connsiteY35" fmla="*/ 273710 h 377625"/>
                    <a:gd name="connsiteX36" fmla="*/ 363424 w 381813"/>
                    <a:gd name="connsiteY36" fmla="*/ 280656 h 377625"/>
                    <a:gd name="connsiteX37" fmla="*/ 377178 w 381813"/>
                    <a:gd name="connsiteY37" fmla="*/ 301495 h 377625"/>
                    <a:gd name="connsiteX38" fmla="*/ 363424 w 381813"/>
                    <a:gd name="connsiteY38" fmla="*/ 266903 h 377625"/>
                    <a:gd name="connsiteX39" fmla="*/ 301742 w 381813"/>
                    <a:gd name="connsiteY39" fmla="*/ 239118 h 377625"/>
                    <a:gd name="connsiteX40" fmla="*/ 301742 w 381813"/>
                    <a:gd name="connsiteY40" fmla="*/ 218280 h 377625"/>
                    <a:gd name="connsiteX41" fmla="*/ 267428 w 381813"/>
                    <a:gd name="connsiteY41" fmla="*/ 211334 h 377625"/>
                    <a:gd name="connsiteX42" fmla="*/ 240060 w 381813"/>
                    <a:gd name="connsiteY42" fmla="*/ 176603 h 377625"/>
                    <a:gd name="connsiteX43" fmla="*/ 219499 w 381813"/>
                    <a:gd name="connsiteY43" fmla="*/ 142011 h 377625"/>
                    <a:gd name="connsiteX44" fmla="*/ 185185 w 381813"/>
                    <a:gd name="connsiteY44" fmla="*/ 114226 h 377625"/>
                    <a:gd name="connsiteX45" fmla="*/ 185185 w 381813"/>
                    <a:gd name="connsiteY45" fmla="*/ 100334 h 377625"/>
                    <a:gd name="connsiteX46" fmla="*/ 191993 w 381813"/>
                    <a:gd name="connsiteY46" fmla="*/ 79495 h 377625"/>
                    <a:gd name="connsiteX47" fmla="*/ 205746 w 381813"/>
                    <a:gd name="connsiteY47" fmla="*/ 58657 h 377625"/>
                    <a:gd name="connsiteX48" fmla="*/ 219499 w 381813"/>
                    <a:gd name="connsiteY48" fmla="*/ 51710 h 377625"/>
                    <a:gd name="connsiteX49" fmla="*/ 233253 w 381813"/>
                    <a:gd name="connsiteY49" fmla="*/ 65603 h 377625"/>
                    <a:gd name="connsiteX50" fmla="*/ 253536 w 381813"/>
                    <a:gd name="connsiteY50" fmla="*/ 65603 h 377625"/>
                    <a:gd name="connsiteX51" fmla="*/ 253536 w 381813"/>
                    <a:gd name="connsiteY51" fmla="*/ 65603 h 37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1813" h="377625">
                      <a:moveTo>
                        <a:pt x="253536" y="65603"/>
                      </a:moveTo>
                      <a:cubicBezTo>
                        <a:pt x="260343" y="58657"/>
                        <a:pt x="274096" y="65603"/>
                        <a:pt x="280904" y="58657"/>
                      </a:cubicBezTo>
                      <a:cubicBezTo>
                        <a:pt x="294657" y="51710"/>
                        <a:pt x="287711" y="44764"/>
                        <a:pt x="294657" y="37818"/>
                      </a:cubicBezTo>
                      <a:cubicBezTo>
                        <a:pt x="294657" y="30872"/>
                        <a:pt x="301464" y="23926"/>
                        <a:pt x="308410" y="23926"/>
                      </a:cubicBezTo>
                      <a:cubicBezTo>
                        <a:pt x="315217" y="16980"/>
                        <a:pt x="308410" y="16980"/>
                        <a:pt x="308410" y="3087"/>
                      </a:cubicBezTo>
                      <a:cubicBezTo>
                        <a:pt x="301603" y="10033"/>
                        <a:pt x="294657" y="10033"/>
                        <a:pt x="281043" y="10033"/>
                      </a:cubicBezTo>
                      <a:cubicBezTo>
                        <a:pt x="267289" y="10033"/>
                        <a:pt x="253675" y="30872"/>
                        <a:pt x="246728" y="23926"/>
                      </a:cubicBezTo>
                      <a:cubicBezTo>
                        <a:pt x="226168" y="16980"/>
                        <a:pt x="191854" y="23926"/>
                        <a:pt x="185046" y="3087"/>
                      </a:cubicBezTo>
                      <a:cubicBezTo>
                        <a:pt x="178239" y="-3859"/>
                        <a:pt x="157678" y="3087"/>
                        <a:pt x="150732" y="3087"/>
                      </a:cubicBezTo>
                      <a:cubicBezTo>
                        <a:pt x="136979" y="16980"/>
                        <a:pt x="136979" y="3087"/>
                        <a:pt x="130172" y="3087"/>
                      </a:cubicBezTo>
                      <a:cubicBezTo>
                        <a:pt x="123364" y="3087"/>
                        <a:pt x="123364" y="16980"/>
                        <a:pt x="123364" y="16980"/>
                      </a:cubicBezTo>
                      <a:lnTo>
                        <a:pt x="116557" y="23926"/>
                      </a:lnTo>
                      <a:cubicBezTo>
                        <a:pt x="116557" y="30872"/>
                        <a:pt x="109750" y="30872"/>
                        <a:pt x="102803" y="30872"/>
                      </a:cubicBezTo>
                      <a:cubicBezTo>
                        <a:pt x="102803" y="30872"/>
                        <a:pt x="95996" y="30872"/>
                        <a:pt x="89050" y="30872"/>
                      </a:cubicBezTo>
                      <a:cubicBezTo>
                        <a:pt x="89050" y="30872"/>
                        <a:pt x="89050" y="30872"/>
                        <a:pt x="82243" y="23926"/>
                      </a:cubicBezTo>
                      <a:cubicBezTo>
                        <a:pt x="82243" y="23926"/>
                        <a:pt x="75436" y="44764"/>
                        <a:pt x="75436" y="51710"/>
                      </a:cubicBezTo>
                      <a:cubicBezTo>
                        <a:pt x="75436" y="58657"/>
                        <a:pt x="61682" y="37818"/>
                        <a:pt x="61682" y="30872"/>
                      </a:cubicBezTo>
                      <a:cubicBezTo>
                        <a:pt x="47929" y="23926"/>
                        <a:pt x="41122" y="44764"/>
                        <a:pt x="34314" y="44764"/>
                      </a:cubicBezTo>
                      <a:cubicBezTo>
                        <a:pt x="20561" y="44764"/>
                        <a:pt x="6946" y="44764"/>
                        <a:pt x="0" y="44764"/>
                      </a:cubicBezTo>
                      <a:cubicBezTo>
                        <a:pt x="0" y="51710"/>
                        <a:pt x="6807" y="58657"/>
                        <a:pt x="6807" y="65603"/>
                      </a:cubicBezTo>
                      <a:cubicBezTo>
                        <a:pt x="6807" y="79495"/>
                        <a:pt x="0" y="79495"/>
                        <a:pt x="0" y="93387"/>
                      </a:cubicBezTo>
                      <a:cubicBezTo>
                        <a:pt x="0" y="100334"/>
                        <a:pt x="0" y="121172"/>
                        <a:pt x="13754" y="121172"/>
                      </a:cubicBezTo>
                      <a:cubicBezTo>
                        <a:pt x="20561" y="128118"/>
                        <a:pt x="27507" y="121172"/>
                        <a:pt x="27507" y="142011"/>
                      </a:cubicBezTo>
                      <a:cubicBezTo>
                        <a:pt x="41261" y="135065"/>
                        <a:pt x="68628" y="107280"/>
                        <a:pt x="82382" y="114226"/>
                      </a:cubicBezTo>
                      <a:cubicBezTo>
                        <a:pt x="89189" y="121172"/>
                        <a:pt x="96135" y="128118"/>
                        <a:pt x="102943" y="128118"/>
                      </a:cubicBezTo>
                      <a:cubicBezTo>
                        <a:pt x="109750" y="128118"/>
                        <a:pt x="116696" y="142011"/>
                        <a:pt x="116696" y="148957"/>
                      </a:cubicBezTo>
                      <a:cubicBezTo>
                        <a:pt x="123503" y="155903"/>
                        <a:pt x="123503" y="162849"/>
                        <a:pt x="123503" y="169795"/>
                      </a:cubicBezTo>
                      <a:cubicBezTo>
                        <a:pt x="130310" y="176742"/>
                        <a:pt x="137257" y="183688"/>
                        <a:pt x="144064" y="190634"/>
                      </a:cubicBezTo>
                      <a:cubicBezTo>
                        <a:pt x="157817" y="197580"/>
                        <a:pt x="171432" y="211473"/>
                        <a:pt x="192131" y="225226"/>
                      </a:cubicBezTo>
                      <a:cubicBezTo>
                        <a:pt x="205885" y="239118"/>
                        <a:pt x="212692" y="239118"/>
                        <a:pt x="226445" y="246065"/>
                      </a:cubicBezTo>
                      <a:cubicBezTo>
                        <a:pt x="247006" y="259957"/>
                        <a:pt x="260760" y="280656"/>
                        <a:pt x="288127" y="287603"/>
                      </a:cubicBezTo>
                      <a:cubicBezTo>
                        <a:pt x="301881" y="294549"/>
                        <a:pt x="301881" y="315387"/>
                        <a:pt x="308688" y="329141"/>
                      </a:cubicBezTo>
                      <a:cubicBezTo>
                        <a:pt x="308688" y="343033"/>
                        <a:pt x="288127" y="356925"/>
                        <a:pt x="294935" y="377625"/>
                      </a:cubicBezTo>
                      <a:cubicBezTo>
                        <a:pt x="294935" y="370679"/>
                        <a:pt x="336056" y="336087"/>
                        <a:pt x="336056" y="329141"/>
                      </a:cubicBezTo>
                      <a:cubicBezTo>
                        <a:pt x="342864" y="322195"/>
                        <a:pt x="322303" y="308302"/>
                        <a:pt x="322303" y="308302"/>
                      </a:cubicBezTo>
                      <a:cubicBezTo>
                        <a:pt x="308549" y="294410"/>
                        <a:pt x="336056" y="266764"/>
                        <a:pt x="342864" y="273710"/>
                      </a:cubicBezTo>
                      <a:cubicBezTo>
                        <a:pt x="349671" y="280656"/>
                        <a:pt x="356617" y="280656"/>
                        <a:pt x="363424" y="280656"/>
                      </a:cubicBezTo>
                      <a:cubicBezTo>
                        <a:pt x="370231" y="287603"/>
                        <a:pt x="370231" y="294549"/>
                        <a:pt x="377178" y="301495"/>
                      </a:cubicBezTo>
                      <a:cubicBezTo>
                        <a:pt x="390931" y="301495"/>
                        <a:pt x="370370" y="273710"/>
                        <a:pt x="363424" y="266903"/>
                      </a:cubicBezTo>
                      <a:cubicBezTo>
                        <a:pt x="349671" y="253011"/>
                        <a:pt x="322303" y="253011"/>
                        <a:pt x="301742" y="239118"/>
                      </a:cubicBezTo>
                      <a:cubicBezTo>
                        <a:pt x="294935" y="232172"/>
                        <a:pt x="315496" y="218280"/>
                        <a:pt x="301742" y="218280"/>
                      </a:cubicBezTo>
                      <a:cubicBezTo>
                        <a:pt x="294935" y="211334"/>
                        <a:pt x="281181" y="218280"/>
                        <a:pt x="267428" y="211334"/>
                      </a:cubicBezTo>
                      <a:cubicBezTo>
                        <a:pt x="253675" y="204387"/>
                        <a:pt x="246867" y="190495"/>
                        <a:pt x="240060" y="176603"/>
                      </a:cubicBezTo>
                      <a:cubicBezTo>
                        <a:pt x="233253" y="162710"/>
                        <a:pt x="233253" y="148818"/>
                        <a:pt x="219499" y="142011"/>
                      </a:cubicBezTo>
                      <a:cubicBezTo>
                        <a:pt x="212692" y="135065"/>
                        <a:pt x="185185" y="128118"/>
                        <a:pt x="185185" y="114226"/>
                      </a:cubicBezTo>
                      <a:cubicBezTo>
                        <a:pt x="185185" y="107280"/>
                        <a:pt x="185185" y="100334"/>
                        <a:pt x="185185" y="100334"/>
                      </a:cubicBezTo>
                      <a:cubicBezTo>
                        <a:pt x="191993" y="86441"/>
                        <a:pt x="191993" y="86441"/>
                        <a:pt x="191993" y="79495"/>
                      </a:cubicBezTo>
                      <a:cubicBezTo>
                        <a:pt x="185185" y="58657"/>
                        <a:pt x="205746" y="65603"/>
                        <a:pt x="205746" y="58657"/>
                      </a:cubicBezTo>
                      <a:cubicBezTo>
                        <a:pt x="212553" y="51710"/>
                        <a:pt x="219499" y="51710"/>
                        <a:pt x="219499" y="51710"/>
                      </a:cubicBezTo>
                      <a:cubicBezTo>
                        <a:pt x="233253" y="51710"/>
                        <a:pt x="233253" y="58657"/>
                        <a:pt x="233253" y="65603"/>
                      </a:cubicBezTo>
                      <a:cubicBezTo>
                        <a:pt x="239782" y="65603"/>
                        <a:pt x="246589" y="65603"/>
                        <a:pt x="253536" y="65603"/>
                      </a:cubicBezTo>
                      <a:cubicBezTo>
                        <a:pt x="253536" y="58657"/>
                        <a:pt x="246589" y="65603"/>
                        <a:pt x="253536" y="656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3" name="Freihandform: Form 292">
                  <a:extLst>
                    <a:ext uri="{FF2B5EF4-FFF2-40B4-BE49-F238E27FC236}">
                      <a16:creationId xmlns:a16="http://schemas.microsoft.com/office/drawing/2014/main" id="{A9044146-A541-4418-9FEF-4A4327D2BCAC}"/>
                    </a:ext>
                  </a:extLst>
                </p:cNvPr>
                <p:cNvSpPr/>
                <p:nvPr/>
              </p:nvSpPr>
              <p:spPr>
                <a:xfrm>
                  <a:off x="6513176" y="2963635"/>
                  <a:ext cx="168159" cy="152538"/>
                </a:xfrm>
                <a:custGeom>
                  <a:avLst/>
                  <a:gdLst>
                    <a:gd name="connsiteX0" fmla="*/ 72857 w 168159"/>
                    <a:gd name="connsiteY0" fmla="*/ 60987 h 152538"/>
                    <a:gd name="connsiteX1" fmla="*/ 130094 w 168159"/>
                    <a:gd name="connsiteY1" fmla="*/ 54875 h 152538"/>
                    <a:gd name="connsiteX2" fmla="*/ 168159 w 168159"/>
                    <a:gd name="connsiteY2" fmla="*/ 67100 h 152538"/>
                    <a:gd name="connsiteX3" fmla="*/ 155517 w 168159"/>
                    <a:gd name="connsiteY3" fmla="*/ 24451 h 152538"/>
                    <a:gd name="connsiteX4" fmla="*/ 104672 w 168159"/>
                    <a:gd name="connsiteY4" fmla="*/ 18338 h 152538"/>
                    <a:gd name="connsiteX5" fmla="*/ 79248 w 168159"/>
                    <a:gd name="connsiteY5" fmla="*/ 0 h 152538"/>
                    <a:gd name="connsiteX6" fmla="*/ 66468 w 168159"/>
                    <a:gd name="connsiteY6" fmla="*/ 12225 h 152538"/>
                    <a:gd name="connsiteX7" fmla="*/ 34654 w 168159"/>
                    <a:gd name="connsiteY7" fmla="*/ 42789 h 152538"/>
                    <a:gd name="connsiteX8" fmla="*/ 2840 w 168159"/>
                    <a:gd name="connsiteY8" fmla="*/ 42789 h 152538"/>
                    <a:gd name="connsiteX9" fmla="*/ 2840 w 168159"/>
                    <a:gd name="connsiteY9" fmla="*/ 67239 h 152538"/>
                    <a:gd name="connsiteX10" fmla="*/ 15482 w 168159"/>
                    <a:gd name="connsiteY10" fmla="*/ 61126 h 152538"/>
                    <a:gd name="connsiteX11" fmla="*/ 21873 w 168159"/>
                    <a:gd name="connsiteY11" fmla="*/ 79464 h 152538"/>
                    <a:gd name="connsiteX12" fmla="*/ 34515 w 168159"/>
                    <a:gd name="connsiteY12" fmla="*/ 61126 h 152538"/>
                    <a:gd name="connsiteX13" fmla="*/ 66328 w 168159"/>
                    <a:gd name="connsiteY13" fmla="*/ 103776 h 152538"/>
                    <a:gd name="connsiteX14" fmla="*/ 142597 w 168159"/>
                    <a:gd name="connsiteY14" fmla="*/ 152538 h 152538"/>
                    <a:gd name="connsiteX15" fmla="*/ 129955 w 168159"/>
                    <a:gd name="connsiteY15" fmla="*/ 134200 h 152538"/>
                    <a:gd name="connsiteX16" fmla="*/ 98142 w 168159"/>
                    <a:gd name="connsiteY16" fmla="*/ 115862 h 152538"/>
                    <a:gd name="connsiteX17" fmla="*/ 72857 w 168159"/>
                    <a:gd name="connsiteY17" fmla="*/ 60987 h 15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8159" h="152538">
                      <a:moveTo>
                        <a:pt x="72857" y="60987"/>
                      </a:moveTo>
                      <a:cubicBezTo>
                        <a:pt x="91890" y="60987"/>
                        <a:pt x="110923" y="48762"/>
                        <a:pt x="130094" y="54875"/>
                      </a:cubicBezTo>
                      <a:cubicBezTo>
                        <a:pt x="142736" y="54875"/>
                        <a:pt x="155517" y="60987"/>
                        <a:pt x="168159" y="67100"/>
                      </a:cubicBezTo>
                      <a:cubicBezTo>
                        <a:pt x="161769" y="54875"/>
                        <a:pt x="161769" y="42650"/>
                        <a:pt x="155517" y="24451"/>
                      </a:cubicBezTo>
                      <a:cubicBezTo>
                        <a:pt x="136485" y="36676"/>
                        <a:pt x="117452" y="24451"/>
                        <a:pt x="104672" y="18338"/>
                      </a:cubicBezTo>
                      <a:cubicBezTo>
                        <a:pt x="92029" y="12225"/>
                        <a:pt x="85639" y="12225"/>
                        <a:pt x="79248" y="0"/>
                      </a:cubicBezTo>
                      <a:cubicBezTo>
                        <a:pt x="79248" y="0"/>
                        <a:pt x="66468" y="6113"/>
                        <a:pt x="66468" y="12225"/>
                      </a:cubicBezTo>
                      <a:cubicBezTo>
                        <a:pt x="53825" y="18338"/>
                        <a:pt x="60077" y="48762"/>
                        <a:pt x="34654" y="42789"/>
                      </a:cubicBezTo>
                      <a:cubicBezTo>
                        <a:pt x="22012" y="36676"/>
                        <a:pt x="9231" y="42789"/>
                        <a:pt x="2840" y="42789"/>
                      </a:cubicBezTo>
                      <a:cubicBezTo>
                        <a:pt x="-3550" y="48901"/>
                        <a:pt x="2840" y="67239"/>
                        <a:pt x="2840" y="67239"/>
                      </a:cubicBezTo>
                      <a:lnTo>
                        <a:pt x="15482" y="61126"/>
                      </a:lnTo>
                      <a:cubicBezTo>
                        <a:pt x="21873" y="61126"/>
                        <a:pt x="21873" y="73352"/>
                        <a:pt x="21873" y="79464"/>
                      </a:cubicBezTo>
                      <a:cubicBezTo>
                        <a:pt x="21873" y="67239"/>
                        <a:pt x="28263" y="48901"/>
                        <a:pt x="34515" y="61126"/>
                      </a:cubicBezTo>
                      <a:cubicBezTo>
                        <a:pt x="40905" y="79464"/>
                        <a:pt x="53547" y="91690"/>
                        <a:pt x="66328" y="103776"/>
                      </a:cubicBezTo>
                      <a:cubicBezTo>
                        <a:pt x="85361" y="122114"/>
                        <a:pt x="117175" y="134339"/>
                        <a:pt x="142597" y="152538"/>
                      </a:cubicBezTo>
                      <a:cubicBezTo>
                        <a:pt x="142597" y="140313"/>
                        <a:pt x="142597" y="140313"/>
                        <a:pt x="129955" y="134200"/>
                      </a:cubicBezTo>
                      <a:cubicBezTo>
                        <a:pt x="117313" y="128088"/>
                        <a:pt x="104532" y="121975"/>
                        <a:pt x="98142" y="115862"/>
                      </a:cubicBezTo>
                      <a:cubicBezTo>
                        <a:pt x="85639" y="103776"/>
                        <a:pt x="53825" y="60987"/>
                        <a:pt x="72857" y="6098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4" name="Freihandform: Form 293">
                  <a:extLst>
                    <a:ext uri="{FF2B5EF4-FFF2-40B4-BE49-F238E27FC236}">
                      <a16:creationId xmlns:a16="http://schemas.microsoft.com/office/drawing/2014/main" id="{0E6A4083-EC94-485D-94B5-87CCAF68D857}"/>
                    </a:ext>
                  </a:extLst>
                </p:cNvPr>
                <p:cNvSpPr/>
                <p:nvPr/>
              </p:nvSpPr>
              <p:spPr>
                <a:xfrm>
                  <a:off x="5943929" y="2784041"/>
                  <a:ext cx="398424" cy="344860"/>
                </a:xfrm>
                <a:custGeom>
                  <a:avLst/>
                  <a:gdLst>
                    <a:gd name="connsiteX0" fmla="*/ 360368 w 398424"/>
                    <a:gd name="connsiteY0" fmla="*/ 190290 h 344860"/>
                    <a:gd name="connsiteX1" fmla="*/ 341752 w 398424"/>
                    <a:gd name="connsiteY1" fmla="*/ 184039 h 344860"/>
                    <a:gd name="connsiteX2" fmla="*/ 366619 w 398424"/>
                    <a:gd name="connsiteY2" fmla="*/ 146946 h 344860"/>
                    <a:gd name="connsiteX3" fmla="*/ 385235 w 398424"/>
                    <a:gd name="connsiteY3" fmla="*/ 140695 h 344860"/>
                    <a:gd name="connsiteX4" fmla="*/ 397599 w 398424"/>
                    <a:gd name="connsiteY4" fmla="*/ 91238 h 344860"/>
                    <a:gd name="connsiteX5" fmla="*/ 366480 w 398424"/>
                    <a:gd name="connsiteY5" fmla="*/ 78874 h 344860"/>
                    <a:gd name="connsiteX6" fmla="*/ 347865 w 398424"/>
                    <a:gd name="connsiteY6" fmla="*/ 66510 h 344860"/>
                    <a:gd name="connsiteX7" fmla="*/ 335500 w 398424"/>
                    <a:gd name="connsiteY7" fmla="*/ 66510 h 344860"/>
                    <a:gd name="connsiteX8" fmla="*/ 292017 w 398424"/>
                    <a:gd name="connsiteY8" fmla="*/ 41781 h 344860"/>
                    <a:gd name="connsiteX9" fmla="*/ 260898 w 398424"/>
                    <a:gd name="connsiteY9" fmla="*/ 29417 h 344860"/>
                    <a:gd name="connsiteX10" fmla="*/ 229919 w 398424"/>
                    <a:gd name="connsiteY10" fmla="*/ 4689 h 344860"/>
                    <a:gd name="connsiteX11" fmla="*/ 205051 w 398424"/>
                    <a:gd name="connsiteY11" fmla="*/ 4689 h 344860"/>
                    <a:gd name="connsiteX12" fmla="*/ 198799 w 398424"/>
                    <a:gd name="connsiteY12" fmla="*/ 29417 h 344860"/>
                    <a:gd name="connsiteX13" fmla="*/ 180184 w 398424"/>
                    <a:gd name="connsiteY13" fmla="*/ 48033 h 344860"/>
                    <a:gd name="connsiteX14" fmla="*/ 155316 w 398424"/>
                    <a:gd name="connsiteY14" fmla="*/ 60397 h 344860"/>
                    <a:gd name="connsiteX15" fmla="*/ 142952 w 398424"/>
                    <a:gd name="connsiteY15" fmla="*/ 72761 h 344860"/>
                    <a:gd name="connsiteX16" fmla="*/ 118085 w 398424"/>
                    <a:gd name="connsiteY16" fmla="*/ 66510 h 344860"/>
                    <a:gd name="connsiteX17" fmla="*/ 93218 w 398424"/>
                    <a:gd name="connsiteY17" fmla="*/ 60258 h 344860"/>
                    <a:gd name="connsiteX18" fmla="*/ 93218 w 398424"/>
                    <a:gd name="connsiteY18" fmla="*/ 97351 h 344860"/>
                    <a:gd name="connsiteX19" fmla="*/ 49734 w 398424"/>
                    <a:gd name="connsiteY19" fmla="*/ 91099 h 344860"/>
                    <a:gd name="connsiteX20" fmla="*/ 0 w 398424"/>
                    <a:gd name="connsiteY20" fmla="*/ 103463 h 344860"/>
                    <a:gd name="connsiteX21" fmla="*/ 6252 w 398424"/>
                    <a:gd name="connsiteY21" fmla="*/ 115828 h 344860"/>
                    <a:gd name="connsiteX22" fmla="*/ 18616 w 398424"/>
                    <a:gd name="connsiteY22" fmla="*/ 128192 h 344860"/>
                    <a:gd name="connsiteX23" fmla="*/ 86966 w 398424"/>
                    <a:gd name="connsiteY23" fmla="*/ 152920 h 344860"/>
                    <a:gd name="connsiteX24" fmla="*/ 80714 w 398424"/>
                    <a:gd name="connsiteY24" fmla="*/ 171536 h 344860"/>
                    <a:gd name="connsiteX25" fmla="*/ 111833 w 398424"/>
                    <a:gd name="connsiteY25" fmla="*/ 190152 h 344860"/>
                    <a:gd name="connsiteX26" fmla="*/ 118085 w 398424"/>
                    <a:gd name="connsiteY26" fmla="*/ 214880 h 344860"/>
                    <a:gd name="connsiteX27" fmla="*/ 130449 w 398424"/>
                    <a:gd name="connsiteY27" fmla="*/ 233496 h 344860"/>
                    <a:gd name="connsiteX28" fmla="*/ 111833 w 398424"/>
                    <a:gd name="connsiteY28" fmla="*/ 221131 h 344860"/>
                    <a:gd name="connsiteX29" fmla="*/ 93218 w 398424"/>
                    <a:gd name="connsiteY29" fmla="*/ 301568 h 344860"/>
                    <a:gd name="connsiteX30" fmla="*/ 161568 w 398424"/>
                    <a:gd name="connsiteY30" fmla="*/ 326297 h 344860"/>
                    <a:gd name="connsiteX31" fmla="*/ 180184 w 398424"/>
                    <a:gd name="connsiteY31" fmla="*/ 326297 h 344860"/>
                    <a:gd name="connsiteX32" fmla="*/ 198799 w 398424"/>
                    <a:gd name="connsiteY32" fmla="*/ 338661 h 344860"/>
                    <a:gd name="connsiteX33" fmla="*/ 242283 w 398424"/>
                    <a:gd name="connsiteY33" fmla="*/ 332409 h 344860"/>
                    <a:gd name="connsiteX34" fmla="*/ 285766 w 398424"/>
                    <a:gd name="connsiteY34" fmla="*/ 295317 h 344860"/>
                    <a:gd name="connsiteX35" fmla="*/ 347865 w 398424"/>
                    <a:gd name="connsiteY35" fmla="*/ 307681 h 344860"/>
                    <a:gd name="connsiteX36" fmla="*/ 378983 w 398424"/>
                    <a:gd name="connsiteY36" fmla="*/ 289065 h 344860"/>
                    <a:gd name="connsiteX37" fmla="*/ 378983 w 398424"/>
                    <a:gd name="connsiteY37" fmla="*/ 276701 h 344860"/>
                    <a:gd name="connsiteX38" fmla="*/ 360368 w 398424"/>
                    <a:gd name="connsiteY38" fmla="*/ 233357 h 344860"/>
                    <a:gd name="connsiteX39" fmla="*/ 360368 w 398424"/>
                    <a:gd name="connsiteY39" fmla="*/ 208628 h 344860"/>
                    <a:gd name="connsiteX40" fmla="*/ 360368 w 398424"/>
                    <a:gd name="connsiteY40" fmla="*/ 190290 h 344860"/>
                    <a:gd name="connsiteX41" fmla="*/ 360368 w 398424"/>
                    <a:gd name="connsiteY41" fmla="*/ 190290 h 34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98424" h="344860">
                      <a:moveTo>
                        <a:pt x="360368" y="190290"/>
                      </a:moveTo>
                      <a:cubicBezTo>
                        <a:pt x="354116" y="177926"/>
                        <a:pt x="335500" y="202655"/>
                        <a:pt x="341752" y="184039"/>
                      </a:cubicBezTo>
                      <a:cubicBezTo>
                        <a:pt x="341752" y="177787"/>
                        <a:pt x="360368" y="146946"/>
                        <a:pt x="366619" y="146946"/>
                      </a:cubicBezTo>
                      <a:cubicBezTo>
                        <a:pt x="372871" y="140695"/>
                        <a:pt x="378983" y="153198"/>
                        <a:pt x="385235" y="140695"/>
                      </a:cubicBezTo>
                      <a:cubicBezTo>
                        <a:pt x="391486" y="122079"/>
                        <a:pt x="385235" y="109715"/>
                        <a:pt x="397599" y="91238"/>
                      </a:cubicBezTo>
                      <a:cubicBezTo>
                        <a:pt x="403851" y="78874"/>
                        <a:pt x="372732" y="78874"/>
                        <a:pt x="366480" y="78874"/>
                      </a:cubicBezTo>
                      <a:cubicBezTo>
                        <a:pt x="354116" y="78874"/>
                        <a:pt x="347865" y="72622"/>
                        <a:pt x="347865" y="66510"/>
                      </a:cubicBezTo>
                      <a:cubicBezTo>
                        <a:pt x="341613" y="66510"/>
                        <a:pt x="335500" y="66510"/>
                        <a:pt x="335500" y="66510"/>
                      </a:cubicBezTo>
                      <a:cubicBezTo>
                        <a:pt x="323136" y="66510"/>
                        <a:pt x="292017" y="54145"/>
                        <a:pt x="292017" y="41781"/>
                      </a:cubicBezTo>
                      <a:cubicBezTo>
                        <a:pt x="285766" y="60397"/>
                        <a:pt x="267150" y="29417"/>
                        <a:pt x="260898" y="29417"/>
                      </a:cubicBezTo>
                      <a:cubicBezTo>
                        <a:pt x="248534" y="23165"/>
                        <a:pt x="236031" y="17053"/>
                        <a:pt x="229919" y="4689"/>
                      </a:cubicBezTo>
                      <a:cubicBezTo>
                        <a:pt x="223667" y="-1563"/>
                        <a:pt x="211303" y="-1563"/>
                        <a:pt x="205051" y="4689"/>
                      </a:cubicBezTo>
                      <a:cubicBezTo>
                        <a:pt x="198799" y="10940"/>
                        <a:pt x="192687" y="23304"/>
                        <a:pt x="198799" y="29417"/>
                      </a:cubicBezTo>
                      <a:cubicBezTo>
                        <a:pt x="198799" y="35669"/>
                        <a:pt x="186435" y="41781"/>
                        <a:pt x="180184" y="48033"/>
                      </a:cubicBezTo>
                      <a:cubicBezTo>
                        <a:pt x="173932" y="48033"/>
                        <a:pt x="161568" y="48033"/>
                        <a:pt x="155316" y="60397"/>
                      </a:cubicBezTo>
                      <a:cubicBezTo>
                        <a:pt x="155316" y="66649"/>
                        <a:pt x="149065" y="72761"/>
                        <a:pt x="142952" y="72761"/>
                      </a:cubicBezTo>
                      <a:cubicBezTo>
                        <a:pt x="130588" y="72761"/>
                        <a:pt x="124337" y="72761"/>
                        <a:pt x="118085" y="66510"/>
                      </a:cubicBezTo>
                      <a:cubicBezTo>
                        <a:pt x="105721" y="66510"/>
                        <a:pt x="105721" y="60258"/>
                        <a:pt x="93218" y="60258"/>
                      </a:cubicBezTo>
                      <a:cubicBezTo>
                        <a:pt x="80853" y="54007"/>
                        <a:pt x="118085" y="97351"/>
                        <a:pt x="93218" y="97351"/>
                      </a:cubicBezTo>
                      <a:cubicBezTo>
                        <a:pt x="74602" y="97351"/>
                        <a:pt x="62237" y="103602"/>
                        <a:pt x="49734" y="91099"/>
                      </a:cubicBezTo>
                      <a:cubicBezTo>
                        <a:pt x="43483" y="84847"/>
                        <a:pt x="0" y="97351"/>
                        <a:pt x="0" y="103463"/>
                      </a:cubicBezTo>
                      <a:cubicBezTo>
                        <a:pt x="0" y="109715"/>
                        <a:pt x="18616" y="109715"/>
                        <a:pt x="6252" y="115828"/>
                      </a:cubicBezTo>
                      <a:cubicBezTo>
                        <a:pt x="-6113" y="122079"/>
                        <a:pt x="12503" y="128192"/>
                        <a:pt x="18616" y="128192"/>
                      </a:cubicBezTo>
                      <a:cubicBezTo>
                        <a:pt x="30980" y="134443"/>
                        <a:pt x="86966" y="140556"/>
                        <a:pt x="86966" y="152920"/>
                      </a:cubicBezTo>
                      <a:cubicBezTo>
                        <a:pt x="86966" y="159172"/>
                        <a:pt x="74602" y="159172"/>
                        <a:pt x="80714" y="171536"/>
                      </a:cubicBezTo>
                      <a:cubicBezTo>
                        <a:pt x="93079" y="183900"/>
                        <a:pt x="99330" y="183900"/>
                        <a:pt x="111833" y="190152"/>
                      </a:cubicBezTo>
                      <a:cubicBezTo>
                        <a:pt x="124198" y="196403"/>
                        <a:pt x="105582" y="208767"/>
                        <a:pt x="118085" y="214880"/>
                      </a:cubicBezTo>
                      <a:lnTo>
                        <a:pt x="130449" y="233496"/>
                      </a:lnTo>
                      <a:cubicBezTo>
                        <a:pt x="124198" y="239747"/>
                        <a:pt x="118085" y="221131"/>
                        <a:pt x="111833" y="221131"/>
                      </a:cubicBezTo>
                      <a:cubicBezTo>
                        <a:pt x="105582" y="221131"/>
                        <a:pt x="111833" y="295456"/>
                        <a:pt x="93218" y="301568"/>
                      </a:cubicBezTo>
                      <a:cubicBezTo>
                        <a:pt x="111833" y="313932"/>
                        <a:pt x="136701" y="332548"/>
                        <a:pt x="161568" y="326297"/>
                      </a:cubicBezTo>
                      <a:cubicBezTo>
                        <a:pt x="167819" y="326297"/>
                        <a:pt x="173932" y="320045"/>
                        <a:pt x="180184" y="326297"/>
                      </a:cubicBezTo>
                      <a:cubicBezTo>
                        <a:pt x="186435" y="326297"/>
                        <a:pt x="192548" y="332548"/>
                        <a:pt x="198799" y="338661"/>
                      </a:cubicBezTo>
                      <a:cubicBezTo>
                        <a:pt x="211164" y="344912"/>
                        <a:pt x="248534" y="351025"/>
                        <a:pt x="242283" y="332409"/>
                      </a:cubicBezTo>
                      <a:cubicBezTo>
                        <a:pt x="236031" y="301429"/>
                        <a:pt x="267150" y="289065"/>
                        <a:pt x="285766" y="295317"/>
                      </a:cubicBezTo>
                      <a:cubicBezTo>
                        <a:pt x="310633" y="301568"/>
                        <a:pt x="322997" y="320045"/>
                        <a:pt x="347865" y="307681"/>
                      </a:cubicBezTo>
                      <a:cubicBezTo>
                        <a:pt x="360229" y="301429"/>
                        <a:pt x="366480" y="295317"/>
                        <a:pt x="378983" y="289065"/>
                      </a:cubicBezTo>
                      <a:cubicBezTo>
                        <a:pt x="378983" y="289065"/>
                        <a:pt x="391348" y="276701"/>
                        <a:pt x="378983" y="276701"/>
                      </a:cubicBezTo>
                      <a:cubicBezTo>
                        <a:pt x="366619" y="270449"/>
                        <a:pt x="354116" y="245721"/>
                        <a:pt x="360368" y="233357"/>
                      </a:cubicBezTo>
                      <a:cubicBezTo>
                        <a:pt x="372732" y="220993"/>
                        <a:pt x="366619" y="220993"/>
                        <a:pt x="360368" y="208628"/>
                      </a:cubicBezTo>
                      <a:cubicBezTo>
                        <a:pt x="360368" y="202655"/>
                        <a:pt x="360368" y="196542"/>
                        <a:pt x="360368" y="190290"/>
                      </a:cubicBezTo>
                      <a:cubicBezTo>
                        <a:pt x="354116" y="184178"/>
                        <a:pt x="360368" y="196542"/>
                        <a:pt x="360368" y="19029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5" name="Freihandform: Form 294">
                  <a:extLst>
                    <a:ext uri="{FF2B5EF4-FFF2-40B4-BE49-F238E27FC236}">
                      <a16:creationId xmlns:a16="http://schemas.microsoft.com/office/drawing/2014/main" id="{9E514896-1134-4C1E-A138-382593F0F983}"/>
                    </a:ext>
                  </a:extLst>
                </p:cNvPr>
                <p:cNvSpPr/>
                <p:nvPr/>
              </p:nvSpPr>
              <p:spPr>
                <a:xfrm>
                  <a:off x="6285759" y="2928734"/>
                  <a:ext cx="138150" cy="64387"/>
                </a:xfrm>
                <a:custGeom>
                  <a:avLst/>
                  <a:gdLst>
                    <a:gd name="connsiteX0" fmla="*/ 105781 w 138150"/>
                    <a:gd name="connsiteY0" fmla="*/ 2531 h 64387"/>
                    <a:gd name="connsiteX1" fmla="*/ 53824 w 138150"/>
                    <a:gd name="connsiteY1" fmla="*/ 2531 h 64387"/>
                    <a:gd name="connsiteX2" fmla="*/ 47294 w 138150"/>
                    <a:gd name="connsiteY2" fmla="*/ 8227 h 64387"/>
                    <a:gd name="connsiteX3" fmla="*/ 27845 w 138150"/>
                    <a:gd name="connsiteY3" fmla="*/ 8227 h 64387"/>
                    <a:gd name="connsiteX4" fmla="*/ 14786 w 138150"/>
                    <a:gd name="connsiteY4" fmla="*/ 25454 h 64387"/>
                    <a:gd name="connsiteX5" fmla="*/ 1727 w 138150"/>
                    <a:gd name="connsiteY5" fmla="*/ 48376 h 64387"/>
                    <a:gd name="connsiteX6" fmla="*/ 21177 w 138150"/>
                    <a:gd name="connsiteY6" fmla="*/ 54072 h 64387"/>
                    <a:gd name="connsiteX7" fmla="*/ 40626 w 138150"/>
                    <a:gd name="connsiteY7" fmla="*/ 59768 h 64387"/>
                    <a:gd name="connsiteX8" fmla="*/ 66605 w 138150"/>
                    <a:gd name="connsiteY8" fmla="*/ 54072 h 64387"/>
                    <a:gd name="connsiteX9" fmla="*/ 79664 w 138150"/>
                    <a:gd name="connsiteY9" fmla="*/ 54072 h 64387"/>
                    <a:gd name="connsiteX10" fmla="*/ 99113 w 138150"/>
                    <a:gd name="connsiteY10" fmla="*/ 42680 h 64387"/>
                    <a:gd name="connsiteX11" fmla="*/ 112172 w 138150"/>
                    <a:gd name="connsiteY11" fmla="*/ 48376 h 64387"/>
                    <a:gd name="connsiteX12" fmla="*/ 131621 w 138150"/>
                    <a:gd name="connsiteY12" fmla="*/ 42680 h 64387"/>
                    <a:gd name="connsiteX13" fmla="*/ 138151 w 138150"/>
                    <a:gd name="connsiteY13" fmla="*/ 25454 h 64387"/>
                    <a:gd name="connsiteX14" fmla="*/ 112172 w 138150"/>
                    <a:gd name="connsiteY14" fmla="*/ 19758 h 64387"/>
                    <a:gd name="connsiteX15" fmla="*/ 105781 w 138150"/>
                    <a:gd name="connsiteY15" fmla="*/ 2531 h 6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50" h="64387">
                      <a:moveTo>
                        <a:pt x="105781" y="2531"/>
                      </a:moveTo>
                      <a:cubicBezTo>
                        <a:pt x="86332" y="-3164"/>
                        <a:pt x="73273" y="2531"/>
                        <a:pt x="53824" y="2531"/>
                      </a:cubicBezTo>
                      <a:cubicBezTo>
                        <a:pt x="40765" y="2531"/>
                        <a:pt x="53824" y="2531"/>
                        <a:pt x="47294" y="8227"/>
                      </a:cubicBezTo>
                      <a:cubicBezTo>
                        <a:pt x="40765" y="8227"/>
                        <a:pt x="27845" y="8227"/>
                        <a:pt x="27845" y="8227"/>
                      </a:cubicBezTo>
                      <a:cubicBezTo>
                        <a:pt x="21316" y="8227"/>
                        <a:pt x="14786" y="25454"/>
                        <a:pt x="14786" y="25454"/>
                      </a:cubicBezTo>
                      <a:cubicBezTo>
                        <a:pt x="8257" y="31150"/>
                        <a:pt x="-4663" y="54072"/>
                        <a:pt x="1727" y="48376"/>
                      </a:cubicBezTo>
                      <a:cubicBezTo>
                        <a:pt x="14786" y="48376"/>
                        <a:pt x="14786" y="42680"/>
                        <a:pt x="21177" y="54072"/>
                      </a:cubicBezTo>
                      <a:cubicBezTo>
                        <a:pt x="21177" y="65464"/>
                        <a:pt x="27706" y="59768"/>
                        <a:pt x="40626" y="59768"/>
                      </a:cubicBezTo>
                      <a:cubicBezTo>
                        <a:pt x="47156" y="59768"/>
                        <a:pt x="60075" y="59768"/>
                        <a:pt x="66605" y="54072"/>
                      </a:cubicBezTo>
                      <a:cubicBezTo>
                        <a:pt x="73134" y="42680"/>
                        <a:pt x="79664" y="48376"/>
                        <a:pt x="79664" y="54072"/>
                      </a:cubicBezTo>
                      <a:cubicBezTo>
                        <a:pt x="99113" y="82690"/>
                        <a:pt x="92722" y="42680"/>
                        <a:pt x="99113" y="42680"/>
                      </a:cubicBezTo>
                      <a:cubicBezTo>
                        <a:pt x="105504" y="42680"/>
                        <a:pt x="105642" y="48376"/>
                        <a:pt x="112172" y="48376"/>
                      </a:cubicBezTo>
                      <a:cubicBezTo>
                        <a:pt x="118701" y="48376"/>
                        <a:pt x="125231" y="48376"/>
                        <a:pt x="131621" y="42680"/>
                      </a:cubicBezTo>
                      <a:cubicBezTo>
                        <a:pt x="138151" y="36984"/>
                        <a:pt x="138151" y="36984"/>
                        <a:pt x="138151" y="25454"/>
                      </a:cubicBezTo>
                      <a:cubicBezTo>
                        <a:pt x="138151" y="25454"/>
                        <a:pt x="118701" y="19758"/>
                        <a:pt x="112172" y="19758"/>
                      </a:cubicBezTo>
                      <a:cubicBezTo>
                        <a:pt x="105781" y="13923"/>
                        <a:pt x="105781" y="8227"/>
                        <a:pt x="105781" y="253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6" name="Freihandform: Form 295">
                  <a:extLst>
                    <a:ext uri="{FF2B5EF4-FFF2-40B4-BE49-F238E27FC236}">
                      <a16:creationId xmlns:a16="http://schemas.microsoft.com/office/drawing/2014/main" id="{28A3444B-DE0B-4632-B84E-471908305879}"/>
                    </a:ext>
                  </a:extLst>
                </p:cNvPr>
                <p:cNvSpPr/>
                <p:nvPr/>
              </p:nvSpPr>
              <p:spPr>
                <a:xfrm>
                  <a:off x="6176943" y="2772893"/>
                  <a:ext cx="108879" cy="76269"/>
                </a:xfrm>
                <a:custGeom>
                  <a:avLst/>
                  <a:gdLst>
                    <a:gd name="connsiteX0" fmla="*/ 101792 w 108879"/>
                    <a:gd name="connsiteY0" fmla="*/ 52930 h 76269"/>
                    <a:gd name="connsiteX1" fmla="*/ 107627 w 108879"/>
                    <a:gd name="connsiteY1" fmla="*/ 35287 h 76269"/>
                    <a:gd name="connsiteX2" fmla="*/ 95818 w 108879"/>
                    <a:gd name="connsiteY2" fmla="*/ 17643 h 76269"/>
                    <a:gd name="connsiteX3" fmla="*/ 66367 w 108879"/>
                    <a:gd name="connsiteY3" fmla="*/ 0 h 76269"/>
                    <a:gd name="connsiteX4" fmla="*/ 36915 w 108879"/>
                    <a:gd name="connsiteY4" fmla="*/ 5835 h 76269"/>
                    <a:gd name="connsiteX5" fmla="*/ 7463 w 108879"/>
                    <a:gd name="connsiteY5" fmla="*/ 5835 h 76269"/>
                    <a:gd name="connsiteX6" fmla="*/ 19271 w 108879"/>
                    <a:gd name="connsiteY6" fmla="*/ 35148 h 76269"/>
                    <a:gd name="connsiteX7" fmla="*/ 48723 w 108879"/>
                    <a:gd name="connsiteY7" fmla="*/ 52791 h 76269"/>
                    <a:gd name="connsiteX8" fmla="*/ 60532 w 108879"/>
                    <a:gd name="connsiteY8" fmla="*/ 52791 h 76269"/>
                    <a:gd name="connsiteX9" fmla="*/ 95957 w 108879"/>
                    <a:gd name="connsiteY9" fmla="*/ 76269 h 76269"/>
                    <a:gd name="connsiteX10" fmla="*/ 101792 w 108879"/>
                    <a:gd name="connsiteY10" fmla="*/ 52930 h 76269"/>
                    <a:gd name="connsiteX11" fmla="*/ 101792 w 108879"/>
                    <a:gd name="connsiteY11" fmla="*/ 52930 h 7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79" h="76269">
                      <a:moveTo>
                        <a:pt x="101792" y="52930"/>
                      </a:moveTo>
                      <a:cubicBezTo>
                        <a:pt x="95957" y="52930"/>
                        <a:pt x="113601" y="41260"/>
                        <a:pt x="107627" y="35287"/>
                      </a:cubicBezTo>
                      <a:cubicBezTo>
                        <a:pt x="107627" y="29452"/>
                        <a:pt x="101792" y="17643"/>
                        <a:pt x="95818" y="17643"/>
                      </a:cubicBezTo>
                      <a:cubicBezTo>
                        <a:pt x="89984" y="11809"/>
                        <a:pt x="78175" y="0"/>
                        <a:pt x="66367" y="0"/>
                      </a:cubicBezTo>
                      <a:cubicBezTo>
                        <a:pt x="54558" y="0"/>
                        <a:pt x="48723" y="5835"/>
                        <a:pt x="36915" y="5835"/>
                      </a:cubicBezTo>
                      <a:cubicBezTo>
                        <a:pt x="25106" y="5835"/>
                        <a:pt x="19271" y="0"/>
                        <a:pt x="7463" y="5835"/>
                      </a:cubicBezTo>
                      <a:cubicBezTo>
                        <a:pt x="-10180" y="17504"/>
                        <a:pt x="7463" y="29313"/>
                        <a:pt x="19271" y="35148"/>
                      </a:cubicBezTo>
                      <a:cubicBezTo>
                        <a:pt x="31080" y="40982"/>
                        <a:pt x="36915" y="40982"/>
                        <a:pt x="48723" y="52791"/>
                      </a:cubicBezTo>
                      <a:cubicBezTo>
                        <a:pt x="48723" y="58626"/>
                        <a:pt x="60532" y="58626"/>
                        <a:pt x="60532" y="52791"/>
                      </a:cubicBezTo>
                      <a:cubicBezTo>
                        <a:pt x="60532" y="58626"/>
                        <a:pt x="89984" y="76269"/>
                        <a:pt x="95957" y="76269"/>
                      </a:cubicBezTo>
                      <a:cubicBezTo>
                        <a:pt x="95957" y="64599"/>
                        <a:pt x="95957" y="58765"/>
                        <a:pt x="101792" y="52930"/>
                      </a:cubicBezTo>
                      <a:cubicBezTo>
                        <a:pt x="101792" y="52930"/>
                        <a:pt x="89984" y="58765"/>
                        <a:pt x="101792" y="5293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7" name="Freihandform: Form 296">
                  <a:extLst>
                    <a:ext uri="{FF2B5EF4-FFF2-40B4-BE49-F238E27FC236}">
                      <a16:creationId xmlns:a16="http://schemas.microsoft.com/office/drawing/2014/main" id="{75799F21-39FE-4D8B-AA4B-E05943912342}"/>
                    </a:ext>
                  </a:extLst>
                </p:cNvPr>
                <p:cNvSpPr/>
                <p:nvPr/>
              </p:nvSpPr>
              <p:spPr>
                <a:xfrm>
                  <a:off x="6276234" y="2830129"/>
                  <a:ext cx="14309" cy="19032"/>
                </a:xfrm>
                <a:custGeom>
                  <a:avLst/>
                  <a:gdLst>
                    <a:gd name="connsiteX0" fmla="*/ 4723 w 14309"/>
                    <a:gd name="connsiteY0" fmla="*/ 0 h 19032"/>
                    <a:gd name="connsiteX1" fmla="*/ 0 w 14309"/>
                    <a:gd name="connsiteY1" fmla="*/ 14309 h 19032"/>
                    <a:gd name="connsiteX2" fmla="*/ 14309 w 14309"/>
                    <a:gd name="connsiteY2" fmla="*/ 19033 h 19032"/>
                    <a:gd name="connsiteX3" fmla="*/ 4723 w 14309"/>
                    <a:gd name="connsiteY3" fmla="*/ 0 h 19032"/>
                    <a:gd name="connsiteX4" fmla="*/ 4723 w 14309"/>
                    <a:gd name="connsiteY4" fmla="*/ 0 h 19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09" h="19032">
                      <a:moveTo>
                        <a:pt x="4723" y="0"/>
                      </a:moveTo>
                      <a:cubicBezTo>
                        <a:pt x="0" y="0"/>
                        <a:pt x="0" y="9586"/>
                        <a:pt x="0" y="14309"/>
                      </a:cubicBezTo>
                      <a:cubicBezTo>
                        <a:pt x="0" y="19033"/>
                        <a:pt x="9586" y="19033"/>
                        <a:pt x="14309" y="19033"/>
                      </a:cubicBezTo>
                      <a:cubicBezTo>
                        <a:pt x="14309" y="9586"/>
                        <a:pt x="14309" y="4862"/>
                        <a:pt x="4723" y="0"/>
                      </a:cubicBezTo>
                      <a:cubicBezTo>
                        <a:pt x="-4724" y="4862"/>
                        <a:pt x="9586" y="4862"/>
                        <a:pt x="4723"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8" name="Freihandform: Form 297">
                  <a:extLst>
                    <a:ext uri="{FF2B5EF4-FFF2-40B4-BE49-F238E27FC236}">
                      <a16:creationId xmlns:a16="http://schemas.microsoft.com/office/drawing/2014/main" id="{E3D28C73-9583-4923-B3CB-44A80D418188}"/>
                    </a:ext>
                  </a:extLst>
                </p:cNvPr>
                <p:cNvSpPr/>
                <p:nvPr/>
              </p:nvSpPr>
              <p:spPr>
                <a:xfrm>
                  <a:off x="6195519" y="2687038"/>
                  <a:ext cx="123641" cy="105026"/>
                </a:xfrm>
                <a:custGeom>
                  <a:avLst/>
                  <a:gdLst>
                    <a:gd name="connsiteX0" fmla="*/ 30702 w 123641"/>
                    <a:gd name="connsiteY0" fmla="*/ 81687 h 105026"/>
                    <a:gd name="connsiteX1" fmla="*/ 86410 w 123641"/>
                    <a:gd name="connsiteY1" fmla="*/ 105026 h 105026"/>
                    <a:gd name="connsiteX2" fmla="*/ 86410 w 123641"/>
                    <a:gd name="connsiteY2" fmla="*/ 75852 h 105026"/>
                    <a:gd name="connsiteX3" fmla="*/ 105026 w 123641"/>
                    <a:gd name="connsiteY3" fmla="*/ 64183 h 105026"/>
                    <a:gd name="connsiteX4" fmla="*/ 111278 w 123641"/>
                    <a:gd name="connsiteY4" fmla="*/ 35009 h 105026"/>
                    <a:gd name="connsiteX5" fmla="*/ 123642 w 123641"/>
                    <a:gd name="connsiteY5" fmla="*/ 29174 h 105026"/>
                    <a:gd name="connsiteX6" fmla="*/ 117390 w 123641"/>
                    <a:gd name="connsiteY6" fmla="*/ 0 h 105026"/>
                    <a:gd name="connsiteX7" fmla="*/ 92662 w 123641"/>
                    <a:gd name="connsiteY7" fmla="*/ 5835 h 105026"/>
                    <a:gd name="connsiteX8" fmla="*/ 61682 w 123641"/>
                    <a:gd name="connsiteY8" fmla="*/ 17504 h 105026"/>
                    <a:gd name="connsiteX9" fmla="*/ 74046 w 123641"/>
                    <a:gd name="connsiteY9" fmla="*/ 35009 h 105026"/>
                    <a:gd name="connsiteX10" fmla="*/ 61682 w 123641"/>
                    <a:gd name="connsiteY10" fmla="*/ 23339 h 105026"/>
                    <a:gd name="connsiteX11" fmla="*/ 43066 w 123641"/>
                    <a:gd name="connsiteY11" fmla="*/ 35009 h 105026"/>
                    <a:gd name="connsiteX12" fmla="*/ 30702 w 123641"/>
                    <a:gd name="connsiteY12" fmla="*/ 46678 h 105026"/>
                    <a:gd name="connsiteX13" fmla="*/ 30702 w 123641"/>
                    <a:gd name="connsiteY13" fmla="*/ 70018 h 105026"/>
                    <a:gd name="connsiteX14" fmla="*/ 18338 w 123641"/>
                    <a:gd name="connsiteY14" fmla="*/ 70018 h 105026"/>
                    <a:gd name="connsiteX15" fmla="*/ 24589 w 123641"/>
                    <a:gd name="connsiteY15" fmla="*/ 70018 h 105026"/>
                    <a:gd name="connsiteX16" fmla="*/ 18338 w 123641"/>
                    <a:gd name="connsiteY16" fmla="*/ 70018 h 105026"/>
                    <a:gd name="connsiteX17" fmla="*/ 24589 w 123641"/>
                    <a:gd name="connsiteY17" fmla="*/ 81687 h 105026"/>
                    <a:gd name="connsiteX18" fmla="*/ 12225 w 123641"/>
                    <a:gd name="connsiteY18" fmla="*/ 75852 h 105026"/>
                    <a:gd name="connsiteX19" fmla="*/ 18477 w 123641"/>
                    <a:gd name="connsiteY19" fmla="*/ 81687 h 105026"/>
                    <a:gd name="connsiteX20" fmla="*/ 6113 w 123641"/>
                    <a:gd name="connsiteY20" fmla="*/ 81687 h 105026"/>
                    <a:gd name="connsiteX21" fmla="*/ 12364 w 123641"/>
                    <a:gd name="connsiteY21" fmla="*/ 87522 h 105026"/>
                    <a:gd name="connsiteX22" fmla="*/ 0 w 123641"/>
                    <a:gd name="connsiteY22" fmla="*/ 87522 h 105026"/>
                    <a:gd name="connsiteX23" fmla="*/ 30702 w 123641"/>
                    <a:gd name="connsiteY23" fmla="*/ 81687 h 105026"/>
                    <a:gd name="connsiteX24" fmla="*/ 30702 w 123641"/>
                    <a:gd name="connsiteY24" fmla="*/ 81687 h 10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3641" h="105026">
                      <a:moveTo>
                        <a:pt x="30702" y="81687"/>
                      </a:moveTo>
                      <a:cubicBezTo>
                        <a:pt x="43066" y="70018"/>
                        <a:pt x="80298" y="93357"/>
                        <a:pt x="86410" y="105026"/>
                      </a:cubicBezTo>
                      <a:cubicBezTo>
                        <a:pt x="92662" y="93357"/>
                        <a:pt x="92662" y="81687"/>
                        <a:pt x="86410" y="75852"/>
                      </a:cubicBezTo>
                      <a:cubicBezTo>
                        <a:pt x="80159" y="52513"/>
                        <a:pt x="92662" y="64183"/>
                        <a:pt x="105026" y="64183"/>
                      </a:cubicBezTo>
                      <a:cubicBezTo>
                        <a:pt x="117390" y="58348"/>
                        <a:pt x="117390" y="46678"/>
                        <a:pt x="111278" y="35009"/>
                      </a:cubicBezTo>
                      <a:lnTo>
                        <a:pt x="123642" y="29174"/>
                      </a:lnTo>
                      <a:cubicBezTo>
                        <a:pt x="123642" y="17504"/>
                        <a:pt x="123642" y="11670"/>
                        <a:pt x="117390" y="0"/>
                      </a:cubicBezTo>
                      <a:lnTo>
                        <a:pt x="92662" y="5835"/>
                      </a:lnTo>
                      <a:cubicBezTo>
                        <a:pt x="80298" y="5835"/>
                        <a:pt x="74046" y="5835"/>
                        <a:pt x="61682" y="17504"/>
                      </a:cubicBezTo>
                      <a:cubicBezTo>
                        <a:pt x="61682" y="17504"/>
                        <a:pt x="80298" y="29174"/>
                        <a:pt x="74046" y="35009"/>
                      </a:cubicBezTo>
                      <a:cubicBezTo>
                        <a:pt x="61682" y="46678"/>
                        <a:pt x="55431" y="23339"/>
                        <a:pt x="61682" y="23339"/>
                      </a:cubicBezTo>
                      <a:cubicBezTo>
                        <a:pt x="61682" y="23339"/>
                        <a:pt x="43066" y="29174"/>
                        <a:pt x="43066" y="35009"/>
                      </a:cubicBezTo>
                      <a:cubicBezTo>
                        <a:pt x="43066" y="40844"/>
                        <a:pt x="36815" y="40844"/>
                        <a:pt x="30702" y="46678"/>
                      </a:cubicBezTo>
                      <a:cubicBezTo>
                        <a:pt x="30702" y="52513"/>
                        <a:pt x="18338" y="70018"/>
                        <a:pt x="30702" y="70018"/>
                      </a:cubicBezTo>
                      <a:cubicBezTo>
                        <a:pt x="30702" y="70018"/>
                        <a:pt x="24451" y="70018"/>
                        <a:pt x="18338" y="70018"/>
                      </a:cubicBezTo>
                      <a:lnTo>
                        <a:pt x="24589" y="70018"/>
                      </a:lnTo>
                      <a:lnTo>
                        <a:pt x="18338" y="70018"/>
                      </a:lnTo>
                      <a:cubicBezTo>
                        <a:pt x="12086" y="75852"/>
                        <a:pt x="24589" y="81687"/>
                        <a:pt x="24589" y="81687"/>
                      </a:cubicBezTo>
                      <a:cubicBezTo>
                        <a:pt x="24589" y="75852"/>
                        <a:pt x="12225" y="75852"/>
                        <a:pt x="12225" y="75852"/>
                      </a:cubicBezTo>
                      <a:lnTo>
                        <a:pt x="18477" y="81687"/>
                      </a:lnTo>
                      <a:cubicBezTo>
                        <a:pt x="18477" y="81687"/>
                        <a:pt x="12225" y="75852"/>
                        <a:pt x="6113" y="81687"/>
                      </a:cubicBezTo>
                      <a:lnTo>
                        <a:pt x="12364" y="87522"/>
                      </a:lnTo>
                      <a:cubicBezTo>
                        <a:pt x="12364" y="81687"/>
                        <a:pt x="6113" y="81687"/>
                        <a:pt x="0" y="87522"/>
                      </a:cubicBezTo>
                      <a:cubicBezTo>
                        <a:pt x="5835" y="87522"/>
                        <a:pt x="24451" y="93357"/>
                        <a:pt x="30702" y="81687"/>
                      </a:cubicBezTo>
                      <a:cubicBezTo>
                        <a:pt x="30702" y="81687"/>
                        <a:pt x="30702" y="87522"/>
                        <a:pt x="30702" y="8168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299" name="Freihandform: Form 298">
                  <a:extLst>
                    <a:ext uri="{FF2B5EF4-FFF2-40B4-BE49-F238E27FC236}">
                      <a16:creationId xmlns:a16="http://schemas.microsoft.com/office/drawing/2014/main" id="{720D28F8-2D5D-4B08-9584-BB6C61C9E5F7}"/>
                    </a:ext>
                  </a:extLst>
                </p:cNvPr>
                <p:cNvSpPr/>
                <p:nvPr/>
              </p:nvSpPr>
              <p:spPr>
                <a:xfrm>
                  <a:off x="6347502" y="2499970"/>
                  <a:ext cx="95440" cy="125490"/>
                </a:xfrm>
                <a:custGeom>
                  <a:avLst/>
                  <a:gdLst>
                    <a:gd name="connsiteX0" fmla="*/ 63766 w 95440"/>
                    <a:gd name="connsiteY0" fmla="*/ 123997 h 125490"/>
                    <a:gd name="connsiteX1" fmla="*/ 50985 w 95440"/>
                    <a:gd name="connsiteY1" fmla="*/ 99685 h 125490"/>
                    <a:gd name="connsiteX2" fmla="*/ 70017 w 95440"/>
                    <a:gd name="connsiteY2" fmla="*/ 69400 h 125490"/>
                    <a:gd name="connsiteX3" fmla="*/ 70017 w 95440"/>
                    <a:gd name="connsiteY3" fmla="*/ 75513 h 125490"/>
                    <a:gd name="connsiteX4" fmla="*/ 95440 w 95440"/>
                    <a:gd name="connsiteY4" fmla="*/ 57314 h 125490"/>
                    <a:gd name="connsiteX5" fmla="*/ 70017 w 95440"/>
                    <a:gd name="connsiteY5" fmla="*/ 39115 h 125490"/>
                    <a:gd name="connsiteX6" fmla="*/ 63627 w 95440"/>
                    <a:gd name="connsiteY6" fmla="*/ 27028 h 125490"/>
                    <a:gd name="connsiteX7" fmla="*/ 76269 w 95440"/>
                    <a:gd name="connsiteY7" fmla="*/ 20916 h 125490"/>
                    <a:gd name="connsiteX8" fmla="*/ 76269 w 95440"/>
                    <a:gd name="connsiteY8" fmla="*/ 2717 h 125490"/>
                    <a:gd name="connsiteX9" fmla="*/ 69878 w 95440"/>
                    <a:gd name="connsiteY9" fmla="*/ 2717 h 125490"/>
                    <a:gd name="connsiteX10" fmla="*/ 44456 w 95440"/>
                    <a:gd name="connsiteY10" fmla="*/ 20916 h 125490"/>
                    <a:gd name="connsiteX11" fmla="*/ 12642 w 95440"/>
                    <a:gd name="connsiteY11" fmla="*/ 27028 h 125490"/>
                    <a:gd name="connsiteX12" fmla="*/ 25423 w 95440"/>
                    <a:gd name="connsiteY12" fmla="*/ 33141 h 125490"/>
                    <a:gd name="connsiteX13" fmla="*/ 38065 w 95440"/>
                    <a:gd name="connsiteY13" fmla="*/ 45227 h 125490"/>
                    <a:gd name="connsiteX14" fmla="*/ 25423 w 95440"/>
                    <a:gd name="connsiteY14" fmla="*/ 45227 h 125490"/>
                    <a:gd name="connsiteX15" fmla="*/ 12642 w 95440"/>
                    <a:gd name="connsiteY15" fmla="*/ 45227 h 125490"/>
                    <a:gd name="connsiteX16" fmla="*/ 0 w 95440"/>
                    <a:gd name="connsiteY16" fmla="*/ 51340 h 125490"/>
                    <a:gd name="connsiteX17" fmla="*/ 0 w 95440"/>
                    <a:gd name="connsiteY17" fmla="*/ 81625 h 125490"/>
                    <a:gd name="connsiteX18" fmla="*/ 12642 w 95440"/>
                    <a:gd name="connsiteY18" fmla="*/ 93712 h 125490"/>
                    <a:gd name="connsiteX19" fmla="*/ 12642 w 95440"/>
                    <a:gd name="connsiteY19" fmla="*/ 118023 h 125490"/>
                    <a:gd name="connsiteX20" fmla="*/ 63766 w 95440"/>
                    <a:gd name="connsiteY20" fmla="*/ 123997 h 12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440" h="125490">
                      <a:moveTo>
                        <a:pt x="63766" y="123997"/>
                      </a:moveTo>
                      <a:cubicBezTo>
                        <a:pt x="63766" y="117884"/>
                        <a:pt x="38343" y="105798"/>
                        <a:pt x="50985" y="99685"/>
                      </a:cubicBezTo>
                      <a:cubicBezTo>
                        <a:pt x="57375" y="93573"/>
                        <a:pt x="57375" y="75374"/>
                        <a:pt x="70017" y="69400"/>
                      </a:cubicBezTo>
                      <a:lnTo>
                        <a:pt x="70017" y="75513"/>
                      </a:lnTo>
                      <a:cubicBezTo>
                        <a:pt x="76408" y="75513"/>
                        <a:pt x="95440" y="63426"/>
                        <a:pt x="95440" y="57314"/>
                      </a:cubicBezTo>
                      <a:cubicBezTo>
                        <a:pt x="95440" y="51201"/>
                        <a:pt x="70017" y="51201"/>
                        <a:pt x="70017" y="39115"/>
                      </a:cubicBezTo>
                      <a:cubicBezTo>
                        <a:pt x="70017" y="33002"/>
                        <a:pt x="63627" y="33002"/>
                        <a:pt x="63627" y="27028"/>
                      </a:cubicBezTo>
                      <a:cubicBezTo>
                        <a:pt x="63627" y="20916"/>
                        <a:pt x="76269" y="27028"/>
                        <a:pt x="76269" y="20916"/>
                      </a:cubicBezTo>
                      <a:cubicBezTo>
                        <a:pt x="76269" y="14803"/>
                        <a:pt x="76269" y="8829"/>
                        <a:pt x="76269" y="2717"/>
                      </a:cubicBezTo>
                      <a:cubicBezTo>
                        <a:pt x="76269" y="-3396"/>
                        <a:pt x="76269" y="2717"/>
                        <a:pt x="69878" y="2717"/>
                      </a:cubicBezTo>
                      <a:cubicBezTo>
                        <a:pt x="50846" y="2717"/>
                        <a:pt x="57236" y="8829"/>
                        <a:pt x="44456" y="20916"/>
                      </a:cubicBezTo>
                      <a:cubicBezTo>
                        <a:pt x="38065" y="27028"/>
                        <a:pt x="19032" y="14803"/>
                        <a:pt x="12642" y="27028"/>
                      </a:cubicBezTo>
                      <a:cubicBezTo>
                        <a:pt x="0" y="39115"/>
                        <a:pt x="19032" y="39115"/>
                        <a:pt x="25423" y="33141"/>
                      </a:cubicBezTo>
                      <a:cubicBezTo>
                        <a:pt x="31813" y="27028"/>
                        <a:pt x="44456" y="33141"/>
                        <a:pt x="38065" y="45227"/>
                      </a:cubicBezTo>
                      <a:cubicBezTo>
                        <a:pt x="38065" y="39115"/>
                        <a:pt x="25423" y="33141"/>
                        <a:pt x="25423" y="45227"/>
                      </a:cubicBezTo>
                      <a:cubicBezTo>
                        <a:pt x="19032" y="45227"/>
                        <a:pt x="12642" y="51340"/>
                        <a:pt x="12642" y="45227"/>
                      </a:cubicBezTo>
                      <a:cubicBezTo>
                        <a:pt x="12642" y="51340"/>
                        <a:pt x="0" y="39115"/>
                        <a:pt x="0" y="51340"/>
                      </a:cubicBezTo>
                      <a:cubicBezTo>
                        <a:pt x="0" y="63426"/>
                        <a:pt x="0" y="69539"/>
                        <a:pt x="0" y="81625"/>
                      </a:cubicBezTo>
                      <a:cubicBezTo>
                        <a:pt x="6390" y="87738"/>
                        <a:pt x="12642" y="87738"/>
                        <a:pt x="12642" y="93712"/>
                      </a:cubicBezTo>
                      <a:cubicBezTo>
                        <a:pt x="19032" y="105798"/>
                        <a:pt x="6252" y="111911"/>
                        <a:pt x="12642" y="118023"/>
                      </a:cubicBezTo>
                      <a:cubicBezTo>
                        <a:pt x="25701" y="129971"/>
                        <a:pt x="51124" y="123997"/>
                        <a:pt x="63766" y="12399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0" name="Freihandform: Form 299">
                  <a:extLst>
                    <a:ext uri="{FF2B5EF4-FFF2-40B4-BE49-F238E27FC236}">
                      <a16:creationId xmlns:a16="http://schemas.microsoft.com/office/drawing/2014/main" id="{609E8A82-DCBD-4DC5-AE35-BFF42B2E1EF8}"/>
                    </a:ext>
                  </a:extLst>
                </p:cNvPr>
                <p:cNvSpPr/>
                <p:nvPr/>
              </p:nvSpPr>
              <p:spPr>
                <a:xfrm>
                  <a:off x="6285804" y="2620493"/>
                  <a:ext cx="270100" cy="319271"/>
                </a:xfrm>
                <a:custGeom>
                  <a:avLst/>
                  <a:gdLst>
                    <a:gd name="connsiteX0" fmla="*/ 265499 w 270100"/>
                    <a:gd name="connsiteY0" fmla="*/ 149621 h 319271"/>
                    <a:gd name="connsiteX1" fmla="*/ 259386 w 270100"/>
                    <a:gd name="connsiteY1" fmla="*/ 112250 h 319271"/>
                    <a:gd name="connsiteX2" fmla="*/ 253273 w 270100"/>
                    <a:gd name="connsiteY2" fmla="*/ 74880 h 319271"/>
                    <a:gd name="connsiteX3" fmla="*/ 247161 w 270100"/>
                    <a:gd name="connsiteY3" fmla="*/ 43761 h 319271"/>
                    <a:gd name="connsiteX4" fmla="*/ 228684 w 270100"/>
                    <a:gd name="connsiteY4" fmla="*/ 25006 h 319271"/>
                    <a:gd name="connsiteX5" fmla="*/ 228684 w 270100"/>
                    <a:gd name="connsiteY5" fmla="*/ 12503 h 319271"/>
                    <a:gd name="connsiteX6" fmla="*/ 222571 w 270100"/>
                    <a:gd name="connsiteY6" fmla="*/ 31258 h 319271"/>
                    <a:gd name="connsiteX7" fmla="*/ 197982 w 270100"/>
                    <a:gd name="connsiteY7" fmla="*/ 25006 h 319271"/>
                    <a:gd name="connsiteX8" fmla="*/ 148803 w 270100"/>
                    <a:gd name="connsiteY8" fmla="*/ 43761 h 319271"/>
                    <a:gd name="connsiteX9" fmla="*/ 154915 w 270100"/>
                    <a:gd name="connsiteY9" fmla="*/ 25006 h 319271"/>
                    <a:gd name="connsiteX10" fmla="*/ 124213 w 270100"/>
                    <a:gd name="connsiteY10" fmla="*/ 25006 h 319271"/>
                    <a:gd name="connsiteX11" fmla="*/ 118101 w 270100"/>
                    <a:gd name="connsiteY11" fmla="*/ 6252 h 319271"/>
                    <a:gd name="connsiteX12" fmla="*/ 75034 w 270100"/>
                    <a:gd name="connsiteY12" fmla="*/ 0 h 319271"/>
                    <a:gd name="connsiteX13" fmla="*/ 87260 w 270100"/>
                    <a:gd name="connsiteY13" fmla="*/ 18755 h 319271"/>
                    <a:gd name="connsiteX14" fmla="*/ 87260 w 270100"/>
                    <a:gd name="connsiteY14" fmla="*/ 37509 h 319271"/>
                    <a:gd name="connsiteX15" fmla="*/ 99485 w 270100"/>
                    <a:gd name="connsiteY15" fmla="*/ 43761 h 319271"/>
                    <a:gd name="connsiteX16" fmla="*/ 117962 w 270100"/>
                    <a:gd name="connsiteY16" fmla="*/ 56264 h 319271"/>
                    <a:gd name="connsiteX17" fmla="*/ 87260 w 270100"/>
                    <a:gd name="connsiteY17" fmla="*/ 50012 h 319271"/>
                    <a:gd name="connsiteX18" fmla="*/ 81147 w 270100"/>
                    <a:gd name="connsiteY18" fmla="*/ 50012 h 319271"/>
                    <a:gd name="connsiteX19" fmla="*/ 75034 w 270100"/>
                    <a:gd name="connsiteY19" fmla="*/ 62516 h 319271"/>
                    <a:gd name="connsiteX20" fmla="*/ 31968 w 270100"/>
                    <a:gd name="connsiteY20" fmla="*/ 62516 h 319271"/>
                    <a:gd name="connsiteX21" fmla="*/ 31968 w 270100"/>
                    <a:gd name="connsiteY21" fmla="*/ 93635 h 319271"/>
                    <a:gd name="connsiteX22" fmla="*/ 31968 w 270100"/>
                    <a:gd name="connsiteY22" fmla="*/ 106138 h 319271"/>
                    <a:gd name="connsiteX23" fmla="*/ 1266 w 270100"/>
                    <a:gd name="connsiteY23" fmla="*/ 137257 h 319271"/>
                    <a:gd name="connsiteX24" fmla="*/ 7379 w 270100"/>
                    <a:gd name="connsiteY24" fmla="*/ 162124 h 319271"/>
                    <a:gd name="connsiteX25" fmla="*/ 7379 w 270100"/>
                    <a:gd name="connsiteY25" fmla="*/ 186991 h 319271"/>
                    <a:gd name="connsiteX26" fmla="*/ 1266 w 270100"/>
                    <a:gd name="connsiteY26" fmla="*/ 205746 h 319271"/>
                    <a:gd name="connsiteX27" fmla="*/ 13491 w 270100"/>
                    <a:gd name="connsiteY27" fmla="*/ 230613 h 319271"/>
                    <a:gd name="connsiteX28" fmla="*/ 62670 w 270100"/>
                    <a:gd name="connsiteY28" fmla="*/ 249368 h 319271"/>
                    <a:gd name="connsiteX29" fmla="*/ 50445 w 270100"/>
                    <a:gd name="connsiteY29" fmla="*/ 305493 h 319271"/>
                    <a:gd name="connsiteX30" fmla="*/ 111849 w 270100"/>
                    <a:gd name="connsiteY30" fmla="*/ 305493 h 319271"/>
                    <a:gd name="connsiteX31" fmla="*/ 136438 w 270100"/>
                    <a:gd name="connsiteY31" fmla="*/ 317996 h 319271"/>
                    <a:gd name="connsiteX32" fmla="*/ 154915 w 270100"/>
                    <a:gd name="connsiteY32" fmla="*/ 311744 h 319271"/>
                    <a:gd name="connsiteX33" fmla="*/ 197982 w 270100"/>
                    <a:gd name="connsiteY33" fmla="*/ 305493 h 319271"/>
                    <a:gd name="connsiteX34" fmla="*/ 216459 w 270100"/>
                    <a:gd name="connsiteY34" fmla="*/ 305493 h 319271"/>
                    <a:gd name="connsiteX35" fmla="*/ 216459 w 270100"/>
                    <a:gd name="connsiteY35" fmla="*/ 280487 h 319271"/>
                    <a:gd name="connsiteX36" fmla="*/ 241048 w 270100"/>
                    <a:gd name="connsiteY36" fmla="*/ 267984 h 319271"/>
                    <a:gd name="connsiteX37" fmla="*/ 210346 w 270100"/>
                    <a:gd name="connsiteY37" fmla="*/ 230613 h 319271"/>
                    <a:gd name="connsiteX38" fmla="*/ 191869 w 270100"/>
                    <a:gd name="connsiteY38" fmla="*/ 193243 h 319271"/>
                    <a:gd name="connsiteX39" fmla="*/ 247161 w 270100"/>
                    <a:gd name="connsiteY39" fmla="*/ 162124 h 319271"/>
                    <a:gd name="connsiteX40" fmla="*/ 265637 w 270100"/>
                    <a:gd name="connsiteY40" fmla="*/ 174627 h 319271"/>
                    <a:gd name="connsiteX41" fmla="*/ 265499 w 270100"/>
                    <a:gd name="connsiteY41" fmla="*/ 149621 h 319271"/>
                    <a:gd name="connsiteX42" fmla="*/ 265499 w 270100"/>
                    <a:gd name="connsiteY42" fmla="*/ 149621 h 31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0100" h="319271">
                      <a:moveTo>
                        <a:pt x="265499" y="149621"/>
                      </a:moveTo>
                      <a:cubicBezTo>
                        <a:pt x="259386" y="137118"/>
                        <a:pt x="259386" y="124753"/>
                        <a:pt x="259386" y="112250"/>
                      </a:cubicBezTo>
                      <a:cubicBezTo>
                        <a:pt x="253273" y="99747"/>
                        <a:pt x="247161" y="93496"/>
                        <a:pt x="253273" y="74880"/>
                      </a:cubicBezTo>
                      <a:cubicBezTo>
                        <a:pt x="259386" y="62377"/>
                        <a:pt x="253273" y="50012"/>
                        <a:pt x="247161" y="43761"/>
                      </a:cubicBezTo>
                      <a:cubicBezTo>
                        <a:pt x="241048" y="37509"/>
                        <a:pt x="228684" y="31258"/>
                        <a:pt x="228684" y="25006"/>
                      </a:cubicBezTo>
                      <a:cubicBezTo>
                        <a:pt x="228684" y="25006"/>
                        <a:pt x="234796" y="18755"/>
                        <a:pt x="228684" y="12503"/>
                      </a:cubicBezTo>
                      <a:cubicBezTo>
                        <a:pt x="222571" y="12503"/>
                        <a:pt x="222571" y="31258"/>
                        <a:pt x="222571" y="31258"/>
                      </a:cubicBezTo>
                      <a:cubicBezTo>
                        <a:pt x="210346" y="31258"/>
                        <a:pt x="210346" y="25006"/>
                        <a:pt x="197982" y="25006"/>
                      </a:cubicBezTo>
                      <a:cubicBezTo>
                        <a:pt x="185756" y="31258"/>
                        <a:pt x="167280" y="43761"/>
                        <a:pt x="148803" y="43761"/>
                      </a:cubicBezTo>
                      <a:cubicBezTo>
                        <a:pt x="142690" y="37509"/>
                        <a:pt x="154915" y="31258"/>
                        <a:pt x="154915" y="25006"/>
                      </a:cubicBezTo>
                      <a:cubicBezTo>
                        <a:pt x="142690" y="25006"/>
                        <a:pt x="136438" y="31258"/>
                        <a:pt x="124213" y="25006"/>
                      </a:cubicBezTo>
                      <a:cubicBezTo>
                        <a:pt x="118101" y="18755"/>
                        <a:pt x="136438" y="6252"/>
                        <a:pt x="118101" y="6252"/>
                      </a:cubicBezTo>
                      <a:cubicBezTo>
                        <a:pt x="105875" y="6252"/>
                        <a:pt x="93511" y="6252"/>
                        <a:pt x="75034" y="0"/>
                      </a:cubicBezTo>
                      <a:cubicBezTo>
                        <a:pt x="81147" y="6252"/>
                        <a:pt x="87260" y="6252"/>
                        <a:pt x="87260" y="18755"/>
                      </a:cubicBezTo>
                      <a:cubicBezTo>
                        <a:pt x="81147" y="25006"/>
                        <a:pt x="81147" y="25006"/>
                        <a:pt x="87260" y="37509"/>
                      </a:cubicBezTo>
                      <a:cubicBezTo>
                        <a:pt x="87260" y="50012"/>
                        <a:pt x="87260" y="43761"/>
                        <a:pt x="99485" y="43761"/>
                      </a:cubicBezTo>
                      <a:cubicBezTo>
                        <a:pt x="105597" y="43761"/>
                        <a:pt x="111710" y="50012"/>
                        <a:pt x="117962" y="56264"/>
                      </a:cubicBezTo>
                      <a:cubicBezTo>
                        <a:pt x="111849" y="50012"/>
                        <a:pt x="93372" y="50012"/>
                        <a:pt x="87260" y="50012"/>
                      </a:cubicBezTo>
                      <a:lnTo>
                        <a:pt x="81147" y="50012"/>
                      </a:lnTo>
                      <a:cubicBezTo>
                        <a:pt x="75034" y="56264"/>
                        <a:pt x="81147" y="62516"/>
                        <a:pt x="75034" y="62516"/>
                      </a:cubicBezTo>
                      <a:cubicBezTo>
                        <a:pt x="62809" y="68767"/>
                        <a:pt x="38220" y="37509"/>
                        <a:pt x="31968" y="62516"/>
                      </a:cubicBezTo>
                      <a:cubicBezTo>
                        <a:pt x="38081" y="75019"/>
                        <a:pt x="44193" y="87383"/>
                        <a:pt x="31968" y="93635"/>
                      </a:cubicBezTo>
                      <a:cubicBezTo>
                        <a:pt x="25855" y="106138"/>
                        <a:pt x="25855" y="93635"/>
                        <a:pt x="31968" y="106138"/>
                      </a:cubicBezTo>
                      <a:cubicBezTo>
                        <a:pt x="31968" y="137257"/>
                        <a:pt x="-4847" y="124892"/>
                        <a:pt x="1266" y="137257"/>
                      </a:cubicBezTo>
                      <a:cubicBezTo>
                        <a:pt x="1266" y="143508"/>
                        <a:pt x="7379" y="149760"/>
                        <a:pt x="7379" y="162124"/>
                      </a:cubicBezTo>
                      <a:cubicBezTo>
                        <a:pt x="7379" y="174488"/>
                        <a:pt x="1266" y="174627"/>
                        <a:pt x="7379" y="186991"/>
                      </a:cubicBezTo>
                      <a:cubicBezTo>
                        <a:pt x="13491" y="193243"/>
                        <a:pt x="-4847" y="205746"/>
                        <a:pt x="1266" y="205746"/>
                      </a:cubicBezTo>
                      <a:cubicBezTo>
                        <a:pt x="13491" y="211997"/>
                        <a:pt x="7379" y="224501"/>
                        <a:pt x="13491" y="230613"/>
                      </a:cubicBezTo>
                      <a:cubicBezTo>
                        <a:pt x="19604" y="249368"/>
                        <a:pt x="44193" y="243116"/>
                        <a:pt x="62670" y="249368"/>
                      </a:cubicBezTo>
                      <a:cubicBezTo>
                        <a:pt x="62670" y="249368"/>
                        <a:pt x="50445" y="299241"/>
                        <a:pt x="50445" y="305493"/>
                      </a:cubicBezTo>
                      <a:cubicBezTo>
                        <a:pt x="75034" y="305493"/>
                        <a:pt x="87260" y="299241"/>
                        <a:pt x="111849" y="305493"/>
                      </a:cubicBezTo>
                      <a:cubicBezTo>
                        <a:pt x="111849" y="305493"/>
                        <a:pt x="136438" y="324248"/>
                        <a:pt x="136438" y="317996"/>
                      </a:cubicBezTo>
                      <a:cubicBezTo>
                        <a:pt x="142551" y="305493"/>
                        <a:pt x="148664" y="305493"/>
                        <a:pt x="154915" y="311744"/>
                      </a:cubicBezTo>
                      <a:cubicBezTo>
                        <a:pt x="161028" y="317996"/>
                        <a:pt x="191730" y="299241"/>
                        <a:pt x="197982" y="305493"/>
                      </a:cubicBezTo>
                      <a:cubicBezTo>
                        <a:pt x="197982" y="305493"/>
                        <a:pt x="222571" y="311744"/>
                        <a:pt x="216459" y="305493"/>
                      </a:cubicBezTo>
                      <a:cubicBezTo>
                        <a:pt x="210346" y="286738"/>
                        <a:pt x="204233" y="286738"/>
                        <a:pt x="216459" y="280487"/>
                      </a:cubicBezTo>
                      <a:cubicBezTo>
                        <a:pt x="228684" y="267984"/>
                        <a:pt x="228684" y="267984"/>
                        <a:pt x="241048" y="267984"/>
                      </a:cubicBezTo>
                      <a:cubicBezTo>
                        <a:pt x="247161" y="261732"/>
                        <a:pt x="216459" y="236865"/>
                        <a:pt x="210346" y="230613"/>
                      </a:cubicBezTo>
                      <a:cubicBezTo>
                        <a:pt x="204233" y="230613"/>
                        <a:pt x="185756" y="199494"/>
                        <a:pt x="191869" y="193243"/>
                      </a:cubicBezTo>
                      <a:cubicBezTo>
                        <a:pt x="216459" y="186991"/>
                        <a:pt x="228684" y="180740"/>
                        <a:pt x="247161" y="162124"/>
                      </a:cubicBezTo>
                      <a:cubicBezTo>
                        <a:pt x="253273" y="155872"/>
                        <a:pt x="259386" y="180879"/>
                        <a:pt x="265637" y="174627"/>
                      </a:cubicBezTo>
                      <a:cubicBezTo>
                        <a:pt x="271611" y="168237"/>
                        <a:pt x="271611" y="155733"/>
                        <a:pt x="265499" y="149621"/>
                      </a:cubicBezTo>
                      <a:cubicBezTo>
                        <a:pt x="265499" y="143369"/>
                        <a:pt x="265499" y="149621"/>
                        <a:pt x="265499" y="14962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1" name="Freihandform: Form 300">
                  <a:extLst>
                    <a:ext uri="{FF2B5EF4-FFF2-40B4-BE49-F238E27FC236}">
                      <a16:creationId xmlns:a16="http://schemas.microsoft.com/office/drawing/2014/main" id="{61B74D99-9BBD-491A-A700-91F9C354AD8E}"/>
                    </a:ext>
                  </a:extLst>
                </p:cNvPr>
                <p:cNvSpPr/>
                <p:nvPr/>
              </p:nvSpPr>
              <p:spPr>
                <a:xfrm>
                  <a:off x="6767190" y="2730795"/>
                  <a:ext cx="547669" cy="311394"/>
                </a:xfrm>
                <a:custGeom>
                  <a:avLst/>
                  <a:gdLst>
                    <a:gd name="connsiteX0" fmla="*/ 0 w 547669"/>
                    <a:gd name="connsiteY0" fmla="*/ 159627 h 311394"/>
                    <a:gd name="connsiteX1" fmla="*/ 55847 w 547669"/>
                    <a:gd name="connsiteY1" fmla="*/ 177965 h 311394"/>
                    <a:gd name="connsiteX2" fmla="*/ 99330 w 547669"/>
                    <a:gd name="connsiteY2" fmla="*/ 184078 h 311394"/>
                    <a:gd name="connsiteX3" fmla="*/ 136562 w 547669"/>
                    <a:gd name="connsiteY3" fmla="*/ 165740 h 311394"/>
                    <a:gd name="connsiteX4" fmla="*/ 204912 w 547669"/>
                    <a:gd name="connsiteY4" fmla="*/ 177965 h 311394"/>
                    <a:gd name="connsiteX5" fmla="*/ 248395 w 547669"/>
                    <a:gd name="connsiteY5" fmla="*/ 245204 h 311394"/>
                    <a:gd name="connsiteX6" fmla="*/ 273262 w 547669"/>
                    <a:gd name="connsiteY6" fmla="*/ 226866 h 311394"/>
                    <a:gd name="connsiteX7" fmla="*/ 291878 w 547669"/>
                    <a:gd name="connsiteY7" fmla="*/ 245204 h 311394"/>
                    <a:gd name="connsiteX8" fmla="*/ 353977 w 547669"/>
                    <a:gd name="connsiteY8" fmla="*/ 251317 h 311394"/>
                    <a:gd name="connsiteX9" fmla="*/ 316746 w 547669"/>
                    <a:gd name="connsiteY9" fmla="*/ 275767 h 311394"/>
                    <a:gd name="connsiteX10" fmla="*/ 341613 w 547669"/>
                    <a:gd name="connsiteY10" fmla="*/ 294105 h 311394"/>
                    <a:gd name="connsiteX11" fmla="*/ 366480 w 547669"/>
                    <a:gd name="connsiteY11" fmla="*/ 306331 h 311394"/>
                    <a:gd name="connsiteX12" fmla="*/ 416214 w 547669"/>
                    <a:gd name="connsiteY12" fmla="*/ 287993 h 311394"/>
                    <a:gd name="connsiteX13" fmla="*/ 447334 w 547669"/>
                    <a:gd name="connsiteY13" fmla="*/ 275767 h 311394"/>
                    <a:gd name="connsiteX14" fmla="*/ 422466 w 547669"/>
                    <a:gd name="connsiteY14" fmla="*/ 275767 h 311394"/>
                    <a:gd name="connsiteX15" fmla="*/ 391347 w 547669"/>
                    <a:gd name="connsiteY15" fmla="*/ 263542 h 311394"/>
                    <a:gd name="connsiteX16" fmla="*/ 447195 w 547669"/>
                    <a:gd name="connsiteY16" fmla="*/ 226866 h 311394"/>
                    <a:gd name="connsiteX17" fmla="*/ 484426 w 547669"/>
                    <a:gd name="connsiteY17" fmla="*/ 208528 h 311394"/>
                    <a:gd name="connsiteX18" fmla="*/ 521658 w 547669"/>
                    <a:gd name="connsiteY18" fmla="*/ 184078 h 311394"/>
                    <a:gd name="connsiteX19" fmla="*/ 540274 w 547669"/>
                    <a:gd name="connsiteY19" fmla="*/ 165740 h 311394"/>
                    <a:gd name="connsiteX20" fmla="*/ 534022 w 547669"/>
                    <a:gd name="connsiteY20" fmla="*/ 153515 h 311394"/>
                    <a:gd name="connsiteX21" fmla="*/ 546386 w 547669"/>
                    <a:gd name="connsiteY21" fmla="*/ 147402 h 311394"/>
                    <a:gd name="connsiteX22" fmla="*/ 534022 w 547669"/>
                    <a:gd name="connsiteY22" fmla="*/ 141290 h 311394"/>
                    <a:gd name="connsiteX23" fmla="*/ 546386 w 547669"/>
                    <a:gd name="connsiteY23" fmla="*/ 122952 h 311394"/>
                    <a:gd name="connsiteX24" fmla="*/ 527771 w 547669"/>
                    <a:gd name="connsiteY24" fmla="*/ 110726 h 311394"/>
                    <a:gd name="connsiteX25" fmla="*/ 509155 w 547669"/>
                    <a:gd name="connsiteY25" fmla="*/ 104614 h 311394"/>
                    <a:gd name="connsiteX26" fmla="*/ 484287 w 547669"/>
                    <a:gd name="connsiteY26" fmla="*/ 104614 h 311394"/>
                    <a:gd name="connsiteX27" fmla="*/ 465671 w 547669"/>
                    <a:gd name="connsiteY27" fmla="*/ 86276 h 311394"/>
                    <a:gd name="connsiteX28" fmla="*/ 447056 w 547669"/>
                    <a:gd name="connsiteY28" fmla="*/ 98501 h 311394"/>
                    <a:gd name="connsiteX29" fmla="*/ 428440 w 547669"/>
                    <a:gd name="connsiteY29" fmla="*/ 80163 h 311394"/>
                    <a:gd name="connsiteX30" fmla="*/ 403573 w 547669"/>
                    <a:gd name="connsiteY30" fmla="*/ 80163 h 311394"/>
                    <a:gd name="connsiteX31" fmla="*/ 397321 w 547669"/>
                    <a:gd name="connsiteY31" fmla="*/ 55712 h 311394"/>
                    <a:gd name="connsiteX32" fmla="*/ 372454 w 547669"/>
                    <a:gd name="connsiteY32" fmla="*/ 49600 h 311394"/>
                    <a:gd name="connsiteX33" fmla="*/ 372454 w 547669"/>
                    <a:gd name="connsiteY33" fmla="*/ 25149 h 311394"/>
                    <a:gd name="connsiteX34" fmla="*/ 360090 w 547669"/>
                    <a:gd name="connsiteY34" fmla="*/ 6811 h 311394"/>
                    <a:gd name="connsiteX35" fmla="*/ 328971 w 547669"/>
                    <a:gd name="connsiteY35" fmla="*/ 699 h 311394"/>
                    <a:gd name="connsiteX36" fmla="*/ 291740 w 547669"/>
                    <a:gd name="connsiteY36" fmla="*/ 6811 h 311394"/>
                    <a:gd name="connsiteX37" fmla="*/ 266872 w 547669"/>
                    <a:gd name="connsiteY37" fmla="*/ 12924 h 311394"/>
                    <a:gd name="connsiteX38" fmla="*/ 254508 w 547669"/>
                    <a:gd name="connsiteY38" fmla="*/ 49600 h 311394"/>
                    <a:gd name="connsiteX39" fmla="*/ 235892 w 547669"/>
                    <a:gd name="connsiteY39" fmla="*/ 37375 h 311394"/>
                    <a:gd name="connsiteX40" fmla="*/ 223528 w 547669"/>
                    <a:gd name="connsiteY40" fmla="*/ 43487 h 311394"/>
                    <a:gd name="connsiteX41" fmla="*/ 211164 w 547669"/>
                    <a:gd name="connsiteY41" fmla="*/ 31262 h 311394"/>
                    <a:gd name="connsiteX42" fmla="*/ 192548 w 547669"/>
                    <a:gd name="connsiteY42" fmla="*/ 37375 h 311394"/>
                    <a:gd name="connsiteX43" fmla="*/ 180183 w 547669"/>
                    <a:gd name="connsiteY43" fmla="*/ 31262 h 311394"/>
                    <a:gd name="connsiteX44" fmla="*/ 173932 w 547669"/>
                    <a:gd name="connsiteY44" fmla="*/ 43487 h 311394"/>
                    <a:gd name="connsiteX45" fmla="*/ 130449 w 547669"/>
                    <a:gd name="connsiteY45" fmla="*/ 25149 h 311394"/>
                    <a:gd name="connsiteX46" fmla="*/ 74602 w 547669"/>
                    <a:gd name="connsiteY46" fmla="*/ 19037 h 311394"/>
                    <a:gd name="connsiteX47" fmla="*/ 37370 w 547669"/>
                    <a:gd name="connsiteY47" fmla="*/ 31262 h 311394"/>
                    <a:gd name="connsiteX48" fmla="*/ 55986 w 547669"/>
                    <a:gd name="connsiteY48" fmla="*/ 61825 h 311394"/>
                    <a:gd name="connsiteX49" fmla="*/ 62237 w 547669"/>
                    <a:gd name="connsiteY49" fmla="*/ 80163 h 311394"/>
                    <a:gd name="connsiteX50" fmla="*/ 31119 w 547669"/>
                    <a:gd name="connsiteY50" fmla="*/ 92388 h 311394"/>
                    <a:gd name="connsiteX51" fmla="*/ 12503 w 547669"/>
                    <a:gd name="connsiteY51" fmla="*/ 135177 h 311394"/>
                    <a:gd name="connsiteX52" fmla="*/ 0 w 547669"/>
                    <a:gd name="connsiteY52" fmla="*/ 159627 h 311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7669" h="311394">
                      <a:moveTo>
                        <a:pt x="0" y="159627"/>
                      </a:moveTo>
                      <a:cubicBezTo>
                        <a:pt x="0" y="177965"/>
                        <a:pt x="43483" y="177965"/>
                        <a:pt x="55847" y="177965"/>
                      </a:cubicBezTo>
                      <a:cubicBezTo>
                        <a:pt x="68211" y="177965"/>
                        <a:pt x="80714" y="190191"/>
                        <a:pt x="99330" y="184078"/>
                      </a:cubicBezTo>
                      <a:cubicBezTo>
                        <a:pt x="105582" y="171853"/>
                        <a:pt x="124198" y="165740"/>
                        <a:pt x="136562" y="165740"/>
                      </a:cubicBezTo>
                      <a:cubicBezTo>
                        <a:pt x="155177" y="153515"/>
                        <a:pt x="192409" y="165740"/>
                        <a:pt x="204912" y="177965"/>
                      </a:cubicBezTo>
                      <a:cubicBezTo>
                        <a:pt x="223528" y="202416"/>
                        <a:pt x="229779" y="226866"/>
                        <a:pt x="248395" y="245204"/>
                      </a:cubicBezTo>
                      <a:cubicBezTo>
                        <a:pt x="260759" y="239092"/>
                        <a:pt x="260759" y="232979"/>
                        <a:pt x="273262" y="226866"/>
                      </a:cubicBezTo>
                      <a:cubicBezTo>
                        <a:pt x="285626" y="226866"/>
                        <a:pt x="285626" y="239092"/>
                        <a:pt x="291878" y="245204"/>
                      </a:cubicBezTo>
                      <a:cubicBezTo>
                        <a:pt x="298129" y="251317"/>
                        <a:pt x="353977" y="257430"/>
                        <a:pt x="353977" y="251317"/>
                      </a:cubicBezTo>
                      <a:cubicBezTo>
                        <a:pt x="353977" y="257430"/>
                        <a:pt x="316746" y="269655"/>
                        <a:pt x="316746" y="275767"/>
                      </a:cubicBezTo>
                      <a:cubicBezTo>
                        <a:pt x="322997" y="281880"/>
                        <a:pt x="347865" y="275767"/>
                        <a:pt x="341613" y="294105"/>
                      </a:cubicBezTo>
                      <a:cubicBezTo>
                        <a:pt x="335361" y="306331"/>
                        <a:pt x="353977" y="318556"/>
                        <a:pt x="366480" y="306331"/>
                      </a:cubicBezTo>
                      <a:cubicBezTo>
                        <a:pt x="378844" y="300218"/>
                        <a:pt x="397599" y="287993"/>
                        <a:pt x="416214" y="287993"/>
                      </a:cubicBezTo>
                      <a:cubicBezTo>
                        <a:pt x="434831" y="287993"/>
                        <a:pt x="441082" y="287993"/>
                        <a:pt x="447334" y="275767"/>
                      </a:cubicBezTo>
                      <a:cubicBezTo>
                        <a:pt x="447334" y="275767"/>
                        <a:pt x="428718" y="275767"/>
                        <a:pt x="422466" y="275767"/>
                      </a:cubicBezTo>
                      <a:cubicBezTo>
                        <a:pt x="410102" y="275767"/>
                        <a:pt x="397599" y="281880"/>
                        <a:pt x="391347" y="263542"/>
                      </a:cubicBezTo>
                      <a:cubicBezTo>
                        <a:pt x="372732" y="239092"/>
                        <a:pt x="434831" y="226866"/>
                        <a:pt x="447195" y="226866"/>
                      </a:cubicBezTo>
                      <a:cubicBezTo>
                        <a:pt x="459559" y="220754"/>
                        <a:pt x="472062" y="214641"/>
                        <a:pt x="484426" y="208528"/>
                      </a:cubicBezTo>
                      <a:cubicBezTo>
                        <a:pt x="490678" y="196303"/>
                        <a:pt x="503042" y="184078"/>
                        <a:pt x="521658" y="184078"/>
                      </a:cubicBezTo>
                      <a:cubicBezTo>
                        <a:pt x="527910" y="184078"/>
                        <a:pt x="540274" y="184078"/>
                        <a:pt x="540274" y="165740"/>
                      </a:cubicBezTo>
                      <a:cubicBezTo>
                        <a:pt x="540274" y="159627"/>
                        <a:pt x="534022" y="159627"/>
                        <a:pt x="534022" y="153515"/>
                      </a:cubicBezTo>
                      <a:cubicBezTo>
                        <a:pt x="534022" y="147402"/>
                        <a:pt x="546386" y="147402"/>
                        <a:pt x="546386" y="147402"/>
                      </a:cubicBezTo>
                      <a:lnTo>
                        <a:pt x="534022" y="141290"/>
                      </a:lnTo>
                      <a:cubicBezTo>
                        <a:pt x="534022" y="135177"/>
                        <a:pt x="552638" y="135177"/>
                        <a:pt x="546386" y="122952"/>
                      </a:cubicBezTo>
                      <a:cubicBezTo>
                        <a:pt x="546386" y="122952"/>
                        <a:pt x="534022" y="116839"/>
                        <a:pt x="527771" y="110726"/>
                      </a:cubicBezTo>
                      <a:cubicBezTo>
                        <a:pt x="521519" y="104614"/>
                        <a:pt x="515406" y="116839"/>
                        <a:pt x="509155" y="104614"/>
                      </a:cubicBezTo>
                      <a:cubicBezTo>
                        <a:pt x="502903" y="98501"/>
                        <a:pt x="496790" y="98501"/>
                        <a:pt x="484287" y="104614"/>
                      </a:cubicBezTo>
                      <a:cubicBezTo>
                        <a:pt x="478035" y="104614"/>
                        <a:pt x="471923" y="86276"/>
                        <a:pt x="465671" y="86276"/>
                      </a:cubicBezTo>
                      <a:cubicBezTo>
                        <a:pt x="459420" y="80163"/>
                        <a:pt x="453307" y="92388"/>
                        <a:pt x="447056" y="98501"/>
                      </a:cubicBezTo>
                      <a:cubicBezTo>
                        <a:pt x="440804" y="98501"/>
                        <a:pt x="434692" y="80163"/>
                        <a:pt x="428440" y="80163"/>
                      </a:cubicBezTo>
                      <a:cubicBezTo>
                        <a:pt x="422189" y="80163"/>
                        <a:pt x="403573" y="86276"/>
                        <a:pt x="403573" y="80163"/>
                      </a:cubicBezTo>
                      <a:cubicBezTo>
                        <a:pt x="403573" y="74051"/>
                        <a:pt x="403573" y="61825"/>
                        <a:pt x="397321" y="55712"/>
                      </a:cubicBezTo>
                      <a:cubicBezTo>
                        <a:pt x="391070" y="49600"/>
                        <a:pt x="378705" y="55712"/>
                        <a:pt x="372454" y="49600"/>
                      </a:cubicBezTo>
                      <a:cubicBezTo>
                        <a:pt x="366202" y="43487"/>
                        <a:pt x="360090" y="31262"/>
                        <a:pt x="372454" y="25149"/>
                      </a:cubicBezTo>
                      <a:cubicBezTo>
                        <a:pt x="378705" y="25149"/>
                        <a:pt x="366202" y="6811"/>
                        <a:pt x="360090" y="6811"/>
                      </a:cubicBezTo>
                      <a:cubicBezTo>
                        <a:pt x="353838" y="699"/>
                        <a:pt x="335222" y="6811"/>
                        <a:pt x="328971" y="699"/>
                      </a:cubicBezTo>
                      <a:cubicBezTo>
                        <a:pt x="310355" y="-5414"/>
                        <a:pt x="310355" y="31262"/>
                        <a:pt x="291740" y="6811"/>
                      </a:cubicBezTo>
                      <a:cubicBezTo>
                        <a:pt x="285488" y="6811"/>
                        <a:pt x="273123" y="12924"/>
                        <a:pt x="266872" y="12924"/>
                      </a:cubicBezTo>
                      <a:cubicBezTo>
                        <a:pt x="254508" y="19037"/>
                        <a:pt x="260620" y="49600"/>
                        <a:pt x="254508" y="49600"/>
                      </a:cubicBezTo>
                      <a:cubicBezTo>
                        <a:pt x="248256" y="49600"/>
                        <a:pt x="242144" y="37375"/>
                        <a:pt x="235892" y="37375"/>
                      </a:cubicBezTo>
                      <a:cubicBezTo>
                        <a:pt x="235892" y="37375"/>
                        <a:pt x="229640" y="43487"/>
                        <a:pt x="223528" y="43487"/>
                      </a:cubicBezTo>
                      <a:cubicBezTo>
                        <a:pt x="217276" y="43487"/>
                        <a:pt x="211164" y="37375"/>
                        <a:pt x="211164" y="31262"/>
                      </a:cubicBezTo>
                      <a:cubicBezTo>
                        <a:pt x="211164" y="25149"/>
                        <a:pt x="198799" y="37375"/>
                        <a:pt x="192548" y="37375"/>
                      </a:cubicBezTo>
                      <a:cubicBezTo>
                        <a:pt x="186296" y="37375"/>
                        <a:pt x="186296" y="31262"/>
                        <a:pt x="180183" y="31262"/>
                      </a:cubicBezTo>
                      <a:cubicBezTo>
                        <a:pt x="173932" y="31262"/>
                        <a:pt x="173932" y="37375"/>
                        <a:pt x="173932" y="43487"/>
                      </a:cubicBezTo>
                      <a:lnTo>
                        <a:pt x="130449" y="25149"/>
                      </a:lnTo>
                      <a:cubicBezTo>
                        <a:pt x="111833" y="19037"/>
                        <a:pt x="93217" y="19037"/>
                        <a:pt x="74602" y="19037"/>
                      </a:cubicBezTo>
                      <a:cubicBezTo>
                        <a:pt x="62237" y="19037"/>
                        <a:pt x="55986" y="31262"/>
                        <a:pt x="37370" y="31262"/>
                      </a:cubicBezTo>
                      <a:cubicBezTo>
                        <a:pt x="37370" y="49600"/>
                        <a:pt x="55986" y="49600"/>
                        <a:pt x="55986" y="61825"/>
                      </a:cubicBezTo>
                      <a:cubicBezTo>
                        <a:pt x="55986" y="67938"/>
                        <a:pt x="62237" y="74051"/>
                        <a:pt x="62237" y="80163"/>
                      </a:cubicBezTo>
                      <a:cubicBezTo>
                        <a:pt x="55986" y="86276"/>
                        <a:pt x="37370" y="86276"/>
                        <a:pt x="31119" y="92388"/>
                      </a:cubicBezTo>
                      <a:cubicBezTo>
                        <a:pt x="12503" y="104614"/>
                        <a:pt x="18755" y="116839"/>
                        <a:pt x="12503" y="135177"/>
                      </a:cubicBezTo>
                      <a:cubicBezTo>
                        <a:pt x="12364" y="147402"/>
                        <a:pt x="6252" y="153515"/>
                        <a:pt x="0" y="1596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2" name="Freihandform: Form 301">
                  <a:extLst>
                    <a:ext uri="{FF2B5EF4-FFF2-40B4-BE49-F238E27FC236}">
                      <a16:creationId xmlns:a16="http://schemas.microsoft.com/office/drawing/2014/main" id="{A5BFECA2-13E3-4601-AA7D-E0D5F4B57C9E}"/>
                    </a:ext>
                  </a:extLst>
                </p:cNvPr>
                <p:cNvSpPr/>
                <p:nvPr/>
              </p:nvSpPr>
              <p:spPr>
                <a:xfrm>
                  <a:off x="6609433" y="2839715"/>
                  <a:ext cx="176789" cy="81407"/>
                </a:xfrm>
                <a:custGeom>
                  <a:avLst/>
                  <a:gdLst>
                    <a:gd name="connsiteX0" fmla="*/ 176790 w 176789"/>
                    <a:gd name="connsiteY0" fmla="*/ 28618 h 81407"/>
                    <a:gd name="connsiteX1" fmla="*/ 125943 w 176789"/>
                    <a:gd name="connsiteY1" fmla="*/ 0 h 81407"/>
                    <a:gd name="connsiteX2" fmla="*/ 94130 w 176789"/>
                    <a:gd name="connsiteY2" fmla="*/ 0 h 81407"/>
                    <a:gd name="connsiteX3" fmla="*/ 75098 w 176789"/>
                    <a:gd name="connsiteY3" fmla="*/ 7085 h 81407"/>
                    <a:gd name="connsiteX4" fmla="*/ 56065 w 176789"/>
                    <a:gd name="connsiteY4" fmla="*/ 0 h 81407"/>
                    <a:gd name="connsiteX5" fmla="*/ 37032 w 176789"/>
                    <a:gd name="connsiteY5" fmla="*/ 21394 h 81407"/>
                    <a:gd name="connsiteX6" fmla="*/ 5219 w 176789"/>
                    <a:gd name="connsiteY6" fmla="*/ 64322 h 81407"/>
                    <a:gd name="connsiteX7" fmla="*/ 56065 w 176789"/>
                    <a:gd name="connsiteY7" fmla="*/ 78631 h 81407"/>
                    <a:gd name="connsiteX8" fmla="*/ 68846 w 176789"/>
                    <a:gd name="connsiteY8" fmla="*/ 64322 h 81407"/>
                    <a:gd name="connsiteX9" fmla="*/ 100660 w 176789"/>
                    <a:gd name="connsiteY9" fmla="*/ 64322 h 81407"/>
                    <a:gd name="connsiteX10" fmla="*/ 107050 w 176789"/>
                    <a:gd name="connsiteY10" fmla="*/ 42927 h 81407"/>
                    <a:gd name="connsiteX11" fmla="*/ 138864 w 176789"/>
                    <a:gd name="connsiteY11" fmla="*/ 50012 h 81407"/>
                    <a:gd name="connsiteX12" fmla="*/ 164286 w 176789"/>
                    <a:gd name="connsiteY12" fmla="*/ 50012 h 81407"/>
                    <a:gd name="connsiteX13" fmla="*/ 176790 w 176789"/>
                    <a:gd name="connsiteY13" fmla="*/ 28618 h 8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6789" h="81407">
                      <a:moveTo>
                        <a:pt x="176790" y="28618"/>
                      </a:moveTo>
                      <a:cubicBezTo>
                        <a:pt x="157757" y="14309"/>
                        <a:pt x="151367" y="0"/>
                        <a:pt x="125943" y="0"/>
                      </a:cubicBezTo>
                      <a:cubicBezTo>
                        <a:pt x="113163" y="0"/>
                        <a:pt x="106911" y="0"/>
                        <a:pt x="94130" y="0"/>
                      </a:cubicBezTo>
                      <a:cubicBezTo>
                        <a:pt x="81488" y="0"/>
                        <a:pt x="81488" y="7085"/>
                        <a:pt x="75098" y="7085"/>
                      </a:cubicBezTo>
                      <a:cubicBezTo>
                        <a:pt x="68707" y="7085"/>
                        <a:pt x="62456" y="0"/>
                        <a:pt x="56065" y="0"/>
                      </a:cubicBezTo>
                      <a:cubicBezTo>
                        <a:pt x="49674" y="7085"/>
                        <a:pt x="43423" y="14309"/>
                        <a:pt x="37032" y="21394"/>
                      </a:cubicBezTo>
                      <a:cubicBezTo>
                        <a:pt x="24391" y="35703"/>
                        <a:pt x="-13813" y="28479"/>
                        <a:pt x="5219" y="64322"/>
                      </a:cubicBezTo>
                      <a:cubicBezTo>
                        <a:pt x="11610" y="78631"/>
                        <a:pt x="37032" y="85716"/>
                        <a:pt x="56065" y="78631"/>
                      </a:cubicBezTo>
                      <a:cubicBezTo>
                        <a:pt x="62456" y="78631"/>
                        <a:pt x="62456" y="64322"/>
                        <a:pt x="68846" y="64322"/>
                      </a:cubicBezTo>
                      <a:cubicBezTo>
                        <a:pt x="81488" y="64322"/>
                        <a:pt x="94269" y="64322"/>
                        <a:pt x="100660" y="64322"/>
                      </a:cubicBezTo>
                      <a:cubicBezTo>
                        <a:pt x="107050" y="64322"/>
                        <a:pt x="107050" y="50012"/>
                        <a:pt x="107050" y="42927"/>
                      </a:cubicBezTo>
                      <a:cubicBezTo>
                        <a:pt x="113440" y="35842"/>
                        <a:pt x="132473" y="50012"/>
                        <a:pt x="138864" y="50012"/>
                      </a:cubicBezTo>
                      <a:cubicBezTo>
                        <a:pt x="145254" y="50012"/>
                        <a:pt x="157896" y="50012"/>
                        <a:pt x="164286" y="50012"/>
                      </a:cubicBezTo>
                      <a:cubicBezTo>
                        <a:pt x="170538" y="50012"/>
                        <a:pt x="170538" y="35703"/>
                        <a:pt x="176790" y="2861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3" name="Freihandform: Form 302">
                  <a:extLst>
                    <a:ext uri="{FF2B5EF4-FFF2-40B4-BE49-F238E27FC236}">
                      <a16:creationId xmlns:a16="http://schemas.microsoft.com/office/drawing/2014/main" id="{195D099C-8AEC-4911-B585-6D36080E82D2}"/>
                    </a:ext>
                  </a:extLst>
                </p:cNvPr>
                <p:cNvSpPr/>
                <p:nvPr/>
              </p:nvSpPr>
              <p:spPr>
                <a:xfrm>
                  <a:off x="6807492" y="2563674"/>
                  <a:ext cx="278184" cy="209854"/>
                </a:xfrm>
                <a:custGeom>
                  <a:avLst/>
                  <a:gdLst>
                    <a:gd name="connsiteX0" fmla="*/ 64724 w 278184"/>
                    <a:gd name="connsiteY0" fmla="*/ 181295 h 209854"/>
                    <a:gd name="connsiteX1" fmla="*/ 107374 w 278184"/>
                    <a:gd name="connsiteY1" fmla="*/ 187547 h 209854"/>
                    <a:gd name="connsiteX2" fmla="*/ 137798 w 278184"/>
                    <a:gd name="connsiteY2" fmla="*/ 206301 h 209854"/>
                    <a:gd name="connsiteX3" fmla="*/ 150024 w 278184"/>
                    <a:gd name="connsiteY3" fmla="*/ 193798 h 209854"/>
                    <a:gd name="connsiteX4" fmla="*/ 174335 w 278184"/>
                    <a:gd name="connsiteY4" fmla="*/ 200050 h 209854"/>
                    <a:gd name="connsiteX5" fmla="*/ 198647 w 278184"/>
                    <a:gd name="connsiteY5" fmla="*/ 200050 h 209854"/>
                    <a:gd name="connsiteX6" fmla="*/ 216846 w 278184"/>
                    <a:gd name="connsiteY6" fmla="*/ 206301 h 209854"/>
                    <a:gd name="connsiteX7" fmla="*/ 229071 w 278184"/>
                    <a:gd name="connsiteY7" fmla="*/ 175044 h 209854"/>
                    <a:gd name="connsiteX8" fmla="*/ 253383 w 278184"/>
                    <a:gd name="connsiteY8" fmla="*/ 168792 h 209854"/>
                    <a:gd name="connsiteX9" fmla="*/ 241157 w 278184"/>
                    <a:gd name="connsiteY9" fmla="*/ 137534 h 209854"/>
                    <a:gd name="connsiteX10" fmla="*/ 265469 w 278184"/>
                    <a:gd name="connsiteY10" fmla="*/ 131283 h 209854"/>
                    <a:gd name="connsiteX11" fmla="*/ 271582 w 278184"/>
                    <a:gd name="connsiteY11" fmla="*/ 106277 h 209854"/>
                    <a:gd name="connsiteX12" fmla="*/ 253383 w 278184"/>
                    <a:gd name="connsiteY12" fmla="*/ 93773 h 209854"/>
                    <a:gd name="connsiteX13" fmla="*/ 235184 w 278184"/>
                    <a:gd name="connsiteY13" fmla="*/ 68767 h 209854"/>
                    <a:gd name="connsiteX14" fmla="*/ 229071 w 278184"/>
                    <a:gd name="connsiteY14" fmla="*/ 37509 h 209854"/>
                    <a:gd name="connsiteX15" fmla="*/ 210872 w 278184"/>
                    <a:gd name="connsiteY15" fmla="*/ 12503 h 209854"/>
                    <a:gd name="connsiteX16" fmla="*/ 198647 w 278184"/>
                    <a:gd name="connsiteY16" fmla="*/ 12503 h 209854"/>
                    <a:gd name="connsiteX17" fmla="*/ 180448 w 278184"/>
                    <a:gd name="connsiteY17" fmla="*/ 6252 h 209854"/>
                    <a:gd name="connsiteX18" fmla="*/ 168222 w 278184"/>
                    <a:gd name="connsiteY18" fmla="*/ 12503 h 209854"/>
                    <a:gd name="connsiteX19" fmla="*/ 150024 w 278184"/>
                    <a:gd name="connsiteY19" fmla="*/ 0 h 209854"/>
                    <a:gd name="connsiteX20" fmla="*/ 131825 w 278184"/>
                    <a:gd name="connsiteY20" fmla="*/ 12503 h 209854"/>
                    <a:gd name="connsiteX21" fmla="*/ 101401 w 278184"/>
                    <a:gd name="connsiteY21" fmla="*/ 18755 h 209854"/>
                    <a:gd name="connsiteX22" fmla="*/ 101401 w 278184"/>
                    <a:gd name="connsiteY22" fmla="*/ 37509 h 209854"/>
                    <a:gd name="connsiteX23" fmla="*/ 77089 w 278184"/>
                    <a:gd name="connsiteY23" fmla="*/ 56264 h 209854"/>
                    <a:gd name="connsiteX24" fmla="*/ 70976 w 278184"/>
                    <a:gd name="connsiteY24" fmla="*/ 81270 h 209854"/>
                    <a:gd name="connsiteX25" fmla="*/ 46664 w 278184"/>
                    <a:gd name="connsiteY25" fmla="*/ 87522 h 209854"/>
                    <a:gd name="connsiteX26" fmla="*/ 4015 w 278184"/>
                    <a:gd name="connsiteY26" fmla="*/ 100025 h 209854"/>
                    <a:gd name="connsiteX27" fmla="*/ 10128 w 278184"/>
                    <a:gd name="connsiteY27" fmla="*/ 150176 h 209854"/>
                    <a:gd name="connsiteX28" fmla="*/ 4015 w 278184"/>
                    <a:gd name="connsiteY28" fmla="*/ 168931 h 209854"/>
                    <a:gd name="connsiteX29" fmla="*/ 4015 w 278184"/>
                    <a:gd name="connsiteY29" fmla="*/ 193937 h 209854"/>
                    <a:gd name="connsiteX30" fmla="*/ 28327 w 278184"/>
                    <a:gd name="connsiteY30" fmla="*/ 187686 h 209854"/>
                    <a:gd name="connsiteX31" fmla="*/ 64724 w 278184"/>
                    <a:gd name="connsiteY31" fmla="*/ 181295 h 209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8184" h="209854">
                      <a:moveTo>
                        <a:pt x="64724" y="181295"/>
                      </a:moveTo>
                      <a:cubicBezTo>
                        <a:pt x="82923" y="181295"/>
                        <a:pt x="95149" y="187547"/>
                        <a:pt x="107374" y="187547"/>
                      </a:cubicBezTo>
                      <a:lnTo>
                        <a:pt x="137798" y="206301"/>
                      </a:lnTo>
                      <a:cubicBezTo>
                        <a:pt x="137798" y="200050"/>
                        <a:pt x="143911" y="181295"/>
                        <a:pt x="150024" y="193798"/>
                      </a:cubicBezTo>
                      <a:cubicBezTo>
                        <a:pt x="162249" y="212553"/>
                        <a:pt x="168222" y="181295"/>
                        <a:pt x="174335" y="200050"/>
                      </a:cubicBezTo>
                      <a:cubicBezTo>
                        <a:pt x="180448" y="212553"/>
                        <a:pt x="192534" y="200050"/>
                        <a:pt x="198647" y="200050"/>
                      </a:cubicBezTo>
                      <a:cubicBezTo>
                        <a:pt x="204760" y="193798"/>
                        <a:pt x="216846" y="218805"/>
                        <a:pt x="216846" y="206301"/>
                      </a:cubicBezTo>
                      <a:cubicBezTo>
                        <a:pt x="222959" y="193798"/>
                        <a:pt x="216846" y="181295"/>
                        <a:pt x="229071" y="175044"/>
                      </a:cubicBezTo>
                      <a:cubicBezTo>
                        <a:pt x="235184" y="175044"/>
                        <a:pt x="247270" y="168792"/>
                        <a:pt x="253383" y="168792"/>
                      </a:cubicBezTo>
                      <a:cubicBezTo>
                        <a:pt x="247270" y="162541"/>
                        <a:pt x="241157" y="150037"/>
                        <a:pt x="241157" y="137534"/>
                      </a:cubicBezTo>
                      <a:cubicBezTo>
                        <a:pt x="241157" y="125031"/>
                        <a:pt x="253383" y="137534"/>
                        <a:pt x="265469" y="131283"/>
                      </a:cubicBezTo>
                      <a:cubicBezTo>
                        <a:pt x="277694" y="131283"/>
                        <a:pt x="283668" y="118780"/>
                        <a:pt x="271582" y="106277"/>
                      </a:cubicBezTo>
                      <a:cubicBezTo>
                        <a:pt x="265469" y="100025"/>
                        <a:pt x="259356" y="106277"/>
                        <a:pt x="253383" y="93773"/>
                      </a:cubicBezTo>
                      <a:cubicBezTo>
                        <a:pt x="247270" y="87522"/>
                        <a:pt x="241157" y="81270"/>
                        <a:pt x="235184" y="68767"/>
                      </a:cubicBezTo>
                      <a:cubicBezTo>
                        <a:pt x="229071" y="62516"/>
                        <a:pt x="229071" y="50012"/>
                        <a:pt x="229071" y="37509"/>
                      </a:cubicBezTo>
                      <a:cubicBezTo>
                        <a:pt x="235184" y="25006"/>
                        <a:pt x="216846" y="12503"/>
                        <a:pt x="210872" y="12503"/>
                      </a:cubicBezTo>
                      <a:cubicBezTo>
                        <a:pt x="204760" y="6252"/>
                        <a:pt x="204760" y="12503"/>
                        <a:pt x="198647" y="12503"/>
                      </a:cubicBezTo>
                      <a:cubicBezTo>
                        <a:pt x="186421" y="18755"/>
                        <a:pt x="186421" y="12503"/>
                        <a:pt x="180448" y="6252"/>
                      </a:cubicBezTo>
                      <a:cubicBezTo>
                        <a:pt x="174335" y="0"/>
                        <a:pt x="174335" y="12503"/>
                        <a:pt x="168222" y="12503"/>
                      </a:cubicBezTo>
                      <a:cubicBezTo>
                        <a:pt x="162110" y="12503"/>
                        <a:pt x="150024" y="0"/>
                        <a:pt x="150024" y="0"/>
                      </a:cubicBezTo>
                      <a:cubicBezTo>
                        <a:pt x="137798" y="0"/>
                        <a:pt x="137798" y="12503"/>
                        <a:pt x="131825" y="12503"/>
                      </a:cubicBezTo>
                      <a:cubicBezTo>
                        <a:pt x="119599" y="18755"/>
                        <a:pt x="113626" y="18755"/>
                        <a:pt x="101401" y="18755"/>
                      </a:cubicBezTo>
                      <a:cubicBezTo>
                        <a:pt x="95287" y="25006"/>
                        <a:pt x="101401" y="37509"/>
                        <a:pt x="101401" y="37509"/>
                      </a:cubicBezTo>
                      <a:cubicBezTo>
                        <a:pt x="95287" y="50012"/>
                        <a:pt x="77089" y="43761"/>
                        <a:pt x="77089" y="56264"/>
                      </a:cubicBezTo>
                      <a:cubicBezTo>
                        <a:pt x="70976" y="62516"/>
                        <a:pt x="70976" y="68767"/>
                        <a:pt x="70976" y="81270"/>
                      </a:cubicBezTo>
                      <a:cubicBezTo>
                        <a:pt x="70976" y="87522"/>
                        <a:pt x="52777" y="87522"/>
                        <a:pt x="46664" y="87522"/>
                      </a:cubicBezTo>
                      <a:cubicBezTo>
                        <a:pt x="28466" y="93773"/>
                        <a:pt x="22353" y="100025"/>
                        <a:pt x="4015" y="100025"/>
                      </a:cubicBezTo>
                      <a:cubicBezTo>
                        <a:pt x="10128" y="118780"/>
                        <a:pt x="28327" y="131283"/>
                        <a:pt x="10128" y="150176"/>
                      </a:cubicBezTo>
                      <a:cubicBezTo>
                        <a:pt x="-2097" y="156428"/>
                        <a:pt x="-2097" y="162679"/>
                        <a:pt x="4015" y="168931"/>
                      </a:cubicBezTo>
                      <a:cubicBezTo>
                        <a:pt x="16240" y="175183"/>
                        <a:pt x="4015" y="187686"/>
                        <a:pt x="4015" y="193937"/>
                      </a:cubicBezTo>
                      <a:cubicBezTo>
                        <a:pt x="16240" y="193937"/>
                        <a:pt x="22214" y="193937"/>
                        <a:pt x="28327" y="187686"/>
                      </a:cubicBezTo>
                      <a:cubicBezTo>
                        <a:pt x="40413" y="181295"/>
                        <a:pt x="58751" y="181295"/>
                        <a:pt x="64724" y="18129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4" name="Freihandform: Form 303">
                  <a:extLst>
                    <a:ext uri="{FF2B5EF4-FFF2-40B4-BE49-F238E27FC236}">
                      <a16:creationId xmlns:a16="http://schemas.microsoft.com/office/drawing/2014/main" id="{5B92B7F0-4794-429B-A855-AA00B9E2B759}"/>
                    </a:ext>
                  </a:extLst>
                </p:cNvPr>
                <p:cNvSpPr/>
                <p:nvPr/>
              </p:nvSpPr>
              <p:spPr>
                <a:xfrm>
                  <a:off x="6728986" y="2557129"/>
                  <a:ext cx="175607" cy="106751"/>
                </a:xfrm>
                <a:custGeom>
                  <a:avLst/>
                  <a:gdLst>
                    <a:gd name="connsiteX0" fmla="*/ 100025 w 175607"/>
                    <a:gd name="connsiteY0" fmla="*/ 105042 h 106751"/>
                    <a:gd name="connsiteX1" fmla="*/ 143786 w 175607"/>
                    <a:gd name="connsiteY1" fmla="*/ 86982 h 106751"/>
                    <a:gd name="connsiteX2" fmla="*/ 143786 w 175607"/>
                    <a:gd name="connsiteY2" fmla="*/ 68921 h 106751"/>
                    <a:gd name="connsiteX3" fmla="*/ 168792 w 175607"/>
                    <a:gd name="connsiteY3" fmla="*/ 50861 h 106751"/>
                    <a:gd name="connsiteX4" fmla="*/ 162541 w 175607"/>
                    <a:gd name="connsiteY4" fmla="*/ 20715 h 106751"/>
                    <a:gd name="connsiteX5" fmla="*/ 118780 w 175607"/>
                    <a:gd name="connsiteY5" fmla="*/ 2655 h 106751"/>
                    <a:gd name="connsiteX6" fmla="*/ 62516 w 175607"/>
                    <a:gd name="connsiteY6" fmla="*/ 2655 h 106751"/>
                    <a:gd name="connsiteX7" fmla="*/ 0 w 175607"/>
                    <a:gd name="connsiteY7" fmla="*/ 20715 h 106751"/>
                    <a:gd name="connsiteX8" fmla="*/ 6252 w 175607"/>
                    <a:gd name="connsiteY8" fmla="*/ 32801 h 106751"/>
                    <a:gd name="connsiteX9" fmla="*/ 12503 w 175607"/>
                    <a:gd name="connsiteY9" fmla="*/ 50861 h 106751"/>
                    <a:gd name="connsiteX10" fmla="*/ 31258 w 175607"/>
                    <a:gd name="connsiteY10" fmla="*/ 56835 h 106751"/>
                    <a:gd name="connsiteX11" fmla="*/ 56264 w 175607"/>
                    <a:gd name="connsiteY11" fmla="*/ 62809 h 106751"/>
                    <a:gd name="connsiteX12" fmla="*/ 50012 w 175607"/>
                    <a:gd name="connsiteY12" fmla="*/ 86843 h 106751"/>
                    <a:gd name="connsiteX13" fmla="*/ 75019 w 175607"/>
                    <a:gd name="connsiteY13" fmla="*/ 104903 h 106751"/>
                    <a:gd name="connsiteX14" fmla="*/ 100025 w 175607"/>
                    <a:gd name="connsiteY14" fmla="*/ 105042 h 106751"/>
                    <a:gd name="connsiteX15" fmla="*/ 100025 w 175607"/>
                    <a:gd name="connsiteY15" fmla="*/ 105042 h 10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607" h="106751">
                      <a:moveTo>
                        <a:pt x="100025" y="105042"/>
                      </a:moveTo>
                      <a:cubicBezTo>
                        <a:pt x="112528" y="92955"/>
                        <a:pt x="131283" y="92955"/>
                        <a:pt x="143786" y="86982"/>
                      </a:cubicBezTo>
                      <a:cubicBezTo>
                        <a:pt x="143786" y="81008"/>
                        <a:pt x="143786" y="74895"/>
                        <a:pt x="143786" y="68921"/>
                      </a:cubicBezTo>
                      <a:cubicBezTo>
                        <a:pt x="150037" y="56835"/>
                        <a:pt x="156289" y="56835"/>
                        <a:pt x="168792" y="50861"/>
                      </a:cubicBezTo>
                      <a:cubicBezTo>
                        <a:pt x="181295" y="44888"/>
                        <a:pt x="175044" y="26828"/>
                        <a:pt x="162541" y="20715"/>
                      </a:cubicBezTo>
                      <a:cubicBezTo>
                        <a:pt x="150037" y="14741"/>
                        <a:pt x="137534" y="8629"/>
                        <a:pt x="118780" y="2655"/>
                      </a:cubicBezTo>
                      <a:cubicBezTo>
                        <a:pt x="106277" y="-3319"/>
                        <a:pt x="81270" y="2655"/>
                        <a:pt x="62516" y="2655"/>
                      </a:cubicBezTo>
                      <a:cubicBezTo>
                        <a:pt x="50012" y="2655"/>
                        <a:pt x="0" y="-3319"/>
                        <a:pt x="0" y="20715"/>
                      </a:cubicBezTo>
                      <a:cubicBezTo>
                        <a:pt x="0" y="20715"/>
                        <a:pt x="6252" y="26689"/>
                        <a:pt x="6252" y="32801"/>
                      </a:cubicBezTo>
                      <a:cubicBezTo>
                        <a:pt x="12503" y="38775"/>
                        <a:pt x="6252" y="44888"/>
                        <a:pt x="12503" y="50861"/>
                      </a:cubicBezTo>
                      <a:cubicBezTo>
                        <a:pt x="18755" y="50861"/>
                        <a:pt x="25006" y="62948"/>
                        <a:pt x="31258" y="56835"/>
                      </a:cubicBezTo>
                      <a:cubicBezTo>
                        <a:pt x="43761" y="56835"/>
                        <a:pt x="56264" y="50861"/>
                        <a:pt x="56264" y="62809"/>
                      </a:cubicBezTo>
                      <a:cubicBezTo>
                        <a:pt x="56264" y="68783"/>
                        <a:pt x="56264" y="80869"/>
                        <a:pt x="50012" y="86843"/>
                      </a:cubicBezTo>
                      <a:cubicBezTo>
                        <a:pt x="68767" y="86843"/>
                        <a:pt x="68767" y="86843"/>
                        <a:pt x="75019" y="104903"/>
                      </a:cubicBezTo>
                      <a:cubicBezTo>
                        <a:pt x="81270" y="105042"/>
                        <a:pt x="100025" y="105042"/>
                        <a:pt x="100025" y="105042"/>
                      </a:cubicBezTo>
                      <a:cubicBezTo>
                        <a:pt x="106277" y="98929"/>
                        <a:pt x="93773" y="111015"/>
                        <a:pt x="100025" y="10504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5" name="Freihandform: Form 304">
                  <a:extLst>
                    <a:ext uri="{FF2B5EF4-FFF2-40B4-BE49-F238E27FC236}">
                      <a16:creationId xmlns:a16="http://schemas.microsoft.com/office/drawing/2014/main" id="{D246FF51-D409-49DA-B6F6-0892A3CD000E}"/>
                    </a:ext>
                  </a:extLst>
                </p:cNvPr>
                <p:cNvSpPr/>
                <p:nvPr/>
              </p:nvSpPr>
              <p:spPr>
                <a:xfrm>
                  <a:off x="6729264" y="2481144"/>
                  <a:ext cx="228529" cy="105956"/>
                </a:xfrm>
                <a:custGeom>
                  <a:avLst/>
                  <a:gdLst>
                    <a:gd name="connsiteX0" fmla="*/ 69740 w 228529"/>
                    <a:gd name="connsiteY0" fmla="*/ 78918 h 105956"/>
                    <a:gd name="connsiteX1" fmla="*/ 120586 w 228529"/>
                    <a:gd name="connsiteY1" fmla="*/ 72527 h 105956"/>
                    <a:gd name="connsiteX2" fmla="*/ 158651 w 228529"/>
                    <a:gd name="connsiteY2" fmla="*/ 91560 h 105956"/>
                    <a:gd name="connsiteX3" fmla="*/ 184074 w 228529"/>
                    <a:gd name="connsiteY3" fmla="*/ 104202 h 105956"/>
                    <a:gd name="connsiteX4" fmla="*/ 209497 w 228529"/>
                    <a:gd name="connsiteY4" fmla="*/ 97811 h 105956"/>
                    <a:gd name="connsiteX5" fmla="*/ 228529 w 228529"/>
                    <a:gd name="connsiteY5" fmla="*/ 85030 h 105956"/>
                    <a:gd name="connsiteX6" fmla="*/ 215887 w 228529"/>
                    <a:gd name="connsiteY6" fmla="*/ 46965 h 105956"/>
                    <a:gd name="connsiteX7" fmla="*/ 196855 w 228529"/>
                    <a:gd name="connsiteY7" fmla="*/ 21542 h 105956"/>
                    <a:gd name="connsiteX8" fmla="*/ 158790 w 228529"/>
                    <a:gd name="connsiteY8" fmla="*/ 15152 h 105956"/>
                    <a:gd name="connsiteX9" fmla="*/ 114335 w 228529"/>
                    <a:gd name="connsiteY9" fmla="*/ 2510 h 105956"/>
                    <a:gd name="connsiteX10" fmla="*/ 107944 w 228529"/>
                    <a:gd name="connsiteY10" fmla="*/ 27933 h 105956"/>
                    <a:gd name="connsiteX11" fmla="*/ 95302 w 228529"/>
                    <a:gd name="connsiteY11" fmla="*/ 40714 h 105956"/>
                    <a:gd name="connsiteX12" fmla="*/ 50846 w 228529"/>
                    <a:gd name="connsiteY12" fmla="*/ 21681 h 105956"/>
                    <a:gd name="connsiteX13" fmla="*/ 0 w 228529"/>
                    <a:gd name="connsiteY13" fmla="*/ 91560 h 105956"/>
                    <a:gd name="connsiteX14" fmla="*/ 69740 w 228529"/>
                    <a:gd name="connsiteY14" fmla="*/ 78918 h 10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8529" h="105956">
                      <a:moveTo>
                        <a:pt x="69740" y="78918"/>
                      </a:moveTo>
                      <a:cubicBezTo>
                        <a:pt x="88772" y="78918"/>
                        <a:pt x="101553" y="72527"/>
                        <a:pt x="120586" y="72527"/>
                      </a:cubicBezTo>
                      <a:cubicBezTo>
                        <a:pt x="126976" y="72527"/>
                        <a:pt x="152399" y="85169"/>
                        <a:pt x="158651" y="91560"/>
                      </a:cubicBezTo>
                      <a:cubicBezTo>
                        <a:pt x="165042" y="97950"/>
                        <a:pt x="171293" y="110592"/>
                        <a:pt x="184074" y="104202"/>
                      </a:cubicBezTo>
                      <a:cubicBezTo>
                        <a:pt x="190464" y="104202"/>
                        <a:pt x="196855" y="97811"/>
                        <a:pt x="209497" y="97811"/>
                      </a:cubicBezTo>
                      <a:cubicBezTo>
                        <a:pt x="215887" y="97811"/>
                        <a:pt x="215887" y="85030"/>
                        <a:pt x="228529" y="85030"/>
                      </a:cubicBezTo>
                      <a:cubicBezTo>
                        <a:pt x="222139" y="72388"/>
                        <a:pt x="209497" y="53217"/>
                        <a:pt x="215887" y="46965"/>
                      </a:cubicBezTo>
                      <a:cubicBezTo>
                        <a:pt x="222278" y="34323"/>
                        <a:pt x="203107" y="21542"/>
                        <a:pt x="196855" y="21542"/>
                      </a:cubicBezTo>
                      <a:cubicBezTo>
                        <a:pt x="184074" y="15152"/>
                        <a:pt x="171432" y="27933"/>
                        <a:pt x="158790" y="15152"/>
                      </a:cubicBezTo>
                      <a:cubicBezTo>
                        <a:pt x="139757" y="2510"/>
                        <a:pt x="133367" y="-3881"/>
                        <a:pt x="114335" y="2510"/>
                      </a:cubicBezTo>
                      <a:cubicBezTo>
                        <a:pt x="101692" y="8900"/>
                        <a:pt x="107944" y="15152"/>
                        <a:pt x="107944" y="27933"/>
                      </a:cubicBezTo>
                      <a:cubicBezTo>
                        <a:pt x="101553" y="34323"/>
                        <a:pt x="101553" y="40714"/>
                        <a:pt x="95302" y="40714"/>
                      </a:cubicBezTo>
                      <a:cubicBezTo>
                        <a:pt x="76269" y="53356"/>
                        <a:pt x="63488" y="27933"/>
                        <a:pt x="50846" y="21681"/>
                      </a:cubicBezTo>
                      <a:cubicBezTo>
                        <a:pt x="19033" y="-3742"/>
                        <a:pt x="0" y="66137"/>
                        <a:pt x="0" y="91560"/>
                      </a:cubicBezTo>
                      <a:cubicBezTo>
                        <a:pt x="25284" y="78918"/>
                        <a:pt x="44316" y="78918"/>
                        <a:pt x="69740" y="7891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6" name="Freihandform: Form 305">
                  <a:extLst>
                    <a:ext uri="{FF2B5EF4-FFF2-40B4-BE49-F238E27FC236}">
                      <a16:creationId xmlns:a16="http://schemas.microsoft.com/office/drawing/2014/main" id="{1086E2C0-6921-4BF4-AF88-E944E2C2682E}"/>
                    </a:ext>
                  </a:extLst>
                </p:cNvPr>
                <p:cNvSpPr/>
                <p:nvPr/>
              </p:nvSpPr>
              <p:spPr>
                <a:xfrm>
                  <a:off x="6805533" y="2410719"/>
                  <a:ext cx="142952" cy="95301"/>
                </a:xfrm>
                <a:custGeom>
                  <a:avLst/>
                  <a:gdLst>
                    <a:gd name="connsiteX0" fmla="*/ 95163 w 142952"/>
                    <a:gd name="connsiteY0" fmla="*/ 95302 h 95301"/>
                    <a:gd name="connsiteX1" fmla="*/ 119058 w 142952"/>
                    <a:gd name="connsiteY1" fmla="*/ 95302 h 95301"/>
                    <a:gd name="connsiteX2" fmla="*/ 131005 w 142952"/>
                    <a:gd name="connsiteY2" fmla="*/ 82660 h 95301"/>
                    <a:gd name="connsiteX3" fmla="*/ 131005 w 142952"/>
                    <a:gd name="connsiteY3" fmla="*/ 63627 h 95301"/>
                    <a:gd name="connsiteX4" fmla="*/ 125031 w 142952"/>
                    <a:gd name="connsiteY4" fmla="*/ 31814 h 95301"/>
                    <a:gd name="connsiteX5" fmla="*/ 142953 w 142952"/>
                    <a:gd name="connsiteY5" fmla="*/ 0 h 95301"/>
                    <a:gd name="connsiteX6" fmla="*/ 71407 w 142952"/>
                    <a:gd name="connsiteY6" fmla="*/ 0 h 95301"/>
                    <a:gd name="connsiteX7" fmla="*/ 35704 w 142952"/>
                    <a:gd name="connsiteY7" fmla="*/ 6391 h 95301"/>
                    <a:gd name="connsiteX8" fmla="*/ 0 w 142952"/>
                    <a:gd name="connsiteY8" fmla="*/ 31814 h 95301"/>
                    <a:gd name="connsiteX9" fmla="*/ 11948 w 142952"/>
                    <a:gd name="connsiteY9" fmla="*/ 38204 h 95301"/>
                    <a:gd name="connsiteX10" fmla="*/ 11948 w 142952"/>
                    <a:gd name="connsiteY10" fmla="*/ 50846 h 95301"/>
                    <a:gd name="connsiteX11" fmla="*/ 41677 w 142952"/>
                    <a:gd name="connsiteY11" fmla="*/ 57237 h 95301"/>
                    <a:gd name="connsiteX12" fmla="*/ 35704 w 142952"/>
                    <a:gd name="connsiteY12" fmla="*/ 82660 h 95301"/>
                    <a:gd name="connsiteX13" fmla="*/ 65433 w 142952"/>
                    <a:gd name="connsiteY13" fmla="*/ 76269 h 95301"/>
                    <a:gd name="connsiteX14" fmla="*/ 95163 w 142952"/>
                    <a:gd name="connsiteY14" fmla="*/ 95302 h 9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952" h="95301">
                      <a:moveTo>
                        <a:pt x="95163" y="95302"/>
                      </a:moveTo>
                      <a:cubicBezTo>
                        <a:pt x="101137" y="95302"/>
                        <a:pt x="113084" y="95302"/>
                        <a:pt x="119058" y="95302"/>
                      </a:cubicBezTo>
                      <a:cubicBezTo>
                        <a:pt x="119058" y="88911"/>
                        <a:pt x="131005" y="88911"/>
                        <a:pt x="131005" y="82660"/>
                      </a:cubicBezTo>
                      <a:cubicBezTo>
                        <a:pt x="131005" y="76269"/>
                        <a:pt x="131005" y="69879"/>
                        <a:pt x="131005" y="63627"/>
                      </a:cubicBezTo>
                      <a:cubicBezTo>
                        <a:pt x="125031" y="50846"/>
                        <a:pt x="119058" y="44595"/>
                        <a:pt x="125031" y="31814"/>
                      </a:cubicBezTo>
                      <a:cubicBezTo>
                        <a:pt x="136979" y="25423"/>
                        <a:pt x="142953" y="12781"/>
                        <a:pt x="142953" y="0"/>
                      </a:cubicBezTo>
                      <a:cubicBezTo>
                        <a:pt x="131005" y="19033"/>
                        <a:pt x="89328" y="0"/>
                        <a:pt x="71407" y="0"/>
                      </a:cubicBezTo>
                      <a:cubicBezTo>
                        <a:pt x="59460" y="0"/>
                        <a:pt x="47512" y="0"/>
                        <a:pt x="35704" y="6391"/>
                      </a:cubicBezTo>
                      <a:cubicBezTo>
                        <a:pt x="29730" y="6391"/>
                        <a:pt x="0" y="31814"/>
                        <a:pt x="0" y="31814"/>
                      </a:cubicBezTo>
                      <a:cubicBezTo>
                        <a:pt x="0" y="38204"/>
                        <a:pt x="17922" y="31814"/>
                        <a:pt x="11948" y="38204"/>
                      </a:cubicBezTo>
                      <a:cubicBezTo>
                        <a:pt x="11948" y="44595"/>
                        <a:pt x="11948" y="44595"/>
                        <a:pt x="11948" y="50846"/>
                      </a:cubicBezTo>
                      <a:cubicBezTo>
                        <a:pt x="17922" y="63627"/>
                        <a:pt x="41677" y="57237"/>
                        <a:pt x="41677" y="57237"/>
                      </a:cubicBezTo>
                      <a:cubicBezTo>
                        <a:pt x="41677" y="63627"/>
                        <a:pt x="35704" y="76269"/>
                        <a:pt x="35704" y="82660"/>
                      </a:cubicBezTo>
                      <a:cubicBezTo>
                        <a:pt x="41677" y="76269"/>
                        <a:pt x="53625" y="69879"/>
                        <a:pt x="65433" y="76269"/>
                      </a:cubicBezTo>
                      <a:cubicBezTo>
                        <a:pt x="77242" y="82660"/>
                        <a:pt x="83216" y="95302"/>
                        <a:pt x="95163" y="9530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7" name="Freihandform: Form 306">
                  <a:extLst>
                    <a:ext uri="{FF2B5EF4-FFF2-40B4-BE49-F238E27FC236}">
                      <a16:creationId xmlns:a16="http://schemas.microsoft.com/office/drawing/2014/main" id="{E31C7AEF-71E4-4B6D-8348-F8791BA3BEBB}"/>
                    </a:ext>
                  </a:extLst>
                </p:cNvPr>
                <p:cNvSpPr/>
                <p:nvPr/>
              </p:nvSpPr>
              <p:spPr>
                <a:xfrm>
                  <a:off x="6690643" y="2601322"/>
                  <a:ext cx="95579" cy="42479"/>
                </a:xfrm>
                <a:custGeom>
                  <a:avLst/>
                  <a:gdLst>
                    <a:gd name="connsiteX0" fmla="*/ 95579 w 95579"/>
                    <a:gd name="connsiteY0" fmla="*/ 23895 h 42479"/>
                    <a:gd name="connsiteX1" fmla="*/ 71685 w 95579"/>
                    <a:gd name="connsiteY1" fmla="*/ 11947 h 42479"/>
                    <a:gd name="connsiteX2" fmla="*/ 47790 w 95579"/>
                    <a:gd name="connsiteY2" fmla="*/ 0 h 42479"/>
                    <a:gd name="connsiteX3" fmla="*/ 41816 w 95579"/>
                    <a:gd name="connsiteY3" fmla="*/ 17921 h 42479"/>
                    <a:gd name="connsiteX4" fmla="*/ 29869 w 95579"/>
                    <a:gd name="connsiteY4" fmla="*/ 11947 h 42479"/>
                    <a:gd name="connsiteX5" fmla="*/ 11948 w 95579"/>
                    <a:gd name="connsiteY5" fmla="*/ 17921 h 42479"/>
                    <a:gd name="connsiteX6" fmla="*/ 0 w 95579"/>
                    <a:gd name="connsiteY6" fmla="*/ 29869 h 42479"/>
                    <a:gd name="connsiteX7" fmla="*/ 0 w 95579"/>
                    <a:gd name="connsiteY7" fmla="*/ 35842 h 42479"/>
                    <a:gd name="connsiteX8" fmla="*/ 11948 w 95579"/>
                    <a:gd name="connsiteY8" fmla="*/ 35842 h 42479"/>
                    <a:gd name="connsiteX9" fmla="*/ 47651 w 95579"/>
                    <a:gd name="connsiteY9" fmla="*/ 41816 h 42479"/>
                    <a:gd name="connsiteX10" fmla="*/ 95579 w 95579"/>
                    <a:gd name="connsiteY10" fmla="*/ 23895 h 4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579" h="42479">
                      <a:moveTo>
                        <a:pt x="95579" y="23895"/>
                      </a:moveTo>
                      <a:cubicBezTo>
                        <a:pt x="95579" y="5974"/>
                        <a:pt x="83632" y="11947"/>
                        <a:pt x="71685" y="11947"/>
                      </a:cubicBezTo>
                      <a:cubicBezTo>
                        <a:pt x="65711" y="17921"/>
                        <a:pt x="59737" y="5974"/>
                        <a:pt x="47790" y="0"/>
                      </a:cubicBezTo>
                      <a:cubicBezTo>
                        <a:pt x="47790" y="5974"/>
                        <a:pt x="47790" y="11947"/>
                        <a:pt x="41816" y="17921"/>
                      </a:cubicBezTo>
                      <a:cubicBezTo>
                        <a:pt x="35842" y="17921"/>
                        <a:pt x="41816" y="5974"/>
                        <a:pt x="29869" y="11947"/>
                      </a:cubicBezTo>
                      <a:cubicBezTo>
                        <a:pt x="23894" y="11947"/>
                        <a:pt x="11948" y="11947"/>
                        <a:pt x="11948" y="17921"/>
                      </a:cubicBezTo>
                      <a:cubicBezTo>
                        <a:pt x="5973" y="29869"/>
                        <a:pt x="11948" y="35842"/>
                        <a:pt x="0" y="29869"/>
                      </a:cubicBezTo>
                      <a:cubicBezTo>
                        <a:pt x="0" y="29869"/>
                        <a:pt x="0" y="29869"/>
                        <a:pt x="0" y="35842"/>
                      </a:cubicBezTo>
                      <a:cubicBezTo>
                        <a:pt x="0" y="35842"/>
                        <a:pt x="5973" y="35842"/>
                        <a:pt x="11948" y="35842"/>
                      </a:cubicBezTo>
                      <a:cubicBezTo>
                        <a:pt x="23894" y="41816"/>
                        <a:pt x="35842" y="41816"/>
                        <a:pt x="47651" y="41816"/>
                      </a:cubicBezTo>
                      <a:cubicBezTo>
                        <a:pt x="59876" y="41816"/>
                        <a:pt x="95579" y="47790"/>
                        <a:pt x="95579" y="2389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8" name="Freihandform: Form 307">
                  <a:extLst>
                    <a:ext uri="{FF2B5EF4-FFF2-40B4-BE49-F238E27FC236}">
                      <a16:creationId xmlns:a16="http://schemas.microsoft.com/office/drawing/2014/main" id="{8C80FF6C-03B1-40ED-A538-F179E811C6F1}"/>
                    </a:ext>
                  </a:extLst>
                </p:cNvPr>
                <p:cNvSpPr/>
                <p:nvPr/>
              </p:nvSpPr>
              <p:spPr>
                <a:xfrm>
                  <a:off x="6528797" y="2618178"/>
                  <a:ext cx="304937" cy="253929"/>
                </a:xfrm>
                <a:custGeom>
                  <a:avLst/>
                  <a:gdLst>
                    <a:gd name="connsiteX0" fmla="*/ 6390 w 304937"/>
                    <a:gd name="connsiteY0" fmla="*/ 68999 h 253929"/>
                    <a:gd name="connsiteX1" fmla="*/ 0 w 304937"/>
                    <a:gd name="connsiteY1" fmla="*/ 94422 h 253929"/>
                    <a:gd name="connsiteX2" fmla="*/ 12642 w 304937"/>
                    <a:gd name="connsiteY2" fmla="*/ 119845 h 253929"/>
                    <a:gd name="connsiteX3" fmla="*/ 25423 w 304937"/>
                    <a:gd name="connsiteY3" fmla="*/ 164301 h 253929"/>
                    <a:gd name="connsiteX4" fmla="*/ 57236 w 304937"/>
                    <a:gd name="connsiteY4" fmla="*/ 189723 h 253929"/>
                    <a:gd name="connsiteX5" fmla="*/ 63627 w 304937"/>
                    <a:gd name="connsiteY5" fmla="*/ 202365 h 253929"/>
                    <a:gd name="connsiteX6" fmla="*/ 82660 w 304937"/>
                    <a:gd name="connsiteY6" fmla="*/ 195975 h 253929"/>
                    <a:gd name="connsiteX7" fmla="*/ 133506 w 304937"/>
                    <a:gd name="connsiteY7" fmla="*/ 221398 h 253929"/>
                    <a:gd name="connsiteX8" fmla="*/ 158928 w 304937"/>
                    <a:gd name="connsiteY8" fmla="*/ 227789 h 253929"/>
                    <a:gd name="connsiteX9" fmla="*/ 209775 w 304937"/>
                    <a:gd name="connsiteY9" fmla="*/ 227789 h 253929"/>
                    <a:gd name="connsiteX10" fmla="*/ 247840 w 304937"/>
                    <a:gd name="connsiteY10" fmla="*/ 253212 h 253929"/>
                    <a:gd name="connsiteX11" fmla="*/ 260482 w 304937"/>
                    <a:gd name="connsiteY11" fmla="*/ 215147 h 253929"/>
                    <a:gd name="connsiteX12" fmla="*/ 279514 w 304937"/>
                    <a:gd name="connsiteY12" fmla="*/ 196114 h 253929"/>
                    <a:gd name="connsiteX13" fmla="*/ 304937 w 304937"/>
                    <a:gd name="connsiteY13" fmla="*/ 189723 h 253929"/>
                    <a:gd name="connsiteX14" fmla="*/ 285904 w 304937"/>
                    <a:gd name="connsiteY14" fmla="*/ 157910 h 253929"/>
                    <a:gd name="connsiteX15" fmla="*/ 279514 w 304937"/>
                    <a:gd name="connsiteY15" fmla="*/ 113454 h 253929"/>
                    <a:gd name="connsiteX16" fmla="*/ 292295 w 304937"/>
                    <a:gd name="connsiteY16" fmla="*/ 68999 h 253929"/>
                    <a:gd name="connsiteX17" fmla="*/ 279514 w 304937"/>
                    <a:gd name="connsiteY17" fmla="*/ 37185 h 253929"/>
                    <a:gd name="connsiteX18" fmla="*/ 266872 w 304937"/>
                    <a:gd name="connsiteY18" fmla="*/ 24404 h 253929"/>
                    <a:gd name="connsiteX19" fmla="*/ 158789 w 304937"/>
                    <a:gd name="connsiteY19" fmla="*/ 18014 h 253929"/>
                    <a:gd name="connsiteX20" fmla="*/ 126976 w 304937"/>
                    <a:gd name="connsiteY20" fmla="*/ 5233 h 253929"/>
                    <a:gd name="connsiteX21" fmla="*/ 82520 w 304937"/>
                    <a:gd name="connsiteY21" fmla="*/ 18014 h 253929"/>
                    <a:gd name="connsiteX22" fmla="*/ 38065 w 304937"/>
                    <a:gd name="connsiteY22" fmla="*/ 30656 h 253929"/>
                    <a:gd name="connsiteX23" fmla="*/ 12642 w 304937"/>
                    <a:gd name="connsiteY23" fmla="*/ 37046 h 253929"/>
                    <a:gd name="connsiteX24" fmla="*/ 6252 w 304937"/>
                    <a:gd name="connsiteY24" fmla="*/ 49689 h 253929"/>
                    <a:gd name="connsiteX25" fmla="*/ 6390 w 304937"/>
                    <a:gd name="connsiteY25" fmla="*/ 68999 h 253929"/>
                    <a:gd name="connsiteX26" fmla="*/ 6390 w 304937"/>
                    <a:gd name="connsiteY26" fmla="*/ 68999 h 25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937" h="253929">
                      <a:moveTo>
                        <a:pt x="6390" y="68999"/>
                      </a:moveTo>
                      <a:cubicBezTo>
                        <a:pt x="6390" y="75389"/>
                        <a:pt x="0" y="88031"/>
                        <a:pt x="0" y="94422"/>
                      </a:cubicBezTo>
                      <a:cubicBezTo>
                        <a:pt x="6390" y="100812"/>
                        <a:pt x="12642" y="113454"/>
                        <a:pt x="12642" y="119845"/>
                      </a:cubicBezTo>
                      <a:cubicBezTo>
                        <a:pt x="12642" y="132626"/>
                        <a:pt x="19032" y="151658"/>
                        <a:pt x="25423" y="164301"/>
                      </a:cubicBezTo>
                      <a:cubicBezTo>
                        <a:pt x="31813" y="183333"/>
                        <a:pt x="50846" y="176943"/>
                        <a:pt x="57236" y="189723"/>
                      </a:cubicBezTo>
                      <a:cubicBezTo>
                        <a:pt x="57236" y="189723"/>
                        <a:pt x="57236" y="202365"/>
                        <a:pt x="63627" y="202365"/>
                      </a:cubicBezTo>
                      <a:cubicBezTo>
                        <a:pt x="70017" y="208756"/>
                        <a:pt x="76269" y="195975"/>
                        <a:pt x="82660" y="195975"/>
                      </a:cubicBezTo>
                      <a:cubicBezTo>
                        <a:pt x="95302" y="189585"/>
                        <a:pt x="120724" y="215008"/>
                        <a:pt x="133506" y="221398"/>
                      </a:cubicBezTo>
                      <a:cubicBezTo>
                        <a:pt x="139896" y="227789"/>
                        <a:pt x="146147" y="240431"/>
                        <a:pt x="158928" y="227789"/>
                      </a:cubicBezTo>
                      <a:cubicBezTo>
                        <a:pt x="165319" y="221398"/>
                        <a:pt x="196993" y="227789"/>
                        <a:pt x="209775" y="227789"/>
                      </a:cubicBezTo>
                      <a:cubicBezTo>
                        <a:pt x="228807" y="227789"/>
                        <a:pt x="235197" y="240431"/>
                        <a:pt x="247840" y="253212"/>
                      </a:cubicBezTo>
                      <a:cubicBezTo>
                        <a:pt x="254230" y="259602"/>
                        <a:pt x="254230" y="221398"/>
                        <a:pt x="260482" y="215147"/>
                      </a:cubicBezTo>
                      <a:cubicBezTo>
                        <a:pt x="266872" y="208756"/>
                        <a:pt x="273262" y="202505"/>
                        <a:pt x="279514" y="196114"/>
                      </a:cubicBezTo>
                      <a:cubicBezTo>
                        <a:pt x="285904" y="196114"/>
                        <a:pt x="304937" y="196114"/>
                        <a:pt x="304937" y="189723"/>
                      </a:cubicBezTo>
                      <a:cubicBezTo>
                        <a:pt x="298547" y="170691"/>
                        <a:pt x="298547" y="164301"/>
                        <a:pt x="285904" y="157910"/>
                      </a:cubicBezTo>
                      <a:cubicBezTo>
                        <a:pt x="273262" y="145268"/>
                        <a:pt x="292295" y="126097"/>
                        <a:pt x="279514" y="113454"/>
                      </a:cubicBezTo>
                      <a:cubicBezTo>
                        <a:pt x="266872" y="107064"/>
                        <a:pt x="298547" y="81641"/>
                        <a:pt x="292295" y="68999"/>
                      </a:cubicBezTo>
                      <a:cubicBezTo>
                        <a:pt x="285904" y="56357"/>
                        <a:pt x="279514" y="49966"/>
                        <a:pt x="279514" y="37185"/>
                      </a:cubicBezTo>
                      <a:cubicBezTo>
                        <a:pt x="279514" y="30795"/>
                        <a:pt x="279514" y="24404"/>
                        <a:pt x="266872" y="24404"/>
                      </a:cubicBezTo>
                      <a:cubicBezTo>
                        <a:pt x="235058" y="11762"/>
                        <a:pt x="190603" y="30795"/>
                        <a:pt x="158789" y="18014"/>
                      </a:cubicBezTo>
                      <a:cubicBezTo>
                        <a:pt x="158789" y="37046"/>
                        <a:pt x="133367" y="5233"/>
                        <a:pt x="126976" y="5233"/>
                      </a:cubicBezTo>
                      <a:cubicBezTo>
                        <a:pt x="107943" y="-7409"/>
                        <a:pt x="95163" y="5233"/>
                        <a:pt x="82520" y="18014"/>
                      </a:cubicBezTo>
                      <a:cubicBezTo>
                        <a:pt x="63488" y="24404"/>
                        <a:pt x="50707" y="30656"/>
                        <a:pt x="38065" y="30656"/>
                      </a:cubicBezTo>
                      <a:cubicBezTo>
                        <a:pt x="31674" y="37046"/>
                        <a:pt x="19032" y="37046"/>
                        <a:pt x="12642" y="37046"/>
                      </a:cubicBezTo>
                      <a:cubicBezTo>
                        <a:pt x="6252" y="43437"/>
                        <a:pt x="19032" y="49689"/>
                        <a:pt x="6252" y="49689"/>
                      </a:cubicBezTo>
                      <a:cubicBezTo>
                        <a:pt x="6390" y="56357"/>
                        <a:pt x="6390" y="62608"/>
                        <a:pt x="6390" y="68999"/>
                      </a:cubicBezTo>
                      <a:cubicBezTo>
                        <a:pt x="6390" y="81780"/>
                        <a:pt x="6390" y="68999"/>
                        <a:pt x="6390" y="6899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09" name="Freihandform: Form 308">
                  <a:extLst>
                    <a:ext uri="{FF2B5EF4-FFF2-40B4-BE49-F238E27FC236}">
                      <a16:creationId xmlns:a16="http://schemas.microsoft.com/office/drawing/2014/main" id="{E966E67C-C61B-4956-8154-1B5A43486959}"/>
                    </a:ext>
                  </a:extLst>
                </p:cNvPr>
                <p:cNvSpPr/>
                <p:nvPr/>
              </p:nvSpPr>
              <p:spPr>
                <a:xfrm>
                  <a:off x="6709953" y="2887505"/>
                  <a:ext cx="285904" cy="190464"/>
                </a:xfrm>
                <a:custGeom>
                  <a:avLst/>
                  <a:gdLst>
                    <a:gd name="connsiteX0" fmla="*/ 236309 w 285904"/>
                    <a:gd name="connsiteY0" fmla="*/ 82521 h 190464"/>
                    <a:gd name="connsiteX1" fmla="*/ 217694 w 285904"/>
                    <a:gd name="connsiteY1" fmla="*/ 38065 h 190464"/>
                    <a:gd name="connsiteX2" fmla="*/ 199077 w 285904"/>
                    <a:gd name="connsiteY2" fmla="*/ 0 h 190464"/>
                    <a:gd name="connsiteX3" fmla="*/ 136840 w 285904"/>
                    <a:gd name="connsiteY3" fmla="*/ 25423 h 190464"/>
                    <a:gd name="connsiteX4" fmla="*/ 111973 w 285904"/>
                    <a:gd name="connsiteY4" fmla="*/ 19032 h 190464"/>
                    <a:gd name="connsiteX5" fmla="*/ 74602 w 285904"/>
                    <a:gd name="connsiteY5" fmla="*/ 19032 h 190464"/>
                    <a:gd name="connsiteX6" fmla="*/ 49734 w 285904"/>
                    <a:gd name="connsiteY6" fmla="*/ 38065 h 190464"/>
                    <a:gd name="connsiteX7" fmla="*/ 24867 w 285904"/>
                    <a:gd name="connsiteY7" fmla="*/ 88911 h 190464"/>
                    <a:gd name="connsiteX8" fmla="*/ 0 w 285904"/>
                    <a:gd name="connsiteY8" fmla="*/ 95302 h 190464"/>
                    <a:gd name="connsiteX9" fmla="*/ 18616 w 285904"/>
                    <a:gd name="connsiteY9" fmla="*/ 114334 h 190464"/>
                    <a:gd name="connsiteX10" fmla="*/ 30980 w 285904"/>
                    <a:gd name="connsiteY10" fmla="*/ 139757 h 190464"/>
                    <a:gd name="connsiteX11" fmla="*/ 49596 w 285904"/>
                    <a:gd name="connsiteY11" fmla="*/ 152399 h 190464"/>
                    <a:gd name="connsiteX12" fmla="*/ 68212 w 285904"/>
                    <a:gd name="connsiteY12" fmla="*/ 158790 h 190464"/>
                    <a:gd name="connsiteX13" fmla="*/ 68212 w 285904"/>
                    <a:gd name="connsiteY13" fmla="*/ 177822 h 190464"/>
                    <a:gd name="connsiteX14" fmla="*/ 130449 w 285904"/>
                    <a:gd name="connsiteY14" fmla="*/ 190464 h 190464"/>
                    <a:gd name="connsiteX15" fmla="*/ 173933 w 285904"/>
                    <a:gd name="connsiteY15" fmla="*/ 177822 h 190464"/>
                    <a:gd name="connsiteX16" fmla="*/ 248534 w 285904"/>
                    <a:gd name="connsiteY16" fmla="*/ 190464 h 190464"/>
                    <a:gd name="connsiteX17" fmla="*/ 254786 w 285904"/>
                    <a:gd name="connsiteY17" fmla="*/ 146009 h 190464"/>
                    <a:gd name="connsiteX18" fmla="*/ 285904 w 285904"/>
                    <a:gd name="connsiteY18" fmla="*/ 126976 h 190464"/>
                    <a:gd name="connsiteX19" fmla="*/ 242422 w 285904"/>
                    <a:gd name="connsiteY19" fmla="*/ 126976 h 190464"/>
                    <a:gd name="connsiteX20" fmla="*/ 236309 w 285904"/>
                    <a:gd name="connsiteY20" fmla="*/ 82521 h 190464"/>
                    <a:gd name="connsiteX21" fmla="*/ 236309 w 285904"/>
                    <a:gd name="connsiteY21" fmla="*/ 82521 h 19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904" h="190464">
                      <a:moveTo>
                        <a:pt x="236309" y="82521"/>
                      </a:moveTo>
                      <a:cubicBezTo>
                        <a:pt x="242561" y="63488"/>
                        <a:pt x="223806" y="50707"/>
                        <a:pt x="217694" y="38065"/>
                      </a:cubicBezTo>
                      <a:cubicBezTo>
                        <a:pt x="205329" y="31674"/>
                        <a:pt x="199077" y="12642"/>
                        <a:pt x="199077" y="0"/>
                      </a:cubicBezTo>
                      <a:cubicBezTo>
                        <a:pt x="180462" y="6390"/>
                        <a:pt x="161707" y="25423"/>
                        <a:pt x="136840" y="25423"/>
                      </a:cubicBezTo>
                      <a:cubicBezTo>
                        <a:pt x="130588" y="25423"/>
                        <a:pt x="118224" y="19032"/>
                        <a:pt x="111973" y="19032"/>
                      </a:cubicBezTo>
                      <a:cubicBezTo>
                        <a:pt x="99608" y="19032"/>
                        <a:pt x="87105" y="19032"/>
                        <a:pt x="74602" y="19032"/>
                      </a:cubicBezTo>
                      <a:cubicBezTo>
                        <a:pt x="74602" y="19032"/>
                        <a:pt x="55986" y="38065"/>
                        <a:pt x="49734" y="38065"/>
                      </a:cubicBezTo>
                      <a:cubicBezTo>
                        <a:pt x="43483" y="57098"/>
                        <a:pt x="31119" y="69878"/>
                        <a:pt x="24867" y="88911"/>
                      </a:cubicBezTo>
                      <a:cubicBezTo>
                        <a:pt x="18616" y="88911"/>
                        <a:pt x="6252" y="88911"/>
                        <a:pt x="0" y="95302"/>
                      </a:cubicBezTo>
                      <a:cubicBezTo>
                        <a:pt x="0" y="101692"/>
                        <a:pt x="18616" y="107944"/>
                        <a:pt x="18616" y="114334"/>
                      </a:cubicBezTo>
                      <a:cubicBezTo>
                        <a:pt x="18616" y="126976"/>
                        <a:pt x="24867" y="126976"/>
                        <a:pt x="30980" y="139757"/>
                      </a:cubicBezTo>
                      <a:cubicBezTo>
                        <a:pt x="30980" y="152399"/>
                        <a:pt x="37231" y="152399"/>
                        <a:pt x="49596" y="152399"/>
                      </a:cubicBezTo>
                      <a:cubicBezTo>
                        <a:pt x="55848" y="152399"/>
                        <a:pt x="68212" y="152399"/>
                        <a:pt x="68212" y="158790"/>
                      </a:cubicBezTo>
                      <a:cubicBezTo>
                        <a:pt x="68212" y="165180"/>
                        <a:pt x="68212" y="171432"/>
                        <a:pt x="68212" y="177822"/>
                      </a:cubicBezTo>
                      <a:cubicBezTo>
                        <a:pt x="80576" y="190464"/>
                        <a:pt x="111694" y="190464"/>
                        <a:pt x="130449" y="190464"/>
                      </a:cubicBezTo>
                      <a:cubicBezTo>
                        <a:pt x="149065" y="190464"/>
                        <a:pt x="161568" y="190464"/>
                        <a:pt x="173933" y="177822"/>
                      </a:cubicBezTo>
                      <a:cubicBezTo>
                        <a:pt x="198800" y="165041"/>
                        <a:pt x="223667" y="177822"/>
                        <a:pt x="248534" y="190464"/>
                      </a:cubicBezTo>
                      <a:cubicBezTo>
                        <a:pt x="248534" y="177822"/>
                        <a:pt x="248534" y="158651"/>
                        <a:pt x="254786" y="146009"/>
                      </a:cubicBezTo>
                      <a:cubicBezTo>
                        <a:pt x="261037" y="139618"/>
                        <a:pt x="279653" y="152399"/>
                        <a:pt x="285904" y="126976"/>
                      </a:cubicBezTo>
                      <a:cubicBezTo>
                        <a:pt x="267289" y="114334"/>
                        <a:pt x="261037" y="126976"/>
                        <a:pt x="242422" y="126976"/>
                      </a:cubicBezTo>
                      <a:cubicBezTo>
                        <a:pt x="230058" y="120586"/>
                        <a:pt x="230058" y="88911"/>
                        <a:pt x="236309" y="82521"/>
                      </a:cubicBezTo>
                      <a:cubicBezTo>
                        <a:pt x="242561" y="69740"/>
                        <a:pt x="230058" y="95163"/>
                        <a:pt x="236309" y="8252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0" name="Freihandform: Form 309">
                  <a:extLst>
                    <a:ext uri="{FF2B5EF4-FFF2-40B4-BE49-F238E27FC236}">
                      <a16:creationId xmlns:a16="http://schemas.microsoft.com/office/drawing/2014/main" id="{FD1F7057-42F4-46C1-AB88-3519404F634B}"/>
                    </a:ext>
                  </a:extLst>
                </p:cNvPr>
                <p:cNvSpPr/>
                <p:nvPr/>
              </p:nvSpPr>
              <p:spPr>
                <a:xfrm>
                  <a:off x="6910142" y="2892334"/>
                  <a:ext cx="94622" cy="118951"/>
                </a:xfrm>
                <a:custGeom>
                  <a:avLst/>
                  <a:gdLst>
                    <a:gd name="connsiteX0" fmla="*/ 86410 w 94622"/>
                    <a:gd name="connsiteY0" fmla="*/ 56992 h 118951"/>
                    <a:gd name="connsiteX1" fmla="*/ 55569 w 94622"/>
                    <a:gd name="connsiteY1" fmla="*/ 13648 h 118951"/>
                    <a:gd name="connsiteX2" fmla="*/ 0 w 94622"/>
                    <a:gd name="connsiteY2" fmla="*/ 1284 h 118951"/>
                    <a:gd name="connsiteX3" fmla="*/ 30841 w 94622"/>
                    <a:gd name="connsiteY3" fmla="*/ 56992 h 118951"/>
                    <a:gd name="connsiteX4" fmla="*/ 43205 w 94622"/>
                    <a:gd name="connsiteY4" fmla="*/ 118952 h 118951"/>
                    <a:gd name="connsiteX5" fmla="*/ 61682 w 94622"/>
                    <a:gd name="connsiteY5" fmla="*/ 81720 h 118951"/>
                    <a:gd name="connsiteX6" fmla="*/ 86410 w 94622"/>
                    <a:gd name="connsiteY6" fmla="*/ 81720 h 118951"/>
                    <a:gd name="connsiteX7" fmla="*/ 86410 w 94622"/>
                    <a:gd name="connsiteY7" fmla="*/ 56992 h 118951"/>
                    <a:gd name="connsiteX8" fmla="*/ 86410 w 94622"/>
                    <a:gd name="connsiteY8" fmla="*/ 56992 h 11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22" h="118951">
                      <a:moveTo>
                        <a:pt x="86410" y="56992"/>
                      </a:moveTo>
                      <a:cubicBezTo>
                        <a:pt x="74046" y="44628"/>
                        <a:pt x="67933" y="19760"/>
                        <a:pt x="55569" y="13648"/>
                      </a:cubicBezTo>
                      <a:cubicBezTo>
                        <a:pt x="49457" y="13648"/>
                        <a:pt x="0" y="-4968"/>
                        <a:pt x="0" y="1284"/>
                      </a:cubicBezTo>
                      <a:cubicBezTo>
                        <a:pt x="6113" y="26012"/>
                        <a:pt x="18477" y="38515"/>
                        <a:pt x="30841" y="56992"/>
                      </a:cubicBezTo>
                      <a:cubicBezTo>
                        <a:pt x="43205" y="75469"/>
                        <a:pt x="24728" y="100336"/>
                        <a:pt x="43205" y="118952"/>
                      </a:cubicBezTo>
                      <a:cubicBezTo>
                        <a:pt x="49318" y="112700"/>
                        <a:pt x="55569" y="94223"/>
                        <a:pt x="61682" y="81720"/>
                      </a:cubicBezTo>
                      <a:cubicBezTo>
                        <a:pt x="74046" y="75469"/>
                        <a:pt x="80158" y="81720"/>
                        <a:pt x="86410" y="81720"/>
                      </a:cubicBezTo>
                      <a:cubicBezTo>
                        <a:pt x="104887" y="81859"/>
                        <a:pt x="86410" y="56992"/>
                        <a:pt x="86410" y="56992"/>
                      </a:cubicBezTo>
                      <a:cubicBezTo>
                        <a:pt x="80298" y="50879"/>
                        <a:pt x="86410" y="56992"/>
                        <a:pt x="86410" y="5699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1" name="Freihandform: Form 310">
                  <a:extLst>
                    <a:ext uri="{FF2B5EF4-FFF2-40B4-BE49-F238E27FC236}">
                      <a16:creationId xmlns:a16="http://schemas.microsoft.com/office/drawing/2014/main" id="{CBB6FC08-E258-47D3-880A-AF3B7ADF2610}"/>
                    </a:ext>
                  </a:extLst>
                </p:cNvPr>
                <p:cNvSpPr/>
                <p:nvPr/>
              </p:nvSpPr>
              <p:spPr>
                <a:xfrm>
                  <a:off x="6957932" y="2959745"/>
                  <a:ext cx="57236" cy="51540"/>
                </a:xfrm>
                <a:custGeom>
                  <a:avLst/>
                  <a:gdLst>
                    <a:gd name="connsiteX0" fmla="*/ 40010 w 57236"/>
                    <a:gd name="connsiteY0" fmla="*/ 45845 h 51540"/>
                    <a:gd name="connsiteX1" fmla="*/ 40010 w 57236"/>
                    <a:gd name="connsiteY1" fmla="*/ 34453 h 51540"/>
                    <a:gd name="connsiteX2" fmla="*/ 57237 w 57236"/>
                    <a:gd name="connsiteY2" fmla="*/ 17227 h 51540"/>
                    <a:gd name="connsiteX3" fmla="*/ 45845 w 57236"/>
                    <a:gd name="connsiteY3" fmla="*/ 0 h 51540"/>
                    <a:gd name="connsiteX4" fmla="*/ 17226 w 57236"/>
                    <a:gd name="connsiteY4" fmla="*/ 17227 h 51540"/>
                    <a:gd name="connsiteX5" fmla="*/ 0 w 57236"/>
                    <a:gd name="connsiteY5" fmla="*/ 45845 h 51540"/>
                    <a:gd name="connsiteX6" fmla="*/ 17226 w 57236"/>
                    <a:gd name="connsiteY6" fmla="*/ 45845 h 51540"/>
                    <a:gd name="connsiteX7" fmla="*/ 40149 w 57236"/>
                    <a:gd name="connsiteY7" fmla="*/ 51541 h 51540"/>
                    <a:gd name="connsiteX8" fmla="*/ 40149 w 57236"/>
                    <a:gd name="connsiteY8" fmla="*/ 45845 h 51540"/>
                    <a:gd name="connsiteX9" fmla="*/ 40010 w 57236"/>
                    <a:gd name="connsiteY9" fmla="*/ 45845 h 5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236" h="51540">
                      <a:moveTo>
                        <a:pt x="40010" y="45845"/>
                      </a:moveTo>
                      <a:cubicBezTo>
                        <a:pt x="34314" y="40149"/>
                        <a:pt x="34314" y="40149"/>
                        <a:pt x="40010" y="34453"/>
                      </a:cubicBezTo>
                      <a:cubicBezTo>
                        <a:pt x="45706" y="28757"/>
                        <a:pt x="51402" y="23061"/>
                        <a:pt x="57237" y="17227"/>
                      </a:cubicBezTo>
                      <a:cubicBezTo>
                        <a:pt x="57237" y="17227"/>
                        <a:pt x="45845" y="5835"/>
                        <a:pt x="45845" y="0"/>
                      </a:cubicBezTo>
                      <a:cubicBezTo>
                        <a:pt x="45845" y="22922"/>
                        <a:pt x="17226" y="-5696"/>
                        <a:pt x="17226" y="17227"/>
                      </a:cubicBezTo>
                      <a:cubicBezTo>
                        <a:pt x="17226" y="28618"/>
                        <a:pt x="5835" y="40149"/>
                        <a:pt x="0" y="45845"/>
                      </a:cubicBezTo>
                      <a:cubicBezTo>
                        <a:pt x="0" y="51541"/>
                        <a:pt x="11392" y="45845"/>
                        <a:pt x="17226" y="45845"/>
                      </a:cubicBezTo>
                      <a:cubicBezTo>
                        <a:pt x="28618" y="45845"/>
                        <a:pt x="34453" y="45845"/>
                        <a:pt x="40149" y="51541"/>
                      </a:cubicBezTo>
                      <a:lnTo>
                        <a:pt x="40149" y="45845"/>
                      </a:lnTo>
                      <a:cubicBezTo>
                        <a:pt x="34175" y="40149"/>
                        <a:pt x="40010" y="45845"/>
                        <a:pt x="40010" y="4584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2" name="Freihandform: Form 311">
                  <a:extLst>
                    <a:ext uri="{FF2B5EF4-FFF2-40B4-BE49-F238E27FC236}">
                      <a16:creationId xmlns:a16="http://schemas.microsoft.com/office/drawing/2014/main" id="{D5693A46-A50D-46DA-B946-DE36785AE7D4}"/>
                    </a:ext>
                  </a:extLst>
                </p:cNvPr>
                <p:cNvSpPr/>
                <p:nvPr/>
              </p:nvSpPr>
              <p:spPr>
                <a:xfrm>
                  <a:off x="6772613" y="3049489"/>
                  <a:ext cx="184131" cy="119357"/>
                </a:xfrm>
                <a:custGeom>
                  <a:avLst/>
                  <a:gdLst>
                    <a:gd name="connsiteX0" fmla="*/ 100992 w 184131"/>
                    <a:gd name="connsiteY0" fmla="*/ 26118 h 119357"/>
                    <a:gd name="connsiteX1" fmla="*/ 7219 w 184131"/>
                    <a:gd name="connsiteY1" fmla="*/ 0 h 119357"/>
                    <a:gd name="connsiteX2" fmla="*/ 7219 w 184131"/>
                    <a:gd name="connsiteY2" fmla="*/ 32647 h 119357"/>
                    <a:gd name="connsiteX3" fmla="*/ 13470 w 184131"/>
                    <a:gd name="connsiteY3" fmla="*/ 52235 h 119357"/>
                    <a:gd name="connsiteX4" fmla="*/ 967 w 184131"/>
                    <a:gd name="connsiteY4" fmla="*/ 71823 h 119357"/>
                    <a:gd name="connsiteX5" fmla="*/ 13470 w 184131"/>
                    <a:gd name="connsiteY5" fmla="*/ 111000 h 119357"/>
                    <a:gd name="connsiteX6" fmla="*/ 50980 w 184131"/>
                    <a:gd name="connsiteY6" fmla="*/ 111000 h 119357"/>
                    <a:gd name="connsiteX7" fmla="*/ 94741 w 184131"/>
                    <a:gd name="connsiteY7" fmla="*/ 117529 h 119357"/>
                    <a:gd name="connsiteX8" fmla="*/ 125998 w 184131"/>
                    <a:gd name="connsiteY8" fmla="*/ 97941 h 119357"/>
                    <a:gd name="connsiteX9" fmla="*/ 169759 w 184131"/>
                    <a:gd name="connsiteY9" fmla="*/ 91412 h 119357"/>
                    <a:gd name="connsiteX10" fmla="*/ 169759 w 184131"/>
                    <a:gd name="connsiteY10" fmla="*/ 52235 h 119357"/>
                    <a:gd name="connsiteX11" fmla="*/ 176011 w 184131"/>
                    <a:gd name="connsiteY11" fmla="*/ 19588 h 119357"/>
                    <a:gd name="connsiteX12" fmla="*/ 125998 w 184131"/>
                    <a:gd name="connsiteY12" fmla="*/ 13059 h 119357"/>
                    <a:gd name="connsiteX13" fmla="*/ 100992 w 184131"/>
                    <a:gd name="connsiteY13" fmla="*/ 26118 h 11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131" h="119357">
                      <a:moveTo>
                        <a:pt x="100992" y="26118"/>
                      </a:moveTo>
                      <a:cubicBezTo>
                        <a:pt x="75986" y="26118"/>
                        <a:pt x="13470" y="39176"/>
                        <a:pt x="7219" y="0"/>
                      </a:cubicBezTo>
                      <a:cubicBezTo>
                        <a:pt x="967" y="13059"/>
                        <a:pt x="-5284" y="26118"/>
                        <a:pt x="7219" y="32647"/>
                      </a:cubicBezTo>
                      <a:cubicBezTo>
                        <a:pt x="13470" y="39176"/>
                        <a:pt x="19722" y="45706"/>
                        <a:pt x="13470" y="52235"/>
                      </a:cubicBezTo>
                      <a:cubicBezTo>
                        <a:pt x="7219" y="58765"/>
                        <a:pt x="967" y="58765"/>
                        <a:pt x="967" y="71823"/>
                      </a:cubicBezTo>
                      <a:cubicBezTo>
                        <a:pt x="7219" y="84882"/>
                        <a:pt x="13470" y="91412"/>
                        <a:pt x="13470" y="111000"/>
                      </a:cubicBezTo>
                      <a:cubicBezTo>
                        <a:pt x="25973" y="111000"/>
                        <a:pt x="38476" y="111000"/>
                        <a:pt x="50980" y="111000"/>
                      </a:cubicBezTo>
                      <a:cubicBezTo>
                        <a:pt x="63483" y="111000"/>
                        <a:pt x="82237" y="124059"/>
                        <a:pt x="94741" y="117529"/>
                      </a:cubicBezTo>
                      <a:cubicBezTo>
                        <a:pt x="107244" y="117529"/>
                        <a:pt x="119747" y="104470"/>
                        <a:pt x="125998" y="97941"/>
                      </a:cubicBezTo>
                      <a:cubicBezTo>
                        <a:pt x="138501" y="84882"/>
                        <a:pt x="151005" y="91412"/>
                        <a:pt x="169759" y="91412"/>
                      </a:cubicBezTo>
                      <a:cubicBezTo>
                        <a:pt x="163508" y="78353"/>
                        <a:pt x="163508" y="71823"/>
                        <a:pt x="169759" y="52235"/>
                      </a:cubicBezTo>
                      <a:cubicBezTo>
                        <a:pt x="176011" y="39176"/>
                        <a:pt x="194766" y="26118"/>
                        <a:pt x="176011" y="19588"/>
                      </a:cubicBezTo>
                      <a:cubicBezTo>
                        <a:pt x="163508" y="13059"/>
                        <a:pt x="144753" y="6529"/>
                        <a:pt x="125998" y="13059"/>
                      </a:cubicBezTo>
                      <a:cubicBezTo>
                        <a:pt x="113495" y="13059"/>
                        <a:pt x="107244" y="26118"/>
                        <a:pt x="100992" y="2611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3" name="Freihandform: Form 312">
                  <a:extLst>
                    <a:ext uri="{FF2B5EF4-FFF2-40B4-BE49-F238E27FC236}">
                      <a16:creationId xmlns:a16="http://schemas.microsoft.com/office/drawing/2014/main" id="{CCA0C0D1-BA2D-4D76-977B-BA69A37B3B03}"/>
                    </a:ext>
                  </a:extLst>
                </p:cNvPr>
                <p:cNvSpPr/>
                <p:nvPr/>
              </p:nvSpPr>
              <p:spPr>
                <a:xfrm>
                  <a:off x="6582307" y="3020871"/>
                  <a:ext cx="104594" cy="95162"/>
                </a:xfrm>
                <a:custGeom>
                  <a:avLst/>
                  <a:gdLst>
                    <a:gd name="connsiteX0" fmla="*/ 57768 w 104594"/>
                    <a:gd name="connsiteY0" fmla="*/ 0 h 95162"/>
                    <a:gd name="connsiteX1" fmla="*/ 531 w 104594"/>
                    <a:gd name="connsiteY1" fmla="*/ 12642 h 95162"/>
                    <a:gd name="connsiteX2" fmla="*/ 19564 w 104594"/>
                    <a:gd name="connsiteY2" fmla="*/ 50707 h 95162"/>
                    <a:gd name="connsiteX3" fmla="*/ 76800 w 104594"/>
                    <a:gd name="connsiteY3" fmla="*/ 95163 h 95162"/>
                    <a:gd name="connsiteX4" fmla="*/ 89443 w 104594"/>
                    <a:gd name="connsiteY4" fmla="*/ 63349 h 95162"/>
                    <a:gd name="connsiteX5" fmla="*/ 102085 w 104594"/>
                    <a:gd name="connsiteY5" fmla="*/ 37926 h 95162"/>
                    <a:gd name="connsiteX6" fmla="*/ 95694 w 104594"/>
                    <a:gd name="connsiteY6" fmla="*/ 12503 h 95162"/>
                    <a:gd name="connsiteX7" fmla="*/ 57768 w 104594"/>
                    <a:gd name="connsiteY7" fmla="*/ 0 h 9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594" h="95162">
                      <a:moveTo>
                        <a:pt x="57768" y="0"/>
                      </a:moveTo>
                      <a:cubicBezTo>
                        <a:pt x="44987" y="0"/>
                        <a:pt x="-5720" y="0"/>
                        <a:pt x="531" y="12642"/>
                      </a:cubicBezTo>
                      <a:cubicBezTo>
                        <a:pt x="531" y="19032"/>
                        <a:pt x="13174" y="44456"/>
                        <a:pt x="19564" y="50707"/>
                      </a:cubicBezTo>
                      <a:cubicBezTo>
                        <a:pt x="32206" y="69740"/>
                        <a:pt x="57629" y="82521"/>
                        <a:pt x="76800" y="95163"/>
                      </a:cubicBezTo>
                      <a:cubicBezTo>
                        <a:pt x="76800" y="82521"/>
                        <a:pt x="76800" y="69740"/>
                        <a:pt x="89443" y="63349"/>
                      </a:cubicBezTo>
                      <a:cubicBezTo>
                        <a:pt x="102085" y="56959"/>
                        <a:pt x="108475" y="50568"/>
                        <a:pt x="102085" y="37926"/>
                      </a:cubicBezTo>
                      <a:cubicBezTo>
                        <a:pt x="102085" y="25284"/>
                        <a:pt x="102085" y="18894"/>
                        <a:pt x="95694" y="12503"/>
                      </a:cubicBezTo>
                      <a:cubicBezTo>
                        <a:pt x="83191" y="6390"/>
                        <a:pt x="70549" y="0"/>
                        <a:pt x="57768"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4" name="Freihandform: Form 313">
                  <a:extLst>
                    <a:ext uri="{FF2B5EF4-FFF2-40B4-BE49-F238E27FC236}">
                      <a16:creationId xmlns:a16="http://schemas.microsoft.com/office/drawing/2014/main" id="{12810F6A-3EE6-4E29-BA1C-29860C7B95E4}"/>
                    </a:ext>
                  </a:extLst>
                </p:cNvPr>
                <p:cNvSpPr/>
                <p:nvPr/>
              </p:nvSpPr>
              <p:spPr>
                <a:xfrm>
                  <a:off x="6652717" y="2977809"/>
                  <a:ext cx="139266" cy="166843"/>
                </a:xfrm>
                <a:custGeom>
                  <a:avLst/>
                  <a:gdLst>
                    <a:gd name="connsiteX0" fmla="*/ 136562 w 139266"/>
                    <a:gd name="connsiteY0" fmla="*/ 116136 h 166843"/>
                    <a:gd name="connsiteX1" fmla="*/ 130033 w 139266"/>
                    <a:gd name="connsiteY1" fmla="*/ 103355 h 166843"/>
                    <a:gd name="connsiteX2" fmla="*/ 123504 w 139266"/>
                    <a:gd name="connsiteY2" fmla="*/ 77932 h 166843"/>
                    <a:gd name="connsiteX3" fmla="*/ 97525 w 139266"/>
                    <a:gd name="connsiteY3" fmla="*/ 58900 h 166843"/>
                    <a:gd name="connsiteX4" fmla="*/ 90995 w 139266"/>
                    <a:gd name="connsiteY4" fmla="*/ 46119 h 166843"/>
                    <a:gd name="connsiteX5" fmla="*/ 77936 w 139266"/>
                    <a:gd name="connsiteY5" fmla="*/ 27086 h 166843"/>
                    <a:gd name="connsiteX6" fmla="*/ 32370 w 139266"/>
                    <a:gd name="connsiteY6" fmla="*/ 1663 h 166843"/>
                    <a:gd name="connsiteX7" fmla="*/ 12920 w 139266"/>
                    <a:gd name="connsiteY7" fmla="*/ 20696 h 166843"/>
                    <a:gd name="connsiteX8" fmla="*/ 25979 w 139266"/>
                    <a:gd name="connsiteY8" fmla="*/ 84184 h 166843"/>
                    <a:gd name="connsiteX9" fmla="*/ 6530 w 139266"/>
                    <a:gd name="connsiteY9" fmla="*/ 115997 h 166843"/>
                    <a:gd name="connsiteX10" fmla="*/ 0 w 139266"/>
                    <a:gd name="connsiteY10" fmla="*/ 141420 h 166843"/>
                    <a:gd name="connsiteX11" fmla="*/ 25979 w 139266"/>
                    <a:gd name="connsiteY11" fmla="*/ 166843 h 166843"/>
                    <a:gd name="connsiteX12" fmla="*/ 39038 w 139266"/>
                    <a:gd name="connsiteY12" fmla="*/ 141420 h 166843"/>
                    <a:gd name="connsiteX13" fmla="*/ 65017 w 139266"/>
                    <a:gd name="connsiteY13" fmla="*/ 160453 h 166843"/>
                    <a:gd name="connsiteX14" fmla="*/ 130033 w 139266"/>
                    <a:gd name="connsiteY14" fmla="*/ 147811 h 166843"/>
                    <a:gd name="connsiteX15" fmla="*/ 136562 w 139266"/>
                    <a:gd name="connsiteY15" fmla="*/ 116136 h 166843"/>
                    <a:gd name="connsiteX16" fmla="*/ 136562 w 139266"/>
                    <a:gd name="connsiteY16" fmla="*/ 116136 h 16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266" h="166843">
                      <a:moveTo>
                        <a:pt x="136562" y="116136"/>
                      </a:moveTo>
                      <a:cubicBezTo>
                        <a:pt x="143091" y="109746"/>
                        <a:pt x="136562" y="109746"/>
                        <a:pt x="130033" y="103355"/>
                      </a:cubicBezTo>
                      <a:cubicBezTo>
                        <a:pt x="123504" y="96965"/>
                        <a:pt x="123504" y="90713"/>
                        <a:pt x="123504" y="77932"/>
                      </a:cubicBezTo>
                      <a:cubicBezTo>
                        <a:pt x="136562" y="58900"/>
                        <a:pt x="116974" y="58900"/>
                        <a:pt x="97525" y="58900"/>
                      </a:cubicBezTo>
                      <a:cubicBezTo>
                        <a:pt x="90995" y="58900"/>
                        <a:pt x="90995" y="52509"/>
                        <a:pt x="90995" y="46119"/>
                      </a:cubicBezTo>
                      <a:cubicBezTo>
                        <a:pt x="84466" y="33477"/>
                        <a:pt x="77936" y="39728"/>
                        <a:pt x="77936" y="27086"/>
                      </a:cubicBezTo>
                      <a:cubicBezTo>
                        <a:pt x="71407" y="8054"/>
                        <a:pt x="58487" y="-4727"/>
                        <a:pt x="32370" y="1663"/>
                      </a:cubicBezTo>
                      <a:cubicBezTo>
                        <a:pt x="12920" y="8054"/>
                        <a:pt x="12920" y="8054"/>
                        <a:pt x="12920" y="20696"/>
                      </a:cubicBezTo>
                      <a:cubicBezTo>
                        <a:pt x="19449" y="39728"/>
                        <a:pt x="25979" y="58761"/>
                        <a:pt x="25979" y="84184"/>
                      </a:cubicBezTo>
                      <a:cubicBezTo>
                        <a:pt x="32509" y="103216"/>
                        <a:pt x="12920" y="96965"/>
                        <a:pt x="6530" y="115997"/>
                      </a:cubicBezTo>
                      <a:cubicBezTo>
                        <a:pt x="0" y="122388"/>
                        <a:pt x="0" y="135030"/>
                        <a:pt x="0" y="141420"/>
                      </a:cubicBezTo>
                      <a:cubicBezTo>
                        <a:pt x="0" y="154201"/>
                        <a:pt x="19449" y="160453"/>
                        <a:pt x="25979" y="166843"/>
                      </a:cubicBezTo>
                      <a:cubicBezTo>
                        <a:pt x="25979" y="160453"/>
                        <a:pt x="25979" y="141420"/>
                        <a:pt x="39038" y="141420"/>
                      </a:cubicBezTo>
                      <a:cubicBezTo>
                        <a:pt x="52096" y="141420"/>
                        <a:pt x="58487" y="147811"/>
                        <a:pt x="65017" y="160453"/>
                      </a:cubicBezTo>
                      <a:cubicBezTo>
                        <a:pt x="71546" y="160453"/>
                        <a:pt x="116974" y="147811"/>
                        <a:pt x="130033" y="147811"/>
                      </a:cubicBezTo>
                      <a:cubicBezTo>
                        <a:pt x="117113" y="135169"/>
                        <a:pt x="130033" y="128778"/>
                        <a:pt x="136562" y="116136"/>
                      </a:cubicBezTo>
                      <a:cubicBezTo>
                        <a:pt x="143091" y="109746"/>
                        <a:pt x="130033" y="122527"/>
                        <a:pt x="136562" y="11613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5" name="Freihandform: Form 314">
                  <a:extLst>
                    <a:ext uri="{FF2B5EF4-FFF2-40B4-BE49-F238E27FC236}">
                      <a16:creationId xmlns:a16="http://schemas.microsoft.com/office/drawing/2014/main" id="{DBAB1485-4E01-4CFF-A514-D147B83F5B3C}"/>
                    </a:ext>
                  </a:extLst>
                </p:cNvPr>
                <p:cNvSpPr/>
                <p:nvPr/>
              </p:nvSpPr>
              <p:spPr>
                <a:xfrm>
                  <a:off x="6596592" y="2882939"/>
                  <a:ext cx="199160" cy="109175"/>
                </a:xfrm>
                <a:custGeom>
                  <a:avLst/>
                  <a:gdLst>
                    <a:gd name="connsiteX0" fmla="*/ 177406 w 199160"/>
                    <a:gd name="connsiteY0" fmla="*/ 13040 h 109175"/>
                    <a:gd name="connsiteX1" fmla="*/ 139757 w 199160"/>
                    <a:gd name="connsiteY1" fmla="*/ 954 h 109175"/>
                    <a:gd name="connsiteX2" fmla="*/ 108499 w 199160"/>
                    <a:gd name="connsiteY2" fmla="*/ 19014 h 109175"/>
                    <a:gd name="connsiteX3" fmla="*/ 83493 w 199160"/>
                    <a:gd name="connsiteY3" fmla="*/ 19014 h 109175"/>
                    <a:gd name="connsiteX4" fmla="*/ 70990 w 199160"/>
                    <a:gd name="connsiteY4" fmla="*/ 31100 h 109175"/>
                    <a:gd name="connsiteX5" fmla="*/ 20839 w 199160"/>
                    <a:gd name="connsiteY5" fmla="*/ 19014 h 109175"/>
                    <a:gd name="connsiteX6" fmla="*/ 20839 w 199160"/>
                    <a:gd name="connsiteY6" fmla="*/ 37074 h 109175"/>
                    <a:gd name="connsiteX7" fmla="*/ 8335 w 199160"/>
                    <a:gd name="connsiteY7" fmla="*/ 43048 h 109175"/>
                    <a:gd name="connsiteX8" fmla="*/ 8335 w 199160"/>
                    <a:gd name="connsiteY8" fmla="*/ 85142 h 109175"/>
                    <a:gd name="connsiteX9" fmla="*/ 58487 w 199160"/>
                    <a:gd name="connsiteY9" fmla="*/ 109175 h 109175"/>
                    <a:gd name="connsiteX10" fmla="*/ 121142 w 199160"/>
                    <a:gd name="connsiteY10" fmla="*/ 97089 h 109175"/>
                    <a:gd name="connsiteX11" fmla="*/ 146148 w 199160"/>
                    <a:gd name="connsiteY11" fmla="*/ 85003 h 109175"/>
                    <a:gd name="connsiteX12" fmla="*/ 171154 w 199160"/>
                    <a:gd name="connsiteY12" fmla="*/ 48883 h 109175"/>
                    <a:gd name="connsiteX13" fmla="*/ 196160 w 199160"/>
                    <a:gd name="connsiteY13" fmla="*/ 30823 h 109175"/>
                    <a:gd name="connsiteX14" fmla="*/ 177406 w 199160"/>
                    <a:gd name="connsiteY14" fmla="*/ 13040 h 109175"/>
                    <a:gd name="connsiteX15" fmla="*/ 177406 w 199160"/>
                    <a:gd name="connsiteY15" fmla="*/ 13040 h 10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160" h="109175">
                      <a:moveTo>
                        <a:pt x="177406" y="13040"/>
                      </a:moveTo>
                      <a:cubicBezTo>
                        <a:pt x="177406" y="7067"/>
                        <a:pt x="146148" y="7067"/>
                        <a:pt x="139757" y="954"/>
                      </a:cubicBezTo>
                      <a:cubicBezTo>
                        <a:pt x="114751" y="-5020"/>
                        <a:pt x="127254" y="19014"/>
                        <a:pt x="108499" y="19014"/>
                      </a:cubicBezTo>
                      <a:cubicBezTo>
                        <a:pt x="102248" y="13040"/>
                        <a:pt x="95996" y="19014"/>
                        <a:pt x="83493" y="19014"/>
                      </a:cubicBezTo>
                      <a:cubicBezTo>
                        <a:pt x="77242" y="19014"/>
                        <a:pt x="77242" y="31100"/>
                        <a:pt x="70990" y="31100"/>
                      </a:cubicBezTo>
                      <a:cubicBezTo>
                        <a:pt x="45984" y="43187"/>
                        <a:pt x="33342" y="31100"/>
                        <a:pt x="20839" y="19014"/>
                      </a:cubicBezTo>
                      <a:cubicBezTo>
                        <a:pt x="20839" y="24988"/>
                        <a:pt x="20839" y="31100"/>
                        <a:pt x="20839" y="37074"/>
                      </a:cubicBezTo>
                      <a:cubicBezTo>
                        <a:pt x="14587" y="43048"/>
                        <a:pt x="8335" y="31100"/>
                        <a:pt x="8335" y="43048"/>
                      </a:cubicBezTo>
                      <a:cubicBezTo>
                        <a:pt x="8335" y="61108"/>
                        <a:pt x="-10419" y="73194"/>
                        <a:pt x="8335" y="85142"/>
                      </a:cubicBezTo>
                      <a:cubicBezTo>
                        <a:pt x="20839" y="97228"/>
                        <a:pt x="39593" y="109175"/>
                        <a:pt x="58487" y="109175"/>
                      </a:cubicBezTo>
                      <a:cubicBezTo>
                        <a:pt x="83493" y="109175"/>
                        <a:pt x="96135" y="91115"/>
                        <a:pt x="121142" y="97089"/>
                      </a:cubicBezTo>
                      <a:cubicBezTo>
                        <a:pt x="121142" y="91115"/>
                        <a:pt x="139896" y="91115"/>
                        <a:pt x="146148" y="85003"/>
                      </a:cubicBezTo>
                      <a:cubicBezTo>
                        <a:pt x="152399" y="72916"/>
                        <a:pt x="158651" y="60969"/>
                        <a:pt x="171154" y="48883"/>
                      </a:cubicBezTo>
                      <a:cubicBezTo>
                        <a:pt x="177406" y="36796"/>
                        <a:pt x="183657" y="36796"/>
                        <a:pt x="196160" y="30823"/>
                      </a:cubicBezTo>
                      <a:cubicBezTo>
                        <a:pt x="208803" y="19014"/>
                        <a:pt x="177406" y="19014"/>
                        <a:pt x="177406" y="13040"/>
                      </a:cubicBezTo>
                      <a:cubicBezTo>
                        <a:pt x="177406" y="13040"/>
                        <a:pt x="177406" y="19014"/>
                        <a:pt x="177406" y="1304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6" name="Freihandform: Form 315">
                  <a:extLst>
                    <a:ext uri="{FF2B5EF4-FFF2-40B4-BE49-F238E27FC236}">
                      <a16:creationId xmlns:a16="http://schemas.microsoft.com/office/drawing/2014/main" id="{E8DE8783-7EA7-45D0-9A14-B238A99D3F2C}"/>
                    </a:ext>
                  </a:extLst>
                </p:cNvPr>
                <p:cNvSpPr/>
                <p:nvPr/>
              </p:nvSpPr>
              <p:spPr>
                <a:xfrm>
                  <a:off x="6712905" y="3144791"/>
                  <a:ext cx="187789" cy="194411"/>
                </a:xfrm>
                <a:custGeom>
                  <a:avLst/>
                  <a:gdLst>
                    <a:gd name="connsiteX0" fmla="*/ 187790 w 187789"/>
                    <a:gd name="connsiteY0" fmla="*/ 0 h 194411"/>
                    <a:gd name="connsiteX1" fmla="*/ 138611 w 187789"/>
                    <a:gd name="connsiteY1" fmla="*/ 18755 h 194411"/>
                    <a:gd name="connsiteX2" fmla="*/ 77068 w 187789"/>
                    <a:gd name="connsiteY2" fmla="*/ 12503 h 194411"/>
                    <a:gd name="connsiteX3" fmla="*/ 52478 w 187789"/>
                    <a:gd name="connsiteY3" fmla="*/ 25006 h 194411"/>
                    <a:gd name="connsiteX4" fmla="*/ 34002 w 187789"/>
                    <a:gd name="connsiteY4" fmla="*/ 31258 h 194411"/>
                    <a:gd name="connsiteX5" fmla="*/ 21638 w 187789"/>
                    <a:gd name="connsiteY5" fmla="*/ 50012 h 194411"/>
                    <a:gd name="connsiteX6" fmla="*/ 9273 w 187789"/>
                    <a:gd name="connsiteY6" fmla="*/ 68767 h 194411"/>
                    <a:gd name="connsiteX7" fmla="*/ 9273 w 187789"/>
                    <a:gd name="connsiteY7" fmla="*/ 93773 h 194411"/>
                    <a:gd name="connsiteX8" fmla="*/ 21638 w 187789"/>
                    <a:gd name="connsiteY8" fmla="*/ 106277 h 194411"/>
                    <a:gd name="connsiteX9" fmla="*/ 27750 w 187789"/>
                    <a:gd name="connsiteY9" fmla="*/ 137534 h 194411"/>
                    <a:gd name="connsiteX10" fmla="*/ 33863 w 187789"/>
                    <a:gd name="connsiteY10" fmla="*/ 156289 h 194411"/>
                    <a:gd name="connsiteX11" fmla="*/ 39975 w 187789"/>
                    <a:gd name="connsiteY11" fmla="*/ 175044 h 194411"/>
                    <a:gd name="connsiteX12" fmla="*/ 46088 w 187789"/>
                    <a:gd name="connsiteY12" fmla="*/ 181295 h 194411"/>
                    <a:gd name="connsiteX13" fmla="*/ 58453 w 187789"/>
                    <a:gd name="connsiteY13" fmla="*/ 193798 h 194411"/>
                    <a:gd name="connsiteX14" fmla="*/ 70817 w 187789"/>
                    <a:gd name="connsiteY14" fmla="*/ 187547 h 194411"/>
                    <a:gd name="connsiteX15" fmla="*/ 76929 w 187789"/>
                    <a:gd name="connsiteY15" fmla="*/ 193798 h 194411"/>
                    <a:gd name="connsiteX16" fmla="*/ 76929 w 187789"/>
                    <a:gd name="connsiteY16" fmla="*/ 162541 h 194411"/>
                    <a:gd name="connsiteX17" fmla="*/ 101519 w 187789"/>
                    <a:gd name="connsiteY17" fmla="*/ 162541 h 194411"/>
                    <a:gd name="connsiteX18" fmla="*/ 83042 w 187789"/>
                    <a:gd name="connsiteY18" fmla="*/ 143786 h 194411"/>
                    <a:gd name="connsiteX19" fmla="*/ 101519 w 187789"/>
                    <a:gd name="connsiteY19" fmla="*/ 150037 h 194411"/>
                    <a:gd name="connsiteX20" fmla="*/ 107631 w 187789"/>
                    <a:gd name="connsiteY20" fmla="*/ 137534 h 194411"/>
                    <a:gd name="connsiteX21" fmla="*/ 126108 w 187789"/>
                    <a:gd name="connsiteY21" fmla="*/ 143786 h 194411"/>
                    <a:gd name="connsiteX22" fmla="*/ 113744 w 187789"/>
                    <a:gd name="connsiteY22" fmla="*/ 118780 h 194411"/>
                    <a:gd name="connsiteX23" fmla="*/ 89154 w 187789"/>
                    <a:gd name="connsiteY23" fmla="*/ 106277 h 194411"/>
                    <a:gd name="connsiteX24" fmla="*/ 89154 w 187789"/>
                    <a:gd name="connsiteY24" fmla="*/ 100025 h 194411"/>
                    <a:gd name="connsiteX25" fmla="*/ 64565 w 187789"/>
                    <a:gd name="connsiteY25" fmla="*/ 62516 h 194411"/>
                    <a:gd name="connsiteX26" fmla="*/ 95267 w 187789"/>
                    <a:gd name="connsiteY26" fmla="*/ 68767 h 194411"/>
                    <a:gd name="connsiteX27" fmla="*/ 95267 w 187789"/>
                    <a:gd name="connsiteY27" fmla="*/ 62516 h 194411"/>
                    <a:gd name="connsiteX28" fmla="*/ 107631 w 187789"/>
                    <a:gd name="connsiteY28" fmla="*/ 68767 h 194411"/>
                    <a:gd name="connsiteX29" fmla="*/ 101519 w 187789"/>
                    <a:gd name="connsiteY29" fmla="*/ 56264 h 194411"/>
                    <a:gd name="connsiteX30" fmla="*/ 126108 w 187789"/>
                    <a:gd name="connsiteY30" fmla="*/ 62516 h 194411"/>
                    <a:gd name="connsiteX31" fmla="*/ 101519 w 187789"/>
                    <a:gd name="connsiteY31" fmla="*/ 43761 h 194411"/>
                    <a:gd name="connsiteX32" fmla="*/ 132220 w 187789"/>
                    <a:gd name="connsiteY32" fmla="*/ 31258 h 194411"/>
                    <a:gd name="connsiteX33" fmla="*/ 126108 w 187789"/>
                    <a:gd name="connsiteY33" fmla="*/ 43761 h 194411"/>
                    <a:gd name="connsiteX34" fmla="*/ 150698 w 187789"/>
                    <a:gd name="connsiteY34" fmla="*/ 31258 h 194411"/>
                    <a:gd name="connsiteX35" fmla="*/ 175287 w 187789"/>
                    <a:gd name="connsiteY35" fmla="*/ 43761 h 194411"/>
                    <a:gd name="connsiteX36" fmla="*/ 187790 w 187789"/>
                    <a:gd name="connsiteY36" fmla="*/ 0 h 19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7789" h="194411">
                      <a:moveTo>
                        <a:pt x="187790" y="0"/>
                      </a:moveTo>
                      <a:cubicBezTo>
                        <a:pt x="169313" y="12503"/>
                        <a:pt x="163201" y="25006"/>
                        <a:pt x="138611" y="18755"/>
                      </a:cubicBezTo>
                      <a:cubicBezTo>
                        <a:pt x="126247" y="12503"/>
                        <a:pt x="89432" y="6252"/>
                        <a:pt x="77068" y="12503"/>
                      </a:cubicBezTo>
                      <a:cubicBezTo>
                        <a:pt x="77068" y="31258"/>
                        <a:pt x="58591" y="18755"/>
                        <a:pt x="52478" y="25006"/>
                      </a:cubicBezTo>
                      <a:cubicBezTo>
                        <a:pt x="46366" y="31258"/>
                        <a:pt x="40114" y="31258"/>
                        <a:pt x="34002" y="31258"/>
                      </a:cubicBezTo>
                      <a:cubicBezTo>
                        <a:pt x="21638" y="37509"/>
                        <a:pt x="21638" y="43761"/>
                        <a:pt x="21638" y="50012"/>
                      </a:cubicBezTo>
                      <a:cubicBezTo>
                        <a:pt x="15525" y="56264"/>
                        <a:pt x="15525" y="62516"/>
                        <a:pt x="9273" y="68767"/>
                      </a:cubicBezTo>
                      <a:cubicBezTo>
                        <a:pt x="-3091" y="81270"/>
                        <a:pt x="-3091" y="81270"/>
                        <a:pt x="9273" y="93773"/>
                      </a:cubicBezTo>
                      <a:cubicBezTo>
                        <a:pt x="15386" y="100025"/>
                        <a:pt x="21638" y="100025"/>
                        <a:pt x="21638" y="106277"/>
                      </a:cubicBezTo>
                      <a:cubicBezTo>
                        <a:pt x="21638" y="118780"/>
                        <a:pt x="21638" y="125031"/>
                        <a:pt x="27750" y="137534"/>
                      </a:cubicBezTo>
                      <a:cubicBezTo>
                        <a:pt x="27750" y="143786"/>
                        <a:pt x="27750" y="150037"/>
                        <a:pt x="33863" y="156289"/>
                      </a:cubicBezTo>
                      <a:cubicBezTo>
                        <a:pt x="46227" y="162541"/>
                        <a:pt x="33863" y="168792"/>
                        <a:pt x="39975" y="175044"/>
                      </a:cubicBezTo>
                      <a:cubicBezTo>
                        <a:pt x="39975" y="187547"/>
                        <a:pt x="46088" y="181295"/>
                        <a:pt x="46088" y="181295"/>
                      </a:cubicBezTo>
                      <a:cubicBezTo>
                        <a:pt x="58453" y="181295"/>
                        <a:pt x="58453" y="187547"/>
                        <a:pt x="58453" y="193798"/>
                      </a:cubicBezTo>
                      <a:cubicBezTo>
                        <a:pt x="64565" y="193798"/>
                        <a:pt x="70817" y="187547"/>
                        <a:pt x="70817" y="187547"/>
                      </a:cubicBezTo>
                      <a:cubicBezTo>
                        <a:pt x="76929" y="181295"/>
                        <a:pt x="76929" y="193798"/>
                        <a:pt x="76929" y="193798"/>
                      </a:cubicBezTo>
                      <a:cubicBezTo>
                        <a:pt x="83042" y="200050"/>
                        <a:pt x="76929" y="156289"/>
                        <a:pt x="76929" y="162541"/>
                      </a:cubicBezTo>
                      <a:cubicBezTo>
                        <a:pt x="76929" y="156289"/>
                        <a:pt x="95406" y="162541"/>
                        <a:pt x="101519" y="162541"/>
                      </a:cubicBezTo>
                      <a:cubicBezTo>
                        <a:pt x="101519" y="156289"/>
                        <a:pt x="83042" y="150037"/>
                        <a:pt x="83042" y="143786"/>
                      </a:cubicBezTo>
                      <a:cubicBezTo>
                        <a:pt x="89154" y="131283"/>
                        <a:pt x="101519" y="143786"/>
                        <a:pt x="101519" y="150037"/>
                      </a:cubicBezTo>
                      <a:cubicBezTo>
                        <a:pt x="113883" y="156289"/>
                        <a:pt x="107631" y="143786"/>
                        <a:pt x="107631" y="137534"/>
                      </a:cubicBezTo>
                      <a:cubicBezTo>
                        <a:pt x="107631" y="131283"/>
                        <a:pt x="126108" y="143786"/>
                        <a:pt x="126108" y="143786"/>
                      </a:cubicBezTo>
                      <a:cubicBezTo>
                        <a:pt x="126108" y="137534"/>
                        <a:pt x="113744" y="118780"/>
                        <a:pt x="113744" y="118780"/>
                      </a:cubicBezTo>
                      <a:cubicBezTo>
                        <a:pt x="107631" y="112528"/>
                        <a:pt x="95267" y="112528"/>
                        <a:pt x="89154" y="106277"/>
                      </a:cubicBezTo>
                      <a:cubicBezTo>
                        <a:pt x="89154" y="106277"/>
                        <a:pt x="89154" y="93773"/>
                        <a:pt x="89154" y="100025"/>
                      </a:cubicBezTo>
                      <a:cubicBezTo>
                        <a:pt x="83042" y="87522"/>
                        <a:pt x="64565" y="75019"/>
                        <a:pt x="64565" y="62516"/>
                      </a:cubicBezTo>
                      <a:cubicBezTo>
                        <a:pt x="70678" y="37509"/>
                        <a:pt x="89154" y="62516"/>
                        <a:pt x="95267" y="68767"/>
                      </a:cubicBezTo>
                      <a:lnTo>
                        <a:pt x="95267" y="62516"/>
                      </a:lnTo>
                      <a:cubicBezTo>
                        <a:pt x="101380" y="56264"/>
                        <a:pt x="107631" y="62516"/>
                        <a:pt x="107631" y="68767"/>
                      </a:cubicBezTo>
                      <a:lnTo>
                        <a:pt x="101519" y="56264"/>
                      </a:lnTo>
                      <a:cubicBezTo>
                        <a:pt x="107631" y="56264"/>
                        <a:pt x="119995" y="62516"/>
                        <a:pt x="126108" y="62516"/>
                      </a:cubicBezTo>
                      <a:cubicBezTo>
                        <a:pt x="126108" y="56264"/>
                        <a:pt x="101519" y="56264"/>
                        <a:pt x="101519" y="43761"/>
                      </a:cubicBezTo>
                      <a:cubicBezTo>
                        <a:pt x="101519" y="43761"/>
                        <a:pt x="126108" y="31258"/>
                        <a:pt x="132220" y="31258"/>
                      </a:cubicBezTo>
                      <a:lnTo>
                        <a:pt x="126108" y="43761"/>
                      </a:lnTo>
                      <a:cubicBezTo>
                        <a:pt x="126108" y="43761"/>
                        <a:pt x="144585" y="31258"/>
                        <a:pt x="150698" y="31258"/>
                      </a:cubicBezTo>
                      <a:cubicBezTo>
                        <a:pt x="156810" y="31258"/>
                        <a:pt x="163062" y="37509"/>
                        <a:pt x="175287" y="43761"/>
                      </a:cubicBezTo>
                      <a:cubicBezTo>
                        <a:pt x="181538" y="31258"/>
                        <a:pt x="187790" y="12503"/>
                        <a:pt x="187790"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7" name="Freihandform: Form 316">
                  <a:extLst>
                    <a:ext uri="{FF2B5EF4-FFF2-40B4-BE49-F238E27FC236}">
                      <a16:creationId xmlns:a16="http://schemas.microsoft.com/office/drawing/2014/main" id="{3FA060BB-78BE-42B0-BDFA-2BD710394FE6}"/>
                    </a:ext>
                  </a:extLst>
                </p:cNvPr>
                <p:cNvSpPr/>
                <p:nvPr/>
              </p:nvSpPr>
              <p:spPr>
                <a:xfrm>
                  <a:off x="6886179" y="3137929"/>
                  <a:ext cx="90786" cy="53088"/>
                </a:xfrm>
                <a:custGeom>
                  <a:avLst/>
                  <a:gdLst>
                    <a:gd name="connsiteX0" fmla="*/ 90786 w 90786"/>
                    <a:gd name="connsiteY0" fmla="*/ 31591 h 53088"/>
                    <a:gd name="connsiteX1" fmla="*/ 58972 w 90786"/>
                    <a:gd name="connsiteY1" fmla="*/ 2972 h 53088"/>
                    <a:gd name="connsiteX2" fmla="*/ 8127 w 90786"/>
                    <a:gd name="connsiteY2" fmla="*/ 25895 h 53088"/>
                    <a:gd name="connsiteX3" fmla="*/ 1736 w 90786"/>
                    <a:gd name="connsiteY3" fmla="*/ 48817 h 53088"/>
                    <a:gd name="connsiteX4" fmla="*/ 33549 w 90786"/>
                    <a:gd name="connsiteY4" fmla="*/ 48817 h 53088"/>
                    <a:gd name="connsiteX5" fmla="*/ 65363 w 90786"/>
                    <a:gd name="connsiteY5" fmla="*/ 37425 h 53088"/>
                    <a:gd name="connsiteX6" fmla="*/ 90786 w 90786"/>
                    <a:gd name="connsiteY6" fmla="*/ 31591 h 53088"/>
                    <a:gd name="connsiteX7" fmla="*/ 90786 w 90786"/>
                    <a:gd name="connsiteY7" fmla="*/ 31591 h 5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786" h="53088">
                      <a:moveTo>
                        <a:pt x="90786" y="31591"/>
                      </a:moveTo>
                      <a:cubicBezTo>
                        <a:pt x="78144" y="20199"/>
                        <a:pt x="58972" y="20199"/>
                        <a:pt x="58972" y="2972"/>
                      </a:cubicBezTo>
                      <a:cubicBezTo>
                        <a:pt x="27159" y="-2724"/>
                        <a:pt x="20907" y="-2724"/>
                        <a:pt x="8127" y="25895"/>
                      </a:cubicBezTo>
                      <a:cubicBezTo>
                        <a:pt x="8127" y="31591"/>
                        <a:pt x="-4515" y="48817"/>
                        <a:pt x="1736" y="48817"/>
                      </a:cubicBezTo>
                      <a:cubicBezTo>
                        <a:pt x="14378" y="54513"/>
                        <a:pt x="27159" y="54513"/>
                        <a:pt x="33549" y="48817"/>
                      </a:cubicBezTo>
                      <a:cubicBezTo>
                        <a:pt x="46192" y="43121"/>
                        <a:pt x="52582" y="37425"/>
                        <a:pt x="65363" y="37425"/>
                      </a:cubicBezTo>
                      <a:cubicBezTo>
                        <a:pt x="65363" y="37286"/>
                        <a:pt x="90786" y="37286"/>
                        <a:pt x="90786" y="31591"/>
                      </a:cubicBezTo>
                      <a:cubicBezTo>
                        <a:pt x="84396" y="31591"/>
                        <a:pt x="90786" y="37286"/>
                        <a:pt x="90786" y="315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8" name="Freihandform: Form 317">
                  <a:extLst>
                    <a:ext uri="{FF2B5EF4-FFF2-40B4-BE49-F238E27FC236}">
                      <a16:creationId xmlns:a16="http://schemas.microsoft.com/office/drawing/2014/main" id="{3CFCCB13-EC94-47A7-B858-7ED034EDF15C}"/>
                    </a:ext>
                  </a:extLst>
                </p:cNvPr>
                <p:cNvSpPr/>
                <p:nvPr/>
              </p:nvSpPr>
              <p:spPr>
                <a:xfrm>
                  <a:off x="6681474" y="3121939"/>
                  <a:ext cx="49862" cy="108707"/>
                </a:xfrm>
                <a:custGeom>
                  <a:avLst/>
                  <a:gdLst>
                    <a:gd name="connsiteX0" fmla="*/ 38065 w 49862"/>
                    <a:gd name="connsiteY0" fmla="*/ 95926 h 108707"/>
                    <a:gd name="connsiteX1" fmla="*/ 44456 w 49862"/>
                    <a:gd name="connsiteY1" fmla="*/ 64113 h 108707"/>
                    <a:gd name="connsiteX2" fmla="*/ 38065 w 49862"/>
                    <a:gd name="connsiteY2" fmla="*/ 32299 h 108707"/>
                    <a:gd name="connsiteX3" fmla="*/ 44456 w 49862"/>
                    <a:gd name="connsiteY3" fmla="*/ 19657 h 108707"/>
                    <a:gd name="connsiteX4" fmla="*/ 19033 w 49862"/>
                    <a:gd name="connsiteY4" fmla="*/ 625 h 108707"/>
                    <a:gd name="connsiteX5" fmla="*/ 0 w 49862"/>
                    <a:gd name="connsiteY5" fmla="*/ 51471 h 108707"/>
                    <a:gd name="connsiteX6" fmla="*/ 25423 w 49862"/>
                    <a:gd name="connsiteY6" fmla="*/ 108707 h 108707"/>
                    <a:gd name="connsiteX7" fmla="*/ 38065 w 49862"/>
                    <a:gd name="connsiteY7" fmla="*/ 95926 h 108707"/>
                    <a:gd name="connsiteX8" fmla="*/ 38065 w 49862"/>
                    <a:gd name="connsiteY8" fmla="*/ 95926 h 10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62" h="108707">
                      <a:moveTo>
                        <a:pt x="38065" y="95926"/>
                      </a:moveTo>
                      <a:cubicBezTo>
                        <a:pt x="44456" y="83145"/>
                        <a:pt x="57098" y="70503"/>
                        <a:pt x="44456" y="64113"/>
                      </a:cubicBezTo>
                      <a:cubicBezTo>
                        <a:pt x="38065" y="57722"/>
                        <a:pt x="31674" y="45080"/>
                        <a:pt x="38065" y="32299"/>
                      </a:cubicBezTo>
                      <a:lnTo>
                        <a:pt x="44456" y="19657"/>
                      </a:lnTo>
                      <a:cubicBezTo>
                        <a:pt x="38065" y="13267"/>
                        <a:pt x="25423" y="625"/>
                        <a:pt x="19033" y="625"/>
                      </a:cubicBezTo>
                      <a:cubicBezTo>
                        <a:pt x="0" y="-5766"/>
                        <a:pt x="0" y="38690"/>
                        <a:pt x="0" y="51471"/>
                      </a:cubicBezTo>
                      <a:cubicBezTo>
                        <a:pt x="0" y="76894"/>
                        <a:pt x="12642" y="89536"/>
                        <a:pt x="25423" y="108707"/>
                      </a:cubicBezTo>
                      <a:cubicBezTo>
                        <a:pt x="31674" y="102317"/>
                        <a:pt x="38065" y="95926"/>
                        <a:pt x="38065" y="95926"/>
                      </a:cubicBezTo>
                      <a:cubicBezTo>
                        <a:pt x="44456" y="83145"/>
                        <a:pt x="38065" y="95926"/>
                        <a:pt x="38065" y="9592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19" name="Freihandform: Form 318">
                  <a:extLst>
                    <a:ext uri="{FF2B5EF4-FFF2-40B4-BE49-F238E27FC236}">
                      <a16:creationId xmlns:a16="http://schemas.microsoft.com/office/drawing/2014/main" id="{048E8D3C-1572-4138-8BA6-E0520C05918B}"/>
                    </a:ext>
                  </a:extLst>
                </p:cNvPr>
                <p:cNvSpPr/>
                <p:nvPr/>
              </p:nvSpPr>
              <p:spPr>
                <a:xfrm>
                  <a:off x="6714086" y="3125758"/>
                  <a:ext cx="72846" cy="57097"/>
                </a:xfrm>
                <a:custGeom>
                  <a:avLst/>
                  <a:gdLst>
                    <a:gd name="connsiteX0" fmla="*/ 68524 w 72846"/>
                    <a:gd name="connsiteY0" fmla="*/ 0 h 57097"/>
                    <a:gd name="connsiteX1" fmla="*/ 9204 w 72846"/>
                    <a:gd name="connsiteY1" fmla="*/ 12642 h 57097"/>
                    <a:gd name="connsiteX2" fmla="*/ 15733 w 72846"/>
                    <a:gd name="connsiteY2" fmla="*/ 57098 h 57097"/>
                    <a:gd name="connsiteX3" fmla="*/ 42129 w 72846"/>
                    <a:gd name="connsiteY3" fmla="*/ 50707 h 57097"/>
                    <a:gd name="connsiteX4" fmla="*/ 61995 w 72846"/>
                    <a:gd name="connsiteY4" fmla="*/ 44317 h 57097"/>
                    <a:gd name="connsiteX5" fmla="*/ 68524 w 72846"/>
                    <a:gd name="connsiteY5" fmla="*/ 0 h 5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846" h="57097">
                      <a:moveTo>
                        <a:pt x="68524" y="0"/>
                      </a:moveTo>
                      <a:cubicBezTo>
                        <a:pt x="55327" y="0"/>
                        <a:pt x="9204" y="0"/>
                        <a:pt x="9204" y="12642"/>
                      </a:cubicBezTo>
                      <a:cubicBezTo>
                        <a:pt x="-3993" y="25423"/>
                        <a:pt x="-3993" y="50707"/>
                        <a:pt x="15733" y="57098"/>
                      </a:cubicBezTo>
                      <a:cubicBezTo>
                        <a:pt x="22263" y="50707"/>
                        <a:pt x="35600" y="57098"/>
                        <a:pt x="42129" y="50707"/>
                      </a:cubicBezTo>
                      <a:cubicBezTo>
                        <a:pt x="48798" y="50707"/>
                        <a:pt x="55327" y="38065"/>
                        <a:pt x="61995" y="44317"/>
                      </a:cubicBezTo>
                      <a:cubicBezTo>
                        <a:pt x="81722" y="57098"/>
                        <a:pt x="68524" y="6252"/>
                        <a:pt x="68524"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0" name="Freihandform: Form 319">
                  <a:extLst>
                    <a:ext uri="{FF2B5EF4-FFF2-40B4-BE49-F238E27FC236}">
                      <a16:creationId xmlns:a16="http://schemas.microsoft.com/office/drawing/2014/main" id="{1908D68A-FE76-4D2C-B993-8269A7FF93B3}"/>
                    </a:ext>
                  </a:extLst>
                </p:cNvPr>
                <p:cNvSpPr/>
                <p:nvPr/>
              </p:nvSpPr>
              <p:spPr>
                <a:xfrm>
                  <a:off x="7422292" y="3163684"/>
                  <a:ext cx="98002" cy="88678"/>
                </a:xfrm>
                <a:custGeom>
                  <a:avLst/>
                  <a:gdLst>
                    <a:gd name="connsiteX0" fmla="*/ 98002 w 98002"/>
                    <a:gd name="connsiteY0" fmla="*/ 83632 h 88678"/>
                    <a:gd name="connsiteX1" fmla="*/ 84944 w 98002"/>
                    <a:gd name="connsiteY1" fmla="*/ 59737 h 88678"/>
                    <a:gd name="connsiteX2" fmla="*/ 78415 w 98002"/>
                    <a:gd name="connsiteY2" fmla="*/ 41816 h 88678"/>
                    <a:gd name="connsiteX3" fmla="*/ 65355 w 98002"/>
                    <a:gd name="connsiteY3" fmla="*/ 17921 h 88678"/>
                    <a:gd name="connsiteX4" fmla="*/ 52297 w 98002"/>
                    <a:gd name="connsiteY4" fmla="*/ 0 h 88678"/>
                    <a:gd name="connsiteX5" fmla="*/ 13121 w 98002"/>
                    <a:gd name="connsiteY5" fmla="*/ 35703 h 88678"/>
                    <a:gd name="connsiteX6" fmla="*/ 32708 w 98002"/>
                    <a:gd name="connsiteY6" fmla="*/ 53625 h 88678"/>
                    <a:gd name="connsiteX7" fmla="*/ 52297 w 98002"/>
                    <a:gd name="connsiteY7" fmla="*/ 65572 h 88678"/>
                    <a:gd name="connsiteX8" fmla="*/ 78415 w 98002"/>
                    <a:gd name="connsiteY8" fmla="*/ 77519 h 88678"/>
                    <a:gd name="connsiteX9" fmla="*/ 98002 w 98002"/>
                    <a:gd name="connsiteY9" fmla="*/ 83632 h 88678"/>
                    <a:gd name="connsiteX10" fmla="*/ 98002 w 98002"/>
                    <a:gd name="connsiteY10" fmla="*/ 83632 h 8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02" h="88678">
                      <a:moveTo>
                        <a:pt x="98002" y="83632"/>
                      </a:moveTo>
                      <a:cubicBezTo>
                        <a:pt x="98002" y="71685"/>
                        <a:pt x="98002" y="65711"/>
                        <a:pt x="84944" y="59737"/>
                      </a:cubicBezTo>
                      <a:cubicBezTo>
                        <a:pt x="71885" y="53764"/>
                        <a:pt x="84944" y="47790"/>
                        <a:pt x="78415" y="41816"/>
                      </a:cubicBezTo>
                      <a:cubicBezTo>
                        <a:pt x="71885" y="29869"/>
                        <a:pt x="65355" y="35842"/>
                        <a:pt x="65355" y="17921"/>
                      </a:cubicBezTo>
                      <a:cubicBezTo>
                        <a:pt x="65355" y="17921"/>
                        <a:pt x="45768" y="5974"/>
                        <a:pt x="52297" y="0"/>
                      </a:cubicBezTo>
                      <a:cubicBezTo>
                        <a:pt x="32708" y="0"/>
                        <a:pt x="-25917" y="5974"/>
                        <a:pt x="13121" y="35703"/>
                      </a:cubicBezTo>
                      <a:cubicBezTo>
                        <a:pt x="19650" y="41677"/>
                        <a:pt x="26179" y="47651"/>
                        <a:pt x="32708" y="53625"/>
                      </a:cubicBezTo>
                      <a:cubicBezTo>
                        <a:pt x="39238" y="59598"/>
                        <a:pt x="45768" y="59598"/>
                        <a:pt x="52297" y="65572"/>
                      </a:cubicBezTo>
                      <a:cubicBezTo>
                        <a:pt x="65355" y="65572"/>
                        <a:pt x="78415" y="65572"/>
                        <a:pt x="78415" y="77519"/>
                      </a:cubicBezTo>
                      <a:cubicBezTo>
                        <a:pt x="84944" y="83632"/>
                        <a:pt x="91473" y="95441"/>
                        <a:pt x="98002" y="83632"/>
                      </a:cubicBezTo>
                      <a:cubicBezTo>
                        <a:pt x="98002" y="77658"/>
                        <a:pt x="91473" y="89467"/>
                        <a:pt x="98002" y="8363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1" name="Freihandform: Form 320">
                  <a:extLst>
                    <a:ext uri="{FF2B5EF4-FFF2-40B4-BE49-F238E27FC236}">
                      <a16:creationId xmlns:a16="http://schemas.microsoft.com/office/drawing/2014/main" id="{D1895E80-D22D-40A4-98D5-04B668EA5CB9}"/>
                    </a:ext>
                  </a:extLst>
                </p:cNvPr>
                <p:cNvSpPr/>
                <p:nvPr/>
              </p:nvSpPr>
              <p:spPr>
                <a:xfrm>
                  <a:off x="7444581" y="3222858"/>
                  <a:ext cx="603466" cy="512774"/>
                </a:xfrm>
                <a:custGeom>
                  <a:avLst/>
                  <a:gdLst>
                    <a:gd name="connsiteX0" fmla="*/ 594037 w 603466"/>
                    <a:gd name="connsiteY0" fmla="*/ 444286 h 512774"/>
                    <a:gd name="connsiteX1" fmla="*/ 581534 w 603466"/>
                    <a:gd name="connsiteY1" fmla="*/ 413028 h 512774"/>
                    <a:gd name="connsiteX2" fmla="*/ 562780 w 603466"/>
                    <a:gd name="connsiteY2" fmla="*/ 394273 h 512774"/>
                    <a:gd name="connsiteX3" fmla="*/ 537773 w 603466"/>
                    <a:gd name="connsiteY3" fmla="*/ 363015 h 512774"/>
                    <a:gd name="connsiteX4" fmla="*/ 544025 w 603466"/>
                    <a:gd name="connsiteY4" fmla="*/ 331757 h 512774"/>
                    <a:gd name="connsiteX5" fmla="*/ 556528 w 603466"/>
                    <a:gd name="connsiteY5" fmla="*/ 300500 h 512774"/>
                    <a:gd name="connsiteX6" fmla="*/ 525270 w 603466"/>
                    <a:gd name="connsiteY6" fmla="*/ 294248 h 512774"/>
                    <a:gd name="connsiteX7" fmla="*/ 525270 w 603466"/>
                    <a:gd name="connsiteY7" fmla="*/ 275493 h 512774"/>
                    <a:gd name="connsiteX8" fmla="*/ 525270 w 603466"/>
                    <a:gd name="connsiteY8" fmla="*/ 237984 h 512774"/>
                    <a:gd name="connsiteX9" fmla="*/ 512767 w 603466"/>
                    <a:gd name="connsiteY9" fmla="*/ 212978 h 512774"/>
                    <a:gd name="connsiteX10" fmla="*/ 531522 w 603466"/>
                    <a:gd name="connsiteY10" fmla="*/ 181720 h 512774"/>
                    <a:gd name="connsiteX11" fmla="*/ 537773 w 603466"/>
                    <a:gd name="connsiteY11" fmla="*/ 113092 h 512774"/>
                    <a:gd name="connsiteX12" fmla="*/ 494012 w 603466"/>
                    <a:gd name="connsiteY12" fmla="*/ 100589 h 512774"/>
                    <a:gd name="connsiteX13" fmla="*/ 475258 w 603466"/>
                    <a:gd name="connsiteY13" fmla="*/ 81834 h 512774"/>
                    <a:gd name="connsiteX14" fmla="*/ 444000 w 603466"/>
                    <a:gd name="connsiteY14" fmla="*/ 69331 h 512774"/>
                    <a:gd name="connsiteX15" fmla="*/ 412742 w 603466"/>
                    <a:gd name="connsiteY15" fmla="*/ 63079 h 512774"/>
                    <a:gd name="connsiteX16" fmla="*/ 381484 w 603466"/>
                    <a:gd name="connsiteY16" fmla="*/ 56828 h 512774"/>
                    <a:gd name="connsiteX17" fmla="*/ 356478 w 603466"/>
                    <a:gd name="connsiteY17" fmla="*/ 63079 h 512774"/>
                    <a:gd name="connsiteX18" fmla="*/ 331472 w 603466"/>
                    <a:gd name="connsiteY18" fmla="*/ 81834 h 512774"/>
                    <a:gd name="connsiteX19" fmla="*/ 306466 w 603466"/>
                    <a:gd name="connsiteY19" fmla="*/ 94337 h 512774"/>
                    <a:gd name="connsiteX20" fmla="*/ 287711 w 603466"/>
                    <a:gd name="connsiteY20" fmla="*/ 113092 h 512774"/>
                    <a:gd name="connsiteX21" fmla="*/ 206302 w 603466"/>
                    <a:gd name="connsiteY21" fmla="*/ 100589 h 512774"/>
                    <a:gd name="connsiteX22" fmla="*/ 187547 w 603466"/>
                    <a:gd name="connsiteY22" fmla="*/ 88086 h 512774"/>
                    <a:gd name="connsiteX23" fmla="*/ 156289 w 603466"/>
                    <a:gd name="connsiteY23" fmla="*/ 81834 h 512774"/>
                    <a:gd name="connsiteX24" fmla="*/ 150037 w 603466"/>
                    <a:gd name="connsiteY24" fmla="*/ 50576 h 512774"/>
                    <a:gd name="connsiteX25" fmla="*/ 125031 w 603466"/>
                    <a:gd name="connsiteY25" fmla="*/ 19318 h 512774"/>
                    <a:gd name="connsiteX26" fmla="*/ 87522 w 603466"/>
                    <a:gd name="connsiteY26" fmla="*/ 19318 h 512774"/>
                    <a:gd name="connsiteX27" fmla="*/ 68767 w 603466"/>
                    <a:gd name="connsiteY27" fmla="*/ 31822 h 512774"/>
                    <a:gd name="connsiteX28" fmla="*/ 31258 w 603466"/>
                    <a:gd name="connsiteY28" fmla="*/ 13067 h 512774"/>
                    <a:gd name="connsiteX29" fmla="*/ 6252 w 603466"/>
                    <a:gd name="connsiteY29" fmla="*/ 6815 h 512774"/>
                    <a:gd name="connsiteX30" fmla="*/ 0 w 603466"/>
                    <a:gd name="connsiteY30" fmla="*/ 19318 h 512774"/>
                    <a:gd name="connsiteX31" fmla="*/ 6252 w 603466"/>
                    <a:gd name="connsiteY31" fmla="*/ 38073 h 512774"/>
                    <a:gd name="connsiteX32" fmla="*/ 6252 w 603466"/>
                    <a:gd name="connsiteY32" fmla="*/ 50576 h 512774"/>
                    <a:gd name="connsiteX33" fmla="*/ 6252 w 603466"/>
                    <a:gd name="connsiteY33" fmla="*/ 63079 h 512774"/>
                    <a:gd name="connsiteX34" fmla="*/ 18755 w 603466"/>
                    <a:gd name="connsiteY34" fmla="*/ 75582 h 512774"/>
                    <a:gd name="connsiteX35" fmla="*/ 18755 w 603466"/>
                    <a:gd name="connsiteY35" fmla="*/ 88086 h 512774"/>
                    <a:gd name="connsiteX36" fmla="*/ 31258 w 603466"/>
                    <a:gd name="connsiteY36" fmla="*/ 119343 h 512774"/>
                    <a:gd name="connsiteX37" fmla="*/ 50012 w 603466"/>
                    <a:gd name="connsiteY37" fmla="*/ 138098 h 512774"/>
                    <a:gd name="connsiteX38" fmla="*/ 62516 w 603466"/>
                    <a:gd name="connsiteY38" fmla="*/ 144350 h 512774"/>
                    <a:gd name="connsiteX39" fmla="*/ 50012 w 603466"/>
                    <a:gd name="connsiteY39" fmla="*/ 219229 h 512774"/>
                    <a:gd name="connsiteX40" fmla="*/ 75019 w 603466"/>
                    <a:gd name="connsiteY40" fmla="*/ 244236 h 512774"/>
                    <a:gd name="connsiteX41" fmla="*/ 112528 w 603466"/>
                    <a:gd name="connsiteY41" fmla="*/ 281745 h 512774"/>
                    <a:gd name="connsiteX42" fmla="*/ 106277 w 603466"/>
                    <a:gd name="connsiteY42" fmla="*/ 300500 h 512774"/>
                    <a:gd name="connsiteX43" fmla="*/ 118780 w 603466"/>
                    <a:gd name="connsiteY43" fmla="*/ 313003 h 512774"/>
                    <a:gd name="connsiteX44" fmla="*/ 137534 w 603466"/>
                    <a:gd name="connsiteY44" fmla="*/ 350512 h 512774"/>
                    <a:gd name="connsiteX45" fmla="*/ 150037 w 603466"/>
                    <a:gd name="connsiteY45" fmla="*/ 331757 h 512774"/>
                    <a:gd name="connsiteX46" fmla="*/ 156289 w 603466"/>
                    <a:gd name="connsiteY46" fmla="*/ 338009 h 512774"/>
                    <a:gd name="connsiteX47" fmla="*/ 162541 w 603466"/>
                    <a:gd name="connsiteY47" fmla="*/ 344261 h 512774"/>
                    <a:gd name="connsiteX48" fmla="*/ 187547 w 603466"/>
                    <a:gd name="connsiteY48" fmla="*/ 344261 h 512774"/>
                    <a:gd name="connsiteX49" fmla="*/ 218805 w 603466"/>
                    <a:gd name="connsiteY49" fmla="*/ 400386 h 512774"/>
                    <a:gd name="connsiteX50" fmla="*/ 287711 w 603466"/>
                    <a:gd name="connsiteY50" fmla="*/ 450259 h 512774"/>
                    <a:gd name="connsiteX51" fmla="*/ 325220 w 603466"/>
                    <a:gd name="connsiteY51" fmla="*/ 462762 h 512774"/>
                    <a:gd name="connsiteX52" fmla="*/ 350226 w 603466"/>
                    <a:gd name="connsiteY52" fmla="*/ 456511 h 512774"/>
                    <a:gd name="connsiteX53" fmla="*/ 350226 w 603466"/>
                    <a:gd name="connsiteY53" fmla="*/ 462762 h 512774"/>
                    <a:gd name="connsiteX54" fmla="*/ 381484 w 603466"/>
                    <a:gd name="connsiteY54" fmla="*/ 444008 h 512774"/>
                    <a:gd name="connsiteX55" fmla="*/ 375233 w 603466"/>
                    <a:gd name="connsiteY55" fmla="*/ 444008 h 512774"/>
                    <a:gd name="connsiteX56" fmla="*/ 387736 w 603466"/>
                    <a:gd name="connsiteY56" fmla="*/ 444008 h 512774"/>
                    <a:gd name="connsiteX57" fmla="*/ 406491 w 603466"/>
                    <a:gd name="connsiteY57" fmla="*/ 469014 h 512774"/>
                    <a:gd name="connsiteX58" fmla="*/ 431497 w 603466"/>
                    <a:gd name="connsiteY58" fmla="*/ 494020 h 512774"/>
                    <a:gd name="connsiteX59" fmla="*/ 550415 w 603466"/>
                    <a:gd name="connsiteY59" fmla="*/ 512775 h 512774"/>
                    <a:gd name="connsiteX60" fmla="*/ 575422 w 603466"/>
                    <a:gd name="connsiteY60" fmla="*/ 469153 h 512774"/>
                    <a:gd name="connsiteX61" fmla="*/ 594037 w 603466"/>
                    <a:gd name="connsiteY61" fmla="*/ 444286 h 512774"/>
                    <a:gd name="connsiteX62" fmla="*/ 594037 w 603466"/>
                    <a:gd name="connsiteY62" fmla="*/ 444286 h 51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03466" h="512774">
                      <a:moveTo>
                        <a:pt x="594037" y="444286"/>
                      </a:moveTo>
                      <a:cubicBezTo>
                        <a:pt x="581534" y="438034"/>
                        <a:pt x="587786" y="425531"/>
                        <a:pt x="581534" y="413028"/>
                      </a:cubicBezTo>
                      <a:cubicBezTo>
                        <a:pt x="581534" y="406776"/>
                        <a:pt x="569031" y="400525"/>
                        <a:pt x="562780" y="394273"/>
                      </a:cubicBezTo>
                      <a:cubicBezTo>
                        <a:pt x="550276" y="388022"/>
                        <a:pt x="544025" y="375518"/>
                        <a:pt x="537773" y="363015"/>
                      </a:cubicBezTo>
                      <a:cubicBezTo>
                        <a:pt x="525270" y="350512"/>
                        <a:pt x="531522" y="350512"/>
                        <a:pt x="544025" y="331757"/>
                      </a:cubicBezTo>
                      <a:cubicBezTo>
                        <a:pt x="550276" y="325506"/>
                        <a:pt x="562780" y="313003"/>
                        <a:pt x="556528" y="300500"/>
                      </a:cubicBezTo>
                      <a:cubicBezTo>
                        <a:pt x="550276" y="294248"/>
                        <a:pt x="531522" y="294248"/>
                        <a:pt x="525270" y="294248"/>
                      </a:cubicBezTo>
                      <a:cubicBezTo>
                        <a:pt x="519019" y="287997"/>
                        <a:pt x="525270" y="275493"/>
                        <a:pt x="525270" y="275493"/>
                      </a:cubicBezTo>
                      <a:cubicBezTo>
                        <a:pt x="519019" y="262990"/>
                        <a:pt x="519019" y="244236"/>
                        <a:pt x="525270" y="237984"/>
                      </a:cubicBezTo>
                      <a:cubicBezTo>
                        <a:pt x="537773" y="225481"/>
                        <a:pt x="519019" y="219229"/>
                        <a:pt x="512767" y="212978"/>
                      </a:cubicBezTo>
                      <a:cubicBezTo>
                        <a:pt x="512767" y="206726"/>
                        <a:pt x="525270" y="187972"/>
                        <a:pt x="531522" y="181720"/>
                      </a:cubicBezTo>
                      <a:cubicBezTo>
                        <a:pt x="531522" y="175468"/>
                        <a:pt x="544025" y="113092"/>
                        <a:pt x="537773" y="113092"/>
                      </a:cubicBezTo>
                      <a:cubicBezTo>
                        <a:pt x="519019" y="113092"/>
                        <a:pt x="512767" y="113092"/>
                        <a:pt x="494012" y="100589"/>
                      </a:cubicBezTo>
                      <a:cubicBezTo>
                        <a:pt x="487761" y="94337"/>
                        <a:pt x="481509" y="88086"/>
                        <a:pt x="475258" y="81834"/>
                      </a:cubicBezTo>
                      <a:cubicBezTo>
                        <a:pt x="469006" y="75582"/>
                        <a:pt x="450251" y="75582"/>
                        <a:pt x="444000" y="69331"/>
                      </a:cubicBezTo>
                      <a:cubicBezTo>
                        <a:pt x="431497" y="69331"/>
                        <a:pt x="425245" y="69331"/>
                        <a:pt x="412742" y="63079"/>
                      </a:cubicBezTo>
                      <a:cubicBezTo>
                        <a:pt x="406491" y="50576"/>
                        <a:pt x="393987" y="56828"/>
                        <a:pt x="381484" y="56828"/>
                      </a:cubicBezTo>
                      <a:cubicBezTo>
                        <a:pt x="375233" y="63079"/>
                        <a:pt x="362730" y="56828"/>
                        <a:pt x="356478" y="63079"/>
                      </a:cubicBezTo>
                      <a:cubicBezTo>
                        <a:pt x="343975" y="63079"/>
                        <a:pt x="337723" y="75582"/>
                        <a:pt x="331472" y="81834"/>
                      </a:cubicBezTo>
                      <a:cubicBezTo>
                        <a:pt x="325220" y="88086"/>
                        <a:pt x="306466" y="81834"/>
                        <a:pt x="306466" y="94337"/>
                      </a:cubicBezTo>
                      <a:cubicBezTo>
                        <a:pt x="306466" y="106840"/>
                        <a:pt x="300214" y="106840"/>
                        <a:pt x="287711" y="113092"/>
                      </a:cubicBezTo>
                      <a:cubicBezTo>
                        <a:pt x="256453" y="119343"/>
                        <a:pt x="231447" y="119343"/>
                        <a:pt x="206302" y="100589"/>
                      </a:cubicBezTo>
                      <a:cubicBezTo>
                        <a:pt x="200050" y="94337"/>
                        <a:pt x="193798" y="88086"/>
                        <a:pt x="187547" y="88086"/>
                      </a:cubicBezTo>
                      <a:cubicBezTo>
                        <a:pt x="175044" y="75582"/>
                        <a:pt x="168792" y="81834"/>
                        <a:pt x="156289" y="81834"/>
                      </a:cubicBezTo>
                      <a:cubicBezTo>
                        <a:pt x="150037" y="75582"/>
                        <a:pt x="150037" y="56828"/>
                        <a:pt x="150037" y="50576"/>
                      </a:cubicBezTo>
                      <a:cubicBezTo>
                        <a:pt x="131283" y="44325"/>
                        <a:pt x="125031" y="38073"/>
                        <a:pt x="125031" y="19318"/>
                      </a:cubicBezTo>
                      <a:cubicBezTo>
                        <a:pt x="125031" y="-11939"/>
                        <a:pt x="100025" y="6815"/>
                        <a:pt x="87522" y="19318"/>
                      </a:cubicBezTo>
                      <a:cubicBezTo>
                        <a:pt x="81270" y="25570"/>
                        <a:pt x="75019" y="31822"/>
                        <a:pt x="68767" y="31822"/>
                      </a:cubicBezTo>
                      <a:cubicBezTo>
                        <a:pt x="56264" y="25570"/>
                        <a:pt x="37509" y="25570"/>
                        <a:pt x="31258" y="13067"/>
                      </a:cubicBezTo>
                      <a:cubicBezTo>
                        <a:pt x="18755" y="564"/>
                        <a:pt x="18755" y="-5688"/>
                        <a:pt x="6252" y="6815"/>
                      </a:cubicBezTo>
                      <a:cubicBezTo>
                        <a:pt x="6252" y="13067"/>
                        <a:pt x="0" y="13067"/>
                        <a:pt x="0" y="19318"/>
                      </a:cubicBezTo>
                      <a:cubicBezTo>
                        <a:pt x="0" y="25570"/>
                        <a:pt x="0" y="31822"/>
                        <a:pt x="6252" y="38073"/>
                      </a:cubicBezTo>
                      <a:cubicBezTo>
                        <a:pt x="6252" y="38073"/>
                        <a:pt x="12503" y="50576"/>
                        <a:pt x="6252" y="50576"/>
                      </a:cubicBezTo>
                      <a:cubicBezTo>
                        <a:pt x="6252" y="56828"/>
                        <a:pt x="0" y="56828"/>
                        <a:pt x="6252" y="63079"/>
                      </a:cubicBezTo>
                      <a:cubicBezTo>
                        <a:pt x="6252" y="69331"/>
                        <a:pt x="18755" y="69331"/>
                        <a:pt x="18755" y="75582"/>
                      </a:cubicBezTo>
                      <a:cubicBezTo>
                        <a:pt x="18755" y="81834"/>
                        <a:pt x="12503" y="88086"/>
                        <a:pt x="18755" y="88086"/>
                      </a:cubicBezTo>
                      <a:cubicBezTo>
                        <a:pt x="25006" y="100589"/>
                        <a:pt x="25006" y="106840"/>
                        <a:pt x="31258" y="119343"/>
                      </a:cubicBezTo>
                      <a:cubicBezTo>
                        <a:pt x="37509" y="125595"/>
                        <a:pt x="37509" y="131846"/>
                        <a:pt x="50012" y="138098"/>
                      </a:cubicBezTo>
                      <a:lnTo>
                        <a:pt x="62516" y="144350"/>
                      </a:lnTo>
                      <a:cubicBezTo>
                        <a:pt x="68767" y="169356"/>
                        <a:pt x="12503" y="194223"/>
                        <a:pt x="50012" y="219229"/>
                      </a:cubicBezTo>
                      <a:cubicBezTo>
                        <a:pt x="62516" y="225481"/>
                        <a:pt x="62516" y="237984"/>
                        <a:pt x="75019" y="244236"/>
                      </a:cubicBezTo>
                      <a:cubicBezTo>
                        <a:pt x="87522" y="256739"/>
                        <a:pt x="100025" y="262990"/>
                        <a:pt x="112528" y="281745"/>
                      </a:cubicBezTo>
                      <a:cubicBezTo>
                        <a:pt x="112528" y="287997"/>
                        <a:pt x="106277" y="294248"/>
                        <a:pt x="106277" y="300500"/>
                      </a:cubicBezTo>
                      <a:cubicBezTo>
                        <a:pt x="112528" y="306751"/>
                        <a:pt x="125031" y="306751"/>
                        <a:pt x="118780" y="313003"/>
                      </a:cubicBezTo>
                      <a:cubicBezTo>
                        <a:pt x="118780" y="331757"/>
                        <a:pt x="131283" y="338009"/>
                        <a:pt x="137534" y="350512"/>
                      </a:cubicBezTo>
                      <a:cubicBezTo>
                        <a:pt x="150037" y="344261"/>
                        <a:pt x="143786" y="338009"/>
                        <a:pt x="150037" y="331757"/>
                      </a:cubicBezTo>
                      <a:lnTo>
                        <a:pt x="156289" y="338009"/>
                      </a:lnTo>
                      <a:cubicBezTo>
                        <a:pt x="168792" y="338009"/>
                        <a:pt x="156289" y="338009"/>
                        <a:pt x="162541" y="344261"/>
                      </a:cubicBezTo>
                      <a:cubicBezTo>
                        <a:pt x="168792" y="350512"/>
                        <a:pt x="175044" y="331757"/>
                        <a:pt x="187547" y="344261"/>
                      </a:cubicBezTo>
                      <a:cubicBezTo>
                        <a:pt x="200050" y="363015"/>
                        <a:pt x="206302" y="381770"/>
                        <a:pt x="218805" y="400386"/>
                      </a:cubicBezTo>
                      <a:cubicBezTo>
                        <a:pt x="231308" y="419140"/>
                        <a:pt x="262566" y="437895"/>
                        <a:pt x="287711" y="450259"/>
                      </a:cubicBezTo>
                      <a:cubicBezTo>
                        <a:pt x="300214" y="456511"/>
                        <a:pt x="312717" y="456511"/>
                        <a:pt x="325220" y="462762"/>
                      </a:cubicBezTo>
                      <a:cubicBezTo>
                        <a:pt x="331472" y="462762"/>
                        <a:pt x="350226" y="456511"/>
                        <a:pt x="350226" y="456511"/>
                      </a:cubicBezTo>
                      <a:lnTo>
                        <a:pt x="350226" y="462762"/>
                      </a:lnTo>
                      <a:cubicBezTo>
                        <a:pt x="356478" y="462762"/>
                        <a:pt x="375233" y="450259"/>
                        <a:pt x="381484" y="444008"/>
                      </a:cubicBezTo>
                      <a:lnTo>
                        <a:pt x="375233" y="444008"/>
                      </a:lnTo>
                      <a:cubicBezTo>
                        <a:pt x="375233" y="437756"/>
                        <a:pt x="387736" y="444008"/>
                        <a:pt x="387736" y="444008"/>
                      </a:cubicBezTo>
                      <a:cubicBezTo>
                        <a:pt x="400239" y="450259"/>
                        <a:pt x="400239" y="456511"/>
                        <a:pt x="406491" y="469014"/>
                      </a:cubicBezTo>
                      <a:cubicBezTo>
                        <a:pt x="412742" y="487769"/>
                        <a:pt x="418994" y="487769"/>
                        <a:pt x="431497" y="494020"/>
                      </a:cubicBezTo>
                      <a:cubicBezTo>
                        <a:pt x="469006" y="500272"/>
                        <a:pt x="512906" y="506523"/>
                        <a:pt x="550415" y="512775"/>
                      </a:cubicBezTo>
                      <a:cubicBezTo>
                        <a:pt x="550415" y="487769"/>
                        <a:pt x="556667" y="481517"/>
                        <a:pt x="575422" y="469153"/>
                      </a:cubicBezTo>
                      <a:cubicBezTo>
                        <a:pt x="587786" y="463040"/>
                        <a:pt x="619044" y="456789"/>
                        <a:pt x="594037" y="444286"/>
                      </a:cubicBezTo>
                      <a:cubicBezTo>
                        <a:pt x="587786" y="438034"/>
                        <a:pt x="606540" y="450537"/>
                        <a:pt x="594037" y="4442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2" name="Freihandform: Form 321">
                  <a:extLst>
                    <a:ext uri="{FF2B5EF4-FFF2-40B4-BE49-F238E27FC236}">
                      <a16:creationId xmlns:a16="http://schemas.microsoft.com/office/drawing/2014/main" id="{258B3B1A-1A3A-4D0D-B60E-33ADA5952223}"/>
                    </a:ext>
                  </a:extLst>
                </p:cNvPr>
                <p:cNvSpPr/>
                <p:nvPr/>
              </p:nvSpPr>
              <p:spPr>
                <a:xfrm>
                  <a:off x="7453611" y="3221060"/>
                  <a:ext cx="47651" cy="38065"/>
                </a:xfrm>
                <a:custGeom>
                  <a:avLst/>
                  <a:gdLst>
                    <a:gd name="connsiteX0" fmla="*/ 5974 w 47651"/>
                    <a:gd name="connsiteY0" fmla="*/ 6390 h 38065"/>
                    <a:gd name="connsiteX1" fmla="*/ 17922 w 47651"/>
                    <a:gd name="connsiteY1" fmla="*/ 25423 h 38065"/>
                    <a:gd name="connsiteX2" fmla="*/ 47651 w 47651"/>
                    <a:gd name="connsiteY2" fmla="*/ 38065 h 38065"/>
                    <a:gd name="connsiteX3" fmla="*/ 0 w 47651"/>
                    <a:gd name="connsiteY3" fmla="*/ 0 h 38065"/>
                    <a:gd name="connsiteX4" fmla="*/ 5974 w 47651"/>
                    <a:gd name="connsiteY4" fmla="*/ 6390 h 38065"/>
                    <a:gd name="connsiteX5" fmla="*/ 5974 w 47651"/>
                    <a:gd name="connsiteY5" fmla="*/ 6390 h 3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51" h="38065">
                      <a:moveTo>
                        <a:pt x="5974" y="6390"/>
                      </a:moveTo>
                      <a:cubicBezTo>
                        <a:pt x="11948" y="6390"/>
                        <a:pt x="11948" y="19032"/>
                        <a:pt x="17922" y="25423"/>
                      </a:cubicBezTo>
                      <a:cubicBezTo>
                        <a:pt x="29869" y="25423"/>
                        <a:pt x="35843" y="31814"/>
                        <a:pt x="47651" y="38065"/>
                      </a:cubicBezTo>
                      <a:cubicBezTo>
                        <a:pt x="41677" y="12642"/>
                        <a:pt x="17922" y="6252"/>
                        <a:pt x="0" y="0"/>
                      </a:cubicBezTo>
                      <a:cubicBezTo>
                        <a:pt x="0" y="6390"/>
                        <a:pt x="0" y="6390"/>
                        <a:pt x="5974" y="6390"/>
                      </a:cubicBezTo>
                      <a:cubicBezTo>
                        <a:pt x="11809" y="6390"/>
                        <a:pt x="0" y="6390"/>
                        <a:pt x="5974" y="639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3" name="Freihandform: Form 322">
                  <a:extLst>
                    <a:ext uri="{FF2B5EF4-FFF2-40B4-BE49-F238E27FC236}">
                      <a16:creationId xmlns:a16="http://schemas.microsoft.com/office/drawing/2014/main" id="{D20AF3AD-247E-49EA-9F75-FCB030BF0C95}"/>
                    </a:ext>
                  </a:extLst>
                </p:cNvPr>
                <p:cNvSpPr/>
                <p:nvPr/>
              </p:nvSpPr>
              <p:spPr>
                <a:xfrm>
                  <a:off x="7310520" y="3076922"/>
                  <a:ext cx="213811" cy="105933"/>
                </a:xfrm>
                <a:custGeom>
                  <a:avLst/>
                  <a:gdLst>
                    <a:gd name="connsiteX0" fmla="*/ 162958 w 213811"/>
                    <a:gd name="connsiteY0" fmla="*/ 86901 h 105933"/>
                    <a:gd name="connsiteX1" fmla="*/ 187964 w 213811"/>
                    <a:gd name="connsiteY1" fmla="*/ 99543 h 105933"/>
                    <a:gd name="connsiteX2" fmla="*/ 212970 w 213811"/>
                    <a:gd name="connsiteY2" fmla="*/ 99543 h 105933"/>
                    <a:gd name="connsiteX3" fmla="*/ 206719 w 213811"/>
                    <a:gd name="connsiteY3" fmla="*/ 67730 h 105933"/>
                    <a:gd name="connsiteX4" fmla="*/ 187964 w 213811"/>
                    <a:gd name="connsiteY4" fmla="*/ 55088 h 105933"/>
                    <a:gd name="connsiteX5" fmla="*/ 169209 w 213811"/>
                    <a:gd name="connsiteY5" fmla="*/ 36055 h 105933"/>
                    <a:gd name="connsiteX6" fmla="*/ 119058 w 213811"/>
                    <a:gd name="connsiteY6" fmla="*/ 29665 h 105933"/>
                    <a:gd name="connsiteX7" fmla="*/ 56403 w 213811"/>
                    <a:gd name="connsiteY7" fmla="*/ 17023 h 105933"/>
                    <a:gd name="connsiteX8" fmla="*/ 0 w 213811"/>
                    <a:gd name="connsiteY8" fmla="*/ 4242 h 105933"/>
                    <a:gd name="connsiteX9" fmla="*/ 50152 w 213811"/>
                    <a:gd name="connsiteY9" fmla="*/ 80510 h 105933"/>
                    <a:gd name="connsiteX10" fmla="*/ 112806 w 213811"/>
                    <a:gd name="connsiteY10" fmla="*/ 105934 h 105933"/>
                    <a:gd name="connsiteX11" fmla="*/ 162958 w 213811"/>
                    <a:gd name="connsiteY11" fmla="*/ 86901 h 105933"/>
                    <a:gd name="connsiteX12" fmla="*/ 162958 w 213811"/>
                    <a:gd name="connsiteY12" fmla="*/ 86901 h 10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3811" h="105933">
                      <a:moveTo>
                        <a:pt x="162958" y="86901"/>
                      </a:moveTo>
                      <a:cubicBezTo>
                        <a:pt x="169209" y="80510"/>
                        <a:pt x="181712" y="93292"/>
                        <a:pt x="187964" y="99543"/>
                      </a:cubicBezTo>
                      <a:lnTo>
                        <a:pt x="212970" y="99543"/>
                      </a:lnTo>
                      <a:cubicBezTo>
                        <a:pt x="219222" y="93153"/>
                        <a:pt x="187964" y="67730"/>
                        <a:pt x="206719" y="67730"/>
                      </a:cubicBezTo>
                      <a:cubicBezTo>
                        <a:pt x="200467" y="61339"/>
                        <a:pt x="187964" y="61339"/>
                        <a:pt x="187964" y="55088"/>
                      </a:cubicBezTo>
                      <a:cubicBezTo>
                        <a:pt x="187964" y="42307"/>
                        <a:pt x="181712" y="36055"/>
                        <a:pt x="169209" y="36055"/>
                      </a:cubicBezTo>
                      <a:cubicBezTo>
                        <a:pt x="150455" y="36055"/>
                        <a:pt x="137952" y="42446"/>
                        <a:pt x="119058" y="29665"/>
                      </a:cubicBezTo>
                      <a:cubicBezTo>
                        <a:pt x="100303" y="23274"/>
                        <a:pt x="81409" y="23274"/>
                        <a:pt x="56403" y="17023"/>
                      </a:cubicBezTo>
                      <a:cubicBezTo>
                        <a:pt x="37648" y="10632"/>
                        <a:pt x="25145" y="-8401"/>
                        <a:pt x="0" y="4242"/>
                      </a:cubicBezTo>
                      <a:cubicBezTo>
                        <a:pt x="18755" y="29665"/>
                        <a:pt x="68906" y="36055"/>
                        <a:pt x="50152" y="80510"/>
                      </a:cubicBezTo>
                      <a:cubicBezTo>
                        <a:pt x="68906" y="80510"/>
                        <a:pt x="112806" y="80510"/>
                        <a:pt x="112806" y="105934"/>
                      </a:cubicBezTo>
                      <a:cubicBezTo>
                        <a:pt x="112806" y="86901"/>
                        <a:pt x="150455" y="86901"/>
                        <a:pt x="162958" y="86901"/>
                      </a:cubicBezTo>
                      <a:cubicBezTo>
                        <a:pt x="169209" y="80510"/>
                        <a:pt x="119058" y="86901"/>
                        <a:pt x="162958" y="8690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4" name="Freihandform: Form 323">
                  <a:extLst>
                    <a:ext uri="{FF2B5EF4-FFF2-40B4-BE49-F238E27FC236}">
                      <a16:creationId xmlns:a16="http://schemas.microsoft.com/office/drawing/2014/main" id="{E5CECB91-34A7-4E6C-8EA1-A55BF7923D7D}"/>
                    </a:ext>
                  </a:extLst>
                </p:cNvPr>
                <p:cNvSpPr/>
                <p:nvPr/>
              </p:nvSpPr>
              <p:spPr>
                <a:xfrm>
                  <a:off x="7477321" y="3144930"/>
                  <a:ext cx="147202" cy="133227"/>
                </a:xfrm>
                <a:custGeom>
                  <a:avLst/>
                  <a:gdLst>
                    <a:gd name="connsiteX0" fmla="*/ 36583 w 147202"/>
                    <a:gd name="connsiteY0" fmla="*/ 12503 h 133227"/>
                    <a:gd name="connsiteX1" fmla="*/ 49364 w 147202"/>
                    <a:gd name="connsiteY1" fmla="*/ 31536 h 133227"/>
                    <a:gd name="connsiteX2" fmla="*/ 30332 w 147202"/>
                    <a:gd name="connsiteY2" fmla="*/ 31536 h 133227"/>
                    <a:gd name="connsiteX3" fmla="*/ 11299 w 147202"/>
                    <a:gd name="connsiteY3" fmla="*/ 18894 h 133227"/>
                    <a:gd name="connsiteX4" fmla="*/ 11299 w 147202"/>
                    <a:gd name="connsiteY4" fmla="*/ 44317 h 133227"/>
                    <a:gd name="connsiteX5" fmla="*/ 23941 w 147202"/>
                    <a:gd name="connsiteY5" fmla="*/ 69740 h 133227"/>
                    <a:gd name="connsiteX6" fmla="*/ 36583 w 147202"/>
                    <a:gd name="connsiteY6" fmla="*/ 88772 h 133227"/>
                    <a:gd name="connsiteX7" fmla="*/ 42973 w 147202"/>
                    <a:gd name="connsiteY7" fmla="*/ 107805 h 133227"/>
                    <a:gd name="connsiteX8" fmla="*/ 87429 w 147202"/>
                    <a:gd name="connsiteY8" fmla="*/ 82382 h 133227"/>
                    <a:gd name="connsiteX9" fmla="*/ 93819 w 147202"/>
                    <a:gd name="connsiteY9" fmla="*/ 101414 h 133227"/>
                    <a:gd name="connsiteX10" fmla="*/ 119243 w 147202"/>
                    <a:gd name="connsiteY10" fmla="*/ 133228 h 133227"/>
                    <a:gd name="connsiteX11" fmla="*/ 119243 w 147202"/>
                    <a:gd name="connsiteY11" fmla="*/ 114195 h 133227"/>
                    <a:gd name="connsiteX12" fmla="*/ 131884 w 147202"/>
                    <a:gd name="connsiteY12" fmla="*/ 101553 h 133227"/>
                    <a:gd name="connsiteX13" fmla="*/ 144666 w 147202"/>
                    <a:gd name="connsiteY13" fmla="*/ 69740 h 133227"/>
                    <a:gd name="connsiteX14" fmla="*/ 106601 w 147202"/>
                    <a:gd name="connsiteY14" fmla="*/ 6252 h 133227"/>
                    <a:gd name="connsiteX15" fmla="*/ 62145 w 147202"/>
                    <a:gd name="connsiteY15" fmla="*/ 12642 h 133227"/>
                    <a:gd name="connsiteX16" fmla="*/ 43112 w 147202"/>
                    <a:gd name="connsiteY16" fmla="*/ 0 h 133227"/>
                    <a:gd name="connsiteX17" fmla="*/ 36583 w 147202"/>
                    <a:gd name="connsiteY17" fmla="*/ 12503 h 133227"/>
                    <a:gd name="connsiteX18" fmla="*/ 36583 w 147202"/>
                    <a:gd name="connsiteY18" fmla="*/ 12503 h 13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7202" h="133227">
                      <a:moveTo>
                        <a:pt x="36583" y="12503"/>
                      </a:moveTo>
                      <a:cubicBezTo>
                        <a:pt x="36583" y="12503"/>
                        <a:pt x="55615" y="25284"/>
                        <a:pt x="49364" y="31536"/>
                      </a:cubicBezTo>
                      <a:lnTo>
                        <a:pt x="30332" y="31536"/>
                      </a:lnTo>
                      <a:cubicBezTo>
                        <a:pt x="17551" y="31536"/>
                        <a:pt x="17551" y="18894"/>
                        <a:pt x="11299" y="18894"/>
                      </a:cubicBezTo>
                      <a:cubicBezTo>
                        <a:pt x="-14124" y="12503"/>
                        <a:pt x="11299" y="37926"/>
                        <a:pt x="11299" y="44317"/>
                      </a:cubicBezTo>
                      <a:cubicBezTo>
                        <a:pt x="11299" y="63349"/>
                        <a:pt x="30332" y="50707"/>
                        <a:pt x="23941" y="69740"/>
                      </a:cubicBezTo>
                      <a:cubicBezTo>
                        <a:pt x="17551" y="82521"/>
                        <a:pt x="30332" y="82521"/>
                        <a:pt x="36583" y="88772"/>
                      </a:cubicBezTo>
                      <a:cubicBezTo>
                        <a:pt x="42973" y="88772"/>
                        <a:pt x="42973" y="101553"/>
                        <a:pt x="42973" y="107805"/>
                      </a:cubicBezTo>
                      <a:cubicBezTo>
                        <a:pt x="49364" y="101414"/>
                        <a:pt x="74787" y="88772"/>
                        <a:pt x="87429" y="82382"/>
                      </a:cubicBezTo>
                      <a:cubicBezTo>
                        <a:pt x="93819" y="82382"/>
                        <a:pt x="93819" y="95024"/>
                        <a:pt x="93819" y="101414"/>
                      </a:cubicBezTo>
                      <a:cubicBezTo>
                        <a:pt x="93819" y="120447"/>
                        <a:pt x="100210" y="126837"/>
                        <a:pt x="119243" y="133228"/>
                      </a:cubicBezTo>
                      <a:cubicBezTo>
                        <a:pt x="119243" y="126837"/>
                        <a:pt x="119243" y="114195"/>
                        <a:pt x="119243" y="114195"/>
                      </a:cubicBezTo>
                      <a:cubicBezTo>
                        <a:pt x="125633" y="107805"/>
                        <a:pt x="131884" y="107805"/>
                        <a:pt x="131884" y="101553"/>
                      </a:cubicBezTo>
                      <a:cubicBezTo>
                        <a:pt x="138275" y="88772"/>
                        <a:pt x="138275" y="76130"/>
                        <a:pt x="144666" y="69740"/>
                      </a:cubicBezTo>
                      <a:cubicBezTo>
                        <a:pt x="157308" y="50707"/>
                        <a:pt x="119243" y="12503"/>
                        <a:pt x="106601" y="6252"/>
                      </a:cubicBezTo>
                      <a:cubicBezTo>
                        <a:pt x="93819" y="25284"/>
                        <a:pt x="81177" y="25284"/>
                        <a:pt x="62145" y="12642"/>
                      </a:cubicBezTo>
                      <a:cubicBezTo>
                        <a:pt x="62145" y="6252"/>
                        <a:pt x="49503" y="0"/>
                        <a:pt x="43112" y="0"/>
                      </a:cubicBezTo>
                      <a:cubicBezTo>
                        <a:pt x="36722" y="0"/>
                        <a:pt x="36583" y="6252"/>
                        <a:pt x="36583" y="12503"/>
                      </a:cubicBezTo>
                      <a:cubicBezTo>
                        <a:pt x="42973" y="18894"/>
                        <a:pt x="30332" y="-139"/>
                        <a:pt x="36583" y="125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5" name="Freihandform: Form 324">
                  <a:extLst>
                    <a:ext uri="{FF2B5EF4-FFF2-40B4-BE49-F238E27FC236}">
                      <a16:creationId xmlns:a16="http://schemas.microsoft.com/office/drawing/2014/main" id="{18D03E71-80D5-4202-8344-91034219FE47}"/>
                    </a:ext>
                  </a:extLst>
                </p:cNvPr>
                <p:cNvSpPr/>
                <p:nvPr/>
              </p:nvSpPr>
              <p:spPr>
                <a:xfrm>
                  <a:off x="7520294" y="3562385"/>
                  <a:ext cx="57236" cy="59053"/>
                </a:xfrm>
                <a:custGeom>
                  <a:avLst/>
                  <a:gdLst>
                    <a:gd name="connsiteX0" fmla="*/ 19033 w 57236"/>
                    <a:gd name="connsiteY0" fmla="*/ 5707 h 59053"/>
                    <a:gd name="connsiteX1" fmla="*/ 0 w 57236"/>
                    <a:gd name="connsiteY1" fmla="*/ 39048 h 59053"/>
                    <a:gd name="connsiteX2" fmla="*/ 25423 w 57236"/>
                    <a:gd name="connsiteY2" fmla="*/ 45716 h 59053"/>
                    <a:gd name="connsiteX3" fmla="*/ 57237 w 57236"/>
                    <a:gd name="connsiteY3" fmla="*/ 59053 h 59053"/>
                    <a:gd name="connsiteX4" fmla="*/ 44595 w 57236"/>
                    <a:gd name="connsiteY4" fmla="*/ 25711 h 59053"/>
                    <a:gd name="connsiteX5" fmla="*/ 50985 w 57236"/>
                    <a:gd name="connsiteY5" fmla="*/ 12375 h 59053"/>
                    <a:gd name="connsiteX6" fmla="*/ 19033 w 57236"/>
                    <a:gd name="connsiteY6" fmla="*/ 5707 h 59053"/>
                    <a:gd name="connsiteX7" fmla="*/ 19033 w 57236"/>
                    <a:gd name="connsiteY7" fmla="*/ 5707 h 5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36" h="59053">
                      <a:moveTo>
                        <a:pt x="19033" y="5707"/>
                      </a:moveTo>
                      <a:cubicBezTo>
                        <a:pt x="6391" y="12375"/>
                        <a:pt x="0" y="25711"/>
                        <a:pt x="0" y="39048"/>
                      </a:cubicBezTo>
                      <a:cubicBezTo>
                        <a:pt x="6391" y="39048"/>
                        <a:pt x="25423" y="39048"/>
                        <a:pt x="25423" y="45716"/>
                      </a:cubicBezTo>
                      <a:cubicBezTo>
                        <a:pt x="38066" y="59053"/>
                        <a:pt x="44456" y="59053"/>
                        <a:pt x="57237" y="59053"/>
                      </a:cubicBezTo>
                      <a:lnTo>
                        <a:pt x="44595" y="25711"/>
                      </a:lnTo>
                      <a:cubicBezTo>
                        <a:pt x="50985" y="25711"/>
                        <a:pt x="57237" y="25711"/>
                        <a:pt x="50985" y="12375"/>
                      </a:cubicBezTo>
                      <a:cubicBezTo>
                        <a:pt x="38066" y="5707"/>
                        <a:pt x="31814" y="-7630"/>
                        <a:pt x="19033" y="5707"/>
                      </a:cubicBezTo>
                      <a:cubicBezTo>
                        <a:pt x="6391" y="19043"/>
                        <a:pt x="25423" y="-962"/>
                        <a:pt x="19033" y="570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6" name="Freihandform: Form 325">
                  <a:extLst>
                    <a:ext uri="{FF2B5EF4-FFF2-40B4-BE49-F238E27FC236}">
                      <a16:creationId xmlns:a16="http://schemas.microsoft.com/office/drawing/2014/main" id="{7F813845-B989-4892-A8F2-BF653C93D74B}"/>
                    </a:ext>
                  </a:extLst>
                </p:cNvPr>
                <p:cNvSpPr/>
                <p:nvPr/>
              </p:nvSpPr>
              <p:spPr>
                <a:xfrm>
                  <a:off x="7177313" y="3316361"/>
                  <a:ext cx="209614" cy="171709"/>
                </a:xfrm>
                <a:custGeom>
                  <a:avLst/>
                  <a:gdLst>
                    <a:gd name="connsiteX0" fmla="*/ 171967 w 209614"/>
                    <a:gd name="connsiteY0" fmla="*/ 63627 h 171709"/>
                    <a:gd name="connsiteX1" fmla="*/ 178219 w 209614"/>
                    <a:gd name="connsiteY1" fmla="*/ 44594 h 171709"/>
                    <a:gd name="connsiteX2" fmla="*/ 171967 w 209614"/>
                    <a:gd name="connsiteY2" fmla="*/ 31814 h 171709"/>
                    <a:gd name="connsiteX3" fmla="*/ 209615 w 209614"/>
                    <a:gd name="connsiteY3" fmla="*/ 0 h 171709"/>
                    <a:gd name="connsiteX4" fmla="*/ 146961 w 209614"/>
                    <a:gd name="connsiteY4" fmla="*/ 6390 h 171709"/>
                    <a:gd name="connsiteX5" fmla="*/ 109313 w 209614"/>
                    <a:gd name="connsiteY5" fmla="*/ 12781 h 171709"/>
                    <a:gd name="connsiteX6" fmla="*/ 71664 w 209614"/>
                    <a:gd name="connsiteY6" fmla="*/ 12781 h 171709"/>
                    <a:gd name="connsiteX7" fmla="*/ 40406 w 209614"/>
                    <a:gd name="connsiteY7" fmla="*/ 12781 h 171709"/>
                    <a:gd name="connsiteX8" fmla="*/ 34155 w 209614"/>
                    <a:gd name="connsiteY8" fmla="*/ 25562 h 171709"/>
                    <a:gd name="connsiteX9" fmla="*/ 27903 w 209614"/>
                    <a:gd name="connsiteY9" fmla="*/ 38204 h 171709"/>
                    <a:gd name="connsiteX10" fmla="*/ 9149 w 209614"/>
                    <a:gd name="connsiteY10" fmla="*/ 38204 h 171709"/>
                    <a:gd name="connsiteX11" fmla="*/ 9149 w 209614"/>
                    <a:gd name="connsiteY11" fmla="*/ 63627 h 171709"/>
                    <a:gd name="connsiteX12" fmla="*/ 15400 w 209614"/>
                    <a:gd name="connsiteY12" fmla="*/ 89050 h 171709"/>
                    <a:gd name="connsiteX13" fmla="*/ 2897 w 209614"/>
                    <a:gd name="connsiteY13" fmla="*/ 139896 h 171709"/>
                    <a:gd name="connsiteX14" fmla="*/ 34155 w 209614"/>
                    <a:gd name="connsiteY14" fmla="*/ 171709 h 171709"/>
                    <a:gd name="connsiteX15" fmla="*/ 71803 w 209614"/>
                    <a:gd name="connsiteY15" fmla="*/ 152677 h 171709"/>
                    <a:gd name="connsiteX16" fmla="*/ 128206 w 209614"/>
                    <a:gd name="connsiteY16" fmla="*/ 120863 h 171709"/>
                    <a:gd name="connsiteX17" fmla="*/ 165854 w 209614"/>
                    <a:gd name="connsiteY17" fmla="*/ 95441 h 171709"/>
                    <a:gd name="connsiteX18" fmla="*/ 171967 w 209614"/>
                    <a:gd name="connsiteY18" fmla="*/ 63627 h 171709"/>
                    <a:gd name="connsiteX19" fmla="*/ 171967 w 209614"/>
                    <a:gd name="connsiteY19" fmla="*/ 63627 h 171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614" h="171709">
                      <a:moveTo>
                        <a:pt x="171967" y="63627"/>
                      </a:moveTo>
                      <a:cubicBezTo>
                        <a:pt x="178219" y="57237"/>
                        <a:pt x="184470" y="50846"/>
                        <a:pt x="178219" y="44594"/>
                      </a:cubicBezTo>
                      <a:cubicBezTo>
                        <a:pt x="171967" y="38204"/>
                        <a:pt x="165716" y="38204"/>
                        <a:pt x="171967" y="31814"/>
                      </a:cubicBezTo>
                      <a:cubicBezTo>
                        <a:pt x="184470" y="19172"/>
                        <a:pt x="209615" y="19172"/>
                        <a:pt x="209615" y="0"/>
                      </a:cubicBezTo>
                      <a:cubicBezTo>
                        <a:pt x="190860" y="0"/>
                        <a:pt x="165716" y="0"/>
                        <a:pt x="146961" y="6390"/>
                      </a:cubicBezTo>
                      <a:cubicBezTo>
                        <a:pt x="134458" y="6390"/>
                        <a:pt x="121955" y="12781"/>
                        <a:pt x="109313" y="12781"/>
                      </a:cubicBezTo>
                      <a:cubicBezTo>
                        <a:pt x="90558" y="12781"/>
                        <a:pt x="84306" y="6390"/>
                        <a:pt x="71664" y="12781"/>
                      </a:cubicBezTo>
                      <a:cubicBezTo>
                        <a:pt x="59161" y="19172"/>
                        <a:pt x="52909" y="19172"/>
                        <a:pt x="40406" y="12781"/>
                      </a:cubicBezTo>
                      <a:cubicBezTo>
                        <a:pt x="27903" y="139"/>
                        <a:pt x="34155" y="25562"/>
                        <a:pt x="34155" y="25562"/>
                      </a:cubicBezTo>
                      <a:cubicBezTo>
                        <a:pt x="27903" y="31952"/>
                        <a:pt x="27903" y="38204"/>
                        <a:pt x="27903" y="38204"/>
                      </a:cubicBezTo>
                      <a:cubicBezTo>
                        <a:pt x="21652" y="50846"/>
                        <a:pt x="15400" y="38204"/>
                        <a:pt x="9149" y="38204"/>
                      </a:cubicBezTo>
                      <a:cubicBezTo>
                        <a:pt x="2897" y="44594"/>
                        <a:pt x="9149" y="57237"/>
                        <a:pt x="9149" y="63627"/>
                      </a:cubicBezTo>
                      <a:cubicBezTo>
                        <a:pt x="9149" y="70018"/>
                        <a:pt x="2897" y="82660"/>
                        <a:pt x="15400" y="89050"/>
                      </a:cubicBezTo>
                      <a:cubicBezTo>
                        <a:pt x="46658" y="108083"/>
                        <a:pt x="21652" y="120863"/>
                        <a:pt x="2897" y="139896"/>
                      </a:cubicBezTo>
                      <a:cubicBezTo>
                        <a:pt x="-9606" y="152538"/>
                        <a:pt x="21652" y="171709"/>
                        <a:pt x="34155" y="171709"/>
                      </a:cubicBezTo>
                      <a:cubicBezTo>
                        <a:pt x="46658" y="171709"/>
                        <a:pt x="59161" y="159067"/>
                        <a:pt x="71803" y="152677"/>
                      </a:cubicBezTo>
                      <a:cubicBezTo>
                        <a:pt x="90558" y="140035"/>
                        <a:pt x="109452" y="133645"/>
                        <a:pt x="128206" y="120863"/>
                      </a:cubicBezTo>
                      <a:cubicBezTo>
                        <a:pt x="140709" y="114473"/>
                        <a:pt x="153213" y="108083"/>
                        <a:pt x="165854" y="95441"/>
                      </a:cubicBezTo>
                      <a:cubicBezTo>
                        <a:pt x="171967" y="82660"/>
                        <a:pt x="165716" y="69879"/>
                        <a:pt x="171967" y="63627"/>
                      </a:cubicBezTo>
                      <a:cubicBezTo>
                        <a:pt x="178219" y="50846"/>
                        <a:pt x="171967" y="69879"/>
                        <a:pt x="171967" y="6362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7" name="Freihandform: Form 326">
                  <a:extLst>
                    <a:ext uri="{FF2B5EF4-FFF2-40B4-BE49-F238E27FC236}">
                      <a16:creationId xmlns:a16="http://schemas.microsoft.com/office/drawing/2014/main" id="{391E5C46-0F94-4523-88CE-064C3A4B1182}"/>
                    </a:ext>
                  </a:extLst>
                </p:cNvPr>
                <p:cNvSpPr/>
                <p:nvPr/>
              </p:nvSpPr>
              <p:spPr>
                <a:xfrm>
                  <a:off x="7277555" y="3311273"/>
                  <a:ext cx="299559" cy="290992"/>
                </a:xfrm>
                <a:custGeom>
                  <a:avLst/>
                  <a:gdLst>
                    <a:gd name="connsiteX0" fmla="*/ 281638 w 299559"/>
                    <a:gd name="connsiteY0" fmla="*/ 221948 h 290992"/>
                    <a:gd name="connsiteX1" fmla="*/ 269413 w 299559"/>
                    <a:gd name="connsiteY1" fmla="*/ 209306 h 290992"/>
                    <a:gd name="connsiteX2" fmla="*/ 275525 w 299559"/>
                    <a:gd name="connsiteY2" fmla="*/ 196664 h 290992"/>
                    <a:gd name="connsiteX3" fmla="*/ 244962 w 299559"/>
                    <a:gd name="connsiteY3" fmla="*/ 165267 h 290992"/>
                    <a:gd name="connsiteX4" fmla="*/ 226625 w 299559"/>
                    <a:gd name="connsiteY4" fmla="*/ 152625 h 290992"/>
                    <a:gd name="connsiteX5" fmla="*/ 208287 w 299559"/>
                    <a:gd name="connsiteY5" fmla="*/ 108586 h 290992"/>
                    <a:gd name="connsiteX6" fmla="*/ 226625 w 299559"/>
                    <a:gd name="connsiteY6" fmla="*/ 58296 h 290992"/>
                    <a:gd name="connsiteX7" fmla="*/ 202174 w 299559"/>
                    <a:gd name="connsiteY7" fmla="*/ 33151 h 290992"/>
                    <a:gd name="connsiteX8" fmla="*/ 189948 w 299559"/>
                    <a:gd name="connsiteY8" fmla="*/ 8006 h 290992"/>
                    <a:gd name="connsiteX9" fmla="*/ 177723 w 299559"/>
                    <a:gd name="connsiteY9" fmla="*/ 14257 h 290992"/>
                    <a:gd name="connsiteX10" fmla="*/ 165498 w 299559"/>
                    <a:gd name="connsiteY10" fmla="*/ 1615 h 290992"/>
                    <a:gd name="connsiteX11" fmla="*/ 147160 w 299559"/>
                    <a:gd name="connsiteY11" fmla="*/ 7867 h 290992"/>
                    <a:gd name="connsiteX12" fmla="*/ 116597 w 299559"/>
                    <a:gd name="connsiteY12" fmla="*/ 1615 h 290992"/>
                    <a:gd name="connsiteX13" fmla="*/ 104372 w 299559"/>
                    <a:gd name="connsiteY13" fmla="*/ 20509 h 290992"/>
                    <a:gd name="connsiteX14" fmla="*/ 73809 w 299559"/>
                    <a:gd name="connsiteY14" fmla="*/ 39402 h 290992"/>
                    <a:gd name="connsiteX15" fmla="*/ 79921 w 299559"/>
                    <a:gd name="connsiteY15" fmla="*/ 58296 h 290992"/>
                    <a:gd name="connsiteX16" fmla="*/ 73809 w 299559"/>
                    <a:gd name="connsiteY16" fmla="*/ 77190 h 290992"/>
                    <a:gd name="connsiteX17" fmla="*/ 49358 w 299559"/>
                    <a:gd name="connsiteY17" fmla="*/ 114977 h 290992"/>
                    <a:gd name="connsiteX18" fmla="*/ 596 w 299559"/>
                    <a:gd name="connsiteY18" fmla="*/ 152764 h 290992"/>
                    <a:gd name="connsiteX19" fmla="*/ 12821 w 299559"/>
                    <a:gd name="connsiteY19" fmla="*/ 184161 h 290992"/>
                    <a:gd name="connsiteX20" fmla="*/ 49497 w 299559"/>
                    <a:gd name="connsiteY20" fmla="*/ 190412 h 290992"/>
                    <a:gd name="connsiteX21" fmla="*/ 104372 w 299559"/>
                    <a:gd name="connsiteY21" fmla="*/ 221809 h 290992"/>
                    <a:gd name="connsiteX22" fmla="*/ 171472 w 299559"/>
                    <a:gd name="connsiteY22" fmla="*/ 278351 h 290992"/>
                    <a:gd name="connsiteX23" fmla="*/ 226347 w 299559"/>
                    <a:gd name="connsiteY23" fmla="*/ 290993 h 290992"/>
                    <a:gd name="connsiteX24" fmla="*/ 256910 w 299559"/>
                    <a:gd name="connsiteY24" fmla="*/ 259596 h 290992"/>
                    <a:gd name="connsiteX25" fmla="*/ 299560 w 299559"/>
                    <a:gd name="connsiteY25" fmla="*/ 265848 h 290992"/>
                    <a:gd name="connsiteX26" fmla="*/ 281221 w 299559"/>
                    <a:gd name="connsiteY26" fmla="*/ 240703 h 290992"/>
                    <a:gd name="connsiteX27" fmla="*/ 281638 w 299559"/>
                    <a:gd name="connsiteY27" fmla="*/ 221948 h 290992"/>
                    <a:gd name="connsiteX28" fmla="*/ 281638 w 299559"/>
                    <a:gd name="connsiteY28" fmla="*/ 221948 h 29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9559" h="290992">
                      <a:moveTo>
                        <a:pt x="281638" y="221948"/>
                      </a:moveTo>
                      <a:cubicBezTo>
                        <a:pt x="281638" y="221948"/>
                        <a:pt x="269413" y="215696"/>
                        <a:pt x="269413" y="209306"/>
                      </a:cubicBezTo>
                      <a:cubicBezTo>
                        <a:pt x="269413" y="203054"/>
                        <a:pt x="275525" y="203054"/>
                        <a:pt x="275525" y="196664"/>
                      </a:cubicBezTo>
                      <a:cubicBezTo>
                        <a:pt x="269413" y="184022"/>
                        <a:pt x="257188" y="177770"/>
                        <a:pt x="244962" y="165267"/>
                      </a:cubicBezTo>
                      <a:cubicBezTo>
                        <a:pt x="238850" y="165267"/>
                        <a:pt x="226625" y="159016"/>
                        <a:pt x="226625" y="152625"/>
                      </a:cubicBezTo>
                      <a:cubicBezTo>
                        <a:pt x="220512" y="139983"/>
                        <a:pt x="208287" y="127480"/>
                        <a:pt x="208287" y="108586"/>
                      </a:cubicBezTo>
                      <a:cubicBezTo>
                        <a:pt x="202174" y="95944"/>
                        <a:pt x="238850" y="70799"/>
                        <a:pt x="226625" y="58296"/>
                      </a:cubicBezTo>
                      <a:cubicBezTo>
                        <a:pt x="214399" y="52044"/>
                        <a:pt x="208287" y="45654"/>
                        <a:pt x="202174" y="33151"/>
                      </a:cubicBezTo>
                      <a:cubicBezTo>
                        <a:pt x="196062" y="26899"/>
                        <a:pt x="196062" y="14257"/>
                        <a:pt x="189948" y="8006"/>
                      </a:cubicBezTo>
                      <a:cubicBezTo>
                        <a:pt x="183836" y="8006"/>
                        <a:pt x="183836" y="14257"/>
                        <a:pt x="177723" y="14257"/>
                      </a:cubicBezTo>
                      <a:cubicBezTo>
                        <a:pt x="165498" y="14257"/>
                        <a:pt x="171611" y="1615"/>
                        <a:pt x="165498" y="1615"/>
                      </a:cubicBezTo>
                      <a:cubicBezTo>
                        <a:pt x="159385" y="1615"/>
                        <a:pt x="147160" y="7867"/>
                        <a:pt x="147160" y="7867"/>
                      </a:cubicBezTo>
                      <a:cubicBezTo>
                        <a:pt x="134935" y="-4775"/>
                        <a:pt x="128822" y="1615"/>
                        <a:pt x="116597" y="1615"/>
                      </a:cubicBezTo>
                      <a:cubicBezTo>
                        <a:pt x="104372" y="7867"/>
                        <a:pt x="110485" y="14257"/>
                        <a:pt x="104372" y="20509"/>
                      </a:cubicBezTo>
                      <a:cubicBezTo>
                        <a:pt x="92146" y="26760"/>
                        <a:pt x="79921" y="26760"/>
                        <a:pt x="73809" y="39402"/>
                      </a:cubicBezTo>
                      <a:cubicBezTo>
                        <a:pt x="67696" y="52044"/>
                        <a:pt x="79921" y="45654"/>
                        <a:pt x="79921" y="58296"/>
                      </a:cubicBezTo>
                      <a:cubicBezTo>
                        <a:pt x="79921" y="64548"/>
                        <a:pt x="73809" y="64548"/>
                        <a:pt x="73809" y="77190"/>
                      </a:cubicBezTo>
                      <a:cubicBezTo>
                        <a:pt x="73809" y="96083"/>
                        <a:pt x="67696" y="102335"/>
                        <a:pt x="49358" y="114977"/>
                      </a:cubicBezTo>
                      <a:cubicBezTo>
                        <a:pt x="37132" y="121228"/>
                        <a:pt x="-5517" y="140122"/>
                        <a:pt x="596" y="152764"/>
                      </a:cubicBezTo>
                      <a:cubicBezTo>
                        <a:pt x="6708" y="159016"/>
                        <a:pt x="6708" y="177909"/>
                        <a:pt x="12821" y="184161"/>
                      </a:cubicBezTo>
                      <a:cubicBezTo>
                        <a:pt x="18934" y="190412"/>
                        <a:pt x="43384" y="190412"/>
                        <a:pt x="49497" y="190412"/>
                      </a:cubicBezTo>
                      <a:cubicBezTo>
                        <a:pt x="67835" y="196664"/>
                        <a:pt x="86034" y="209306"/>
                        <a:pt x="104372" y="221809"/>
                      </a:cubicBezTo>
                      <a:cubicBezTo>
                        <a:pt x="128822" y="240703"/>
                        <a:pt x="147021" y="259596"/>
                        <a:pt x="171472" y="278351"/>
                      </a:cubicBezTo>
                      <a:cubicBezTo>
                        <a:pt x="189810" y="290993"/>
                        <a:pt x="208148" y="290993"/>
                        <a:pt x="226347" y="290993"/>
                      </a:cubicBezTo>
                      <a:cubicBezTo>
                        <a:pt x="244546" y="290993"/>
                        <a:pt x="244685" y="272099"/>
                        <a:pt x="256910" y="259596"/>
                      </a:cubicBezTo>
                      <a:cubicBezTo>
                        <a:pt x="269135" y="247093"/>
                        <a:pt x="293446" y="272238"/>
                        <a:pt x="299560" y="265848"/>
                      </a:cubicBezTo>
                      <a:cubicBezTo>
                        <a:pt x="293446" y="259596"/>
                        <a:pt x="287334" y="253206"/>
                        <a:pt x="281221" y="240703"/>
                      </a:cubicBezTo>
                      <a:cubicBezTo>
                        <a:pt x="281638" y="234451"/>
                        <a:pt x="287751" y="228199"/>
                        <a:pt x="281638" y="221948"/>
                      </a:cubicBezTo>
                      <a:cubicBezTo>
                        <a:pt x="275525" y="215557"/>
                        <a:pt x="287751" y="228199"/>
                        <a:pt x="281638" y="22194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8" name="Freihandform: Form 327">
                  <a:extLst>
                    <a:ext uri="{FF2B5EF4-FFF2-40B4-BE49-F238E27FC236}">
                      <a16:creationId xmlns:a16="http://schemas.microsoft.com/office/drawing/2014/main" id="{4D1BD4EB-9173-4305-ADDB-2CA9CDF3C3CB}"/>
                    </a:ext>
                  </a:extLst>
                </p:cNvPr>
                <p:cNvSpPr/>
                <p:nvPr/>
              </p:nvSpPr>
              <p:spPr>
                <a:xfrm>
                  <a:off x="6881126" y="3135344"/>
                  <a:ext cx="577749" cy="228668"/>
                </a:xfrm>
                <a:custGeom>
                  <a:avLst/>
                  <a:gdLst>
                    <a:gd name="connsiteX0" fmla="*/ 314505 w 577749"/>
                    <a:gd name="connsiteY0" fmla="*/ 228668 h 228668"/>
                    <a:gd name="connsiteX1" fmla="*/ 327008 w 577749"/>
                    <a:gd name="connsiteY1" fmla="*/ 209635 h 228668"/>
                    <a:gd name="connsiteX2" fmla="*/ 333259 w 577749"/>
                    <a:gd name="connsiteY2" fmla="*/ 196993 h 228668"/>
                    <a:gd name="connsiteX3" fmla="*/ 364378 w 577749"/>
                    <a:gd name="connsiteY3" fmla="*/ 196993 h 228668"/>
                    <a:gd name="connsiteX4" fmla="*/ 389245 w 577749"/>
                    <a:gd name="connsiteY4" fmla="*/ 196993 h 228668"/>
                    <a:gd name="connsiteX5" fmla="*/ 457735 w 577749"/>
                    <a:gd name="connsiteY5" fmla="*/ 184213 h 228668"/>
                    <a:gd name="connsiteX6" fmla="*/ 519973 w 577749"/>
                    <a:gd name="connsiteY6" fmla="*/ 177822 h 228668"/>
                    <a:gd name="connsiteX7" fmla="*/ 551091 w 577749"/>
                    <a:gd name="connsiteY7" fmla="*/ 177822 h 228668"/>
                    <a:gd name="connsiteX8" fmla="*/ 563594 w 577749"/>
                    <a:gd name="connsiteY8" fmla="*/ 190464 h 228668"/>
                    <a:gd name="connsiteX9" fmla="*/ 576098 w 577749"/>
                    <a:gd name="connsiteY9" fmla="*/ 177822 h 228668"/>
                    <a:gd name="connsiteX10" fmla="*/ 563594 w 577749"/>
                    <a:gd name="connsiteY10" fmla="*/ 152399 h 228668"/>
                    <a:gd name="connsiteX11" fmla="*/ 563594 w 577749"/>
                    <a:gd name="connsiteY11" fmla="*/ 139757 h 228668"/>
                    <a:gd name="connsiteX12" fmla="*/ 557343 w 577749"/>
                    <a:gd name="connsiteY12" fmla="*/ 107944 h 228668"/>
                    <a:gd name="connsiteX13" fmla="*/ 569846 w 577749"/>
                    <a:gd name="connsiteY13" fmla="*/ 88911 h 228668"/>
                    <a:gd name="connsiteX14" fmla="*/ 544979 w 577749"/>
                    <a:gd name="connsiteY14" fmla="*/ 50846 h 228668"/>
                    <a:gd name="connsiteX15" fmla="*/ 507608 w 577749"/>
                    <a:gd name="connsiteY15" fmla="*/ 19032 h 228668"/>
                    <a:gd name="connsiteX16" fmla="*/ 488993 w 577749"/>
                    <a:gd name="connsiteY16" fmla="*/ 19032 h 228668"/>
                    <a:gd name="connsiteX17" fmla="*/ 476490 w 577749"/>
                    <a:gd name="connsiteY17" fmla="*/ 19032 h 228668"/>
                    <a:gd name="connsiteX18" fmla="*/ 445370 w 577749"/>
                    <a:gd name="connsiteY18" fmla="*/ 38065 h 228668"/>
                    <a:gd name="connsiteX19" fmla="*/ 383133 w 577749"/>
                    <a:gd name="connsiteY19" fmla="*/ 38065 h 228668"/>
                    <a:gd name="connsiteX20" fmla="*/ 352014 w 577749"/>
                    <a:gd name="connsiteY20" fmla="*/ 38065 h 228668"/>
                    <a:gd name="connsiteX21" fmla="*/ 327147 w 577749"/>
                    <a:gd name="connsiteY21" fmla="*/ 25423 h 228668"/>
                    <a:gd name="connsiteX22" fmla="*/ 302279 w 577749"/>
                    <a:gd name="connsiteY22" fmla="*/ 12642 h 228668"/>
                    <a:gd name="connsiteX23" fmla="*/ 277412 w 577749"/>
                    <a:gd name="connsiteY23" fmla="*/ 0 h 228668"/>
                    <a:gd name="connsiteX24" fmla="*/ 221426 w 577749"/>
                    <a:gd name="connsiteY24" fmla="*/ 0 h 228668"/>
                    <a:gd name="connsiteX25" fmla="*/ 171691 w 577749"/>
                    <a:gd name="connsiteY25" fmla="*/ 25423 h 228668"/>
                    <a:gd name="connsiteX26" fmla="*/ 103202 w 577749"/>
                    <a:gd name="connsiteY26" fmla="*/ 31813 h 228668"/>
                    <a:gd name="connsiteX27" fmla="*/ 90699 w 577749"/>
                    <a:gd name="connsiteY27" fmla="*/ 38204 h 228668"/>
                    <a:gd name="connsiteX28" fmla="*/ 103202 w 577749"/>
                    <a:gd name="connsiteY28" fmla="*/ 44594 h 228668"/>
                    <a:gd name="connsiteX29" fmla="*/ 84586 w 577749"/>
                    <a:gd name="connsiteY29" fmla="*/ 50985 h 228668"/>
                    <a:gd name="connsiteX30" fmla="*/ 72083 w 577749"/>
                    <a:gd name="connsiteY30" fmla="*/ 57375 h 228668"/>
                    <a:gd name="connsiteX31" fmla="*/ 16096 w 577749"/>
                    <a:gd name="connsiteY31" fmla="*/ 57375 h 228668"/>
                    <a:gd name="connsiteX32" fmla="*/ 9845 w 577749"/>
                    <a:gd name="connsiteY32" fmla="*/ 70017 h 228668"/>
                    <a:gd name="connsiteX33" fmla="*/ 9845 w 577749"/>
                    <a:gd name="connsiteY33" fmla="*/ 95440 h 228668"/>
                    <a:gd name="connsiteX34" fmla="*/ 22348 w 577749"/>
                    <a:gd name="connsiteY34" fmla="*/ 89050 h 228668"/>
                    <a:gd name="connsiteX35" fmla="*/ 9845 w 577749"/>
                    <a:gd name="connsiteY35" fmla="*/ 108082 h 228668"/>
                    <a:gd name="connsiteX36" fmla="*/ 22348 w 577749"/>
                    <a:gd name="connsiteY36" fmla="*/ 108082 h 228668"/>
                    <a:gd name="connsiteX37" fmla="*/ 22348 w 577749"/>
                    <a:gd name="connsiteY37" fmla="*/ 120863 h 228668"/>
                    <a:gd name="connsiteX38" fmla="*/ 9845 w 577749"/>
                    <a:gd name="connsiteY38" fmla="*/ 127254 h 228668"/>
                    <a:gd name="connsiteX39" fmla="*/ 16096 w 577749"/>
                    <a:gd name="connsiteY39" fmla="*/ 140035 h 228668"/>
                    <a:gd name="connsiteX40" fmla="*/ 16096 w 577749"/>
                    <a:gd name="connsiteY40" fmla="*/ 159067 h 228668"/>
                    <a:gd name="connsiteX41" fmla="*/ 40964 w 577749"/>
                    <a:gd name="connsiteY41" fmla="*/ 171709 h 228668"/>
                    <a:gd name="connsiteX42" fmla="*/ 34713 w 577749"/>
                    <a:gd name="connsiteY42" fmla="*/ 190742 h 228668"/>
                    <a:gd name="connsiteX43" fmla="*/ 53328 w 577749"/>
                    <a:gd name="connsiteY43" fmla="*/ 190742 h 228668"/>
                    <a:gd name="connsiteX44" fmla="*/ 40825 w 577749"/>
                    <a:gd name="connsiteY44" fmla="*/ 197132 h 228668"/>
                    <a:gd name="connsiteX45" fmla="*/ 53328 w 577749"/>
                    <a:gd name="connsiteY45" fmla="*/ 197132 h 228668"/>
                    <a:gd name="connsiteX46" fmla="*/ 47077 w 577749"/>
                    <a:gd name="connsiteY46" fmla="*/ 216165 h 228668"/>
                    <a:gd name="connsiteX47" fmla="*/ 59580 w 577749"/>
                    <a:gd name="connsiteY47" fmla="*/ 222555 h 228668"/>
                    <a:gd name="connsiteX48" fmla="*/ 65832 w 577749"/>
                    <a:gd name="connsiteY48" fmla="*/ 197132 h 228668"/>
                    <a:gd name="connsiteX49" fmla="*/ 90699 w 577749"/>
                    <a:gd name="connsiteY49" fmla="*/ 203523 h 228668"/>
                    <a:gd name="connsiteX50" fmla="*/ 128069 w 577749"/>
                    <a:gd name="connsiteY50" fmla="*/ 209913 h 228668"/>
                    <a:gd name="connsiteX51" fmla="*/ 159188 w 577749"/>
                    <a:gd name="connsiteY51" fmla="*/ 197271 h 228668"/>
                    <a:gd name="connsiteX52" fmla="*/ 208923 w 577749"/>
                    <a:gd name="connsiteY52" fmla="*/ 222694 h 228668"/>
                    <a:gd name="connsiteX53" fmla="*/ 252545 w 577749"/>
                    <a:gd name="connsiteY53" fmla="*/ 203662 h 228668"/>
                    <a:gd name="connsiteX54" fmla="*/ 265048 w 577749"/>
                    <a:gd name="connsiteY54" fmla="*/ 191020 h 228668"/>
                    <a:gd name="connsiteX55" fmla="*/ 289915 w 577749"/>
                    <a:gd name="connsiteY55" fmla="*/ 197410 h 228668"/>
                    <a:gd name="connsiteX56" fmla="*/ 302418 w 577749"/>
                    <a:gd name="connsiteY56" fmla="*/ 210052 h 228668"/>
                    <a:gd name="connsiteX57" fmla="*/ 302418 w 577749"/>
                    <a:gd name="connsiteY57" fmla="*/ 222694 h 228668"/>
                    <a:gd name="connsiteX58" fmla="*/ 314505 w 577749"/>
                    <a:gd name="connsiteY58" fmla="*/ 228668 h 228668"/>
                    <a:gd name="connsiteX59" fmla="*/ 314505 w 577749"/>
                    <a:gd name="connsiteY59" fmla="*/ 228668 h 22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77749" h="228668">
                      <a:moveTo>
                        <a:pt x="314505" y="228668"/>
                      </a:moveTo>
                      <a:cubicBezTo>
                        <a:pt x="320756" y="222278"/>
                        <a:pt x="327008" y="209635"/>
                        <a:pt x="327008" y="209635"/>
                      </a:cubicBezTo>
                      <a:cubicBezTo>
                        <a:pt x="320756" y="196993"/>
                        <a:pt x="327008" y="190603"/>
                        <a:pt x="333259" y="196993"/>
                      </a:cubicBezTo>
                      <a:cubicBezTo>
                        <a:pt x="345763" y="203384"/>
                        <a:pt x="351875" y="196993"/>
                        <a:pt x="364378" y="196993"/>
                      </a:cubicBezTo>
                      <a:cubicBezTo>
                        <a:pt x="376881" y="190603"/>
                        <a:pt x="376881" y="190603"/>
                        <a:pt x="389245" y="196993"/>
                      </a:cubicBezTo>
                      <a:cubicBezTo>
                        <a:pt x="414113" y="196993"/>
                        <a:pt x="432867" y="184213"/>
                        <a:pt x="457735" y="184213"/>
                      </a:cubicBezTo>
                      <a:cubicBezTo>
                        <a:pt x="476351" y="184213"/>
                        <a:pt x="501357" y="184213"/>
                        <a:pt x="519973" y="177822"/>
                      </a:cubicBezTo>
                      <a:cubicBezTo>
                        <a:pt x="532476" y="171432"/>
                        <a:pt x="532476" y="184213"/>
                        <a:pt x="551091" y="177822"/>
                      </a:cubicBezTo>
                      <a:cubicBezTo>
                        <a:pt x="563594" y="171432"/>
                        <a:pt x="557343" y="184213"/>
                        <a:pt x="563594" y="190464"/>
                      </a:cubicBezTo>
                      <a:cubicBezTo>
                        <a:pt x="569846" y="196855"/>
                        <a:pt x="582210" y="184074"/>
                        <a:pt x="576098" y="177822"/>
                      </a:cubicBezTo>
                      <a:cubicBezTo>
                        <a:pt x="569846" y="171432"/>
                        <a:pt x="582349" y="158790"/>
                        <a:pt x="563594" y="152399"/>
                      </a:cubicBezTo>
                      <a:cubicBezTo>
                        <a:pt x="557343" y="146009"/>
                        <a:pt x="569846" y="146009"/>
                        <a:pt x="563594" y="139757"/>
                      </a:cubicBezTo>
                      <a:cubicBezTo>
                        <a:pt x="563594" y="126976"/>
                        <a:pt x="557343" y="120724"/>
                        <a:pt x="557343" y="107944"/>
                      </a:cubicBezTo>
                      <a:cubicBezTo>
                        <a:pt x="557343" y="101553"/>
                        <a:pt x="569846" y="88911"/>
                        <a:pt x="569846" y="88911"/>
                      </a:cubicBezTo>
                      <a:cubicBezTo>
                        <a:pt x="563594" y="76269"/>
                        <a:pt x="551230" y="69878"/>
                        <a:pt x="544979" y="50846"/>
                      </a:cubicBezTo>
                      <a:cubicBezTo>
                        <a:pt x="532476" y="31813"/>
                        <a:pt x="532476" y="25423"/>
                        <a:pt x="507608" y="19032"/>
                      </a:cubicBezTo>
                      <a:cubicBezTo>
                        <a:pt x="501357" y="19032"/>
                        <a:pt x="495105" y="19032"/>
                        <a:pt x="488993" y="19032"/>
                      </a:cubicBezTo>
                      <a:cubicBezTo>
                        <a:pt x="476490" y="12642"/>
                        <a:pt x="482741" y="19032"/>
                        <a:pt x="476490" y="19032"/>
                      </a:cubicBezTo>
                      <a:cubicBezTo>
                        <a:pt x="463987" y="31674"/>
                        <a:pt x="451622" y="31674"/>
                        <a:pt x="445370" y="38065"/>
                      </a:cubicBezTo>
                      <a:cubicBezTo>
                        <a:pt x="426755" y="44456"/>
                        <a:pt x="401888" y="38065"/>
                        <a:pt x="383133" y="38065"/>
                      </a:cubicBezTo>
                      <a:cubicBezTo>
                        <a:pt x="370630" y="38065"/>
                        <a:pt x="358266" y="38065"/>
                        <a:pt x="352014" y="38065"/>
                      </a:cubicBezTo>
                      <a:cubicBezTo>
                        <a:pt x="339511" y="31674"/>
                        <a:pt x="339511" y="25423"/>
                        <a:pt x="327147" y="25423"/>
                      </a:cubicBezTo>
                      <a:cubicBezTo>
                        <a:pt x="314644" y="25423"/>
                        <a:pt x="308531" y="19032"/>
                        <a:pt x="302279" y="12642"/>
                      </a:cubicBezTo>
                      <a:cubicBezTo>
                        <a:pt x="296027" y="12642"/>
                        <a:pt x="271160" y="0"/>
                        <a:pt x="277412" y="0"/>
                      </a:cubicBezTo>
                      <a:cubicBezTo>
                        <a:pt x="264909" y="6390"/>
                        <a:pt x="233929" y="0"/>
                        <a:pt x="221426" y="0"/>
                      </a:cubicBezTo>
                      <a:cubicBezTo>
                        <a:pt x="202810" y="0"/>
                        <a:pt x="184056" y="19032"/>
                        <a:pt x="171691" y="25423"/>
                      </a:cubicBezTo>
                      <a:cubicBezTo>
                        <a:pt x="153075" y="38065"/>
                        <a:pt x="121957" y="25423"/>
                        <a:pt x="103202" y="31813"/>
                      </a:cubicBezTo>
                      <a:cubicBezTo>
                        <a:pt x="96950" y="31813"/>
                        <a:pt x="90699" y="31813"/>
                        <a:pt x="90699" y="38204"/>
                      </a:cubicBezTo>
                      <a:cubicBezTo>
                        <a:pt x="90699" y="38204"/>
                        <a:pt x="103202" y="38204"/>
                        <a:pt x="103202" y="44594"/>
                      </a:cubicBezTo>
                      <a:cubicBezTo>
                        <a:pt x="103202" y="44594"/>
                        <a:pt x="84586" y="44594"/>
                        <a:pt x="84586" y="50985"/>
                      </a:cubicBezTo>
                      <a:cubicBezTo>
                        <a:pt x="84586" y="57375"/>
                        <a:pt x="84586" y="57375"/>
                        <a:pt x="72083" y="57375"/>
                      </a:cubicBezTo>
                      <a:cubicBezTo>
                        <a:pt x="53467" y="57375"/>
                        <a:pt x="34713" y="57375"/>
                        <a:pt x="16096" y="57375"/>
                      </a:cubicBezTo>
                      <a:cubicBezTo>
                        <a:pt x="3593" y="57375"/>
                        <a:pt x="9845" y="63766"/>
                        <a:pt x="9845" y="70017"/>
                      </a:cubicBezTo>
                      <a:cubicBezTo>
                        <a:pt x="3593" y="82798"/>
                        <a:pt x="-8771" y="89050"/>
                        <a:pt x="9845" y="95440"/>
                      </a:cubicBezTo>
                      <a:lnTo>
                        <a:pt x="22348" y="89050"/>
                      </a:lnTo>
                      <a:cubicBezTo>
                        <a:pt x="22348" y="95440"/>
                        <a:pt x="9845" y="108082"/>
                        <a:pt x="9845" y="108082"/>
                      </a:cubicBezTo>
                      <a:cubicBezTo>
                        <a:pt x="16096" y="114473"/>
                        <a:pt x="16096" y="108082"/>
                        <a:pt x="22348" y="108082"/>
                      </a:cubicBezTo>
                      <a:lnTo>
                        <a:pt x="22348" y="120863"/>
                      </a:lnTo>
                      <a:cubicBezTo>
                        <a:pt x="34851" y="139896"/>
                        <a:pt x="16096" y="127254"/>
                        <a:pt x="9845" y="127254"/>
                      </a:cubicBezTo>
                      <a:cubicBezTo>
                        <a:pt x="9845" y="127254"/>
                        <a:pt x="3593" y="146286"/>
                        <a:pt x="16096" y="140035"/>
                      </a:cubicBezTo>
                      <a:cubicBezTo>
                        <a:pt x="28600" y="140035"/>
                        <a:pt x="16096" y="152677"/>
                        <a:pt x="16096" y="159067"/>
                      </a:cubicBezTo>
                      <a:cubicBezTo>
                        <a:pt x="16096" y="165458"/>
                        <a:pt x="34713" y="165458"/>
                        <a:pt x="40964" y="171709"/>
                      </a:cubicBezTo>
                      <a:cubicBezTo>
                        <a:pt x="47216" y="178100"/>
                        <a:pt x="34713" y="190742"/>
                        <a:pt x="34713" y="190742"/>
                      </a:cubicBezTo>
                      <a:cubicBezTo>
                        <a:pt x="40964" y="190742"/>
                        <a:pt x="47216" y="178100"/>
                        <a:pt x="53328" y="190742"/>
                      </a:cubicBezTo>
                      <a:cubicBezTo>
                        <a:pt x="53328" y="197132"/>
                        <a:pt x="40825" y="197132"/>
                        <a:pt x="40825" y="197132"/>
                      </a:cubicBezTo>
                      <a:lnTo>
                        <a:pt x="53328" y="197132"/>
                      </a:lnTo>
                      <a:cubicBezTo>
                        <a:pt x="59580" y="203523"/>
                        <a:pt x="53328" y="209775"/>
                        <a:pt x="47077" y="216165"/>
                      </a:cubicBezTo>
                      <a:cubicBezTo>
                        <a:pt x="47077" y="222555"/>
                        <a:pt x="59580" y="228807"/>
                        <a:pt x="59580" y="222555"/>
                      </a:cubicBezTo>
                      <a:cubicBezTo>
                        <a:pt x="65832" y="216165"/>
                        <a:pt x="59580" y="203523"/>
                        <a:pt x="65832" y="197132"/>
                      </a:cubicBezTo>
                      <a:cubicBezTo>
                        <a:pt x="72083" y="190742"/>
                        <a:pt x="84447" y="203523"/>
                        <a:pt x="90699" y="203523"/>
                      </a:cubicBezTo>
                      <a:cubicBezTo>
                        <a:pt x="103202" y="209913"/>
                        <a:pt x="115566" y="222555"/>
                        <a:pt x="128069" y="209913"/>
                      </a:cubicBezTo>
                      <a:cubicBezTo>
                        <a:pt x="146685" y="203523"/>
                        <a:pt x="134321" y="184490"/>
                        <a:pt x="159188" y="197271"/>
                      </a:cubicBezTo>
                      <a:cubicBezTo>
                        <a:pt x="171691" y="209913"/>
                        <a:pt x="190307" y="222694"/>
                        <a:pt x="208923" y="222694"/>
                      </a:cubicBezTo>
                      <a:cubicBezTo>
                        <a:pt x="221426" y="216304"/>
                        <a:pt x="240042" y="210052"/>
                        <a:pt x="252545" y="203662"/>
                      </a:cubicBezTo>
                      <a:cubicBezTo>
                        <a:pt x="258796" y="197271"/>
                        <a:pt x="258796" y="191020"/>
                        <a:pt x="265048" y="191020"/>
                      </a:cubicBezTo>
                      <a:cubicBezTo>
                        <a:pt x="277551" y="197410"/>
                        <a:pt x="283663" y="203662"/>
                        <a:pt x="289915" y="197410"/>
                      </a:cubicBezTo>
                      <a:cubicBezTo>
                        <a:pt x="308531" y="191020"/>
                        <a:pt x="308531" y="197410"/>
                        <a:pt x="302418" y="210052"/>
                      </a:cubicBezTo>
                      <a:cubicBezTo>
                        <a:pt x="302418" y="216443"/>
                        <a:pt x="314921" y="216443"/>
                        <a:pt x="302418" y="222694"/>
                      </a:cubicBezTo>
                      <a:cubicBezTo>
                        <a:pt x="308253" y="228668"/>
                        <a:pt x="308253" y="228668"/>
                        <a:pt x="314505" y="228668"/>
                      </a:cubicBezTo>
                      <a:cubicBezTo>
                        <a:pt x="320617" y="222278"/>
                        <a:pt x="308253" y="228668"/>
                        <a:pt x="314505" y="22866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29" name="Freihandform: Form 328">
                  <a:extLst>
                    <a:ext uri="{FF2B5EF4-FFF2-40B4-BE49-F238E27FC236}">
                      <a16:creationId xmlns:a16="http://schemas.microsoft.com/office/drawing/2014/main" id="{D3AE739D-549A-4690-9D3A-4E1328AFE524}"/>
                    </a:ext>
                  </a:extLst>
                </p:cNvPr>
                <p:cNvSpPr/>
                <p:nvPr/>
              </p:nvSpPr>
              <p:spPr>
                <a:xfrm>
                  <a:off x="7142748" y="3498942"/>
                  <a:ext cx="653587" cy="522873"/>
                </a:xfrm>
                <a:custGeom>
                  <a:avLst/>
                  <a:gdLst>
                    <a:gd name="connsiteX0" fmla="*/ 403386 w 653587"/>
                    <a:gd name="connsiteY0" fmla="*/ 123329 h 522873"/>
                    <a:gd name="connsiteX1" fmla="*/ 378380 w 653587"/>
                    <a:gd name="connsiteY1" fmla="*/ 104575 h 522873"/>
                    <a:gd name="connsiteX2" fmla="*/ 321977 w 653587"/>
                    <a:gd name="connsiteY2" fmla="*/ 104575 h 522873"/>
                    <a:gd name="connsiteX3" fmla="*/ 296971 w 653587"/>
                    <a:gd name="connsiteY3" fmla="*/ 92072 h 522873"/>
                    <a:gd name="connsiteX4" fmla="*/ 246820 w 653587"/>
                    <a:gd name="connsiteY4" fmla="*/ 48311 h 522873"/>
                    <a:gd name="connsiteX5" fmla="*/ 165410 w 653587"/>
                    <a:gd name="connsiteY5" fmla="*/ 4689 h 522873"/>
                    <a:gd name="connsiteX6" fmla="*/ 127762 w 653587"/>
                    <a:gd name="connsiteY6" fmla="*/ 4689 h 522873"/>
                    <a:gd name="connsiteX7" fmla="*/ 77610 w 653587"/>
                    <a:gd name="connsiteY7" fmla="*/ 17192 h 522873"/>
                    <a:gd name="connsiteX8" fmla="*/ 102617 w 653587"/>
                    <a:gd name="connsiteY8" fmla="*/ 54701 h 522873"/>
                    <a:gd name="connsiteX9" fmla="*/ 77610 w 653587"/>
                    <a:gd name="connsiteY9" fmla="*/ 73456 h 522873"/>
                    <a:gd name="connsiteX10" fmla="*/ 58856 w 653587"/>
                    <a:gd name="connsiteY10" fmla="*/ 73456 h 522873"/>
                    <a:gd name="connsiteX11" fmla="*/ 52604 w 653587"/>
                    <a:gd name="connsiteY11" fmla="*/ 85959 h 522873"/>
                    <a:gd name="connsiteX12" fmla="*/ 8704 w 653587"/>
                    <a:gd name="connsiteY12" fmla="*/ 85959 h 522873"/>
                    <a:gd name="connsiteX13" fmla="*/ 2453 w 653587"/>
                    <a:gd name="connsiteY13" fmla="*/ 117217 h 522873"/>
                    <a:gd name="connsiteX14" fmla="*/ 14956 w 653587"/>
                    <a:gd name="connsiteY14" fmla="*/ 135971 h 522873"/>
                    <a:gd name="connsiteX15" fmla="*/ 46213 w 653587"/>
                    <a:gd name="connsiteY15" fmla="*/ 192097 h 522873"/>
                    <a:gd name="connsiteX16" fmla="*/ 71220 w 653587"/>
                    <a:gd name="connsiteY16" fmla="*/ 235718 h 522873"/>
                    <a:gd name="connsiteX17" fmla="*/ 89974 w 653587"/>
                    <a:gd name="connsiteY17" fmla="*/ 260725 h 522873"/>
                    <a:gd name="connsiteX18" fmla="*/ 121232 w 653587"/>
                    <a:gd name="connsiteY18" fmla="*/ 285731 h 522873"/>
                    <a:gd name="connsiteX19" fmla="*/ 133735 w 653587"/>
                    <a:gd name="connsiteY19" fmla="*/ 329353 h 522873"/>
                    <a:gd name="connsiteX20" fmla="*/ 139987 w 653587"/>
                    <a:gd name="connsiteY20" fmla="*/ 366862 h 522873"/>
                    <a:gd name="connsiteX21" fmla="*/ 190138 w 653587"/>
                    <a:gd name="connsiteY21" fmla="*/ 416736 h 522873"/>
                    <a:gd name="connsiteX22" fmla="*/ 221396 w 653587"/>
                    <a:gd name="connsiteY22" fmla="*/ 472861 h 522873"/>
                    <a:gd name="connsiteX23" fmla="*/ 246402 w 653587"/>
                    <a:gd name="connsiteY23" fmla="*/ 504119 h 522873"/>
                    <a:gd name="connsiteX24" fmla="*/ 252654 w 653587"/>
                    <a:gd name="connsiteY24" fmla="*/ 522873 h 522873"/>
                    <a:gd name="connsiteX25" fmla="*/ 265157 w 653587"/>
                    <a:gd name="connsiteY25" fmla="*/ 504119 h 522873"/>
                    <a:gd name="connsiteX26" fmla="*/ 309057 w 653587"/>
                    <a:gd name="connsiteY26" fmla="*/ 491616 h 522873"/>
                    <a:gd name="connsiteX27" fmla="*/ 371712 w 653587"/>
                    <a:gd name="connsiteY27" fmla="*/ 497867 h 522873"/>
                    <a:gd name="connsiteX28" fmla="*/ 409221 w 653587"/>
                    <a:gd name="connsiteY28" fmla="*/ 479112 h 522873"/>
                    <a:gd name="connsiteX29" fmla="*/ 471876 w 653587"/>
                    <a:gd name="connsiteY29" fmla="*/ 447855 h 522873"/>
                    <a:gd name="connsiteX30" fmla="*/ 584681 w 653587"/>
                    <a:gd name="connsiteY30" fmla="*/ 422848 h 522873"/>
                    <a:gd name="connsiteX31" fmla="*/ 634833 w 653587"/>
                    <a:gd name="connsiteY31" fmla="*/ 410345 h 522873"/>
                    <a:gd name="connsiteX32" fmla="*/ 647336 w 653587"/>
                    <a:gd name="connsiteY32" fmla="*/ 379087 h 522873"/>
                    <a:gd name="connsiteX33" fmla="*/ 653588 w 653587"/>
                    <a:gd name="connsiteY33" fmla="*/ 347830 h 522873"/>
                    <a:gd name="connsiteX34" fmla="*/ 641084 w 653587"/>
                    <a:gd name="connsiteY34" fmla="*/ 316572 h 522873"/>
                    <a:gd name="connsiteX35" fmla="*/ 578430 w 653587"/>
                    <a:gd name="connsiteY35" fmla="*/ 310320 h 522873"/>
                    <a:gd name="connsiteX36" fmla="*/ 547172 w 653587"/>
                    <a:gd name="connsiteY36" fmla="*/ 291566 h 522873"/>
                    <a:gd name="connsiteX37" fmla="*/ 503272 w 653587"/>
                    <a:gd name="connsiteY37" fmla="*/ 241692 h 522873"/>
                    <a:gd name="connsiteX38" fmla="*/ 478266 w 653587"/>
                    <a:gd name="connsiteY38" fmla="*/ 210434 h 522873"/>
                    <a:gd name="connsiteX39" fmla="*/ 478266 w 653587"/>
                    <a:gd name="connsiteY39" fmla="*/ 179177 h 522873"/>
                    <a:gd name="connsiteX40" fmla="*/ 459511 w 653587"/>
                    <a:gd name="connsiteY40" fmla="*/ 166673 h 522873"/>
                    <a:gd name="connsiteX41" fmla="*/ 434505 w 653587"/>
                    <a:gd name="connsiteY41" fmla="*/ 135416 h 522873"/>
                    <a:gd name="connsiteX42" fmla="*/ 403386 w 653587"/>
                    <a:gd name="connsiteY42" fmla="*/ 123329 h 52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53587" h="522873">
                      <a:moveTo>
                        <a:pt x="403386" y="123329"/>
                      </a:moveTo>
                      <a:cubicBezTo>
                        <a:pt x="397135" y="104575"/>
                        <a:pt x="397135" y="104575"/>
                        <a:pt x="378380" y="104575"/>
                      </a:cubicBezTo>
                      <a:cubicBezTo>
                        <a:pt x="359625" y="104575"/>
                        <a:pt x="340731" y="104575"/>
                        <a:pt x="321977" y="104575"/>
                      </a:cubicBezTo>
                      <a:cubicBezTo>
                        <a:pt x="309474" y="104575"/>
                        <a:pt x="303222" y="92072"/>
                        <a:pt x="296971" y="92072"/>
                      </a:cubicBezTo>
                      <a:cubicBezTo>
                        <a:pt x="278216" y="73317"/>
                        <a:pt x="259323" y="60814"/>
                        <a:pt x="246820" y="48311"/>
                      </a:cubicBezTo>
                      <a:cubicBezTo>
                        <a:pt x="221813" y="29556"/>
                        <a:pt x="196668" y="10801"/>
                        <a:pt x="165410" y="4689"/>
                      </a:cubicBezTo>
                      <a:cubicBezTo>
                        <a:pt x="152907" y="-1563"/>
                        <a:pt x="146656" y="-1563"/>
                        <a:pt x="127762" y="4689"/>
                      </a:cubicBezTo>
                      <a:cubicBezTo>
                        <a:pt x="115259" y="4689"/>
                        <a:pt x="96504" y="10940"/>
                        <a:pt x="77610" y="17192"/>
                      </a:cubicBezTo>
                      <a:cubicBezTo>
                        <a:pt x="83862" y="29695"/>
                        <a:pt x="102617" y="42198"/>
                        <a:pt x="102617" y="54701"/>
                      </a:cubicBezTo>
                      <a:cubicBezTo>
                        <a:pt x="102617" y="67204"/>
                        <a:pt x="83862" y="73456"/>
                        <a:pt x="77610" y="73456"/>
                      </a:cubicBezTo>
                      <a:cubicBezTo>
                        <a:pt x="71359" y="79707"/>
                        <a:pt x="65107" y="73456"/>
                        <a:pt x="58856" y="73456"/>
                      </a:cubicBezTo>
                      <a:cubicBezTo>
                        <a:pt x="52604" y="79707"/>
                        <a:pt x="52604" y="85959"/>
                        <a:pt x="52604" y="85959"/>
                      </a:cubicBezTo>
                      <a:cubicBezTo>
                        <a:pt x="40101" y="104714"/>
                        <a:pt x="14956" y="92211"/>
                        <a:pt x="8704" y="85959"/>
                      </a:cubicBezTo>
                      <a:cubicBezTo>
                        <a:pt x="2453" y="98462"/>
                        <a:pt x="2453" y="104714"/>
                        <a:pt x="2453" y="117217"/>
                      </a:cubicBezTo>
                      <a:cubicBezTo>
                        <a:pt x="-3799" y="135971"/>
                        <a:pt x="2453" y="129720"/>
                        <a:pt x="14956" y="135971"/>
                      </a:cubicBezTo>
                      <a:cubicBezTo>
                        <a:pt x="27459" y="148475"/>
                        <a:pt x="39962" y="173481"/>
                        <a:pt x="46213" y="192097"/>
                      </a:cubicBezTo>
                      <a:cubicBezTo>
                        <a:pt x="58717" y="204600"/>
                        <a:pt x="64968" y="217103"/>
                        <a:pt x="71220" y="235718"/>
                      </a:cubicBezTo>
                      <a:cubicBezTo>
                        <a:pt x="77471" y="248222"/>
                        <a:pt x="83723" y="254473"/>
                        <a:pt x="89974" y="260725"/>
                      </a:cubicBezTo>
                      <a:cubicBezTo>
                        <a:pt x="102477" y="273228"/>
                        <a:pt x="114981" y="273228"/>
                        <a:pt x="121232" y="285731"/>
                      </a:cubicBezTo>
                      <a:cubicBezTo>
                        <a:pt x="127484" y="298234"/>
                        <a:pt x="133735" y="310737"/>
                        <a:pt x="133735" y="329353"/>
                      </a:cubicBezTo>
                      <a:cubicBezTo>
                        <a:pt x="139987" y="341856"/>
                        <a:pt x="133735" y="354359"/>
                        <a:pt x="139987" y="366862"/>
                      </a:cubicBezTo>
                      <a:cubicBezTo>
                        <a:pt x="152490" y="391869"/>
                        <a:pt x="177635" y="398120"/>
                        <a:pt x="190138" y="416736"/>
                      </a:cubicBezTo>
                      <a:cubicBezTo>
                        <a:pt x="202642" y="435491"/>
                        <a:pt x="208893" y="460358"/>
                        <a:pt x="221396" y="472861"/>
                      </a:cubicBezTo>
                      <a:cubicBezTo>
                        <a:pt x="227648" y="485364"/>
                        <a:pt x="240151" y="497867"/>
                        <a:pt x="246402" y="504119"/>
                      </a:cubicBezTo>
                      <a:cubicBezTo>
                        <a:pt x="246402" y="510370"/>
                        <a:pt x="246402" y="522873"/>
                        <a:pt x="252654" y="522873"/>
                      </a:cubicBezTo>
                      <a:cubicBezTo>
                        <a:pt x="265157" y="522873"/>
                        <a:pt x="258906" y="510370"/>
                        <a:pt x="265157" y="504119"/>
                      </a:cubicBezTo>
                      <a:cubicBezTo>
                        <a:pt x="265157" y="485364"/>
                        <a:pt x="296415" y="491616"/>
                        <a:pt x="309057" y="491616"/>
                      </a:cubicBezTo>
                      <a:cubicBezTo>
                        <a:pt x="327812" y="491616"/>
                        <a:pt x="359209" y="485364"/>
                        <a:pt x="371712" y="497867"/>
                      </a:cubicBezTo>
                      <a:cubicBezTo>
                        <a:pt x="390466" y="504119"/>
                        <a:pt x="396718" y="491616"/>
                        <a:pt x="409221" y="479112"/>
                      </a:cubicBezTo>
                      <a:cubicBezTo>
                        <a:pt x="427976" y="454106"/>
                        <a:pt x="446870" y="454106"/>
                        <a:pt x="471876" y="447855"/>
                      </a:cubicBezTo>
                      <a:cubicBezTo>
                        <a:pt x="509524" y="447855"/>
                        <a:pt x="547033" y="435351"/>
                        <a:pt x="584681" y="422848"/>
                      </a:cubicBezTo>
                      <a:cubicBezTo>
                        <a:pt x="597184" y="416597"/>
                        <a:pt x="615939" y="410345"/>
                        <a:pt x="634833" y="410345"/>
                      </a:cubicBezTo>
                      <a:cubicBezTo>
                        <a:pt x="641084" y="404094"/>
                        <a:pt x="641084" y="391591"/>
                        <a:pt x="647336" y="379087"/>
                      </a:cubicBezTo>
                      <a:cubicBezTo>
                        <a:pt x="647336" y="372836"/>
                        <a:pt x="653588" y="360333"/>
                        <a:pt x="653588" y="347830"/>
                      </a:cubicBezTo>
                      <a:cubicBezTo>
                        <a:pt x="653588" y="341578"/>
                        <a:pt x="647336" y="322823"/>
                        <a:pt x="641084" y="316572"/>
                      </a:cubicBezTo>
                      <a:cubicBezTo>
                        <a:pt x="622330" y="316572"/>
                        <a:pt x="597184" y="316572"/>
                        <a:pt x="578430" y="310320"/>
                      </a:cubicBezTo>
                      <a:cubicBezTo>
                        <a:pt x="559675" y="310320"/>
                        <a:pt x="559675" y="304069"/>
                        <a:pt x="547172" y="291566"/>
                      </a:cubicBezTo>
                      <a:cubicBezTo>
                        <a:pt x="534669" y="266560"/>
                        <a:pt x="515914" y="260308"/>
                        <a:pt x="503272" y="241692"/>
                      </a:cubicBezTo>
                      <a:cubicBezTo>
                        <a:pt x="497020" y="241692"/>
                        <a:pt x="484517" y="216686"/>
                        <a:pt x="478266" y="210434"/>
                      </a:cubicBezTo>
                      <a:cubicBezTo>
                        <a:pt x="472014" y="197931"/>
                        <a:pt x="503272" y="191680"/>
                        <a:pt x="478266" y="179177"/>
                      </a:cubicBezTo>
                      <a:cubicBezTo>
                        <a:pt x="472014" y="179177"/>
                        <a:pt x="465763" y="166673"/>
                        <a:pt x="459511" y="166673"/>
                      </a:cubicBezTo>
                      <a:cubicBezTo>
                        <a:pt x="447008" y="166673"/>
                        <a:pt x="440756" y="147919"/>
                        <a:pt x="434505" y="135416"/>
                      </a:cubicBezTo>
                      <a:cubicBezTo>
                        <a:pt x="428531" y="117217"/>
                        <a:pt x="428531" y="123329"/>
                        <a:pt x="403386" y="12332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0" name="Freihandform: Form 329">
                  <a:extLst>
                    <a:ext uri="{FF2B5EF4-FFF2-40B4-BE49-F238E27FC236}">
                      <a16:creationId xmlns:a16="http://schemas.microsoft.com/office/drawing/2014/main" id="{559C7445-79B0-4147-A35E-74D37F49E75F}"/>
                    </a:ext>
                  </a:extLst>
                </p:cNvPr>
                <p:cNvSpPr/>
                <p:nvPr/>
              </p:nvSpPr>
              <p:spPr>
                <a:xfrm>
                  <a:off x="7158121" y="3459314"/>
                  <a:ext cx="123781" cy="133505"/>
                </a:xfrm>
                <a:custGeom>
                  <a:avLst/>
                  <a:gdLst>
                    <a:gd name="connsiteX0" fmla="*/ 29451 w 123781"/>
                    <a:gd name="connsiteY0" fmla="*/ 133505 h 133505"/>
                    <a:gd name="connsiteX1" fmla="*/ 47095 w 123781"/>
                    <a:gd name="connsiteY1" fmla="*/ 115307 h 133505"/>
                    <a:gd name="connsiteX2" fmla="*/ 70712 w 123781"/>
                    <a:gd name="connsiteY2" fmla="*/ 109194 h 133505"/>
                    <a:gd name="connsiteX3" fmla="*/ 88356 w 123781"/>
                    <a:gd name="connsiteY3" fmla="*/ 90995 h 133505"/>
                    <a:gd name="connsiteX4" fmla="*/ 64739 w 123781"/>
                    <a:gd name="connsiteY4" fmla="*/ 54597 h 133505"/>
                    <a:gd name="connsiteX5" fmla="*/ 123781 w 123781"/>
                    <a:gd name="connsiteY5" fmla="*/ 36398 h 133505"/>
                    <a:gd name="connsiteX6" fmla="*/ 111973 w 123781"/>
                    <a:gd name="connsiteY6" fmla="*/ 0 h 133505"/>
                    <a:gd name="connsiteX7" fmla="*/ 52930 w 123781"/>
                    <a:gd name="connsiteY7" fmla="*/ 30285 h 133505"/>
                    <a:gd name="connsiteX8" fmla="*/ 23478 w 123781"/>
                    <a:gd name="connsiteY8" fmla="*/ 5974 h 133505"/>
                    <a:gd name="connsiteX9" fmla="*/ 17643 w 123781"/>
                    <a:gd name="connsiteY9" fmla="*/ 66683 h 133505"/>
                    <a:gd name="connsiteX10" fmla="*/ 0 w 123781"/>
                    <a:gd name="connsiteY10" fmla="*/ 109194 h 133505"/>
                    <a:gd name="connsiteX11" fmla="*/ 5834 w 123781"/>
                    <a:gd name="connsiteY11" fmla="*/ 127393 h 133505"/>
                    <a:gd name="connsiteX12" fmla="*/ 29451 w 123781"/>
                    <a:gd name="connsiteY12" fmla="*/ 133505 h 13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781" h="133505">
                      <a:moveTo>
                        <a:pt x="29451" y="133505"/>
                      </a:moveTo>
                      <a:cubicBezTo>
                        <a:pt x="41260" y="133505"/>
                        <a:pt x="41260" y="115307"/>
                        <a:pt x="47095" y="115307"/>
                      </a:cubicBezTo>
                      <a:cubicBezTo>
                        <a:pt x="52930" y="103220"/>
                        <a:pt x="64739" y="109194"/>
                        <a:pt x="70712" y="109194"/>
                      </a:cubicBezTo>
                      <a:cubicBezTo>
                        <a:pt x="76547" y="103081"/>
                        <a:pt x="94329" y="97108"/>
                        <a:pt x="88356" y="90995"/>
                      </a:cubicBezTo>
                      <a:cubicBezTo>
                        <a:pt x="82520" y="78909"/>
                        <a:pt x="76547" y="66683"/>
                        <a:pt x="64739" y="54597"/>
                      </a:cubicBezTo>
                      <a:cubicBezTo>
                        <a:pt x="88356" y="48484"/>
                        <a:pt x="105998" y="42511"/>
                        <a:pt x="123781" y="36398"/>
                      </a:cubicBezTo>
                      <a:cubicBezTo>
                        <a:pt x="123781" y="24312"/>
                        <a:pt x="117946" y="12086"/>
                        <a:pt x="111973" y="0"/>
                      </a:cubicBezTo>
                      <a:cubicBezTo>
                        <a:pt x="94329" y="6113"/>
                        <a:pt x="70712" y="30285"/>
                        <a:pt x="52930" y="30285"/>
                      </a:cubicBezTo>
                      <a:cubicBezTo>
                        <a:pt x="41122" y="30285"/>
                        <a:pt x="23478" y="18199"/>
                        <a:pt x="23478" y="5974"/>
                      </a:cubicBezTo>
                      <a:cubicBezTo>
                        <a:pt x="17643" y="30285"/>
                        <a:pt x="17643" y="48484"/>
                        <a:pt x="17643" y="66683"/>
                      </a:cubicBezTo>
                      <a:cubicBezTo>
                        <a:pt x="11809" y="78770"/>
                        <a:pt x="0" y="96969"/>
                        <a:pt x="0" y="109194"/>
                      </a:cubicBezTo>
                      <a:cubicBezTo>
                        <a:pt x="0" y="121280"/>
                        <a:pt x="0" y="121280"/>
                        <a:pt x="5834" y="127393"/>
                      </a:cubicBezTo>
                      <a:cubicBezTo>
                        <a:pt x="17643" y="127393"/>
                        <a:pt x="23478" y="133505"/>
                        <a:pt x="29451" y="13350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1" name="Freihandform: Form 330">
                  <a:extLst>
                    <a:ext uri="{FF2B5EF4-FFF2-40B4-BE49-F238E27FC236}">
                      <a16:creationId xmlns:a16="http://schemas.microsoft.com/office/drawing/2014/main" id="{7D633863-CB31-4E36-856A-779DDF3E2791}"/>
                    </a:ext>
                  </a:extLst>
                </p:cNvPr>
                <p:cNvSpPr/>
                <p:nvPr/>
              </p:nvSpPr>
              <p:spPr>
                <a:xfrm>
                  <a:off x="7158121" y="3411663"/>
                  <a:ext cx="51431" cy="44717"/>
                </a:xfrm>
                <a:custGeom>
                  <a:avLst/>
                  <a:gdLst>
                    <a:gd name="connsiteX0" fmla="*/ 50012 w 51431"/>
                    <a:gd name="connsiteY0" fmla="*/ 10558 h 44717"/>
                    <a:gd name="connsiteX1" fmla="*/ 28618 w 51431"/>
                    <a:gd name="connsiteY1" fmla="*/ 0 h 44717"/>
                    <a:gd name="connsiteX2" fmla="*/ 14309 w 51431"/>
                    <a:gd name="connsiteY2" fmla="*/ 10558 h 44717"/>
                    <a:gd name="connsiteX3" fmla="*/ 0 w 51431"/>
                    <a:gd name="connsiteY3" fmla="*/ 42372 h 44717"/>
                    <a:gd name="connsiteX4" fmla="*/ 28618 w 51431"/>
                    <a:gd name="connsiteY4" fmla="*/ 42372 h 44717"/>
                    <a:gd name="connsiteX5" fmla="*/ 50012 w 51431"/>
                    <a:gd name="connsiteY5" fmla="*/ 10558 h 4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1" h="44717">
                      <a:moveTo>
                        <a:pt x="50012" y="10558"/>
                      </a:moveTo>
                      <a:cubicBezTo>
                        <a:pt x="50012" y="5279"/>
                        <a:pt x="35703" y="0"/>
                        <a:pt x="28618" y="0"/>
                      </a:cubicBezTo>
                      <a:cubicBezTo>
                        <a:pt x="21533" y="5279"/>
                        <a:pt x="21533" y="5279"/>
                        <a:pt x="14309" y="10558"/>
                      </a:cubicBezTo>
                      <a:cubicBezTo>
                        <a:pt x="14309" y="21116"/>
                        <a:pt x="7224" y="31675"/>
                        <a:pt x="0" y="42372"/>
                      </a:cubicBezTo>
                      <a:cubicBezTo>
                        <a:pt x="14309" y="42372"/>
                        <a:pt x="14309" y="47651"/>
                        <a:pt x="28618" y="42372"/>
                      </a:cubicBezTo>
                      <a:cubicBezTo>
                        <a:pt x="35703" y="37093"/>
                        <a:pt x="57098" y="21255"/>
                        <a:pt x="50012" y="1055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2" name="Freihandform: Form 331">
                  <a:extLst>
                    <a:ext uri="{FF2B5EF4-FFF2-40B4-BE49-F238E27FC236}">
                      <a16:creationId xmlns:a16="http://schemas.microsoft.com/office/drawing/2014/main" id="{E4D18C42-FF55-417B-A8C0-317FD5C465CF}"/>
                    </a:ext>
                  </a:extLst>
                </p:cNvPr>
                <p:cNvSpPr/>
                <p:nvPr/>
              </p:nvSpPr>
              <p:spPr>
                <a:xfrm>
                  <a:off x="7157982" y="3478485"/>
                  <a:ext cx="19032" cy="47650"/>
                </a:xfrm>
                <a:custGeom>
                  <a:avLst/>
                  <a:gdLst>
                    <a:gd name="connsiteX0" fmla="*/ 0 w 19032"/>
                    <a:gd name="connsiteY0" fmla="*/ 20422 h 47650"/>
                    <a:gd name="connsiteX1" fmla="*/ 19033 w 19032"/>
                    <a:gd name="connsiteY1" fmla="*/ 47651 h 47650"/>
                    <a:gd name="connsiteX2" fmla="*/ 19033 w 19032"/>
                    <a:gd name="connsiteY2" fmla="*/ 6807 h 47650"/>
                    <a:gd name="connsiteX3" fmla="*/ 12642 w 19032"/>
                    <a:gd name="connsiteY3" fmla="*/ 0 h 47650"/>
                    <a:gd name="connsiteX4" fmla="*/ 0 w 19032"/>
                    <a:gd name="connsiteY4" fmla="*/ 20422 h 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2" h="47650">
                      <a:moveTo>
                        <a:pt x="0" y="20422"/>
                      </a:moveTo>
                      <a:cubicBezTo>
                        <a:pt x="0" y="34036"/>
                        <a:pt x="6391" y="40843"/>
                        <a:pt x="19033" y="47651"/>
                      </a:cubicBezTo>
                      <a:cubicBezTo>
                        <a:pt x="19033" y="34036"/>
                        <a:pt x="19033" y="20422"/>
                        <a:pt x="19033" y="6807"/>
                      </a:cubicBezTo>
                      <a:cubicBezTo>
                        <a:pt x="19033" y="0"/>
                        <a:pt x="19033" y="0"/>
                        <a:pt x="12642" y="0"/>
                      </a:cubicBezTo>
                      <a:cubicBezTo>
                        <a:pt x="0" y="0"/>
                        <a:pt x="0" y="13614"/>
                        <a:pt x="0" y="2042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3" name="Freihandform: Form 332">
                  <a:extLst>
                    <a:ext uri="{FF2B5EF4-FFF2-40B4-BE49-F238E27FC236}">
                      <a16:creationId xmlns:a16="http://schemas.microsoft.com/office/drawing/2014/main" id="{C5A8077F-D4CA-4882-A6FB-5025DA23B2F8}"/>
                    </a:ext>
                  </a:extLst>
                </p:cNvPr>
                <p:cNvSpPr/>
                <p:nvPr/>
              </p:nvSpPr>
              <p:spPr>
                <a:xfrm>
                  <a:off x="7129364" y="3459453"/>
                  <a:ext cx="45739" cy="161984"/>
                </a:xfrm>
                <a:custGeom>
                  <a:avLst/>
                  <a:gdLst>
                    <a:gd name="connsiteX0" fmla="*/ 23895 w 45739"/>
                    <a:gd name="connsiteY0" fmla="*/ 105860 h 161984"/>
                    <a:gd name="connsiteX1" fmla="*/ 35843 w 45739"/>
                    <a:gd name="connsiteY1" fmla="*/ 80992 h 161984"/>
                    <a:gd name="connsiteX2" fmla="*/ 29869 w 45739"/>
                    <a:gd name="connsiteY2" fmla="*/ 62238 h 161984"/>
                    <a:gd name="connsiteX3" fmla="*/ 41816 w 45739"/>
                    <a:gd name="connsiteY3" fmla="*/ 24867 h 161984"/>
                    <a:gd name="connsiteX4" fmla="*/ 35843 w 45739"/>
                    <a:gd name="connsiteY4" fmla="*/ 0 h 161984"/>
                    <a:gd name="connsiteX5" fmla="*/ 11948 w 45739"/>
                    <a:gd name="connsiteY5" fmla="*/ 43622 h 161984"/>
                    <a:gd name="connsiteX6" fmla="*/ 0 w 45739"/>
                    <a:gd name="connsiteY6" fmla="*/ 68489 h 161984"/>
                    <a:gd name="connsiteX7" fmla="*/ 5974 w 45739"/>
                    <a:gd name="connsiteY7" fmla="*/ 99608 h 161984"/>
                    <a:gd name="connsiteX8" fmla="*/ 11948 w 45739"/>
                    <a:gd name="connsiteY8" fmla="*/ 161985 h 161984"/>
                    <a:gd name="connsiteX9" fmla="*/ 11948 w 45739"/>
                    <a:gd name="connsiteY9" fmla="*/ 155733 h 161984"/>
                    <a:gd name="connsiteX10" fmla="*/ 23895 w 45739"/>
                    <a:gd name="connsiteY10" fmla="*/ 105860 h 161984"/>
                    <a:gd name="connsiteX11" fmla="*/ 23895 w 45739"/>
                    <a:gd name="connsiteY11" fmla="*/ 105860 h 16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39" h="161984">
                      <a:moveTo>
                        <a:pt x="23895" y="105860"/>
                      </a:moveTo>
                      <a:cubicBezTo>
                        <a:pt x="23895" y="99608"/>
                        <a:pt x="29869" y="93357"/>
                        <a:pt x="35843" y="80992"/>
                      </a:cubicBezTo>
                      <a:cubicBezTo>
                        <a:pt x="41816" y="68489"/>
                        <a:pt x="35843" y="74741"/>
                        <a:pt x="29869" y="62238"/>
                      </a:cubicBezTo>
                      <a:cubicBezTo>
                        <a:pt x="17921" y="49735"/>
                        <a:pt x="23895" y="18616"/>
                        <a:pt x="41816" y="24867"/>
                      </a:cubicBezTo>
                      <a:cubicBezTo>
                        <a:pt x="47790" y="6113"/>
                        <a:pt x="47790" y="6113"/>
                        <a:pt x="35843" y="0"/>
                      </a:cubicBezTo>
                      <a:cubicBezTo>
                        <a:pt x="23895" y="0"/>
                        <a:pt x="17921" y="31119"/>
                        <a:pt x="11948" y="43622"/>
                      </a:cubicBezTo>
                      <a:cubicBezTo>
                        <a:pt x="5974" y="49874"/>
                        <a:pt x="0" y="56125"/>
                        <a:pt x="0" y="68489"/>
                      </a:cubicBezTo>
                      <a:cubicBezTo>
                        <a:pt x="0" y="74741"/>
                        <a:pt x="5974" y="87244"/>
                        <a:pt x="5974" y="99608"/>
                      </a:cubicBezTo>
                      <a:cubicBezTo>
                        <a:pt x="5974" y="118363"/>
                        <a:pt x="11948" y="136979"/>
                        <a:pt x="11948" y="161985"/>
                      </a:cubicBezTo>
                      <a:cubicBezTo>
                        <a:pt x="11948" y="155733"/>
                        <a:pt x="11948" y="155733"/>
                        <a:pt x="11948" y="155733"/>
                      </a:cubicBezTo>
                      <a:cubicBezTo>
                        <a:pt x="17921" y="143230"/>
                        <a:pt x="17921" y="124615"/>
                        <a:pt x="23895" y="105860"/>
                      </a:cubicBezTo>
                      <a:cubicBezTo>
                        <a:pt x="23895" y="99608"/>
                        <a:pt x="23895" y="112111"/>
                        <a:pt x="23895" y="10586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4" name="Freihandform: Form 333">
                  <a:extLst>
                    <a:ext uri="{FF2B5EF4-FFF2-40B4-BE49-F238E27FC236}">
                      <a16:creationId xmlns:a16="http://schemas.microsoft.com/office/drawing/2014/main" id="{9D7D7E51-EBC1-46B3-8495-3DB97687915E}"/>
                    </a:ext>
                  </a:extLst>
                </p:cNvPr>
                <p:cNvSpPr/>
                <p:nvPr/>
              </p:nvSpPr>
              <p:spPr>
                <a:xfrm>
                  <a:off x="7644215" y="3697707"/>
                  <a:ext cx="27912" cy="57236"/>
                </a:xfrm>
                <a:custGeom>
                  <a:avLst/>
                  <a:gdLst>
                    <a:gd name="connsiteX0" fmla="*/ 22922 w 27912"/>
                    <a:gd name="connsiteY0" fmla="*/ 57237 h 57236"/>
                    <a:gd name="connsiteX1" fmla="*/ 15282 w 27912"/>
                    <a:gd name="connsiteY1" fmla="*/ 0 h 57236"/>
                    <a:gd name="connsiteX2" fmla="*/ 0 w 27912"/>
                    <a:gd name="connsiteY2" fmla="*/ 28618 h 57236"/>
                    <a:gd name="connsiteX3" fmla="*/ 22922 w 27912"/>
                    <a:gd name="connsiteY3" fmla="*/ 57237 h 57236"/>
                    <a:gd name="connsiteX4" fmla="*/ 22922 w 27912"/>
                    <a:gd name="connsiteY4" fmla="*/ 57237 h 57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12" h="57236">
                      <a:moveTo>
                        <a:pt x="22922" y="57237"/>
                      </a:moveTo>
                      <a:cubicBezTo>
                        <a:pt x="22922" y="50151"/>
                        <a:pt x="38204" y="0"/>
                        <a:pt x="15282" y="0"/>
                      </a:cubicBezTo>
                      <a:cubicBezTo>
                        <a:pt x="7641" y="7085"/>
                        <a:pt x="0" y="21394"/>
                        <a:pt x="0" y="28618"/>
                      </a:cubicBezTo>
                      <a:cubicBezTo>
                        <a:pt x="0" y="42927"/>
                        <a:pt x="7641" y="50012"/>
                        <a:pt x="22922" y="57237"/>
                      </a:cubicBezTo>
                      <a:cubicBezTo>
                        <a:pt x="22922" y="57237"/>
                        <a:pt x="15282" y="57237"/>
                        <a:pt x="22922" y="5723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5" name="Freihandform: Form 334">
                  <a:extLst>
                    <a:ext uri="{FF2B5EF4-FFF2-40B4-BE49-F238E27FC236}">
                      <a16:creationId xmlns:a16="http://schemas.microsoft.com/office/drawing/2014/main" id="{C17D6EA6-708E-4836-ABD0-190E7FEC9582}"/>
                    </a:ext>
                  </a:extLst>
                </p:cNvPr>
                <p:cNvSpPr/>
                <p:nvPr/>
              </p:nvSpPr>
              <p:spPr>
                <a:xfrm>
                  <a:off x="7398042" y="3935961"/>
                  <a:ext cx="317132" cy="204527"/>
                </a:xfrm>
                <a:custGeom>
                  <a:avLst/>
                  <a:gdLst>
                    <a:gd name="connsiteX0" fmla="*/ 285766 w 317132"/>
                    <a:gd name="connsiteY0" fmla="*/ 0 h 204527"/>
                    <a:gd name="connsiteX1" fmla="*/ 230752 w 317132"/>
                    <a:gd name="connsiteY1" fmla="*/ 12364 h 204527"/>
                    <a:gd name="connsiteX2" fmla="*/ 169625 w 317132"/>
                    <a:gd name="connsiteY2" fmla="*/ 24728 h 204527"/>
                    <a:gd name="connsiteX3" fmla="*/ 139062 w 317132"/>
                    <a:gd name="connsiteY3" fmla="*/ 61682 h 204527"/>
                    <a:gd name="connsiteX4" fmla="*/ 102386 w 317132"/>
                    <a:gd name="connsiteY4" fmla="*/ 55569 h 204527"/>
                    <a:gd name="connsiteX5" fmla="*/ 53485 w 317132"/>
                    <a:gd name="connsiteY5" fmla="*/ 55569 h 204527"/>
                    <a:gd name="connsiteX6" fmla="*/ 16809 w 317132"/>
                    <a:gd name="connsiteY6" fmla="*/ 74046 h 204527"/>
                    <a:gd name="connsiteX7" fmla="*/ 4584 w 317132"/>
                    <a:gd name="connsiteY7" fmla="*/ 92523 h 204527"/>
                    <a:gd name="connsiteX8" fmla="*/ 4584 w 317132"/>
                    <a:gd name="connsiteY8" fmla="*/ 129477 h 204527"/>
                    <a:gd name="connsiteX9" fmla="*/ 16809 w 317132"/>
                    <a:gd name="connsiteY9" fmla="*/ 172682 h 204527"/>
                    <a:gd name="connsiteX10" fmla="*/ 22922 w 317132"/>
                    <a:gd name="connsiteY10" fmla="*/ 197410 h 204527"/>
                    <a:gd name="connsiteX11" fmla="*/ 71823 w 317132"/>
                    <a:gd name="connsiteY11" fmla="*/ 197410 h 204527"/>
                    <a:gd name="connsiteX12" fmla="*/ 96274 w 317132"/>
                    <a:gd name="connsiteY12" fmla="*/ 178933 h 204527"/>
                    <a:gd name="connsiteX13" fmla="*/ 126837 w 317132"/>
                    <a:gd name="connsiteY13" fmla="*/ 178933 h 204527"/>
                    <a:gd name="connsiteX14" fmla="*/ 145175 w 317132"/>
                    <a:gd name="connsiteY14" fmla="*/ 160457 h 204527"/>
                    <a:gd name="connsiteX15" fmla="*/ 194076 w 317132"/>
                    <a:gd name="connsiteY15" fmla="*/ 148092 h 204527"/>
                    <a:gd name="connsiteX16" fmla="*/ 249090 w 317132"/>
                    <a:gd name="connsiteY16" fmla="*/ 129615 h 204527"/>
                    <a:gd name="connsiteX17" fmla="*/ 285766 w 317132"/>
                    <a:gd name="connsiteY17" fmla="*/ 104887 h 204527"/>
                    <a:gd name="connsiteX18" fmla="*/ 316329 w 317132"/>
                    <a:gd name="connsiteY18" fmla="*/ 74046 h 204527"/>
                    <a:gd name="connsiteX19" fmla="*/ 285766 w 317132"/>
                    <a:gd name="connsiteY19" fmla="*/ 0 h 20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7132" h="204527">
                      <a:moveTo>
                        <a:pt x="285766" y="0"/>
                      </a:moveTo>
                      <a:cubicBezTo>
                        <a:pt x="267427" y="6113"/>
                        <a:pt x="249090" y="12364"/>
                        <a:pt x="230752" y="12364"/>
                      </a:cubicBezTo>
                      <a:cubicBezTo>
                        <a:pt x="212414" y="18477"/>
                        <a:pt x="187963" y="12364"/>
                        <a:pt x="169625" y="24728"/>
                      </a:cubicBezTo>
                      <a:cubicBezTo>
                        <a:pt x="157400" y="37093"/>
                        <a:pt x="151288" y="49457"/>
                        <a:pt x="139062" y="61682"/>
                      </a:cubicBezTo>
                      <a:cubicBezTo>
                        <a:pt x="132950" y="67794"/>
                        <a:pt x="114611" y="55569"/>
                        <a:pt x="102386" y="55569"/>
                      </a:cubicBezTo>
                      <a:cubicBezTo>
                        <a:pt x="84048" y="55569"/>
                        <a:pt x="71823" y="55569"/>
                        <a:pt x="53485" y="55569"/>
                      </a:cubicBezTo>
                      <a:cubicBezTo>
                        <a:pt x="35148" y="55569"/>
                        <a:pt x="16809" y="49457"/>
                        <a:pt x="16809" y="74046"/>
                      </a:cubicBezTo>
                      <a:cubicBezTo>
                        <a:pt x="10697" y="86410"/>
                        <a:pt x="4584" y="80159"/>
                        <a:pt x="4584" y="92523"/>
                      </a:cubicBezTo>
                      <a:cubicBezTo>
                        <a:pt x="-1528" y="104887"/>
                        <a:pt x="-1528" y="117251"/>
                        <a:pt x="4584" y="129477"/>
                      </a:cubicBezTo>
                      <a:cubicBezTo>
                        <a:pt x="4584" y="141841"/>
                        <a:pt x="10697" y="160318"/>
                        <a:pt x="16809" y="172682"/>
                      </a:cubicBezTo>
                      <a:cubicBezTo>
                        <a:pt x="16809" y="178795"/>
                        <a:pt x="16809" y="191159"/>
                        <a:pt x="22922" y="197410"/>
                      </a:cubicBezTo>
                      <a:cubicBezTo>
                        <a:pt x="29035" y="209775"/>
                        <a:pt x="59598" y="203523"/>
                        <a:pt x="71823" y="197410"/>
                      </a:cubicBezTo>
                      <a:cubicBezTo>
                        <a:pt x="77936" y="191298"/>
                        <a:pt x="84048" y="185046"/>
                        <a:pt x="96274" y="178933"/>
                      </a:cubicBezTo>
                      <a:cubicBezTo>
                        <a:pt x="102386" y="178933"/>
                        <a:pt x="114611" y="178933"/>
                        <a:pt x="126837" y="178933"/>
                      </a:cubicBezTo>
                      <a:cubicBezTo>
                        <a:pt x="132950" y="172821"/>
                        <a:pt x="139062" y="166569"/>
                        <a:pt x="145175" y="160457"/>
                      </a:cubicBezTo>
                      <a:cubicBezTo>
                        <a:pt x="163513" y="154344"/>
                        <a:pt x="175738" y="154344"/>
                        <a:pt x="194076" y="148092"/>
                      </a:cubicBezTo>
                      <a:cubicBezTo>
                        <a:pt x="212414" y="141980"/>
                        <a:pt x="230752" y="135728"/>
                        <a:pt x="249090" y="129615"/>
                      </a:cubicBezTo>
                      <a:cubicBezTo>
                        <a:pt x="261315" y="123503"/>
                        <a:pt x="285766" y="117251"/>
                        <a:pt x="285766" y="104887"/>
                      </a:cubicBezTo>
                      <a:cubicBezTo>
                        <a:pt x="291878" y="86410"/>
                        <a:pt x="322441" y="86410"/>
                        <a:pt x="316329" y="74046"/>
                      </a:cubicBezTo>
                      <a:cubicBezTo>
                        <a:pt x="304104" y="49457"/>
                        <a:pt x="297991" y="24728"/>
                        <a:pt x="285766"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6" name="Freihandform: Form 335">
                  <a:extLst>
                    <a:ext uri="{FF2B5EF4-FFF2-40B4-BE49-F238E27FC236}">
                      <a16:creationId xmlns:a16="http://schemas.microsoft.com/office/drawing/2014/main" id="{A5AE602A-1527-4890-A38A-0416A0139CBA}"/>
                    </a:ext>
                  </a:extLst>
                </p:cNvPr>
                <p:cNvSpPr/>
                <p:nvPr/>
              </p:nvSpPr>
              <p:spPr>
                <a:xfrm>
                  <a:off x="7682418" y="3697707"/>
                  <a:ext cx="248991" cy="314522"/>
                </a:xfrm>
                <a:custGeom>
                  <a:avLst/>
                  <a:gdLst>
                    <a:gd name="connsiteX0" fmla="*/ 244784 w 248991"/>
                    <a:gd name="connsiteY0" fmla="*/ 121975 h 314522"/>
                    <a:gd name="connsiteX1" fmla="*/ 213387 w 248991"/>
                    <a:gd name="connsiteY1" fmla="*/ 89884 h 314522"/>
                    <a:gd name="connsiteX2" fmla="*/ 175738 w 248991"/>
                    <a:gd name="connsiteY2" fmla="*/ 77103 h 314522"/>
                    <a:gd name="connsiteX3" fmla="*/ 138090 w 248991"/>
                    <a:gd name="connsiteY3" fmla="*/ 38621 h 314522"/>
                    <a:gd name="connsiteX4" fmla="*/ 131838 w 248991"/>
                    <a:gd name="connsiteY4" fmla="*/ 19310 h 314522"/>
                    <a:gd name="connsiteX5" fmla="*/ 138090 w 248991"/>
                    <a:gd name="connsiteY5" fmla="*/ 0 h 314522"/>
                    <a:gd name="connsiteX6" fmla="*/ 106693 w 248991"/>
                    <a:gd name="connsiteY6" fmla="*/ 32091 h 314522"/>
                    <a:gd name="connsiteX7" fmla="*/ 62794 w 248991"/>
                    <a:gd name="connsiteY7" fmla="*/ 64183 h 314522"/>
                    <a:gd name="connsiteX8" fmla="*/ 31397 w 248991"/>
                    <a:gd name="connsiteY8" fmla="*/ 64183 h 314522"/>
                    <a:gd name="connsiteX9" fmla="*/ 0 w 248991"/>
                    <a:gd name="connsiteY9" fmla="*/ 70573 h 314522"/>
                    <a:gd name="connsiteX10" fmla="*/ 31397 w 248991"/>
                    <a:gd name="connsiteY10" fmla="*/ 109055 h 314522"/>
                    <a:gd name="connsiteX11" fmla="*/ 100441 w 248991"/>
                    <a:gd name="connsiteY11" fmla="*/ 121836 h 314522"/>
                    <a:gd name="connsiteX12" fmla="*/ 100441 w 248991"/>
                    <a:gd name="connsiteY12" fmla="*/ 205329 h 314522"/>
                    <a:gd name="connsiteX13" fmla="*/ 69045 w 248991"/>
                    <a:gd name="connsiteY13" fmla="*/ 218110 h 314522"/>
                    <a:gd name="connsiteX14" fmla="*/ 0 w 248991"/>
                    <a:gd name="connsiteY14" fmla="*/ 237420 h 314522"/>
                    <a:gd name="connsiteX15" fmla="*/ 31397 w 248991"/>
                    <a:gd name="connsiteY15" fmla="*/ 314523 h 314522"/>
                    <a:gd name="connsiteX16" fmla="*/ 87938 w 248991"/>
                    <a:gd name="connsiteY16" fmla="*/ 308132 h 314522"/>
                    <a:gd name="connsiteX17" fmla="*/ 106832 w 248991"/>
                    <a:gd name="connsiteY17" fmla="*/ 282431 h 314522"/>
                    <a:gd name="connsiteX18" fmla="*/ 144481 w 248991"/>
                    <a:gd name="connsiteY18" fmla="*/ 269651 h 314522"/>
                    <a:gd name="connsiteX19" fmla="*/ 175877 w 248991"/>
                    <a:gd name="connsiteY19" fmla="*/ 243950 h 314522"/>
                    <a:gd name="connsiteX20" fmla="*/ 182129 w 248991"/>
                    <a:gd name="connsiteY20" fmla="*/ 205468 h 314522"/>
                    <a:gd name="connsiteX21" fmla="*/ 201023 w 248991"/>
                    <a:gd name="connsiteY21" fmla="*/ 192687 h 314522"/>
                    <a:gd name="connsiteX22" fmla="*/ 232419 w 248991"/>
                    <a:gd name="connsiteY22" fmla="*/ 154205 h 314522"/>
                    <a:gd name="connsiteX23" fmla="*/ 244784 w 248991"/>
                    <a:gd name="connsiteY23" fmla="*/ 121975 h 314522"/>
                    <a:gd name="connsiteX24" fmla="*/ 244784 w 248991"/>
                    <a:gd name="connsiteY24" fmla="*/ 121975 h 31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8991" h="314522">
                      <a:moveTo>
                        <a:pt x="244784" y="121975"/>
                      </a:moveTo>
                      <a:cubicBezTo>
                        <a:pt x="225890" y="121975"/>
                        <a:pt x="219638" y="102665"/>
                        <a:pt x="213387" y="89884"/>
                      </a:cubicBezTo>
                      <a:cubicBezTo>
                        <a:pt x="207135" y="83493"/>
                        <a:pt x="181990" y="83493"/>
                        <a:pt x="175738" y="77103"/>
                      </a:cubicBezTo>
                      <a:cubicBezTo>
                        <a:pt x="156845" y="70712"/>
                        <a:pt x="150593" y="57792"/>
                        <a:pt x="138090" y="38621"/>
                      </a:cubicBezTo>
                      <a:cubicBezTo>
                        <a:pt x="138090" y="32230"/>
                        <a:pt x="131838" y="25840"/>
                        <a:pt x="131838" y="19310"/>
                      </a:cubicBezTo>
                      <a:lnTo>
                        <a:pt x="138090" y="0"/>
                      </a:lnTo>
                      <a:cubicBezTo>
                        <a:pt x="131838" y="0"/>
                        <a:pt x="112945" y="25701"/>
                        <a:pt x="106693" y="32091"/>
                      </a:cubicBezTo>
                      <a:cubicBezTo>
                        <a:pt x="94190" y="44872"/>
                        <a:pt x="81548" y="64183"/>
                        <a:pt x="62794" y="64183"/>
                      </a:cubicBezTo>
                      <a:cubicBezTo>
                        <a:pt x="50291" y="70573"/>
                        <a:pt x="43900" y="64183"/>
                        <a:pt x="31397" y="64183"/>
                      </a:cubicBezTo>
                      <a:cubicBezTo>
                        <a:pt x="18894" y="70573"/>
                        <a:pt x="6252" y="83493"/>
                        <a:pt x="0" y="70573"/>
                      </a:cubicBezTo>
                      <a:cubicBezTo>
                        <a:pt x="6252" y="89884"/>
                        <a:pt x="12503" y="109055"/>
                        <a:pt x="31397" y="109055"/>
                      </a:cubicBezTo>
                      <a:cubicBezTo>
                        <a:pt x="43900" y="109055"/>
                        <a:pt x="94190" y="109055"/>
                        <a:pt x="100441" y="121836"/>
                      </a:cubicBezTo>
                      <a:cubicBezTo>
                        <a:pt x="119335" y="147537"/>
                        <a:pt x="106693" y="173238"/>
                        <a:pt x="100441" y="205329"/>
                      </a:cubicBezTo>
                      <a:cubicBezTo>
                        <a:pt x="94190" y="211720"/>
                        <a:pt x="69045" y="218110"/>
                        <a:pt x="69045" y="218110"/>
                      </a:cubicBezTo>
                      <a:cubicBezTo>
                        <a:pt x="43900" y="224500"/>
                        <a:pt x="18894" y="230891"/>
                        <a:pt x="0" y="237420"/>
                      </a:cubicBezTo>
                      <a:cubicBezTo>
                        <a:pt x="12503" y="263121"/>
                        <a:pt x="25145" y="288822"/>
                        <a:pt x="31397" y="314523"/>
                      </a:cubicBezTo>
                      <a:cubicBezTo>
                        <a:pt x="50291" y="308132"/>
                        <a:pt x="69045" y="308132"/>
                        <a:pt x="87938" y="308132"/>
                      </a:cubicBezTo>
                      <a:cubicBezTo>
                        <a:pt x="113084" y="301742"/>
                        <a:pt x="94190" y="295351"/>
                        <a:pt x="106832" y="282431"/>
                      </a:cubicBezTo>
                      <a:cubicBezTo>
                        <a:pt x="119335" y="276041"/>
                        <a:pt x="138229" y="282431"/>
                        <a:pt x="144481" y="269651"/>
                      </a:cubicBezTo>
                      <a:cubicBezTo>
                        <a:pt x="156984" y="256870"/>
                        <a:pt x="156984" y="250340"/>
                        <a:pt x="175877" y="243950"/>
                      </a:cubicBezTo>
                      <a:cubicBezTo>
                        <a:pt x="188381" y="237559"/>
                        <a:pt x="182129" y="218249"/>
                        <a:pt x="182129" y="205468"/>
                      </a:cubicBezTo>
                      <a:cubicBezTo>
                        <a:pt x="175877" y="192687"/>
                        <a:pt x="188381" y="192687"/>
                        <a:pt x="201023" y="192687"/>
                      </a:cubicBezTo>
                      <a:cubicBezTo>
                        <a:pt x="219916" y="186296"/>
                        <a:pt x="219916" y="166986"/>
                        <a:pt x="232419" y="154205"/>
                      </a:cubicBezTo>
                      <a:cubicBezTo>
                        <a:pt x="238532" y="147676"/>
                        <a:pt x="257287" y="128365"/>
                        <a:pt x="244784" y="121975"/>
                      </a:cubicBezTo>
                      <a:cubicBezTo>
                        <a:pt x="238532" y="121975"/>
                        <a:pt x="251035" y="128365"/>
                        <a:pt x="244784" y="12197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7" name="Freihandform: Form 336">
                  <a:extLst>
                    <a:ext uri="{FF2B5EF4-FFF2-40B4-BE49-F238E27FC236}">
                      <a16:creationId xmlns:a16="http://schemas.microsoft.com/office/drawing/2014/main" id="{FA64FBCF-331D-4076-BBAE-1613CFAF9078}"/>
                    </a:ext>
                  </a:extLst>
                </p:cNvPr>
                <p:cNvSpPr/>
                <p:nvPr/>
              </p:nvSpPr>
              <p:spPr>
                <a:xfrm>
                  <a:off x="8231561" y="3097279"/>
                  <a:ext cx="337329" cy="149126"/>
                </a:xfrm>
                <a:custGeom>
                  <a:avLst/>
                  <a:gdLst>
                    <a:gd name="connsiteX0" fmla="*/ 337329 w 337329"/>
                    <a:gd name="connsiteY0" fmla="*/ 31674 h 149126"/>
                    <a:gd name="connsiteX1" fmla="*/ 287456 w 337329"/>
                    <a:gd name="connsiteY1" fmla="*/ 19032 h 149126"/>
                    <a:gd name="connsiteX2" fmla="*/ 218827 w 337329"/>
                    <a:gd name="connsiteY2" fmla="*/ 12642 h 149126"/>
                    <a:gd name="connsiteX3" fmla="*/ 162702 w 337329"/>
                    <a:gd name="connsiteY3" fmla="*/ 0 h 149126"/>
                    <a:gd name="connsiteX4" fmla="*/ 131444 w 337329"/>
                    <a:gd name="connsiteY4" fmla="*/ 12642 h 149126"/>
                    <a:gd name="connsiteX5" fmla="*/ 112690 w 337329"/>
                    <a:gd name="connsiteY5" fmla="*/ 25423 h 149126"/>
                    <a:gd name="connsiteX6" fmla="*/ 62816 w 337329"/>
                    <a:gd name="connsiteY6" fmla="*/ 31814 h 149126"/>
                    <a:gd name="connsiteX7" fmla="*/ 50313 w 337329"/>
                    <a:gd name="connsiteY7" fmla="*/ 44594 h 149126"/>
                    <a:gd name="connsiteX8" fmla="*/ 44062 w 337329"/>
                    <a:gd name="connsiteY8" fmla="*/ 70018 h 149126"/>
                    <a:gd name="connsiteX9" fmla="*/ 69068 w 337329"/>
                    <a:gd name="connsiteY9" fmla="*/ 76408 h 149126"/>
                    <a:gd name="connsiteX10" fmla="*/ 87822 w 337329"/>
                    <a:gd name="connsiteY10" fmla="*/ 76408 h 149126"/>
                    <a:gd name="connsiteX11" fmla="*/ 112829 w 337329"/>
                    <a:gd name="connsiteY11" fmla="*/ 95440 h 149126"/>
                    <a:gd name="connsiteX12" fmla="*/ 87822 w 337329"/>
                    <a:gd name="connsiteY12" fmla="*/ 108082 h 149126"/>
                    <a:gd name="connsiteX13" fmla="*/ 62816 w 337329"/>
                    <a:gd name="connsiteY13" fmla="*/ 108082 h 149126"/>
                    <a:gd name="connsiteX14" fmla="*/ 56565 w 337329"/>
                    <a:gd name="connsiteY14" fmla="*/ 127115 h 149126"/>
                    <a:gd name="connsiteX15" fmla="*/ 440 w 337329"/>
                    <a:gd name="connsiteY15" fmla="*/ 127115 h 149126"/>
                    <a:gd name="connsiteX16" fmla="*/ 62816 w 337329"/>
                    <a:gd name="connsiteY16" fmla="*/ 139896 h 149126"/>
                    <a:gd name="connsiteX17" fmla="*/ 87822 w 337329"/>
                    <a:gd name="connsiteY17" fmla="*/ 146286 h 149126"/>
                    <a:gd name="connsiteX18" fmla="*/ 125332 w 337329"/>
                    <a:gd name="connsiteY18" fmla="*/ 146286 h 149126"/>
                    <a:gd name="connsiteX19" fmla="*/ 150338 w 337329"/>
                    <a:gd name="connsiteY19" fmla="*/ 127254 h 149126"/>
                    <a:gd name="connsiteX20" fmla="*/ 169093 w 337329"/>
                    <a:gd name="connsiteY20" fmla="*/ 108221 h 149126"/>
                    <a:gd name="connsiteX21" fmla="*/ 200351 w 337329"/>
                    <a:gd name="connsiteY21" fmla="*/ 101831 h 149126"/>
                    <a:gd name="connsiteX22" fmla="*/ 225357 w 337329"/>
                    <a:gd name="connsiteY22" fmla="*/ 101831 h 149126"/>
                    <a:gd name="connsiteX23" fmla="*/ 244112 w 337329"/>
                    <a:gd name="connsiteY23" fmla="*/ 82798 h 149126"/>
                    <a:gd name="connsiteX24" fmla="*/ 269118 w 337329"/>
                    <a:gd name="connsiteY24" fmla="*/ 76408 h 149126"/>
                    <a:gd name="connsiteX25" fmla="*/ 331494 w 337329"/>
                    <a:gd name="connsiteY25" fmla="*/ 44594 h 149126"/>
                    <a:gd name="connsiteX26" fmla="*/ 337329 w 337329"/>
                    <a:gd name="connsiteY26" fmla="*/ 31674 h 14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7329" h="149126">
                      <a:moveTo>
                        <a:pt x="337329" y="31674"/>
                      </a:moveTo>
                      <a:cubicBezTo>
                        <a:pt x="318575" y="31674"/>
                        <a:pt x="306072" y="19032"/>
                        <a:pt x="287456" y="19032"/>
                      </a:cubicBezTo>
                      <a:cubicBezTo>
                        <a:pt x="268701" y="12642"/>
                        <a:pt x="243833" y="12642"/>
                        <a:pt x="218827" y="12642"/>
                      </a:cubicBezTo>
                      <a:cubicBezTo>
                        <a:pt x="200072" y="12642"/>
                        <a:pt x="181318" y="12642"/>
                        <a:pt x="162702" y="0"/>
                      </a:cubicBezTo>
                      <a:cubicBezTo>
                        <a:pt x="150199" y="0"/>
                        <a:pt x="137696" y="0"/>
                        <a:pt x="131444" y="12642"/>
                      </a:cubicBezTo>
                      <a:cubicBezTo>
                        <a:pt x="131444" y="25423"/>
                        <a:pt x="125193" y="31674"/>
                        <a:pt x="112690" y="25423"/>
                      </a:cubicBezTo>
                      <a:cubicBezTo>
                        <a:pt x="100187" y="19032"/>
                        <a:pt x="69068" y="6390"/>
                        <a:pt x="62816" y="31814"/>
                      </a:cubicBezTo>
                      <a:cubicBezTo>
                        <a:pt x="56565" y="38204"/>
                        <a:pt x="62816" y="38204"/>
                        <a:pt x="50313" y="44594"/>
                      </a:cubicBezTo>
                      <a:cubicBezTo>
                        <a:pt x="44062" y="50985"/>
                        <a:pt x="31558" y="63627"/>
                        <a:pt x="44062" y="70018"/>
                      </a:cubicBezTo>
                      <a:cubicBezTo>
                        <a:pt x="50313" y="76408"/>
                        <a:pt x="69068" y="82798"/>
                        <a:pt x="69068" y="76408"/>
                      </a:cubicBezTo>
                      <a:cubicBezTo>
                        <a:pt x="75319" y="63766"/>
                        <a:pt x="81571" y="70018"/>
                        <a:pt x="87822" y="76408"/>
                      </a:cubicBezTo>
                      <a:cubicBezTo>
                        <a:pt x="94074" y="82798"/>
                        <a:pt x="119080" y="89050"/>
                        <a:pt x="112829" y="95440"/>
                      </a:cubicBezTo>
                      <a:cubicBezTo>
                        <a:pt x="112829" y="101831"/>
                        <a:pt x="94074" y="101831"/>
                        <a:pt x="87822" y="108082"/>
                      </a:cubicBezTo>
                      <a:cubicBezTo>
                        <a:pt x="81571" y="114473"/>
                        <a:pt x="75319" y="120863"/>
                        <a:pt x="62816" y="108082"/>
                      </a:cubicBezTo>
                      <a:cubicBezTo>
                        <a:pt x="56565" y="101692"/>
                        <a:pt x="56565" y="120863"/>
                        <a:pt x="56565" y="127115"/>
                      </a:cubicBezTo>
                      <a:cubicBezTo>
                        <a:pt x="31558" y="139896"/>
                        <a:pt x="19055" y="95302"/>
                        <a:pt x="440" y="127115"/>
                      </a:cubicBezTo>
                      <a:cubicBezTo>
                        <a:pt x="-5812" y="133505"/>
                        <a:pt x="56565" y="146148"/>
                        <a:pt x="62816" y="139896"/>
                      </a:cubicBezTo>
                      <a:cubicBezTo>
                        <a:pt x="69068" y="133505"/>
                        <a:pt x="81571" y="139896"/>
                        <a:pt x="87822" y="146286"/>
                      </a:cubicBezTo>
                      <a:cubicBezTo>
                        <a:pt x="94074" y="146286"/>
                        <a:pt x="112829" y="152677"/>
                        <a:pt x="125332" y="146286"/>
                      </a:cubicBezTo>
                      <a:cubicBezTo>
                        <a:pt x="131583" y="139896"/>
                        <a:pt x="144087" y="146286"/>
                        <a:pt x="150338" y="127254"/>
                      </a:cubicBezTo>
                      <a:cubicBezTo>
                        <a:pt x="150338" y="120863"/>
                        <a:pt x="162841" y="114612"/>
                        <a:pt x="169093" y="108221"/>
                      </a:cubicBezTo>
                      <a:cubicBezTo>
                        <a:pt x="175344" y="101831"/>
                        <a:pt x="200351" y="101831"/>
                        <a:pt x="200351" y="101831"/>
                      </a:cubicBezTo>
                      <a:cubicBezTo>
                        <a:pt x="206602" y="114473"/>
                        <a:pt x="212854" y="101831"/>
                        <a:pt x="225357" y="101831"/>
                      </a:cubicBezTo>
                      <a:cubicBezTo>
                        <a:pt x="231608" y="101831"/>
                        <a:pt x="237860" y="82798"/>
                        <a:pt x="244112" y="82798"/>
                      </a:cubicBezTo>
                      <a:cubicBezTo>
                        <a:pt x="250363" y="76408"/>
                        <a:pt x="262866" y="82798"/>
                        <a:pt x="269118" y="76408"/>
                      </a:cubicBezTo>
                      <a:cubicBezTo>
                        <a:pt x="294124" y="70018"/>
                        <a:pt x="306488" y="57375"/>
                        <a:pt x="331494" y="44594"/>
                      </a:cubicBezTo>
                      <a:cubicBezTo>
                        <a:pt x="337329" y="44317"/>
                        <a:pt x="337329" y="44317"/>
                        <a:pt x="337329" y="3167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8" name="Freihandform: Form 337">
                  <a:extLst>
                    <a:ext uri="{FF2B5EF4-FFF2-40B4-BE49-F238E27FC236}">
                      <a16:creationId xmlns:a16="http://schemas.microsoft.com/office/drawing/2014/main" id="{004320FF-1E9E-42D1-AAAF-5D71817448DD}"/>
                    </a:ext>
                  </a:extLst>
                </p:cNvPr>
                <p:cNvSpPr/>
                <p:nvPr/>
              </p:nvSpPr>
              <p:spPr>
                <a:xfrm>
                  <a:off x="7810228" y="3011702"/>
                  <a:ext cx="539057" cy="324247"/>
                </a:xfrm>
                <a:custGeom>
                  <a:avLst/>
                  <a:gdLst>
                    <a:gd name="connsiteX0" fmla="*/ 489011 w 539057"/>
                    <a:gd name="connsiteY0" fmla="*/ 199077 h 324247"/>
                    <a:gd name="connsiteX1" fmla="*/ 507905 w 539057"/>
                    <a:gd name="connsiteY1" fmla="*/ 205329 h 324247"/>
                    <a:gd name="connsiteX2" fmla="*/ 526798 w 539057"/>
                    <a:gd name="connsiteY2" fmla="*/ 192826 h 324247"/>
                    <a:gd name="connsiteX3" fmla="*/ 507905 w 539057"/>
                    <a:gd name="connsiteY3" fmla="*/ 161707 h 324247"/>
                    <a:gd name="connsiteX4" fmla="*/ 495263 w 539057"/>
                    <a:gd name="connsiteY4" fmla="*/ 167958 h 324247"/>
                    <a:gd name="connsiteX5" fmla="*/ 469978 w 539057"/>
                    <a:gd name="connsiteY5" fmla="*/ 167958 h 324247"/>
                    <a:gd name="connsiteX6" fmla="*/ 488872 w 539057"/>
                    <a:gd name="connsiteY6" fmla="*/ 130588 h 324247"/>
                    <a:gd name="connsiteX7" fmla="*/ 463588 w 539057"/>
                    <a:gd name="connsiteY7" fmla="*/ 136840 h 324247"/>
                    <a:gd name="connsiteX8" fmla="*/ 425662 w 539057"/>
                    <a:gd name="connsiteY8" fmla="*/ 155594 h 324247"/>
                    <a:gd name="connsiteX9" fmla="*/ 406768 w 539057"/>
                    <a:gd name="connsiteY9" fmla="*/ 180601 h 324247"/>
                    <a:gd name="connsiteX10" fmla="*/ 387875 w 539057"/>
                    <a:gd name="connsiteY10" fmla="*/ 174349 h 324247"/>
                    <a:gd name="connsiteX11" fmla="*/ 356339 w 539057"/>
                    <a:gd name="connsiteY11" fmla="*/ 168097 h 324247"/>
                    <a:gd name="connsiteX12" fmla="*/ 331055 w 539057"/>
                    <a:gd name="connsiteY12" fmla="*/ 143230 h 324247"/>
                    <a:gd name="connsiteX13" fmla="*/ 324803 w 539057"/>
                    <a:gd name="connsiteY13" fmla="*/ 105860 h 324247"/>
                    <a:gd name="connsiteX14" fmla="*/ 305910 w 539057"/>
                    <a:gd name="connsiteY14" fmla="*/ 80992 h 324247"/>
                    <a:gd name="connsiteX15" fmla="*/ 280626 w 539057"/>
                    <a:gd name="connsiteY15" fmla="*/ 74741 h 324247"/>
                    <a:gd name="connsiteX16" fmla="*/ 236448 w 539057"/>
                    <a:gd name="connsiteY16" fmla="*/ 74741 h 324247"/>
                    <a:gd name="connsiteX17" fmla="*/ 192270 w 539057"/>
                    <a:gd name="connsiteY17" fmla="*/ 74741 h 324247"/>
                    <a:gd name="connsiteX18" fmla="*/ 166986 w 539057"/>
                    <a:gd name="connsiteY18" fmla="*/ 49873 h 324247"/>
                    <a:gd name="connsiteX19" fmla="*/ 141702 w 539057"/>
                    <a:gd name="connsiteY19" fmla="*/ 49873 h 324247"/>
                    <a:gd name="connsiteX20" fmla="*/ 116418 w 539057"/>
                    <a:gd name="connsiteY20" fmla="*/ 62377 h 324247"/>
                    <a:gd name="connsiteX21" fmla="*/ 103776 w 539057"/>
                    <a:gd name="connsiteY21" fmla="*/ 37370 h 324247"/>
                    <a:gd name="connsiteX22" fmla="*/ 91134 w 539057"/>
                    <a:gd name="connsiteY22" fmla="*/ 6252 h 324247"/>
                    <a:gd name="connsiteX23" fmla="*/ 91134 w 539057"/>
                    <a:gd name="connsiteY23" fmla="*/ 31119 h 324247"/>
                    <a:gd name="connsiteX24" fmla="*/ 84882 w 539057"/>
                    <a:gd name="connsiteY24" fmla="*/ 49873 h 324247"/>
                    <a:gd name="connsiteX25" fmla="*/ 78631 w 539057"/>
                    <a:gd name="connsiteY25" fmla="*/ 18755 h 324247"/>
                    <a:gd name="connsiteX26" fmla="*/ 84882 w 539057"/>
                    <a:gd name="connsiteY26" fmla="*/ 0 h 324247"/>
                    <a:gd name="connsiteX27" fmla="*/ 2778 w 539057"/>
                    <a:gd name="connsiteY27" fmla="*/ 24867 h 324247"/>
                    <a:gd name="connsiteX28" fmla="*/ 2778 w 539057"/>
                    <a:gd name="connsiteY28" fmla="*/ 93495 h 324247"/>
                    <a:gd name="connsiteX29" fmla="*/ 2778 w 539057"/>
                    <a:gd name="connsiteY29" fmla="*/ 143369 h 324247"/>
                    <a:gd name="connsiteX30" fmla="*/ 9030 w 539057"/>
                    <a:gd name="connsiteY30" fmla="*/ 162124 h 324247"/>
                    <a:gd name="connsiteX31" fmla="*/ 34314 w 539057"/>
                    <a:gd name="connsiteY31" fmla="*/ 162124 h 324247"/>
                    <a:gd name="connsiteX32" fmla="*/ 34314 w 539057"/>
                    <a:gd name="connsiteY32" fmla="*/ 143369 h 324247"/>
                    <a:gd name="connsiteX33" fmla="*/ 59598 w 539057"/>
                    <a:gd name="connsiteY33" fmla="*/ 124614 h 324247"/>
                    <a:gd name="connsiteX34" fmla="*/ 78492 w 539057"/>
                    <a:gd name="connsiteY34" fmla="*/ 112111 h 324247"/>
                    <a:gd name="connsiteX35" fmla="*/ 103776 w 539057"/>
                    <a:gd name="connsiteY35" fmla="*/ 118363 h 324247"/>
                    <a:gd name="connsiteX36" fmla="*/ 129060 w 539057"/>
                    <a:gd name="connsiteY36" fmla="*/ 124614 h 324247"/>
                    <a:gd name="connsiteX37" fmla="*/ 129060 w 539057"/>
                    <a:gd name="connsiteY37" fmla="*/ 149482 h 324247"/>
                    <a:gd name="connsiteX38" fmla="*/ 160596 w 539057"/>
                    <a:gd name="connsiteY38" fmla="*/ 168236 h 324247"/>
                    <a:gd name="connsiteX39" fmla="*/ 204773 w 539057"/>
                    <a:gd name="connsiteY39" fmla="*/ 211858 h 324247"/>
                    <a:gd name="connsiteX40" fmla="*/ 236309 w 539057"/>
                    <a:gd name="connsiteY40" fmla="*/ 230613 h 324247"/>
                    <a:gd name="connsiteX41" fmla="*/ 255203 w 539057"/>
                    <a:gd name="connsiteY41" fmla="*/ 243116 h 324247"/>
                    <a:gd name="connsiteX42" fmla="*/ 312022 w 539057"/>
                    <a:gd name="connsiteY42" fmla="*/ 280487 h 324247"/>
                    <a:gd name="connsiteX43" fmla="*/ 337306 w 539057"/>
                    <a:gd name="connsiteY43" fmla="*/ 305493 h 324247"/>
                    <a:gd name="connsiteX44" fmla="*/ 381484 w 539057"/>
                    <a:gd name="connsiteY44" fmla="*/ 324247 h 324247"/>
                    <a:gd name="connsiteX45" fmla="*/ 394126 w 539057"/>
                    <a:gd name="connsiteY45" fmla="*/ 293129 h 324247"/>
                    <a:gd name="connsiteX46" fmla="*/ 387875 w 539057"/>
                    <a:gd name="connsiteY46" fmla="*/ 262010 h 324247"/>
                    <a:gd name="connsiteX47" fmla="*/ 368981 w 539057"/>
                    <a:gd name="connsiteY47" fmla="*/ 237004 h 324247"/>
                    <a:gd name="connsiteX48" fmla="*/ 400516 w 539057"/>
                    <a:gd name="connsiteY48" fmla="*/ 224500 h 324247"/>
                    <a:gd name="connsiteX49" fmla="*/ 413159 w 539057"/>
                    <a:gd name="connsiteY49" fmla="*/ 205746 h 324247"/>
                    <a:gd name="connsiteX50" fmla="*/ 425801 w 539057"/>
                    <a:gd name="connsiteY50" fmla="*/ 186991 h 324247"/>
                    <a:gd name="connsiteX51" fmla="*/ 444695 w 539057"/>
                    <a:gd name="connsiteY51" fmla="*/ 186991 h 324247"/>
                    <a:gd name="connsiteX52" fmla="*/ 463588 w 539057"/>
                    <a:gd name="connsiteY52" fmla="*/ 180740 h 324247"/>
                    <a:gd name="connsiteX53" fmla="*/ 463588 w 539057"/>
                    <a:gd name="connsiteY53" fmla="*/ 211858 h 324247"/>
                    <a:gd name="connsiteX54" fmla="*/ 482481 w 539057"/>
                    <a:gd name="connsiteY54" fmla="*/ 211858 h 324247"/>
                    <a:gd name="connsiteX55" fmla="*/ 489011 w 539057"/>
                    <a:gd name="connsiteY55" fmla="*/ 199077 h 324247"/>
                    <a:gd name="connsiteX56" fmla="*/ 489011 w 539057"/>
                    <a:gd name="connsiteY56" fmla="*/ 199077 h 324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39057" h="324247">
                      <a:moveTo>
                        <a:pt x="489011" y="199077"/>
                      </a:moveTo>
                      <a:cubicBezTo>
                        <a:pt x="495263" y="205329"/>
                        <a:pt x="495263" y="211580"/>
                        <a:pt x="507905" y="205329"/>
                      </a:cubicBezTo>
                      <a:cubicBezTo>
                        <a:pt x="514156" y="205329"/>
                        <a:pt x="520547" y="192826"/>
                        <a:pt x="526798" y="192826"/>
                      </a:cubicBezTo>
                      <a:cubicBezTo>
                        <a:pt x="558334" y="186574"/>
                        <a:pt x="520547" y="174071"/>
                        <a:pt x="507905" y="161707"/>
                      </a:cubicBezTo>
                      <a:cubicBezTo>
                        <a:pt x="501653" y="155455"/>
                        <a:pt x="501653" y="161707"/>
                        <a:pt x="495263" y="167958"/>
                      </a:cubicBezTo>
                      <a:cubicBezTo>
                        <a:pt x="495263" y="174210"/>
                        <a:pt x="476369" y="167958"/>
                        <a:pt x="469978" y="167958"/>
                      </a:cubicBezTo>
                      <a:cubicBezTo>
                        <a:pt x="444695" y="155455"/>
                        <a:pt x="482620" y="136840"/>
                        <a:pt x="488872" y="130588"/>
                      </a:cubicBezTo>
                      <a:lnTo>
                        <a:pt x="463588" y="136840"/>
                      </a:lnTo>
                      <a:cubicBezTo>
                        <a:pt x="450946" y="143091"/>
                        <a:pt x="438304" y="143091"/>
                        <a:pt x="425662" y="155594"/>
                      </a:cubicBezTo>
                      <a:cubicBezTo>
                        <a:pt x="419410" y="161846"/>
                        <a:pt x="413020" y="174349"/>
                        <a:pt x="406768" y="180601"/>
                      </a:cubicBezTo>
                      <a:cubicBezTo>
                        <a:pt x="400516" y="199355"/>
                        <a:pt x="394126" y="186852"/>
                        <a:pt x="387875" y="174349"/>
                      </a:cubicBezTo>
                      <a:cubicBezTo>
                        <a:pt x="381623" y="161846"/>
                        <a:pt x="368981" y="168097"/>
                        <a:pt x="356339" y="168097"/>
                      </a:cubicBezTo>
                      <a:cubicBezTo>
                        <a:pt x="343697" y="168097"/>
                        <a:pt x="337445" y="149343"/>
                        <a:pt x="331055" y="143230"/>
                      </a:cubicBezTo>
                      <a:cubicBezTo>
                        <a:pt x="318413" y="130727"/>
                        <a:pt x="337306" y="118224"/>
                        <a:pt x="324803" y="105860"/>
                      </a:cubicBezTo>
                      <a:cubicBezTo>
                        <a:pt x="318551" y="99608"/>
                        <a:pt x="312162" y="87105"/>
                        <a:pt x="305910" y="80992"/>
                      </a:cubicBezTo>
                      <a:cubicBezTo>
                        <a:pt x="299658" y="74741"/>
                        <a:pt x="287016" y="68489"/>
                        <a:pt x="280626" y="74741"/>
                      </a:cubicBezTo>
                      <a:cubicBezTo>
                        <a:pt x="267983" y="80992"/>
                        <a:pt x="255341" y="74741"/>
                        <a:pt x="236448" y="74741"/>
                      </a:cubicBezTo>
                      <a:cubicBezTo>
                        <a:pt x="223806" y="74741"/>
                        <a:pt x="204912" y="80992"/>
                        <a:pt x="192270" y="74741"/>
                      </a:cubicBezTo>
                      <a:cubicBezTo>
                        <a:pt x="186019" y="68489"/>
                        <a:pt x="173376" y="55986"/>
                        <a:pt x="166986" y="49873"/>
                      </a:cubicBezTo>
                      <a:cubicBezTo>
                        <a:pt x="154344" y="37370"/>
                        <a:pt x="148093" y="37370"/>
                        <a:pt x="141702" y="49873"/>
                      </a:cubicBezTo>
                      <a:cubicBezTo>
                        <a:pt x="135450" y="56125"/>
                        <a:pt x="129060" y="62377"/>
                        <a:pt x="116418" y="62377"/>
                      </a:cubicBezTo>
                      <a:cubicBezTo>
                        <a:pt x="97525" y="62377"/>
                        <a:pt x="97525" y="49873"/>
                        <a:pt x="103776" y="37370"/>
                      </a:cubicBezTo>
                      <a:cubicBezTo>
                        <a:pt x="110028" y="18616"/>
                        <a:pt x="110028" y="18616"/>
                        <a:pt x="91134" y="6252"/>
                      </a:cubicBezTo>
                      <a:cubicBezTo>
                        <a:pt x="91134" y="12503"/>
                        <a:pt x="91134" y="25006"/>
                        <a:pt x="91134" y="31119"/>
                      </a:cubicBezTo>
                      <a:cubicBezTo>
                        <a:pt x="91134" y="43622"/>
                        <a:pt x="97386" y="49873"/>
                        <a:pt x="84882" y="49873"/>
                      </a:cubicBezTo>
                      <a:cubicBezTo>
                        <a:pt x="72240" y="43622"/>
                        <a:pt x="72240" y="24867"/>
                        <a:pt x="78631" y="18755"/>
                      </a:cubicBezTo>
                      <a:cubicBezTo>
                        <a:pt x="78631" y="18755"/>
                        <a:pt x="91273" y="0"/>
                        <a:pt x="84882" y="0"/>
                      </a:cubicBezTo>
                      <a:cubicBezTo>
                        <a:pt x="53347" y="6252"/>
                        <a:pt x="28063" y="12503"/>
                        <a:pt x="2778" y="24867"/>
                      </a:cubicBezTo>
                      <a:cubicBezTo>
                        <a:pt x="-3473" y="24867"/>
                        <a:pt x="2778" y="87244"/>
                        <a:pt x="2778" y="93495"/>
                      </a:cubicBezTo>
                      <a:cubicBezTo>
                        <a:pt x="2778" y="112250"/>
                        <a:pt x="2778" y="130866"/>
                        <a:pt x="2778" y="143369"/>
                      </a:cubicBezTo>
                      <a:cubicBezTo>
                        <a:pt x="2778" y="155872"/>
                        <a:pt x="-3473" y="162124"/>
                        <a:pt x="9030" y="162124"/>
                      </a:cubicBezTo>
                      <a:cubicBezTo>
                        <a:pt x="15282" y="162124"/>
                        <a:pt x="21672" y="162124"/>
                        <a:pt x="34314" y="162124"/>
                      </a:cubicBezTo>
                      <a:cubicBezTo>
                        <a:pt x="46956" y="162124"/>
                        <a:pt x="28063" y="149621"/>
                        <a:pt x="34314" y="143369"/>
                      </a:cubicBezTo>
                      <a:cubicBezTo>
                        <a:pt x="40566" y="130866"/>
                        <a:pt x="53207" y="137117"/>
                        <a:pt x="59598" y="124614"/>
                      </a:cubicBezTo>
                      <a:cubicBezTo>
                        <a:pt x="72240" y="118363"/>
                        <a:pt x="72240" y="118363"/>
                        <a:pt x="78492" y="112111"/>
                      </a:cubicBezTo>
                      <a:cubicBezTo>
                        <a:pt x="91134" y="105860"/>
                        <a:pt x="97386" y="112111"/>
                        <a:pt x="103776" y="118363"/>
                      </a:cubicBezTo>
                      <a:cubicBezTo>
                        <a:pt x="110028" y="124614"/>
                        <a:pt x="129060" y="124614"/>
                        <a:pt x="129060" y="124614"/>
                      </a:cubicBezTo>
                      <a:cubicBezTo>
                        <a:pt x="135311" y="137117"/>
                        <a:pt x="129060" y="143369"/>
                        <a:pt x="129060" y="149482"/>
                      </a:cubicBezTo>
                      <a:cubicBezTo>
                        <a:pt x="135311" y="168236"/>
                        <a:pt x="154344" y="168236"/>
                        <a:pt x="160596" y="168236"/>
                      </a:cubicBezTo>
                      <a:cubicBezTo>
                        <a:pt x="192131" y="168236"/>
                        <a:pt x="192131" y="186991"/>
                        <a:pt x="204773" y="211858"/>
                      </a:cubicBezTo>
                      <a:cubicBezTo>
                        <a:pt x="211025" y="218110"/>
                        <a:pt x="223667" y="224362"/>
                        <a:pt x="236309" y="230613"/>
                      </a:cubicBezTo>
                      <a:cubicBezTo>
                        <a:pt x="242561" y="230613"/>
                        <a:pt x="248951" y="236865"/>
                        <a:pt x="255203" y="243116"/>
                      </a:cubicBezTo>
                      <a:cubicBezTo>
                        <a:pt x="274096" y="255619"/>
                        <a:pt x="293129" y="274235"/>
                        <a:pt x="312022" y="280487"/>
                      </a:cubicBezTo>
                      <a:cubicBezTo>
                        <a:pt x="337306" y="286738"/>
                        <a:pt x="337306" y="286738"/>
                        <a:pt x="337306" y="305493"/>
                      </a:cubicBezTo>
                      <a:cubicBezTo>
                        <a:pt x="349948" y="305493"/>
                        <a:pt x="368842" y="317996"/>
                        <a:pt x="381484" y="324247"/>
                      </a:cubicBezTo>
                      <a:cubicBezTo>
                        <a:pt x="381484" y="305493"/>
                        <a:pt x="375233" y="305493"/>
                        <a:pt x="394126" y="293129"/>
                      </a:cubicBezTo>
                      <a:cubicBezTo>
                        <a:pt x="400378" y="280626"/>
                        <a:pt x="387875" y="274374"/>
                        <a:pt x="387875" y="262010"/>
                      </a:cubicBezTo>
                      <a:cubicBezTo>
                        <a:pt x="394126" y="243255"/>
                        <a:pt x="375233" y="249507"/>
                        <a:pt x="368981" y="237004"/>
                      </a:cubicBezTo>
                      <a:cubicBezTo>
                        <a:pt x="362730" y="224500"/>
                        <a:pt x="394265" y="230752"/>
                        <a:pt x="400516" y="224500"/>
                      </a:cubicBezTo>
                      <a:cubicBezTo>
                        <a:pt x="419410" y="218249"/>
                        <a:pt x="400516" y="199494"/>
                        <a:pt x="413159" y="205746"/>
                      </a:cubicBezTo>
                      <a:cubicBezTo>
                        <a:pt x="438443" y="205746"/>
                        <a:pt x="413159" y="186991"/>
                        <a:pt x="425801" y="186991"/>
                      </a:cubicBezTo>
                      <a:cubicBezTo>
                        <a:pt x="432052" y="180740"/>
                        <a:pt x="438443" y="193243"/>
                        <a:pt x="444695" y="186991"/>
                      </a:cubicBezTo>
                      <a:cubicBezTo>
                        <a:pt x="450946" y="186991"/>
                        <a:pt x="457337" y="180740"/>
                        <a:pt x="463588" y="180740"/>
                      </a:cubicBezTo>
                      <a:cubicBezTo>
                        <a:pt x="476230" y="180740"/>
                        <a:pt x="463588" y="205607"/>
                        <a:pt x="463588" y="211858"/>
                      </a:cubicBezTo>
                      <a:cubicBezTo>
                        <a:pt x="469840" y="211858"/>
                        <a:pt x="482481" y="193104"/>
                        <a:pt x="482481" y="211858"/>
                      </a:cubicBezTo>
                      <a:cubicBezTo>
                        <a:pt x="482620" y="211580"/>
                        <a:pt x="482620" y="199077"/>
                        <a:pt x="489011" y="199077"/>
                      </a:cubicBezTo>
                      <a:cubicBezTo>
                        <a:pt x="495263" y="199077"/>
                        <a:pt x="482620" y="199077"/>
                        <a:pt x="489011" y="19907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39" name="Freihandform: Form 338">
                  <a:extLst>
                    <a:ext uri="{FF2B5EF4-FFF2-40B4-BE49-F238E27FC236}">
                      <a16:creationId xmlns:a16="http://schemas.microsoft.com/office/drawing/2014/main" id="{0E2DAD25-E357-43EC-AF89-F91F4EB65267}"/>
                    </a:ext>
                  </a:extLst>
                </p:cNvPr>
                <p:cNvSpPr/>
                <p:nvPr/>
              </p:nvSpPr>
              <p:spPr>
                <a:xfrm>
                  <a:off x="7704646" y="3116312"/>
                  <a:ext cx="444833" cy="276180"/>
                </a:xfrm>
                <a:custGeom>
                  <a:avLst/>
                  <a:gdLst>
                    <a:gd name="connsiteX0" fmla="*/ 444834 w 444833"/>
                    <a:gd name="connsiteY0" fmla="*/ 179906 h 276180"/>
                    <a:gd name="connsiteX1" fmla="*/ 419827 w 444833"/>
                    <a:gd name="connsiteY1" fmla="*/ 173516 h 276180"/>
                    <a:gd name="connsiteX2" fmla="*/ 394821 w 444833"/>
                    <a:gd name="connsiteY2" fmla="*/ 154205 h 276180"/>
                    <a:gd name="connsiteX3" fmla="*/ 350921 w 444833"/>
                    <a:gd name="connsiteY3" fmla="*/ 128504 h 276180"/>
                    <a:gd name="connsiteX4" fmla="*/ 313273 w 444833"/>
                    <a:gd name="connsiteY4" fmla="*/ 102803 h 276180"/>
                    <a:gd name="connsiteX5" fmla="*/ 281876 w 444833"/>
                    <a:gd name="connsiteY5" fmla="*/ 57792 h 276180"/>
                    <a:gd name="connsiteX6" fmla="*/ 237976 w 444833"/>
                    <a:gd name="connsiteY6" fmla="*/ 32091 h 276180"/>
                    <a:gd name="connsiteX7" fmla="*/ 237976 w 444833"/>
                    <a:gd name="connsiteY7" fmla="*/ 12781 h 276180"/>
                    <a:gd name="connsiteX8" fmla="*/ 212970 w 444833"/>
                    <a:gd name="connsiteY8" fmla="*/ 6390 h 276180"/>
                    <a:gd name="connsiteX9" fmla="*/ 200466 w 444833"/>
                    <a:gd name="connsiteY9" fmla="*/ 0 h 276180"/>
                    <a:gd name="connsiteX10" fmla="*/ 181712 w 444833"/>
                    <a:gd name="connsiteY10" fmla="*/ 6390 h 276180"/>
                    <a:gd name="connsiteX11" fmla="*/ 162957 w 444833"/>
                    <a:gd name="connsiteY11" fmla="*/ 19310 h 276180"/>
                    <a:gd name="connsiteX12" fmla="*/ 144202 w 444833"/>
                    <a:gd name="connsiteY12" fmla="*/ 38621 h 276180"/>
                    <a:gd name="connsiteX13" fmla="*/ 125448 w 444833"/>
                    <a:gd name="connsiteY13" fmla="*/ 51402 h 276180"/>
                    <a:gd name="connsiteX14" fmla="*/ 94052 w 444833"/>
                    <a:gd name="connsiteY14" fmla="*/ 51402 h 276180"/>
                    <a:gd name="connsiteX15" fmla="*/ 62655 w 444833"/>
                    <a:gd name="connsiteY15" fmla="*/ 12781 h 276180"/>
                    <a:gd name="connsiteX16" fmla="*/ 0 w 444833"/>
                    <a:gd name="connsiteY16" fmla="*/ 32091 h 276180"/>
                    <a:gd name="connsiteX17" fmla="*/ 18755 w 444833"/>
                    <a:gd name="connsiteY17" fmla="*/ 77103 h 276180"/>
                    <a:gd name="connsiteX18" fmla="*/ 37509 w 444833"/>
                    <a:gd name="connsiteY18" fmla="*/ 109194 h 276180"/>
                    <a:gd name="connsiteX19" fmla="*/ 37509 w 444833"/>
                    <a:gd name="connsiteY19" fmla="*/ 122114 h 276180"/>
                    <a:gd name="connsiteX20" fmla="*/ 50012 w 444833"/>
                    <a:gd name="connsiteY20" fmla="*/ 141424 h 276180"/>
                    <a:gd name="connsiteX21" fmla="*/ 43761 w 444833"/>
                    <a:gd name="connsiteY21" fmla="*/ 167125 h 276180"/>
                    <a:gd name="connsiteX22" fmla="*/ 43761 w 444833"/>
                    <a:gd name="connsiteY22" fmla="*/ 199216 h 276180"/>
                    <a:gd name="connsiteX23" fmla="*/ 75158 w 444833"/>
                    <a:gd name="connsiteY23" fmla="*/ 186296 h 276180"/>
                    <a:gd name="connsiteX24" fmla="*/ 93912 w 444833"/>
                    <a:gd name="connsiteY24" fmla="*/ 166986 h 276180"/>
                    <a:gd name="connsiteX25" fmla="*/ 156567 w 444833"/>
                    <a:gd name="connsiteY25" fmla="*/ 173377 h 276180"/>
                    <a:gd name="connsiteX26" fmla="*/ 219221 w 444833"/>
                    <a:gd name="connsiteY26" fmla="*/ 199078 h 276180"/>
                    <a:gd name="connsiteX27" fmla="*/ 269373 w 444833"/>
                    <a:gd name="connsiteY27" fmla="*/ 224778 h 276180"/>
                    <a:gd name="connsiteX28" fmla="*/ 275624 w 444833"/>
                    <a:gd name="connsiteY28" fmla="*/ 237698 h 276180"/>
                    <a:gd name="connsiteX29" fmla="*/ 288127 w 444833"/>
                    <a:gd name="connsiteY29" fmla="*/ 269790 h 276180"/>
                    <a:gd name="connsiteX30" fmla="*/ 319524 w 444833"/>
                    <a:gd name="connsiteY30" fmla="*/ 276180 h 276180"/>
                    <a:gd name="connsiteX31" fmla="*/ 344530 w 444833"/>
                    <a:gd name="connsiteY31" fmla="*/ 256870 h 276180"/>
                    <a:gd name="connsiteX32" fmla="*/ 375927 w 444833"/>
                    <a:gd name="connsiteY32" fmla="*/ 243950 h 276180"/>
                    <a:gd name="connsiteX33" fmla="*/ 394682 w 444833"/>
                    <a:gd name="connsiteY33" fmla="*/ 211858 h 276180"/>
                    <a:gd name="connsiteX34" fmla="*/ 419688 w 444833"/>
                    <a:gd name="connsiteY34" fmla="*/ 198939 h 276180"/>
                    <a:gd name="connsiteX35" fmla="*/ 444695 w 444833"/>
                    <a:gd name="connsiteY35" fmla="*/ 198939 h 276180"/>
                    <a:gd name="connsiteX36" fmla="*/ 444834 w 444833"/>
                    <a:gd name="connsiteY36" fmla="*/ 179906 h 27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4833" h="276180">
                      <a:moveTo>
                        <a:pt x="444834" y="179906"/>
                      </a:moveTo>
                      <a:cubicBezTo>
                        <a:pt x="438582" y="173516"/>
                        <a:pt x="432330" y="173516"/>
                        <a:pt x="419827" y="173516"/>
                      </a:cubicBezTo>
                      <a:cubicBezTo>
                        <a:pt x="413576" y="167125"/>
                        <a:pt x="401073" y="160596"/>
                        <a:pt x="394821" y="154205"/>
                      </a:cubicBezTo>
                      <a:cubicBezTo>
                        <a:pt x="382318" y="147815"/>
                        <a:pt x="363424" y="141285"/>
                        <a:pt x="350921" y="128504"/>
                      </a:cubicBezTo>
                      <a:cubicBezTo>
                        <a:pt x="344670" y="115723"/>
                        <a:pt x="325915" y="115723"/>
                        <a:pt x="313273" y="102803"/>
                      </a:cubicBezTo>
                      <a:cubicBezTo>
                        <a:pt x="307021" y="83493"/>
                        <a:pt x="300770" y="57792"/>
                        <a:pt x="281876" y="57792"/>
                      </a:cubicBezTo>
                      <a:cubicBezTo>
                        <a:pt x="263121" y="57792"/>
                        <a:pt x="237976" y="57792"/>
                        <a:pt x="237976" y="32091"/>
                      </a:cubicBezTo>
                      <a:cubicBezTo>
                        <a:pt x="237976" y="25701"/>
                        <a:pt x="244227" y="12781"/>
                        <a:pt x="237976" y="12781"/>
                      </a:cubicBezTo>
                      <a:cubicBezTo>
                        <a:pt x="231724" y="6390"/>
                        <a:pt x="225473" y="12781"/>
                        <a:pt x="212970" y="6390"/>
                      </a:cubicBezTo>
                      <a:cubicBezTo>
                        <a:pt x="212970" y="6390"/>
                        <a:pt x="206718" y="0"/>
                        <a:pt x="200466" y="0"/>
                      </a:cubicBezTo>
                      <a:cubicBezTo>
                        <a:pt x="194215" y="0"/>
                        <a:pt x="187963" y="6390"/>
                        <a:pt x="181712" y="6390"/>
                      </a:cubicBezTo>
                      <a:cubicBezTo>
                        <a:pt x="175460" y="0"/>
                        <a:pt x="169209" y="19310"/>
                        <a:pt x="162957" y="19310"/>
                      </a:cubicBezTo>
                      <a:cubicBezTo>
                        <a:pt x="156706" y="19310"/>
                        <a:pt x="137951" y="25701"/>
                        <a:pt x="144202" y="38621"/>
                      </a:cubicBezTo>
                      <a:cubicBezTo>
                        <a:pt x="150454" y="57931"/>
                        <a:pt x="144202" y="51402"/>
                        <a:pt x="125448" y="51402"/>
                      </a:cubicBezTo>
                      <a:cubicBezTo>
                        <a:pt x="119196" y="51402"/>
                        <a:pt x="100441" y="51402"/>
                        <a:pt x="94052" y="51402"/>
                      </a:cubicBezTo>
                      <a:cubicBezTo>
                        <a:pt x="81548" y="38621"/>
                        <a:pt x="75297" y="25701"/>
                        <a:pt x="62655" y="12781"/>
                      </a:cubicBezTo>
                      <a:cubicBezTo>
                        <a:pt x="43900" y="-139"/>
                        <a:pt x="18755" y="19172"/>
                        <a:pt x="0" y="32091"/>
                      </a:cubicBezTo>
                      <a:cubicBezTo>
                        <a:pt x="6252" y="38482"/>
                        <a:pt x="25006" y="64183"/>
                        <a:pt x="18755" y="77103"/>
                      </a:cubicBezTo>
                      <a:cubicBezTo>
                        <a:pt x="-12642" y="96413"/>
                        <a:pt x="25006" y="96413"/>
                        <a:pt x="37509" y="109194"/>
                      </a:cubicBezTo>
                      <a:lnTo>
                        <a:pt x="37509" y="122114"/>
                      </a:lnTo>
                      <a:cubicBezTo>
                        <a:pt x="31258" y="128504"/>
                        <a:pt x="43761" y="141424"/>
                        <a:pt x="50012" y="141424"/>
                      </a:cubicBezTo>
                      <a:cubicBezTo>
                        <a:pt x="50012" y="147815"/>
                        <a:pt x="43761" y="154344"/>
                        <a:pt x="43761" y="167125"/>
                      </a:cubicBezTo>
                      <a:cubicBezTo>
                        <a:pt x="43761" y="173516"/>
                        <a:pt x="43761" y="186436"/>
                        <a:pt x="43761" y="199216"/>
                      </a:cubicBezTo>
                      <a:cubicBezTo>
                        <a:pt x="56264" y="199216"/>
                        <a:pt x="62516" y="199216"/>
                        <a:pt x="75158" y="186296"/>
                      </a:cubicBezTo>
                      <a:cubicBezTo>
                        <a:pt x="81409" y="179906"/>
                        <a:pt x="87661" y="173377"/>
                        <a:pt x="93912" y="166986"/>
                      </a:cubicBezTo>
                      <a:cubicBezTo>
                        <a:pt x="118919" y="166986"/>
                        <a:pt x="137812" y="160596"/>
                        <a:pt x="156567" y="173377"/>
                      </a:cubicBezTo>
                      <a:cubicBezTo>
                        <a:pt x="169070" y="192687"/>
                        <a:pt x="206718" y="179767"/>
                        <a:pt x="219221" y="199078"/>
                      </a:cubicBezTo>
                      <a:cubicBezTo>
                        <a:pt x="231724" y="218388"/>
                        <a:pt x="244227" y="224778"/>
                        <a:pt x="269373" y="224778"/>
                      </a:cubicBezTo>
                      <a:cubicBezTo>
                        <a:pt x="275624" y="224778"/>
                        <a:pt x="275624" y="224778"/>
                        <a:pt x="275624" y="237698"/>
                      </a:cubicBezTo>
                      <a:cubicBezTo>
                        <a:pt x="275624" y="257009"/>
                        <a:pt x="275624" y="257009"/>
                        <a:pt x="288127" y="269790"/>
                      </a:cubicBezTo>
                      <a:cubicBezTo>
                        <a:pt x="300630" y="269790"/>
                        <a:pt x="306882" y="276180"/>
                        <a:pt x="319524" y="276180"/>
                      </a:cubicBezTo>
                      <a:cubicBezTo>
                        <a:pt x="338279" y="276180"/>
                        <a:pt x="338279" y="269790"/>
                        <a:pt x="344530" y="256870"/>
                      </a:cubicBezTo>
                      <a:cubicBezTo>
                        <a:pt x="350782" y="243950"/>
                        <a:pt x="363285" y="250479"/>
                        <a:pt x="375927" y="243950"/>
                      </a:cubicBezTo>
                      <a:cubicBezTo>
                        <a:pt x="388430" y="237559"/>
                        <a:pt x="388430" y="224639"/>
                        <a:pt x="394682" y="211858"/>
                      </a:cubicBezTo>
                      <a:cubicBezTo>
                        <a:pt x="394682" y="198939"/>
                        <a:pt x="413437" y="211858"/>
                        <a:pt x="419688" y="198939"/>
                      </a:cubicBezTo>
                      <a:cubicBezTo>
                        <a:pt x="419688" y="186019"/>
                        <a:pt x="438443" y="198939"/>
                        <a:pt x="444695" y="198939"/>
                      </a:cubicBezTo>
                      <a:cubicBezTo>
                        <a:pt x="444834" y="192687"/>
                        <a:pt x="444834" y="186296"/>
                        <a:pt x="444834" y="17990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0" name="Freihandform: Form 339">
                  <a:extLst>
                    <a:ext uri="{FF2B5EF4-FFF2-40B4-BE49-F238E27FC236}">
                      <a16:creationId xmlns:a16="http://schemas.microsoft.com/office/drawing/2014/main" id="{F3094730-BBC6-4720-8CAB-FE696B2426F4}"/>
                    </a:ext>
                  </a:extLst>
                </p:cNvPr>
                <p:cNvSpPr/>
                <p:nvPr/>
              </p:nvSpPr>
              <p:spPr>
                <a:xfrm>
                  <a:off x="8173929" y="3187457"/>
                  <a:ext cx="247406" cy="156315"/>
                </a:xfrm>
                <a:custGeom>
                  <a:avLst/>
                  <a:gdLst>
                    <a:gd name="connsiteX0" fmla="*/ 187686 w 247406"/>
                    <a:gd name="connsiteY0" fmla="*/ 59026 h 156315"/>
                    <a:gd name="connsiteX1" fmla="*/ 155456 w 247406"/>
                    <a:gd name="connsiteY1" fmla="*/ 59026 h 156315"/>
                    <a:gd name="connsiteX2" fmla="*/ 129755 w 247406"/>
                    <a:gd name="connsiteY2" fmla="*/ 46245 h 156315"/>
                    <a:gd name="connsiteX3" fmla="*/ 116835 w 247406"/>
                    <a:gd name="connsiteY3" fmla="*/ 52635 h 156315"/>
                    <a:gd name="connsiteX4" fmla="*/ 103916 w 247406"/>
                    <a:gd name="connsiteY4" fmla="*/ 52635 h 156315"/>
                    <a:gd name="connsiteX5" fmla="*/ 58904 w 247406"/>
                    <a:gd name="connsiteY5" fmla="*/ 46245 h 156315"/>
                    <a:gd name="connsiteX6" fmla="*/ 71824 w 247406"/>
                    <a:gd name="connsiteY6" fmla="*/ 27212 h 156315"/>
                    <a:gd name="connsiteX7" fmla="*/ 97525 w 247406"/>
                    <a:gd name="connsiteY7" fmla="*/ 39993 h 156315"/>
                    <a:gd name="connsiteX8" fmla="*/ 116835 w 247406"/>
                    <a:gd name="connsiteY8" fmla="*/ 27212 h 156315"/>
                    <a:gd name="connsiteX9" fmla="*/ 97525 w 247406"/>
                    <a:gd name="connsiteY9" fmla="*/ 33603 h 156315"/>
                    <a:gd name="connsiteX10" fmla="*/ 97525 w 247406"/>
                    <a:gd name="connsiteY10" fmla="*/ 1789 h 156315"/>
                    <a:gd name="connsiteX11" fmla="*/ 84605 w 247406"/>
                    <a:gd name="connsiteY11" fmla="*/ 8180 h 156315"/>
                    <a:gd name="connsiteX12" fmla="*/ 58904 w 247406"/>
                    <a:gd name="connsiteY12" fmla="*/ 8180 h 156315"/>
                    <a:gd name="connsiteX13" fmla="*/ 45984 w 247406"/>
                    <a:gd name="connsiteY13" fmla="*/ 27212 h 156315"/>
                    <a:gd name="connsiteX14" fmla="*/ 33065 w 247406"/>
                    <a:gd name="connsiteY14" fmla="*/ 46245 h 156315"/>
                    <a:gd name="connsiteX15" fmla="*/ 834 w 247406"/>
                    <a:gd name="connsiteY15" fmla="*/ 59026 h 156315"/>
                    <a:gd name="connsiteX16" fmla="*/ 20144 w 247406"/>
                    <a:gd name="connsiteY16" fmla="*/ 84449 h 156315"/>
                    <a:gd name="connsiteX17" fmla="*/ 20144 w 247406"/>
                    <a:gd name="connsiteY17" fmla="*/ 116262 h 156315"/>
                    <a:gd name="connsiteX18" fmla="*/ 20144 w 247406"/>
                    <a:gd name="connsiteY18" fmla="*/ 148076 h 156315"/>
                    <a:gd name="connsiteX19" fmla="*/ 52375 w 247406"/>
                    <a:gd name="connsiteY19" fmla="*/ 135434 h 156315"/>
                    <a:gd name="connsiteX20" fmla="*/ 71685 w 247406"/>
                    <a:gd name="connsiteY20" fmla="*/ 122653 h 156315"/>
                    <a:gd name="connsiteX21" fmla="*/ 103916 w 247406"/>
                    <a:gd name="connsiteY21" fmla="*/ 103620 h 156315"/>
                    <a:gd name="connsiteX22" fmla="*/ 123226 w 247406"/>
                    <a:gd name="connsiteY22" fmla="*/ 103620 h 156315"/>
                    <a:gd name="connsiteX23" fmla="*/ 136145 w 247406"/>
                    <a:gd name="connsiteY23" fmla="*/ 129043 h 156315"/>
                    <a:gd name="connsiteX24" fmla="*/ 129755 w 247406"/>
                    <a:gd name="connsiteY24" fmla="*/ 148076 h 156315"/>
                    <a:gd name="connsiteX25" fmla="*/ 168376 w 247406"/>
                    <a:gd name="connsiteY25" fmla="*/ 141685 h 156315"/>
                    <a:gd name="connsiteX26" fmla="*/ 200607 w 247406"/>
                    <a:gd name="connsiteY26" fmla="*/ 129043 h 156315"/>
                    <a:gd name="connsiteX27" fmla="*/ 245618 w 247406"/>
                    <a:gd name="connsiteY27" fmla="*/ 129043 h 156315"/>
                    <a:gd name="connsiteX28" fmla="*/ 239227 w 247406"/>
                    <a:gd name="connsiteY28" fmla="*/ 110011 h 156315"/>
                    <a:gd name="connsiteX29" fmla="*/ 226307 w 247406"/>
                    <a:gd name="connsiteY29" fmla="*/ 84588 h 156315"/>
                    <a:gd name="connsiteX30" fmla="*/ 200607 w 247406"/>
                    <a:gd name="connsiteY30" fmla="*/ 52774 h 156315"/>
                    <a:gd name="connsiteX31" fmla="*/ 187686 w 247406"/>
                    <a:gd name="connsiteY31" fmla="*/ 59026 h 156315"/>
                    <a:gd name="connsiteX32" fmla="*/ 187686 w 247406"/>
                    <a:gd name="connsiteY32" fmla="*/ 59026 h 15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7406" h="156315">
                      <a:moveTo>
                        <a:pt x="187686" y="59026"/>
                      </a:moveTo>
                      <a:cubicBezTo>
                        <a:pt x="174767" y="65416"/>
                        <a:pt x="168376" y="59026"/>
                        <a:pt x="155456" y="59026"/>
                      </a:cubicBezTo>
                      <a:cubicBezTo>
                        <a:pt x="142536" y="59026"/>
                        <a:pt x="136145" y="46245"/>
                        <a:pt x="129755" y="46245"/>
                      </a:cubicBezTo>
                      <a:cubicBezTo>
                        <a:pt x="123365" y="46245"/>
                        <a:pt x="123365" y="52635"/>
                        <a:pt x="116835" y="52635"/>
                      </a:cubicBezTo>
                      <a:cubicBezTo>
                        <a:pt x="116835" y="59026"/>
                        <a:pt x="110445" y="52635"/>
                        <a:pt x="103916" y="52635"/>
                      </a:cubicBezTo>
                      <a:cubicBezTo>
                        <a:pt x="90995" y="52635"/>
                        <a:pt x="71685" y="52635"/>
                        <a:pt x="58904" y="46245"/>
                      </a:cubicBezTo>
                      <a:cubicBezTo>
                        <a:pt x="52514" y="39854"/>
                        <a:pt x="71824" y="27212"/>
                        <a:pt x="71824" y="27212"/>
                      </a:cubicBezTo>
                      <a:cubicBezTo>
                        <a:pt x="84744" y="20822"/>
                        <a:pt x="91134" y="39993"/>
                        <a:pt x="97525" y="39993"/>
                      </a:cubicBezTo>
                      <a:cubicBezTo>
                        <a:pt x="110445" y="39993"/>
                        <a:pt x="116835" y="33603"/>
                        <a:pt x="116835" y="27212"/>
                      </a:cubicBezTo>
                      <a:cubicBezTo>
                        <a:pt x="110445" y="20822"/>
                        <a:pt x="103916" y="33603"/>
                        <a:pt x="97525" y="33603"/>
                      </a:cubicBezTo>
                      <a:cubicBezTo>
                        <a:pt x="91134" y="27212"/>
                        <a:pt x="103916" y="8180"/>
                        <a:pt x="97525" y="1789"/>
                      </a:cubicBezTo>
                      <a:cubicBezTo>
                        <a:pt x="97525" y="-4601"/>
                        <a:pt x="84605" y="8180"/>
                        <a:pt x="84605" y="8180"/>
                      </a:cubicBezTo>
                      <a:cubicBezTo>
                        <a:pt x="71685" y="14570"/>
                        <a:pt x="65294" y="1789"/>
                        <a:pt x="58904" y="8180"/>
                      </a:cubicBezTo>
                      <a:cubicBezTo>
                        <a:pt x="45984" y="8180"/>
                        <a:pt x="71824" y="27212"/>
                        <a:pt x="45984" y="27212"/>
                      </a:cubicBezTo>
                      <a:cubicBezTo>
                        <a:pt x="33065" y="20822"/>
                        <a:pt x="52375" y="46245"/>
                        <a:pt x="33065" y="46245"/>
                      </a:cubicBezTo>
                      <a:cubicBezTo>
                        <a:pt x="26674" y="52635"/>
                        <a:pt x="-5557" y="46245"/>
                        <a:pt x="834" y="59026"/>
                      </a:cubicBezTo>
                      <a:cubicBezTo>
                        <a:pt x="7225" y="78058"/>
                        <a:pt x="26535" y="65416"/>
                        <a:pt x="20144" y="84449"/>
                      </a:cubicBezTo>
                      <a:cubicBezTo>
                        <a:pt x="20144" y="103481"/>
                        <a:pt x="39455" y="103481"/>
                        <a:pt x="20144" y="116262"/>
                      </a:cubicBezTo>
                      <a:cubicBezTo>
                        <a:pt x="13754" y="122653"/>
                        <a:pt x="834" y="148076"/>
                        <a:pt x="20144" y="148076"/>
                      </a:cubicBezTo>
                      <a:cubicBezTo>
                        <a:pt x="33065" y="148076"/>
                        <a:pt x="45845" y="129043"/>
                        <a:pt x="52375" y="135434"/>
                      </a:cubicBezTo>
                      <a:cubicBezTo>
                        <a:pt x="71685" y="154466"/>
                        <a:pt x="52375" y="122653"/>
                        <a:pt x="71685" y="122653"/>
                      </a:cubicBezTo>
                      <a:cubicBezTo>
                        <a:pt x="84605" y="122653"/>
                        <a:pt x="90995" y="116262"/>
                        <a:pt x="103916" y="103620"/>
                      </a:cubicBezTo>
                      <a:cubicBezTo>
                        <a:pt x="110306" y="84588"/>
                        <a:pt x="116835" y="90978"/>
                        <a:pt x="123226" y="103620"/>
                      </a:cubicBezTo>
                      <a:cubicBezTo>
                        <a:pt x="129616" y="110011"/>
                        <a:pt x="136145" y="116401"/>
                        <a:pt x="136145" y="129043"/>
                      </a:cubicBezTo>
                      <a:cubicBezTo>
                        <a:pt x="136145" y="135434"/>
                        <a:pt x="129755" y="141685"/>
                        <a:pt x="129755" y="148076"/>
                      </a:cubicBezTo>
                      <a:cubicBezTo>
                        <a:pt x="136145" y="167108"/>
                        <a:pt x="161985" y="148076"/>
                        <a:pt x="168376" y="141685"/>
                      </a:cubicBezTo>
                      <a:cubicBezTo>
                        <a:pt x="174767" y="135295"/>
                        <a:pt x="194077" y="122653"/>
                        <a:pt x="200607" y="129043"/>
                      </a:cubicBezTo>
                      <a:cubicBezTo>
                        <a:pt x="213526" y="141685"/>
                        <a:pt x="226307" y="122653"/>
                        <a:pt x="245618" y="129043"/>
                      </a:cubicBezTo>
                      <a:cubicBezTo>
                        <a:pt x="252008" y="122653"/>
                        <a:pt x="239227" y="110011"/>
                        <a:pt x="239227" y="110011"/>
                      </a:cubicBezTo>
                      <a:cubicBezTo>
                        <a:pt x="232836" y="97369"/>
                        <a:pt x="239227" y="84588"/>
                        <a:pt x="226307" y="84588"/>
                      </a:cubicBezTo>
                      <a:cubicBezTo>
                        <a:pt x="206996" y="90978"/>
                        <a:pt x="194077" y="71946"/>
                        <a:pt x="200607" y="52774"/>
                      </a:cubicBezTo>
                      <a:cubicBezTo>
                        <a:pt x="200467" y="52635"/>
                        <a:pt x="194077" y="52635"/>
                        <a:pt x="187686" y="59026"/>
                      </a:cubicBezTo>
                      <a:cubicBezTo>
                        <a:pt x="181157" y="59026"/>
                        <a:pt x="194077" y="52635"/>
                        <a:pt x="187686" y="5902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1" name="Freihandform: Form 340">
                  <a:extLst>
                    <a:ext uri="{FF2B5EF4-FFF2-40B4-BE49-F238E27FC236}">
                      <a16:creationId xmlns:a16="http://schemas.microsoft.com/office/drawing/2014/main" id="{3414B409-C1A4-4EB7-AC60-C473839A0474}"/>
                    </a:ext>
                  </a:extLst>
                </p:cNvPr>
                <p:cNvSpPr/>
                <p:nvPr/>
              </p:nvSpPr>
              <p:spPr>
                <a:xfrm>
                  <a:off x="7967906" y="3325530"/>
                  <a:ext cx="523880" cy="462790"/>
                </a:xfrm>
                <a:custGeom>
                  <a:avLst/>
                  <a:gdLst>
                    <a:gd name="connsiteX0" fmla="*/ 50985 w 523880"/>
                    <a:gd name="connsiteY0" fmla="*/ 322303 h 462790"/>
                    <a:gd name="connsiteX1" fmla="*/ 57237 w 523880"/>
                    <a:gd name="connsiteY1" fmla="*/ 341196 h 462790"/>
                    <a:gd name="connsiteX2" fmla="*/ 69878 w 523880"/>
                    <a:gd name="connsiteY2" fmla="*/ 360090 h 462790"/>
                    <a:gd name="connsiteX3" fmla="*/ 31952 w 523880"/>
                    <a:gd name="connsiteY3" fmla="*/ 385374 h 462790"/>
                    <a:gd name="connsiteX4" fmla="*/ 19310 w 523880"/>
                    <a:gd name="connsiteY4" fmla="*/ 404268 h 462790"/>
                    <a:gd name="connsiteX5" fmla="*/ 38204 w 523880"/>
                    <a:gd name="connsiteY5" fmla="*/ 416910 h 462790"/>
                    <a:gd name="connsiteX6" fmla="*/ 82381 w 523880"/>
                    <a:gd name="connsiteY6" fmla="*/ 404268 h 462790"/>
                    <a:gd name="connsiteX7" fmla="*/ 120308 w 523880"/>
                    <a:gd name="connsiteY7" fmla="*/ 410519 h 462790"/>
                    <a:gd name="connsiteX8" fmla="*/ 145592 w 523880"/>
                    <a:gd name="connsiteY8" fmla="*/ 410519 h 462790"/>
                    <a:gd name="connsiteX9" fmla="*/ 177128 w 523880"/>
                    <a:gd name="connsiteY9" fmla="*/ 404268 h 462790"/>
                    <a:gd name="connsiteX10" fmla="*/ 183379 w 523880"/>
                    <a:gd name="connsiteY10" fmla="*/ 423161 h 462790"/>
                    <a:gd name="connsiteX11" fmla="*/ 202273 w 523880"/>
                    <a:gd name="connsiteY11" fmla="*/ 435803 h 462790"/>
                    <a:gd name="connsiteX12" fmla="*/ 208524 w 523880"/>
                    <a:gd name="connsiteY12" fmla="*/ 461087 h 462790"/>
                    <a:gd name="connsiteX13" fmla="*/ 214776 w 523880"/>
                    <a:gd name="connsiteY13" fmla="*/ 448445 h 462790"/>
                    <a:gd name="connsiteX14" fmla="*/ 227418 w 523880"/>
                    <a:gd name="connsiteY14" fmla="*/ 461087 h 462790"/>
                    <a:gd name="connsiteX15" fmla="*/ 271596 w 523880"/>
                    <a:gd name="connsiteY15" fmla="*/ 448445 h 462790"/>
                    <a:gd name="connsiteX16" fmla="*/ 290489 w 523880"/>
                    <a:gd name="connsiteY16" fmla="*/ 442194 h 462790"/>
                    <a:gd name="connsiteX17" fmla="*/ 315773 w 523880"/>
                    <a:gd name="connsiteY17" fmla="*/ 442194 h 462790"/>
                    <a:gd name="connsiteX18" fmla="*/ 303132 w 523880"/>
                    <a:gd name="connsiteY18" fmla="*/ 404268 h 462790"/>
                    <a:gd name="connsiteX19" fmla="*/ 290489 w 523880"/>
                    <a:gd name="connsiteY19" fmla="*/ 385374 h 462790"/>
                    <a:gd name="connsiteX20" fmla="*/ 277847 w 523880"/>
                    <a:gd name="connsiteY20" fmla="*/ 360090 h 462790"/>
                    <a:gd name="connsiteX21" fmla="*/ 290489 w 523880"/>
                    <a:gd name="connsiteY21" fmla="*/ 328554 h 462790"/>
                    <a:gd name="connsiteX22" fmla="*/ 309383 w 523880"/>
                    <a:gd name="connsiteY22" fmla="*/ 328554 h 462790"/>
                    <a:gd name="connsiteX23" fmla="*/ 328276 w 523880"/>
                    <a:gd name="connsiteY23" fmla="*/ 328554 h 462790"/>
                    <a:gd name="connsiteX24" fmla="*/ 359812 w 523880"/>
                    <a:gd name="connsiteY24" fmla="*/ 290628 h 462790"/>
                    <a:gd name="connsiteX25" fmla="*/ 378706 w 523880"/>
                    <a:gd name="connsiteY25" fmla="*/ 277986 h 462790"/>
                    <a:gd name="connsiteX26" fmla="*/ 391348 w 523880"/>
                    <a:gd name="connsiteY26" fmla="*/ 259092 h 462790"/>
                    <a:gd name="connsiteX27" fmla="*/ 410241 w 523880"/>
                    <a:gd name="connsiteY27" fmla="*/ 246450 h 462790"/>
                    <a:gd name="connsiteX28" fmla="*/ 416493 w 523880"/>
                    <a:gd name="connsiteY28" fmla="*/ 233808 h 462790"/>
                    <a:gd name="connsiteX29" fmla="*/ 435386 w 523880"/>
                    <a:gd name="connsiteY29" fmla="*/ 208524 h 462790"/>
                    <a:gd name="connsiteX30" fmla="*/ 448029 w 523880"/>
                    <a:gd name="connsiteY30" fmla="*/ 170598 h 462790"/>
                    <a:gd name="connsiteX31" fmla="*/ 416493 w 523880"/>
                    <a:gd name="connsiteY31" fmla="*/ 145314 h 462790"/>
                    <a:gd name="connsiteX32" fmla="*/ 410241 w 523880"/>
                    <a:gd name="connsiteY32" fmla="*/ 101136 h 462790"/>
                    <a:gd name="connsiteX33" fmla="*/ 441777 w 523880"/>
                    <a:gd name="connsiteY33" fmla="*/ 88494 h 462790"/>
                    <a:gd name="connsiteX34" fmla="*/ 467061 w 523880"/>
                    <a:gd name="connsiteY34" fmla="*/ 94746 h 462790"/>
                    <a:gd name="connsiteX35" fmla="*/ 485954 w 523880"/>
                    <a:gd name="connsiteY35" fmla="*/ 82104 h 462790"/>
                    <a:gd name="connsiteX36" fmla="*/ 523881 w 523880"/>
                    <a:gd name="connsiteY36" fmla="*/ 63210 h 462790"/>
                    <a:gd name="connsiteX37" fmla="*/ 479703 w 523880"/>
                    <a:gd name="connsiteY37" fmla="*/ 37926 h 462790"/>
                    <a:gd name="connsiteX38" fmla="*/ 467061 w 523880"/>
                    <a:gd name="connsiteY38" fmla="*/ 12642 h 462790"/>
                    <a:gd name="connsiteX39" fmla="*/ 448168 w 523880"/>
                    <a:gd name="connsiteY39" fmla="*/ 0 h 462790"/>
                    <a:gd name="connsiteX40" fmla="*/ 410241 w 523880"/>
                    <a:gd name="connsiteY40" fmla="*/ 6252 h 462790"/>
                    <a:gd name="connsiteX41" fmla="*/ 353421 w 523880"/>
                    <a:gd name="connsiteY41" fmla="*/ 25145 h 462790"/>
                    <a:gd name="connsiteX42" fmla="*/ 334528 w 523880"/>
                    <a:gd name="connsiteY42" fmla="*/ 50429 h 462790"/>
                    <a:gd name="connsiteX43" fmla="*/ 321886 w 523880"/>
                    <a:gd name="connsiteY43" fmla="*/ 81965 h 462790"/>
                    <a:gd name="connsiteX44" fmla="*/ 302992 w 523880"/>
                    <a:gd name="connsiteY44" fmla="*/ 113501 h 462790"/>
                    <a:gd name="connsiteX45" fmla="*/ 296741 w 523880"/>
                    <a:gd name="connsiteY45" fmla="*/ 132394 h 462790"/>
                    <a:gd name="connsiteX46" fmla="*/ 271457 w 523880"/>
                    <a:gd name="connsiteY46" fmla="*/ 151288 h 462790"/>
                    <a:gd name="connsiteX47" fmla="*/ 258814 w 523880"/>
                    <a:gd name="connsiteY47" fmla="*/ 189214 h 462790"/>
                    <a:gd name="connsiteX48" fmla="*/ 239921 w 523880"/>
                    <a:gd name="connsiteY48" fmla="*/ 189214 h 462790"/>
                    <a:gd name="connsiteX49" fmla="*/ 214637 w 523880"/>
                    <a:gd name="connsiteY49" fmla="*/ 201856 h 462790"/>
                    <a:gd name="connsiteX50" fmla="*/ 189353 w 523880"/>
                    <a:gd name="connsiteY50" fmla="*/ 208108 h 462790"/>
                    <a:gd name="connsiteX51" fmla="*/ 170460 w 523880"/>
                    <a:gd name="connsiteY51" fmla="*/ 233392 h 462790"/>
                    <a:gd name="connsiteX52" fmla="*/ 138924 w 523880"/>
                    <a:gd name="connsiteY52" fmla="*/ 264927 h 462790"/>
                    <a:gd name="connsiteX53" fmla="*/ 82104 w 523880"/>
                    <a:gd name="connsiteY53" fmla="*/ 271179 h 462790"/>
                    <a:gd name="connsiteX54" fmla="*/ 0 w 523880"/>
                    <a:gd name="connsiteY54" fmla="*/ 252285 h 462790"/>
                    <a:gd name="connsiteX55" fmla="*/ 18894 w 523880"/>
                    <a:gd name="connsiteY55" fmla="*/ 290211 h 462790"/>
                    <a:gd name="connsiteX56" fmla="*/ 50985 w 523880"/>
                    <a:gd name="connsiteY56" fmla="*/ 322303 h 46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23880" h="462790">
                      <a:moveTo>
                        <a:pt x="50985" y="322303"/>
                      </a:moveTo>
                      <a:cubicBezTo>
                        <a:pt x="50985" y="328554"/>
                        <a:pt x="50985" y="334945"/>
                        <a:pt x="57237" y="341196"/>
                      </a:cubicBezTo>
                      <a:cubicBezTo>
                        <a:pt x="63488" y="347448"/>
                        <a:pt x="69878" y="353838"/>
                        <a:pt x="69878" y="360090"/>
                      </a:cubicBezTo>
                      <a:cubicBezTo>
                        <a:pt x="69878" y="366342"/>
                        <a:pt x="38343" y="378984"/>
                        <a:pt x="31952" y="385374"/>
                      </a:cubicBezTo>
                      <a:cubicBezTo>
                        <a:pt x="25701" y="385374"/>
                        <a:pt x="19310" y="391626"/>
                        <a:pt x="19310" y="404268"/>
                      </a:cubicBezTo>
                      <a:cubicBezTo>
                        <a:pt x="19310" y="416910"/>
                        <a:pt x="19310" y="416910"/>
                        <a:pt x="38204" y="416910"/>
                      </a:cubicBezTo>
                      <a:cubicBezTo>
                        <a:pt x="50846" y="410658"/>
                        <a:pt x="69740" y="410658"/>
                        <a:pt x="82381" y="404268"/>
                      </a:cubicBezTo>
                      <a:cubicBezTo>
                        <a:pt x="95024" y="404268"/>
                        <a:pt x="107666" y="404268"/>
                        <a:pt x="120308" y="410519"/>
                      </a:cubicBezTo>
                      <a:cubicBezTo>
                        <a:pt x="126560" y="410519"/>
                        <a:pt x="139202" y="410519"/>
                        <a:pt x="145592" y="410519"/>
                      </a:cubicBezTo>
                      <a:cubicBezTo>
                        <a:pt x="158234" y="410519"/>
                        <a:pt x="164485" y="404268"/>
                        <a:pt x="177128" y="404268"/>
                      </a:cubicBezTo>
                      <a:cubicBezTo>
                        <a:pt x="183379" y="404268"/>
                        <a:pt x="183379" y="416910"/>
                        <a:pt x="183379" y="423161"/>
                      </a:cubicBezTo>
                      <a:cubicBezTo>
                        <a:pt x="189631" y="429413"/>
                        <a:pt x="196021" y="429413"/>
                        <a:pt x="202273" y="435803"/>
                      </a:cubicBezTo>
                      <a:cubicBezTo>
                        <a:pt x="202273" y="442055"/>
                        <a:pt x="208524" y="454697"/>
                        <a:pt x="208524" y="461087"/>
                      </a:cubicBezTo>
                      <a:cubicBezTo>
                        <a:pt x="221167" y="467339"/>
                        <a:pt x="214776" y="454836"/>
                        <a:pt x="214776" y="448445"/>
                      </a:cubicBezTo>
                      <a:cubicBezTo>
                        <a:pt x="221028" y="448445"/>
                        <a:pt x="227418" y="461087"/>
                        <a:pt x="227418" y="461087"/>
                      </a:cubicBezTo>
                      <a:cubicBezTo>
                        <a:pt x="240060" y="454836"/>
                        <a:pt x="252702" y="442194"/>
                        <a:pt x="271596" y="448445"/>
                      </a:cubicBezTo>
                      <a:cubicBezTo>
                        <a:pt x="277847" y="448445"/>
                        <a:pt x="284238" y="448445"/>
                        <a:pt x="290489" y="442194"/>
                      </a:cubicBezTo>
                      <a:cubicBezTo>
                        <a:pt x="296741" y="442194"/>
                        <a:pt x="309383" y="442194"/>
                        <a:pt x="315773" y="442194"/>
                      </a:cubicBezTo>
                      <a:cubicBezTo>
                        <a:pt x="322025" y="435942"/>
                        <a:pt x="309521" y="404268"/>
                        <a:pt x="303132" y="404268"/>
                      </a:cubicBezTo>
                      <a:cubicBezTo>
                        <a:pt x="296880" y="398016"/>
                        <a:pt x="290489" y="398016"/>
                        <a:pt x="290489" y="385374"/>
                      </a:cubicBezTo>
                      <a:cubicBezTo>
                        <a:pt x="290489" y="372732"/>
                        <a:pt x="284238" y="366480"/>
                        <a:pt x="277847" y="360090"/>
                      </a:cubicBezTo>
                      <a:cubicBezTo>
                        <a:pt x="258953" y="353838"/>
                        <a:pt x="284099" y="341196"/>
                        <a:pt x="290489" y="328554"/>
                      </a:cubicBezTo>
                      <a:cubicBezTo>
                        <a:pt x="296741" y="328554"/>
                        <a:pt x="296741" y="322303"/>
                        <a:pt x="309383" y="328554"/>
                      </a:cubicBezTo>
                      <a:cubicBezTo>
                        <a:pt x="322025" y="341196"/>
                        <a:pt x="315635" y="328554"/>
                        <a:pt x="328276" y="328554"/>
                      </a:cubicBezTo>
                      <a:cubicBezTo>
                        <a:pt x="353561" y="322303"/>
                        <a:pt x="347170" y="303270"/>
                        <a:pt x="359812" y="290628"/>
                      </a:cubicBezTo>
                      <a:cubicBezTo>
                        <a:pt x="366064" y="284377"/>
                        <a:pt x="378706" y="284377"/>
                        <a:pt x="378706" y="277986"/>
                      </a:cubicBezTo>
                      <a:cubicBezTo>
                        <a:pt x="384957" y="271735"/>
                        <a:pt x="391348" y="265344"/>
                        <a:pt x="391348" y="259092"/>
                      </a:cubicBezTo>
                      <a:cubicBezTo>
                        <a:pt x="391348" y="252841"/>
                        <a:pt x="403989" y="246450"/>
                        <a:pt x="410241" y="246450"/>
                      </a:cubicBezTo>
                      <a:cubicBezTo>
                        <a:pt x="416493" y="246450"/>
                        <a:pt x="416493" y="233808"/>
                        <a:pt x="416493" y="233808"/>
                      </a:cubicBezTo>
                      <a:cubicBezTo>
                        <a:pt x="416493" y="214915"/>
                        <a:pt x="441777" y="227557"/>
                        <a:pt x="435386" y="208524"/>
                      </a:cubicBezTo>
                      <a:cubicBezTo>
                        <a:pt x="435386" y="189631"/>
                        <a:pt x="429135" y="183240"/>
                        <a:pt x="448029" y="170598"/>
                      </a:cubicBezTo>
                      <a:cubicBezTo>
                        <a:pt x="454280" y="170598"/>
                        <a:pt x="422744" y="151705"/>
                        <a:pt x="416493" y="145314"/>
                      </a:cubicBezTo>
                      <a:cubicBezTo>
                        <a:pt x="410241" y="132672"/>
                        <a:pt x="416493" y="113778"/>
                        <a:pt x="410241" y="101136"/>
                      </a:cubicBezTo>
                      <a:cubicBezTo>
                        <a:pt x="410241" y="82243"/>
                        <a:pt x="429135" y="82243"/>
                        <a:pt x="441777" y="88494"/>
                      </a:cubicBezTo>
                      <a:cubicBezTo>
                        <a:pt x="448029" y="88494"/>
                        <a:pt x="460671" y="94746"/>
                        <a:pt x="467061" y="94746"/>
                      </a:cubicBezTo>
                      <a:cubicBezTo>
                        <a:pt x="479703" y="94746"/>
                        <a:pt x="479703" y="88494"/>
                        <a:pt x="485954" y="82104"/>
                      </a:cubicBezTo>
                      <a:cubicBezTo>
                        <a:pt x="504848" y="82104"/>
                        <a:pt x="511239" y="82104"/>
                        <a:pt x="523881" y="63210"/>
                      </a:cubicBezTo>
                      <a:cubicBezTo>
                        <a:pt x="504987" y="56959"/>
                        <a:pt x="485954" y="50568"/>
                        <a:pt x="479703" y="37926"/>
                      </a:cubicBezTo>
                      <a:cubicBezTo>
                        <a:pt x="473451" y="31675"/>
                        <a:pt x="473451" y="19033"/>
                        <a:pt x="467061" y="12642"/>
                      </a:cubicBezTo>
                      <a:cubicBezTo>
                        <a:pt x="460810" y="6391"/>
                        <a:pt x="454419" y="6391"/>
                        <a:pt x="448168" y="0"/>
                      </a:cubicBezTo>
                      <a:cubicBezTo>
                        <a:pt x="435525" y="0"/>
                        <a:pt x="416632" y="6252"/>
                        <a:pt x="410241" y="6252"/>
                      </a:cubicBezTo>
                      <a:cubicBezTo>
                        <a:pt x="384957" y="0"/>
                        <a:pt x="372315" y="12503"/>
                        <a:pt x="353421" y="25145"/>
                      </a:cubicBezTo>
                      <a:cubicBezTo>
                        <a:pt x="334528" y="31397"/>
                        <a:pt x="321886" y="31397"/>
                        <a:pt x="334528" y="50429"/>
                      </a:cubicBezTo>
                      <a:cubicBezTo>
                        <a:pt x="347170" y="63071"/>
                        <a:pt x="334528" y="75713"/>
                        <a:pt x="321886" y="81965"/>
                      </a:cubicBezTo>
                      <a:cubicBezTo>
                        <a:pt x="309244" y="94607"/>
                        <a:pt x="328138" y="119891"/>
                        <a:pt x="302992" y="113501"/>
                      </a:cubicBezTo>
                      <a:cubicBezTo>
                        <a:pt x="271457" y="113501"/>
                        <a:pt x="296741" y="119752"/>
                        <a:pt x="296741" y="132394"/>
                      </a:cubicBezTo>
                      <a:cubicBezTo>
                        <a:pt x="302992" y="138646"/>
                        <a:pt x="277847" y="145036"/>
                        <a:pt x="271457" y="151288"/>
                      </a:cubicBezTo>
                      <a:cubicBezTo>
                        <a:pt x="265205" y="163930"/>
                        <a:pt x="265205" y="189214"/>
                        <a:pt x="258814" y="189214"/>
                      </a:cubicBezTo>
                      <a:cubicBezTo>
                        <a:pt x="252563" y="195466"/>
                        <a:pt x="246173" y="189214"/>
                        <a:pt x="239921" y="189214"/>
                      </a:cubicBezTo>
                      <a:cubicBezTo>
                        <a:pt x="227279" y="189214"/>
                        <a:pt x="221028" y="195466"/>
                        <a:pt x="214637" y="201856"/>
                      </a:cubicBezTo>
                      <a:cubicBezTo>
                        <a:pt x="201995" y="208108"/>
                        <a:pt x="195743" y="201856"/>
                        <a:pt x="189353" y="208108"/>
                      </a:cubicBezTo>
                      <a:cubicBezTo>
                        <a:pt x="176711" y="214359"/>
                        <a:pt x="176711" y="220750"/>
                        <a:pt x="170460" y="233392"/>
                      </a:cubicBezTo>
                      <a:cubicBezTo>
                        <a:pt x="170460" y="252285"/>
                        <a:pt x="157817" y="258676"/>
                        <a:pt x="138924" y="264927"/>
                      </a:cubicBezTo>
                      <a:cubicBezTo>
                        <a:pt x="120030" y="271179"/>
                        <a:pt x="100998" y="271179"/>
                        <a:pt x="82104" y="271179"/>
                      </a:cubicBezTo>
                      <a:cubicBezTo>
                        <a:pt x="50568" y="271179"/>
                        <a:pt x="25284" y="264927"/>
                        <a:pt x="0" y="252285"/>
                      </a:cubicBezTo>
                      <a:cubicBezTo>
                        <a:pt x="6252" y="264927"/>
                        <a:pt x="12642" y="277569"/>
                        <a:pt x="18894" y="290211"/>
                      </a:cubicBezTo>
                      <a:cubicBezTo>
                        <a:pt x="25701" y="297019"/>
                        <a:pt x="50985" y="303409"/>
                        <a:pt x="50985" y="3223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2" name="Freihandform: Form 341">
                  <a:extLst>
                    <a:ext uri="{FF2B5EF4-FFF2-40B4-BE49-F238E27FC236}">
                      <a16:creationId xmlns:a16="http://schemas.microsoft.com/office/drawing/2014/main" id="{056EB748-1888-49D5-8A26-35F4BF989CB2}"/>
                    </a:ext>
                  </a:extLst>
                </p:cNvPr>
                <p:cNvSpPr/>
                <p:nvPr/>
              </p:nvSpPr>
              <p:spPr>
                <a:xfrm>
                  <a:off x="7958960" y="3273964"/>
                  <a:ext cx="457809" cy="320731"/>
                </a:xfrm>
                <a:custGeom>
                  <a:avLst/>
                  <a:gdLst>
                    <a:gd name="connsiteX0" fmla="*/ 438776 w 457809"/>
                    <a:gd name="connsiteY0" fmla="*/ 38786 h 320731"/>
                    <a:gd name="connsiteX1" fmla="*/ 420161 w 457809"/>
                    <a:gd name="connsiteY1" fmla="*/ 45037 h 320731"/>
                    <a:gd name="connsiteX2" fmla="*/ 407658 w 457809"/>
                    <a:gd name="connsiteY2" fmla="*/ 38786 h 320731"/>
                    <a:gd name="connsiteX3" fmla="*/ 376539 w 457809"/>
                    <a:gd name="connsiteY3" fmla="*/ 57679 h 320731"/>
                    <a:gd name="connsiteX4" fmla="*/ 345420 w 457809"/>
                    <a:gd name="connsiteY4" fmla="*/ 63931 h 320731"/>
                    <a:gd name="connsiteX5" fmla="*/ 345420 w 457809"/>
                    <a:gd name="connsiteY5" fmla="*/ 19892 h 320731"/>
                    <a:gd name="connsiteX6" fmla="*/ 326804 w 457809"/>
                    <a:gd name="connsiteY6" fmla="*/ 999 h 320731"/>
                    <a:gd name="connsiteX7" fmla="*/ 301937 w 457809"/>
                    <a:gd name="connsiteY7" fmla="*/ 32534 h 320731"/>
                    <a:gd name="connsiteX8" fmla="*/ 283321 w 457809"/>
                    <a:gd name="connsiteY8" fmla="*/ 45176 h 320731"/>
                    <a:gd name="connsiteX9" fmla="*/ 264705 w 457809"/>
                    <a:gd name="connsiteY9" fmla="*/ 45176 h 320731"/>
                    <a:gd name="connsiteX10" fmla="*/ 233587 w 457809"/>
                    <a:gd name="connsiteY10" fmla="*/ 57818 h 320731"/>
                    <a:gd name="connsiteX11" fmla="*/ 202467 w 457809"/>
                    <a:gd name="connsiteY11" fmla="*/ 38925 h 320731"/>
                    <a:gd name="connsiteX12" fmla="*/ 165097 w 457809"/>
                    <a:gd name="connsiteY12" fmla="*/ 32673 h 320731"/>
                    <a:gd name="connsiteX13" fmla="*/ 158845 w 457809"/>
                    <a:gd name="connsiteY13" fmla="*/ 45315 h 320731"/>
                    <a:gd name="connsiteX14" fmla="*/ 140230 w 457809"/>
                    <a:gd name="connsiteY14" fmla="*/ 51567 h 320731"/>
                    <a:gd name="connsiteX15" fmla="*/ 121614 w 457809"/>
                    <a:gd name="connsiteY15" fmla="*/ 83102 h 320731"/>
                    <a:gd name="connsiteX16" fmla="*/ 84244 w 457809"/>
                    <a:gd name="connsiteY16" fmla="*/ 101996 h 320731"/>
                    <a:gd name="connsiteX17" fmla="*/ 59376 w 457809"/>
                    <a:gd name="connsiteY17" fmla="*/ 114638 h 320731"/>
                    <a:gd name="connsiteX18" fmla="*/ 22006 w 457809"/>
                    <a:gd name="connsiteY18" fmla="*/ 95744 h 320731"/>
                    <a:gd name="connsiteX19" fmla="*/ 15754 w 457809"/>
                    <a:gd name="connsiteY19" fmla="*/ 139783 h 320731"/>
                    <a:gd name="connsiteX20" fmla="*/ 9502 w 457809"/>
                    <a:gd name="connsiteY20" fmla="*/ 177570 h 320731"/>
                    <a:gd name="connsiteX21" fmla="*/ 3251 w 457809"/>
                    <a:gd name="connsiteY21" fmla="*/ 202716 h 320731"/>
                    <a:gd name="connsiteX22" fmla="*/ 9502 w 457809"/>
                    <a:gd name="connsiteY22" fmla="*/ 227861 h 320731"/>
                    <a:gd name="connsiteX23" fmla="*/ 15754 w 457809"/>
                    <a:gd name="connsiteY23" fmla="*/ 246754 h 320731"/>
                    <a:gd name="connsiteX24" fmla="*/ 40621 w 457809"/>
                    <a:gd name="connsiteY24" fmla="*/ 265648 h 320731"/>
                    <a:gd name="connsiteX25" fmla="*/ 15754 w 457809"/>
                    <a:gd name="connsiteY25" fmla="*/ 303435 h 320731"/>
                    <a:gd name="connsiteX26" fmla="*/ 171487 w 457809"/>
                    <a:gd name="connsiteY26" fmla="*/ 309687 h 320731"/>
                    <a:gd name="connsiteX27" fmla="*/ 190103 w 457809"/>
                    <a:gd name="connsiteY27" fmla="*/ 265648 h 320731"/>
                    <a:gd name="connsiteX28" fmla="*/ 233725 w 457809"/>
                    <a:gd name="connsiteY28" fmla="*/ 246754 h 320731"/>
                    <a:gd name="connsiteX29" fmla="*/ 258593 w 457809"/>
                    <a:gd name="connsiteY29" fmla="*/ 240503 h 320731"/>
                    <a:gd name="connsiteX30" fmla="*/ 271096 w 457809"/>
                    <a:gd name="connsiteY30" fmla="*/ 240503 h 320731"/>
                    <a:gd name="connsiteX31" fmla="*/ 283599 w 457809"/>
                    <a:gd name="connsiteY31" fmla="*/ 202716 h 320731"/>
                    <a:gd name="connsiteX32" fmla="*/ 308466 w 457809"/>
                    <a:gd name="connsiteY32" fmla="*/ 183822 h 320731"/>
                    <a:gd name="connsiteX33" fmla="*/ 308466 w 457809"/>
                    <a:gd name="connsiteY33" fmla="*/ 164928 h 320731"/>
                    <a:gd name="connsiteX34" fmla="*/ 333333 w 457809"/>
                    <a:gd name="connsiteY34" fmla="*/ 158677 h 320731"/>
                    <a:gd name="connsiteX35" fmla="*/ 333333 w 457809"/>
                    <a:gd name="connsiteY35" fmla="*/ 139783 h 320731"/>
                    <a:gd name="connsiteX36" fmla="*/ 351949 w 457809"/>
                    <a:gd name="connsiteY36" fmla="*/ 114638 h 320731"/>
                    <a:gd name="connsiteX37" fmla="*/ 339446 w 457809"/>
                    <a:gd name="connsiteY37" fmla="*/ 83102 h 320731"/>
                    <a:gd name="connsiteX38" fmla="*/ 383068 w 457809"/>
                    <a:gd name="connsiteY38" fmla="*/ 64209 h 320731"/>
                    <a:gd name="connsiteX39" fmla="*/ 426690 w 457809"/>
                    <a:gd name="connsiteY39" fmla="*/ 57957 h 320731"/>
                    <a:gd name="connsiteX40" fmla="*/ 451558 w 457809"/>
                    <a:gd name="connsiteY40" fmla="*/ 51706 h 320731"/>
                    <a:gd name="connsiteX41" fmla="*/ 457809 w 457809"/>
                    <a:gd name="connsiteY41" fmla="*/ 39064 h 320731"/>
                    <a:gd name="connsiteX42" fmla="*/ 438776 w 457809"/>
                    <a:gd name="connsiteY42" fmla="*/ 38786 h 320731"/>
                    <a:gd name="connsiteX43" fmla="*/ 438776 w 457809"/>
                    <a:gd name="connsiteY43" fmla="*/ 38786 h 32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57809" h="320731">
                      <a:moveTo>
                        <a:pt x="438776" y="38786"/>
                      </a:moveTo>
                      <a:cubicBezTo>
                        <a:pt x="432525" y="38786"/>
                        <a:pt x="426273" y="51428"/>
                        <a:pt x="420161" y="45037"/>
                      </a:cubicBezTo>
                      <a:cubicBezTo>
                        <a:pt x="413909" y="45037"/>
                        <a:pt x="413909" y="32395"/>
                        <a:pt x="407658" y="38786"/>
                      </a:cubicBezTo>
                      <a:cubicBezTo>
                        <a:pt x="395154" y="38786"/>
                        <a:pt x="382790" y="51428"/>
                        <a:pt x="376539" y="57679"/>
                      </a:cubicBezTo>
                      <a:cubicBezTo>
                        <a:pt x="370287" y="57679"/>
                        <a:pt x="357923" y="70321"/>
                        <a:pt x="345420" y="63931"/>
                      </a:cubicBezTo>
                      <a:cubicBezTo>
                        <a:pt x="339169" y="57679"/>
                        <a:pt x="357923" y="32395"/>
                        <a:pt x="345420" y="19892"/>
                      </a:cubicBezTo>
                      <a:cubicBezTo>
                        <a:pt x="345420" y="19892"/>
                        <a:pt x="332917" y="-5253"/>
                        <a:pt x="326804" y="999"/>
                      </a:cubicBezTo>
                      <a:cubicBezTo>
                        <a:pt x="320552" y="13641"/>
                        <a:pt x="314301" y="26144"/>
                        <a:pt x="301937" y="32534"/>
                      </a:cubicBezTo>
                      <a:cubicBezTo>
                        <a:pt x="289433" y="38786"/>
                        <a:pt x="283321" y="32534"/>
                        <a:pt x="283321" y="45176"/>
                      </a:cubicBezTo>
                      <a:cubicBezTo>
                        <a:pt x="277069" y="64070"/>
                        <a:pt x="270818" y="38925"/>
                        <a:pt x="264705" y="45176"/>
                      </a:cubicBezTo>
                      <a:cubicBezTo>
                        <a:pt x="252202" y="51428"/>
                        <a:pt x="246090" y="57818"/>
                        <a:pt x="233587" y="57818"/>
                      </a:cubicBezTo>
                      <a:cubicBezTo>
                        <a:pt x="221083" y="51567"/>
                        <a:pt x="208719" y="45176"/>
                        <a:pt x="202467" y="38925"/>
                      </a:cubicBezTo>
                      <a:cubicBezTo>
                        <a:pt x="196216" y="38925"/>
                        <a:pt x="165097" y="32673"/>
                        <a:pt x="165097" y="32673"/>
                      </a:cubicBezTo>
                      <a:cubicBezTo>
                        <a:pt x="158845" y="38925"/>
                        <a:pt x="165097" y="45315"/>
                        <a:pt x="158845" y="45315"/>
                      </a:cubicBezTo>
                      <a:cubicBezTo>
                        <a:pt x="152594" y="45315"/>
                        <a:pt x="140230" y="45315"/>
                        <a:pt x="140230" y="51567"/>
                      </a:cubicBezTo>
                      <a:cubicBezTo>
                        <a:pt x="133978" y="64209"/>
                        <a:pt x="133978" y="76712"/>
                        <a:pt x="121614" y="83102"/>
                      </a:cubicBezTo>
                      <a:cubicBezTo>
                        <a:pt x="102998" y="95744"/>
                        <a:pt x="96747" y="89354"/>
                        <a:pt x="84244" y="101996"/>
                      </a:cubicBezTo>
                      <a:cubicBezTo>
                        <a:pt x="77992" y="114638"/>
                        <a:pt x="65627" y="114638"/>
                        <a:pt x="59376" y="114638"/>
                      </a:cubicBezTo>
                      <a:cubicBezTo>
                        <a:pt x="53124" y="108386"/>
                        <a:pt x="22006" y="101996"/>
                        <a:pt x="22006" y="95744"/>
                      </a:cubicBezTo>
                      <a:cubicBezTo>
                        <a:pt x="22006" y="114638"/>
                        <a:pt x="22006" y="127280"/>
                        <a:pt x="15754" y="139783"/>
                      </a:cubicBezTo>
                      <a:cubicBezTo>
                        <a:pt x="3251" y="152425"/>
                        <a:pt x="-9113" y="164928"/>
                        <a:pt x="9502" y="177570"/>
                      </a:cubicBezTo>
                      <a:cubicBezTo>
                        <a:pt x="15754" y="183822"/>
                        <a:pt x="3251" y="190212"/>
                        <a:pt x="3251" y="202716"/>
                      </a:cubicBezTo>
                      <a:cubicBezTo>
                        <a:pt x="3251" y="208967"/>
                        <a:pt x="3251" y="221609"/>
                        <a:pt x="9502" y="227861"/>
                      </a:cubicBezTo>
                      <a:cubicBezTo>
                        <a:pt x="9502" y="240503"/>
                        <a:pt x="3251" y="246754"/>
                        <a:pt x="15754" y="246754"/>
                      </a:cubicBezTo>
                      <a:cubicBezTo>
                        <a:pt x="34370" y="253006"/>
                        <a:pt x="40621" y="246754"/>
                        <a:pt x="40621" y="265648"/>
                      </a:cubicBezTo>
                      <a:cubicBezTo>
                        <a:pt x="40621" y="278290"/>
                        <a:pt x="22006" y="297184"/>
                        <a:pt x="15754" y="303435"/>
                      </a:cubicBezTo>
                      <a:cubicBezTo>
                        <a:pt x="65627" y="328580"/>
                        <a:pt x="121614" y="322329"/>
                        <a:pt x="171487" y="309687"/>
                      </a:cubicBezTo>
                      <a:cubicBezTo>
                        <a:pt x="190103" y="303435"/>
                        <a:pt x="183991" y="278151"/>
                        <a:pt x="190103" y="265648"/>
                      </a:cubicBezTo>
                      <a:cubicBezTo>
                        <a:pt x="196355" y="253006"/>
                        <a:pt x="221222" y="259396"/>
                        <a:pt x="233725" y="246754"/>
                      </a:cubicBezTo>
                      <a:cubicBezTo>
                        <a:pt x="239977" y="246754"/>
                        <a:pt x="246228" y="240503"/>
                        <a:pt x="258593" y="240503"/>
                      </a:cubicBezTo>
                      <a:cubicBezTo>
                        <a:pt x="258593" y="240503"/>
                        <a:pt x="271096" y="246754"/>
                        <a:pt x="271096" y="240503"/>
                      </a:cubicBezTo>
                      <a:cubicBezTo>
                        <a:pt x="277348" y="227861"/>
                        <a:pt x="277348" y="215358"/>
                        <a:pt x="283599" y="202716"/>
                      </a:cubicBezTo>
                      <a:cubicBezTo>
                        <a:pt x="289851" y="196464"/>
                        <a:pt x="314718" y="190074"/>
                        <a:pt x="308466" y="183822"/>
                      </a:cubicBezTo>
                      <a:cubicBezTo>
                        <a:pt x="308466" y="177570"/>
                        <a:pt x="283599" y="164928"/>
                        <a:pt x="308466" y="164928"/>
                      </a:cubicBezTo>
                      <a:cubicBezTo>
                        <a:pt x="314718" y="164928"/>
                        <a:pt x="327082" y="171180"/>
                        <a:pt x="333333" y="158677"/>
                      </a:cubicBezTo>
                      <a:cubicBezTo>
                        <a:pt x="333333" y="152425"/>
                        <a:pt x="327082" y="146035"/>
                        <a:pt x="333333" y="139783"/>
                      </a:cubicBezTo>
                      <a:cubicBezTo>
                        <a:pt x="333333" y="127141"/>
                        <a:pt x="351949" y="127141"/>
                        <a:pt x="351949" y="114638"/>
                      </a:cubicBezTo>
                      <a:cubicBezTo>
                        <a:pt x="351949" y="101996"/>
                        <a:pt x="333333" y="95744"/>
                        <a:pt x="339446" y="83102"/>
                      </a:cubicBezTo>
                      <a:cubicBezTo>
                        <a:pt x="351949" y="76851"/>
                        <a:pt x="370565" y="70460"/>
                        <a:pt x="383068" y="64209"/>
                      </a:cubicBezTo>
                      <a:cubicBezTo>
                        <a:pt x="395571" y="51567"/>
                        <a:pt x="414187" y="57957"/>
                        <a:pt x="426690" y="57957"/>
                      </a:cubicBezTo>
                      <a:cubicBezTo>
                        <a:pt x="432942" y="57957"/>
                        <a:pt x="445306" y="57957"/>
                        <a:pt x="451558" y="51706"/>
                      </a:cubicBezTo>
                      <a:cubicBezTo>
                        <a:pt x="451558" y="51706"/>
                        <a:pt x="457809" y="45454"/>
                        <a:pt x="457809" y="39064"/>
                      </a:cubicBezTo>
                      <a:cubicBezTo>
                        <a:pt x="451140" y="38786"/>
                        <a:pt x="445028" y="38786"/>
                        <a:pt x="438776" y="38786"/>
                      </a:cubicBezTo>
                      <a:cubicBezTo>
                        <a:pt x="432525" y="45037"/>
                        <a:pt x="445028" y="38786"/>
                        <a:pt x="438776" y="387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3" name="Freihandform: Form 342">
                  <a:extLst>
                    <a:ext uri="{FF2B5EF4-FFF2-40B4-BE49-F238E27FC236}">
                      <a16:creationId xmlns:a16="http://schemas.microsoft.com/office/drawing/2014/main" id="{B05F1831-D92C-4ED7-B788-76FA67190FC7}"/>
                    </a:ext>
                  </a:extLst>
                </p:cNvPr>
                <p:cNvSpPr/>
                <p:nvPr/>
              </p:nvSpPr>
              <p:spPr>
                <a:xfrm>
                  <a:off x="7906288" y="3007025"/>
                  <a:ext cx="14384" cy="23431"/>
                </a:xfrm>
                <a:custGeom>
                  <a:avLst/>
                  <a:gdLst>
                    <a:gd name="connsiteX0" fmla="*/ 14385 w 14384"/>
                    <a:gd name="connsiteY0" fmla="*/ 9122 h 23431"/>
                    <a:gd name="connsiteX1" fmla="*/ 1743 w 14384"/>
                    <a:gd name="connsiteY1" fmla="*/ 2037 h 23431"/>
                    <a:gd name="connsiteX2" fmla="*/ 14385 w 14384"/>
                    <a:gd name="connsiteY2" fmla="*/ 23432 h 23431"/>
                    <a:gd name="connsiteX3" fmla="*/ 14385 w 14384"/>
                    <a:gd name="connsiteY3" fmla="*/ 9122 h 23431"/>
                    <a:gd name="connsiteX4" fmla="*/ 14385 w 14384"/>
                    <a:gd name="connsiteY4" fmla="*/ 9122 h 23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4" h="23431">
                      <a:moveTo>
                        <a:pt x="14385" y="9122"/>
                      </a:moveTo>
                      <a:cubicBezTo>
                        <a:pt x="7994" y="9122"/>
                        <a:pt x="1743" y="-5187"/>
                        <a:pt x="1743" y="2037"/>
                      </a:cubicBezTo>
                      <a:cubicBezTo>
                        <a:pt x="-4648" y="9122"/>
                        <a:pt x="8133" y="16346"/>
                        <a:pt x="14385" y="23432"/>
                      </a:cubicBezTo>
                      <a:cubicBezTo>
                        <a:pt x="14385" y="16207"/>
                        <a:pt x="14385" y="9122"/>
                        <a:pt x="14385" y="9122"/>
                      </a:cubicBezTo>
                      <a:cubicBezTo>
                        <a:pt x="7994" y="1898"/>
                        <a:pt x="14385" y="9122"/>
                        <a:pt x="14385" y="912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4" name="Freihandform: Form 343">
                  <a:extLst>
                    <a:ext uri="{FF2B5EF4-FFF2-40B4-BE49-F238E27FC236}">
                      <a16:creationId xmlns:a16="http://schemas.microsoft.com/office/drawing/2014/main" id="{4BC79FBC-CDF0-478A-892A-C2FC54B1318A}"/>
                    </a:ext>
                  </a:extLst>
                </p:cNvPr>
                <p:cNvSpPr/>
                <p:nvPr/>
              </p:nvSpPr>
              <p:spPr>
                <a:xfrm>
                  <a:off x="7518034" y="2610769"/>
                  <a:ext cx="1260493" cy="585425"/>
                </a:xfrm>
                <a:custGeom>
                  <a:avLst/>
                  <a:gdLst>
                    <a:gd name="connsiteX0" fmla="*/ 1248127 w 1260493"/>
                    <a:gd name="connsiteY0" fmla="*/ 241588 h 585425"/>
                    <a:gd name="connsiteX1" fmla="*/ 1223121 w 1260493"/>
                    <a:gd name="connsiteY1" fmla="*/ 241588 h 585425"/>
                    <a:gd name="connsiteX2" fmla="*/ 1204367 w 1260493"/>
                    <a:gd name="connsiteY2" fmla="*/ 229224 h 585425"/>
                    <a:gd name="connsiteX3" fmla="*/ 1185612 w 1260493"/>
                    <a:gd name="connsiteY3" fmla="*/ 210608 h 585425"/>
                    <a:gd name="connsiteX4" fmla="*/ 1154354 w 1260493"/>
                    <a:gd name="connsiteY4" fmla="*/ 185880 h 585425"/>
                    <a:gd name="connsiteX5" fmla="*/ 1098090 w 1260493"/>
                    <a:gd name="connsiteY5" fmla="*/ 192131 h 585425"/>
                    <a:gd name="connsiteX6" fmla="*/ 1079335 w 1260493"/>
                    <a:gd name="connsiteY6" fmla="*/ 173516 h 585425"/>
                    <a:gd name="connsiteX7" fmla="*/ 1054329 w 1260493"/>
                    <a:gd name="connsiteY7" fmla="*/ 192131 h 585425"/>
                    <a:gd name="connsiteX8" fmla="*/ 1010568 w 1260493"/>
                    <a:gd name="connsiteY8" fmla="*/ 117807 h 585425"/>
                    <a:gd name="connsiteX9" fmla="*/ 973059 w 1260493"/>
                    <a:gd name="connsiteY9" fmla="*/ 80715 h 585425"/>
                    <a:gd name="connsiteX10" fmla="*/ 954304 w 1260493"/>
                    <a:gd name="connsiteY10" fmla="*/ 68350 h 585425"/>
                    <a:gd name="connsiteX11" fmla="*/ 954304 w 1260493"/>
                    <a:gd name="connsiteY11" fmla="*/ 43622 h 585425"/>
                    <a:gd name="connsiteX12" fmla="*/ 904292 w 1260493"/>
                    <a:gd name="connsiteY12" fmla="*/ 68350 h 585425"/>
                    <a:gd name="connsiteX13" fmla="*/ 848028 w 1260493"/>
                    <a:gd name="connsiteY13" fmla="*/ 80715 h 585425"/>
                    <a:gd name="connsiteX14" fmla="*/ 848028 w 1260493"/>
                    <a:gd name="connsiteY14" fmla="*/ 62099 h 585425"/>
                    <a:gd name="connsiteX15" fmla="*/ 829273 w 1260493"/>
                    <a:gd name="connsiteY15" fmla="*/ 55847 h 585425"/>
                    <a:gd name="connsiteX16" fmla="*/ 823021 w 1260493"/>
                    <a:gd name="connsiteY16" fmla="*/ 55847 h 585425"/>
                    <a:gd name="connsiteX17" fmla="*/ 798015 w 1260493"/>
                    <a:gd name="connsiteY17" fmla="*/ 49596 h 585425"/>
                    <a:gd name="connsiteX18" fmla="*/ 779260 w 1260493"/>
                    <a:gd name="connsiteY18" fmla="*/ 30980 h 585425"/>
                    <a:gd name="connsiteX19" fmla="*/ 729248 w 1260493"/>
                    <a:gd name="connsiteY19" fmla="*/ 0 h 585425"/>
                    <a:gd name="connsiteX20" fmla="*/ 691739 w 1260493"/>
                    <a:gd name="connsiteY20" fmla="*/ 12364 h 585425"/>
                    <a:gd name="connsiteX21" fmla="*/ 647978 w 1260493"/>
                    <a:gd name="connsiteY21" fmla="*/ 24728 h 585425"/>
                    <a:gd name="connsiteX22" fmla="*/ 498079 w 1260493"/>
                    <a:gd name="connsiteY22" fmla="*/ 55708 h 585425"/>
                    <a:gd name="connsiteX23" fmla="*/ 466821 w 1260493"/>
                    <a:gd name="connsiteY23" fmla="*/ 61960 h 585425"/>
                    <a:gd name="connsiteX24" fmla="*/ 485576 w 1260493"/>
                    <a:gd name="connsiteY24" fmla="*/ 86688 h 585425"/>
                    <a:gd name="connsiteX25" fmla="*/ 454318 w 1260493"/>
                    <a:gd name="connsiteY25" fmla="*/ 105304 h 585425"/>
                    <a:gd name="connsiteX26" fmla="*/ 460570 w 1260493"/>
                    <a:gd name="connsiteY26" fmla="*/ 123920 h 585425"/>
                    <a:gd name="connsiteX27" fmla="*/ 435564 w 1260493"/>
                    <a:gd name="connsiteY27" fmla="*/ 142536 h 585425"/>
                    <a:gd name="connsiteX28" fmla="*/ 479324 w 1260493"/>
                    <a:gd name="connsiteY28" fmla="*/ 179628 h 585425"/>
                    <a:gd name="connsiteX29" fmla="*/ 454318 w 1260493"/>
                    <a:gd name="connsiteY29" fmla="*/ 191992 h 585425"/>
                    <a:gd name="connsiteX30" fmla="*/ 423060 w 1260493"/>
                    <a:gd name="connsiteY30" fmla="*/ 191992 h 585425"/>
                    <a:gd name="connsiteX31" fmla="*/ 404306 w 1260493"/>
                    <a:gd name="connsiteY31" fmla="*/ 198244 h 585425"/>
                    <a:gd name="connsiteX32" fmla="*/ 366796 w 1260493"/>
                    <a:gd name="connsiteY32" fmla="*/ 179628 h 585425"/>
                    <a:gd name="connsiteX33" fmla="*/ 341790 w 1260493"/>
                    <a:gd name="connsiteY33" fmla="*/ 185880 h 585425"/>
                    <a:gd name="connsiteX34" fmla="*/ 310532 w 1260493"/>
                    <a:gd name="connsiteY34" fmla="*/ 185880 h 585425"/>
                    <a:gd name="connsiteX35" fmla="*/ 291778 w 1260493"/>
                    <a:gd name="connsiteY35" fmla="*/ 198244 h 585425"/>
                    <a:gd name="connsiteX36" fmla="*/ 260520 w 1260493"/>
                    <a:gd name="connsiteY36" fmla="*/ 185880 h 585425"/>
                    <a:gd name="connsiteX37" fmla="*/ 248017 w 1260493"/>
                    <a:gd name="connsiteY37" fmla="*/ 192131 h 585425"/>
                    <a:gd name="connsiteX38" fmla="*/ 223010 w 1260493"/>
                    <a:gd name="connsiteY38" fmla="*/ 167403 h 585425"/>
                    <a:gd name="connsiteX39" fmla="*/ 191753 w 1260493"/>
                    <a:gd name="connsiteY39" fmla="*/ 155039 h 585425"/>
                    <a:gd name="connsiteX40" fmla="*/ 160495 w 1260493"/>
                    <a:gd name="connsiteY40" fmla="*/ 161290 h 585425"/>
                    <a:gd name="connsiteX41" fmla="*/ 129237 w 1260493"/>
                    <a:gd name="connsiteY41" fmla="*/ 155039 h 585425"/>
                    <a:gd name="connsiteX42" fmla="*/ 116734 w 1260493"/>
                    <a:gd name="connsiteY42" fmla="*/ 167403 h 585425"/>
                    <a:gd name="connsiteX43" fmla="*/ 91728 w 1260493"/>
                    <a:gd name="connsiteY43" fmla="*/ 173654 h 585425"/>
                    <a:gd name="connsiteX44" fmla="*/ 72973 w 1260493"/>
                    <a:gd name="connsiteY44" fmla="*/ 198383 h 585425"/>
                    <a:gd name="connsiteX45" fmla="*/ 66721 w 1260493"/>
                    <a:gd name="connsiteY45" fmla="*/ 223111 h 585425"/>
                    <a:gd name="connsiteX46" fmla="*/ 29212 w 1260493"/>
                    <a:gd name="connsiteY46" fmla="*/ 210747 h 585425"/>
                    <a:gd name="connsiteX47" fmla="*/ 10457 w 1260493"/>
                    <a:gd name="connsiteY47" fmla="*/ 235475 h 585425"/>
                    <a:gd name="connsiteX48" fmla="*/ 16709 w 1260493"/>
                    <a:gd name="connsiteY48" fmla="*/ 260204 h 585425"/>
                    <a:gd name="connsiteX49" fmla="*/ 4206 w 1260493"/>
                    <a:gd name="connsiteY49" fmla="*/ 284932 h 585425"/>
                    <a:gd name="connsiteX50" fmla="*/ 16709 w 1260493"/>
                    <a:gd name="connsiteY50" fmla="*/ 291184 h 585425"/>
                    <a:gd name="connsiteX51" fmla="*/ 22961 w 1260493"/>
                    <a:gd name="connsiteY51" fmla="*/ 309800 h 585425"/>
                    <a:gd name="connsiteX52" fmla="*/ 60470 w 1260493"/>
                    <a:gd name="connsiteY52" fmla="*/ 316051 h 585425"/>
                    <a:gd name="connsiteX53" fmla="*/ 79225 w 1260493"/>
                    <a:gd name="connsiteY53" fmla="*/ 353144 h 585425"/>
                    <a:gd name="connsiteX54" fmla="*/ 72973 w 1260493"/>
                    <a:gd name="connsiteY54" fmla="*/ 359395 h 585425"/>
                    <a:gd name="connsiteX55" fmla="*/ 91728 w 1260493"/>
                    <a:gd name="connsiteY55" fmla="*/ 359395 h 585425"/>
                    <a:gd name="connsiteX56" fmla="*/ 97979 w 1260493"/>
                    <a:gd name="connsiteY56" fmla="*/ 353144 h 585425"/>
                    <a:gd name="connsiteX57" fmla="*/ 172859 w 1260493"/>
                    <a:gd name="connsiteY57" fmla="*/ 346892 h 585425"/>
                    <a:gd name="connsiteX58" fmla="*/ 204117 w 1260493"/>
                    <a:gd name="connsiteY58" fmla="*/ 346892 h 585425"/>
                    <a:gd name="connsiteX59" fmla="*/ 216620 w 1260493"/>
                    <a:gd name="connsiteY59" fmla="*/ 390236 h 585425"/>
                    <a:gd name="connsiteX60" fmla="*/ 210368 w 1260493"/>
                    <a:gd name="connsiteY60" fmla="*/ 396488 h 585425"/>
                    <a:gd name="connsiteX61" fmla="*/ 210368 w 1260493"/>
                    <a:gd name="connsiteY61" fmla="*/ 402739 h 585425"/>
                    <a:gd name="connsiteX62" fmla="*/ 197865 w 1260493"/>
                    <a:gd name="connsiteY62" fmla="*/ 408991 h 585425"/>
                    <a:gd name="connsiteX63" fmla="*/ 141601 w 1260493"/>
                    <a:gd name="connsiteY63" fmla="*/ 427607 h 585425"/>
                    <a:gd name="connsiteX64" fmla="*/ 129098 w 1260493"/>
                    <a:gd name="connsiteY64" fmla="*/ 433858 h 585425"/>
                    <a:gd name="connsiteX65" fmla="*/ 129098 w 1260493"/>
                    <a:gd name="connsiteY65" fmla="*/ 446223 h 585425"/>
                    <a:gd name="connsiteX66" fmla="*/ 147853 w 1260493"/>
                    <a:gd name="connsiteY66" fmla="*/ 470951 h 585425"/>
                    <a:gd name="connsiteX67" fmla="*/ 160356 w 1260493"/>
                    <a:gd name="connsiteY67" fmla="*/ 489567 h 585425"/>
                    <a:gd name="connsiteX68" fmla="*/ 185362 w 1260493"/>
                    <a:gd name="connsiteY68" fmla="*/ 508182 h 585425"/>
                    <a:gd name="connsiteX69" fmla="*/ 185362 w 1260493"/>
                    <a:gd name="connsiteY69" fmla="*/ 539162 h 585425"/>
                    <a:gd name="connsiteX70" fmla="*/ 254129 w 1260493"/>
                    <a:gd name="connsiteY70" fmla="*/ 526798 h 585425"/>
                    <a:gd name="connsiteX71" fmla="*/ 291639 w 1260493"/>
                    <a:gd name="connsiteY71" fmla="*/ 557778 h 585425"/>
                    <a:gd name="connsiteX72" fmla="*/ 297890 w 1260493"/>
                    <a:gd name="connsiteY72" fmla="*/ 539162 h 585425"/>
                    <a:gd name="connsiteX73" fmla="*/ 297890 w 1260493"/>
                    <a:gd name="connsiteY73" fmla="*/ 483454 h 585425"/>
                    <a:gd name="connsiteX74" fmla="*/ 304142 w 1260493"/>
                    <a:gd name="connsiteY74" fmla="*/ 421494 h 585425"/>
                    <a:gd name="connsiteX75" fmla="*/ 347903 w 1260493"/>
                    <a:gd name="connsiteY75" fmla="*/ 402878 h 585425"/>
                    <a:gd name="connsiteX76" fmla="*/ 379160 w 1260493"/>
                    <a:gd name="connsiteY76" fmla="*/ 396627 h 585425"/>
                    <a:gd name="connsiteX77" fmla="*/ 391664 w 1260493"/>
                    <a:gd name="connsiteY77" fmla="*/ 384263 h 585425"/>
                    <a:gd name="connsiteX78" fmla="*/ 416670 w 1260493"/>
                    <a:gd name="connsiteY78" fmla="*/ 384263 h 585425"/>
                    <a:gd name="connsiteX79" fmla="*/ 435425 w 1260493"/>
                    <a:gd name="connsiteY79" fmla="*/ 384263 h 585425"/>
                    <a:gd name="connsiteX80" fmla="*/ 441676 w 1260493"/>
                    <a:gd name="connsiteY80" fmla="*/ 408991 h 585425"/>
                    <a:gd name="connsiteX81" fmla="*/ 441676 w 1260493"/>
                    <a:gd name="connsiteY81" fmla="*/ 433719 h 585425"/>
                    <a:gd name="connsiteX82" fmla="*/ 460431 w 1260493"/>
                    <a:gd name="connsiteY82" fmla="*/ 446084 h 585425"/>
                    <a:gd name="connsiteX83" fmla="*/ 516695 w 1260493"/>
                    <a:gd name="connsiteY83" fmla="*/ 470812 h 585425"/>
                    <a:gd name="connsiteX84" fmla="*/ 554204 w 1260493"/>
                    <a:gd name="connsiteY84" fmla="*/ 477063 h 585425"/>
                    <a:gd name="connsiteX85" fmla="*/ 585462 w 1260493"/>
                    <a:gd name="connsiteY85" fmla="*/ 464699 h 585425"/>
                    <a:gd name="connsiteX86" fmla="*/ 616720 w 1260493"/>
                    <a:gd name="connsiteY86" fmla="*/ 501792 h 585425"/>
                    <a:gd name="connsiteX87" fmla="*/ 616720 w 1260493"/>
                    <a:gd name="connsiteY87" fmla="*/ 526520 h 585425"/>
                    <a:gd name="connsiteX88" fmla="*/ 635474 w 1260493"/>
                    <a:gd name="connsiteY88" fmla="*/ 557500 h 585425"/>
                    <a:gd name="connsiteX89" fmla="*/ 660481 w 1260493"/>
                    <a:gd name="connsiteY89" fmla="*/ 563752 h 585425"/>
                    <a:gd name="connsiteX90" fmla="*/ 679235 w 1260493"/>
                    <a:gd name="connsiteY90" fmla="*/ 576116 h 585425"/>
                    <a:gd name="connsiteX91" fmla="*/ 716745 w 1260493"/>
                    <a:gd name="connsiteY91" fmla="*/ 557500 h 585425"/>
                    <a:gd name="connsiteX92" fmla="*/ 760506 w 1260493"/>
                    <a:gd name="connsiteY92" fmla="*/ 526520 h 585425"/>
                    <a:gd name="connsiteX93" fmla="*/ 779260 w 1260493"/>
                    <a:gd name="connsiteY93" fmla="*/ 520269 h 585425"/>
                    <a:gd name="connsiteX94" fmla="*/ 804267 w 1260493"/>
                    <a:gd name="connsiteY94" fmla="*/ 507905 h 585425"/>
                    <a:gd name="connsiteX95" fmla="*/ 848028 w 1260493"/>
                    <a:gd name="connsiteY95" fmla="*/ 514156 h 585425"/>
                    <a:gd name="connsiteX96" fmla="*/ 860531 w 1260493"/>
                    <a:gd name="connsiteY96" fmla="*/ 489428 h 585425"/>
                    <a:gd name="connsiteX97" fmla="*/ 898040 w 1260493"/>
                    <a:gd name="connsiteY97" fmla="*/ 495679 h 585425"/>
                    <a:gd name="connsiteX98" fmla="*/ 948052 w 1260493"/>
                    <a:gd name="connsiteY98" fmla="*/ 501931 h 585425"/>
                    <a:gd name="connsiteX99" fmla="*/ 1054190 w 1260493"/>
                    <a:gd name="connsiteY99" fmla="*/ 520547 h 585425"/>
                    <a:gd name="connsiteX100" fmla="*/ 1072945 w 1260493"/>
                    <a:gd name="connsiteY100" fmla="*/ 489567 h 585425"/>
                    <a:gd name="connsiteX101" fmla="*/ 1066693 w 1260493"/>
                    <a:gd name="connsiteY101" fmla="*/ 470951 h 585425"/>
                    <a:gd name="connsiteX102" fmla="*/ 1060442 w 1260493"/>
                    <a:gd name="connsiteY102" fmla="*/ 439971 h 585425"/>
                    <a:gd name="connsiteX103" fmla="*/ 1047938 w 1260493"/>
                    <a:gd name="connsiteY103" fmla="*/ 421355 h 585425"/>
                    <a:gd name="connsiteX104" fmla="*/ 1085448 w 1260493"/>
                    <a:gd name="connsiteY104" fmla="*/ 408991 h 585425"/>
                    <a:gd name="connsiteX105" fmla="*/ 1129209 w 1260493"/>
                    <a:gd name="connsiteY105" fmla="*/ 408991 h 585425"/>
                    <a:gd name="connsiteX106" fmla="*/ 1122957 w 1260493"/>
                    <a:gd name="connsiteY106" fmla="*/ 396627 h 585425"/>
                    <a:gd name="connsiteX107" fmla="*/ 1129209 w 1260493"/>
                    <a:gd name="connsiteY107" fmla="*/ 371898 h 585425"/>
                    <a:gd name="connsiteX108" fmla="*/ 1147963 w 1260493"/>
                    <a:gd name="connsiteY108" fmla="*/ 334806 h 585425"/>
                    <a:gd name="connsiteX109" fmla="*/ 1179221 w 1260493"/>
                    <a:gd name="connsiteY109" fmla="*/ 347170 h 585425"/>
                    <a:gd name="connsiteX110" fmla="*/ 1197976 w 1260493"/>
                    <a:gd name="connsiteY110" fmla="*/ 347170 h 585425"/>
                    <a:gd name="connsiteX111" fmla="*/ 1222982 w 1260493"/>
                    <a:gd name="connsiteY111" fmla="*/ 334806 h 585425"/>
                    <a:gd name="connsiteX112" fmla="*/ 1216731 w 1260493"/>
                    <a:gd name="connsiteY112" fmla="*/ 303826 h 585425"/>
                    <a:gd name="connsiteX113" fmla="*/ 1254240 w 1260493"/>
                    <a:gd name="connsiteY113" fmla="*/ 272846 h 585425"/>
                    <a:gd name="connsiteX114" fmla="*/ 1260492 w 1260493"/>
                    <a:gd name="connsiteY114" fmla="*/ 260482 h 585425"/>
                    <a:gd name="connsiteX115" fmla="*/ 1248127 w 1260493"/>
                    <a:gd name="connsiteY115" fmla="*/ 241588 h 585425"/>
                    <a:gd name="connsiteX116" fmla="*/ 1248127 w 1260493"/>
                    <a:gd name="connsiteY116" fmla="*/ 241588 h 585425"/>
                    <a:gd name="connsiteX117" fmla="*/ 917072 w 1260493"/>
                    <a:gd name="connsiteY117" fmla="*/ 359256 h 585425"/>
                    <a:gd name="connsiteX118" fmla="*/ 879563 w 1260493"/>
                    <a:gd name="connsiteY118" fmla="*/ 383985 h 585425"/>
                    <a:gd name="connsiteX119" fmla="*/ 867060 w 1260493"/>
                    <a:gd name="connsiteY119" fmla="*/ 402601 h 585425"/>
                    <a:gd name="connsiteX120" fmla="*/ 873311 w 1260493"/>
                    <a:gd name="connsiteY120" fmla="*/ 414965 h 585425"/>
                    <a:gd name="connsiteX121" fmla="*/ 854557 w 1260493"/>
                    <a:gd name="connsiteY121" fmla="*/ 390236 h 585425"/>
                    <a:gd name="connsiteX122" fmla="*/ 873311 w 1260493"/>
                    <a:gd name="connsiteY122" fmla="*/ 365508 h 585425"/>
                    <a:gd name="connsiteX123" fmla="*/ 910821 w 1260493"/>
                    <a:gd name="connsiteY123" fmla="*/ 353144 h 585425"/>
                    <a:gd name="connsiteX124" fmla="*/ 942078 w 1260493"/>
                    <a:gd name="connsiteY124" fmla="*/ 359395 h 585425"/>
                    <a:gd name="connsiteX125" fmla="*/ 917072 w 1260493"/>
                    <a:gd name="connsiteY125" fmla="*/ 359256 h 585425"/>
                    <a:gd name="connsiteX126" fmla="*/ 917072 w 1260493"/>
                    <a:gd name="connsiteY126" fmla="*/ 359256 h 585425"/>
                    <a:gd name="connsiteX127" fmla="*/ 1023210 w 1260493"/>
                    <a:gd name="connsiteY127" fmla="*/ 365508 h 585425"/>
                    <a:gd name="connsiteX128" fmla="*/ 966946 w 1260493"/>
                    <a:gd name="connsiteY128" fmla="*/ 359256 h 585425"/>
                    <a:gd name="connsiteX129" fmla="*/ 991952 w 1260493"/>
                    <a:gd name="connsiteY129" fmla="*/ 359256 h 585425"/>
                    <a:gd name="connsiteX130" fmla="*/ 1023210 w 1260493"/>
                    <a:gd name="connsiteY130" fmla="*/ 353005 h 585425"/>
                    <a:gd name="connsiteX131" fmla="*/ 1023210 w 1260493"/>
                    <a:gd name="connsiteY131" fmla="*/ 365508 h 585425"/>
                    <a:gd name="connsiteX132" fmla="*/ 1023210 w 1260493"/>
                    <a:gd name="connsiteY132" fmla="*/ 365508 h 5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1260493" h="585425">
                      <a:moveTo>
                        <a:pt x="1248127" y="241588"/>
                      </a:moveTo>
                      <a:cubicBezTo>
                        <a:pt x="1248127" y="235337"/>
                        <a:pt x="1223121" y="241588"/>
                        <a:pt x="1223121" y="241588"/>
                      </a:cubicBezTo>
                      <a:cubicBezTo>
                        <a:pt x="1210618" y="241588"/>
                        <a:pt x="1204367" y="235337"/>
                        <a:pt x="1204367" y="229224"/>
                      </a:cubicBezTo>
                      <a:cubicBezTo>
                        <a:pt x="1198115" y="216860"/>
                        <a:pt x="1185612" y="216860"/>
                        <a:pt x="1185612" y="210608"/>
                      </a:cubicBezTo>
                      <a:cubicBezTo>
                        <a:pt x="1179360" y="204357"/>
                        <a:pt x="1173109" y="185880"/>
                        <a:pt x="1154354" y="185880"/>
                      </a:cubicBezTo>
                      <a:cubicBezTo>
                        <a:pt x="1135599" y="185880"/>
                        <a:pt x="1116845" y="204496"/>
                        <a:pt x="1098090" y="192131"/>
                      </a:cubicBezTo>
                      <a:cubicBezTo>
                        <a:pt x="1091838" y="185880"/>
                        <a:pt x="1085587" y="179767"/>
                        <a:pt x="1079335" y="173516"/>
                      </a:cubicBezTo>
                      <a:cubicBezTo>
                        <a:pt x="1073084" y="173516"/>
                        <a:pt x="1060581" y="192131"/>
                        <a:pt x="1054329" y="192131"/>
                      </a:cubicBezTo>
                      <a:cubicBezTo>
                        <a:pt x="1048077" y="198383"/>
                        <a:pt x="1010568" y="130171"/>
                        <a:pt x="1010568" y="117807"/>
                      </a:cubicBezTo>
                      <a:cubicBezTo>
                        <a:pt x="998065" y="105443"/>
                        <a:pt x="991813" y="86827"/>
                        <a:pt x="973059" y="80715"/>
                      </a:cubicBezTo>
                      <a:cubicBezTo>
                        <a:pt x="966807" y="74463"/>
                        <a:pt x="960556" y="68350"/>
                        <a:pt x="954304" y="68350"/>
                      </a:cubicBezTo>
                      <a:cubicBezTo>
                        <a:pt x="941801" y="62099"/>
                        <a:pt x="954304" y="49735"/>
                        <a:pt x="954304" y="43622"/>
                      </a:cubicBezTo>
                      <a:cubicBezTo>
                        <a:pt x="954304" y="37370"/>
                        <a:pt x="910543" y="62238"/>
                        <a:pt x="904292" y="68350"/>
                      </a:cubicBezTo>
                      <a:cubicBezTo>
                        <a:pt x="898040" y="68350"/>
                        <a:pt x="848028" y="86966"/>
                        <a:pt x="848028" y="80715"/>
                      </a:cubicBezTo>
                      <a:cubicBezTo>
                        <a:pt x="848028" y="68350"/>
                        <a:pt x="860531" y="62099"/>
                        <a:pt x="848028" y="62099"/>
                      </a:cubicBezTo>
                      <a:cubicBezTo>
                        <a:pt x="841776" y="55847"/>
                        <a:pt x="835524" y="49735"/>
                        <a:pt x="829273" y="55847"/>
                      </a:cubicBezTo>
                      <a:cubicBezTo>
                        <a:pt x="829273" y="55847"/>
                        <a:pt x="829273" y="62099"/>
                        <a:pt x="823021" y="55847"/>
                      </a:cubicBezTo>
                      <a:cubicBezTo>
                        <a:pt x="810518" y="49596"/>
                        <a:pt x="816770" y="43483"/>
                        <a:pt x="798015" y="49596"/>
                      </a:cubicBezTo>
                      <a:cubicBezTo>
                        <a:pt x="779260" y="61960"/>
                        <a:pt x="779260" y="43344"/>
                        <a:pt x="779260" y="30980"/>
                      </a:cubicBezTo>
                      <a:cubicBezTo>
                        <a:pt x="785512" y="6252"/>
                        <a:pt x="748003" y="0"/>
                        <a:pt x="729248" y="0"/>
                      </a:cubicBezTo>
                      <a:cubicBezTo>
                        <a:pt x="716745" y="0"/>
                        <a:pt x="704242" y="6252"/>
                        <a:pt x="691739" y="12364"/>
                      </a:cubicBezTo>
                      <a:cubicBezTo>
                        <a:pt x="679235" y="18616"/>
                        <a:pt x="666732" y="24728"/>
                        <a:pt x="647978" y="24728"/>
                      </a:cubicBezTo>
                      <a:cubicBezTo>
                        <a:pt x="597965" y="37093"/>
                        <a:pt x="548092" y="55708"/>
                        <a:pt x="498079" y="55708"/>
                      </a:cubicBezTo>
                      <a:cubicBezTo>
                        <a:pt x="485576" y="55708"/>
                        <a:pt x="473073" y="55708"/>
                        <a:pt x="466821" y="61960"/>
                      </a:cubicBezTo>
                      <a:cubicBezTo>
                        <a:pt x="460570" y="68212"/>
                        <a:pt x="473073" y="86688"/>
                        <a:pt x="485576" y="86688"/>
                      </a:cubicBezTo>
                      <a:cubicBezTo>
                        <a:pt x="510582" y="105304"/>
                        <a:pt x="466821" y="99053"/>
                        <a:pt x="454318" y="105304"/>
                      </a:cubicBezTo>
                      <a:cubicBezTo>
                        <a:pt x="441815" y="111556"/>
                        <a:pt x="460570" y="117668"/>
                        <a:pt x="460570" y="123920"/>
                      </a:cubicBezTo>
                      <a:cubicBezTo>
                        <a:pt x="460570" y="136284"/>
                        <a:pt x="435564" y="136284"/>
                        <a:pt x="435564" y="142536"/>
                      </a:cubicBezTo>
                      <a:cubicBezTo>
                        <a:pt x="435564" y="161151"/>
                        <a:pt x="485576" y="154900"/>
                        <a:pt x="479324" y="179628"/>
                      </a:cubicBezTo>
                      <a:cubicBezTo>
                        <a:pt x="473073" y="185880"/>
                        <a:pt x="466821" y="191992"/>
                        <a:pt x="454318" y="191992"/>
                      </a:cubicBezTo>
                      <a:cubicBezTo>
                        <a:pt x="448067" y="191992"/>
                        <a:pt x="429312" y="191992"/>
                        <a:pt x="423060" y="191992"/>
                      </a:cubicBezTo>
                      <a:cubicBezTo>
                        <a:pt x="410557" y="198244"/>
                        <a:pt x="416809" y="204357"/>
                        <a:pt x="404306" y="198244"/>
                      </a:cubicBezTo>
                      <a:cubicBezTo>
                        <a:pt x="391803" y="191992"/>
                        <a:pt x="379300" y="179628"/>
                        <a:pt x="366796" y="179628"/>
                      </a:cubicBezTo>
                      <a:cubicBezTo>
                        <a:pt x="360545" y="173377"/>
                        <a:pt x="348042" y="185880"/>
                        <a:pt x="341790" y="185880"/>
                      </a:cubicBezTo>
                      <a:cubicBezTo>
                        <a:pt x="329287" y="179628"/>
                        <a:pt x="323035" y="179628"/>
                        <a:pt x="310532" y="185880"/>
                      </a:cubicBezTo>
                      <a:cubicBezTo>
                        <a:pt x="304281" y="192131"/>
                        <a:pt x="298029" y="204496"/>
                        <a:pt x="291778" y="198244"/>
                      </a:cubicBezTo>
                      <a:cubicBezTo>
                        <a:pt x="285526" y="198244"/>
                        <a:pt x="266771" y="179628"/>
                        <a:pt x="260520" y="185880"/>
                      </a:cubicBezTo>
                      <a:cubicBezTo>
                        <a:pt x="254268" y="185880"/>
                        <a:pt x="254268" y="204496"/>
                        <a:pt x="248017" y="192131"/>
                      </a:cubicBezTo>
                      <a:cubicBezTo>
                        <a:pt x="241765" y="179767"/>
                        <a:pt x="235514" y="173516"/>
                        <a:pt x="223010" y="167403"/>
                      </a:cubicBezTo>
                      <a:cubicBezTo>
                        <a:pt x="210507" y="161151"/>
                        <a:pt x="198004" y="161151"/>
                        <a:pt x="191753" y="155039"/>
                      </a:cubicBezTo>
                      <a:cubicBezTo>
                        <a:pt x="172998" y="148787"/>
                        <a:pt x="172998" y="161290"/>
                        <a:pt x="160495" y="161290"/>
                      </a:cubicBezTo>
                      <a:cubicBezTo>
                        <a:pt x="147992" y="167542"/>
                        <a:pt x="141740" y="148926"/>
                        <a:pt x="129237" y="155039"/>
                      </a:cubicBezTo>
                      <a:cubicBezTo>
                        <a:pt x="122986" y="161290"/>
                        <a:pt x="122986" y="167403"/>
                        <a:pt x="116734" y="167403"/>
                      </a:cubicBezTo>
                      <a:cubicBezTo>
                        <a:pt x="110482" y="173654"/>
                        <a:pt x="97979" y="173654"/>
                        <a:pt x="91728" y="173654"/>
                      </a:cubicBezTo>
                      <a:cubicBezTo>
                        <a:pt x="85476" y="179906"/>
                        <a:pt x="72973" y="192270"/>
                        <a:pt x="72973" y="198383"/>
                      </a:cubicBezTo>
                      <a:cubicBezTo>
                        <a:pt x="66721" y="204634"/>
                        <a:pt x="79225" y="223111"/>
                        <a:pt x="66721" y="223111"/>
                      </a:cubicBezTo>
                      <a:cubicBezTo>
                        <a:pt x="54218" y="229363"/>
                        <a:pt x="35464" y="192131"/>
                        <a:pt x="29212" y="210747"/>
                      </a:cubicBezTo>
                      <a:cubicBezTo>
                        <a:pt x="22961" y="223111"/>
                        <a:pt x="16709" y="223111"/>
                        <a:pt x="10457" y="235475"/>
                      </a:cubicBezTo>
                      <a:cubicBezTo>
                        <a:pt x="4206" y="247840"/>
                        <a:pt x="29212" y="247840"/>
                        <a:pt x="16709" y="260204"/>
                      </a:cubicBezTo>
                      <a:cubicBezTo>
                        <a:pt x="10457" y="266455"/>
                        <a:pt x="-8297" y="278820"/>
                        <a:pt x="4206" y="284932"/>
                      </a:cubicBezTo>
                      <a:cubicBezTo>
                        <a:pt x="10457" y="284932"/>
                        <a:pt x="16709" y="291184"/>
                        <a:pt x="16709" y="291184"/>
                      </a:cubicBezTo>
                      <a:cubicBezTo>
                        <a:pt x="22961" y="297435"/>
                        <a:pt x="16709" y="303548"/>
                        <a:pt x="22961" y="309800"/>
                      </a:cubicBezTo>
                      <a:cubicBezTo>
                        <a:pt x="35464" y="316051"/>
                        <a:pt x="47967" y="303548"/>
                        <a:pt x="60470" y="316051"/>
                      </a:cubicBezTo>
                      <a:cubicBezTo>
                        <a:pt x="66721" y="322303"/>
                        <a:pt x="79225" y="340780"/>
                        <a:pt x="79225" y="353144"/>
                      </a:cubicBezTo>
                      <a:cubicBezTo>
                        <a:pt x="72973" y="353144"/>
                        <a:pt x="54218" y="346892"/>
                        <a:pt x="72973" y="359395"/>
                      </a:cubicBezTo>
                      <a:cubicBezTo>
                        <a:pt x="79225" y="365647"/>
                        <a:pt x="79225" y="371760"/>
                        <a:pt x="91728" y="359395"/>
                      </a:cubicBezTo>
                      <a:cubicBezTo>
                        <a:pt x="91728" y="353144"/>
                        <a:pt x="91728" y="353144"/>
                        <a:pt x="97979" y="353144"/>
                      </a:cubicBezTo>
                      <a:cubicBezTo>
                        <a:pt x="129237" y="353144"/>
                        <a:pt x="141740" y="334528"/>
                        <a:pt x="172859" y="346892"/>
                      </a:cubicBezTo>
                      <a:cubicBezTo>
                        <a:pt x="185362" y="353144"/>
                        <a:pt x="197865" y="334528"/>
                        <a:pt x="204117" y="346892"/>
                      </a:cubicBezTo>
                      <a:cubicBezTo>
                        <a:pt x="210368" y="353144"/>
                        <a:pt x="222871" y="377872"/>
                        <a:pt x="216620" y="390236"/>
                      </a:cubicBezTo>
                      <a:cubicBezTo>
                        <a:pt x="210368" y="390236"/>
                        <a:pt x="197865" y="396488"/>
                        <a:pt x="210368" y="396488"/>
                      </a:cubicBezTo>
                      <a:cubicBezTo>
                        <a:pt x="210368" y="402739"/>
                        <a:pt x="210368" y="402739"/>
                        <a:pt x="210368" y="402739"/>
                      </a:cubicBezTo>
                      <a:cubicBezTo>
                        <a:pt x="204117" y="408991"/>
                        <a:pt x="197865" y="408991"/>
                        <a:pt x="197865" y="408991"/>
                      </a:cubicBezTo>
                      <a:cubicBezTo>
                        <a:pt x="179111" y="408991"/>
                        <a:pt x="129098" y="396627"/>
                        <a:pt x="141601" y="427607"/>
                      </a:cubicBezTo>
                      <a:cubicBezTo>
                        <a:pt x="147853" y="439971"/>
                        <a:pt x="141601" y="439971"/>
                        <a:pt x="129098" y="433858"/>
                      </a:cubicBezTo>
                      <a:cubicBezTo>
                        <a:pt x="116595" y="427607"/>
                        <a:pt x="122846" y="440110"/>
                        <a:pt x="129098" y="446223"/>
                      </a:cubicBezTo>
                      <a:cubicBezTo>
                        <a:pt x="141601" y="446223"/>
                        <a:pt x="141601" y="464838"/>
                        <a:pt x="147853" y="470951"/>
                      </a:cubicBezTo>
                      <a:cubicBezTo>
                        <a:pt x="160356" y="477202"/>
                        <a:pt x="141601" y="489567"/>
                        <a:pt x="160356" y="489567"/>
                      </a:cubicBezTo>
                      <a:cubicBezTo>
                        <a:pt x="166607" y="489567"/>
                        <a:pt x="179111" y="501931"/>
                        <a:pt x="185362" y="508182"/>
                      </a:cubicBezTo>
                      <a:cubicBezTo>
                        <a:pt x="204117" y="508182"/>
                        <a:pt x="185362" y="526798"/>
                        <a:pt x="185362" y="539162"/>
                      </a:cubicBezTo>
                      <a:cubicBezTo>
                        <a:pt x="204117" y="526798"/>
                        <a:pt x="229123" y="508182"/>
                        <a:pt x="254129" y="526798"/>
                      </a:cubicBezTo>
                      <a:cubicBezTo>
                        <a:pt x="266632" y="539162"/>
                        <a:pt x="272884" y="557778"/>
                        <a:pt x="291639" y="557778"/>
                      </a:cubicBezTo>
                      <a:cubicBezTo>
                        <a:pt x="304142" y="557778"/>
                        <a:pt x="297890" y="545414"/>
                        <a:pt x="297890" y="539162"/>
                      </a:cubicBezTo>
                      <a:cubicBezTo>
                        <a:pt x="297890" y="520547"/>
                        <a:pt x="297890" y="502070"/>
                        <a:pt x="297890" y="483454"/>
                      </a:cubicBezTo>
                      <a:cubicBezTo>
                        <a:pt x="297890" y="471090"/>
                        <a:pt x="291639" y="421494"/>
                        <a:pt x="304142" y="421494"/>
                      </a:cubicBezTo>
                      <a:cubicBezTo>
                        <a:pt x="316645" y="415243"/>
                        <a:pt x="335400" y="409130"/>
                        <a:pt x="347903" y="402878"/>
                      </a:cubicBezTo>
                      <a:cubicBezTo>
                        <a:pt x="360406" y="402878"/>
                        <a:pt x="372909" y="396627"/>
                        <a:pt x="379160" y="396627"/>
                      </a:cubicBezTo>
                      <a:cubicBezTo>
                        <a:pt x="385412" y="390375"/>
                        <a:pt x="379160" y="378011"/>
                        <a:pt x="391664" y="384263"/>
                      </a:cubicBezTo>
                      <a:cubicBezTo>
                        <a:pt x="397915" y="384263"/>
                        <a:pt x="416670" y="396627"/>
                        <a:pt x="416670" y="384263"/>
                      </a:cubicBezTo>
                      <a:cubicBezTo>
                        <a:pt x="416670" y="378011"/>
                        <a:pt x="429173" y="371898"/>
                        <a:pt x="435425" y="384263"/>
                      </a:cubicBezTo>
                      <a:cubicBezTo>
                        <a:pt x="441676" y="390514"/>
                        <a:pt x="435425" y="396627"/>
                        <a:pt x="441676" y="408991"/>
                      </a:cubicBezTo>
                      <a:cubicBezTo>
                        <a:pt x="441676" y="415243"/>
                        <a:pt x="447928" y="427607"/>
                        <a:pt x="441676" y="433719"/>
                      </a:cubicBezTo>
                      <a:cubicBezTo>
                        <a:pt x="447928" y="439971"/>
                        <a:pt x="454179" y="439971"/>
                        <a:pt x="460431" y="446084"/>
                      </a:cubicBezTo>
                      <a:cubicBezTo>
                        <a:pt x="479185" y="464699"/>
                        <a:pt x="491689" y="477063"/>
                        <a:pt x="516695" y="470812"/>
                      </a:cubicBezTo>
                      <a:cubicBezTo>
                        <a:pt x="529198" y="470812"/>
                        <a:pt x="541701" y="477063"/>
                        <a:pt x="554204" y="477063"/>
                      </a:cubicBezTo>
                      <a:cubicBezTo>
                        <a:pt x="566707" y="477063"/>
                        <a:pt x="572959" y="464699"/>
                        <a:pt x="585462" y="464699"/>
                      </a:cubicBezTo>
                      <a:cubicBezTo>
                        <a:pt x="597965" y="470951"/>
                        <a:pt x="610468" y="489428"/>
                        <a:pt x="616720" y="501792"/>
                      </a:cubicBezTo>
                      <a:cubicBezTo>
                        <a:pt x="622971" y="508044"/>
                        <a:pt x="616720" y="514156"/>
                        <a:pt x="616720" y="526520"/>
                      </a:cubicBezTo>
                      <a:cubicBezTo>
                        <a:pt x="616720" y="538884"/>
                        <a:pt x="635474" y="545136"/>
                        <a:pt x="635474" y="557500"/>
                      </a:cubicBezTo>
                      <a:cubicBezTo>
                        <a:pt x="635474" y="563752"/>
                        <a:pt x="654229" y="563752"/>
                        <a:pt x="660481" y="563752"/>
                      </a:cubicBezTo>
                      <a:cubicBezTo>
                        <a:pt x="672984" y="563752"/>
                        <a:pt x="672984" y="563752"/>
                        <a:pt x="679235" y="576116"/>
                      </a:cubicBezTo>
                      <a:cubicBezTo>
                        <a:pt x="691739" y="600844"/>
                        <a:pt x="704242" y="569865"/>
                        <a:pt x="716745" y="557500"/>
                      </a:cubicBezTo>
                      <a:cubicBezTo>
                        <a:pt x="722996" y="538884"/>
                        <a:pt x="748003" y="538884"/>
                        <a:pt x="760506" y="526520"/>
                      </a:cubicBezTo>
                      <a:cubicBezTo>
                        <a:pt x="773009" y="526520"/>
                        <a:pt x="773009" y="526520"/>
                        <a:pt x="779260" y="520269"/>
                      </a:cubicBezTo>
                      <a:cubicBezTo>
                        <a:pt x="785512" y="501653"/>
                        <a:pt x="791763" y="507905"/>
                        <a:pt x="804267" y="507905"/>
                      </a:cubicBezTo>
                      <a:cubicBezTo>
                        <a:pt x="816770" y="507905"/>
                        <a:pt x="841776" y="526520"/>
                        <a:pt x="848028" y="514156"/>
                      </a:cubicBezTo>
                      <a:cubicBezTo>
                        <a:pt x="848028" y="501792"/>
                        <a:pt x="848028" y="495540"/>
                        <a:pt x="860531" y="489428"/>
                      </a:cubicBezTo>
                      <a:cubicBezTo>
                        <a:pt x="873034" y="483176"/>
                        <a:pt x="885537" y="495679"/>
                        <a:pt x="898040" y="495679"/>
                      </a:cubicBezTo>
                      <a:cubicBezTo>
                        <a:pt x="910543" y="501931"/>
                        <a:pt x="935549" y="501931"/>
                        <a:pt x="948052" y="501931"/>
                      </a:cubicBezTo>
                      <a:cubicBezTo>
                        <a:pt x="985562" y="501931"/>
                        <a:pt x="1016820" y="514295"/>
                        <a:pt x="1054190" y="520547"/>
                      </a:cubicBezTo>
                      <a:cubicBezTo>
                        <a:pt x="1047938" y="508182"/>
                        <a:pt x="1060442" y="501931"/>
                        <a:pt x="1072945" y="489567"/>
                      </a:cubicBezTo>
                      <a:cubicBezTo>
                        <a:pt x="1079196" y="483315"/>
                        <a:pt x="1072945" y="483315"/>
                        <a:pt x="1066693" y="470951"/>
                      </a:cubicBezTo>
                      <a:cubicBezTo>
                        <a:pt x="1060442" y="464699"/>
                        <a:pt x="1060442" y="452335"/>
                        <a:pt x="1060442" y="439971"/>
                      </a:cubicBezTo>
                      <a:cubicBezTo>
                        <a:pt x="1054190" y="439971"/>
                        <a:pt x="1054190" y="415243"/>
                        <a:pt x="1047938" y="421355"/>
                      </a:cubicBezTo>
                      <a:cubicBezTo>
                        <a:pt x="1054190" y="415104"/>
                        <a:pt x="1072945" y="415104"/>
                        <a:pt x="1085448" y="408991"/>
                      </a:cubicBezTo>
                      <a:cubicBezTo>
                        <a:pt x="1104202" y="408991"/>
                        <a:pt x="1116706" y="421355"/>
                        <a:pt x="1129209" y="408991"/>
                      </a:cubicBezTo>
                      <a:cubicBezTo>
                        <a:pt x="1135460" y="408991"/>
                        <a:pt x="1122957" y="402739"/>
                        <a:pt x="1122957" y="396627"/>
                      </a:cubicBezTo>
                      <a:cubicBezTo>
                        <a:pt x="1116706" y="390375"/>
                        <a:pt x="1122957" y="378011"/>
                        <a:pt x="1129209" y="371898"/>
                      </a:cubicBezTo>
                      <a:cubicBezTo>
                        <a:pt x="1135460" y="365647"/>
                        <a:pt x="1141712" y="328554"/>
                        <a:pt x="1147963" y="334806"/>
                      </a:cubicBezTo>
                      <a:cubicBezTo>
                        <a:pt x="1160467" y="341057"/>
                        <a:pt x="1166718" y="347170"/>
                        <a:pt x="1179221" y="347170"/>
                      </a:cubicBezTo>
                      <a:cubicBezTo>
                        <a:pt x="1185473" y="340918"/>
                        <a:pt x="1191724" y="353422"/>
                        <a:pt x="1197976" y="347170"/>
                      </a:cubicBezTo>
                      <a:cubicBezTo>
                        <a:pt x="1204227" y="347170"/>
                        <a:pt x="1216731" y="340918"/>
                        <a:pt x="1222982" y="334806"/>
                      </a:cubicBezTo>
                      <a:cubicBezTo>
                        <a:pt x="1229234" y="328554"/>
                        <a:pt x="1216731" y="316190"/>
                        <a:pt x="1216731" y="303826"/>
                      </a:cubicBezTo>
                      <a:cubicBezTo>
                        <a:pt x="1222982" y="285210"/>
                        <a:pt x="1241737" y="291462"/>
                        <a:pt x="1254240" y="272846"/>
                      </a:cubicBezTo>
                      <a:cubicBezTo>
                        <a:pt x="1254240" y="266594"/>
                        <a:pt x="1254240" y="266594"/>
                        <a:pt x="1260492" y="260482"/>
                      </a:cubicBezTo>
                      <a:cubicBezTo>
                        <a:pt x="1260631" y="253952"/>
                        <a:pt x="1254379" y="247840"/>
                        <a:pt x="1248127" y="241588"/>
                      </a:cubicBezTo>
                      <a:cubicBezTo>
                        <a:pt x="1248127" y="235475"/>
                        <a:pt x="1254379" y="241588"/>
                        <a:pt x="1248127" y="241588"/>
                      </a:cubicBezTo>
                      <a:close/>
                      <a:moveTo>
                        <a:pt x="917072" y="359256"/>
                      </a:moveTo>
                      <a:cubicBezTo>
                        <a:pt x="904569" y="359256"/>
                        <a:pt x="885814" y="377872"/>
                        <a:pt x="879563" y="383985"/>
                      </a:cubicBezTo>
                      <a:cubicBezTo>
                        <a:pt x="873311" y="383985"/>
                        <a:pt x="867060" y="396349"/>
                        <a:pt x="867060" y="402601"/>
                      </a:cubicBezTo>
                      <a:cubicBezTo>
                        <a:pt x="867060" y="408852"/>
                        <a:pt x="873311" y="414965"/>
                        <a:pt x="873311" y="414965"/>
                      </a:cubicBezTo>
                      <a:cubicBezTo>
                        <a:pt x="867060" y="421216"/>
                        <a:pt x="854557" y="396349"/>
                        <a:pt x="854557" y="390236"/>
                      </a:cubicBezTo>
                      <a:cubicBezTo>
                        <a:pt x="854557" y="377872"/>
                        <a:pt x="860808" y="371620"/>
                        <a:pt x="873311" y="365508"/>
                      </a:cubicBezTo>
                      <a:cubicBezTo>
                        <a:pt x="885814" y="359256"/>
                        <a:pt x="898317" y="353144"/>
                        <a:pt x="910821" y="353144"/>
                      </a:cubicBezTo>
                      <a:lnTo>
                        <a:pt x="942078" y="359395"/>
                      </a:lnTo>
                      <a:cubicBezTo>
                        <a:pt x="935827" y="365508"/>
                        <a:pt x="917072" y="359256"/>
                        <a:pt x="917072" y="359256"/>
                      </a:cubicBezTo>
                      <a:cubicBezTo>
                        <a:pt x="904569" y="359256"/>
                        <a:pt x="923324" y="359256"/>
                        <a:pt x="917072" y="359256"/>
                      </a:cubicBezTo>
                      <a:close/>
                      <a:moveTo>
                        <a:pt x="1023210" y="365508"/>
                      </a:moveTo>
                      <a:cubicBezTo>
                        <a:pt x="1016959" y="377872"/>
                        <a:pt x="973198" y="371760"/>
                        <a:pt x="966946" y="359256"/>
                      </a:cubicBezTo>
                      <a:lnTo>
                        <a:pt x="991952" y="359256"/>
                      </a:lnTo>
                      <a:cubicBezTo>
                        <a:pt x="1004456" y="359256"/>
                        <a:pt x="1010707" y="359256"/>
                        <a:pt x="1023210" y="353005"/>
                      </a:cubicBezTo>
                      <a:lnTo>
                        <a:pt x="1023210" y="365508"/>
                      </a:lnTo>
                      <a:cubicBezTo>
                        <a:pt x="1016959" y="371620"/>
                        <a:pt x="1023210" y="359256"/>
                        <a:pt x="1023210" y="36550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5" name="Freihandform: Form 344">
                  <a:extLst>
                    <a:ext uri="{FF2B5EF4-FFF2-40B4-BE49-F238E27FC236}">
                      <a16:creationId xmlns:a16="http://schemas.microsoft.com/office/drawing/2014/main" id="{5A7549A8-F4A6-4C3D-9C82-9885799874A3}"/>
                    </a:ext>
                  </a:extLst>
                </p:cNvPr>
                <p:cNvSpPr/>
                <p:nvPr/>
              </p:nvSpPr>
              <p:spPr>
                <a:xfrm>
                  <a:off x="8198103" y="3369671"/>
                  <a:ext cx="867568" cy="917121"/>
                </a:xfrm>
                <a:custGeom>
                  <a:avLst/>
                  <a:gdLst>
                    <a:gd name="connsiteX0" fmla="*/ 731988 w 867568"/>
                    <a:gd name="connsiteY0" fmla="*/ 470849 h 917121"/>
                    <a:gd name="connsiteX1" fmla="*/ 750743 w 867568"/>
                    <a:gd name="connsiteY1" fmla="*/ 439452 h 917121"/>
                    <a:gd name="connsiteX2" fmla="*/ 756994 w 867568"/>
                    <a:gd name="connsiteY2" fmla="*/ 408055 h 917121"/>
                    <a:gd name="connsiteX3" fmla="*/ 782001 w 867568"/>
                    <a:gd name="connsiteY3" fmla="*/ 401804 h 917121"/>
                    <a:gd name="connsiteX4" fmla="*/ 788252 w 867568"/>
                    <a:gd name="connsiteY4" fmla="*/ 364156 h 917121"/>
                    <a:gd name="connsiteX5" fmla="*/ 807007 w 867568"/>
                    <a:gd name="connsiteY5" fmla="*/ 332759 h 917121"/>
                    <a:gd name="connsiteX6" fmla="*/ 832013 w 867568"/>
                    <a:gd name="connsiteY6" fmla="*/ 301362 h 917121"/>
                    <a:gd name="connsiteX7" fmla="*/ 857019 w 867568"/>
                    <a:gd name="connsiteY7" fmla="*/ 307614 h 917121"/>
                    <a:gd name="connsiteX8" fmla="*/ 857019 w 867568"/>
                    <a:gd name="connsiteY8" fmla="*/ 282469 h 917121"/>
                    <a:gd name="connsiteX9" fmla="*/ 863271 w 867568"/>
                    <a:gd name="connsiteY9" fmla="*/ 263714 h 917121"/>
                    <a:gd name="connsiteX10" fmla="*/ 838265 w 867568"/>
                    <a:gd name="connsiteY10" fmla="*/ 263714 h 917121"/>
                    <a:gd name="connsiteX11" fmla="*/ 844516 w 867568"/>
                    <a:gd name="connsiteY11" fmla="*/ 251211 h 917121"/>
                    <a:gd name="connsiteX12" fmla="*/ 838265 w 867568"/>
                    <a:gd name="connsiteY12" fmla="*/ 232456 h 917121"/>
                    <a:gd name="connsiteX13" fmla="*/ 825762 w 867568"/>
                    <a:gd name="connsiteY13" fmla="*/ 232456 h 917121"/>
                    <a:gd name="connsiteX14" fmla="*/ 794504 w 867568"/>
                    <a:gd name="connsiteY14" fmla="*/ 226205 h 917121"/>
                    <a:gd name="connsiteX15" fmla="*/ 775749 w 867568"/>
                    <a:gd name="connsiteY15" fmla="*/ 244959 h 917121"/>
                    <a:gd name="connsiteX16" fmla="*/ 756994 w 867568"/>
                    <a:gd name="connsiteY16" fmla="*/ 251211 h 917121"/>
                    <a:gd name="connsiteX17" fmla="*/ 744491 w 867568"/>
                    <a:gd name="connsiteY17" fmla="*/ 263714 h 917121"/>
                    <a:gd name="connsiteX18" fmla="*/ 713234 w 867568"/>
                    <a:gd name="connsiteY18" fmla="*/ 276217 h 917121"/>
                    <a:gd name="connsiteX19" fmla="*/ 719485 w 867568"/>
                    <a:gd name="connsiteY19" fmla="*/ 301362 h 917121"/>
                    <a:gd name="connsiteX20" fmla="*/ 663082 w 867568"/>
                    <a:gd name="connsiteY20" fmla="*/ 313865 h 917121"/>
                    <a:gd name="connsiteX21" fmla="*/ 631824 w 867568"/>
                    <a:gd name="connsiteY21" fmla="*/ 307614 h 917121"/>
                    <a:gd name="connsiteX22" fmla="*/ 631824 w 867568"/>
                    <a:gd name="connsiteY22" fmla="*/ 288859 h 917121"/>
                    <a:gd name="connsiteX23" fmla="*/ 625573 w 867568"/>
                    <a:gd name="connsiteY23" fmla="*/ 276356 h 917121"/>
                    <a:gd name="connsiteX24" fmla="*/ 600566 w 867568"/>
                    <a:gd name="connsiteY24" fmla="*/ 295111 h 917121"/>
                    <a:gd name="connsiteX25" fmla="*/ 606818 w 867568"/>
                    <a:gd name="connsiteY25" fmla="*/ 320117 h 917121"/>
                    <a:gd name="connsiteX26" fmla="*/ 575560 w 867568"/>
                    <a:gd name="connsiteY26" fmla="*/ 320117 h 917121"/>
                    <a:gd name="connsiteX27" fmla="*/ 556805 w 867568"/>
                    <a:gd name="connsiteY27" fmla="*/ 320117 h 917121"/>
                    <a:gd name="connsiteX28" fmla="*/ 512905 w 867568"/>
                    <a:gd name="connsiteY28" fmla="*/ 307614 h 917121"/>
                    <a:gd name="connsiteX29" fmla="*/ 481648 w 867568"/>
                    <a:gd name="connsiteY29" fmla="*/ 288859 h 917121"/>
                    <a:gd name="connsiteX30" fmla="*/ 450390 w 867568"/>
                    <a:gd name="connsiteY30" fmla="*/ 282608 h 917121"/>
                    <a:gd name="connsiteX31" fmla="*/ 419132 w 867568"/>
                    <a:gd name="connsiteY31" fmla="*/ 276356 h 917121"/>
                    <a:gd name="connsiteX32" fmla="*/ 387874 w 867568"/>
                    <a:gd name="connsiteY32" fmla="*/ 251211 h 917121"/>
                    <a:gd name="connsiteX33" fmla="*/ 375371 w 867568"/>
                    <a:gd name="connsiteY33" fmla="*/ 232456 h 917121"/>
                    <a:gd name="connsiteX34" fmla="*/ 387874 w 867568"/>
                    <a:gd name="connsiteY34" fmla="*/ 207311 h 917121"/>
                    <a:gd name="connsiteX35" fmla="*/ 394126 w 867568"/>
                    <a:gd name="connsiteY35" fmla="*/ 194808 h 917121"/>
                    <a:gd name="connsiteX36" fmla="*/ 356477 w 867568"/>
                    <a:gd name="connsiteY36" fmla="*/ 169663 h 917121"/>
                    <a:gd name="connsiteX37" fmla="*/ 331471 w 867568"/>
                    <a:gd name="connsiteY37" fmla="*/ 157160 h 917121"/>
                    <a:gd name="connsiteX38" fmla="*/ 325220 w 867568"/>
                    <a:gd name="connsiteY38" fmla="*/ 132014 h 917121"/>
                    <a:gd name="connsiteX39" fmla="*/ 356477 w 867568"/>
                    <a:gd name="connsiteY39" fmla="*/ 113260 h 917121"/>
                    <a:gd name="connsiteX40" fmla="*/ 337723 w 867568"/>
                    <a:gd name="connsiteY40" fmla="*/ 88115 h 917121"/>
                    <a:gd name="connsiteX41" fmla="*/ 343974 w 867568"/>
                    <a:gd name="connsiteY41" fmla="*/ 69360 h 917121"/>
                    <a:gd name="connsiteX42" fmla="*/ 362729 w 867568"/>
                    <a:gd name="connsiteY42" fmla="*/ 44215 h 917121"/>
                    <a:gd name="connsiteX43" fmla="*/ 375232 w 867568"/>
                    <a:gd name="connsiteY43" fmla="*/ 19070 h 917121"/>
                    <a:gd name="connsiteX44" fmla="*/ 312578 w 867568"/>
                    <a:gd name="connsiteY44" fmla="*/ 6566 h 917121"/>
                    <a:gd name="connsiteX45" fmla="*/ 293823 w 867568"/>
                    <a:gd name="connsiteY45" fmla="*/ 19070 h 917121"/>
                    <a:gd name="connsiteX46" fmla="*/ 281320 w 867568"/>
                    <a:gd name="connsiteY46" fmla="*/ 37824 h 917121"/>
                    <a:gd name="connsiteX47" fmla="*/ 250062 w 867568"/>
                    <a:gd name="connsiteY47" fmla="*/ 44076 h 917121"/>
                    <a:gd name="connsiteX48" fmla="*/ 218805 w 867568"/>
                    <a:gd name="connsiteY48" fmla="*/ 44076 h 917121"/>
                    <a:gd name="connsiteX49" fmla="*/ 187547 w 867568"/>
                    <a:gd name="connsiteY49" fmla="*/ 44076 h 917121"/>
                    <a:gd name="connsiteX50" fmla="*/ 187547 w 867568"/>
                    <a:gd name="connsiteY50" fmla="*/ 69221 h 917121"/>
                    <a:gd name="connsiteX51" fmla="*/ 187547 w 867568"/>
                    <a:gd name="connsiteY51" fmla="*/ 100618 h 917121"/>
                    <a:gd name="connsiteX52" fmla="*/ 218805 w 867568"/>
                    <a:gd name="connsiteY52" fmla="*/ 119372 h 917121"/>
                    <a:gd name="connsiteX53" fmla="*/ 206302 w 867568"/>
                    <a:gd name="connsiteY53" fmla="*/ 131876 h 917121"/>
                    <a:gd name="connsiteX54" fmla="*/ 206302 w 867568"/>
                    <a:gd name="connsiteY54" fmla="*/ 169524 h 917121"/>
                    <a:gd name="connsiteX55" fmla="*/ 193798 w 867568"/>
                    <a:gd name="connsiteY55" fmla="*/ 175775 h 917121"/>
                    <a:gd name="connsiteX56" fmla="*/ 181295 w 867568"/>
                    <a:gd name="connsiteY56" fmla="*/ 200920 h 917121"/>
                    <a:gd name="connsiteX57" fmla="*/ 162541 w 867568"/>
                    <a:gd name="connsiteY57" fmla="*/ 219675 h 917121"/>
                    <a:gd name="connsiteX58" fmla="*/ 137534 w 867568"/>
                    <a:gd name="connsiteY58" fmla="*/ 238430 h 917121"/>
                    <a:gd name="connsiteX59" fmla="*/ 118780 w 867568"/>
                    <a:gd name="connsiteY59" fmla="*/ 269827 h 917121"/>
                    <a:gd name="connsiteX60" fmla="*/ 93773 w 867568"/>
                    <a:gd name="connsiteY60" fmla="*/ 288581 h 917121"/>
                    <a:gd name="connsiteX61" fmla="*/ 68767 w 867568"/>
                    <a:gd name="connsiteY61" fmla="*/ 282330 h 917121"/>
                    <a:gd name="connsiteX62" fmla="*/ 43761 w 867568"/>
                    <a:gd name="connsiteY62" fmla="*/ 307475 h 917121"/>
                    <a:gd name="connsiteX63" fmla="*/ 62516 w 867568"/>
                    <a:gd name="connsiteY63" fmla="*/ 332620 h 917121"/>
                    <a:gd name="connsiteX64" fmla="*/ 81270 w 867568"/>
                    <a:gd name="connsiteY64" fmla="*/ 357765 h 917121"/>
                    <a:gd name="connsiteX65" fmla="*/ 87522 w 867568"/>
                    <a:gd name="connsiteY65" fmla="*/ 395413 h 917121"/>
                    <a:gd name="connsiteX66" fmla="*/ 62516 w 867568"/>
                    <a:gd name="connsiteY66" fmla="*/ 395413 h 917121"/>
                    <a:gd name="connsiteX67" fmla="*/ 43761 w 867568"/>
                    <a:gd name="connsiteY67" fmla="*/ 401665 h 917121"/>
                    <a:gd name="connsiteX68" fmla="*/ 31258 w 867568"/>
                    <a:gd name="connsiteY68" fmla="*/ 395413 h 917121"/>
                    <a:gd name="connsiteX69" fmla="*/ 0 w 867568"/>
                    <a:gd name="connsiteY69" fmla="*/ 414168 h 917121"/>
                    <a:gd name="connsiteX70" fmla="*/ 31258 w 867568"/>
                    <a:gd name="connsiteY70" fmla="*/ 445565 h 917121"/>
                    <a:gd name="connsiteX71" fmla="*/ 68906 w 867568"/>
                    <a:gd name="connsiteY71" fmla="*/ 445565 h 917121"/>
                    <a:gd name="connsiteX72" fmla="*/ 50151 w 867568"/>
                    <a:gd name="connsiteY72" fmla="*/ 458068 h 917121"/>
                    <a:gd name="connsiteX73" fmla="*/ 25145 w 867568"/>
                    <a:gd name="connsiteY73" fmla="*/ 464320 h 917121"/>
                    <a:gd name="connsiteX74" fmla="*/ 69045 w 867568"/>
                    <a:gd name="connsiteY74" fmla="*/ 508219 h 917121"/>
                    <a:gd name="connsiteX75" fmla="*/ 94051 w 867568"/>
                    <a:gd name="connsiteY75" fmla="*/ 514471 h 917121"/>
                    <a:gd name="connsiteX76" fmla="*/ 131699 w 867568"/>
                    <a:gd name="connsiteY76" fmla="*/ 489326 h 917121"/>
                    <a:gd name="connsiteX77" fmla="*/ 119196 w 867568"/>
                    <a:gd name="connsiteY77" fmla="*/ 483074 h 917121"/>
                    <a:gd name="connsiteX78" fmla="*/ 125448 w 867568"/>
                    <a:gd name="connsiteY78" fmla="*/ 476823 h 917121"/>
                    <a:gd name="connsiteX79" fmla="*/ 131699 w 867568"/>
                    <a:gd name="connsiteY79" fmla="*/ 464320 h 917121"/>
                    <a:gd name="connsiteX80" fmla="*/ 144202 w 867568"/>
                    <a:gd name="connsiteY80" fmla="*/ 464320 h 917121"/>
                    <a:gd name="connsiteX81" fmla="*/ 137951 w 867568"/>
                    <a:gd name="connsiteY81" fmla="*/ 476823 h 917121"/>
                    <a:gd name="connsiteX82" fmla="*/ 144202 w 867568"/>
                    <a:gd name="connsiteY82" fmla="*/ 476823 h 917121"/>
                    <a:gd name="connsiteX83" fmla="*/ 137951 w 867568"/>
                    <a:gd name="connsiteY83" fmla="*/ 483074 h 917121"/>
                    <a:gd name="connsiteX84" fmla="*/ 144202 w 867568"/>
                    <a:gd name="connsiteY84" fmla="*/ 483074 h 917121"/>
                    <a:gd name="connsiteX85" fmla="*/ 137951 w 867568"/>
                    <a:gd name="connsiteY85" fmla="*/ 495577 h 917121"/>
                    <a:gd name="connsiteX86" fmla="*/ 150454 w 867568"/>
                    <a:gd name="connsiteY86" fmla="*/ 508080 h 917121"/>
                    <a:gd name="connsiteX87" fmla="*/ 137951 w 867568"/>
                    <a:gd name="connsiteY87" fmla="*/ 539477 h 917121"/>
                    <a:gd name="connsiteX88" fmla="*/ 150454 w 867568"/>
                    <a:gd name="connsiteY88" fmla="*/ 558232 h 917121"/>
                    <a:gd name="connsiteX89" fmla="*/ 150454 w 867568"/>
                    <a:gd name="connsiteY89" fmla="*/ 589628 h 917121"/>
                    <a:gd name="connsiteX90" fmla="*/ 144202 w 867568"/>
                    <a:gd name="connsiteY90" fmla="*/ 627277 h 917121"/>
                    <a:gd name="connsiteX91" fmla="*/ 150454 w 867568"/>
                    <a:gd name="connsiteY91" fmla="*/ 614774 h 917121"/>
                    <a:gd name="connsiteX92" fmla="*/ 162957 w 867568"/>
                    <a:gd name="connsiteY92" fmla="*/ 664925 h 917121"/>
                    <a:gd name="connsiteX93" fmla="*/ 187963 w 867568"/>
                    <a:gd name="connsiteY93" fmla="*/ 715077 h 917121"/>
                    <a:gd name="connsiteX94" fmla="*/ 200466 w 867568"/>
                    <a:gd name="connsiteY94" fmla="*/ 771480 h 917121"/>
                    <a:gd name="connsiteX95" fmla="*/ 244366 w 867568"/>
                    <a:gd name="connsiteY95" fmla="*/ 834134 h 917121"/>
                    <a:gd name="connsiteX96" fmla="*/ 256870 w 867568"/>
                    <a:gd name="connsiteY96" fmla="*/ 890537 h 917121"/>
                    <a:gd name="connsiteX97" fmla="*/ 300770 w 867568"/>
                    <a:gd name="connsiteY97" fmla="*/ 909292 h 917121"/>
                    <a:gd name="connsiteX98" fmla="*/ 313273 w 867568"/>
                    <a:gd name="connsiteY98" fmla="*/ 890537 h 917121"/>
                    <a:gd name="connsiteX99" fmla="*/ 332027 w 867568"/>
                    <a:gd name="connsiteY99" fmla="*/ 865392 h 917121"/>
                    <a:gd name="connsiteX100" fmla="*/ 357034 w 867568"/>
                    <a:gd name="connsiteY100" fmla="*/ 852889 h 917121"/>
                    <a:gd name="connsiteX101" fmla="*/ 357034 w 867568"/>
                    <a:gd name="connsiteY101" fmla="*/ 821492 h 917121"/>
                    <a:gd name="connsiteX102" fmla="*/ 375788 w 867568"/>
                    <a:gd name="connsiteY102" fmla="*/ 758837 h 917121"/>
                    <a:gd name="connsiteX103" fmla="*/ 363285 w 867568"/>
                    <a:gd name="connsiteY103" fmla="*/ 702435 h 917121"/>
                    <a:gd name="connsiteX104" fmla="*/ 407184 w 867568"/>
                    <a:gd name="connsiteY104" fmla="*/ 664786 h 917121"/>
                    <a:gd name="connsiteX105" fmla="*/ 432191 w 867568"/>
                    <a:gd name="connsiteY105" fmla="*/ 652283 h 917121"/>
                    <a:gd name="connsiteX106" fmla="*/ 450945 w 867568"/>
                    <a:gd name="connsiteY106" fmla="*/ 627277 h 917121"/>
                    <a:gd name="connsiteX107" fmla="*/ 507348 w 867568"/>
                    <a:gd name="connsiteY107" fmla="*/ 577125 h 917121"/>
                    <a:gd name="connsiteX108" fmla="*/ 526103 w 867568"/>
                    <a:gd name="connsiteY108" fmla="*/ 551980 h 917121"/>
                    <a:gd name="connsiteX109" fmla="*/ 551109 w 867568"/>
                    <a:gd name="connsiteY109" fmla="*/ 539477 h 917121"/>
                    <a:gd name="connsiteX110" fmla="*/ 569864 w 867568"/>
                    <a:gd name="connsiteY110" fmla="*/ 520723 h 917121"/>
                    <a:gd name="connsiteX111" fmla="*/ 563613 w 867568"/>
                    <a:gd name="connsiteY111" fmla="*/ 501968 h 917121"/>
                    <a:gd name="connsiteX112" fmla="*/ 594870 w 867568"/>
                    <a:gd name="connsiteY112" fmla="*/ 483213 h 917121"/>
                    <a:gd name="connsiteX113" fmla="*/ 613625 w 867568"/>
                    <a:gd name="connsiteY113" fmla="*/ 458068 h 917121"/>
                    <a:gd name="connsiteX114" fmla="*/ 607373 w 867568"/>
                    <a:gd name="connsiteY114" fmla="*/ 483213 h 917121"/>
                    <a:gd name="connsiteX115" fmla="*/ 626128 w 867568"/>
                    <a:gd name="connsiteY115" fmla="*/ 470710 h 917121"/>
                    <a:gd name="connsiteX116" fmla="*/ 632380 w 867568"/>
                    <a:gd name="connsiteY116" fmla="*/ 483213 h 917121"/>
                    <a:gd name="connsiteX117" fmla="*/ 619877 w 867568"/>
                    <a:gd name="connsiteY117" fmla="*/ 426810 h 917121"/>
                    <a:gd name="connsiteX118" fmla="*/ 607373 w 867568"/>
                    <a:gd name="connsiteY118" fmla="*/ 382910 h 917121"/>
                    <a:gd name="connsiteX119" fmla="*/ 626128 w 867568"/>
                    <a:gd name="connsiteY119" fmla="*/ 357765 h 917121"/>
                    <a:gd name="connsiteX120" fmla="*/ 613625 w 867568"/>
                    <a:gd name="connsiteY120" fmla="*/ 332620 h 917121"/>
                    <a:gd name="connsiteX121" fmla="*/ 638631 w 867568"/>
                    <a:gd name="connsiteY121" fmla="*/ 338872 h 917121"/>
                    <a:gd name="connsiteX122" fmla="*/ 651134 w 867568"/>
                    <a:gd name="connsiteY122" fmla="*/ 351375 h 917121"/>
                    <a:gd name="connsiteX123" fmla="*/ 663638 w 867568"/>
                    <a:gd name="connsiteY123" fmla="*/ 370129 h 917121"/>
                    <a:gd name="connsiteX124" fmla="*/ 688644 w 867568"/>
                    <a:gd name="connsiteY124" fmla="*/ 370129 h 917121"/>
                    <a:gd name="connsiteX125" fmla="*/ 713650 w 867568"/>
                    <a:gd name="connsiteY125" fmla="*/ 370129 h 917121"/>
                    <a:gd name="connsiteX126" fmla="*/ 707398 w 867568"/>
                    <a:gd name="connsiteY126" fmla="*/ 407778 h 917121"/>
                    <a:gd name="connsiteX127" fmla="*/ 701147 w 867568"/>
                    <a:gd name="connsiteY127" fmla="*/ 439174 h 917121"/>
                    <a:gd name="connsiteX128" fmla="*/ 719902 w 867568"/>
                    <a:gd name="connsiteY128" fmla="*/ 420420 h 917121"/>
                    <a:gd name="connsiteX129" fmla="*/ 731988 w 867568"/>
                    <a:gd name="connsiteY129" fmla="*/ 470849 h 91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867568" h="917121">
                      <a:moveTo>
                        <a:pt x="731988" y="470849"/>
                      </a:moveTo>
                      <a:cubicBezTo>
                        <a:pt x="756994" y="477100"/>
                        <a:pt x="744491" y="452094"/>
                        <a:pt x="750743" y="439452"/>
                      </a:cubicBezTo>
                      <a:cubicBezTo>
                        <a:pt x="750743" y="426949"/>
                        <a:pt x="756994" y="414307"/>
                        <a:pt x="756994" y="408055"/>
                      </a:cubicBezTo>
                      <a:cubicBezTo>
                        <a:pt x="763246" y="401804"/>
                        <a:pt x="775749" y="414307"/>
                        <a:pt x="782001" y="401804"/>
                      </a:cubicBezTo>
                      <a:cubicBezTo>
                        <a:pt x="788252" y="389301"/>
                        <a:pt x="788252" y="376659"/>
                        <a:pt x="788252" y="364156"/>
                      </a:cubicBezTo>
                      <a:cubicBezTo>
                        <a:pt x="794504" y="351653"/>
                        <a:pt x="807007" y="345401"/>
                        <a:pt x="807007" y="332759"/>
                      </a:cubicBezTo>
                      <a:cubicBezTo>
                        <a:pt x="807007" y="320256"/>
                        <a:pt x="825762" y="307614"/>
                        <a:pt x="832013" y="301362"/>
                      </a:cubicBezTo>
                      <a:cubicBezTo>
                        <a:pt x="850768" y="282608"/>
                        <a:pt x="844516" y="301362"/>
                        <a:pt x="857019" y="307614"/>
                      </a:cubicBezTo>
                      <a:lnTo>
                        <a:pt x="857019" y="282469"/>
                      </a:lnTo>
                      <a:cubicBezTo>
                        <a:pt x="857019" y="276217"/>
                        <a:pt x="875774" y="276217"/>
                        <a:pt x="863271" y="263714"/>
                      </a:cubicBezTo>
                      <a:cubicBezTo>
                        <a:pt x="857019" y="263714"/>
                        <a:pt x="844516" y="263714"/>
                        <a:pt x="838265" y="263714"/>
                      </a:cubicBezTo>
                      <a:cubicBezTo>
                        <a:pt x="838265" y="257462"/>
                        <a:pt x="844516" y="251211"/>
                        <a:pt x="844516" y="251211"/>
                      </a:cubicBezTo>
                      <a:cubicBezTo>
                        <a:pt x="850768" y="244959"/>
                        <a:pt x="844516" y="238708"/>
                        <a:pt x="838265" y="232456"/>
                      </a:cubicBezTo>
                      <a:cubicBezTo>
                        <a:pt x="832013" y="226205"/>
                        <a:pt x="832013" y="226205"/>
                        <a:pt x="825762" y="232456"/>
                      </a:cubicBezTo>
                      <a:cubicBezTo>
                        <a:pt x="813258" y="238708"/>
                        <a:pt x="807007" y="232456"/>
                        <a:pt x="794504" y="226205"/>
                      </a:cubicBezTo>
                      <a:cubicBezTo>
                        <a:pt x="788252" y="226205"/>
                        <a:pt x="775749" y="238708"/>
                        <a:pt x="775749" y="244959"/>
                      </a:cubicBezTo>
                      <a:cubicBezTo>
                        <a:pt x="769498" y="251211"/>
                        <a:pt x="763246" y="244959"/>
                        <a:pt x="756994" y="251211"/>
                      </a:cubicBezTo>
                      <a:cubicBezTo>
                        <a:pt x="750743" y="251211"/>
                        <a:pt x="744491" y="257462"/>
                        <a:pt x="744491" y="263714"/>
                      </a:cubicBezTo>
                      <a:cubicBezTo>
                        <a:pt x="731988" y="276217"/>
                        <a:pt x="725737" y="282469"/>
                        <a:pt x="713234" y="276217"/>
                      </a:cubicBezTo>
                      <a:cubicBezTo>
                        <a:pt x="706982" y="282469"/>
                        <a:pt x="713234" y="294972"/>
                        <a:pt x="719485" y="301362"/>
                      </a:cubicBezTo>
                      <a:cubicBezTo>
                        <a:pt x="731988" y="326507"/>
                        <a:pt x="675585" y="307614"/>
                        <a:pt x="663082" y="313865"/>
                      </a:cubicBezTo>
                      <a:cubicBezTo>
                        <a:pt x="656830" y="320117"/>
                        <a:pt x="638076" y="313865"/>
                        <a:pt x="631824" y="307614"/>
                      </a:cubicBezTo>
                      <a:cubicBezTo>
                        <a:pt x="625573" y="301362"/>
                        <a:pt x="631824" y="288859"/>
                        <a:pt x="631824" y="288859"/>
                      </a:cubicBezTo>
                      <a:cubicBezTo>
                        <a:pt x="631824" y="288859"/>
                        <a:pt x="631824" y="270104"/>
                        <a:pt x="625573" y="276356"/>
                      </a:cubicBezTo>
                      <a:cubicBezTo>
                        <a:pt x="613069" y="276356"/>
                        <a:pt x="600566" y="276356"/>
                        <a:pt x="600566" y="295111"/>
                      </a:cubicBezTo>
                      <a:cubicBezTo>
                        <a:pt x="606818" y="301362"/>
                        <a:pt x="613069" y="320117"/>
                        <a:pt x="606818" y="320117"/>
                      </a:cubicBezTo>
                      <a:cubicBezTo>
                        <a:pt x="594315" y="320117"/>
                        <a:pt x="588063" y="332620"/>
                        <a:pt x="575560" y="320117"/>
                      </a:cubicBezTo>
                      <a:cubicBezTo>
                        <a:pt x="569309" y="307614"/>
                        <a:pt x="563057" y="326369"/>
                        <a:pt x="556805" y="320117"/>
                      </a:cubicBezTo>
                      <a:cubicBezTo>
                        <a:pt x="538051" y="313865"/>
                        <a:pt x="531799" y="313865"/>
                        <a:pt x="512905" y="307614"/>
                      </a:cubicBezTo>
                      <a:cubicBezTo>
                        <a:pt x="500402" y="301362"/>
                        <a:pt x="494151" y="288859"/>
                        <a:pt x="481648" y="288859"/>
                      </a:cubicBezTo>
                      <a:cubicBezTo>
                        <a:pt x="462893" y="295111"/>
                        <a:pt x="462893" y="288859"/>
                        <a:pt x="450390" y="282608"/>
                      </a:cubicBezTo>
                      <a:cubicBezTo>
                        <a:pt x="437887" y="276356"/>
                        <a:pt x="425384" y="282608"/>
                        <a:pt x="419132" y="276356"/>
                      </a:cubicBezTo>
                      <a:cubicBezTo>
                        <a:pt x="406629" y="263853"/>
                        <a:pt x="394126" y="257601"/>
                        <a:pt x="387874" y="251211"/>
                      </a:cubicBezTo>
                      <a:cubicBezTo>
                        <a:pt x="375371" y="244959"/>
                        <a:pt x="369120" y="244959"/>
                        <a:pt x="375371" y="232456"/>
                      </a:cubicBezTo>
                      <a:cubicBezTo>
                        <a:pt x="381623" y="226205"/>
                        <a:pt x="375371" y="213702"/>
                        <a:pt x="387874" y="207311"/>
                      </a:cubicBezTo>
                      <a:cubicBezTo>
                        <a:pt x="400377" y="201059"/>
                        <a:pt x="406629" y="207311"/>
                        <a:pt x="394126" y="194808"/>
                      </a:cubicBezTo>
                      <a:cubicBezTo>
                        <a:pt x="381623" y="188556"/>
                        <a:pt x="369120" y="176053"/>
                        <a:pt x="356477" y="169663"/>
                      </a:cubicBezTo>
                      <a:cubicBezTo>
                        <a:pt x="350226" y="169663"/>
                        <a:pt x="343974" y="157160"/>
                        <a:pt x="331471" y="157160"/>
                      </a:cubicBezTo>
                      <a:cubicBezTo>
                        <a:pt x="331471" y="157160"/>
                        <a:pt x="331471" y="138405"/>
                        <a:pt x="325220" y="132014"/>
                      </a:cubicBezTo>
                      <a:cubicBezTo>
                        <a:pt x="293962" y="100618"/>
                        <a:pt x="356477" y="138266"/>
                        <a:pt x="356477" y="113260"/>
                      </a:cubicBezTo>
                      <a:cubicBezTo>
                        <a:pt x="356477" y="100757"/>
                        <a:pt x="350226" y="100757"/>
                        <a:pt x="337723" y="88115"/>
                      </a:cubicBezTo>
                      <a:cubicBezTo>
                        <a:pt x="331471" y="81863"/>
                        <a:pt x="331471" y="75612"/>
                        <a:pt x="343974" y="69360"/>
                      </a:cubicBezTo>
                      <a:cubicBezTo>
                        <a:pt x="356477" y="69360"/>
                        <a:pt x="350226" y="50605"/>
                        <a:pt x="362729" y="44215"/>
                      </a:cubicBezTo>
                      <a:cubicBezTo>
                        <a:pt x="368980" y="37963"/>
                        <a:pt x="381484" y="31712"/>
                        <a:pt x="375232" y="19070"/>
                      </a:cubicBezTo>
                      <a:cubicBezTo>
                        <a:pt x="362729" y="315"/>
                        <a:pt x="331333" y="-6076"/>
                        <a:pt x="312578" y="6566"/>
                      </a:cubicBezTo>
                      <a:cubicBezTo>
                        <a:pt x="306326" y="12818"/>
                        <a:pt x="306326" y="12818"/>
                        <a:pt x="293823" y="19070"/>
                      </a:cubicBezTo>
                      <a:cubicBezTo>
                        <a:pt x="287572" y="19070"/>
                        <a:pt x="287572" y="31573"/>
                        <a:pt x="281320" y="37824"/>
                      </a:cubicBezTo>
                      <a:cubicBezTo>
                        <a:pt x="268817" y="44076"/>
                        <a:pt x="256314" y="37824"/>
                        <a:pt x="250062" y="44076"/>
                      </a:cubicBezTo>
                      <a:cubicBezTo>
                        <a:pt x="243811" y="50327"/>
                        <a:pt x="231308" y="50327"/>
                        <a:pt x="218805" y="44076"/>
                      </a:cubicBezTo>
                      <a:cubicBezTo>
                        <a:pt x="206302" y="44076"/>
                        <a:pt x="200050" y="37824"/>
                        <a:pt x="187547" y="44076"/>
                      </a:cubicBezTo>
                      <a:cubicBezTo>
                        <a:pt x="175044" y="44076"/>
                        <a:pt x="181295" y="62830"/>
                        <a:pt x="187547" y="69221"/>
                      </a:cubicBezTo>
                      <a:cubicBezTo>
                        <a:pt x="187547" y="81724"/>
                        <a:pt x="187547" y="94366"/>
                        <a:pt x="187547" y="100618"/>
                      </a:cubicBezTo>
                      <a:cubicBezTo>
                        <a:pt x="193798" y="113121"/>
                        <a:pt x="206302" y="113121"/>
                        <a:pt x="218805" y="119372"/>
                      </a:cubicBezTo>
                      <a:cubicBezTo>
                        <a:pt x="225056" y="131876"/>
                        <a:pt x="212553" y="131876"/>
                        <a:pt x="206302" y="131876"/>
                      </a:cubicBezTo>
                      <a:cubicBezTo>
                        <a:pt x="200050" y="144379"/>
                        <a:pt x="206302" y="157021"/>
                        <a:pt x="206302" y="169524"/>
                      </a:cubicBezTo>
                      <a:cubicBezTo>
                        <a:pt x="206302" y="175775"/>
                        <a:pt x="193798" y="175775"/>
                        <a:pt x="193798" y="175775"/>
                      </a:cubicBezTo>
                      <a:cubicBezTo>
                        <a:pt x="181295" y="182027"/>
                        <a:pt x="193798" y="200920"/>
                        <a:pt x="181295" y="200920"/>
                      </a:cubicBezTo>
                      <a:cubicBezTo>
                        <a:pt x="168792" y="207172"/>
                        <a:pt x="162541" y="213424"/>
                        <a:pt x="162541" y="219675"/>
                      </a:cubicBezTo>
                      <a:cubicBezTo>
                        <a:pt x="156289" y="232178"/>
                        <a:pt x="150037" y="232178"/>
                        <a:pt x="137534" y="238430"/>
                      </a:cubicBezTo>
                      <a:cubicBezTo>
                        <a:pt x="125031" y="244681"/>
                        <a:pt x="125031" y="263575"/>
                        <a:pt x="118780" y="269827"/>
                      </a:cubicBezTo>
                      <a:cubicBezTo>
                        <a:pt x="112528" y="282330"/>
                        <a:pt x="100025" y="276078"/>
                        <a:pt x="93773" y="288581"/>
                      </a:cubicBezTo>
                      <a:cubicBezTo>
                        <a:pt x="81270" y="294833"/>
                        <a:pt x="75019" y="269827"/>
                        <a:pt x="68767" y="282330"/>
                      </a:cubicBezTo>
                      <a:cubicBezTo>
                        <a:pt x="62516" y="288581"/>
                        <a:pt x="37509" y="301084"/>
                        <a:pt x="43761" y="307475"/>
                      </a:cubicBezTo>
                      <a:cubicBezTo>
                        <a:pt x="43761" y="319978"/>
                        <a:pt x="62516" y="319978"/>
                        <a:pt x="62516" y="332620"/>
                      </a:cubicBezTo>
                      <a:cubicBezTo>
                        <a:pt x="56264" y="351375"/>
                        <a:pt x="68767" y="351375"/>
                        <a:pt x="81270" y="357765"/>
                      </a:cubicBezTo>
                      <a:cubicBezTo>
                        <a:pt x="81270" y="370268"/>
                        <a:pt x="87522" y="382910"/>
                        <a:pt x="87522" y="395413"/>
                      </a:cubicBezTo>
                      <a:cubicBezTo>
                        <a:pt x="87522" y="395413"/>
                        <a:pt x="68767" y="395413"/>
                        <a:pt x="62516" y="395413"/>
                      </a:cubicBezTo>
                      <a:cubicBezTo>
                        <a:pt x="56264" y="395413"/>
                        <a:pt x="50012" y="401665"/>
                        <a:pt x="43761" y="401665"/>
                      </a:cubicBezTo>
                      <a:cubicBezTo>
                        <a:pt x="43761" y="401665"/>
                        <a:pt x="37509" y="395413"/>
                        <a:pt x="31258" y="395413"/>
                      </a:cubicBezTo>
                      <a:cubicBezTo>
                        <a:pt x="25006" y="395413"/>
                        <a:pt x="0" y="407917"/>
                        <a:pt x="0" y="414168"/>
                      </a:cubicBezTo>
                      <a:cubicBezTo>
                        <a:pt x="12503" y="426671"/>
                        <a:pt x="18755" y="432923"/>
                        <a:pt x="31258" y="445565"/>
                      </a:cubicBezTo>
                      <a:lnTo>
                        <a:pt x="68906" y="445565"/>
                      </a:lnTo>
                      <a:cubicBezTo>
                        <a:pt x="68906" y="451816"/>
                        <a:pt x="56402" y="458068"/>
                        <a:pt x="50151" y="458068"/>
                      </a:cubicBezTo>
                      <a:cubicBezTo>
                        <a:pt x="43899" y="464320"/>
                        <a:pt x="25145" y="451816"/>
                        <a:pt x="25145" y="464320"/>
                      </a:cubicBezTo>
                      <a:cubicBezTo>
                        <a:pt x="25145" y="476823"/>
                        <a:pt x="56402" y="495716"/>
                        <a:pt x="69045" y="508219"/>
                      </a:cubicBezTo>
                      <a:cubicBezTo>
                        <a:pt x="75296" y="514471"/>
                        <a:pt x="81548" y="514471"/>
                        <a:pt x="94051" y="514471"/>
                      </a:cubicBezTo>
                      <a:cubicBezTo>
                        <a:pt x="106554" y="508219"/>
                        <a:pt x="125309" y="501968"/>
                        <a:pt x="131699" y="489326"/>
                      </a:cubicBezTo>
                      <a:cubicBezTo>
                        <a:pt x="131699" y="489326"/>
                        <a:pt x="125448" y="483074"/>
                        <a:pt x="119196" y="483074"/>
                      </a:cubicBezTo>
                      <a:cubicBezTo>
                        <a:pt x="119196" y="476823"/>
                        <a:pt x="125448" y="476823"/>
                        <a:pt x="125448" y="476823"/>
                      </a:cubicBezTo>
                      <a:cubicBezTo>
                        <a:pt x="131699" y="470571"/>
                        <a:pt x="125448" y="464320"/>
                        <a:pt x="131699" y="464320"/>
                      </a:cubicBezTo>
                      <a:lnTo>
                        <a:pt x="144202" y="464320"/>
                      </a:lnTo>
                      <a:cubicBezTo>
                        <a:pt x="144202" y="470571"/>
                        <a:pt x="131699" y="470571"/>
                        <a:pt x="137951" y="476823"/>
                      </a:cubicBezTo>
                      <a:lnTo>
                        <a:pt x="144202" y="476823"/>
                      </a:lnTo>
                      <a:cubicBezTo>
                        <a:pt x="144202" y="483074"/>
                        <a:pt x="137951" y="483074"/>
                        <a:pt x="137951" y="483074"/>
                      </a:cubicBezTo>
                      <a:cubicBezTo>
                        <a:pt x="131699" y="483074"/>
                        <a:pt x="144202" y="483074"/>
                        <a:pt x="144202" y="483074"/>
                      </a:cubicBezTo>
                      <a:cubicBezTo>
                        <a:pt x="144202" y="489326"/>
                        <a:pt x="137951" y="489326"/>
                        <a:pt x="137951" y="495577"/>
                      </a:cubicBezTo>
                      <a:cubicBezTo>
                        <a:pt x="131699" y="495577"/>
                        <a:pt x="144202" y="501829"/>
                        <a:pt x="150454" y="508080"/>
                      </a:cubicBezTo>
                      <a:cubicBezTo>
                        <a:pt x="156706" y="514332"/>
                        <a:pt x="144202" y="526835"/>
                        <a:pt x="137951" y="539477"/>
                      </a:cubicBezTo>
                      <a:cubicBezTo>
                        <a:pt x="137951" y="545729"/>
                        <a:pt x="144202" y="551980"/>
                        <a:pt x="150454" y="558232"/>
                      </a:cubicBezTo>
                      <a:cubicBezTo>
                        <a:pt x="150454" y="570735"/>
                        <a:pt x="150454" y="576987"/>
                        <a:pt x="150454" y="589628"/>
                      </a:cubicBezTo>
                      <a:cubicBezTo>
                        <a:pt x="150454" y="602132"/>
                        <a:pt x="144202" y="621025"/>
                        <a:pt x="144202" y="627277"/>
                      </a:cubicBezTo>
                      <a:lnTo>
                        <a:pt x="150454" y="614774"/>
                      </a:lnTo>
                      <a:cubicBezTo>
                        <a:pt x="156706" y="621025"/>
                        <a:pt x="162957" y="658674"/>
                        <a:pt x="162957" y="664925"/>
                      </a:cubicBezTo>
                      <a:cubicBezTo>
                        <a:pt x="169209" y="677428"/>
                        <a:pt x="181712" y="696322"/>
                        <a:pt x="187963" y="715077"/>
                      </a:cubicBezTo>
                      <a:cubicBezTo>
                        <a:pt x="194215" y="733831"/>
                        <a:pt x="194215" y="752725"/>
                        <a:pt x="200466" y="771480"/>
                      </a:cubicBezTo>
                      <a:cubicBezTo>
                        <a:pt x="212970" y="796625"/>
                        <a:pt x="231724" y="815379"/>
                        <a:pt x="244366" y="834134"/>
                      </a:cubicBezTo>
                      <a:cubicBezTo>
                        <a:pt x="250618" y="852889"/>
                        <a:pt x="250618" y="871782"/>
                        <a:pt x="256870" y="890537"/>
                      </a:cubicBezTo>
                      <a:cubicBezTo>
                        <a:pt x="269373" y="909292"/>
                        <a:pt x="281876" y="928185"/>
                        <a:pt x="300770" y="909292"/>
                      </a:cubicBezTo>
                      <a:cubicBezTo>
                        <a:pt x="313273" y="903040"/>
                        <a:pt x="313273" y="896789"/>
                        <a:pt x="313273" y="890537"/>
                      </a:cubicBezTo>
                      <a:cubicBezTo>
                        <a:pt x="313273" y="878034"/>
                        <a:pt x="325776" y="871782"/>
                        <a:pt x="332027" y="865392"/>
                      </a:cubicBezTo>
                      <a:cubicBezTo>
                        <a:pt x="338279" y="859140"/>
                        <a:pt x="350782" y="859140"/>
                        <a:pt x="357034" y="852889"/>
                      </a:cubicBezTo>
                      <a:cubicBezTo>
                        <a:pt x="363285" y="846637"/>
                        <a:pt x="357034" y="827882"/>
                        <a:pt x="357034" y="821492"/>
                      </a:cubicBezTo>
                      <a:cubicBezTo>
                        <a:pt x="350782" y="796347"/>
                        <a:pt x="382040" y="777592"/>
                        <a:pt x="375788" y="758837"/>
                      </a:cubicBezTo>
                      <a:cubicBezTo>
                        <a:pt x="369537" y="740083"/>
                        <a:pt x="363285" y="721189"/>
                        <a:pt x="363285" y="702435"/>
                      </a:cubicBezTo>
                      <a:cubicBezTo>
                        <a:pt x="363285" y="677289"/>
                        <a:pt x="388291" y="671038"/>
                        <a:pt x="407184" y="664786"/>
                      </a:cubicBezTo>
                      <a:cubicBezTo>
                        <a:pt x="413436" y="658535"/>
                        <a:pt x="432191" y="658535"/>
                        <a:pt x="432191" y="652283"/>
                      </a:cubicBezTo>
                      <a:cubicBezTo>
                        <a:pt x="438442" y="639780"/>
                        <a:pt x="444694" y="633528"/>
                        <a:pt x="450945" y="627277"/>
                      </a:cubicBezTo>
                      <a:cubicBezTo>
                        <a:pt x="469700" y="608522"/>
                        <a:pt x="488594" y="589628"/>
                        <a:pt x="507348" y="577125"/>
                      </a:cubicBezTo>
                      <a:cubicBezTo>
                        <a:pt x="513600" y="570874"/>
                        <a:pt x="519852" y="558371"/>
                        <a:pt x="526103" y="551980"/>
                      </a:cubicBezTo>
                      <a:cubicBezTo>
                        <a:pt x="532355" y="545729"/>
                        <a:pt x="544858" y="545729"/>
                        <a:pt x="551109" y="539477"/>
                      </a:cubicBezTo>
                      <a:cubicBezTo>
                        <a:pt x="557361" y="533226"/>
                        <a:pt x="563613" y="526974"/>
                        <a:pt x="569864" y="520723"/>
                      </a:cubicBezTo>
                      <a:cubicBezTo>
                        <a:pt x="576116" y="514471"/>
                        <a:pt x="563613" y="508219"/>
                        <a:pt x="563613" y="501968"/>
                      </a:cubicBezTo>
                      <a:cubicBezTo>
                        <a:pt x="569864" y="489465"/>
                        <a:pt x="588619" y="489465"/>
                        <a:pt x="594870" y="483213"/>
                      </a:cubicBezTo>
                      <a:cubicBezTo>
                        <a:pt x="601122" y="483213"/>
                        <a:pt x="613625" y="464459"/>
                        <a:pt x="613625" y="458068"/>
                      </a:cubicBezTo>
                      <a:cubicBezTo>
                        <a:pt x="613625" y="470571"/>
                        <a:pt x="601122" y="470571"/>
                        <a:pt x="607373" y="483213"/>
                      </a:cubicBezTo>
                      <a:cubicBezTo>
                        <a:pt x="619877" y="489465"/>
                        <a:pt x="626128" y="470710"/>
                        <a:pt x="626128" y="470710"/>
                      </a:cubicBezTo>
                      <a:cubicBezTo>
                        <a:pt x="632380" y="476962"/>
                        <a:pt x="626128" y="483213"/>
                        <a:pt x="632380" y="483213"/>
                      </a:cubicBezTo>
                      <a:cubicBezTo>
                        <a:pt x="638631" y="464459"/>
                        <a:pt x="632380" y="445565"/>
                        <a:pt x="619877" y="426810"/>
                      </a:cubicBezTo>
                      <a:cubicBezTo>
                        <a:pt x="613625" y="414307"/>
                        <a:pt x="601122" y="401665"/>
                        <a:pt x="607373" y="382910"/>
                      </a:cubicBezTo>
                      <a:cubicBezTo>
                        <a:pt x="613625" y="364156"/>
                        <a:pt x="645022" y="376659"/>
                        <a:pt x="626128" y="357765"/>
                      </a:cubicBezTo>
                      <a:cubicBezTo>
                        <a:pt x="619877" y="351514"/>
                        <a:pt x="607373" y="345262"/>
                        <a:pt x="613625" y="332620"/>
                      </a:cubicBezTo>
                      <a:cubicBezTo>
                        <a:pt x="619877" y="326369"/>
                        <a:pt x="626128" y="332620"/>
                        <a:pt x="638631" y="338872"/>
                      </a:cubicBezTo>
                      <a:cubicBezTo>
                        <a:pt x="644883" y="345123"/>
                        <a:pt x="651134" y="338872"/>
                        <a:pt x="651134" y="351375"/>
                      </a:cubicBezTo>
                      <a:cubicBezTo>
                        <a:pt x="651134" y="357626"/>
                        <a:pt x="651134" y="363878"/>
                        <a:pt x="663638" y="370129"/>
                      </a:cubicBezTo>
                      <a:cubicBezTo>
                        <a:pt x="669889" y="370129"/>
                        <a:pt x="682392" y="370129"/>
                        <a:pt x="688644" y="370129"/>
                      </a:cubicBezTo>
                      <a:cubicBezTo>
                        <a:pt x="694895" y="370129"/>
                        <a:pt x="707398" y="376381"/>
                        <a:pt x="713650" y="370129"/>
                      </a:cubicBezTo>
                      <a:cubicBezTo>
                        <a:pt x="744908" y="363878"/>
                        <a:pt x="719902" y="401526"/>
                        <a:pt x="707398" y="407778"/>
                      </a:cubicBezTo>
                      <a:cubicBezTo>
                        <a:pt x="688644" y="407778"/>
                        <a:pt x="701147" y="432923"/>
                        <a:pt x="701147" y="439174"/>
                      </a:cubicBezTo>
                      <a:cubicBezTo>
                        <a:pt x="707398" y="439174"/>
                        <a:pt x="719902" y="414029"/>
                        <a:pt x="719902" y="420420"/>
                      </a:cubicBezTo>
                      <a:cubicBezTo>
                        <a:pt x="719485" y="439591"/>
                        <a:pt x="731988" y="458346"/>
                        <a:pt x="731988" y="47084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6" name="Freihandform: Form 345">
                  <a:extLst>
                    <a:ext uri="{FF2B5EF4-FFF2-40B4-BE49-F238E27FC236}">
                      <a16:creationId xmlns:a16="http://schemas.microsoft.com/office/drawing/2014/main" id="{2DC5813D-FF75-4D76-9AA2-E19779E0314B}"/>
                    </a:ext>
                  </a:extLst>
                </p:cNvPr>
                <p:cNvSpPr/>
                <p:nvPr/>
              </p:nvSpPr>
              <p:spPr>
                <a:xfrm>
                  <a:off x="8912170" y="3629538"/>
                  <a:ext cx="257286" cy="601773"/>
                </a:xfrm>
                <a:custGeom>
                  <a:avLst/>
                  <a:gdLst>
                    <a:gd name="connsiteX0" fmla="*/ 244783 w 257286"/>
                    <a:gd name="connsiteY0" fmla="*/ 228486 h 601773"/>
                    <a:gd name="connsiteX1" fmla="*/ 232280 w 257286"/>
                    <a:gd name="connsiteY1" fmla="*/ 222235 h 601773"/>
                    <a:gd name="connsiteX2" fmla="*/ 232280 w 257286"/>
                    <a:gd name="connsiteY2" fmla="*/ 215983 h 601773"/>
                    <a:gd name="connsiteX3" fmla="*/ 213386 w 257286"/>
                    <a:gd name="connsiteY3" fmla="*/ 209731 h 601773"/>
                    <a:gd name="connsiteX4" fmla="*/ 213386 w 257286"/>
                    <a:gd name="connsiteY4" fmla="*/ 184864 h 601773"/>
                    <a:gd name="connsiteX5" fmla="*/ 194493 w 257286"/>
                    <a:gd name="connsiteY5" fmla="*/ 172361 h 601773"/>
                    <a:gd name="connsiteX6" fmla="*/ 188241 w 257286"/>
                    <a:gd name="connsiteY6" fmla="*/ 159858 h 601773"/>
                    <a:gd name="connsiteX7" fmla="*/ 200745 w 257286"/>
                    <a:gd name="connsiteY7" fmla="*/ 147355 h 601773"/>
                    <a:gd name="connsiteX8" fmla="*/ 150593 w 257286"/>
                    <a:gd name="connsiteY8" fmla="*/ 147355 h 601773"/>
                    <a:gd name="connsiteX9" fmla="*/ 156845 w 257286"/>
                    <a:gd name="connsiteY9" fmla="*/ 128739 h 601773"/>
                    <a:gd name="connsiteX10" fmla="*/ 169348 w 257286"/>
                    <a:gd name="connsiteY10" fmla="*/ 103872 h 601773"/>
                    <a:gd name="connsiteX11" fmla="*/ 188241 w 257286"/>
                    <a:gd name="connsiteY11" fmla="*/ 54137 h 601773"/>
                    <a:gd name="connsiteX12" fmla="*/ 194493 w 257286"/>
                    <a:gd name="connsiteY12" fmla="*/ 35521 h 601773"/>
                    <a:gd name="connsiteX13" fmla="*/ 175599 w 257286"/>
                    <a:gd name="connsiteY13" fmla="*/ 29270 h 601773"/>
                    <a:gd name="connsiteX14" fmla="*/ 169348 w 257286"/>
                    <a:gd name="connsiteY14" fmla="*/ 4402 h 601773"/>
                    <a:gd name="connsiteX15" fmla="*/ 144202 w 257286"/>
                    <a:gd name="connsiteY15" fmla="*/ 4402 h 601773"/>
                    <a:gd name="connsiteX16" fmla="*/ 137951 w 257286"/>
                    <a:gd name="connsiteY16" fmla="*/ 23018 h 601773"/>
                    <a:gd name="connsiteX17" fmla="*/ 137951 w 257286"/>
                    <a:gd name="connsiteY17" fmla="*/ 47886 h 601773"/>
                    <a:gd name="connsiteX18" fmla="*/ 131699 w 257286"/>
                    <a:gd name="connsiteY18" fmla="*/ 35382 h 601773"/>
                    <a:gd name="connsiteX19" fmla="*/ 112806 w 257286"/>
                    <a:gd name="connsiteY19" fmla="*/ 47886 h 601773"/>
                    <a:gd name="connsiteX20" fmla="*/ 87660 w 257286"/>
                    <a:gd name="connsiteY20" fmla="*/ 60389 h 601773"/>
                    <a:gd name="connsiteX21" fmla="*/ 81409 w 257286"/>
                    <a:gd name="connsiteY21" fmla="*/ 85256 h 601773"/>
                    <a:gd name="connsiteX22" fmla="*/ 68906 w 257286"/>
                    <a:gd name="connsiteY22" fmla="*/ 103872 h 601773"/>
                    <a:gd name="connsiteX23" fmla="*/ 68906 w 257286"/>
                    <a:gd name="connsiteY23" fmla="*/ 122487 h 601773"/>
                    <a:gd name="connsiteX24" fmla="*/ 56402 w 257286"/>
                    <a:gd name="connsiteY24" fmla="*/ 147355 h 601773"/>
                    <a:gd name="connsiteX25" fmla="*/ 37509 w 257286"/>
                    <a:gd name="connsiteY25" fmla="*/ 147355 h 601773"/>
                    <a:gd name="connsiteX26" fmla="*/ 25006 w 257286"/>
                    <a:gd name="connsiteY26" fmla="*/ 209592 h 601773"/>
                    <a:gd name="connsiteX27" fmla="*/ 12503 w 257286"/>
                    <a:gd name="connsiteY27" fmla="*/ 209592 h 601773"/>
                    <a:gd name="connsiteX28" fmla="*/ 12503 w 257286"/>
                    <a:gd name="connsiteY28" fmla="*/ 222096 h 601773"/>
                    <a:gd name="connsiteX29" fmla="*/ 0 w 257286"/>
                    <a:gd name="connsiteY29" fmla="*/ 240711 h 601773"/>
                    <a:gd name="connsiteX30" fmla="*/ 31396 w 257286"/>
                    <a:gd name="connsiteY30" fmla="*/ 284333 h 601773"/>
                    <a:gd name="connsiteX31" fmla="*/ 25145 w 257286"/>
                    <a:gd name="connsiteY31" fmla="*/ 265718 h 601773"/>
                    <a:gd name="connsiteX32" fmla="*/ 44038 w 257286"/>
                    <a:gd name="connsiteY32" fmla="*/ 290585 h 601773"/>
                    <a:gd name="connsiteX33" fmla="*/ 44038 w 257286"/>
                    <a:gd name="connsiteY33" fmla="*/ 315452 h 601773"/>
                    <a:gd name="connsiteX34" fmla="*/ 56541 w 257286"/>
                    <a:gd name="connsiteY34" fmla="*/ 315452 h 601773"/>
                    <a:gd name="connsiteX35" fmla="*/ 69045 w 257286"/>
                    <a:gd name="connsiteY35" fmla="*/ 352823 h 601773"/>
                    <a:gd name="connsiteX36" fmla="*/ 62793 w 257286"/>
                    <a:gd name="connsiteY36" fmla="*/ 408809 h 601773"/>
                    <a:gd name="connsiteX37" fmla="*/ 69045 w 257286"/>
                    <a:gd name="connsiteY37" fmla="*/ 390193 h 601773"/>
                    <a:gd name="connsiteX38" fmla="*/ 69045 w 257286"/>
                    <a:gd name="connsiteY38" fmla="*/ 408809 h 601773"/>
                    <a:gd name="connsiteX39" fmla="*/ 75296 w 257286"/>
                    <a:gd name="connsiteY39" fmla="*/ 402557 h 601773"/>
                    <a:gd name="connsiteX40" fmla="*/ 75296 w 257286"/>
                    <a:gd name="connsiteY40" fmla="*/ 415061 h 601773"/>
                    <a:gd name="connsiteX41" fmla="*/ 87799 w 257286"/>
                    <a:gd name="connsiteY41" fmla="*/ 402557 h 601773"/>
                    <a:gd name="connsiteX42" fmla="*/ 87799 w 257286"/>
                    <a:gd name="connsiteY42" fmla="*/ 408809 h 601773"/>
                    <a:gd name="connsiteX43" fmla="*/ 106693 w 257286"/>
                    <a:gd name="connsiteY43" fmla="*/ 396306 h 601773"/>
                    <a:gd name="connsiteX44" fmla="*/ 131838 w 257286"/>
                    <a:gd name="connsiteY44" fmla="*/ 371438 h 601773"/>
                    <a:gd name="connsiteX45" fmla="*/ 138090 w 257286"/>
                    <a:gd name="connsiteY45" fmla="*/ 390054 h 601773"/>
                    <a:gd name="connsiteX46" fmla="*/ 150593 w 257286"/>
                    <a:gd name="connsiteY46" fmla="*/ 396306 h 601773"/>
                    <a:gd name="connsiteX47" fmla="*/ 156845 w 257286"/>
                    <a:gd name="connsiteY47" fmla="*/ 439928 h 601773"/>
                    <a:gd name="connsiteX48" fmla="*/ 175738 w 257286"/>
                    <a:gd name="connsiteY48" fmla="*/ 483550 h 601773"/>
                    <a:gd name="connsiteX49" fmla="*/ 181990 w 257286"/>
                    <a:gd name="connsiteY49" fmla="*/ 489801 h 601773"/>
                    <a:gd name="connsiteX50" fmla="*/ 188241 w 257286"/>
                    <a:gd name="connsiteY50" fmla="*/ 502305 h 601773"/>
                    <a:gd name="connsiteX51" fmla="*/ 188241 w 257286"/>
                    <a:gd name="connsiteY51" fmla="*/ 520920 h 601773"/>
                    <a:gd name="connsiteX52" fmla="*/ 194493 w 257286"/>
                    <a:gd name="connsiteY52" fmla="*/ 520920 h 601773"/>
                    <a:gd name="connsiteX53" fmla="*/ 181990 w 257286"/>
                    <a:gd name="connsiteY53" fmla="*/ 539536 h 601773"/>
                    <a:gd name="connsiteX54" fmla="*/ 194493 w 257286"/>
                    <a:gd name="connsiteY54" fmla="*/ 545787 h 601773"/>
                    <a:gd name="connsiteX55" fmla="*/ 181990 w 257286"/>
                    <a:gd name="connsiteY55" fmla="*/ 601774 h 601773"/>
                    <a:gd name="connsiteX56" fmla="*/ 207135 w 257286"/>
                    <a:gd name="connsiteY56" fmla="*/ 552039 h 601773"/>
                    <a:gd name="connsiteX57" fmla="*/ 213386 w 257286"/>
                    <a:gd name="connsiteY57" fmla="*/ 520920 h 601773"/>
                    <a:gd name="connsiteX58" fmla="*/ 207135 w 257286"/>
                    <a:gd name="connsiteY58" fmla="*/ 489801 h 601773"/>
                    <a:gd name="connsiteX59" fmla="*/ 175738 w 257286"/>
                    <a:gd name="connsiteY59" fmla="*/ 433815 h 601773"/>
                    <a:gd name="connsiteX60" fmla="*/ 188241 w 257286"/>
                    <a:gd name="connsiteY60" fmla="*/ 421312 h 601773"/>
                    <a:gd name="connsiteX61" fmla="*/ 188241 w 257286"/>
                    <a:gd name="connsiteY61" fmla="*/ 396445 h 601773"/>
                    <a:gd name="connsiteX62" fmla="*/ 163096 w 257286"/>
                    <a:gd name="connsiteY62" fmla="*/ 352823 h 601773"/>
                    <a:gd name="connsiteX63" fmla="*/ 163096 w 257286"/>
                    <a:gd name="connsiteY63" fmla="*/ 296836 h 601773"/>
                    <a:gd name="connsiteX64" fmla="*/ 181990 w 257286"/>
                    <a:gd name="connsiteY64" fmla="*/ 284333 h 601773"/>
                    <a:gd name="connsiteX65" fmla="*/ 213386 w 257286"/>
                    <a:gd name="connsiteY65" fmla="*/ 265718 h 601773"/>
                    <a:gd name="connsiteX66" fmla="*/ 244783 w 257286"/>
                    <a:gd name="connsiteY66" fmla="*/ 253215 h 601773"/>
                    <a:gd name="connsiteX67" fmla="*/ 257286 w 257286"/>
                    <a:gd name="connsiteY67" fmla="*/ 228347 h 601773"/>
                    <a:gd name="connsiteX68" fmla="*/ 244783 w 257286"/>
                    <a:gd name="connsiteY68" fmla="*/ 228486 h 60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57286" h="601773">
                      <a:moveTo>
                        <a:pt x="244783" y="228486"/>
                      </a:moveTo>
                      <a:cubicBezTo>
                        <a:pt x="238531" y="228486"/>
                        <a:pt x="232280" y="234738"/>
                        <a:pt x="232280" y="222235"/>
                      </a:cubicBezTo>
                      <a:lnTo>
                        <a:pt x="232280" y="215983"/>
                      </a:lnTo>
                      <a:cubicBezTo>
                        <a:pt x="232280" y="209731"/>
                        <a:pt x="213386" y="209731"/>
                        <a:pt x="213386" y="209731"/>
                      </a:cubicBezTo>
                      <a:cubicBezTo>
                        <a:pt x="207135" y="203480"/>
                        <a:pt x="213386" y="191116"/>
                        <a:pt x="213386" y="184864"/>
                      </a:cubicBezTo>
                      <a:cubicBezTo>
                        <a:pt x="219638" y="172361"/>
                        <a:pt x="200883" y="178613"/>
                        <a:pt x="194493" y="172361"/>
                      </a:cubicBezTo>
                      <a:cubicBezTo>
                        <a:pt x="194493" y="166109"/>
                        <a:pt x="188241" y="166109"/>
                        <a:pt x="188241" y="159858"/>
                      </a:cubicBezTo>
                      <a:cubicBezTo>
                        <a:pt x="188241" y="153606"/>
                        <a:pt x="200745" y="147355"/>
                        <a:pt x="200745" y="147355"/>
                      </a:cubicBezTo>
                      <a:cubicBezTo>
                        <a:pt x="194493" y="134852"/>
                        <a:pt x="156845" y="153606"/>
                        <a:pt x="150593" y="147355"/>
                      </a:cubicBezTo>
                      <a:cubicBezTo>
                        <a:pt x="150593" y="147355"/>
                        <a:pt x="156845" y="134852"/>
                        <a:pt x="156845" y="128739"/>
                      </a:cubicBezTo>
                      <a:cubicBezTo>
                        <a:pt x="150593" y="122487"/>
                        <a:pt x="169348" y="110123"/>
                        <a:pt x="169348" y="103872"/>
                      </a:cubicBezTo>
                      <a:cubicBezTo>
                        <a:pt x="181851" y="85256"/>
                        <a:pt x="194493" y="72753"/>
                        <a:pt x="188241" y="54137"/>
                      </a:cubicBezTo>
                      <a:cubicBezTo>
                        <a:pt x="188241" y="47886"/>
                        <a:pt x="194493" y="41634"/>
                        <a:pt x="194493" y="35521"/>
                      </a:cubicBezTo>
                      <a:cubicBezTo>
                        <a:pt x="194493" y="23018"/>
                        <a:pt x="181990" y="35521"/>
                        <a:pt x="175599" y="29270"/>
                      </a:cubicBezTo>
                      <a:cubicBezTo>
                        <a:pt x="175599" y="16767"/>
                        <a:pt x="169348" y="10654"/>
                        <a:pt x="169348" y="4402"/>
                      </a:cubicBezTo>
                      <a:cubicBezTo>
                        <a:pt x="156845" y="-8101"/>
                        <a:pt x="156845" y="10654"/>
                        <a:pt x="144202" y="4402"/>
                      </a:cubicBezTo>
                      <a:cubicBezTo>
                        <a:pt x="150454" y="16905"/>
                        <a:pt x="137951" y="16905"/>
                        <a:pt x="137951" y="23018"/>
                      </a:cubicBezTo>
                      <a:lnTo>
                        <a:pt x="137951" y="47886"/>
                      </a:lnTo>
                      <a:cubicBezTo>
                        <a:pt x="131699" y="47886"/>
                        <a:pt x="131699" y="35382"/>
                        <a:pt x="131699" y="35382"/>
                      </a:cubicBezTo>
                      <a:cubicBezTo>
                        <a:pt x="119196" y="35382"/>
                        <a:pt x="112806" y="41634"/>
                        <a:pt x="112806" y="47886"/>
                      </a:cubicBezTo>
                      <a:cubicBezTo>
                        <a:pt x="106554" y="54137"/>
                        <a:pt x="93912" y="54137"/>
                        <a:pt x="87660" y="60389"/>
                      </a:cubicBezTo>
                      <a:cubicBezTo>
                        <a:pt x="81409" y="66640"/>
                        <a:pt x="87660" y="79004"/>
                        <a:pt x="81409" y="85256"/>
                      </a:cubicBezTo>
                      <a:cubicBezTo>
                        <a:pt x="81409" y="91508"/>
                        <a:pt x="75157" y="97759"/>
                        <a:pt x="68906" y="103872"/>
                      </a:cubicBezTo>
                      <a:cubicBezTo>
                        <a:pt x="68906" y="110123"/>
                        <a:pt x="68906" y="116375"/>
                        <a:pt x="68906" y="122487"/>
                      </a:cubicBezTo>
                      <a:cubicBezTo>
                        <a:pt x="68906" y="134991"/>
                        <a:pt x="62654" y="147355"/>
                        <a:pt x="56402" y="147355"/>
                      </a:cubicBezTo>
                      <a:cubicBezTo>
                        <a:pt x="50151" y="147355"/>
                        <a:pt x="43899" y="147355"/>
                        <a:pt x="37509" y="147355"/>
                      </a:cubicBezTo>
                      <a:cubicBezTo>
                        <a:pt x="31258" y="159858"/>
                        <a:pt x="37509" y="209592"/>
                        <a:pt x="25006" y="209592"/>
                      </a:cubicBezTo>
                      <a:lnTo>
                        <a:pt x="12503" y="209592"/>
                      </a:lnTo>
                      <a:cubicBezTo>
                        <a:pt x="12503" y="215844"/>
                        <a:pt x="12503" y="222096"/>
                        <a:pt x="12503" y="222096"/>
                      </a:cubicBezTo>
                      <a:cubicBezTo>
                        <a:pt x="12503" y="228347"/>
                        <a:pt x="6252" y="234599"/>
                        <a:pt x="0" y="240711"/>
                      </a:cubicBezTo>
                      <a:cubicBezTo>
                        <a:pt x="0" y="246963"/>
                        <a:pt x="25145" y="278082"/>
                        <a:pt x="31396" y="284333"/>
                      </a:cubicBezTo>
                      <a:lnTo>
                        <a:pt x="25145" y="265718"/>
                      </a:lnTo>
                      <a:lnTo>
                        <a:pt x="44038" y="290585"/>
                      </a:lnTo>
                      <a:cubicBezTo>
                        <a:pt x="50290" y="303088"/>
                        <a:pt x="37787" y="303088"/>
                        <a:pt x="44038" y="315452"/>
                      </a:cubicBezTo>
                      <a:cubicBezTo>
                        <a:pt x="37787" y="309201"/>
                        <a:pt x="50290" y="309201"/>
                        <a:pt x="56541" y="315452"/>
                      </a:cubicBezTo>
                      <a:cubicBezTo>
                        <a:pt x="62793" y="327956"/>
                        <a:pt x="69045" y="340320"/>
                        <a:pt x="69045" y="352823"/>
                      </a:cubicBezTo>
                      <a:lnTo>
                        <a:pt x="62793" y="408809"/>
                      </a:lnTo>
                      <a:cubicBezTo>
                        <a:pt x="69045" y="408809"/>
                        <a:pt x="69045" y="390193"/>
                        <a:pt x="69045" y="390193"/>
                      </a:cubicBezTo>
                      <a:lnTo>
                        <a:pt x="69045" y="408809"/>
                      </a:lnTo>
                      <a:lnTo>
                        <a:pt x="75296" y="402557"/>
                      </a:lnTo>
                      <a:lnTo>
                        <a:pt x="75296" y="415061"/>
                      </a:lnTo>
                      <a:cubicBezTo>
                        <a:pt x="81548" y="415061"/>
                        <a:pt x="81548" y="402557"/>
                        <a:pt x="87799" y="402557"/>
                      </a:cubicBezTo>
                      <a:lnTo>
                        <a:pt x="87799" y="408809"/>
                      </a:lnTo>
                      <a:cubicBezTo>
                        <a:pt x="87799" y="408809"/>
                        <a:pt x="106693" y="402557"/>
                        <a:pt x="106693" y="396306"/>
                      </a:cubicBezTo>
                      <a:cubicBezTo>
                        <a:pt x="112945" y="396306"/>
                        <a:pt x="144341" y="377690"/>
                        <a:pt x="131838" y="371438"/>
                      </a:cubicBezTo>
                      <a:cubicBezTo>
                        <a:pt x="138090" y="371438"/>
                        <a:pt x="131838" y="383941"/>
                        <a:pt x="138090" y="390054"/>
                      </a:cubicBezTo>
                      <a:cubicBezTo>
                        <a:pt x="144341" y="390054"/>
                        <a:pt x="150593" y="390054"/>
                        <a:pt x="150593" y="396306"/>
                      </a:cubicBezTo>
                      <a:cubicBezTo>
                        <a:pt x="156845" y="408809"/>
                        <a:pt x="156845" y="427425"/>
                        <a:pt x="156845" y="439928"/>
                      </a:cubicBezTo>
                      <a:cubicBezTo>
                        <a:pt x="163096" y="458544"/>
                        <a:pt x="163096" y="471047"/>
                        <a:pt x="175738" y="483550"/>
                      </a:cubicBezTo>
                      <a:lnTo>
                        <a:pt x="181990" y="489801"/>
                      </a:lnTo>
                      <a:cubicBezTo>
                        <a:pt x="181990" y="502305"/>
                        <a:pt x="188241" y="502305"/>
                        <a:pt x="188241" y="502305"/>
                      </a:cubicBezTo>
                      <a:cubicBezTo>
                        <a:pt x="194493" y="508556"/>
                        <a:pt x="181990" y="520920"/>
                        <a:pt x="188241" y="520920"/>
                      </a:cubicBezTo>
                      <a:cubicBezTo>
                        <a:pt x="188241" y="520920"/>
                        <a:pt x="188241" y="520920"/>
                        <a:pt x="194493" y="520920"/>
                      </a:cubicBezTo>
                      <a:cubicBezTo>
                        <a:pt x="194493" y="527172"/>
                        <a:pt x="181990" y="533423"/>
                        <a:pt x="181990" y="539536"/>
                      </a:cubicBezTo>
                      <a:cubicBezTo>
                        <a:pt x="181990" y="552039"/>
                        <a:pt x="188241" y="539536"/>
                        <a:pt x="194493" y="545787"/>
                      </a:cubicBezTo>
                      <a:cubicBezTo>
                        <a:pt x="194493" y="545787"/>
                        <a:pt x="181990" y="595661"/>
                        <a:pt x="181990" y="601774"/>
                      </a:cubicBezTo>
                      <a:cubicBezTo>
                        <a:pt x="194493" y="589271"/>
                        <a:pt x="200883" y="564403"/>
                        <a:pt x="207135" y="552039"/>
                      </a:cubicBezTo>
                      <a:cubicBezTo>
                        <a:pt x="213386" y="539536"/>
                        <a:pt x="219638" y="533423"/>
                        <a:pt x="213386" y="520920"/>
                      </a:cubicBezTo>
                      <a:cubicBezTo>
                        <a:pt x="207135" y="508417"/>
                        <a:pt x="207135" y="502305"/>
                        <a:pt x="207135" y="489801"/>
                      </a:cubicBezTo>
                      <a:cubicBezTo>
                        <a:pt x="200883" y="477298"/>
                        <a:pt x="169487" y="452431"/>
                        <a:pt x="175738" y="433815"/>
                      </a:cubicBezTo>
                      <a:cubicBezTo>
                        <a:pt x="175738" y="433815"/>
                        <a:pt x="188241" y="427564"/>
                        <a:pt x="188241" y="421312"/>
                      </a:cubicBezTo>
                      <a:cubicBezTo>
                        <a:pt x="181990" y="408809"/>
                        <a:pt x="188241" y="408809"/>
                        <a:pt x="188241" y="396445"/>
                      </a:cubicBezTo>
                      <a:cubicBezTo>
                        <a:pt x="194493" y="377829"/>
                        <a:pt x="169348" y="365326"/>
                        <a:pt x="163096" y="352823"/>
                      </a:cubicBezTo>
                      <a:cubicBezTo>
                        <a:pt x="144202" y="340320"/>
                        <a:pt x="156845" y="315452"/>
                        <a:pt x="163096" y="296836"/>
                      </a:cubicBezTo>
                      <a:cubicBezTo>
                        <a:pt x="163096" y="284333"/>
                        <a:pt x="169348" y="284333"/>
                        <a:pt x="181990" y="284333"/>
                      </a:cubicBezTo>
                      <a:cubicBezTo>
                        <a:pt x="194493" y="284333"/>
                        <a:pt x="207135" y="271830"/>
                        <a:pt x="213386" y="265718"/>
                      </a:cubicBezTo>
                      <a:cubicBezTo>
                        <a:pt x="225889" y="259466"/>
                        <a:pt x="232280" y="265718"/>
                        <a:pt x="244783" y="253215"/>
                      </a:cubicBezTo>
                      <a:cubicBezTo>
                        <a:pt x="251034" y="240711"/>
                        <a:pt x="257286" y="234599"/>
                        <a:pt x="257286" y="228347"/>
                      </a:cubicBezTo>
                      <a:cubicBezTo>
                        <a:pt x="257286" y="228486"/>
                        <a:pt x="251034" y="228486"/>
                        <a:pt x="244783" y="2284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7" name="Freihandform: Form 346">
                  <a:extLst>
                    <a:ext uri="{FF2B5EF4-FFF2-40B4-BE49-F238E27FC236}">
                      <a16:creationId xmlns:a16="http://schemas.microsoft.com/office/drawing/2014/main" id="{6F89B213-76A6-4690-B4DC-1957A80DE1AA}"/>
                    </a:ext>
                  </a:extLst>
                </p:cNvPr>
                <p:cNvSpPr/>
                <p:nvPr/>
              </p:nvSpPr>
              <p:spPr>
                <a:xfrm>
                  <a:off x="8802383" y="3701287"/>
                  <a:ext cx="127706" cy="167850"/>
                </a:xfrm>
                <a:custGeom>
                  <a:avLst/>
                  <a:gdLst>
                    <a:gd name="connsiteX0" fmla="*/ 125901 w 127706"/>
                    <a:gd name="connsiteY0" fmla="*/ 155765 h 167850"/>
                    <a:gd name="connsiteX1" fmla="*/ 119650 w 127706"/>
                    <a:gd name="connsiteY1" fmla="*/ 100612 h 167850"/>
                    <a:gd name="connsiteX2" fmla="*/ 107147 w 127706"/>
                    <a:gd name="connsiteY2" fmla="*/ 94499 h 167850"/>
                    <a:gd name="connsiteX3" fmla="*/ 94783 w 127706"/>
                    <a:gd name="connsiteY3" fmla="*/ 106725 h 167850"/>
                    <a:gd name="connsiteX4" fmla="*/ 101034 w 127706"/>
                    <a:gd name="connsiteY4" fmla="*/ 76023 h 167850"/>
                    <a:gd name="connsiteX5" fmla="*/ 107286 w 127706"/>
                    <a:gd name="connsiteY5" fmla="*/ 39208 h 167850"/>
                    <a:gd name="connsiteX6" fmla="*/ 82419 w 127706"/>
                    <a:gd name="connsiteY6" fmla="*/ 39208 h 167850"/>
                    <a:gd name="connsiteX7" fmla="*/ 57551 w 127706"/>
                    <a:gd name="connsiteY7" fmla="*/ 39208 h 167850"/>
                    <a:gd name="connsiteX8" fmla="*/ 45048 w 127706"/>
                    <a:gd name="connsiteY8" fmla="*/ 20870 h 167850"/>
                    <a:gd name="connsiteX9" fmla="*/ 32684 w 127706"/>
                    <a:gd name="connsiteY9" fmla="*/ 8645 h 167850"/>
                    <a:gd name="connsiteX10" fmla="*/ 7816 w 127706"/>
                    <a:gd name="connsiteY10" fmla="*/ 2532 h 167850"/>
                    <a:gd name="connsiteX11" fmla="*/ 20319 w 127706"/>
                    <a:gd name="connsiteY11" fmla="*/ 26982 h 167850"/>
                    <a:gd name="connsiteX12" fmla="*/ 1704 w 127706"/>
                    <a:gd name="connsiteY12" fmla="*/ 51433 h 167850"/>
                    <a:gd name="connsiteX13" fmla="*/ 14207 w 127706"/>
                    <a:gd name="connsiteY13" fmla="*/ 94360 h 167850"/>
                    <a:gd name="connsiteX14" fmla="*/ 26571 w 127706"/>
                    <a:gd name="connsiteY14" fmla="*/ 149513 h 167850"/>
                    <a:gd name="connsiteX15" fmla="*/ 32823 w 127706"/>
                    <a:gd name="connsiteY15" fmla="*/ 131175 h 167850"/>
                    <a:gd name="connsiteX16" fmla="*/ 39074 w 127706"/>
                    <a:gd name="connsiteY16" fmla="*/ 143400 h 167850"/>
                    <a:gd name="connsiteX17" fmla="*/ 39074 w 127706"/>
                    <a:gd name="connsiteY17" fmla="*/ 137288 h 167850"/>
                    <a:gd name="connsiteX18" fmla="*/ 45326 w 127706"/>
                    <a:gd name="connsiteY18" fmla="*/ 125062 h 167850"/>
                    <a:gd name="connsiteX19" fmla="*/ 76445 w 127706"/>
                    <a:gd name="connsiteY19" fmla="*/ 131175 h 167850"/>
                    <a:gd name="connsiteX20" fmla="*/ 64080 w 127706"/>
                    <a:gd name="connsiteY20" fmla="*/ 94360 h 167850"/>
                    <a:gd name="connsiteX21" fmla="*/ 76445 w 127706"/>
                    <a:gd name="connsiteY21" fmla="*/ 112698 h 167850"/>
                    <a:gd name="connsiteX22" fmla="*/ 101312 w 127706"/>
                    <a:gd name="connsiteY22" fmla="*/ 118811 h 167850"/>
                    <a:gd name="connsiteX23" fmla="*/ 107564 w 127706"/>
                    <a:gd name="connsiteY23" fmla="*/ 131036 h 167850"/>
                    <a:gd name="connsiteX24" fmla="*/ 113815 w 127706"/>
                    <a:gd name="connsiteY24" fmla="*/ 167851 h 167850"/>
                    <a:gd name="connsiteX25" fmla="*/ 125901 w 127706"/>
                    <a:gd name="connsiteY25" fmla="*/ 155765 h 167850"/>
                    <a:gd name="connsiteX26" fmla="*/ 125901 w 127706"/>
                    <a:gd name="connsiteY26" fmla="*/ 155765 h 16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7706" h="167850">
                      <a:moveTo>
                        <a:pt x="125901" y="155765"/>
                      </a:moveTo>
                      <a:cubicBezTo>
                        <a:pt x="132153" y="143539"/>
                        <a:pt x="119650" y="112837"/>
                        <a:pt x="119650" y="100612"/>
                      </a:cubicBezTo>
                      <a:cubicBezTo>
                        <a:pt x="119650" y="100612"/>
                        <a:pt x="113398" y="76161"/>
                        <a:pt x="107147" y="94499"/>
                      </a:cubicBezTo>
                      <a:cubicBezTo>
                        <a:pt x="107147" y="94499"/>
                        <a:pt x="100895" y="100612"/>
                        <a:pt x="94783" y="106725"/>
                      </a:cubicBezTo>
                      <a:cubicBezTo>
                        <a:pt x="94783" y="100612"/>
                        <a:pt x="82279" y="76023"/>
                        <a:pt x="101034" y="76023"/>
                      </a:cubicBezTo>
                      <a:cubicBezTo>
                        <a:pt x="113398" y="69910"/>
                        <a:pt x="138404" y="33095"/>
                        <a:pt x="107286" y="39208"/>
                      </a:cubicBezTo>
                      <a:cubicBezTo>
                        <a:pt x="101034" y="45320"/>
                        <a:pt x="88670" y="39208"/>
                        <a:pt x="82419" y="39208"/>
                      </a:cubicBezTo>
                      <a:cubicBezTo>
                        <a:pt x="76167" y="39208"/>
                        <a:pt x="63803" y="39208"/>
                        <a:pt x="57551" y="39208"/>
                      </a:cubicBezTo>
                      <a:cubicBezTo>
                        <a:pt x="45048" y="33095"/>
                        <a:pt x="45048" y="26982"/>
                        <a:pt x="45048" y="20870"/>
                      </a:cubicBezTo>
                      <a:cubicBezTo>
                        <a:pt x="45048" y="8645"/>
                        <a:pt x="38797" y="14757"/>
                        <a:pt x="32684" y="8645"/>
                      </a:cubicBezTo>
                      <a:cubicBezTo>
                        <a:pt x="20319" y="2532"/>
                        <a:pt x="14068" y="-3581"/>
                        <a:pt x="7816" y="2532"/>
                      </a:cubicBezTo>
                      <a:cubicBezTo>
                        <a:pt x="1565" y="14757"/>
                        <a:pt x="14068" y="20870"/>
                        <a:pt x="20319" y="26982"/>
                      </a:cubicBezTo>
                      <a:cubicBezTo>
                        <a:pt x="38936" y="45320"/>
                        <a:pt x="7816" y="33095"/>
                        <a:pt x="1704" y="51433"/>
                      </a:cubicBezTo>
                      <a:cubicBezTo>
                        <a:pt x="-4548" y="69771"/>
                        <a:pt x="7955" y="82135"/>
                        <a:pt x="14207" y="94360"/>
                      </a:cubicBezTo>
                      <a:cubicBezTo>
                        <a:pt x="26571" y="112698"/>
                        <a:pt x="32823" y="131175"/>
                        <a:pt x="26571" y="149513"/>
                      </a:cubicBezTo>
                      <a:cubicBezTo>
                        <a:pt x="32823" y="155626"/>
                        <a:pt x="32823" y="137288"/>
                        <a:pt x="32823" y="131175"/>
                      </a:cubicBezTo>
                      <a:cubicBezTo>
                        <a:pt x="32823" y="137288"/>
                        <a:pt x="32823" y="143400"/>
                        <a:pt x="39074" y="143400"/>
                      </a:cubicBezTo>
                      <a:lnTo>
                        <a:pt x="39074" y="137288"/>
                      </a:lnTo>
                      <a:cubicBezTo>
                        <a:pt x="45326" y="155626"/>
                        <a:pt x="45326" y="137288"/>
                        <a:pt x="45326" y="125062"/>
                      </a:cubicBezTo>
                      <a:cubicBezTo>
                        <a:pt x="45326" y="131175"/>
                        <a:pt x="70194" y="149513"/>
                        <a:pt x="76445" y="131175"/>
                      </a:cubicBezTo>
                      <a:cubicBezTo>
                        <a:pt x="76445" y="125062"/>
                        <a:pt x="70194" y="94360"/>
                        <a:pt x="64080" y="94360"/>
                      </a:cubicBezTo>
                      <a:cubicBezTo>
                        <a:pt x="70332" y="94360"/>
                        <a:pt x="76445" y="106586"/>
                        <a:pt x="76445" y="112698"/>
                      </a:cubicBezTo>
                      <a:cubicBezTo>
                        <a:pt x="82697" y="118811"/>
                        <a:pt x="101312" y="106586"/>
                        <a:pt x="101312" y="118811"/>
                      </a:cubicBezTo>
                      <a:cubicBezTo>
                        <a:pt x="101312" y="124924"/>
                        <a:pt x="107564" y="118811"/>
                        <a:pt x="107564" y="131036"/>
                      </a:cubicBezTo>
                      <a:cubicBezTo>
                        <a:pt x="107564" y="143262"/>
                        <a:pt x="107564" y="155487"/>
                        <a:pt x="113815" y="167851"/>
                      </a:cubicBezTo>
                      <a:cubicBezTo>
                        <a:pt x="119650" y="161877"/>
                        <a:pt x="119650" y="161877"/>
                        <a:pt x="125901" y="155765"/>
                      </a:cubicBezTo>
                      <a:cubicBezTo>
                        <a:pt x="132153" y="149652"/>
                        <a:pt x="119650" y="161877"/>
                        <a:pt x="125901" y="15576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8" name="Freihandform: Form 347">
                  <a:extLst>
                    <a:ext uri="{FF2B5EF4-FFF2-40B4-BE49-F238E27FC236}">
                      <a16:creationId xmlns:a16="http://schemas.microsoft.com/office/drawing/2014/main" id="{26A62630-AF4F-44D0-855F-7B8EB1B7FFF8}"/>
                    </a:ext>
                  </a:extLst>
                </p:cNvPr>
                <p:cNvSpPr/>
                <p:nvPr/>
              </p:nvSpPr>
              <p:spPr>
                <a:xfrm>
                  <a:off x="9064708" y="3890898"/>
                  <a:ext cx="252839" cy="470724"/>
                </a:xfrm>
                <a:custGeom>
                  <a:avLst/>
                  <a:gdLst>
                    <a:gd name="connsiteX0" fmla="*/ 245061 w 252839"/>
                    <a:gd name="connsiteY0" fmla="*/ 183153 h 470724"/>
                    <a:gd name="connsiteX1" fmla="*/ 251174 w 252839"/>
                    <a:gd name="connsiteY1" fmla="*/ 164537 h 470724"/>
                    <a:gd name="connsiteX2" fmla="*/ 238949 w 252839"/>
                    <a:gd name="connsiteY2" fmla="*/ 145921 h 470724"/>
                    <a:gd name="connsiteX3" fmla="*/ 220610 w 252839"/>
                    <a:gd name="connsiteY3" fmla="*/ 121193 h 470724"/>
                    <a:gd name="connsiteX4" fmla="*/ 214498 w 252839"/>
                    <a:gd name="connsiteY4" fmla="*/ 90213 h 470724"/>
                    <a:gd name="connsiteX5" fmla="*/ 183796 w 252839"/>
                    <a:gd name="connsiteY5" fmla="*/ 71597 h 470724"/>
                    <a:gd name="connsiteX6" fmla="*/ 153094 w 252839"/>
                    <a:gd name="connsiteY6" fmla="*/ 83961 h 470724"/>
                    <a:gd name="connsiteX7" fmla="*/ 128643 w 252839"/>
                    <a:gd name="connsiteY7" fmla="*/ 83961 h 470724"/>
                    <a:gd name="connsiteX8" fmla="*/ 104193 w 252839"/>
                    <a:gd name="connsiteY8" fmla="*/ 96326 h 470724"/>
                    <a:gd name="connsiteX9" fmla="*/ 116418 w 252839"/>
                    <a:gd name="connsiteY9" fmla="*/ 71597 h 470724"/>
                    <a:gd name="connsiteX10" fmla="*/ 116418 w 252839"/>
                    <a:gd name="connsiteY10" fmla="*/ 52981 h 470724"/>
                    <a:gd name="connsiteX11" fmla="*/ 110305 w 252839"/>
                    <a:gd name="connsiteY11" fmla="*/ 28253 h 470724"/>
                    <a:gd name="connsiteX12" fmla="*/ 91968 w 252839"/>
                    <a:gd name="connsiteY12" fmla="*/ 22001 h 470724"/>
                    <a:gd name="connsiteX13" fmla="*/ 55153 w 252839"/>
                    <a:gd name="connsiteY13" fmla="*/ 3386 h 470724"/>
                    <a:gd name="connsiteX14" fmla="*/ 24451 w 252839"/>
                    <a:gd name="connsiteY14" fmla="*/ 22001 h 470724"/>
                    <a:gd name="connsiteX15" fmla="*/ 6113 w 252839"/>
                    <a:gd name="connsiteY15" fmla="*/ 46730 h 470724"/>
                    <a:gd name="connsiteX16" fmla="*/ 0 w 252839"/>
                    <a:gd name="connsiteY16" fmla="*/ 77710 h 470724"/>
                    <a:gd name="connsiteX17" fmla="*/ 18338 w 252839"/>
                    <a:gd name="connsiteY17" fmla="*/ 96326 h 470724"/>
                    <a:gd name="connsiteX18" fmla="*/ 36676 w 252839"/>
                    <a:gd name="connsiteY18" fmla="*/ 121054 h 470724"/>
                    <a:gd name="connsiteX19" fmla="*/ 30563 w 252839"/>
                    <a:gd name="connsiteY19" fmla="*/ 145782 h 470724"/>
                    <a:gd name="connsiteX20" fmla="*/ 30563 w 252839"/>
                    <a:gd name="connsiteY20" fmla="*/ 164398 h 470724"/>
                    <a:gd name="connsiteX21" fmla="*/ 24451 w 252839"/>
                    <a:gd name="connsiteY21" fmla="*/ 170650 h 470724"/>
                    <a:gd name="connsiteX22" fmla="*/ 36676 w 252839"/>
                    <a:gd name="connsiteY22" fmla="*/ 201630 h 470724"/>
                    <a:gd name="connsiteX23" fmla="*/ 55014 w 252839"/>
                    <a:gd name="connsiteY23" fmla="*/ 226358 h 470724"/>
                    <a:gd name="connsiteX24" fmla="*/ 61126 w 252839"/>
                    <a:gd name="connsiteY24" fmla="*/ 257338 h 470724"/>
                    <a:gd name="connsiteX25" fmla="*/ 36676 w 252839"/>
                    <a:gd name="connsiteY25" fmla="*/ 319298 h 470724"/>
                    <a:gd name="connsiteX26" fmla="*/ 30563 w 252839"/>
                    <a:gd name="connsiteY26" fmla="*/ 337913 h 470724"/>
                    <a:gd name="connsiteX27" fmla="*/ 24451 w 252839"/>
                    <a:gd name="connsiteY27" fmla="*/ 356529 h 470724"/>
                    <a:gd name="connsiteX28" fmla="*/ 30563 w 252839"/>
                    <a:gd name="connsiteY28" fmla="*/ 381258 h 470724"/>
                    <a:gd name="connsiteX29" fmla="*/ 67378 w 252839"/>
                    <a:gd name="connsiteY29" fmla="*/ 424602 h 470724"/>
                    <a:gd name="connsiteX30" fmla="*/ 79603 w 252839"/>
                    <a:gd name="connsiteY30" fmla="*/ 443218 h 470724"/>
                    <a:gd name="connsiteX31" fmla="*/ 97941 w 252839"/>
                    <a:gd name="connsiteY31" fmla="*/ 443218 h 470724"/>
                    <a:gd name="connsiteX32" fmla="*/ 110166 w 252839"/>
                    <a:gd name="connsiteY32" fmla="*/ 455582 h 470724"/>
                    <a:gd name="connsiteX33" fmla="*/ 116279 w 252839"/>
                    <a:gd name="connsiteY33" fmla="*/ 467946 h 470724"/>
                    <a:gd name="connsiteX34" fmla="*/ 128504 w 252839"/>
                    <a:gd name="connsiteY34" fmla="*/ 467946 h 470724"/>
                    <a:gd name="connsiteX35" fmla="*/ 140729 w 252839"/>
                    <a:gd name="connsiteY35" fmla="*/ 455582 h 470724"/>
                    <a:gd name="connsiteX36" fmla="*/ 97802 w 252839"/>
                    <a:gd name="connsiteY36" fmla="*/ 424602 h 470724"/>
                    <a:gd name="connsiteX37" fmla="*/ 79465 w 252839"/>
                    <a:gd name="connsiteY37" fmla="*/ 412238 h 470724"/>
                    <a:gd name="connsiteX38" fmla="*/ 91690 w 252839"/>
                    <a:gd name="connsiteY38" fmla="*/ 412238 h 470724"/>
                    <a:gd name="connsiteX39" fmla="*/ 73351 w 252839"/>
                    <a:gd name="connsiteY39" fmla="*/ 368893 h 470724"/>
                    <a:gd name="connsiteX40" fmla="*/ 67239 w 252839"/>
                    <a:gd name="connsiteY40" fmla="*/ 356529 h 470724"/>
                    <a:gd name="connsiteX41" fmla="*/ 55014 w 252839"/>
                    <a:gd name="connsiteY41" fmla="*/ 344165 h 470724"/>
                    <a:gd name="connsiteX42" fmla="*/ 67239 w 252839"/>
                    <a:gd name="connsiteY42" fmla="*/ 294708 h 470724"/>
                    <a:gd name="connsiteX43" fmla="*/ 79465 w 252839"/>
                    <a:gd name="connsiteY43" fmla="*/ 263728 h 470724"/>
                    <a:gd name="connsiteX44" fmla="*/ 85577 w 252839"/>
                    <a:gd name="connsiteY44" fmla="*/ 220384 h 470724"/>
                    <a:gd name="connsiteX45" fmla="*/ 103915 w 252839"/>
                    <a:gd name="connsiteY45" fmla="*/ 245113 h 470724"/>
                    <a:gd name="connsiteX46" fmla="*/ 134617 w 252839"/>
                    <a:gd name="connsiteY46" fmla="*/ 251364 h 470724"/>
                    <a:gd name="connsiteX47" fmla="*/ 165319 w 252839"/>
                    <a:gd name="connsiteY47" fmla="*/ 269980 h 470724"/>
                    <a:gd name="connsiteX48" fmla="*/ 146981 w 252839"/>
                    <a:gd name="connsiteY48" fmla="*/ 232887 h 470724"/>
                    <a:gd name="connsiteX49" fmla="*/ 171432 w 252839"/>
                    <a:gd name="connsiteY49" fmla="*/ 201907 h 470724"/>
                    <a:gd name="connsiteX50" fmla="*/ 208246 w 252839"/>
                    <a:gd name="connsiteY50" fmla="*/ 195656 h 470724"/>
                    <a:gd name="connsiteX51" fmla="*/ 232697 w 252839"/>
                    <a:gd name="connsiteY51" fmla="*/ 201907 h 470724"/>
                    <a:gd name="connsiteX52" fmla="*/ 245061 w 252839"/>
                    <a:gd name="connsiteY52" fmla="*/ 183153 h 470724"/>
                    <a:gd name="connsiteX53" fmla="*/ 245061 w 252839"/>
                    <a:gd name="connsiteY53" fmla="*/ 183153 h 47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2839" h="470724">
                      <a:moveTo>
                        <a:pt x="245061" y="183153"/>
                      </a:moveTo>
                      <a:cubicBezTo>
                        <a:pt x="251174" y="183153"/>
                        <a:pt x="245061" y="170789"/>
                        <a:pt x="251174" y="164537"/>
                      </a:cubicBezTo>
                      <a:cubicBezTo>
                        <a:pt x="257287" y="158286"/>
                        <a:pt x="245061" y="145921"/>
                        <a:pt x="238949" y="145921"/>
                      </a:cubicBezTo>
                      <a:cubicBezTo>
                        <a:pt x="232836" y="139670"/>
                        <a:pt x="220610" y="133557"/>
                        <a:pt x="220610" y="121193"/>
                      </a:cubicBezTo>
                      <a:cubicBezTo>
                        <a:pt x="220610" y="108829"/>
                        <a:pt x="226724" y="102577"/>
                        <a:pt x="214498" y="90213"/>
                      </a:cubicBezTo>
                      <a:cubicBezTo>
                        <a:pt x="208385" y="83961"/>
                        <a:pt x="196160" y="71597"/>
                        <a:pt x="183796" y="71597"/>
                      </a:cubicBezTo>
                      <a:cubicBezTo>
                        <a:pt x="171571" y="71597"/>
                        <a:pt x="165458" y="83961"/>
                        <a:pt x="153094" y="83961"/>
                      </a:cubicBezTo>
                      <a:cubicBezTo>
                        <a:pt x="140868" y="77710"/>
                        <a:pt x="140868" y="77710"/>
                        <a:pt x="128643" y="83961"/>
                      </a:cubicBezTo>
                      <a:cubicBezTo>
                        <a:pt x="128643" y="83961"/>
                        <a:pt x="110305" y="102577"/>
                        <a:pt x="104193" y="96326"/>
                      </a:cubicBezTo>
                      <a:cubicBezTo>
                        <a:pt x="104193" y="90074"/>
                        <a:pt x="122531" y="77710"/>
                        <a:pt x="116418" y="71597"/>
                      </a:cubicBezTo>
                      <a:cubicBezTo>
                        <a:pt x="104193" y="65346"/>
                        <a:pt x="116418" y="59233"/>
                        <a:pt x="116418" y="52981"/>
                      </a:cubicBezTo>
                      <a:cubicBezTo>
                        <a:pt x="116418" y="46730"/>
                        <a:pt x="116418" y="28253"/>
                        <a:pt x="110305" y="28253"/>
                      </a:cubicBezTo>
                      <a:cubicBezTo>
                        <a:pt x="98080" y="34505"/>
                        <a:pt x="85854" y="34505"/>
                        <a:pt x="91968" y="22001"/>
                      </a:cubicBezTo>
                      <a:cubicBezTo>
                        <a:pt x="98080" y="-2727"/>
                        <a:pt x="67517" y="-2727"/>
                        <a:pt x="55153" y="3386"/>
                      </a:cubicBezTo>
                      <a:cubicBezTo>
                        <a:pt x="49040" y="15750"/>
                        <a:pt x="36815" y="22001"/>
                        <a:pt x="24451" y="22001"/>
                      </a:cubicBezTo>
                      <a:cubicBezTo>
                        <a:pt x="12225" y="22001"/>
                        <a:pt x="6113" y="40617"/>
                        <a:pt x="6113" y="46730"/>
                      </a:cubicBezTo>
                      <a:cubicBezTo>
                        <a:pt x="6113" y="59094"/>
                        <a:pt x="0" y="65346"/>
                        <a:pt x="0" y="77710"/>
                      </a:cubicBezTo>
                      <a:cubicBezTo>
                        <a:pt x="0" y="90074"/>
                        <a:pt x="6113" y="90074"/>
                        <a:pt x="18338" y="96326"/>
                      </a:cubicBezTo>
                      <a:cubicBezTo>
                        <a:pt x="24451" y="108690"/>
                        <a:pt x="30563" y="114941"/>
                        <a:pt x="36676" y="121054"/>
                      </a:cubicBezTo>
                      <a:cubicBezTo>
                        <a:pt x="42788" y="133418"/>
                        <a:pt x="30563" y="139670"/>
                        <a:pt x="30563" y="145782"/>
                      </a:cubicBezTo>
                      <a:cubicBezTo>
                        <a:pt x="30563" y="152034"/>
                        <a:pt x="36676" y="158147"/>
                        <a:pt x="30563" y="164398"/>
                      </a:cubicBezTo>
                      <a:cubicBezTo>
                        <a:pt x="30563" y="164398"/>
                        <a:pt x="24451" y="164398"/>
                        <a:pt x="24451" y="170650"/>
                      </a:cubicBezTo>
                      <a:cubicBezTo>
                        <a:pt x="18338" y="176901"/>
                        <a:pt x="30563" y="195378"/>
                        <a:pt x="36676" y="201630"/>
                      </a:cubicBezTo>
                      <a:cubicBezTo>
                        <a:pt x="42788" y="207881"/>
                        <a:pt x="48901" y="213994"/>
                        <a:pt x="55014" y="226358"/>
                      </a:cubicBezTo>
                      <a:cubicBezTo>
                        <a:pt x="55014" y="238722"/>
                        <a:pt x="55014" y="244974"/>
                        <a:pt x="61126" y="257338"/>
                      </a:cubicBezTo>
                      <a:cubicBezTo>
                        <a:pt x="67239" y="282066"/>
                        <a:pt x="48901" y="300682"/>
                        <a:pt x="36676" y="319298"/>
                      </a:cubicBezTo>
                      <a:cubicBezTo>
                        <a:pt x="36676" y="325549"/>
                        <a:pt x="30563" y="331662"/>
                        <a:pt x="30563" y="337913"/>
                      </a:cubicBezTo>
                      <a:cubicBezTo>
                        <a:pt x="24451" y="344165"/>
                        <a:pt x="24451" y="350278"/>
                        <a:pt x="24451" y="356529"/>
                      </a:cubicBezTo>
                      <a:cubicBezTo>
                        <a:pt x="24451" y="362781"/>
                        <a:pt x="18338" y="381258"/>
                        <a:pt x="30563" y="381258"/>
                      </a:cubicBezTo>
                      <a:cubicBezTo>
                        <a:pt x="48901" y="393622"/>
                        <a:pt x="55014" y="412238"/>
                        <a:pt x="67378" y="424602"/>
                      </a:cubicBezTo>
                      <a:cubicBezTo>
                        <a:pt x="73490" y="430854"/>
                        <a:pt x="73490" y="436966"/>
                        <a:pt x="79603" y="443218"/>
                      </a:cubicBezTo>
                      <a:cubicBezTo>
                        <a:pt x="85716" y="443218"/>
                        <a:pt x="91829" y="443218"/>
                        <a:pt x="97941" y="443218"/>
                      </a:cubicBezTo>
                      <a:cubicBezTo>
                        <a:pt x="104054" y="449469"/>
                        <a:pt x="110166" y="449469"/>
                        <a:pt x="110166" y="455582"/>
                      </a:cubicBezTo>
                      <a:cubicBezTo>
                        <a:pt x="110166" y="461834"/>
                        <a:pt x="110166" y="467946"/>
                        <a:pt x="116279" y="467946"/>
                      </a:cubicBezTo>
                      <a:cubicBezTo>
                        <a:pt x="116279" y="474198"/>
                        <a:pt x="122392" y="467946"/>
                        <a:pt x="128504" y="467946"/>
                      </a:cubicBezTo>
                      <a:cubicBezTo>
                        <a:pt x="134617" y="467946"/>
                        <a:pt x="140729" y="455582"/>
                        <a:pt x="140729" y="455582"/>
                      </a:cubicBezTo>
                      <a:cubicBezTo>
                        <a:pt x="128504" y="436966"/>
                        <a:pt x="122392" y="430854"/>
                        <a:pt x="97802" y="424602"/>
                      </a:cubicBezTo>
                      <a:cubicBezTo>
                        <a:pt x="91690" y="424602"/>
                        <a:pt x="85577" y="418350"/>
                        <a:pt x="79465" y="412238"/>
                      </a:cubicBezTo>
                      <a:cubicBezTo>
                        <a:pt x="79465" y="399873"/>
                        <a:pt x="85577" y="412238"/>
                        <a:pt x="91690" y="412238"/>
                      </a:cubicBezTo>
                      <a:cubicBezTo>
                        <a:pt x="85577" y="412238"/>
                        <a:pt x="73351" y="375145"/>
                        <a:pt x="73351" y="368893"/>
                      </a:cubicBezTo>
                      <a:cubicBezTo>
                        <a:pt x="73351" y="362642"/>
                        <a:pt x="73351" y="362642"/>
                        <a:pt x="67239" y="356529"/>
                      </a:cubicBezTo>
                      <a:cubicBezTo>
                        <a:pt x="61126" y="356529"/>
                        <a:pt x="55014" y="350278"/>
                        <a:pt x="55014" y="344165"/>
                      </a:cubicBezTo>
                      <a:cubicBezTo>
                        <a:pt x="48901" y="325549"/>
                        <a:pt x="61126" y="307072"/>
                        <a:pt x="67239" y="294708"/>
                      </a:cubicBezTo>
                      <a:cubicBezTo>
                        <a:pt x="67239" y="282344"/>
                        <a:pt x="79465" y="269980"/>
                        <a:pt x="79465" y="263728"/>
                      </a:cubicBezTo>
                      <a:cubicBezTo>
                        <a:pt x="79465" y="251364"/>
                        <a:pt x="73351" y="226636"/>
                        <a:pt x="85577" y="220384"/>
                      </a:cubicBezTo>
                      <a:cubicBezTo>
                        <a:pt x="103915" y="220384"/>
                        <a:pt x="103915" y="226636"/>
                        <a:pt x="103915" y="245113"/>
                      </a:cubicBezTo>
                      <a:cubicBezTo>
                        <a:pt x="97802" y="257477"/>
                        <a:pt x="122253" y="251364"/>
                        <a:pt x="134617" y="251364"/>
                      </a:cubicBezTo>
                      <a:cubicBezTo>
                        <a:pt x="140729" y="251364"/>
                        <a:pt x="159067" y="263728"/>
                        <a:pt x="165319" y="269980"/>
                      </a:cubicBezTo>
                      <a:cubicBezTo>
                        <a:pt x="165319" y="257616"/>
                        <a:pt x="153094" y="251364"/>
                        <a:pt x="146981" y="232887"/>
                      </a:cubicBezTo>
                      <a:cubicBezTo>
                        <a:pt x="146981" y="220523"/>
                        <a:pt x="159207" y="214271"/>
                        <a:pt x="171432" y="201907"/>
                      </a:cubicBezTo>
                      <a:cubicBezTo>
                        <a:pt x="177544" y="195656"/>
                        <a:pt x="195882" y="195656"/>
                        <a:pt x="208246" y="195656"/>
                      </a:cubicBezTo>
                      <a:cubicBezTo>
                        <a:pt x="220472" y="195656"/>
                        <a:pt x="226584" y="195656"/>
                        <a:pt x="232697" y="201907"/>
                      </a:cubicBezTo>
                      <a:cubicBezTo>
                        <a:pt x="245061" y="201768"/>
                        <a:pt x="238949" y="195517"/>
                        <a:pt x="245061" y="183153"/>
                      </a:cubicBezTo>
                      <a:cubicBezTo>
                        <a:pt x="251174" y="183153"/>
                        <a:pt x="245061" y="189404"/>
                        <a:pt x="245061" y="18315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49" name="Freihandform: Form 348">
                  <a:extLst>
                    <a:ext uri="{FF2B5EF4-FFF2-40B4-BE49-F238E27FC236}">
                      <a16:creationId xmlns:a16="http://schemas.microsoft.com/office/drawing/2014/main" id="{1728D4B1-0A21-42DA-8062-93CEC3A67E55}"/>
                    </a:ext>
                  </a:extLst>
                </p:cNvPr>
                <p:cNvSpPr/>
                <p:nvPr/>
              </p:nvSpPr>
              <p:spPr>
                <a:xfrm>
                  <a:off x="9207660" y="3801857"/>
                  <a:ext cx="233807" cy="472515"/>
                </a:xfrm>
                <a:custGeom>
                  <a:avLst/>
                  <a:gdLst>
                    <a:gd name="connsiteX0" fmla="*/ 232002 w 233807"/>
                    <a:gd name="connsiteY0" fmla="*/ 334014 h 472515"/>
                    <a:gd name="connsiteX1" fmla="*/ 225751 w 233807"/>
                    <a:gd name="connsiteY1" fmla="*/ 296644 h 472515"/>
                    <a:gd name="connsiteX2" fmla="*/ 200606 w 233807"/>
                    <a:gd name="connsiteY2" fmla="*/ 246770 h 472515"/>
                    <a:gd name="connsiteX3" fmla="*/ 175461 w 233807"/>
                    <a:gd name="connsiteY3" fmla="*/ 221764 h 472515"/>
                    <a:gd name="connsiteX4" fmla="*/ 137812 w 233807"/>
                    <a:gd name="connsiteY4" fmla="*/ 184393 h 472515"/>
                    <a:gd name="connsiteX5" fmla="*/ 112667 w 233807"/>
                    <a:gd name="connsiteY5" fmla="*/ 153274 h 472515"/>
                    <a:gd name="connsiteX6" fmla="*/ 118919 w 233807"/>
                    <a:gd name="connsiteY6" fmla="*/ 115904 h 472515"/>
                    <a:gd name="connsiteX7" fmla="*/ 144064 w 233807"/>
                    <a:gd name="connsiteY7" fmla="*/ 84785 h 472515"/>
                    <a:gd name="connsiteX8" fmla="*/ 181712 w 233807"/>
                    <a:gd name="connsiteY8" fmla="*/ 59779 h 472515"/>
                    <a:gd name="connsiteX9" fmla="*/ 144064 w 233807"/>
                    <a:gd name="connsiteY9" fmla="*/ 34912 h 472515"/>
                    <a:gd name="connsiteX10" fmla="*/ 150316 w 233807"/>
                    <a:gd name="connsiteY10" fmla="*/ 16157 h 472515"/>
                    <a:gd name="connsiteX11" fmla="*/ 118919 w 233807"/>
                    <a:gd name="connsiteY11" fmla="*/ 9905 h 472515"/>
                    <a:gd name="connsiteX12" fmla="*/ 87522 w 233807"/>
                    <a:gd name="connsiteY12" fmla="*/ 9905 h 472515"/>
                    <a:gd name="connsiteX13" fmla="*/ 68767 w 233807"/>
                    <a:gd name="connsiteY13" fmla="*/ 22408 h 472515"/>
                    <a:gd name="connsiteX14" fmla="*/ 50012 w 233807"/>
                    <a:gd name="connsiteY14" fmla="*/ 22408 h 472515"/>
                    <a:gd name="connsiteX15" fmla="*/ 31258 w 233807"/>
                    <a:gd name="connsiteY15" fmla="*/ 22408 h 472515"/>
                    <a:gd name="connsiteX16" fmla="*/ 18755 w 233807"/>
                    <a:gd name="connsiteY16" fmla="*/ 22408 h 472515"/>
                    <a:gd name="connsiteX17" fmla="*/ 0 w 233807"/>
                    <a:gd name="connsiteY17" fmla="*/ 28660 h 472515"/>
                    <a:gd name="connsiteX18" fmla="*/ 25145 w 233807"/>
                    <a:gd name="connsiteY18" fmla="*/ 47415 h 472515"/>
                    <a:gd name="connsiteX19" fmla="*/ 31397 w 233807"/>
                    <a:gd name="connsiteY19" fmla="*/ 72282 h 472515"/>
                    <a:gd name="connsiteX20" fmla="*/ 56542 w 233807"/>
                    <a:gd name="connsiteY20" fmla="*/ 78534 h 472515"/>
                    <a:gd name="connsiteX21" fmla="*/ 75297 w 233807"/>
                    <a:gd name="connsiteY21" fmla="*/ 97288 h 472515"/>
                    <a:gd name="connsiteX22" fmla="*/ 81548 w 233807"/>
                    <a:gd name="connsiteY22" fmla="*/ 122295 h 472515"/>
                    <a:gd name="connsiteX23" fmla="*/ 62794 w 233807"/>
                    <a:gd name="connsiteY23" fmla="*/ 128546 h 472515"/>
                    <a:gd name="connsiteX24" fmla="*/ 87939 w 233807"/>
                    <a:gd name="connsiteY24" fmla="*/ 147301 h 472515"/>
                    <a:gd name="connsiteX25" fmla="*/ 119335 w 233807"/>
                    <a:gd name="connsiteY25" fmla="*/ 184671 h 472515"/>
                    <a:gd name="connsiteX26" fmla="*/ 144481 w 233807"/>
                    <a:gd name="connsiteY26" fmla="*/ 209677 h 472515"/>
                    <a:gd name="connsiteX27" fmla="*/ 163235 w 233807"/>
                    <a:gd name="connsiteY27" fmla="*/ 234545 h 472515"/>
                    <a:gd name="connsiteX28" fmla="*/ 175738 w 233807"/>
                    <a:gd name="connsiteY28" fmla="*/ 259412 h 472515"/>
                    <a:gd name="connsiteX29" fmla="*/ 169487 w 233807"/>
                    <a:gd name="connsiteY29" fmla="*/ 290531 h 472515"/>
                    <a:gd name="connsiteX30" fmla="*/ 175738 w 233807"/>
                    <a:gd name="connsiteY30" fmla="*/ 315398 h 472515"/>
                    <a:gd name="connsiteX31" fmla="*/ 175738 w 233807"/>
                    <a:gd name="connsiteY31" fmla="*/ 346517 h 472515"/>
                    <a:gd name="connsiteX32" fmla="*/ 144341 w 233807"/>
                    <a:gd name="connsiteY32" fmla="*/ 365272 h 472515"/>
                    <a:gd name="connsiteX33" fmla="*/ 125587 w 233807"/>
                    <a:gd name="connsiteY33" fmla="*/ 377775 h 472515"/>
                    <a:gd name="connsiteX34" fmla="*/ 125587 w 233807"/>
                    <a:gd name="connsiteY34" fmla="*/ 396530 h 472515"/>
                    <a:gd name="connsiteX35" fmla="*/ 113084 w 233807"/>
                    <a:gd name="connsiteY35" fmla="*/ 402781 h 472515"/>
                    <a:gd name="connsiteX36" fmla="*/ 87939 w 233807"/>
                    <a:gd name="connsiteY36" fmla="*/ 409033 h 472515"/>
                    <a:gd name="connsiteX37" fmla="*/ 94191 w 233807"/>
                    <a:gd name="connsiteY37" fmla="*/ 427787 h 472515"/>
                    <a:gd name="connsiteX38" fmla="*/ 87939 w 233807"/>
                    <a:gd name="connsiteY38" fmla="*/ 452794 h 472515"/>
                    <a:gd name="connsiteX39" fmla="*/ 87939 w 233807"/>
                    <a:gd name="connsiteY39" fmla="*/ 471548 h 472515"/>
                    <a:gd name="connsiteX40" fmla="*/ 113084 w 233807"/>
                    <a:gd name="connsiteY40" fmla="*/ 459045 h 472515"/>
                    <a:gd name="connsiteX41" fmla="*/ 119335 w 233807"/>
                    <a:gd name="connsiteY41" fmla="*/ 434039 h 472515"/>
                    <a:gd name="connsiteX42" fmla="*/ 138090 w 233807"/>
                    <a:gd name="connsiteY42" fmla="*/ 440291 h 472515"/>
                    <a:gd name="connsiteX43" fmla="*/ 131838 w 233807"/>
                    <a:gd name="connsiteY43" fmla="*/ 427787 h 472515"/>
                    <a:gd name="connsiteX44" fmla="*/ 144341 w 233807"/>
                    <a:gd name="connsiteY44" fmla="*/ 434039 h 472515"/>
                    <a:gd name="connsiteX45" fmla="*/ 150593 w 233807"/>
                    <a:gd name="connsiteY45" fmla="*/ 409172 h 472515"/>
                    <a:gd name="connsiteX46" fmla="*/ 163096 w 233807"/>
                    <a:gd name="connsiteY46" fmla="*/ 415423 h 472515"/>
                    <a:gd name="connsiteX47" fmla="*/ 188241 w 233807"/>
                    <a:gd name="connsiteY47" fmla="*/ 402920 h 472515"/>
                    <a:gd name="connsiteX48" fmla="*/ 225890 w 233807"/>
                    <a:gd name="connsiteY48" fmla="*/ 371801 h 472515"/>
                    <a:gd name="connsiteX49" fmla="*/ 225890 w 233807"/>
                    <a:gd name="connsiteY49" fmla="*/ 346795 h 472515"/>
                    <a:gd name="connsiteX50" fmla="*/ 232002 w 233807"/>
                    <a:gd name="connsiteY50" fmla="*/ 334014 h 472515"/>
                    <a:gd name="connsiteX51" fmla="*/ 232002 w 233807"/>
                    <a:gd name="connsiteY51" fmla="*/ 334014 h 47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33807" h="472515">
                      <a:moveTo>
                        <a:pt x="232002" y="334014"/>
                      </a:moveTo>
                      <a:cubicBezTo>
                        <a:pt x="225751" y="327762"/>
                        <a:pt x="225751" y="315259"/>
                        <a:pt x="225751" y="296644"/>
                      </a:cubicBezTo>
                      <a:cubicBezTo>
                        <a:pt x="219499" y="277889"/>
                        <a:pt x="213248" y="265525"/>
                        <a:pt x="200606" y="246770"/>
                      </a:cubicBezTo>
                      <a:cubicBezTo>
                        <a:pt x="194354" y="234267"/>
                        <a:pt x="188102" y="228015"/>
                        <a:pt x="175461" y="221764"/>
                      </a:cubicBezTo>
                      <a:cubicBezTo>
                        <a:pt x="162958" y="209261"/>
                        <a:pt x="144064" y="203009"/>
                        <a:pt x="137812" y="184393"/>
                      </a:cubicBezTo>
                      <a:cubicBezTo>
                        <a:pt x="137812" y="171890"/>
                        <a:pt x="125309" y="165639"/>
                        <a:pt x="112667" y="153274"/>
                      </a:cubicBezTo>
                      <a:cubicBezTo>
                        <a:pt x="106416" y="147023"/>
                        <a:pt x="112667" y="122156"/>
                        <a:pt x="118919" y="115904"/>
                      </a:cubicBezTo>
                      <a:cubicBezTo>
                        <a:pt x="131422" y="109653"/>
                        <a:pt x="144064" y="97149"/>
                        <a:pt x="144064" y="84785"/>
                      </a:cubicBezTo>
                      <a:cubicBezTo>
                        <a:pt x="150316" y="78534"/>
                        <a:pt x="175461" y="66031"/>
                        <a:pt x="181712" y="59779"/>
                      </a:cubicBezTo>
                      <a:cubicBezTo>
                        <a:pt x="169209" y="53528"/>
                        <a:pt x="156567" y="47276"/>
                        <a:pt x="144064" y="34912"/>
                      </a:cubicBezTo>
                      <a:cubicBezTo>
                        <a:pt x="131561" y="28660"/>
                        <a:pt x="150316" y="28660"/>
                        <a:pt x="150316" y="16157"/>
                      </a:cubicBezTo>
                      <a:lnTo>
                        <a:pt x="118919" y="9905"/>
                      </a:lnTo>
                      <a:cubicBezTo>
                        <a:pt x="106416" y="3654"/>
                        <a:pt x="93773" y="-8849"/>
                        <a:pt x="87522" y="9905"/>
                      </a:cubicBezTo>
                      <a:cubicBezTo>
                        <a:pt x="81270" y="16157"/>
                        <a:pt x="75019" y="16157"/>
                        <a:pt x="68767" y="22408"/>
                      </a:cubicBezTo>
                      <a:cubicBezTo>
                        <a:pt x="56264" y="41163"/>
                        <a:pt x="56264" y="16157"/>
                        <a:pt x="50012" y="22408"/>
                      </a:cubicBezTo>
                      <a:cubicBezTo>
                        <a:pt x="37509" y="28660"/>
                        <a:pt x="37509" y="22408"/>
                        <a:pt x="31258" y="22408"/>
                      </a:cubicBezTo>
                      <a:cubicBezTo>
                        <a:pt x="25006" y="28660"/>
                        <a:pt x="18755" y="28660"/>
                        <a:pt x="18755" y="22408"/>
                      </a:cubicBezTo>
                      <a:cubicBezTo>
                        <a:pt x="18755" y="16157"/>
                        <a:pt x="6252" y="28660"/>
                        <a:pt x="0" y="28660"/>
                      </a:cubicBezTo>
                      <a:cubicBezTo>
                        <a:pt x="0" y="34912"/>
                        <a:pt x="18755" y="47415"/>
                        <a:pt x="25145" y="47415"/>
                      </a:cubicBezTo>
                      <a:cubicBezTo>
                        <a:pt x="31397" y="59918"/>
                        <a:pt x="25145" y="66169"/>
                        <a:pt x="31397" y="72282"/>
                      </a:cubicBezTo>
                      <a:cubicBezTo>
                        <a:pt x="31397" y="84785"/>
                        <a:pt x="50152" y="84785"/>
                        <a:pt x="56542" y="78534"/>
                      </a:cubicBezTo>
                      <a:cubicBezTo>
                        <a:pt x="69045" y="72282"/>
                        <a:pt x="75297" y="91037"/>
                        <a:pt x="75297" y="97288"/>
                      </a:cubicBezTo>
                      <a:cubicBezTo>
                        <a:pt x="81548" y="109792"/>
                        <a:pt x="94052" y="109792"/>
                        <a:pt x="81548" y="122295"/>
                      </a:cubicBezTo>
                      <a:cubicBezTo>
                        <a:pt x="69045" y="128546"/>
                        <a:pt x="62794" y="109792"/>
                        <a:pt x="62794" y="128546"/>
                      </a:cubicBezTo>
                      <a:cubicBezTo>
                        <a:pt x="62794" y="141049"/>
                        <a:pt x="81548" y="141049"/>
                        <a:pt x="87939" y="147301"/>
                      </a:cubicBezTo>
                      <a:cubicBezTo>
                        <a:pt x="100442" y="159804"/>
                        <a:pt x="106694" y="172307"/>
                        <a:pt x="119335" y="184671"/>
                      </a:cubicBezTo>
                      <a:cubicBezTo>
                        <a:pt x="125587" y="197174"/>
                        <a:pt x="138090" y="197174"/>
                        <a:pt x="144481" y="209677"/>
                      </a:cubicBezTo>
                      <a:cubicBezTo>
                        <a:pt x="150732" y="222181"/>
                        <a:pt x="150732" y="228432"/>
                        <a:pt x="163235" y="234545"/>
                      </a:cubicBezTo>
                      <a:cubicBezTo>
                        <a:pt x="169487" y="240796"/>
                        <a:pt x="163235" y="253299"/>
                        <a:pt x="175738" y="259412"/>
                      </a:cubicBezTo>
                      <a:cubicBezTo>
                        <a:pt x="181990" y="265664"/>
                        <a:pt x="175738" y="284418"/>
                        <a:pt x="169487" y="290531"/>
                      </a:cubicBezTo>
                      <a:cubicBezTo>
                        <a:pt x="163235" y="296782"/>
                        <a:pt x="169487" y="309286"/>
                        <a:pt x="175738" y="315398"/>
                      </a:cubicBezTo>
                      <a:cubicBezTo>
                        <a:pt x="175738" y="327902"/>
                        <a:pt x="175738" y="334153"/>
                        <a:pt x="175738" y="346517"/>
                      </a:cubicBezTo>
                      <a:cubicBezTo>
                        <a:pt x="163235" y="359020"/>
                        <a:pt x="163235" y="359020"/>
                        <a:pt x="144341" y="365272"/>
                      </a:cubicBezTo>
                      <a:cubicBezTo>
                        <a:pt x="131838" y="365272"/>
                        <a:pt x="150593" y="384027"/>
                        <a:pt x="125587" y="377775"/>
                      </a:cubicBezTo>
                      <a:cubicBezTo>
                        <a:pt x="113084" y="377775"/>
                        <a:pt x="125587" y="390278"/>
                        <a:pt x="125587" y="396530"/>
                      </a:cubicBezTo>
                      <a:cubicBezTo>
                        <a:pt x="131838" y="409033"/>
                        <a:pt x="119335" y="402781"/>
                        <a:pt x="113084" y="402781"/>
                      </a:cubicBezTo>
                      <a:cubicBezTo>
                        <a:pt x="100581" y="402781"/>
                        <a:pt x="94329" y="402781"/>
                        <a:pt x="87939" y="409033"/>
                      </a:cubicBezTo>
                      <a:cubicBezTo>
                        <a:pt x="69184" y="421536"/>
                        <a:pt x="81687" y="421536"/>
                        <a:pt x="94191" y="427787"/>
                      </a:cubicBezTo>
                      <a:cubicBezTo>
                        <a:pt x="100442" y="427787"/>
                        <a:pt x="87939" y="446542"/>
                        <a:pt x="87939" y="452794"/>
                      </a:cubicBezTo>
                      <a:cubicBezTo>
                        <a:pt x="81687" y="452794"/>
                        <a:pt x="81687" y="477661"/>
                        <a:pt x="87939" y="471548"/>
                      </a:cubicBezTo>
                      <a:cubicBezTo>
                        <a:pt x="100442" y="465297"/>
                        <a:pt x="106694" y="459045"/>
                        <a:pt x="113084" y="459045"/>
                      </a:cubicBezTo>
                      <a:cubicBezTo>
                        <a:pt x="138229" y="452794"/>
                        <a:pt x="125587" y="446542"/>
                        <a:pt x="119335" y="434039"/>
                      </a:cubicBezTo>
                      <a:cubicBezTo>
                        <a:pt x="125587" y="434039"/>
                        <a:pt x="131838" y="446542"/>
                        <a:pt x="138090" y="440291"/>
                      </a:cubicBezTo>
                      <a:cubicBezTo>
                        <a:pt x="144341" y="434039"/>
                        <a:pt x="131838" y="427787"/>
                        <a:pt x="131838" y="427787"/>
                      </a:cubicBezTo>
                      <a:cubicBezTo>
                        <a:pt x="131838" y="421536"/>
                        <a:pt x="144341" y="434039"/>
                        <a:pt x="144341" y="434039"/>
                      </a:cubicBezTo>
                      <a:cubicBezTo>
                        <a:pt x="138090" y="434039"/>
                        <a:pt x="144341" y="409172"/>
                        <a:pt x="150593" y="409172"/>
                      </a:cubicBezTo>
                      <a:cubicBezTo>
                        <a:pt x="150593" y="402920"/>
                        <a:pt x="163096" y="415423"/>
                        <a:pt x="163096" y="415423"/>
                      </a:cubicBezTo>
                      <a:cubicBezTo>
                        <a:pt x="175599" y="415423"/>
                        <a:pt x="181851" y="409172"/>
                        <a:pt x="188241" y="402920"/>
                      </a:cubicBezTo>
                      <a:cubicBezTo>
                        <a:pt x="194493" y="396669"/>
                        <a:pt x="225890" y="384166"/>
                        <a:pt x="225890" y="371801"/>
                      </a:cubicBezTo>
                      <a:cubicBezTo>
                        <a:pt x="225890" y="365550"/>
                        <a:pt x="219638" y="359298"/>
                        <a:pt x="225890" y="346795"/>
                      </a:cubicBezTo>
                      <a:cubicBezTo>
                        <a:pt x="225751" y="340266"/>
                        <a:pt x="238254" y="346378"/>
                        <a:pt x="232002" y="334014"/>
                      </a:cubicBezTo>
                      <a:cubicBezTo>
                        <a:pt x="225751" y="327762"/>
                        <a:pt x="238254" y="340266"/>
                        <a:pt x="232002" y="3340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0" name="Freihandform: Form 349">
                  <a:extLst>
                    <a:ext uri="{FF2B5EF4-FFF2-40B4-BE49-F238E27FC236}">
                      <a16:creationId xmlns:a16="http://schemas.microsoft.com/office/drawing/2014/main" id="{1378B183-6C02-46CB-9D1B-84A2FB826C4F}"/>
                    </a:ext>
                  </a:extLst>
                </p:cNvPr>
                <p:cNvSpPr/>
                <p:nvPr/>
              </p:nvSpPr>
              <p:spPr>
                <a:xfrm>
                  <a:off x="9150424" y="3831073"/>
                  <a:ext cx="228806" cy="269943"/>
                </a:xfrm>
                <a:custGeom>
                  <a:avLst/>
                  <a:gdLst>
                    <a:gd name="connsiteX0" fmla="*/ 228807 w 228806"/>
                    <a:gd name="connsiteY0" fmla="*/ 233530 h 269943"/>
                    <a:gd name="connsiteX1" fmla="*/ 216443 w 228806"/>
                    <a:gd name="connsiteY1" fmla="*/ 215053 h 269943"/>
                    <a:gd name="connsiteX2" fmla="*/ 204079 w 228806"/>
                    <a:gd name="connsiteY2" fmla="*/ 196577 h 269943"/>
                    <a:gd name="connsiteX3" fmla="*/ 185601 w 228806"/>
                    <a:gd name="connsiteY3" fmla="*/ 171987 h 269943"/>
                    <a:gd name="connsiteX4" fmla="*/ 160873 w 228806"/>
                    <a:gd name="connsiteY4" fmla="*/ 135172 h 269943"/>
                    <a:gd name="connsiteX5" fmla="*/ 136145 w 228806"/>
                    <a:gd name="connsiteY5" fmla="*/ 110583 h 269943"/>
                    <a:gd name="connsiteX6" fmla="*/ 117529 w 228806"/>
                    <a:gd name="connsiteY6" fmla="*/ 92106 h 269943"/>
                    <a:gd name="connsiteX7" fmla="*/ 136145 w 228806"/>
                    <a:gd name="connsiteY7" fmla="*/ 85994 h 269943"/>
                    <a:gd name="connsiteX8" fmla="*/ 130032 w 228806"/>
                    <a:gd name="connsiteY8" fmla="*/ 61404 h 269943"/>
                    <a:gd name="connsiteX9" fmla="*/ 86688 w 228806"/>
                    <a:gd name="connsiteY9" fmla="*/ 49179 h 269943"/>
                    <a:gd name="connsiteX10" fmla="*/ 80437 w 228806"/>
                    <a:gd name="connsiteY10" fmla="*/ 24589 h 269943"/>
                    <a:gd name="connsiteX11" fmla="*/ 55708 w 228806"/>
                    <a:gd name="connsiteY11" fmla="*/ 0 h 269943"/>
                    <a:gd name="connsiteX12" fmla="*/ 43344 w 228806"/>
                    <a:gd name="connsiteY12" fmla="*/ 0 h 269943"/>
                    <a:gd name="connsiteX13" fmla="*/ 49456 w 228806"/>
                    <a:gd name="connsiteY13" fmla="*/ 24589 h 269943"/>
                    <a:gd name="connsiteX14" fmla="*/ 49456 w 228806"/>
                    <a:gd name="connsiteY14" fmla="*/ 43066 h 269943"/>
                    <a:gd name="connsiteX15" fmla="*/ 24728 w 228806"/>
                    <a:gd name="connsiteY15" fmla="*/ 30841 h 269943"/>
                    <a:gd name="connsiteX16" fmla="*/ 0 w 228806"/>
                    <a:gd name="connsiteY16" fmla="*/ 61543 h 269943"/>
                    <a:gd name="connsiteX17" fmla="*/ 24728 w 228806"/>
                    <a:gd name="connsiteY17" fmla="*/ 92245 h 269943"/>
                    <a:gd name="connsiteX18" fmla="*/ 24728 w 228806"/>
                    <a:gd name="connsiteY18" fmla="*/ 135311 h 269943"/>
                    <a:gd name="connsiteX19" fmla="*/ 18477 w 228806"/>
                    <a:gd name="connsiteY19" fmla="*/ 159901 h 269943"/>
                    <a:gd name="connsiteX20" fmla="*/ 43205 w 228806"/>
                    <a:gd name="connsiteY20" fmla="*/ 153788 h 269943"/>
                    <a:gd name="connsiteX21" fmla="*/ 61821 w 228806"/>
                    <a:gd name="connsiteY21" fmla="*/ 141563 h 269943"/>
                    <a:gd name="connsiteX22" fmla="*/ 92801 w 228806"/>
                    <a:gd name="connsiteY22" fmla="*/ 135450 h 269943"/>
                    <a:gd name="connsiteX23" fmla="*/ 142258 w 228806"/>
                    <a:gd name="connsiteY23" fmla="*/ 172265 h 269943"/>
                    <a:gd name="connsiteX24" fmla="*/ 166986 w 228806"/>
                    <a:gd name="connsiteY24" fmla="*/ 221444 h 269943"/>
                    <a:gd name="connsiteX25" fmla="*/ 166986 w 228806"/>
                    <a:gd name="connsiteY25" fmla="*/ 239921 h 269943"/>
                    <a:gd name="connsiteX26" fmla="*/ 154622 w 228806"/>
                    <a:gd name="connsiteY26" fmla="*/ 264510 h 269943"/>
                    <a:gd name="connsiteX27" fmla="*/ 179350 w 228806"/>
                    <a:gd name="connsiteY27" fmla="*/ 264510 h 269943"/>
                    <a:gd name="connsiteX28" fmla="*/ 197966 w 228806"/>
                    <a:gd name="connsiteY28" fmla="*/ 258398 h 269943"/>
                    <a:gd name="connsiteX29" fmla="*/ 216582 w 228806"/>
                    <a:gd name="connsiteY29" fmla="*/ 258398 h 269943"/>
                    <a:gd name="connsiteX30" fmla="*/ 228807 w 228806"/>
                    <a:gd name="connsiteY30" fmla="*/ 233530 h 269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8806" h="269943">
                      <a:moveTo>
                        <a:pt x="228807" y="233530"/>
                      </a:moveTo>
                      <a:cubicBezTo>
                        <a:pt x="228807" y="227418"/>
                        <a:pt x="222555" y="227418"/>
                        <a:pt x="216443" y="215053"/>
                      </a:cubicBezTo>
                      <a:cubicBezTo>
                        <a:pt x="216443" y="202828"/>
                        <a:pt x="210191" y="208941"/>
                        <a:pt x="204079" y="196577"/>
                      </a:cubicBezTo>
                      <a:cubicBezTo>
                        <a:pt x="197966" y="184351"/>
                        <a:pt x="197966" y="178100"/>
                        <a:pt x="185601" y="171987"/>
                      </a:cubicBezTo>
                      <a:cubicBezTo>
                        <a:pt x="173237" y="159762"/>
                        <a:pt x="166986" y="147398"/>
                        <a:pt x="160873" y="135172"/>
                      </a:cubicBezTo>
                      <a:cubicBezTo>
                        <a:pt x="154622" y="129060"/>
                        <a:pt x="142258" y="116696"/>
                        <a:pt x="136145" y="110583"/>
                      </a:cubicBezTo>
                      <a:cubicBezTo>
                        <a:pt x="123780" y="104470"/>
                        <a:pt x="117529" y="110583"/>
                        <a:pt x="117529" y="92106"/>
                      </a:cubicBezTo>
                      <a:cubicBezTo>
                        <a:pt x="117529" y="85994"/>
                        <a:pt x="129894" y="98219"/>
                        <a:pt x="136145" y="85994"/>
                      </a:cubicBezTo>
                      <a:cubicBezTo>
                        <a:pt x="148509" y="79881"/>
                        <a:pt x="136145" y="73768"/>
                        <a:pt x="130032" y="61404"/>
                      </a:cubicBezTo>
                      <a:cubicBezTo>
                        <a:pt x="117668" y="30702"/>
                        <a:pt x="99052" y="67517"/>
                        <a:pt x="86688" y="49179"/>
                      </a:cubicBezTo>
                      <a:cubicBezTo>
                        <a:pt x="80437" y="43066"/>
                        <a:pt x="86688" y="30702"/>
                        <a:pt x="80437" y="24589"/>
                      </a:cubicBezTo>
                      <a:cubicBezTo>
                        <a:pt x="74324" y="18477"/>
                        <a:pt x="61959" y="12364"/>
                        <a:pt x="55708" y="0"/>
                      </a:cubicBezTo>
                      <a:lnTo>
                        <a:pt x="43344" y="0"/>
                      </a:lnTo>
                      <a:cubicBezTo>
                        <a:pt x="37092" y="6113"/>
                        <a:pt x="49456" y="18477"/>
                        <a:pt x="49456" y="24589"/>
                      </a:cubicBezTo>
                      <a:cubicBezTo>
                        <a:pt x="49456" y="30702"/>
                        <a:pt x="55708" y="43066"/>
                        <a:pt x="49456" y="43066"/>
                      </a:cubicBezTo>
                      <a:cubicBezTo>
                        <a:pt x="37092" y="43066"/>
                        <a:pt x="37092" y="30841"/>
                        <a:pt x="24728" y="30841"/>
                      </a:cubicBezTo>
                      <a:cubicBezTo>
                        <a:pt x="18477" y="24728"/>
                        <a:pt x="0" y="61543"/>
                        <a:pt x="0" y="61543"/>
                      </a:cubicBezTo>
                      <a:cubicBezTo>
                        <a:pt x="6252" y="80020"/>
                        <a:pt x="0" y="104609"/>
                        <a:pt x="24728" y="92245"/>
                      </a:cubicBezTo>
                      <a:cubicBezTo>
                        <a:pt x="37092" y="86133"/>
                        <a:pt x="24728" y="135311"/>
                        <a:pt x="24728" y="135311"/>
                      </a:cubicBezTo>
                      <a:cubicBezTo>
                        <a:pt x="37092" y="141424"/>
                        <a:pt x="24728" y="147537"/>
                        <a:pt x="18477" y="159901"/>
                      </a:cubicBezTo>
                      <a:cubicBezTo>
                        <a:pt x="18477" y="166014"/>
                        <a:pt x="37092" y="153788"/>
                        <a:pt x="43205" y="153788"/>
                      </a:cubicBezTo>
                      <a:cubicBezTo>
                        <a:pt x="43205" y="147675"/>
                        <a:pt x="55569" y="141563"/>
                        <a:pt x="61821" y="141563"/>
                      </a:cubicBezTo>
                      <a:cubicBezTo>
                        <a:pt x="74185" y="147675"/>
                        <a:pt x="80298" y="147675"/>
                        <a:pt x="92801" y="135450"/>
                      </a:cubicBezTo>
                      <a:cubicBezTo>
                        <a:pt x="105165" y="129338"/>
                        <a:pt x="148509" y="153927"/>
                        <a:pt x="142258" y="172265"/>
                      </a:cubicBezTo>
                      <a:cubicBezTo>
                        <a:pt x="129894" y="196855"/>
                        <a:pt x="154622" y="202967"/>
                        <a:pt x="166986" y="221444"/>
                      </a:cubicBezTo>
                      <a:cubicBezTo>
                        <a:pt x="166986" y="227556"/>
                        <a:pt x="166986" y="233669"/>
                        <a:pt x="166986" y="239921"/>
                      </a:cubicBezTo>
                      <a:cubicBezTo>
                        <a:pt x="166986" y="246033"/>
                        <a:pt x="160734" y="258398"/>
                        <a:pt x="154622" y="264510"/>
                      </a:cubicBezTo>
                      <a:cubicBezTo>
                        <a:pt x="160873" y="264510"/>
                        <a:pt x="179350" y="276736"/>
                        <a:pt x="179350" y="264510"/>
                      </a:cubicBezTo>
                      <a:cubicBezTo>
                        <a:pt x="179350" y="258398"/>
                        <a:pt x="191715" y="252285"/>
                        <a:pt x="197966" y="258398"/>
                      </a:cubicBezTo>
                      <a:cubicBezTo>
                        <a:pt x="204079" y="264510"/>
                        <a:pt x="210330" y="264510"/>
                        <a:pt x="216582" y="258398"/>
                      </a:cubicBezTo>
                      <a:cubicBezTo>
                        <a:pt x="228807" y="258120"/>
                        <a:pt x="228807" y="245756"/>
                        <a:pt x="228807" y="23353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1" name="Freihandform: Form 350">
                  <a:extLst>
                    <a:ext uri="{FF2B5EF4-FFF2-40B4-BE49-F238E27FC236}">
                      <a16:creationId xmlns:a16="http://schemas.microsoft.com/office/drawing/2014/main" id="{E55DC533-015A-4330-AB38-8A955C2C7371}"/>
                    </a:ext>
                  </a:extLst>
                </p:cNvPr>
                <p:cNvSpPr/>
                <p:nvPr/>
              </p:nvSpPr>
              <p:spPr>
                <a:xfrm>
                  <a:off x="10132475" y="4584595"/>
                  <a:ext cx="285904" cy="237976"/>
                </a:xfrm>
                <a:custGeom>
                  <a:avLst/>
                  <a:gdLst>
                    <a:gd name="connsiteX0" fmla="*/ 285765 w 285904"/>
                    <a:gd name="connsiteY0" fmla="*/ 181573 h 237976"/>
                    <a:gd name="connsiteX1" fmla="*/ 285765 w 285904"/>
                    <a:gd name="connsiteY1" fmla="*/ 162818 h 237976"/>
                    <a:gd name="connsiteX2" fmla="*/ 285765 w 285904"/>
                    <a:gd name="connsiteY2" fmla="*/ 150315 h 237976"/>
                    <a:gd name="connsiteX3" fmla="*/ 285765 w 285904"/>
                    <a:gd name="connsiteY3" fmla="*/ 93912 h 237976"/>
                    <a:gd name="connsiteX4" fmla="*/ 285765 w 285904"/>
                    <a:gd name="connsiteY4" fmla="*/ 37509 h 237976"/>
                    <a:gd name="connsiteX5" fmla="*/ 222139 w 285904"/>
                    <a:gd name="connsiteY5" fmla="*/ 18755 h 237976"/>
                    <a:gd name="connsiteX6" fmla="*/ 190464 w 285904"/>
                    <a:gd name="connsiteY6" fmla="*/ 0 h 237976"/>
                    <a:gd name="connsiteX7" fmla="*/ 165041 w 285904"/>
                    <a:gd name="connsiteY7" fmla="*/ 18755 h 237976"/>
                    <a:gd name="connsiteX8" fmla="*/ 139618 w 285904"/>
                    <a:gd name="connsiteY8" fmla="*/ 31258 h 237976"/>
                    <a:gd name="connsiteX9" fmla="*/ 114195 w 285904"/>
                    <a:gd name="connsiteY9" fmla="*/ 62655 h 237976"/>
                    <a:gd name="connsiteX10" fmla="*/ 88772 w 285904"/>
                    <a:gd name="connsiteY10" fmla="*/ 50152 h 237976"/>
                    <a:gd name="connsiteX11" fmla="*/ 69739 w 285904"/>
                    <a:gd name="connsiteY11" fmla="*/ 31397 h 237976"/>
                    <a:gd name="connsiteX12" fmla="*/ 57098 w 285904"/>
                    <a:gd name="connsiteY12" fmla="*/ 37648 h 237976"/>
                    <a:gd name="connsiteX13" fmla="*/ 44456 w 285904"/>
                    <a:gd name="connsiteY13" fmla="*/ 31397 h 237976"/>
                    <a:gd name="connsiteX14" fmla="*/ 25423 w 285904"/>
                    <a:gd name="connsiteY14" fmla="*/ 37648 h 237976"/>
                    <a:gd name="connsiteX15" fmla="*/ 0 w 285904"/>
                    <a:gd name="connsiteY15" fmla="*/ 43900 h 237976"/>
                    <a:gd name="connsiteX16" fmla="*/ 19032 w 285904"/>
                    <a:gd name="connsiteY16" fmla="*/ 50152 h 237976"/>
                    <a:gd name="connsiteX17" fmla="*/ 25423 w 285904"/>
                    <a:gd name="connsiteY17" fmla="*/ 68906 h 237976"/>
                    <a:gd name="connsiteX18" fmla="*/ 44456 w 285904"/>
                    <a:gd name="connsiteY18" fmla="*/ 87661 h 237976"/>
                    <a:gd name="connsiteX19" fmla="*/ 57098 w 285904"/>
                    <a:gd name="connsiteY19" fmla="*/ 50012 h 237976"/>
                    <a:gd name="connsiteX20" fmla="*/ 63488 w 285904"/>
                    <a:gd name="connsiteY20" fmla="*/ 75158 h 237976"/>
                    <a:gd name="connsiteX21" fmla="*/ 95163 w 285904"/>
                    <a:gd name="connsiteY21" fmla="*/ 75158 h 237976"/>
                    <a:gd name="connsiteX22" fmla="*/ 114195 w 285904"/>
                    <a:gd name="connsiteY22" fmla="*/ 93912 h 237976"/>
                    <a:gd name="connsiteX23" fmla="*/ 171432 w 285904"/>
                    <a:gd name="connsiteY23" fmla="*/ 119057 h 237976"/>
                    <a:gd name="connsiteX24" fmla="*/ 203245 w 285904"/>
                    <a:gd name="connsiteY24" fmla="*/ 137812 h 237976"/>
                    <a:gd name="connsiteX25" fmla="*/ 216026 w 285904"/>
                    <a:gd name="connsiteY25" fmla="*/ 162957 h 237976"/>
                    <a:gd name="connsiteX26" fmla="*/ 228668 w 285904"/>
                    <a:gd name="connsiteY26" fmla="*/ 169209 h 237976"/>
                    <a:gd name="connsiteX27" fmla="*/ 216026 w 285904"/>
                    <a:gd name="connsiteY27" fmla="*/ 175461 h 237976"/>
                    <a:gd name="connsiteX28" fmla="*/ 228668 w 285904"/>
                    <a:gd name="connsiteY28" fmla="*/ 181712 h 237976"/>
                    <a:gd name="connsiteX29" fmla="*/ 222278 w 285904"/>
                    <a:gd name="connsiteY29" fmla="*/ 187964 h 237976"/>
                    <a:gd name="connsiteX30" fmla="*/ 203245 w 285904"/>
                    <a:gd name="connsiteY30" fmla="*/ 194215 h 237976"/>
                    <a:gd name="connsiteX31" fmla="*/ 184213 w 285904"/>
                    <a:gd name="connsiteY31" fmla="*/ 212970 h 237976"/>
                    <a:gd name="connsiteX32" fmla="*/ 216026 w 285904"/>
                    <a:gd name="connsiteY32" fmla="*/ 219221 h 237976"/>
                    <a:gd name="connsiteX33" fmla="*/ 228668 w 285904"/>
                    <a:gd name="connsiteY33" fmla="*/ 194076 h 237976"/>
                    <a:gd name="connsiteX34" fmla="*/ 228668 w 285904"/>
                    <a:gd name="connsiteY34" fmla="*/ 206579 h 237976"/>
                    <a:gd name="connsiteX35" fmla="*/ 254091 w 285904"/>
                    <a:gd name="connsiteY35" fmla="*/ 200328 h 237976"/>
                    <a:gd name="connsiteX36" fmla="*/ 285904 w 285904"/>
                    <a:gd name="connsiteY36" fmla="*/ 237976 h 237976"/>
                    <a:gd name="connsiteX37" fmla="*/ 285765 w 285904"/>
                    <a:gd name="connsiteY37" fmla="*/ 181573 h 23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904" h="237976">
                      <a:moveTo>
                        <a:pt x="285765" y="181573"/>
                      </a:moveTo>
                      <a:cubicBezTo>
                        <a:pt x="285765" y="175321"/>
                        <a:pt x="279375" y="169070"/>
                        <a:pt x="285765" y="162818"/>
                      </a:cubicBezTo>
                      <a:cubicBezTo>
                        <a:pt x="285765" y="156567"/>
                        <a:pt x="285765" y="156567"/>
                        <a:pt x="285765" y="150315"/>
                      </a:cubicBezTo>
                      <a:cubicBezTo>
                        <a:pt x="285765" y="131561"/>
                        <a:pt x="285765" y="112667"/>
                        <a:pt x="285765" y="93912"/>
                      </a:cubicBezTo>
                      <a:cubicBezTo>
                        <a:pt x="285765" y="75158"/>
                        <a:pt x="285765" y="56264"/>
                        <a:pt x="285765" y="37509"/>
                      </a:cubicBezTo>
                      <a:cubicBezTo>
                        <a:pt x="285765" y="37509"/>
                        <a:pt x="228529" y="18755"/>
                        <a:pt x="222139" y="18755"/>
                      </a:cubicBezTo>
                      <a:cubicBezTo>
                        <a:pt x="209496" y="12503"/>
                        <a:pt x="203106" y="6252"/>
                        <a:pt x="190464" y="0"/>
                      </a:cubicBezTo>
                      <a:cubicBezTo>
                        <a:pt x="171432" y="0"/>
                        <a:pt x="171432" y="12503"/>
                        <a:pt x="165041" y="18755"/>
                      </a:cubicBezTo>
                      <a:cubicBezTo>
                        <a:pt x="165041" y="25006"/>
                        <a:pt x="146009" y="25006"/>
                        <a:pt x="139618" y="31258"/>
                      </a:cubicBezTo>
                      <a:cubicBezTo>
                        <a:pt x="133228" y="43761"/>
                        <a:pt x="126837" y="56403"/>
                        <a:pt x="114195" y="62655"/>
                      </a:cubicBezTo>
                      <a:cubicBezTo>
                        <a:pt x="101553" y="68906"/>
                        <a:pt x="88772" y="62655"/>
                        <a:pt x="88772" y="50152"/>
                      </a:cubicBezTo>
                      <a:cubicBezTo>
                        <a:pt x="82520" y="37648"/>
                        <a:pt x="76130" y="37648"/>
                        <a:pt x="69739" y="31397"/>
                      </a:cubicBezTo>
                      <a:cubicBezTo>
                        <a:pt x="69739" y="18894"/>
                        <a:pt x="63488" y="31397"/>
                        <a:pt x="57098" y="37648"/>
                      </a:cubicBezTo>
                      <a:cubicBezTo>
                        <a:pt x="50707" y="37648"/>
                        <a:pt x="44456" y="31397"/>
                        <a:pt x="44456" y="31397"/>
                      </a:cubicBezTo>
                      <a:cubicBezTo>
                        <a:pt x="38065" y="31397"/>
                        <a:pt x="31674" y="37648"/>
                        <a:pt x="25423" y="37648"/>
                      </a:cubicBezTo>
                      <a:cubicBezTo>
                        <a:pt x="25423" y="43900"/>
                        <a:pt x="0" y="37648"/>
                        <a:pt x="0" y="43900"/>
                      </a:cubicBezTo>
                      <a:cubicBezTo>
                        <a:pt x="0" y="50152"/>
                        <a:pt x="12642" y="50152"/>
                        <a:pt x="19032" y="50152"/>
                      </a:cubicBezTo>
                      <a:cubicBezTo>
                        <a:pt x="25423" y="56403"/>
                        <a:pt x="25423" y="62655"/>
                        <a:pt x="25423" y="68906"/>
                      </a:cubicBezTo>
                      <a:cubicBezTo>
                        <a:pt x="25423" y="81409"/>
                        <a:pt x="44456" y="81409"/>
                        <a:pt x="44456" y="87661"/>
                      </a:cubicBezTo>
                      <a:cubicBezTo>
                        <a:pt x="44456" y="75158"/>
                        <a:pt x="44456" y="56264"/>
                        <a:pt x="57098" y="50012"/>
                      </a:cubicBezTo>
                      <a:cubicBezTo>
                        <a:pt x="44456" y="56264"/>
                        <a:pt x="50707" y="68767"/>
                        <a:pt x="63488" y="75158"/>
                      </a:cubicBezTo>
                      <a:cubicBezTo>
                        <a:pt x="76130" y="81409"/>
                        <a:pt x="82520" y="81409"/>
                        <a:pt x="95163" y="75158"/>
                      </a:cubicBezTo>
                      <a:cubicBezTo>
                        <a:pt x="76130" y="81409"/>
                        <a:pt x="107805" y="93912"/>
                        <a:pt x="114195" y="93912"/>
                      </a:cubicBezTo>
                      <a:cubicBezTo>
                        <a:pt x="133228" y="100164"/>
                        <a:pt x="152260" y="112667"/>
                        <a:pt x="171432" y="119057"/>
                      </a:cubicBezTo>
                      <a:cubicBezTo>
                        <a:pt x="184074" y="125309"/>
                        <a:pt x="196854" y="131561"/>
                        <a:pt x="203245" y="137812"/>
                      </a:cubicBezTo>
                      <a:cubicBezTo>
                        <a:pt x="203245" y="150315"/>
                        <a:pt x="209636" y="156567"/>
                        <a:pt x="216026" y="162957"/>
                      </a:cubicBezTo>
                      <a:lnTo>
                        <a:pt x="228668" y="169209"/>
                      </a:lnTo>
                      <a:lnTo>
                        <a:pt x="216026" y="175461"/>
                      </a:lnTo>
                      <a:cubicBezTo>
                        <a:pt x="216026" y="175461"/>
                        <a:pt x="228668" y="175461"/>
                        <a:pt x="228668" y="181712"/>
                      </a:cubicBezTo>
                      <a:cubicBezTo>
                        <a:pt x="228668" y="175461"/>
                        <a:pt x="222278" y="181712"/>
                        <a:pt x="222278" y="187964"/>
                      </a:cubicBezTo>
                      <a:cubicBezTo>
                        <a:pt x="216026" y="194215"/>
                        <a:pt x="209636" y="187964"/>
                        <a:pt x="203245" y="194215"/>
                      </a:cubicBezTo>
                      <a:cubicBezTo>
                        <a:pt x="196993" y="194215"/>
                        <a:pt x="177822" y="212970"/>
                        <a:pt x="184213" y="212970"/>
                      </a:cubicBezTo>
                      <a:cubicBezTo>
                        <a:pt x="190603" y="219221"/>
                        <a:pt x="203245" y="219221"/>
                        <a:pt x="216026" y="219221"/>
                      </a:cubicBezTo>
                      <a:cubicBezTo>
                        <a:pt x="216026" y="212970"/>
                        <a:pt x="222278" y="187825"/>
                        <a:pt x="228668" y="194076"/>
                      </a:cubicBezTo>
                      <a:cubicBezTo>
                        <a:pt x="228668" y="200328"/>
                        <a:pt x="209636" y="206579"/>
                        <a:pt x="228668" y="206579"/>
                      </a:cubicBezTo>
                      <a:cubicBezTo>
                        <a:pt x="241310" y="212831"/>
                        <a:pt x="247700" y="212831"/>
                        <a:pt x="254091" y="200328"/>
                      </a:cubicBezTo>
                      <a:cubicBezTo>
                        <a:pt x="247700" y="212831"/>
                        <a:pt x="279514" y="231725"/>
                        <a:pt x="285904" y="237976"/>
                      </a:cubicBezTo>
                      <a:cubicBezTo>
                        <a:pt x="285765" y="219082"/>
                        <a:pt x="285765" y="200328"/>
                        <a:pt x="285765" y="18157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2" name="Freihandform: Form 351">
                  <a:extLst>
                    <a:ext uri="{FF2B5EF4-FFF2-40B4-BE49-F238E27FC236}">
                      <a16:creationId xmlns:a16="http://schemas.microsoft.com/office/drawing/2014/main" id="{D35DA9DF-8E87-42A0-908F-7A1D365497C2}"/>
                    </a:ext>
                  </a:extLst>
                </p:cNvPr>
                <p:cNvSpPr/>
                <p:nvPr/>
              </p:nvSpPr>
              <p:spPr>
                <a:xfrm>
                  <a:off x="10412622" y="4622659"/>
                  <a:ext cx="315734" cy="253813"/>
                </a:xfrm>
                <a:custGeom>
                  <a:avLst/>
                  <a:gdLst>
                    <a:gd name="connsiteX0" fmla="*/ 313890 w 315734"/>
                    <a:gd name="connsiteY0" fmla="*/ 244505 h 253813"/>
                    <a:gd name="connsiteX1" fmla="*/ 282215 w 315734"/>
                    <a:gd name="connsiteY1" fmla="*/ 232002 h 253813"/>
                    <a:gd name="connsiteX2" fmla="*/ 294858 w 315734"/>
                    <a:gd name="connsiteY2" fmla="*/ 225751 h 253813"/>
                    <a:gd name="connsiteX3" fmla="*/ 263044 w 315734"/>
                    <a:gd name="connsiteY3" fmla="*/ 213248 h 253813"/>
                    <a:gd name="connsiteX4" fmla="*/ 237621 w 315734"/>
                    <a:gd name="connsiteY4" fmla="*/ 188103 h 253813"/>
                    <a:gd name="connsiteX5" fmla="*/ 231369 w 315734"/>
                    <a:gd name="connsiteY5" fmla="*/ 175600 h 253813"/>
                    <a:gd name="connsiteX6" fmla="*/ 212337 w 315734"/>
                    <a:gd name="connsiteY6" fmla="*/ 163096 h 253813"/>
                    <a:gd name="connsiteX7" fmla="*/ 180524 w 315734"/>
                    <a:gd name="connsiteY7" fmla="*/ 131700 h 253813"/>
                    <a:gd name="connsiteX8" fmla="*/ 212337 w 315734"/>
                    <a:gd name="connsiteY8" fmla="*/ 131700 h 253813"/>
                    <a:gd name="connsiteX9" fmla="*/ 212337 w 315734"/>
                    <a:gd name="connsiteY9" fmla="*/ 112806 h 253813"/>
                    <a:gd name="connsiteX10" fmla="*/ 193304 w 315734"/>
                    <a:gd name="connsiteY10" fmla="*/ 106555 h 253813"/>
                    <a:gd name="connsiteX11" fmla="*/ 155239 w 315734"/>
                    <a:gd name="connsiteY11" fmla="*/ 75158 h 253813"/>
                    <a:gd name="connsiteX12" fmla="*/ 117174 w 315734"/>
                    <a:gd name="connsiteY12" fmla="*/ 43761 h 253813"/>
                    <a:gd name="connsiteX13" fmla="*/ 98142 w 315734"/>
                    <a:gd name="connsiteY13" fmla="*/ 37509 h 253813"/>
                    <a:gd name="connsiteX14" fmla="*/ 79110 w 315734"/>
                    <a:gd name="connsiteY14" fmla="*/ 25006 h 253813"/>
                    <a:gd name="connsiteX15" fmla="*/ 47296 w 315734"/>
                    <a:gd name="connsiteY15" fmla="*/ 12503 h 253813"/>
                    <a:gd name="connsiteX16" fmla="*/ 2840 w 315734"/>
                    <a:gd name="connsiteY16" fmla="*/ 0 h 253813"/>
                    <a:gd name="connsiteX17" fmla="*/ 2840 w 315734"/>
                    <a:gd name="connsiteY17" fmla="*/ 62794 h 253813"/>
                    <a:gd name="connsiteX18" fmla="*/ 2840 w 315734"/>
                    <a:gd name="connsiteY18" fmla="*/ 125587 h 253813"/>
                    <a:gd name="connsiteX19" fmla="*/ 2840 w 315734"/>
                    <a:gd name="connsiteY19" fmla="*/ 156984 h 253813"/>
                    <a:gd name="connsiteX20" fmla="*/ 2840 w 315734"/>
                    <a:gd name="connsiteY20" fmla="*/ 188380 h 253813"/>
                    <a:gd name="connsiteX21" fmla="*/ 21873 w 315734"/>
                    <a:gd name="connsiteY21" fmla="*/ 207274 h 253813"/>
                    <a:gd name="connsiteX22" fmla="*/ 79110 w 315734"/>
                    <a:gd name="connsiteY22" fmla="*/ 194771 h 253813"/>
                    <a:gd name="connsiteX23" fmla="*/ 53686 w 315734"/>
                    <a:gd name="connsiteY23" fmla="*/ 175877 h 253813"/>
                    <a:gd name="connsiteX24" fmla="*/ 85500 w 315734"/>
                    <a:gd name="connsiteY24" fmla="*/ 188380 h 253813"/>
                    <a:gd name="connsiteX25" fmla="*/ 79248 w 315734"/>
                    <a:gd name="connsiteY25" fmla="*/ 163235 h 253813"/>
                    <a:gd name="connsiteX26" fmla="*/ 91890 w 315734"/>
                    <a:gd name="connsiteY26" fmla="*/ 169487 h 253813"/>
                    <a:gd name="connsiteX27" fmla="*/ 110923 w 315734"/>
                    <a:gd name="connsiteY27" fmla="*/ 156984 h 253813"/>
                    <a:gd name="connsiteX28" fmla="*/ 161769 w 315734"/>
                    <a:gd name="connsiteY28" fmla="*/ 169487 h 253813"/>
                    <a:gd name="connsiteX29" fmla="*/ 193582 w 315734"/>
                    <a:gd name="connsiteY29" fmla="*/ 207135 h 253813"/>
                    <a:gd name="connsiteX30" fmla="*/ 225257 w 315734"/>
                    <a:gd name="connsiteY30" fmla="*/ 238532 h 253813"/>
                    <a:gd name="connsiteX31" fmla="*/ 282494 w 315734"/>
                    <a:gd name="connsiteY31" fmla="*/ 251035 h 253813"/>
                    <a:gd name="connsiteX32" fmla="*/ 301526 w 315734"/>
                    <a:gd name="connsiteY32" fmla="*/ 251035 h 253813"/>
                    <a:gd name="connsiteX33" fmla="*/ 313890 w 315734"/>
                    <a:gd name="connsiteY33" fmla="*/ 244505 h 253813"/>
                    <a:gd name="connsiteX34" fmla="*/ 313890 w 315734"/>
                    <a:gd name="connsiteY34" fmla="*/ 244505 h 25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5734" h="253813">
                      <a:moveTo>
                        <a:pt x="313890" y="244505"/>
                      </a:moveTo>
                      <a:cubicBezTo>
                        <a:pt x="301248" y="238254"/>
                        <a:pt x="288467" y="238254"/>
                        <a:pt x="282215" y="232002"/>
                      </a:cubicBezTo>
                      <a:cubicBezTo>
                        <a:pt x="275825" y="225751"/>
                        <a:pt x="288606" y="219499"/>
                        <a:pt x="294858" y="225751"/>
                      </a:cubicBezTo>
                      <a:cubicBezTo>
                        <a:pt x="282215" y="219499"/>
                        <a:pt x="263044" y="225751"/>
                        <a:pt x="263044" y="213248"/>
                      </a:cubicBezTo>
                      <a:cubicBezTo>
                        <a:pt x="263044" y="200745"/>
                        <a:pt x="244011" y="200745"/>
                        <a:pt x="237621" y="188103"/>
                      </a:cubicBezTo>
                      <a:cubicBezTo>
                        <a:pt x="231369" y="181851"/>
                        <a:pt x="237621" y="181851"/>
                        <a:pt x="231369" y="175600"/>
                      </a:cubicBezTo>
                      <a:cubicBezTo>
                        <a:pt x="224979" y="169348"/>
                        <a:pt x="218589" y="169348"/>
                        <a:pt x="212337" y="163096"/>
                      </a:cubicBezTo>
                      <a:cubicBezTo>
                        <a:pt x="212337" y="163096"/>
                        <a:pt x="186914" y="131700"/>
                        <a:pt x="180524" y="131700"/>
                      </a:cubicBezTo>
                      <a:cubicBezTo>
                        <a:pt x="186914" y="125448"/>
                        <a:pt x="205947" y="131700"/>
                        <a:pt x="212337" y="131700"/>
                      </a:cubicBezTo>
                      <a:cubicBezTo>
                        <a:pt x="224979" y="131700"/>
                        <a:pt x="218589" y="125448"/>
                        <a:pt x="212337" y="112806"/>
                      </a:cubicBezTo>
                      <a:cubicBezTo>
                        <a:pt x="212337" y="106555"/>
                        <a:pt x="199556" y="106555"/>
                        <a:pt x="193304" y="106555"/>
                      </a:cubicBezTo>
                      <a:cubicBezTo>
                        <a:pt x="174272" y="94052"/>
                        <a:pt x="161491" y="87661"/>
                        <a:pt x="155239" y="75158"/>
                      </a:cubicBezTo>
                      <a:cubicBezTo>
                        <a:pt x="148849" y="62655"/>
                        <a:pt x="129817" y="50012"/>
                        <a:pt x="117174" y="43761"/>
                      </a:cubicBezTo>
                      <a:cubicBezTo>
                        <a:pt x="110784" y="37509"/>
                        <a:pt x="104393" y="37509"/>
                        <a:pt x="98142" y="37509"/>
                      </a:cubicBezTo>
                      <a:cubicBezTo>
                        <a:pt x="91751" y="37509"/>
                        <a:pt x="85361" y="25006"/>
                        <a:pt x="79110" y="25006"/>
                      </a:cubicBezTo>
                      <a:cubicBezTo>
                        <a:pt x="72719" y="18755"/>
                        <a:pt x="60077" y="18755"/>
                        <a:pt x="47296" y="12503"/>
                      </a:cubicBezTo>
                      <a:cubicBezTo>
                        <a:pt x="34654" y="12503"/>
                        <a:pt x="21873" y="0"/>
                        <a:pt x="2840" y="0"/>
                      </a:cubicBezTo>
                      <a:cubicBezTo>
                        <a:pt x="2840" y="18894"/>
                        <a:pt x="2840" y="43900"/>
                        <a:pt x="2840" y="62794"/>
                      </a:cubicBezTo>
                      <a:cubicBezTo>
                        <a:pt x="2840" y="81687"/>
                        <a:pt x="9092" y="106693"/>
                        <a:pt x="2840" y="125587"/>
                      </a:cubicBezTo>
                      <a:cubicBezTo>
                        <a:pt x="-3550" y="131839"/>
                        <a:pt x="2840" y="144480"/>
                        <a:pt x="2840" y="156984"/>
                      </a:cubicBezTo>
                      <a:cubicBezTo>
                        <a:pt x="2840" y="169487"/>
                        <a:pt x="2840" y="175877"/>
                        <a:pt x="2840" y="188380"/>
                      </a:cubicBezTo>
                      <a:cubicBezTo>
                        <a:pt x="2840" y="207274"/>
                        <a:pt x="9092" y="207274"/>
                        <a:pt x="21873" y="207274"/>
                      </a:cubicBezTo>
                      <a:cubicBezTo>
                        <a:pt x="40906" y="207274"/>
                        <a:pt x="59938" y="207274"/>
                        <a:pt x="79110" y="194771"/>
                      </a:cubicBezTo>
                      <a:cubicBezTo>
                        <a:pt x="85361" y="194771"/>
                        <a:pt x="53686" y="175877"/>
                        <a:pt x="53686" y="175877"/>
                      </a:cubicBezTo>
                      <a:cubicBezTo>
                        <a:pt x="60077" y="175877"/>
                        <a:pt x="85500" y="194771"/>
                        <a:pt x="85500" y="188380"/>
                      </a:cubicBezTo>
                      <a:cubicBezTo>
                        <a:pt x="85500" y="182129"/>
                        <a:pt x="79248" y="175877"/>
                        <a:pt x="79248" y="163235"/>
                      </a:cubicBezTo>
                      <a:cubicBezTo>
                        <a:pt x="79248" y="163235"/>
                        <a:pt x="98281" y="175738"/>
                        <a:pt x="91890" y="169487"/>
                      </a:cubicBezTo>
                      <a:cubicBezTo>
                        <a:pt x="91890" y="156984"/>
                        <a:pt x="104532" y="156984"/>
                        <a:pt x="110923" y="156984"/>
                      </a:cubicBezTo>
                      <a:cubicBezTo>
                        <a:pt x="117314" y="156984"/>
                        <a:pt x="161769" y="175877"/>
                        <a:pt x="161769" y="169487"/>
                      </a:cubicBezTo>
                      <a:cubicBezTo>
                        <a:pt x="161769" y="181990"/>
                        <a:pt x="187192" y="194632"/>
                        <a:pt x="193582" y="207135"/>
                      </a:cubicBezTo>
                      <a:cubicBezTo>
                        <a:pt x="199834" y="219638"/>
                        <a:pt x="212615" y="238532"/>
                        <a:pt x="225257" y="238532"/>
                      </a:cubicBezTo>
                      <a:cubicBezTo>
                        <a:pt x="244290" y="238532"/>
                        <a:pt x="263322" y="244784"/>
                        <a:pt x="282494" y="251035"/>
                      </a:cubicBezTo>
                      <a:cubicBezTo>
                        <a:pt x="288884" y="251035"/>
                        <a:pt x="301526" y="257287"/>
                        <a:pt x="301526" y="251035"/>
                      </a:cubicBezTo>
                      <a:cubicBezTo>
                        <a:pt x="301109" y="244505"/>
                        <a:pt x="320280" y="244505"/>
                        <a:pt x="313890" y="244505"/>
                      </a:cubicBezTo>
                      <a:cubicBezTo>
                        <a:pt x="307500" y="238254"/>
                        <a:pt x="320280" y="244505"/>
                        <a:pt x="313890" y="24450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3" name="Freihandform: Form 352">
                  <a:extLst>
                    <a:ext uri="{FF2B5EF4-FFF2-40B4-BE49-F238E27FC236}">
                      <a16:creationId xmlns:a16="http://schemas.microsoft.com/office/drawing/2014/main" id="{6015EC4C-0EAA-4025-B7A8-1696337080DB}"/>
                    </a:ext>
                  </a:extLst>
                </p:cNvPr>
                <p:cNvSpPr/>
                <p:nvPr/>
              </p:nvSpPr>
              <p:spPr>
                <a:xfrm>
                  <a:off x="9417296" y="4404671"/>
                  <a:ext cx="315569" cy="267175"/>
                </a:xfrm>
                <a:custGeom>
                  <a:avLst/>
                  <a:gdLst>
                    <a:gd name="connsiteX0" fmla="*/ 209775 w 315569"/>
                    <a:gd name="connsiteY0" fmla="*/ 20717 h 267175"/>
                    <a:gd name="connsiteX1" fmla="*/ 184352 w 315569"/>
                    <a:gd name="connsiteY1" fmla="*/ 71563 h 267175"/>
                    <a:gd name="connsiteX2" fmla="*/ 127115 w 315569"/>
                    <a:gd name="connsiteY2" fmla="*/ 90595 h 267175"/>
                    <a:gd name="connsiteX3" fmla="*/ 95302 w 315569"/>
                    <a:gd name="connsiteY3" fmla="*/ 103238 h 267175"/>
                    <a:gd name="connsiteX4" fmla="*/ 63488 w 315569"/>
                    <a:gd name="connsiteY4" fmla="*/ 109628 h 267175"/>
                    <a:gd name="connsiteX5" fmla="*/ 44456 w 315569"/>
                    <a:gd name="connsiteY5" fmla="*/ 103238 h 267175"/>
                    <a:gd name="connsiteX6" fmla="*/ 19033 w 315569"/>
                    <a:gd name="connsiteY6" fmla="*/ 77815 h 267175"/>
                    <a:gd name="connsiteX7" fmla="*/ 0 w 315569"/>
                    <a:gd name="connsiteY7" fmla="*/ 115879 h 267175"/>
                    <a:gd name="connsiteX8" fmla="*/ 25423 w 315569"/>
                    <a:gd name="connsiteY8" fmla="*/ 173116 h 267175"/>
                    <a:gd name="connsiteX9" fmla="*/ 50846 w 315569"/>
                    <a:gd name="connsiteY9" fmla="*/ 223962 h 267175"/>
                    <a:gd name="connsiteX10" fmla="*/ 82660 w 315569"/>
                    <a:gd name="connsiteY10" fmla="*/ 236604 h 267175"/>
                    <a:gd name="connsiteX11" fmla="*/ 89050 w 315569"/>
                    <a:gd name="connsiteY11" fmla="*/ 249246 h 267175"/>
                    <a:gd name="connsiteX12" fmla="*/ 120864 w 315569"/>
                    <a:gd name="connsiteY12" fmla="*/ 249246 h 267175"/>
                    <a:gd name="connsiteX13" fmla="*/ 133506 w 315569"/>
                    <a:gd name="connsiteY13" fmla="*/ 236604 h 267175"/>
                    <a:gd name="connsiteX14" fmla="*/ 158929 w 315569"/>
                    <a:gd name="connsiteY14" fmla="*/ 242995 h 267175"/>
                    <a:gd name="connsiteX15" fmla="*/ 177961 w 315569"/>
                    <a:gd name="connsiteY15" fmla="*/ 242995 h 267175"/>
                    <a:gd name="connsiteX16" fmla="*/ 196994 w 315569"/>
                    <a:gd name="connsiteY16" fmla="*/ 262027 h 267175"/>
                    <a:gd name="connsiteX17" fmla="*/ 216026 w 315569"/>
                    <a:gd name="connsiteY17" fmla="*/ 255637 h 267175"/>
                    <a:gd name="connsiteX18" fmla="*/ 228668 w 315569"/>
                    <a:gd name="connsiteY18" fmla="*/ 262027 h 267175"/>
                    <a:gd name="connsiteX19" fmla="*/ 235059 w 315569"/>
                    <a:gd name="connsiteY19" fmla="*/ 223962 h 267175"/>
                    <a:gd name="connsiteX20" fmla="*/ 235059 w 315569"/>
                    <a:gd name="connsiteY20" fmla="*/ 198539 h 267175"/>
                    <a:gd name="connsiteX21" fmla="*/ 247701 w 315569"/>
                    <a:gd name="connsiteY21" fmla="*/ 179507 h 267175"/>
                    <a:gd name="connsiteX22" fmla="*/ 266733 w 315569"/>
                    <a:gd name="connsiteY22" fmla="*/ 141442 h 267175"/>
                    <a:gd name="connsiteX23" fmla="*/ 298547 w 315569"/>
                    <a:gd name="connsiteY23" fmla="*/ 109628 h 267175"/>
                    <a:gd name="connsiteX24" fmla="*/ 311328 w 315569"/>
                    <a:gd name="connsiteY24" fmla="*/ 103238 h 267175"/>
                    <a:gd name="connsiteX25" fmla="*/ 285905 w 315569"/>
                    <a:gd name="connsiteY25" fmla="*/ 71424 h 267175"/>
                    <a:gd name="connsiteX26" fmla="*/ 266872 w 315569"/>
                    <a:gd name="connsiteY26" fmla="*/ 33359 h 267175"/>
                    <a:gd name="connsiteX27" fmla="*/ 279515 w 315569"/>
                    <a:gd name="connsiteY27" fmla="*/ 26968 h 267175"/>
                    <a:gd name="connsiteX28" fmla="*/ 279515 w 315569"/>
                    <a:gd name="connsiteY28" fmla="*/ 7936 h 267175"/>
                    <a:gd name="connsiteX29" fmla="*/ 209775 w 315569"/>
                    <a:gd name="connsiteY29" fmla="*/ 20717 h 267175"/>
                    <a:gd name="connsiteX30" fmla="*/ 209775 w 315569"/>
                    <a:gd name="connsiteY30" fmla="*/ 20717 h 26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5569" h="267175">
                      <a:moveTo>
                        <a:pt x="209775" y="20717"/>
                      </a:moveTo>
                      <a:cubicBezTo>
                        <a:pt x="203385" y="39750"/>
                        <a:pt x="197133" y="52531"/>
                        <a:pt x="184352" y="71563"/>
                      </a:cubicBezTo>
                      <a:cubicBezTo>
                        <a:pt x="178100" y="96986"/>
                        <a:pt x="146287" y="96986"/>
                        <a:pt x="127115" y="90595"/>
                      </a:cubicBezTo>
                      <a:cubicBezTo>
                        <a:pt x="114474" y="84205"/>
                        <a:pt x="101692" y="96986"/>
                        <a:pt x="95302" y="103238"/>
                      </a:cubicBezTo>
                      <a:cubicBezTo>
                        <a:pt x="88911" y="109628"/>
                        <a:pt x="69879" y="103238"/>
                        <a:pt x="63488" y="109628"/>
                      </a:cubicBezTo>
                      <a:cubicBezTo>
                        <a:pt x="50707" y="116019"/>
                        <a:pt x="50707" y="116019"/>
                        <a:pt x="44456" y="103238"/>
                      </a:cubicBezTo>
                      <a:cubicBezTo>
                        <a:pt x="31675" y="96847"/>
                        <a:pt x="25423" y="90595"/>
                        <a:pt x="19033" y="77815"/>
                      </a:cubicBezTo>
                      <a:cubicBezTo>
                        <a:pt x="12642" y="71424"/>
                        <a:pt x="0" y="109628"/>
                        <a:pt x="0" y="115879"/>
                      </a:cubicBezTo>
                      <a:cubicBezTo>
                        <a:pt x="0" y="134912"/>
                        <a:pt x="19033" y="153945"/>
                        <a:pt x="25423" y="173116"/>
                      </a:cubicBezTo>
                      <a:cubicBezTo>
                        <a:pt x="38066" y="192149"/>
                        <a:pt x="31814" y="211181"/>
                        <a:pt x="50846" y="223962"/>
                      </a:cubicBezTo>
                      <a:cubicBezTo>
                        <a:pt x="63627" y="230353"/>
                        <a:pt x="76270" y="236604"/>
                        <a:pt x="82660" y="236604"/>
                      </a:cubicBezTo>
                      <a:cubicBezTo>
                        <a:pt x="101692" y="230214"/>
                        <a:pt x="82660" y="242995"/>
                        <a:pt x="89050" y="249246"/>
                      </a:cubicBezTo>
                      <a:cubicBezTo>
                        <a:pt x="95441" y="249246"/>
                        <a:pt x="114474" y="249246"/>
                        <a:pt x="120864" y="249246"/>
                      </a:cubicBezTo>
                      <a:cubicBezTo>
                        <a:pt x="127115" y="242856"/>
                        <a:pt x="127115" y="230214"/>
                        <a:pt x="133506" y="236604"/>
                      </a:cubicBezTo>
                      <a:cubicBezTo>
                        <a:pt x="139896" y="242995"/>
                        <a:pt x="152538" y="249246"/>
                        <a:pt x="158929" y="242995"/>
                      </a:cubicBezTo>
                      <a:cubicBezTo>
                        <a:pt x="165181" y="242995"/>
                        <a:pt x="177961" y="236604"/>
                        <a:pt x="177961" y="242995"/>
                      </a:cubicBezTo>
                      <a:cubicBezTo>
                        <a:pt x="184213" y="262027"/>
                        <a:pt x="171571" y="274808"/>
                        <a:pt x="196994" y="262027"/>
                      </a:cubicBezTo>
                      <a:cubicBezTo>
                        <a:pt x="203246" y="262027"/>
                        <a:pt x="209636" y="255637"/>
                        <a:pt x="216026" y="255637"/>
                      </a:cubicBezTo>
                      <a:cubicBezTo>
                        <a:pt x="222278" y="255637"/>
                        <a:pt x="228668" y="262027"/>
                        <a:pt x="228668" y="262027"/>
                      </a:cubicBezTo>
                      <a:cubicBezTo>
                        <a:pt x="235059" y="249246"/>
                        <a:pt x="222278" y="236604"/>
                        <a:pt x="235059" y="223962"/>
                      </a:cubicBezTo>
                      <a:cubicBezTo>
                        <a:pt x="241311" y="217572"/>
                        <a:pt x="235059" y="211181"/>
                        <a:pt x="235059" y="198539"/>
                      </a:cubicBezTo>
                      <a:cubicBezTo>
                        <a:pt x="235059" y="192149"/>
                        <a:pt x="241311" y="185897"/>
                        <a:pt x="247701" y="179507"/>
                      </a:cubicBezTo>
                      <a:cubicBezTo>
                        <a:pt x="260343" y="166865"/>
                        <a:pt x="273124" y="160474"/>
                        <a:pt x="266733" y="141442"/>
                      </a:cubicBezTo>
                      <a:cubicBezTo>
                        <a:pt x="266733" y="128799"/>
                        <a:pt x="285766" y="103376"/>
                        <a:pt x="298547" y="109628"/>
                      </a:cubicBezTo>
                      <a:cubicBezTo>
                        <a:pt x="304937" y="116019"/>
                        <a:pt x="323970" y="109628"/>
                        <a:pt x="311328" y="103238"/>
                      </a:cubicBezTo>
                      <a:cubicBezTo>
                        <a:pt x="304937" y="90595"/>
                        <a:pt x="285905" y="84205"/>
                        <a:pt x="285905" y="71424"/>
                      </a:cubicBezTo>
                      <a:cubicBezTo>
                        <a:pt x="285905" y="58643"/>
                        <a:pt x="273263" y="46001"/>
                        <a:pt x="266872" y="33359"/>
                      </a:cubicBezTo>
                      <a:cubicBezTo>
                        <a:pt x="260482" y="14327"/>
                        <a:pt x="279515" y="33359"/>
                        <a:pt x="279515" y="26968"/>
                      </a:cubicBezTo>
                      <a:cubicBezTo>
                        <a:pt x="285905" y="20578"/>
                        <a:pt x="260482" y="14327"/>
                        <a:pt x="279515" y="7936"/>
                      </a:cubicBezTo>
                      <a:cubicBezTo>
                        <a:pt x="254230" y="1546"/>
                        <a:pt x="216165" y="-11096"/>
                        <a:pt x="209775" y="20717"/>
                      </a:cubicBezTo>
                      <a:cubicBezTo>
                        <a:pt x="203385" y="33359"/>
                        <a:pt x="216165" y="7936"/>
                        <a:pt x="209775" y="2071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4" name="Freihandform: Form 353">
                  <a:extLst>
                    <a:ext uri="{FF2B5EF4-FFF2-40B4-BE49-F238E27FC236}">
                      <a16:creationId xmlns:a16="http://schemas.microsoft.com/office/drawing/2014/main" id="{11D4AF6E-F7A7-465C-BF17-E95C66F94F0A}"/>
                    </a:ext>
                  </a:extLst>
                </p:cNvPr>
                <p:cNvSpPr/>
                <p:nvPr/>
              </p:nvSpPr>
              <p:spPr>
                <a:xfrm>
                  <a:off x="9436329" y="4322590"/>
                  <a:ext cx="299084" cy="194765"/>
                </a:xfrm>
                <a:custGeom>
                  <a:avLst/>
                  <a:gdLst>
                    <a:gd name="connsiteX0" fmla="*/ 280209 w 299084"/>
                    <a:gd name="connsiteY0" fmla="*/ 57231 h 194765"/>
                    <a:gd name="connsiteX1" fmla="*/ 292573 w 299084"/>
                    <a:gd name="connsiteY1" fmla="*/ 44728 h 194765"/>
                    <a:gd name="connsiteX2" fmla="*/ 267706 w 299084"/>
                    <a:gd name="connsiteY2" fmla="*/ 38476 h 194765"/>
                    <a:gd name="connsiteX3" fmla="*/ 261454 w 299084"/>
                    <a:gd name="connsiteY3" fmla="*/ 32225 h 194765"/>
                    <a:gd name="connsiteX4" fmla="*/ 255203 w 299084"/>
                    <a:gd name="connsiteY4" fmla="*/ 32225 h 194765"/>
                    <a:gd name="connsiteX5" fmla="*/ 255203 w 299084"/>
                    <a:gd name="connsiteY5" fmla="*/ 19722 h 194765"/>
                    <a:gd name="connsiteX6" fmla="*/ 242700 w 299084"/>
                    <a:gd name="connsiteY6" fmla="*/ 7219 h 194765"/>
                    <a:gd name="connsiteX7" fmla="*/ 230197 w 299084"/>
                    <a:gd name="connsiteY7" fmla="*/ 7219 h 194765"/>
                    <a:gd name="connsiteX8" fmla="*/ 223945 w 299084"/>
                    <a:gd name="connsiteY8" fmla="*/ 967 h 194765"/>
                    <a:gd name="connsiteX9" fmla="*/ 199077 w 299084"/>
                    <a:gd name="connsiteY9" fmla="*/ 32225 h 194765"/>
                    <a:gd name="connsiteX10" fmla="*/ 186574 w 299084"/>
                    <a:gd name="connsiteY10" fmla="*/ 44728 h 194765"/>
                    <a:gd name="connsiteX11" fmla="*/ 180323 w 299084"/>
                    <a:gd name="connsiteY11" fmla="*/ 50980 h 194765"/>
                    <a:gd name="connsiteX12" fmla="*/ 180323 w 299084"/>
                    <a:gd name="connsiteY12" fmla="*/ 57231 h 194765"/>
                    <a:gd name="connsiteX13" fmla="*/ 155455 w 299084"/>
                    <a:gd name="connsiteY13" fmla="*/ 69734 h 194765"/>
                    <a:gd name="connsiteX14" fmla="*/ 155455 w 299084"/>
                    <a:gd name="connsiteY14" fmla="*/ 88489 h 194765"/>
                    <a:gd name="connsiteX15" fmla="*/ 167819 w 299084"/>
                    <a:gd name="connsiteY15" fmla="*/ 82237 h 194765"/>
                    <a:gd name="connsiteX16" fmla="*/ 180323 w 299084"/>
                    <a:gd name="connsiteY16" fmla="*/ 75986 h 194765"/>
                    <a:gd name="connsiteX17" fmla="*/ 174071 w 299084"/>
                    <a:gd name="connsiteY17" fmla="*/ 63483 h 194765"/>
                    <a:gd name="connsiteX18" fmla="*/ 180323 w 299084"/>
                    <a:gd name="connsiteY18" fmla="*/ 75986 h 194765"/>
                    <a:gd name="connsiteX19" fmla="*/ 161707 w 299084"/>
                    <a:gd name="connsiteY19" fmla="*/ 82237 h 194765"/>
                    <a:gd name="connsiteX20" fmla="*/ 143091 w 299084"/>
                    <a:gd name="connsiteY20" fmla="*/ 75986 h 194765"/>
                    <a:gd name="connsiteX21" fmla="*/ 87105 w 299084"/>
                    <a:gd name="connsiteY21" fmla="*/ 119747 h 194765"/>
                    <a:gd name="connsiteX22" fmla="*/ 55986 w 299084"/>
                    <a:gd name="connsiteY22" fmla="*/ 138501 h 194765"/>
                    <a:gd name="connsiteX23" fmla="*/ 43483 w 299084"/>
                    <a:gd name="connsiteY23" fmla="*/ 157256 h 194765"/>
                    <a:gd name="connsiteX24" fmla="*/ 55986 w 299084"/>
                    <a:gd name="connsiteY24" fmla="*/ 169759 h 194765"/>
                    <a:gd name="connsiteX25" fmla="*/ 0 w 299084"/>
                    <a:gd name="connsiteY25" fmla="*/ 157256 h 194765"/>
                    <a:gd name="connsiteX26" fmla="*/ 31119 w 299084"/>
                    <a:gd name="connsiteY26" fmla="*/ 194765 h 194765"/>
                    <a:gd name="connsiteX27" fmla="*/ 43622 w 299084"/>
                    <a:gd name="connsiteY27" fmla="*/ 188514 h 194765"/>
                    <a:gd name="connsiteX28" fmla="*/ 74741 w 299084"/>
                    <a:gd name="connsiteY28" fmla="*/ 182262 h 194765"/>
                    <a:gd name="connsiteX29" fmla="*/ 124476 w 299084"/>
                    <a:gd name="connsiteY29" fmla="*/ 176011 h 194765"/>
                    <a:gd name="connsiteX30" fmla="*/ 168098 w 299084"/>
                    <a:gd name="connsiteY30" fmla="*/ 144753 h 194765"/>
                    <a:gd name="connsiteX31" fmla="*/ 186713 w 299084"/>
                    <a:gd name="connsiteY31" fmla="*/ 107244 h 194765"/>
                    <a:gd name="connsiteX32" fmla="*/ 211580 w 299084"/>
                    <a:gd name="connsiteY32" fmla="*/ 82237 h 194765"/>
                    <a:gd name="connsiteX33" fmla="*/ 267567 w 299084"/>
                    <a:gd name="connsiteY33" fmla="*/ 82237 h 194765"/>
                    <a:gd name="connsiteX34" fmla="*/ 280209 w 299084"/>
                    <a:gd name="connsiteY34" fmla="*/ 57231 h 19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99084" h="194765">
                      <a:moveTo>
                        <a:pt x="280209" y="57231"/>
                      </a:moveTo>
                      <a:cubicBezTo>
                        <a:pt x="298825" y="57231"/>
                        <a:pt x="305076" y="50980"/>
                        <a:pt x="292573" y="44728"/>
                      </a:cubicBezTo>
                      <a:cubicBezTo>
                        <a:pt x="280209" y="38476"/>
                        <a:pt x="280209" y="32225"/>
                        <a:pt x="267706" y="38476"/>
                      </a:cubicBezTo>
                      <a:cubicBezTo>
                        <a:pt x="261454" y="44728"/>
                        <a:pt x="267706" y="38476"/>
                        <a:pt x="261454" y="32225"/>
                      </a:cubicBezTo>
                      <a:lnTo>
                        <a:pt x="255203" y="32225"/>
                      </a:lnTo>
                      <a:lnTo>
                        <a:pt x="255203" y="19722"/>
                      </a:lnTo>
                      <a:cubicBezTo>
                        <a:pt x="248951" y="13470"/>
                        <a:pt x="242700" y="7219"/>
                        <a:pt x="242700" y="7219"/>
                      </a:cubicBezTo>
                      <a:cubicBezTo>
                        <a:pt x="230197" y="-5284"/>
                        <a:pt x="236448" y="967"/>
                        <a:pt x="230197" y="7219"/>
                      </a:cubicBezTo>
                      <a:cubicBezTo>
                        <a:pt x="223945" y="13470"/>
                        <a:pt x="223945" y="967"/>
                        <a:pt x="223945" y="967"/>
                      </a:cubicBezTo>
                      <a:cubicBezTo>
                        <a:pt x="217694" y="967"/>
                        <a:pt x="199077" y="25973"/>
                        <a:pt x="199077" y="32225"/>
                      </a:cubicBezTo>
                      <a:cubicBezTo>
                        <a:pt x="192826" y="32225"/>
                        <a:pt x="186574" y="38476"/>
                        <a:pt x="186574" y="44728"/>
                      </a:cubicBezTo>
                      <a:cubicBezTo>
                        <a:pt x="180323" y="44728"/>
                        <a:pt x="180323" y="50980"/>
                        <a:pt x="180323" y="50980"/>
                      </a:cubicBezTo>
                      <a:cubicBezTo>
                        <a:pt x="180323" y="57231"/>
                        <a:pt x="180323" y="57231"/>
                        <a:pt x="180323" y="57231"/>
                      </a:cubicBezTo>
                      <a:cubicBezTo>
                        <a:pt x="180323" y="63483"/>
                        <a:pt x="161707" y="63483"/>
                        <a:pt x="155455" y="69734"/>
                      </a:cubicBezTo>
                      <a:cubicBezTo>
                        <a:pt x="136840" y="69734"/>
                        <a:pt x="142952" y="82237"/>
                        <a:pt x="155455" y="88489"/>
                      </a:cubicBezTo>
                      <a:cubicBezTo>
                        <a:pt x="167819" y="100992"/>
                        <a:pt x="161707" y="88489"/>
                        <a:pt x="167819" y="82237"/>
                      </a:cubicBezTo>
                      <a:cubicBezTo>
                        <a:pt x="167819" y="75986"/>
                        <a:pt x="180323" y="75986"/>
                        <a:pt x="180323" y="75986"/>
                      </a:cubicBezTo>
                      <a:cubicBezTo>
                        <a:pt x="180323" y="75986"/>
                        <a:pt x="174071" y="69734"/>
                        <a:pt x="174071" y="63483"/>
                      </a:cubicBezTo>
                      <a:cubicBezTo>
                        <a:pt x="174071" y="69734"/>
                        <a:pt x="180323" y="75986"/>
                        <a:pt x="180323" y="75986"/>
                      </a:cubicBezTo>
                      <a:cubicBezTo>
                        <a:pt x="180323" y="75986"/>
                        <a:pt x="167819" y="75986"/>
                        <a:pt x="161707" y="82237"/>
                      </a:cubicBezTo>
                      <a:cubicBezTo>
                        <a:pt x="161707" y="100992"/>
                        <a:pt x="149204" y="82237"/>
                        <a:pt x="143091" y="75986"/>
                      </a:cubicBezTo>
                      <a:cubicBezTo>
                        <a:pt x="124476" y="94741"/>
                        <a:pt x="111973" y="113495"/>
                        <a:pt x="87105" y="119747"/>
                      </a:cubicBezTo>
                      <a:cubicBezTo>
                        <a:pt x="74602" y="125998"/>
                        <a:pt x="62237" y="125998"/>
                        <a:pt x="55986" y="138501"/>
                      </a:cubicBezTo>
                      <a:cubicBezTo>
                        <a:pt x="49734" y="144753"/>
                        <a:pt x="49734" y="151005"/>
                        <a:pt x="43483" y="157256"/>
                      </a:cubicBezTo>
                      <a:cubicBezTo>
                        <a:pt x="43483" y="163508"/>
                        <a:pt x="55986" y="169759"/>
                        <a:pt x="55986" y="169759"/>
                      </a:cubicBezTo>
                      <a:cubicBezTo>
                        <a:pt x="49734" y="176011"/>
                        <a:pt x="6113" y="157256"/>
                        <a:pt x="0" y="157256"/>
                      </a:cubicBezTo>
                      <a:cubicBezTo>
                        <a:pt x="6252" y="169759"/>
                        <a:pt x="18616" y="188514"/>
                        <a:pt x="31119" y="194765"/>
                      </a:cubicBezTo>
                      <a:cubicBezTo>
                        <a:pt x="37370" y="194765"/>
                        <a:pt x="43622" y="188514"/>
                        <a:pt x="43622" y="188514"/>
                      </a:cubicBezTo>
                      <a:cubicBezTo>
                        <a:pt x="56125" y="182262"/>
                        <a:pt x="74741" y="188514"/>
                        <a:pt x="74741" y="182262"/>
                      </a:cubicBezTo>
                      <a:cubicBezTo>
                        <a:pt x="93495" y="163508"/>
                        <a:pt x="105860" y="169759"/>
                        <a:pt x="124476" y="176011"/>
                      </a:cubicBezTo>
                      <a:cubicBezTo>
                        <a:pt x="143091" y="176011"/>
                        <a:pt x="161846" y="163508"/>
                        <a:pt x="168098" y="144753"/>
                      </a:cubicBezTo>
                      <a:cubicBezTo>
                        <a:pt x="174349" y="132250"/>
                        <a:pt x="180601" y="119747"/>
                        <a:pt x="186713" y="107244"/>
                      </a:cubicBezTo>
                      <a:cubicBezTo>
                        <a:pt x="186713" y="88489"/>
                        <a:pt x="192965" y="82237"/>
                        <a:pt x="211580" y="82237"/>
                      </a:cubicBezTo>
                      <a:cubicBezTo>
                        <a:pt x="230197" y="82237"/>
                        <a:pt x="248951" y="88489"/>
                        <a:pt x="267567" y="82237"/>
                      </a:cubicBezTo>
                      <a:cubicBezTo>
                        <a:pt x="292573" y="75986"/>
                        <a:pt x="249090" y="57231"/>
                        <a:pt x="280209" y="5723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5" name="Freihandform: Form 354">
                  <a:extLst>
                    <a:ext uri="{FF2B5EF4-FFF2-40B4-BE49-F238E27FC236}">
                      <a16:creationId xmlns:a16="http://schemas.microsoft.com/office/drawing/2014/main" id="{C782CEA5-A2CF-4189-A5B3-F4145F10544E}"/>
                    </a:ext>
                  </a:extLst>
                </p:cNvPr>
                <p:cNvSpPr/>
                <p:nvPr/>
              </p:nvSpPr>
              <p:spPr>
                <a:xfrm>
                  <a:off x="8825724" y="3635115"/>
                  <a:ext cx="90744" cy="49669"/>
                </a:xfrm>
                <a:custGeom>
                  <a:avLst/>
                  <a:gdLst>
                    <a:gd name="connsiteX0" fmla="*/ 3370 w 90744"/>
                    <a:gd name="connsiteY0" fmla="*/ 41615 h 49669"/>
                    <a:gd name="connsiteX1" fmla="*/ 34211 w 90744"/>
                    <a:gd name="connsiteY1" fmla="*/ 47310 h 49669"/>
                    <a:gd name="connsiteX2" fmla="*/ 65052 w 90744"/>
                    <a:gd name="connsiteY2" fmla="*/ 47310 h 49669"/>
                    <a:gd name="connsiteX3" fmla="*/ 89780 w 90744"/>
                    <a:gd name="connsiteY3" fmla="*/ 41615 h 49669"/>
                    <a:gd name="connsiteX4" fmla="*/ 83668 w 90744"/>
                    <a:gd name="connsiteY4" fmla="*/ 12996 h 49669"/>
                    <a:gd name="connsiteX5" fmla="*/ 52827 w 90744"/>
                    <a:gd name="connsiteY5" fmla="*/ 12996 h 49669"/>
                    <a:gd name="connsiteX6" fmla="*/ 28099 w 90744"/>
                    <a:gd name="connsiteY6" fmla="*/ 1605 h 49669"/>
                    <a:gd name="connsiteX7" fmla="*/ 3370 w 90744"/>
                    <a:gd name="connsiteY7" fmla="*/ 41615 h 49669"/>
                    <a:gd name="connsiteX8" fmla="*/ 3370 w 90744"/>
                    <a:gd name="connsiteY8" fmla="*/ 41615 h 4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744" h="49669">
                      <a:moveTo>
                        <a:pt x="3370" y="41615"/>
                      </a:moveTo>
                      <a:cubicBezTo>
                        <a:pt x="9482" y="47310"/>
                        <a:pt x="28099" y="53006"/>
                        <a:pt x="34211" y="47310"/>
                      </a:cubicBezTo>
                      <a:cubicBezTo>
                        <a:pt x="46575" y="41615"/>
                        <a:pt x="52688" y="53006"/>
                        <a:pt x="65052" y="47310"/>
                      </a:cubicBezTo>
                      <a:cubicBezTo>
                        <a:pt x="71165" y="47310"/>
                        <a:pt x="95893" y="47310"/>
                        <a:pt x="89780" y="41615"/>
                      </a:cubicBezTo>
                      <a:cubicBezTo>
                        <a:pt x="83668" y="30223"/>
                        <a:pt x="77416" y="24388"/>
                        <a:pt x="83668" y="12996"/>
                      </a:cubicBezTo>
                      <a:cubicBezTo>
                        <a:pt x="71303" y="7301"/>
                        <a:pt x="58939" y="18692"/>
                        <a:pt x="52827" y="12996"/>
                      </a:cubicBezTo>
                      <a:cubicBezTo>
                        <a:pt x="46714" y="7301"/>
                        <a:pt x="34350" y="-4230"/>
                        <a:pt x="28099" y="1605"/>
                      </a:cubicBezTo>
                      <a:cubicBezTo>
                        <a:pt x="15734" y="12996"/>
                        <a:pt x="-8994" y="30223"/>
                        <a:pt x="3370" y="41615"/>
                      </a:cubicBezTo>
                      <a:cubicBezTo>
                        <a:pt x="9482" y="47310"/>
                        <a:pt x="-2743" y="35919"/>
                        <a:pt x="3370" y="4161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6" name="Freihandform: Form 355">
                  <a:extLst>
                    <a:ext uri="{FF2B5EF4-FFF2-40B4-BE49-F238E27FC236}">
                      <a16:creationId xmlns:a16="http://schemas.microsoft.com/office/drawing/2014/main" id="{9A962CFB-76BB-4815-B46F-6FF155A16D77}"/>
                    </a:ext>
                  </a:extLst>
                </p:cNvPr>
                <p:cNvSpPr/>
                <p:nvPr/>
              </p:nvSpPr>
              <p:spPr>
                <a:xfrm>
                  <a:off x="8568890" y="3554754"/>
                  <a:ext cx="229223" cy="138556"/>
                </a:xfrm>
                <a:custGeom>
                  <a:avLst/>
                  <a:gdLst>
                    <a:gd name="connsiteX0" fmla="*/ 6252 w 229223"/>
                    <a:gd name="connsiteY0" fmla="*/ 18616 h 138556"/>
                    <a:gd name="connsiteX1" fmla="*/ 0 w 229223"/>
                    <a:gd name="connsiteY1" fmla="*/ 55986 h 138556"/>
                    <a:gd name="connsiteX2" fmla="*/ 30980 w 229223"/>
                    <a:gd name="connsiteY2" fmla="*/ 80854 h 138556"/>
                    <a:gd name="connsiteX3" fmla="*/ 43344 w 229223"/>
                    <a:gd name="connsiteY3" fmla="*/ 87105 h 138556"/>
                    <a:gd name="connsiteX4" fmla="*/ 74324 w 229223"/>
                    <a:gd name="connsiteY4" fmla="*/ 93357 h 138556"/>
                    <a:gd name="connsiteX5" fmla="*/ 92940 w 229223"/>
                    <a:gd name="connsiteY5" fmla="*/ 99608 h 138556"/>
                    <a:gd name="connsiteX6" fmla="*/ 117668 w 229223"/>
                    <a:gd name="connsiteY6" fmla="*/ 99608 h 138556"/>
                    <a:gd name="connsiteX7" fmla="*/ 136284 w 229223"/>
                    <a:gd name="connsiteY7" fmla="*/ 118224 h 138556"/>
                    <a:gd name="connsiteX8" fmla="*/ 161012 w 229223"/>
                    <a:gd name="connsiteY8" fmla="*/ 124476 h 138556"/>
                    <a:gd name="connsiteX9" fmla="*/ 179628 w 229223"/>
                    <a:gd name="connsiteY9" fmla="*/ 136840 h 138556"/>
                    <a:gd name="connsiteX10" fmla="*/ 198244 w 229223"/>
                    <a:gd name="connsiteY10" fmla="*/ 124476 h 138556"/>
                    <a:gd name="connsiteX11" fmla="*/ 216860 w 229223"/>
                    <a:gd name="connsiteY11" fmla="*/ 136840 h 138556"/>
                    <a:gd name="connsiteX12" fmla="*/ 229224 w 229223"/>
                    <a:gd name="connsiteY12" fmla="*/ 130588 h 138556"/>
                    <a:gd name="connsiteX13" fmla="*/ 229224 w 229223"/>
                    <a:gd name="connsiteY13" fmla="*/ 111973 h 138556"/>
                    <a:gd name="connsiteX14" fmla="*/ 229224 w 229223"/>
                    <a:gd name="connsiteY14" fmla="*/ 87105 h 138556"/>
                    <a:gd name="connsiteX15" fmla="*/ 198244 w 229223"/>
                    <a:gd name="connsiteY15" fmla="*/ 87105 h 138556"/>
                    <a:gd name="connsiteX16" fmla="*/ 191992 w 229223"/>
                    <a:gd name="connsiteY16" fmla="*/ 80854 h 138556"/>
                    <a:gd name="connsiteX17" fmla="*/ 173376 w 229223"/>
                    <a:gd name="connsiteY17" fmla="*/ 80854 h 138556"/>
                    <a:gd name="connsiteX18" fmla="*/ 161012 w 229223"/>
                    <a:gd name="connsiteY18" fmla="*/ 74602 h 138556"/>
                    <a:gd name="connsiteX19" fmla="*/ 148648 w 229223"/>
                    <a:gd name="connsiteY19" fmla="*/ 74602 h 138556"/>
                    <a:gd name="connsiteX20" fmla="*/ 123919 w 229223"/>
                    <a:gd name="connsiteY20" fmla="*/ 62238 h 138556"/>
                    <a:gd name="connsiteX21" fmla="*/ 111555 w 229223"/>
                    <a:gd name="connsiteY21" fmla="*/ 49735 h 138556"/>
                    <a:gd name="connsiteX22" fmla="*/ 99191 w 229223"/>
                    <a:gd name="connsiteY22" fmla="*/ 43483 h 138556"/>
                    <a:gd name="connsiteX23" fmla="*/ 62098 w 229223"/>
                    <a:gd name="connsiteY23" fmla="*/ 12364 h 138556"/>
                    <a:gd name="connsiteX24" fmla="*/ 49734 w 229223"/>
                    <a:gd name="connsiteY24" fmla="*/ 0 h 138556"/>
                    <a:gd name="connsiteX25" fmla="*/ 31119 w 229223"/>
                    <a:gd name="connsiteY25" fmla="*/ 12364 h 138556"/>
                    <a:gd name="connsiteX26" fmla="*/ 25006 w 229223"/>
                    <a:gd name="connsiteY26" fmla="*/ 12364 h 138556"/>
                    <a:gd name="connsiteX27" fmla="*/ 6252 w 229223"/>
                    <a:gd name="connsiteY27" fmla="*/ 18616 h 138556"/>
                    <a:gd name="connsiteX28" fmla="*/ 6252 w 229223"/>
                    <a:gd name="connsiteY28" fmla="*/ 18616 h 13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9223" h="138556">
                      <a:moveTo>
                        <a:pt x="6252" y="18616"/>
                      </a:moveTo>
                      <a:cubicBezTo>
                        <a:pt x="0" y="24867"/>
                        <a:pt x="0" y="49735"/>
                        <a:pt x="0" y="55986"/>
                      </a:cubicBezTo>
                      <a:cubicBezTo>
                        <a:pt x="6252" y="62238"/>
                        <a:pt x="24728" y="68350"/>
                        <a:pt x="30980" y="80854"/>
                      </a:cubicBezTo>
                      <a:cubicBezTo>
                        <a:pt x="37231" y="80854"/>
                        <a:pt x="43344" y="87105"/>
                        <a:pt x="43344" y="87105"/>
                      </a:cubicBezTo>
                      <a:cubicBezTo>
                        <a:pt x="55708" y="93357"/>
                        <a:pt x="61960" y="87105"/>
                        <a:pt x="74324" y="93357"/>
                      </a:cubicBezTo>
                      <a:cubicBezTo>
                        <a:pt x="80437" y="93357"/>
                        <a:pt x="86688" y="99608"/>
                        <a:pt x="92940" y="99608"/>
                      </a:cubicBezTo>
                      <a:cubicBezTo>
                        <a:pt x="99052" y="99608"/>
                        <a:pt x="111555" y="99608"/>
                        <a:pt x="117668" y="99608"/>
                      </a:cubicBezTo>
                      <a:cubicBezTo>
                        <a:pt x="123919" y="105860"/>
                        <a:pt x="130033" y="111973"/>
                        <a:pt x="136284" y="118224"/>
                      </a:cubicBezTo>
                      <a:cubicBezTo>
                        <a:pt x="142536" y="118224"/>
                        <a:pt x="154900" y="118224"/>
                        <a:pt x="161012" y="124476"/>
                      </a:cubicBezTo>
                      <a:cubicBezTo>
                        <a:pt x="167264" y="124476"/>
                        <a:pt x="173376" y="136840"/>
                        <a:pt x="179628" y="136840"/>
                      </a:cubicBezTo>
                      <a:cubicBezTo>
                        <a:pt x="185879" y="136840"/>
                        <a:pt x="191992" y="124476"/>
                        <a:pt x="198244" y="124476"/>
                      </a:cubicBezTo>
                      <a:cubicBezTo>
                        <a:pt x="204357" y="130727"/>
                        <a:pt x="204357" y="143091"/>
                        <a:pt x="216860" y="136840"/>
                      </a:cubicBezTo>
                      <a:lnTo>
                        <a:pt x="229224" y="130588"/>
                      </a:lnTo>
                      <a:cubicBezTo>
                        <a:pt x="229224" y="124337"/>
                        <a:pt x="229224" y="118085"/>
                        <a:pt x="229224" y="111973"/>
                      </a:cubicBezTo>
                      <a:cubicBezTo>
                        <a:pt x="222972" y="105721"/>
                        <a:pt x="229224" y="99608"/>
                        <a:pt x="229224" y="87105"/>
                      </a:cubicBezTo>
                      <a:cubicBezTo>
                        <a:pt x="216860" y="87105"/>
                        <a:pt x="210608" y="93357"/>
                        <a:pt x="198244" y="87105"/>
                      </a:cubicBezTo>
                      <a:lnTo>
                        <a:pt x="191992" y="80854"/>
                      </a:lnTo>
                      <a:cubicBezTo>
                        <a:pt x="185879" y="80854"/>
                        <a:pt x="179628" y="87105"/>
                        <a:pt x="173376" y="80854"/>
                      </a:cubicBezTo>
                      <a:cubicBezTo>
                        <a:pt x="173376" y="80854"/>
                        <a:pt x="167264" y="74602"/>
                        <a:pt x="161012" y="74602"/>
                      </a:cubicBezTo>
                      <a:cubicBezTo>
                        <a:pt x="154761" y="74602"/>
                        <a:pt x="148648" y="86966"/>
                        <a:pt x="148648" y="74602"/>
                      </a:cubicBezTo>
                      <a:cubicBezTo>
                        <a:pt x="136284" y="62238"/>
                        <a:pt x="130033" y="68350"/>
                        <a:pt x="123919" y="62238"/>
                      </a:cubicBezTo>
                      <a:cubicBezTo>
                        <a:pt x="117668" y="55986"/>
                        <a:pt x="117668" y="49735"/>
                        <a:pt x="111555" y="49735"/>
                      </a:cubicBezTo>
                      <a:cubicBezTo>
                        <a:pt x="105304" y="43483"/>
                        <a:pt x="99191" y="43483"/>
                        <a:pt x="99191" y="43483"/>
                      </a:cubicBezTo>
                      <a:cubicBezTo>
                        <a:pt x="86827" y="37232"/>
                        <a:pt x="68212" y="24867"/>
                        <a:pt x="62098" y="12364"/>
                      </a:cubicBezTo>
                      <a:cubicBezTo>
                        <a:pt x="62098" y="6113"/>
                        <a:pt x="55847" y="0"/>
                        <a:pt x="49734" y="0"/>
                      </a:cubicBezTo>
                      <a:cubicBezTo>
                        <a:pt x="37370" y="0"/>
                        <a:pt x="37370" y="6252"/>
                        <a:pt x="31119" y="12364"/>
                      </a:cubicBezTo>
                      <a:cubicBezTo>
                        <a:pt x="31119" y="18616"/>
                        <a:pt x="25006" y="12364"/>
                        <a:pt x="25006" y="12364"/>
                      </a:cubicBezTo>
                      <a:cubicBezTo>
                        <a:pt x="18616" y="18616"/>
                        <a:pt x="12364" y="18616"/>
                        <a:pt x="6252" y="18616"/>
                      </a:cubicBezTo>
                      <a:cubicBezTo>
                        <a:pt x="0" y="24867"/>
                        <a:pt x="12364" y="18616"/>
                        <a:pt x="6252" y="1861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7" name="Freihandform: Form 356">
                  <a:extLst>
                    <a:ext uri="{FF2B5EF4-FFF2-40B4-BE49-F238E27FC236}">
                      <a16:creationId xmlns:a16="http://schemas.microsoft.com/office/drawing/2014/main" id="{BF1373D5-24F7-49A5-B4F0-A2BD8A1BC9FE}"/>
                    </a:ext>
                  </a:extLst>
                </p:cNvPr>
                <p:cNvSpPr/>
                <p:nvPr/>
              </p:nvSpPr>
              <p:spPr>
                <a:xfrm>
                  <a:off x="9207521" y="4083553"/>
                  <a:ext cx="176126" cy="138590"/>
                </a:xfrm>
                <a:custGeom>
                  <a:avLst/>
                  <a:gdLst>
                    <a:gd name="connsiteX0" fmla="*/ 90578 w 176126"/>
                    <a:gd name="connsiteY0" fmla="*/ 113584 h 138590"/>
                    <a:gd name="connsiteX1" fmla="*/ 122947 w 176126"/>
                    <a:gd name="connsiteY1" fmla="*/ 107332 h 138590"/>
                    <a:gd name="connsiteX2" fmla="*/ 122947 w 176126"/>
                    <a:gd name="connsiteY2" fmla="*/ 88716 h 138590"/>
                    <a:gd name="connsiteX3" fmla="*/ 135868 w 176126"/>
                    <a:gd name="connsiteY3" fmla="*/ 82465 h 138590"/>
                    <a:gd name="connsiteX4" fmla="*/ 155317 w 176126"/>
                    <a:gd name="connsiteY4" fmla="*/ 70101 h 138590"/>
                    <a:gd name="connsiteX5" fmla="*/ 174766 w 176126"/>
                    <a:gd name="connsiteY5" fmla="*/ 51485 h 138590"/>
                    <a:gd name="connsiteX6" fmla="*/ 168237 w 176126"/>
                    <a:gd name="connsiteY6" fmla="*/ 1750 h 138590"/>
                    <a:gd name="connsiteX7" fmla="*/ 142397 w 176126"/>
                    <a:gd name="connsiteY7" fmla="*/ 1750 h 138590"/>
                    <a:gd name="connsiteX8" fmla="*/ 122947 w 176126"/>
                    <a:gd name="connsiteY8" fmla="*/ 8002 h 138590"/>
                    <a:gd name="connsiteX9" fmla="*/ 110028 w 176126"/>
                    <a:gd name="connsiteY9" fmla="*/ 8002 h 138590"/>
                    <a:gd name="connsiteX10" fmla="*/ 19449 w 176126"/>
                    <a:gd name="connsiteY10" fmla="*/ 14254 h 138590"/>
                    <a:gd name="connsiteX11" fmla="*/ 0 w 176126"/>
                    <a:gd name="connsiteY11" fmla="*/ 39121 h 138590"/>
                    <a:gd name="connsiteX12" fmla="*/ 6530 w 176126"/>
                    <a:gd name="connsiteY12" fmla="*/ 57736 h 138590"/>
                    <a:gd name="connsiteX13" fmla="*/ 19449 w 176126"/>
                    <a:gd name="connsiteY13" fmla="*/ 82604 h 138590"/>
                    <a:gd name="connsiteX14" fmla="*/ 32370 w 176126"/>
                    <a:gd name="connsiteY14" fmla="*/ 107471 h 138590"/>
                    <a:gd name="connsiteX15" fmla="*/ 38899 w 176126"/>
                    <a:gd name="connsiteY15" fmla="*/ 113723 h 138590"/>
                    <a:gd name="connsiteX16" fmla="*/ 45428 w 176126"/>
                    <a:gd name="connsiteY16" fmla="*/ 126226 h 138590"/>
                    <a:gd name="connsiteX17" fmla="*/ 51958 w 176126"/>
                    <a:gd name="connsiteY17" fmla="*/ 138590 h 138590"/>
                    <a:gd name="connsiteX18" fmla="*/ 90578 w 176126"/>
                    <a:gd name="connsiteY18" fmla="*/ 113584 h 138590"/>
                    <a:gd name="connsiteX19" fmla="*/ 90578 w 176126"/>
                    <a:gd name="connsiteY19" fmla="*/ 113584 h 13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6126" h="138590">
                      <a:moveTo>
                        <a:pt x="90578" y="113584"/>
                      </a:moveTo>
                      <a:cubicBezTo>
                        <a:pt x="90578" y="107332"/>
                        <a:pt x="129338" y="119835"/>
                        <a:pt x="122947" y="107332"/>
                      </a:cubicBezTo>
                      <a:cubicBezTo>
                        <a:pt x="122947" y="107332"/>
                        <a:pt x="116418" y="88716"/>
                        <a:pt x="122947" y="88716"/>
                      </a:cubicBezTo>
                      <a:cubicBezTo>
                        <a:pt x="129477" y="88716"/>
                        <a:pt x="135868" y="94968"/>
                        <a:pt x="135868" y="82465"/>
                      </a:cubicBezTo>
                      <a:cubicBezTo>
                        <a:pt x="135868" y="70101"/>
                        <a:pt x="148787" y="76213"/>
                        <a:pt x="155317" y="70101"/>
                      </a:cubicBezTo>
                      <a:cubicBezTo>
                        <a:pt x="168237" y="70101"/>
                        <a:pt x="168237" y="57736"/>
                        <a:pt x="174766" y="51485"/>
                      </a:cubicBezTo>
                      <a:cubicBezTo>
                        <a:pt x="181295" y="38982"/>
                        <a:pt x="161846" y="8002"/>
                        <a:pt x="168237" y="1750"/>
                      </a:cubicBezTo>
                      <a:cubicBezTo>
                        <a:pt x="155317" y="8002"/>
                        <a:pt x="155317" y="8002"/>
                        <a:pt x="142397" y="1750"/>
                      </a:cubicBezTo>
                      <a:cubicBezTo>
                        <a:pt x="135868" y="-4501"/>
                        <a:pt x="122947" y="8002"/>
                        <a:pt x="122947" y="8002"/>
                      </a:cubicBezTo>
                      <a:cubicBezTo>
                        <a:pt x="122947" y="20505"/>
                        <a:pt x="110028" y="8002"/>
                        <a:pt x="110028" y="8002"/>
                      </a:cubicBezTo>
                      <a:cubicBezTo>
                        <a:pt x="84188" y="1750"/>
                        <a:pt x="38899" y="-4362"/>
                        <a:pt x="19449" y="14254"/>
                      </a:cubicBezTo>
                      <a:cubicBezTo>
                        <a:pt x="12920" y="20505"/>
                        <a:pt x="0" y="26618"/>
                        <a:pt x="0" y="39121"/>
                      </a:cubicBezTo>
                      <a:cubicBezTo>
                        <a:pt x="0" y="45372"/>
                        <a:pt x="6530" y="51624"/>
                        <a:pt x="6530" y="57736"/>
                      </a:cubicBezTo>
                      <a:cubicBezTo>
                        <a:pt x="19449" y="63988"/>
                        <a:pt x="19449" y="76352"/>
                        <a:pt x="19449" y="82604"/>
                      </a:cubicBezTo>
                      <a:cubicBezTo>
                        <a:pt x="25979" y="95107"/>
                        <a:pt x="25979" y="101219"/>
                        <a:pt x="32370" y="107471"/>
                      </a:cubicBezTo>
                      <a:cubicBezTo>
                        <a:pt x="32370" y="113723"/>
                        <a:pt x="38899" y="107471"/>
                        <a:pt x="38899" y="113723"/>
                      </a:cubicBezTo>
                      <a:cubicBezTo>
                        <a:pt x="45428" y="113723"/>
                        <a:pt x="38899" y="119974"/>
                        <a:pt x="45428" y="126226"/>
                      </a:cubicBezTo>
                      <a:cubicBezTo>
                        <a:pt x="58348" y="126226"/>
                        <a:pt x="51958" y="132477"/>
                        <a:pt x="51958" y="138590"/>
                      </a:cubicBezTo>
                      <a:cubicBezTo>
                        <a:pt x="51819" y="132200"/>
                        <a:pt x="90578" y="119835"/>
                        <a:pt x="90578" y="113584"/>
                      </a:cubicBezTo>
                      <a:cubicBezTo>
                        <a:pt x="90578" y="113584"/>
                        <a:pt x="90578" y="119835"/>
                        <a:pt x="90578" y="11358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8" name="Freihandform: Form 357">
                  <a:extLst>
                    <a:ext uri="{FF2B5EF4-FFF2-40B4-BE49-F238E27FC236}">
                      <a16:creationId xmlns:a16="http://schemas.microsoft.com/office/drawing/2014/main" id="{5C385B8A-8360-4B20-8562-DB0B0CBB4D85}"/>
                    </a:ext>
                  </a:extLst>
                </p:cNvPr>
                <p:cNvSpPr/>
                <p:nvPr/>
              </p:nvSpPr>
              <p:spPr>
                <a:xfrm>
                  <a:off x="9140838" y="4336338"/>
                  <a:ext cx="136510" cy="161984"/>
                </a:xfrm>
                <a:custGeom>
                  <a:avLst/>
                  <a:gdLst>
                    <a:gd name="connsiteX0" fmla="*/ 65017 w 136510"/>
                    <a:gd name="connsiteY0" fmla="*/ 18755 h 161984"/>
                    <a:gd name="connsiteX1" fmla="*/ 45567 w 136510"/>
                    <a:gd name="connsiteY1" fmla="*/ 25006 h 161984"/>
                    <a:gd name="connsiteX2" fmla="*/ 39038 w 136510"/>
                    <a:gd name="connsiteY2" fmla="*/ 25006 h 161984"/>
                    <a:gd name="connsiteX3" fmla="*/ 32509 w 136510"/>
                    <a:gd name="connsiteY3" fmla="*/ 6252 h 161984"/>
                    <a:gd name="connsiteX4" fmla="*/ 0 w 136510"/>
                    <a:gd name="connsiteY4" fmla="*/ 0 h 161984"/>
                    <a:gd name="connsiteX5" fmla="*/ 6530 w 136510"/>
                    <a:gd name="connsiteY5" fmla="*/ 37370 h 161984"/>
                    <a:gd name="connsiteX6" fmla="*/ 25979 w 136510"/>
                    <a:gd name="connsiteY6" fmla="*/ 87244 h 161984"/>
                    <a:gd name="connsiteX7" fmla="*/ 58487 w 136510"/>
                    <a:gd name="connsiteY7" fmla="*/ 130866 h 161984"/>
                    <a:gd name="connsiteX8" fmla="*/ 123504 w 136510"/>
                    <a:gd name="connsiteY8" fmla="*/ 161985 h 161984"/>
                    <a:gd name="connsiteX9" fmla="*/ 130033 w 136510"/>
                    <a:gd name="connsiteY9" fmla="*/ 143230 h 161984"/>
                    <a:gd name="connsiteX10" fmla="*/ 104054 w 136510"/>
                    <a:gd name="connsiteY10" fmla="*/ 87105 h 161984"/>
                    <a:gd name="connsiteX11" fmla="*/ 104054 w 136510"/>
                    <a:gd name="connsiteY11" fmla="*/ 37232 h 161984"/>
                    <a:gd name="connsiteX12" fmla="*/ 65017 w 136510"/>
                    <a:gd name="connsiteY12" fmla="*/ 18755 h 161984"/>
                    <a:gd name="connsiteX13" fmla="*/ 65017 w 136510"/>
                    <a:gd name="connsiteY13" fmla="*/ 18755 h 16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510" h="161984">
                      <a:moveTo>
                        <a:pt x="65017" y="18755"/>
                      </a:moveTo>
                      <a:cubicBezTo>
                        <a:pt x="58487" y="18755"/>
                        <a:pt x="51958" y="25006"/>
                        <a:pt x="45567" y="25006"/>
                      </a:cubicBezTo>
                      <a:cubicBezTo>
                        <a:pt x="45567" y="18755"/>
                        <a:pt x="39038" y="25006"/>
                        <a:pt x="39038" y="25006"/>
                      </a:cubicBezTo>
                      <a:cubicBezTo>
                        <a:pt x="32509" y="25006"/>
                        <a:pt x="32509" y="12503"/>
                        <a:pt x="32509" y="6252"/>
                      </a:cubicBezTo>
                      <a:cubicBezTo>
                        <a:pt x="25979" y="0"/>
                        <a:pt x="13059" y="0"/>
                        <a:pt x="0" y="0"/>
                      </a:cubicBezTo>
                      <a:cubicBezTo>
                        <a:pt x="6530" y="6252"/>
                        <a:pt x="6530" y="24867"/>
                        <a:pt x="6530" y="37370"/>
                      </a:cubicBezTo>
                      <a:cubicBezTo>
                        <a:pt x="13059" y="49873"/>
                        <a:pt x="19588" y="68489"/>
                        <a:pt x="25979" y="87244"/>
                      </a:cubicBezTo>
                      <a:cubicBezTo>
                        <a:pt x="39038" y="99747"/>
                        <a:pt x="45428" y="118363"/>
                        <a:pt x="58487" y="130866"/>
                      </a:cubicBezTo>
                      <a:cubicBezTo>
                        <a:pt x="77936" y="137117"/>
                        <a:pt x="97525" y="161985"/>
                        <a:pt x="123504" y="161985"/>
                      </a:cubicBezTo>
                      <a:cubicBezTo>
                        <a:pt x="142953" y="161985"/>
                        <a:pt x="136562" y="155733"/>
                        <a:pt x="130033" y="143230"/>
                      </a:cubicBezTo>
                      <a:cubicBezTo>
                        <a:pt x="116974" y="124475"/>
                        <a:pt x="104054" y="112111"/>
                        <a:pt x="104054" y="87105"/>
                      </a:cubicBezTo>
                      <a:cubicBezTo>
                        <a:pt x="104054" y="68350"/>
                        <a:pt x="117113" y="55986"/>
                        <a:pt x="104054" y="37232"/>
                      </a:cubicBezTo>
                      <a:cubicBezTo>
                        <a:pt x="97525" y="31258"/>
                        <a:pt x="71546" y="0"/>
                        <a:pt x="65017" y="18755"/>
                      </a:cubicBezTo>
                      <a:cubicBezTo>
                        <a:pt x="58487" y="25006"/>
                        <a:pt x="65017" y="12503"/>
                        <a:pt x="65017" y="1875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59" name="Freihandform: Form 358">
                  <a:extLst>
                    <a:ext uri="{FF2B5EF4-FFF2-40B4-BE49-F238E27FC236}">
                      <a16:creationId xmlns:a16="http://schemas.microsoft.com/office/drawing/2014/main" id="{24201AFD-990C-4720-9D4E-00F496671B43}"/>
                    </a:ext>
                  </a:extLst>
                </p:cNvPr>
                <p:cNvSpPr/>
                <p:nvPr/>
              </p:nvSpPr>
              <p:spPr>
                <a:xfrm>
                  <a:off x="8374805" y="2691112"/>
                  <a:ext cx="1855288" cy="1206505"/>
                </a:xfrm>
                <a:custGeom>
                  <a:avLst/>
                  <a:gdLst>
                    <a:gd name="connsiteX0" fmla="*/ 1849915 w 1855288"/>
                    <a:gd name="connsiteY0" fmla="*/ 225844 h 1206505"/>
                    <a:gd name="connsiteX1" fmla="*/ 1818796 w 1855288"/>
                    <a:gd name="connsiteY1" fmla="*/ 225844 h 1206505"/>
                    <a:gd name="connsiteX2" fmla="*/ 1787677 w 1855288"/>
                    <a:gd name="connsiteY2" fmla="*/ 238208 h 1206505"/>
                    <a:gd name="connsiteX3" fmla="*/ 1731691 w 1855288"/>
                    <a:gd name="connsiteY3" fmla="*/ 225844 h 1206505"/>
                    <a:gd name="connsiteX4" fmla="*/ 1688069 w 1855288"/>
                    <a:gd name="connsiteY4" fmla="*/ 176110 h 1206505"/>
                    <a:gd name="connsiteX5" fmla="*/ 1625692 w 1855288"/>
                    <a:gd name="connsiteY5" fmla="*/ 145130 h 1206505"/>
                    <a:gd name="connsiteX6" fmla="*/ 1582071 w 1855288"/>
                    <a:gd name="connsiteY6" fmla="*/ 33435 h 1206505"/>
                    <a:gd name="connsiteX7" fmla="*/ 1513581 w 1855288"/>
                    <a:gd name="connsiteY7" fmla="*/ 2455 h 1206505"/>
                    <a:gd name="connsiteX8" fmla="*/ 1420225 w 1855288"/>
                    <a:gd name="connsiteY8" fmla="*/ 14819 h 1206505"/>
                    <a:gd name="connsiteX9" fmla="*/ 1395357 w 1855288"/>
                    <a:gd name="connsiteY9" fmla="*/ 33435 h 1206505"/>
                    <a:gd name="connsiteX10" fmla="*/ 1413973 w 1855288"/>
                    <a:gd name="connsiteY10" fmla="*/ 45799 h 1206505"/>
                    <a:gd name="connsiteX11" fmla="*/ 1382854 w 1855288"/>
                    <a:gd name="connsiteY11" fmla="*/ 107898 h 1206505"/>
                    <a:gd name="connsiteX12" fmla="*/ 1376602 w 1855288"/>
                    <a:gd name="connsiteY12" fmla="*/ 126514 h 1206505"/>
                    <a:gd name="connsiteX13" fmla="*/ 1376602 w 1855288"/>
                    <a:gd name="connsiteY13" fmla="*/ 138878 h 1206505"/>
                    <a:gd name="connsiteX14" fmla="*/ 1345483 w 1855288"/>
                    <a:gd name="connsiteY14" fmla="*/ 157494 h 1206505"/>
                    <a:gd name="connsiteX15" fmla="*/ 1326868 w 1855288"/>
                    <a:gd name="connsiteY15" fmla="*/ 163745 h 1206505"/>
                    <a:gd name="connsiteX16" fmla="*/ 1289497 w 1855288"/>
                    <a:gd name="connsiteY16" fmla="*/ 151381 h 1206505"/>
                    <a:gd name="connsiteX17" fmla="*/ 1270882 w 1855288"/>
                    <a:gd name="connsiteY17" fmla="*/ 194864 h 1206505"/>
                    <a:gd name="connsiteX18" fmla="*/ 1264630 w 1855288"/>
                    <a:gd name="connsiteY18" fmla="*/ 213480 h 1206505"/>
                    <a:gd name="connsiteX19" fmla="*/ 1270882 w 1855288"/>
                    <a:gd name="connsiteY19" fmla="*/ 238347 h 1206505"/>
                    <a:gd name="connsiteX20" fmla="*/ 1289497 w 1855288"/>
                    <a:gd name="connsiteY20" fmla="*/ 232096 h 1206505"/>
                    <a:gd name="connsiteX21" fmla="*/ 1314504 w 1855288"/>
                    <a:gd name="connsiteY21" fmla="*/ 238347 h 1206505"/>
                    <a:gd name="connsiteX22" fmla="*/ 1376741 w 1855288"/>
                    <a:gd name="connsiteY22" fmla="*/ 256963 h 1206505"/>
                    <a:gd name="connsiteX23" fmla="*/ 1389244 w 1855288"/>
                    <a:gd name="connsiteY23" fmla="*/ 281830 h 1206505"/>
                    <a:gd name="connsiteX24" fmla="*/ 1358125 w 1855288"/>
                    <a:gd name="connsiteY24" fmla="*/ 275579 h 1206505"/>
                    <a:gd name="connsiteX25" fmla="*/ 1295888 w 1855288"/>
                    <a:gd name="connsiteY25" fmla="*/ 287943 h 1206505"/>
                    <a:gd name="connsiteX26" fmla="*/ 1252265 w 1855288"/>
                    <a:gd name="connsiteY26" fmla="*/ 331426 h 1206505"/>
                    <a:gd name="connsiteX27" fmla="*/ 1221147 w 1855288"/>
                    <a:gd name="connsiteY27" fmla="*/ 337678 h 1206505"/>
                    <a:gd name="connsiteX28" fmla="*/ 1190028 w 1855288"/>
                    <a:gd name="connsiteY28" fmla="*/ 356293 h 1206505"/>
                    <a:gd name="connsiteX29" fmla="*/ 1127790 w 1855288"/>
                    <a:gd name="connsiteY29" fmla="*/ 362545 h 1206505"/>
                    <a:gd name="connsiteX30" fmla="*/ 1140294 w 1855288"/>
                    <a:gd name="connsiteY30" fmla="*/ 387412 h 1206505"/>
                    <a:gd name="connsiteX31" fmla="*/ 1115426 w 1855288"/>
                    <a:gd name="connsiteY31" fmla="*/ 406028 h 1206505"/>
                    <a:gd name="connsiteX32" fmla="*/ 1065552 w 1855288"/>
                    <a:gd name="connsiteY32" fmla="*/ 443260 h 1206505"/>
                    <a:gd name="connsiteX33" fmla="*/ 972196 w 1855288"/>
                    <a:gd name="connsiteY33" fmla="*/ 449511 h 1206505"/>
                    <a:gd name="connsiteX34" fmla="*/ 928573 w 1855288"/>
                    <a:gd name="connsiteY34" fmla="*/ 474378 h 1206505"/>
                    <a:gd name="connsiteX35" fmla="*/ 903706 w 1855288"/>
                    <a:gd name="connsiteY35" fmla="*/ 462014 h 1206505"/>
                    <a:gd name="connsiteX36" fmla="*/ 872588 w 1855288"/>
                    <a:gd name="connsiteY36" fmla="*/ 462014 h 1206505"/>
                    <a:gd name="connsiteX37" fmla="*/ 835217 w 1855288"/>
                    <a:gd name="connsiteY37" fmla="*/ 443398 h 1206505"/>
                    <a:gd name="connsiteX38" fmla="*/ 810350 w 1855288"/>
                    <a:gd name="connsiteY38" fmla="*/ 431034 h 1206505"/>
                    <a:gd name="connsiteX39" fmla="*/ 748112 w 1855288"/>
                    <a:gd name="connsiteY39" fmla="*/ 431034 h 1206505"/>
                    <a:gd name="connsiteX40" fmla="*/ 673371 w 1855288"/>
                    <a:gd name="connsiteY40" fmla="*/ 431034 h 1206505"/>
                    <a:gd name="connsiteX41" fmla="*/ 660868 w 1855288"/>
                    <a:gd name="connsiteY41" fmla="*/ 412419 h 1206505"/>
                    <a:gd name="connsiteX42" fmla="*/ 629749 w 1855288"/>
                    <a:gd name="connsiteY42" fmla="*/ 375187 h 1206505"/>
                    <a:gd name="connsiteX43" fmla="*/ 579875 w 1855288"/>
                    <a:gd name="connsiteY43" fmla="*/ 344207 h 1206505"/>
                    <a:gd name="connsiteX44" fmla="*/ 511386 w 1855288"/>
                    <a:gd name="connsiteY44" fmla="*/ 319340 h 1206505"/>
                    <a:gd name="connsiteX45" fmla="*/ 486519 w 1855288"/>
                    <a:gd name="connsiteY45" fmla="*/ 232374 h 1206505"/>
                    <a:gd name="connsiteX46" fmla="*/ 424281 w 1855288"/>
                    <a:gd name="connsiteY46" fmla="*/ 176526 h 1206505"/>
                    <a:gd name="connsiteX47" fmla="*/ 405665 w 1855288"/>
                    <a:gd name="connsiteY47" fmla="*/ 182778 h 1206505"/>
                    <a:gd name="connsiteX48" fmla="*/ 399414 w 1855288"/>
                    <a:gd name="connsiteY48" fmla="*/ 195142 h 1206505"/>
                    <a:gd name="connsiteX49" fmla="*/ 362043 w 1855288"/>
                    <a:gd name="connsiteY49" fmla="*/ 226122 h 1206505"/>
                    <a:gd name="connsiteX50" fmla="*/ 368295 w 1855288"/>
                    <a:gd name="connsiteY50" fmla="*/ 257102 h 1206505"/>
                    <a:gd name="connsiteX51" fmla="*/ 343428 w 1855288"/>
                    <a:gd name="connsiteY51" fmla="*/ 269466 h 1206505"/>
                    <a:gd name="connsiteX52" fmla="*/ 324812 w 1855288"/>
                    <a:gd name="connsiteY52" fmla="*/ 269466 h 1206505"/>
                    <a:gd name="connsiteX53" fmla="*/ 293693 w 1855288"/>
                    <a:gd name="connsiteY53" fmla="*/ 257102 h 1206505"/>
                    <a:gd name="connsiteX54" fmla="*/ 275077 w 1855288"/>
                    <a:gd name="connsiteY54" fmla="*/ 288082 h 1206505"/>
                    <a:gd name="connsiteX55" fmla="*/ 268826 w 1855288"/>
                    <a:gd name="connsiteY55" fmla="*/ 312949 h 1206505"/>
                    <a:gd name="connsiteX56" fmla="*/ 275077 w 1855288"/>
                    <a:gd name="connsiteY56" fmla="*/ 331565 h 1206505"/>
                    <a:gd name="connsiteX57" fmla="*/ 237707 w 1855288"/>
                    <a:gd name="connsiteY57" fmla="*/ 331565 h 1206505"/>
                    <a:gd name="connsiteX58" fmla="*/ 194085 w 1855288"/>
                    <a:gd name="connsiteY58" fmla="*/ 343929 h 1206505"/>
                    <a:gd name="connsiteX59" fmla="*/ 206588 w 1855288"/>
                    <a:gd name="connsiteY59" fmla="*/ 387412 h 1206505"/>
                    <a:gd name="connsiteX60" fmla="*/ 225204 w 1855288"/>
                    <a:gd name="connsiteY60" fmla="*/ 406028 h 1206505"/>
                    <a:gd name="connsiteX61" fmla="*/ 200336 w 1855288"/>
                    <a:gd name="connsiteY61" fmla="*/ 430895 h 1206505"/>
                    <a:gd name="connsiteX62" fmla="*/ 194085 w 1855288"/>
                    <a:gd name="connsiteY62" fmla="*/ 455763 h 1206505"/>
                    <a:gd name="connsiteX63" fmla="*/ 169218 w 1855288"/>
                    <a:gd name="connsiteY63" fmla="*/ 468127 h 1206505"/>
                    <a:gd name="connsiteX64" fmla="*/ 144350 w 1855288"/>
                    <a:gd name="connsiteY64" fmla="*/ 486743 h 1206505"/>
                    <a:gd name="connsiteX65" fmla="*/ 113231 w 1855288"/>
                    <a:gd name="connsiteY65" fmla="*/ 492994 h 1206505"/>
                    <a:gd name="connsiteX66" fmla="*/ 88364 w 1855288"/>
                    <a:gd name="connsiteY66" fmla="*/ 511610 h 1206505"/>
                    <a:gd name="connsiteX67" fmla="*/ 63497 w 1855288"/>
                    <a:gd name="connsiteY67" fmla="*/ 517862 h 1206505"/>
                    <a:gd name="connsiteX68" fmla="*/ 63497 w 1855288"/>
                    <a:gd name="connsiteY68" fmla="*/ 511610 h 1206505"/>
                    <a:gd name="connsiteX69" fmla="*/ 38630 w 1855288"/>
                    <a:gd name="connsiteY69" fmla="*/ 511610 h 1206505"/>
                    <a:gd name="connsiteX70" fmla="*/ 13762 w 1855288"/>
                    <a:gd name="connsiteY70" fmla="*/ 530226 h 1206505"/>
                    <a:gd name="connsiteX71" fmla="*/ 1259 w 1855288"/>
                    <a:gd name="connsiteY71" fmla="*/ 561206 h 1206505"/>
                    <a:gd name="connsiteX72" fmla="*/ 19875 w 1855288"/>
                    <a:gd name="connsiteY72" fmla="*/ 586073 h 1206505"/>
                    <a:gd name="connsiteX73" fmla="*/ 38491 w 1855288"/>
                    <a:gd name="connsiteY73" fmla="*/ 604689 h 1206505"/>
                    <a:gd name="connsiteX74" fmla="*/ 44742 w 1855288"/>
                    <a:gd name="connsiteY74" fmla="*/ 623304 h 1206505"/>
                    <a:gd name="connsiteX75" fmla="*/ 38491 w 1855288"/>
                    <a:gd name="connsiteY75" fmla="*/ 635669 h 1206505"/>
                    <a:gd name="connsiteX76" fmla="*/ 63358 w 1855288"/>
                    <a:gd name="connsiteY76" fmla="*/ 648033 h 1206505"/>
                    <a:gd name="connsiteX77" fmla="*/ 81973 w 1855288"/>
                    <a:gd name="connsiteY77" fmla="*/ 679013 h 1206505"/>
                    <a:gd name="connsiteX78" fmla="*/ 119344 w 1855288"/>
                    <a:gd name="connsiteY78" fmla="*/ 697629 h 1206505"/>
                    <a:gd name="connsiteX79" fmla="*/ 137960 w 1855288"/>
                    <a:gd name="connsiteY79" fmla="*/ 685264 h 1206505"/>
                    <a:gd name="connsiteX80" fmla="*/ 200197 w 1855288"/>
                    <a:gd name="connsiteY80" fmla="*/ 697629 h 1206505"/>
                    <a:gd name="connsiteX81" fmla="*/ 187694 w 1855288"/>
                    <a:gd name="connsiteY81" fmla="*/ 722496 h 1206505"/>
                    <a:gd name="connsiteX82" fmla="*/ 181443 w 1855288"/>
                    <a:gd name="connsiteY82" fmla="*/ 734860 h 1206505"/>
                    <a:gd name="connsiteX83" fmla="*/ 162827 w 1855288"/>
                    <a:gd name="connsiteY83" fmla="*/ 747224 h 1206505"/>
                    <a:gd name="connsiteX84" fmla="*/ 175330 w 1855288"/>
                    <a:gd name="connsiteY84" fmla="*/ 790707 h 1206505"/>
                    <a:gd name="connsiteX85" fmla="*/ 150463 w 1855288"/>
                    <a:gd name="connsiteY85" fmla="*/ 796959 h 1206505"/>
                    <a:gd name="connsiteX86" fmla="*/ 156715 w 1855288"/>
                    <a:gd name="connsiteY86" fmla="*/ 815575 h 1206505"/>
                    <a:gd name="connsiteX87" fmla="*/ 162966 w 1855288"/>
                    <a:gd name="connsiteY87" fmla="*/ 834190 h 1206505"/>
                    <a:gd name="connsiteX88" fmla="*/ 187833 w 1855288"/>
                    <a:gd name="connsiteY88" fmla="*/ 852806 h 1206505"/>
                    <a:gd name="connsiteX89" fmla="*/ 218952 w 1855288"/>
                    <a:gd name="connsiteY89" fmla="*/ 871422 h 1206505"/>
                    <a:gd name="connsiteX90" fmla="*/ 231455 w 1855288"/>
                    <a:gd name="connsiteY90" fmla="*/ 877674 h 1206505"/>
                    <a:gd name="connsiteX91" fmla="*/ 243958 w 1855288"/>
                    <a:gd name="connsiteY91" fmla="*/ 865309 h 1206505"/>
                    <a:gd name="connsiteX92" fmla="*/ 306196 w 1855288"/>
                    <a:gd name="connsiteY92" fmla="*/ 908792 h 1206505"/>
                    <a:gd name="connsiteX93" fmla="*/ 331064 w 1855288"/>
                    <a:gd name="connsiteY93" fmla="*/ 927408 h 1206505"/>
                    <a:gd name="connsiteX94" fmla="*/ 355931 w 1855288"/>
                    <a:gd name="connsiteY94" fmla="*/ 946024 h 1206505"/>
                    <a:gd name="connsiteX95" fmla="*/ 380798 w 1855288"/>
                    <a:gd name="connsiteY95" fmla="*/ 952275 h 1206505"/>
                    <a:gd name="connsiteX96" fmla="*/ 393301 w 1855288"/>
                    <a:gd name="connsiteY96" fmla="*/ 946024 h 1206505"/>
                    <a:gd name="connsiteX97" fmla="*/ 405804 w 1855288"/>
                    <a:gd name="connsiteY97" fmla="*/ 958388 h 1206505"/>
                    <a:gd name="connsiteX98" fmla="*/ 443175 w 1855288"/>
                    <a:gd name="connsiteY98" fmla="*/ 952137 h 1206505"/>
                    <a:gd name="connsiteX99" fmla="*/ 455678 w 1855288"/>
                    <a:gd name="connsiteY99" fmla="*/ 964501 h 1206505"/>
                    <a:gd name="connsiteX100" fmla="*/ 474293 w 1855288"/>
                    <a:gd name="connsiteY100" fmla="*/ 945885 h 1206505"/>
                    <a:gd name="connsiteX101" fmla="*/ 499161 w 1855288"/>
                    <a:gd name="connsiteY101" fmla="*/ 945885 h 1206505"/>
                    <a:gd name="connsiteX102" fmla="*/ 536532 w 1855288"/>
                    <a:gd name="connsiteY102" fmla="*/ 952137 h 1206505"/>
                    <a:gd name="connsiteX103" fmla="*/ 567650 w 1855288"/>
                    <a:gd name="connsiteY103" fmla="*/ 933521 h 1206505"/>
                    <a:gd name="connsiteX104" fmla="*/ 580153 w 1855288"/>
                    <a:gd name="connsiteY104" fmla="*/ 927269 h 1206505"/>
                    <a:gd name="connsiteX105" fmla="*/ 598769 w 1855288"/>
                    <a:gd name="connsiteY105" fmla="*/ 921018 h 1206505"/>
                    <a:gd name="connsiteX106" fmla="*/ 623636 w 1855288"/>
                    <a:gd name="connsiteY106" fmla="*/ 908653 h 1206505"/>
                    <a:gd name="connsiteX107" fmla="*/ 654756 w 1855288"/>
                    <a:gd name="connsiteY107" fmla="*/ 902402 h 1206505"/>
                    <a:gd name="connsiteX108" fmla="*/ 673371 w 1855288"/>
                    <a:gd name="connsiteY108" fmla="*/ 921018 h 1206505"/>
                    <a:gd name="connsiteX109" fmla="*/ 667120 w 1855288"/>
                    <a:gd name="connsiteY109" fmla="*/ 939633 h 1206505"/>
                    <a:gd name="connsiteX110" fmla="*/ 704490 w 1855288"/>
                    <a:gd name="connsiteY110" fmla="*/ 933382 h 1206505"/>
                    <a:gd name="connsiteX111" fmla="*/ 716993 w 1855288"/>
                    <a:gd name="connsiteY111" fmla="*/ 958249 h 1206505"/>
                    <a:gd name="connsiteX112" fmla="*/ 723245 w 1855288"/>
                    <a:gd name="connsiteY112" fmla="*/ 964501 h 1206505"/>
                    <a:gd name="connsiteX113" fmla="*/ 735748 w 1855288"/>
                    <a:gd name="connsiteY113" fmla="*/ 970752 h 1206505"/>
                    <a:gd name="connsiteX114" fmla="*/ 729496 w 1855288"/>
                    <a:gd name="connsiteY114" fmla="*/ 989368 h 1206505"/>
                    <a:gd name="connsiteX115" fmla="*/ 723245 w 1855288"/>
                    <a:gd name="connsiteY115" fmla="*/ 1026600 h 1206505"/>
                    <a:gd name="connsiteX116" fmla="*/ 698378 w 1855288"/>
                    <a:gd name="connsiteY116" fmla="*/ 1051467 h 1206505"/>
                    <a:gd name="connsiteX117" fmla="*/ 692126 w 1855288"/>
                    <a:gd name="connsiteY117" fmla="*/ 1082447 h 1206505"/>
                    <a:gd name="connsiteX118" fmla="*/ 741999 w 1855288"/>
                    <a:gd name="connsiteY118" fmla="*/ 1082447 h 1206505"/>
                    <a:gd name="connsiteX119" fmla="*/ 735748 w 1855288"/>
                    <a:gd name="connsiteY119" fmla="*/ 1101063 h 1206505"/>
                    <a:gd name="connsiteX120" fmla="*/ 754363 w 1855288"/>
                    <a:gd name="connsiteY120" fmla="*/ 1119678 h 1206505"/>
                    <a:gd name="connsiteX121" fmla="*/ 748112 w 1855288"/>
                    <a:gd name="connsiteY121" fmla="*/ 1144546 h 1206505"/>
                    <a:gd name="connsiteX122" fmla="*/ 772979 w 1855288"/>
                    <a:gd name="connsiteY122" fmla="*/ 1150797 h 1206505"/>
                    <a:gd name="connsiteX123" fmla="*/ 772979 w 1855288"/>
                    <a:gd name="connsiteY123" fmla="*/ 1157049 h 1206505"/>
                    <a:gd name="connsiteX124" fmla="*/ 785482 w 1855288"/>
                    <a:gd name="connsiteY124" fmla="*/ 1163300 h 1206505"/>
                    <a:gd name="connsiteX125" fmla="*/ 804098 w 1855288"/>
                    <a:gd name="connsiteY125" fmla="*/ 1163300 h 1206505"/>
                    <a:gd name="connsiteX126" fmla="*/ 822714 w 1855288"/>
                    <a:gd name="connsiteY126" fmla="*/ 1175665 h 1206505"/>
                    <a:gd name="connsiteX127" fmla="*/ 828966 w 1855288"/>
                    <a:gd name="connsiteY127" fmla="*/ 1150797 h 1206505"/>
                    <a:gd name="connsiteX128" fmla="*/ 841469 w 1855288"/>
                    <a:gd name="connsiteY128" fmla="*/ 1125930 h 1206505"/>
                    <a:gd name="connsiteX129" fmla="*/ 860084 w 1855288"/>
                    <a:gd name="connsiteY129" fmla="*/ 1132181 h 1206505"/>
                    <a:gd name="connsiteX130" fmla="*/ 872588 w 1855288"/>
                    <a:gd name="connsiteY130" fmla="*/ 1125930 h 1206505"/>
                    <a:gd name="connsiteX131" fmla="*/ 885091 w 1855288"/>
                    <a:gd name="connsiteY131" fmla="*/ 1125930 h 1206505"/>
                    <a:gd name="connsiteX132" fmla="*/ 903706 w 1855288"/>
                    <a:gd name="connsiteY132" fmla="*/ 1125930 h 1206505"/>
                    <a:gd name="connsiteX133" fmla="*/ 916209 w 1855288"/>
                    <a:gd name="connsiteY133" fmla="*/ 1119678 h 1206505"/>
                    <a:gd name="connsiteX134" fmla="*/ 934825 w 1855288"/>
                    <a:gd name="connsiteY134" fmla="*/ 1101063 h 1206505"/>
                    <a:gd name="connsiteX135" fmla="*/ 959693 w 1855288"/>
                    <a:gd name="connsiteY135" fmla="*/ 1113427 h 1206505"/>
                    <a:gd name="connsiteX136" fmla="*/ 984560 w 1855288"/>
                    <a:gd name="connsiteY136" fmla="*/ 1119678 h 1206505"/>
                    <a:gd name="connsiteX137" fmla="*/ 972057 w 1855288"/>
                    <a:gd name="connsiteY137" fmla="*/ 1138294 h 1206505"/>
                    <a:gd name="connsiteX138" fmla="*/ 996924 w 1855288"/>
                    <a:gd name="connsiteY138" fmla="*/ 1156910 h 1206505"/>
                    <a:gd name="connsiteX139" fmla="*/ 1040546 w 1855288"/>
                    <a:gd name="connsiteY139" fmla="*/ 1150658 h 1206505"/>
                    <a:gd name="connsiteX140" fmla="*/ 1053049 w 1855288"/>
                    <a:gd name="connsiteY140" fmla="*/ 1163022 h 1206505"/>
                    <a:gd name="connsiteX141" fmla="*/ 1077916 w 1855288"/>
                    <a:gd name="connsiteY141" fmla="*/ 1163022 h 1206505"/>
                    <a:gd name="connsiteX142" fmla="*/ 1071665 w 1855288"/>
                    <a:gd name="connsiteY142" fmla="*/ 1181638 h 1206505"/>
                    <a:gd name="connsiteX143" fmla="*/ 1084168 w 1855288"/>
                    <a:gd name="connsiteY143" fmla="*/ 1206506 h 1206505"/>
                    <a:gd name="connsiteX144" fmla="*/ 1102784 w 1855288"/>
                    <a:gd name="connsiteY144" fmla="*/ 1200254 h 1206505"/>
                    <a:gd name="connsiteX145" fmla="*/ 1090281 w 1855288"/>
                    <a:gd name="connsiteY145" fmla="*/ 1181638 h 1206505"/>
                    <a:gd name="connsiteX146" fmla="*/ 1133903 w 1855288"/>
                    <a:gd name="connsiteY146" fmla="*/ 1156771 h 1206505"/>
                    <a:gd name="connsiteX147" fmla="*/ 1171273 w 1855288"/>
                    <a:gd name="connsiteY147" fmla="*/ 1150519 h 1206505"/>
                    <a:gd name="connsiteX148" fmla="*/ 1183776 w 1855288"/>
                    <a:gd name="connsiteY148" fmla="*/ 1138155 h 1206505"/>
                    <a:gd name="connsiteX149" fmla="*/ 1190028 w 1855288"/>
                    <a:gd name="connsiteY149" fmla="*/ 1125791 h 1206505"/>
                    <a:gd name="connsiteX150" fmla="*/ 1214895 w 1855288"/>
                    <a:gd name="connsiteY150" fmla="*/ 1125791 h 1206505"/>
                    <a:gd name="connsiteX151" fmla="*/ 1252265 w 1855288"/>
                    <a:gd name="connsiteY151" fmla="*/ 1125791 h 1206505"/>
                    <a:gd name="connsiteX152" fmla="*/ 1283385 w 1855288"/>
                    <a:gd name="connsiteY152" fmla="*/ 1113427 h 1206505"/>
                    <a:gd name="connsiteX153" fmla="*/ 1295888 w 1855288"/>
                    <a:gd name="connsiteY153" fmla="*/ 1094811 h 1206505"/>
                    <a:gd name="connsiteX154" fmla="*/ 1320755 w 1855288"/>
                    <a:gd name="connsiteY154" fmla="*/ 1082447 h 1206505"/>
                    <a:gd name="connsiteX155" fmla="*/ 1333258 w 1855288"/>
                    <a:gd name="connsiteY155" fmla="*/ 1070083 h 1206505"/>
                    <a:gd name="connsiteX156" fmla="*/ 1351874 w 1855288"/>
                    <a:gd name="connsiteY156" fmla="*/ 1063831 h 1206505"/>
                    <a:gd name="connsiteX157" fmla="*/ 1370490 w 1855288"/>
                    <a:gd name="connsiteY157" fmla="*/ 1038964 h 1206505"/>
                    <a:gd name="connsiteX158" fmla="*/ 1376741 w 1855288"/>
                    <a:gd name="connsiteY158" fmla="*/ 1026600 h 1206505"/>
                    <a:gd name="connsiteX159" fmla="*/ 1370490 w 1855288"/>
                    <a:gd name="connsiteY159" fmla="*/ 1014235 h 1206505"/>
                    <a:gd name="connsiteX160" fmla="*/ 1382854 w 1855288"/>
                    <a:gd name="connsiteY160" fmla="*/ 1001871 h 1206505"/>
                    <a:gd name="connsiteX161" fmla="*/ 1389105 w 1855288"/>
                    <a:gd name="connsiteY161" fmla="*/ 995620 h 1206505"/>
                    <a:gd name="connsiteX162" fmla="*/ 1401470 w 1855288"/>
                    <a:gd name="connsiteY162" fmla="*/ 983255 h 1206505"/>
                    <a:gd name="connsiteX163" fmla="*/ 1413973 w 1855288"/>
                    <a:gd name="connsiteY163" fmla="*/ 964640 h 1206505"/>
                    <a:gd name="connsiteX164" fmla="*/ 1413973 w 1855288"/>
                    <a:gd name="connsiteY164" fmla="*/ 952275 h 1206505"/>
                    <a:gd name="connsiteX165" fmla="*/ 1432589 w 1855288"/>
                    <a:gd name="connsiteY165" fmla="*/ 939911 h 1206505"/>
                    <a:gd name="connsiteX166" fmla="*/ 1432589 w 1855288"/>
                    <a:gd name="connsiteY166" fmla="*/ 927547 h 1206505"/>
                    <a:gd name="connsiteX167" fmla="*/ 1438840 w 1855288"/>
                    <a:gd name="connsiteY167" fmla="*/ 921295 h 1206505"/>
                    <a:gd name="connsiteX168" fmla="*/ 1438840 w 1855288"/>
                    <a:gd name="connsiteY168" fmla="*/ 908931 h 1206505"/>
                    <a:gd name="connsiteX169" fmla="*/ 1451343 w 1855288"/>
                    <a:gd name="connsiteY169" fmla="*/ 908931 h 1206505"/>
                    <a:gd name="connsiteX170" fmla="*/ 1445092 w 1855288"/>
                    <a:gd name="connsiteY170" fmla="*/ 896567 h 1206505"/>
                    <a:gd name="connsiteX171" fmla="*/ 1463707 w 1855288"/>
                    <a:gd name="connsiteY171" fmla="*/ 884203 h 1206505"/>
                    <a:gd name="connsiteX172" fmla="*/ 1432589 w 1855288"/>
                    <a:gd name="connsiteY172" fmla="*/ 871839 h 1206505"/>
                    <a:gd name="connsiteX173" fmla="*/ 1420085 w 1855288"/>
                    <a:gd name="connsiteY173" fmla="*/ 878090 h 1206505"/>
                    <a:gd name="connsiteX174" fmla="*/ 1401470 w 1855288"/>
                    <a:gd name="connsiteY174" fmla="*/ 878090 h 1206505"/>
                    <a:gd name="connsiteX175" fmla="*/ 1432589 w 1855288"/>
                    <a:gd name="connsiteY175" fmla="*/ 859474 h 1206505"/>
                    <a:gd name="connsiteX176" fmla="*/ 1445092 w 1855288"/>
                    <a:gd name="connsiteY176" fmla="*/ 840859 h 1206505"/>
                    <a:gd name="connsiteX177" fmla="*/ 1413973 w 1855288"/>
                    <a:gd name="connsiteY177" fmla="*/ 815991 h 1206505"/>
                    <a:gd name="connsiteX178" fmla="*/ 1382854 w 1855288"/>
                    <a:gd name="connsiteY178" fmla="*/ 803627 h 1206505"/>
                    <a:gd name="connsiteX179" fmla="*/ 1420225 w 1855288"/>
                    <a:gd name="connsiteY179" fmla="*/ 815991 h 1206505"/>
                    <a:gd name="connsiteX180" fmla="*/ 1451343 w 1855288"/>
                    <a:gd name="connsiteY180" fmla="*/ 822243 h 1206505"/>
                    <a:gd name="connsiteX181" fmla="*/ 1420225 w 1855288"/>
                    <a:gd name="connsiteY181" fmla="*/ 785011 h 1206505"/>
                    <a:gd name="connsiteX182" fmla="*/ 1401608 w 1855288"/>
                    <a:gd name="connsiteY182" fmla="*/ 741528 h 1206505"/>
                    <a:gd name="connsiteX183" fmla="*/ 1370490 w 1855288"/>
                    <a:gd name="connsiteY183" fmla="*/ 710548 h 1206505"/>
                    <a:gd name="connsiteX184" fmla="*/ 1389105 w 1855288"/>
                    <a:gd name="connsiteY184" fmla="*/ 685681 h 1206505"/>
                    <a:gd name="connsiteX185" fmla="*/ 1395357 w 1855288"/>
                    <a:gd name="connsiteY185" fmla="*/ 673317 h 1206505"/>
                    <a:gd name="connsiteX186" fmla="*/ 1413973 w 1855288"/>
                    <a:gd name="connsiteY186" fmla="*/ 673317 h 1206505"/>
                    <a:gd name="connsiteX187" fmla="*/ 1420225 w 1855288"/>
                    <a:gd name="connsiteY187" fmla="*/ 654701 h 1206505"/>
                    <a:gd name="connsiteX188" fmla="*/ 1445231 w 1855288"/>
                    <a:gd name="connsiteY188" fmla="*/ 642337 h 1206505"/>
                    <a:gd name="connsiteX189" fmla="*/ 1457595 w 1855288"/>
                    <a:gd name="connsiteY189" fmla="*/ 642337 h 1206505"/>
                    <a:gd name="connsiteX190" fmla="*/ 1463846 w 1855288"/>
                    <a:gd name="connsiteY190" fmla="*/ 648589 h 1206505"/>
                    <a:gd name="connsiteX191" fmla="*/ 1476210 w 1855288"/>
                    <a:gd name="connsiteY191" fmla="*/ 629973 h 1206505"/>
                    <a:gd name="connsiteX192" fmla="*/ 1445092 w 1855288"/>
                    <a:gd name="connsiteY192" fmla="*/ 623721 h 1206505"/>
                    <a:gd name="connsiteX193" fmla="*/ 1413973 w 1855288"/>
                    <a:gd name="connsiteY193" fmla="*/ 617470 h 1206505"/>
                    <a:gd name="connsiteX194" fmla="*/ 1389105 w 1855288"/>
                    <a:gd name="connsiteY194" fmla="*/ 629834 h 1206505"/>
                    <a:gd name="connsiteX195" fmla="*/ 1364099 w 1855288"/>
                    <a:gd name="connsiteY195" fmla="*/ 629834 h 1206505"/>
                    <a:gd name="connsiteX196" fmla="*/ 1364099 w 1855288"/>
                    <a:gd name="connsiteY196" fmla="*/ 604967 h 1206505"/>
                    <a:gd name="connsiteX197" fmla="*/ 1320477 w 1855288"/>
                    <a:gd name="connsiteY197" fmla="*/ 567735 h 1206505"/>
                    <a:gd name="connsiteX198" fmla="*/ 1345344 w 1855288"/>
                    <a:gd name="connsiteY198" fmla="*/ 567735 h 1206505"/>
                    <a:gd name="connsiteX199" fmla="*/ 1370350 w 1855288"/>
                    <a:gd name="connsiteY199" fmla="*/ 555371 h 1206505"/>
                    <a:gd name="connsiteX200" fmla="*/ 1420085 w 1855288"/>
                    <a:gd name="connsiteY200" fmla="*/ 511888 h 1206505"/>
                    <a:gd name="connsiteX201" fmla="*/ 1445092 w 1855288"/>
                    <a:gd name="connsiteY201" fmla="*/ 499524 h 1206505"/>
                    <a:gd name="connsiteX202" fmla="*/ 1463707 w 1855288"/>
                    <a:gd name="connsiteY202" fmla="*/ 511888 h 1206505"/>
                    <a:gd name="connsiteX203" fmla="*/ 1451204 w 1855288"/>
                    <a:gd name="connsiteY203" fmla="*/ 536755 h 1206505"/>
                    <a:gd name="connsiteX204" fmla="*/ 1432589 w 1855288"/>
                    <a:gd name="connsiteY204" fmla="*/ 549119 h 1206505"/>
                    <a:gd name="connsiteX205" fmla="*/ 1451204 w 1855288"/>
                    <a:gd name="connsiteY205" fmla="*/ 555371 h 1206505"/>
                    <a:gd name="connsiteX206" fmla="*/ 1432589 w 1855288"/>
                    <a:gd name="connsiteY206" fmla="*/ 573987 h 1206505"/>
                    <a:gd name="connsiteX207" fmla="*/ 1476210 w 1855288"/>
                    <a:gd name="connsiteY207" fmla="*/ 549119 h 1206505"/>
                    <a:gd name="connsiteX208" fmla="*/ 1513581 w 1855288"/>
                    <a:gd name="connsiteY208" fmla="*/ 536755 h 1206505"/>
                    <a:gd name="connsiteX209" fmla="*/ 1532196 w 1855288"/>
                    <a:gd name="connsiteY209" fmla="*/ 524391 h 1206505"/>
                    <a:gd name="connsiteX210" fmla="*/ 1575819 w 1855288"/>
                    <a:gd name="connsiteY210" fmla="*/ 499524 h 1206505"/>
                    <a:gd name="connsiteX211" fmla="*/ 1606938 w 1855288"/>
                    <a:gd name="connsiteY211" fmla="*/ 474656 h 1206505"/>
                    <a:gd name="connsiteX212" fmla="*/ 1650560 w 1855288"/>
                    <a:gd name="connsiteY212" fmla="*/ 474656 h 1206505"/>
                    <a:gd name="connsiteX213" fmla="*/ 1650560 w 1855288"/>
                    <a:gd name="connsiteY213" fmla="*/ 456041 h 1206505"/>
                    <a:gd name="connsiteX214" fmla="*/ 1669175 w 1855288"/>
                    <a:gd name="connsiteY214" fmla="*/ 456041 h 1206505"/>
                    <a:gd name="connsiteX215" fmla="*/ 1681539 w 1855288"/>
                    <a:gd name="connsiteY215" fmla="*/ 443676 h 1206505"/>
                    <a:gd name="connsiteX216" fmla="*/ 1700156 w 1855288"/>
                    <a:gd name="connsiteY216" fmla="*/ 431312 h 1206505"/>
                    <a:gd name="connsiteX217" fmla="*/ 1725162 w 1855288"/>
                    <a:gd name="connsiteY217" fmla="*/ 437564 h 1206505"/>
                    <a:gd name="connsiteX218" fmla="*/ 1743777 w 1855288"/>
                    <a:gd name="connsiteY218" fmla="*/ 412696 h 1206505"/>
                    <a:gd name="connsiteX219" fmla="*/ 1743777 w 1855288"/>
                    <a:gd name="connsiteY219" fmla="*/ 369213 h 1206505"/>
                    <a:gd name="connsiteX220" fmla="*/ 1750029 w 1855288"/>
                    <a:gd name="connsiteY220" fmla="*/ 344346 h 1206505"/>
                    <a:gd name="connsiteX221" fmla="*/ 1781148 w 1855288"/>
                    <a:gd name="connsiteY221" fmla="*/ 338094 h 1206505"/>
                    <a:gd name="connsiteX222" fmla="*/ 1806015 w 1855288"/>
                    <a:gd name="connsiteY222" fmla="*/ 325730 h 1206505"/>
                    <a:gd name="connsiteX223" fmla="*/ 1830882 w 1855288"/>
                    <a:gd name="connsiteY223" fmla="*/ 288499 h 1206505"/>
                    <a:gd name="connsiteX224" fmla="*/ 1849498 w 1855288"/>
                    <a:gd name="connsiteY224" fmla="*/ 251267 h 1206505"/>
                    <a:gd name="connsiteX225" fmla="*/ 1849915 w 1855288"/>
                    <a:gd name="connsiteY225" fmla="*/ 225844 h 120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1855288" h="1206505">
                      <a:moveTo>
                        <a:pt x="1849915" y="225844"/>
                      </a:moveTo>
                      <a:cubicBezTo>
                        <a:pt x="1849915" y="213480"/>
                        <a:pt x="1825048" y="219593"/>
                        <a:pt x="1818796" y="225844"/>
                      </a:cubicBezTo>
                      <a:cubicBezTo>
                        <a:pt x="1806293" y="225844"/>
                        <a:pt x="1800041" y="232096"/>
                        <a:pt x="1787677" y="238208"/>
                      </a:cubicBezTo>
                      <a:cubicBezTo>
                        <a:pt x="1775174" y="244460"/>
                        <a:pt x="1731691" y="244460"/>
                        <a:pt x="1731691" y="225844"/>
                      </a:cubicBezTo>
                      <a:cubicBezTo>
                        <a:pt x="1719188" y="200977"/>
                        <a:pt x="1713075" y="188613"/>
                        <a:pt x="1688069" y="176110"/>
                      </a:cubicBezTo>
                      <a:cubicBezTo>
                        <a:pt x="1669453" y="169858"/>
                        <a:pt x="1632083" y="169858"/>
                        <a:pt x="1625692" y="145130"/>
                      </a:cubicBezTo>
                      <a:cubicBezTo>
                        <a:pt x="1619441" y="107898"/>
                        <a:pt x="1607077" y="64415"/>
                        <a:pt x="1582071" y="33435"/>
                      </a:cubicBezTo>
                      <a:cubicBezTo>
                        <a:pt x="1563454" y="14819"/>
                        <a:pt x="1538448" y="14819"/>
                        <a:pt x="1513581" y="2455"/>
                      </a:cubicBezTo>
                      <a:cubicBezTo>
                        <a:pt x="1488714" y="-3796"/>
                        <a:pt x="1445092" y="2455"/>
                        <a:pt x="1420225" y="14819"/>
                      </a:cubicBezTo>
                      <a:cubicBezTo>
                        <a:pt x="1413973" y="21071"/>
                        <a:pt x="1401608" y="27183"/>
                        <a:pt x="1395357" y="33435"/>
                      </a:cubicBezTo>
                      <a:cubicBezTo>
                        <a:pt x="1395357" y="39687"/>
                        <a:pt x="1413973" y="39687"/>
                        <a:pt x="1413973" y="45799"/>
                      </a:cubicBezTo>
                      <a:cubicBezTo>
                        <a:pt x="1420225" y="70667"/>
                        <a:pt x="1389105" y="89282"/>
                        <a:pt x="1382854" y="107898"/>
                      </a:cubicBezTo>
                      <a:cubicBezTo>
                        <a:pt x="1376602" y="114150"/>
                        <a:pt x="1376602" y="120262"/>
                        <a:pt x="1376602" y="126514"/>
                      </a:cubicBezTo>
                      <a:cubicBezTo>
                        <a:pt x="1376602" y="132765"/>
                        <a:pt x="1376602" y="132765"/>
                        <a:pt x="1376602" y="138878"/>
                      </a:cubicBezTo>
                      <a:cubicBezTo>
                        <a:pt x="1376602" y="151242"/>
                        <a:pt x="1357986" y="151242"/>
                        <a:pt x="1345483" y="157494"/>
                      </a:cubicBezTo>
                      <a:cubicBezTo>
                        <a:pt x="1339232" y="157494"/>
                        <a:pt x="1333119" y="163745"/>
                        <a:pt x="1326868" y="163745"/>
                      </a:cubicBezTo>
                      <a:cubicBezTo>
                        <a:pt x="1320616" y="163745"/>
                        <a:pt x="1289497" y="151381"/>
                        <a:pt x="1289497" y="151381"/>
                      </a:cubicBezTo>
                      <a:cubicBezTo>
                        <a:pt x="1283246" y="163745"/>
                        <a:pt x="1277133" y="182361"/>
                        <a:pt x="1270882" y="194864"/>
                      </a:cubicBezTo>
                      <a:cubicBezTo>
                        <a:pt x="1270882" y="201116"/>
                        <a:pt x="1264630" y="207228"/>
                        <a:pt x="1264630" y="213480"/>
                      </a:cubicBezTo>
                      <a:cubicBezTo>
                        <a:pt x="1264630" y="213480"/>
                        <a:pt x="1252127" y="250712"/>
                        <a:pt x="1270882" y="238347"/>
                      </a:cubicBezTo>
                      <a:cubicBezTo>
                        <a:pt x="1277133" y="232096"/>
                        <a:pt x="1277133" y="232096"/>
                        <a:pt x="1289497" y="232096"/>
                      </a:cubicBezTo>
                      <a:cubicBezTo>
                        <a:pt x="1295749" y="232096"/>
                        <a:pt x="1308113" y="244460"/>
                        <a:pt x="1314504" y="238347"/>
                      </a:cubicBezTo>
                      <a:cubicBezTo>
                        <a:pt x="1339371" y="219731"/>
                        <a:pt x="1358125" y="232096"/>
                        <a:pt x="1376741" y="256963"/>
                      </a:cubicBezTo>
                      <a:cubicBezTo>
                        <a:pt x="1382993" y="263215"/>
                        <a:pt x="1395357" y="275579"/>
                        <a:pt x="1389244" y="281830"/>
                      </a:cubicBezTo>
                      <a:cubicBezTo>
                        <a:pt x="1389244" y="281830"/>
                        <a:pt x="1364238" y="275579"/>
                        <a:pt x="1358125" y="275579"/>
                      </a:cubicBezTo>
                      <a:cubicBezTo>
                        <a:pt x="1339510" y="281830"/>
                        <a:pt x="1314504" y="281830"/>
                        <a:pt x="1295888" y="287943"/>
                      </a:cubicBezTo>
                      <a:cubicBezTo>
                        <a:pt x="1277272" y="294195"/>
                        <a:pt x="1277272" y="331426"/>
                        <a:pt x="1252265" y="331426"/>
                      </a:cubicBezTo>
                      <a:cubicBezTo>
                        <a:pt x="1239901" y="331426"/>
                        <a:pt x="1227398" y="325175"/>
                        <a:pt x="1221147" y="337678"/>
                      </a:cubicBezTo>
                      <a:cubicBezTo>
                        <a:pt x="1214895" y="343929"/>
                        <a:pt x="1202531" y="356293"/>
                        <a:pt x="1190028" y="356293"/>
                      </a:cubicBezTo>
                      <a:cubicBezTo>
                        <a:pt x="1171412" y="350042"/>
                        <a:pt x="1134042" y="325313"/>
                        <a:pt x="1127790" y="362545"/>
                      </a:cubicBezTo>
                      <a:cubicBezTo>
                        <a:pt x="1127790" y="374909"/>
                        <a:pt x="1140294" y="381161"/>
                        <a:pt x="1140294" y="387412"/>
                      </a:cubicBezTo>
                      <a:cubicBezTo>
                        <a:pt x="1140294" y="399777"/>
                        <a:pt x="1121677" y="399777"/>
                        <a:pt x="1115426" y="406028"/>
                      </a:cubicBezTo>
                      <a:cubicBezTo>
                        <a:pt x="1096810" y="424644"/>
                        <a:pt x="1090559" y="443260"/>
                        <a:pt x="1065552" y="443260"/>
                      </a:cubicBezTo>
                      <a:cubicBezTo>
                        <a:pt x="1034433" y="443260"/>
                        <a:pt x="1003315" y="443260"/>
                        <a:pt x="972196" y="449511"/>
                      </a:cubicBezTo>
                      <a:cubicBezTo>
                        <a:pt x="959693" y="455763"/>
                        <a:pt x="934825" y="480491"/>
                        <a:pt x="928573" y="474378"/>
                      </a:cubicBezTo>
                      <a:cubicBezTo>
                        <a:pt x="916070" y="474378"/>
                        <a:pt x="909958" y="462014"/>
                        <a:pt x="903706" y="462014"/>
                      </a:cubicBezTo>
                      <a:cubicBezTo>
                        <a:pt x="891203" y="462014"/>
                        <a:pt x="885091" y="462014"/>
                        <a:pt x="872588" y="462014"/>
                      </a:cubicBezTo>
                      <a:cubicBezTo>
                        <a:pt x="860084" y="455763"/>
                        <a:pt x="847720" y="455763"/>
                        <a:pt x="835217" y="443398"/>
                      </a:cubicBezTo>
                      <a:cubicBezTo>
                        <a:pt x="822714" y="437147"/>
                        <a:pt x="816602" y="437147"/>
                        <a:pt x="810350" y="431034"/>
                      </a:cubicBezTo>
                      <a:cubicBezTo>
                        <a:pt x="785482" y="431034"/>
                        <a:pt x="772979" y="431034"/>
                        <a:pt x="748112" y="431034"/>
                      </a:cubicBezTo>
                      <a:cubicBezTo>
                        <a:pt x="729496" y="431034"/>
                        <a:pt x="698238" y="437286"/>
                        <a:pt x="673371" y="431034"/>
                      </a:cubicBezTo>
                      <a:cubicBezTo>
                        <a:pt x="667120" y="431034"/>
                        <a:pt x="660868" y="418670"/>
                        <a:pt x="660868" y="412419"/>
                      </a:cubicBezTo>
                      <a:cubicBezTo>
                        <a:pt x="648365" y="400054"/>
                        <a:pt x="642253" y="387551"/>
                        <a:pt x="629749" y="375187"/>
                      </a:cubicBezTo>
                      <a:cubicBezTo>
                        <a:pt x="611133" y="362823"/>
                        <a:pt x="598630" y="344207"/>
                        <a:pt x="579875" y="344207"/>
                      </a:cubicBezTo>
                      <a:cubicBezTo>
                        <a:pt x="567372" y="344207"/>
                        <a:pt x="498883" y="344207"/>
                        <a:pt x="511386" y="319340"/>
                      </a:cubicBezTo>
                      <a:cubicBezTo>
                        <a:pt x="523889" y="294472"/>
                        <a:pt x="517638" y="250989"/>
                        <a:pt x="486519" y="232374"/>
                      </a:cubicBezTo>
                      <a:cubicBezTo>
                        <a:pt x="461652" y="213758"/>
                        <a:pt x="430532" y="213758"/>
                        <a:pt x="424281" y="176526"/>
                      </a:cubicBezTo>
                      <a:cubicBezTo>
                        <a:pt x="418029" y="182778"/>
                        <a:pt x="411778" y="176526"/>
                        <a:pt x="405665" y="182778"/>
                      </a:cubicBezTo>
                      <a:cubicBezTo>
                        <a:pt x="399414" y="189029"/>
                        <a:pt x="399414" y="189029"/>
                        <a:pt x="399414" y="195142"/>
                      </a:cubicBezTo>
                      <a:cubicBezTo>
                        <a:pt x="386911" y="213758"/>
                        <a:pt x="368295" y="207506"/>
                        <a:pt x="362043" y="226122"/>
                      </a:cubicBezTo>
                      <a:cubicBezTo>
                        <a:pt x="362043" y="238486"/>
                        <a:pt x="374547" y="250989"/>
                        <a:pt x="368295" y="257102"/>
                      </a:cubicBezTo>
                      <a:cubicBezTo>
                        <a:pt x="362043" y="263354"/>
                        <a:pt x="349679" y="269466"/>
                        <a:pt x="343428" y="269466"/>
                      </a:cubicBezTo>
                      <a:cubicBezTo>
                        <a:pt x="337176" y="275718"/>
                        <a:pt x="330925" y="263215"/>
                        <a:pt x="324812" y="269466"/>
                      </a:cubicBezTo>
                      <a:cubicBezTo>
                        <a:pt x="312309" y="269466"/>
                        <a:pt x="306196" y="263215"/>
                        <a:pt x="293693" y="257102"/>
                      </a:cubicBezTo>
                      <a:cubicBezTo>
                        <a:pt x="287441" y="250850"/>
                        <a:pt x="281190" y="281969"/>
                        <a:pt x="275077" y="288082"/>
                      </a:cubicBezTo>
                      <a:cubicBezTo>
                        <a:pt x="275077" y="294334"/>
                        <a:pt x="268826" y="306698"/>
                        <a:pt x="268826" y="312949"/>
                      </a:cubicBezTo>
                      <a:cubicBezTo>
                        <a:pt x="268826" y="325313"/>
                        <a:pt x="275077" y="325313"/>
                        <a:pt x="275077" y="331565"/>
                      </a:cubicBezTo>
                      <a:cubicBezTo>
                        <a:pt x="275077" y="343929"/>
                        <a:pt x="237707" y="331565"/>
                        <a:pt x="237707" y="331565"/>
                      </a:cubicBezTo>
                      <a:cubicBezTo>
                        <a:pt x="225204" y="337817"/>
                        <a:pt x="200336" y="337817"/>
                        <a:pt x="194085" y="343929"/>
                      </a:cubicBezTo>
                      <a:cubicBezTo>
                        <a:pt x="200336" y="337678"/>
                        <a:pt x="206588" y="381161"/>
                        <a:pt x="206588" y="387412"/>
                      </a:cubicBezTo>
                      <a:cubicBezTo>
                        <a:pt x="212840" y="393664"/>
                        <a:pt x="219091" y="399777"/>
                        <a:pt x="225204" y="406028"/>
                      </a:cubicBezTo>
                      <a:cubicBezTo>
                        <a:pt x="225204" y="412280"/>
                        <a:pt x="206588" y="424644"/>
                        <a:pt x="200336" y="430895"/>
                      </a:cubicBezTo>
                      <a:cubicBezTo>
                        <a:pt x="194085" y="437147"/>
                        <a:pt x="200336" y="455763"/>
                        <a:pt x="194085" y="455763"/>
                      </a:cubicBezTo>
                      <a:cubicBezTo>
                        <a:pt x="187833" y="462014"/>
                        <a:pt x="175469" y="462014"/>
                        <a:pt x="169218" y="468127"/>
                      </a:cubicBezTo>
                      <a:cubicBezTo>
                        <a:pt x="156715" y="474378"/>
                        <a:pt x="150601" y="480491"/>
                        <a:pt x="144350" y="486743"/>
                      </a:cubicBezTo>
                      <a:cubicBezTo>
                        <a:pt x="131847" y="486743"/>
                        <a:pt x="125734" y="486743"/>
                        <a:pt x="113231" y="492994"/>
                      </a:cubicBezTo>
                      <a:cubicBezTo>
                        <a:pt x="100728" y="492994"/>
                        <a:pt x="94616" y="499246"/>
                        <a:pt x="88364" y="511610"/>
                      </a:cubicBezTo>
                      <a:lnTo>
                        <a:pt x="63497" y="517862"/>
                      </a:lnTo>
                      <a:lnTo>
                        <a:pt x="63497" y="511610"/>
                      </a:lnTo>
                      <a:cubicBezTo>
                        <a:pt x="57245" y="511610"/>
                        <a:pt x="50994" y="511610"/>
                        <a:pt x="38630" y="511610"/>
                      </a:cubicBezTo>
                      <a:cubicBezTo>
                        <a:pt x="32378" y="511610"/>
                        <a:pt x="13762" y="523974"/>
                        <a:pt x="13762" y="530226"/>
                      </a:cubicBezTo>
                      <a:cubicBezTo>
                        <a:pt x="7510" y="542590"/>
                        <a:pt x="1259" y="555093"/>
                        <a:pt x="1259" y="561206"/>
                      </a:cubicBezTo>
                      <a:cubicBezTo>
                        <a:pt x="-4993" y="573570"/>
                        <a:pt x="13762" y="586073"/>
                        <a:pt x="19875" y="586073"/>
                      </a:cubicBezTo>
                      <a:cubicBezTo>
                        <a:pt x="38491" y="586073"/>
                        <a:pt x="32378" y="586073"/>
                        <a:pt x="38491" y="604689"/>
                      </a:cubicBezTo>
                      <a:cubicBezTo>
                        <a:pt x="38491" y="610940"/>
                        <a:pt x="44742" y="610940"/>
                        <a:pt x="44742" y="623304"/>
                      </a:cubicBezTo>
                      <a:lnTo>
                        <a:pt x="38491" y="635669"/>
                      </a:lnTo>
                      <a:cubicBezTo>
                        <a:pt x="50994" y="641920"/>
                        <a:pt x="57106" y="641920"/>
                        <a:pt x="63358" y="648033"/>
                      </a:cubicBezTo>
                      <a:cubicBezTo>
                        <a:pt x="75861" y="660397"/>
                        <a:pt x="69609" y="672900"/>
                        <a:pt x="81973" y="679013"/>
                      </a:cubicBezTo>
                      <a:cubicBezTo>
                        <a:pt x="94476" y="685264"/>
                        <a:pt x="106841" y="691377"/>
                        <a:pt x="119344" y="697629"/>
                      </a:cubicBezTo>
                      <a:cubicBezTo>
                        <a:pt x="125595" y="697629"/>
                        <a:pt x="131847" y="691377"/>
                        <a:pt x="137960" y="685264"/>
                      </a:cubicBezTo>
                      <a:cubicBezTo>
                        <a:pt x="156576" y="672900"/>
                        <a:pt x="187833" y="679013"/>
                        <a:pt x="200197" y="697629"/>
                      </a:cubicBezTo>
                      <a:cubicBezTo>
                        <a:pt x="206449" y="709993"/>
                        <a:pt x="193946" y="716244"/>
                        <a:pt x="187694" y="722496"/>
                      </a:cubicBezTo>
                      <a:cubicBezTo>
                        <a:pt x="181443" y="728747"/>
                        <a:pt x="181443" y="728747"/>
                        <a:pt x="181443" y="734860"/>
                      </a:cubicBezTo>
                      <a:cubicBezTo>
                        <a:pt x="175191" y="747224"/>
                        <a:pt x="168940" y="747224"/>
                        <a:pt x="162827" y="747224"/>
                      </a:cubicBezTo>
                      <a:cubicBezTo>
                        <a:pt x="144212" y="759589"/>
                        <a:pt x="193946" y="778204"/>
                        <a:pt x="175330" y="790707"/>
                      </a:cubicBezTo>
                      <a:cubicBezTo>
                        <a:pt x="169079" y="803072"/>
                        <a:pt x="162827" y="796959"/>
                        <a:pt x="150463" y="796959"/>
                      </a:cubicBezTo>
                      <a:cubicBezTo>
                        <a:pt x="125595" y="790707"/>
                        <a:pt x="156715" y="815575"/>
                        <a:pt x="156715" y="815575"/>
                      </a:cubicBezTo>
                      <a:cubicBezTo>
                        <a:pt x="156715" y="827939"/>
                        <a:pt x="150463" y="834190"/>
                        <a:pt x="162966" y="834190"/>
                      </a:cubicBezTo>
                      <a:cubicBezTo>
                        <a:pt x="175469" y="840442"/>
                        <a:pt x="175469" y="846555"/>
                        <a:pt x="187833" y="852806"/>
                      </a:cubicBezTo>
                      <a:cubicBezTo>
                        <a:pt x="200336" y="852806"/>
                        <a:pt x="206449" y="865170"/>
                        <a:pt x="218952" y="871422"/>
                      </a:cubicBezTo>
                      <a:cubicBezTo>
                        <a:pt x="218952" y="871422"/>
                        <a:pt x="225204" y="877674"/>
                        <a:pt x="231455" y="877674"/>
                      </a:cubicBezTo>
                      <a:cubicBezTo>
                        <a:pt x="237707" y="877674"/>
                        <a:pt x="231455" y="865309"/>
                        <a:pt x="243958" y="865309"/>
                      </a:cubicBezTo>
                      <a:cubicBezTo>
                        <a:pt x="268826" y="865309"/>
                        <a:pt x="281329" y="908792"/>
                        <a:pt x="306196" y="908792"/>
                      </a:cubicBezTo>
                      <a:cubicBezTo>
                        <a:pt x="318699" y="908792"/>
                        <a:pt x="318699" y="927408"/>
                        <a:pt x="331064" y="927408"/>
                      </a:cubicBezTo>
                      <a:cubicBezTo>
                        <a:pt x="343567" y="933660"/>
                        <a:pt x="349679" y="946024"/>
                        <a:pt x="355931" y="946024"/>
                      </a:cubicBezTo>
                      <a:cubicBezTo>
                        <a:pt x="368434" y="933660"/>
                        <a:pt x="368434" y="952275"/>
                        <a:pt x="380798" y="952275"/>
                      </a:cubicBezTo>
                      <a:cubicBezTo>
                        <a:pt x="387050" y="952275"/>
                        <a:pt x="387050" y="946024"/>
                        <a:pt x="393301" y="946024"/>
                      </a:cubicBezTo>
                      <a:cubicBezTo>
                        <a:pt x="399553" y="946024"/>
                        <a:pt x="399553" y="952275"/>
                        <a:pt x="405804" y="958388"/>
                      </a:cubicBezTo>
                      <a:cubicBezTo>
                        <a:pt x="418307" y="958388"/>
                        <a:pt x="430672" y="958388"/>
                        <a:pt x="443175" y="952137"/>
                      </a:cubicBezTo>
                      <a:cubicBezTo>
                        <a:pt x="461790" y="945885"/>
                        <a:pt x="449426" y="958388"/>
                        <a:pt x="455678" y="964501"/>
                      </a:cubicBezTo>
                      <a:cubicBezTo>
                        <a:pt x="455678" y="964501"/>
                        <a:pt x="468181" y="945885"/>
                        <a:pt x="474293" y="945885"/>
                      </a:cubicBezTo>
                      <a:cubicBezTo>
                        <a:pt x="480545" y="939633"/>
                        <a:pt x="492910" y="939633"/>
                        <a:pt x="499161" y="945885"/>
                      </a:cubicBezTo>
                      <a:cubicBezTo>
                        <a:pt x="511664" y="958249"/>
                        <a:pt x="524028" y="945885"/>
                        <a:pt x="536532" y="952137"/>
                      </a:cubicBezTo>
                      <a:cubicBezTo>
                        <a:pt x="549035" y="958388"/>
                        <a:pt x="561399" y="945885"/>
                        <a:pt x="567650" y="933521"/>
                      </a:cubicBezTo>
                      <a:cubicBezTo>
                        <a:pt x="573902" y="933521"/>
                        <a:pt x="573902" y="927269"/>
                        <a:pt x="580153" y="927269"/>
                      </a:cubicBezTo>
                      <a:cubicBezTo>
                        <a:pt x="586405" y="921018"/>
                        <a:pt x="592657" y="927269"/>
                        <a:pt x="598769" y="921018"/>
                      </a:cubicBezTo>
                      <a:cubicBezTo>
                        <a:pt x="605021" y="914766"/>
                        <a:pt x="611272" y="902402"/>
                        <a:pt x="623636" y="908653"/>
                      </a:cubicBezTo>
                      <a:cubicBezTo>
                        <a:pt x="636139" y="914905"/>
                        <a:pt x="636139" y="914905"/>
                        <a:pt x="654756" y="902402"/>
                      </a:cubicBezTo>
                      <a:cubicBezTo>
                        <a:pt x="661007" y="896150"/>
                        <a:pt x="673371" y="914766"/>
                        <a:pt x="673371" y="921018"/>
                      </a:cubicBezTo>
                      <a:cubicBezTo>
                        <a:pt x="667120" y="933382"/>
                        <a:pt x="654756" y="939633"/>
                        <a:pt x="667120" y="939633"/>
                      </a:cubicBezTo>
                      <a:cubicBezTo>
                        <a:pt x="685735" y="939633"/>
                        <a:pt x="685735" y="939633"/>
                        <a:pt x="704490" y="933382"/>
                      </a:cubicBezTo>
                      <a:cubicBezTo>
                        <a:pt x="710742" y="933382"/>
                        <a:pt x="716993" y="951998"/>
                        <a:pt x="716993" y="958249"/>
                      </a:cubicBezTo>
                      <a:cubicBezTo>
                        <a:pt x="716993" y="958249"/>
                        <a:pt x="716993" y="970613"/>
                        <a:pt x="723245" y="964501"/>
                      </a:cubicBezTo>
                      <a:cubicBezTo>
                        <a:pt x="723245" y="964501"/>
                        <a:pt x="735748" y="964501"/>
                        <a:pt x="735748" y="970752"/>
                      </a:cubicBezTo>
                      <a:cubicBezTo>
                        <a:pt x="735748" y="977004"/>
                        <a:pt x="723245" y="983116"/>
                        <a:pt x="729496" y="989368"/>
                      </a:cubicBezTo>
                      <a:cubicBezTo>
                        <a:pt x="735748" y="1001732"/>
                        <a:pt x="729496" y="1020348"/>
                        <a:pt x="723245" y="1026600"/>
                      </a:cubicBezTo>
                      <a:cubicBezTo>
                        <a:pt x="716993" y="1038964"/>
                        <a:pt x="704629" y="1045215"/>
                        <a:pt x="698378" y="1051467"/>
                      </a:cubicBezTo>
                      <a:cubicBezTo>
                        <a:pt x="698378" y="1057718"/>
                        <a:pt x="698378" y="1088698"/>
                        <a:pt x="692126" y="1082447"/>
                      </a:cubicBezTo>
                      <a:cubicBezTo>
                        <a:pt x="698378" y="1088698"/>
                        <a:pt x="735748" y="1070083"/>
                        <a:pt x="741999" y="1082447"/>
                      </a:cubicBezTo>
                      <a:cubicBezTo>
                        <a:pt x="741999" y="1082447"/>
                        <a:pt x="729496" y="1088698"/>
                        <a:pt x="735748" y="1101063"/>
                      </a:cubicBezTo>
                      <a:cubicBezTo>
                        <a:pt x="741999" y="1113427"/>
                        <a:pt x="760615" y="1113427"/>
                        <a:pt x="754363" y="1119678"/>
                      </a:cubicBezTo>
                      <a:cubicBezTo>
                        <a:pt x="754363" y="1125930"/>
                        <a:pt x="748112" y="1138294"/>
                        <a:pt x="748112" y="1144546"/>
                      </a:cubicBezTo>
                      <a:cubicBezTo>
                        <a:pt x="754363" y="1150797"/>
                        <a:pt x="772979" y="1144546"/>
                        <a:pt x="772979" y="1150797"/>
                      </a:cubicBezTo>
                      <a:lnTo>
                        <a:pt x="772979" y="1157049"/>
                      </a:lnTo>
                      <a:cubicBezTo>
                        <a:pt x="772979" y="1169413"/>
                        <a:pt x="779231" y="1163300"/>
                        <a:pt x="785482" y="1163300"/>
                      </a:cubicBezTo>
                      <a:cubicBezTo>
                        <a:pt x="791734" y="1163300"/>
                        <a:pt x="797985" y="1157049"/>
                        <a:pt x="804098" y="1163300"/>
                      </a:cubicBezTo>
                      <a:cubicBezTo>
                        <a:pt x="810350" y="1163300"/>
                        <a:pt x="816602" y="1169552"/>
                        <a:pt x="822714" y="1175665"/>
                      </a:cubicBezTo>
                      <a:cubicBezTo>
                        <a:pt x="835217" y="1181916"/>
                        <a:pt x="828966" y="1157049"/>
                        <a:pt x="828966" y="1150797"/>
                      </a:cubicBezTo>
                      <a:cubicBezTo>
                        <a:pt x="816463" y="1125930"/>
                        <a:pt x="828966" y="1138433"/>
                        <a:pt x="841469" y="1125930"/>
                      </a:cubicBezTo>
                      <a:cubicBezTo>
                        <a:pt x="853972" y="1119678"/>
                        <a:pt x="847720" y="1125930"/>
                        <a:pt x="860084" y="1132181"/>
                      </a:cubicBezTo>
                      <a:lnTo>
                        <a:pt x="872588" y="1125930"/>
                      </a:lnTo>
                      <a:cubicBezTo>
                        <a:pt x="872588" y="1132181"/>
                        <a:pt x="885091" y="1119678"/>
                        <a:pt x="885091" y="1125930"/>
                      </a:cubicBezTo>
                      <a:cubicBezTo>
                        <a:pt x="891342" y="1132181"/>
                        <a:pt x="891342" y="1138294"/>
                        <a:pt x="903706" y="1125930"/>
                      </a:cubicBezTo>
                      <a:cubicBezTo>
                        <a:pt x="909958" y="1119678"/>
                        <a:pt x="909958" y="1125930"/>
                        <a:pt x="916209" y="1119678"/>
                      </a:cubicBezTo>
                      <a:cubicBezTo>
                        <a:pt x="922461" y="1113427"/>
                        <a:pt x="922461" y="1101063"/>
                        <a:pt x="934825" y="1101063"/>
                      </a:cubicBezTo>
                      <a:cubicBezTo>
                        <a:pt x="941077" y="1101063"/>
                        <a:pt x="947328" y="1113427"/>
                        <a:pt x="959693" y="1113427"/>
                      </a:cubicBezTo>
                      <a:lnTo>
                        <a:pt x="984560" y="1119678"/>
                      </a:lnTo>
                      <a:cubicBezTo>
                        <a:pt x="984560" y="1125930"/>
                        <a:pt x="972057" y="1132042"/>
                        <a:pt x="972057" y="1138294"/>
                      </a:cubicBezTo>
                      <a:cubicBezTo>
                        <a:pt x="978309" y="1144546"/>
                        <a:pt x="990673" y="1150658"/>
                        <a:pt x="996924" y="1156910"/>
                      </a:cubicBezTo>
                      <a:cubicBezTo>
                        <a:pt x="1009427" y="1163161"/>
                        <a:pt x="1034294" y="1169274"/>
                        <a:pt x="1040546" y="1150658"/>
                      </a:cubicBezTo>
                      <a:lnTo>
                        <a:pt x="1053049" y="1163022"/>
                      </a:lnTo>
                      <a:cubicBezTo>
                        <a:pt x="1059301" y="1169274"/>
                        <a:pt x="1065552" y="1156771"/>
                        <a:pt x="1077916" y="1163022"/>
                      </a:cubicBezTo>
                      <a:cubicBezTo>
                        <a:pt x="1084168" y="1169274"/>
                        <a:pt x="1071665" y="1175387"/>
                        <a:pt x="1071665" y="1181638"/>
                      </a:cubicBezTo>
                      <a:cubicBezTo>
                        <a:pt x="1071665" y="1187890"/>
                        <a:pt x="1084168" y="1200254"/>
                        <a:pt x="1084168" y="1206506"/>
                      </a:cubicBezTo>
                      <a:cubicBezTo>
                        <a:pt x="1090419" y="1206506"/>
                        <a:pt x="1096671" y="1200254"/>
                        <a:pt x="1102784" y="1200254"/>
                      </a:cubicBezTo>
                      <a:cubicBezTo>
                        <a:pt x="1102784" y="1194002"/>
                        <a:pt x="1084168" y="1187890"/>
                        <a:pt x="1090281" y="1181638"/>
                      </a:cubicBezTo>
                      <a:cubicBezTo>
                        <a:pt x="1102784" y="1163022"/>
                        <a:pt x="1115148" y="1163022"/>
                        <a:pt x="1133903" y="1156771"/>
                      </a:cubicBezTo>
                      <a:cubicBezTo>
                        <a:pt x="1146406" y="1150519"/>
                        <a:pt x="1158770" y="1150519"/>
                        <a:pt x="1171273" y="1150519"/>
                      </a:cubicBezTo>
                      <a:cubicBezTo>
                        <a:pt x="1177525" y="1150519"/>
                        <a:pt x="1177525" y="1138155"/>
                        <a:pt x="1183776" y="1138155"/>
                      </a:cubicBezTo>
                      <a:cubicBezTo>
                        <a:pt x="1196140" y="1138155"/>
                        <a:pt x="1190028" y="1131904"/>
                        <a:pt x="1190028" y="1125791"/>
                      </a:cubicBezTo>
                      <a:cubicBezTo>
                        <a:pt x="1190028" y="1132042"/>
                        <a:pt x="1214895" y="1125791"/>
                        <a:pt x="1214895" y="1125791"/>
                      </a:cubicBezTo>
                      <a:cubicBezTo>
                        <a:pt x="1227398" y="1119539"/>
                        <a:pt x="1239901" y="1125791"/>
                        <a:pt x="1252265" y="1125791"/>
                      </a:cubicBezTo>
                      <a:cubicBezTo>
                        <a:pt x="1264769" y="1125791"/>
                        <a:pt x="1270882" y="1119539"/>
                        <a:pt x="1283385" y="1113427"/>
                      </a:cubicBezTo>
                      <a:cubicBezTo>
                        <a:pt x="1289636" y="1113427"/>
                        <a:pt x="1289636" y="1094811"/>
                        <a:pt x="1295888" y="1094811"/>
                      </a:cubicBezTo>
                      <a:cubicBezTo>
                        <a:pt x="1308252" y="1094811"/>
                        <a:pt x="1314504" y="1088559"/>
                        <a:pt x="1320755" y="1082447"/>
                      </a:cubicBezTo>
                      <a:cubicBezTo>
                        <a:pt x="1327007" y="1082447"/>
                        <a:pt x="1333258" y="1076195"/>
                        <a:pt x="1333258" y="1070083"/>
                      </a:cubicBezTo>
                      <a:cubicBezTo>
                        <a:pt x="1327007" y="1070083"/>
                        <a:pt x="1351874" y="1063831"/>
                        <a:pt x="1351874" y="1063831"/>
                      </a:cubicBezTo>
                      <a:cubicBezTo>
                        <a:pt x="1358125" y="1057580"/>
                        <a:pt x="1364238" y="1045215"/>
                        <a:pt x="1370490" y="1038964"/>
                      </a:cubicBezTo>
                      <a:cubicBezTo>
                        <a:pt x="1376741" y="1032712"/>
                        <a:pt x="1376741" y="1032712"/>
                        <a:pt x="1376741" y="1026600"/>
                      </a:cubicBezTo>
                      <a:cubicBezTo>
                        <a:pt x="1382993" y="1014235"/>
                        <a:pt x="1370490" y="1020348"/>
                        <a:pt x="1370490" y="1014235"/>
                      </a:cubicBezTo>
                      <a:cubicBezTo>
                        <a:pt x="1370490" y="1014235"/>
                        <a:pt x="1401608" y="1014235"/>
                        <a:pt x="1382854" y="1001871"/>
                      </a:cubicBezTo>
                      <a:cubicBezTo>
                        <a:pt x="1376602" y="995620"/>
                        <a:pt x="1382854" y="995620"/>
                        <a:pt x="1389105" y="995620"/>
                      </a:cubicBezTo>
                      <a:cubicBezTo>
                        <a:pt x="1395357" y="995620"/>
                        <a:pt x="1395357" y="989368"/>
                        <a:pt x="1401470" y="983255"/>
                      </a:cubicBezTo>
                      <a:cubicBezTo>
                        <a:pt x="1407721" y="977004"/>
                        <a:pt x="1407721" y="970891"/>
                        <a:pt x="1413973" y="964640"/>
                      </a:cubicBezTo>
                      <a:lnTo>
                        <a:pt x="1413973" y="952275"/>
                      </a:lnTo>
                      <a:cubicBezTo>
                        <a:pt x="1420225" y="946024"/>
                        <a:pt x="1426476" y="946024"/>
                        <a:pt x="1432589" y="939911"/>
                      </a:cubicBezTo>
                      <a:cubicBezTo>
                        <a:pt x="1438840" y="933660"/>
                        <a:pt x="1432589" y="927547"/>
                        <a:pt x="1432589" y="927547"/>
                      </a:cubicBezTo>
                      <a:cubicBezTo>
                        <a:pt x="1432589" y="921295"/>
                        <a:pt x="1438840" y="921295"/>
                        <a:pt x="1438840" y="921295"/>
                      </a:cubicBezTo>
                      <a:cubicBezTo>
                        <a:pt x="1445092" y="921295"/>
                        <a:pt x="1438840" y="908931"/>
                        <a:pt x="1438840" y="908931"/>
                      </a:cubicBezTo>
                      <a:cubicBezTo>
                        <a:pt x="1438840" y="908931"/>
                        <a:pt x="1451343" y="915183"/>
                        <a:pt x="1451343" y="908931"/>
                      </a:cubicBezTo>
                      <a:cubicBezTo>
                        <a:pt x="1463846" y="902680"/>
                        <a:pt x="1451343" y="902680"/>
                        <a:pt x="1445092" y="896567"/>
                      </a:cubicBezTo>
                      <a:lnTo>
                        <a:pt x="1463707" y="884203"/>
                      </a:lnTo>
                      <a:cubicBezTo>
                        <a:pt x="1457456" y="896567"/>
                        <a:pt x="1438701" y="877951"/>
                        <a:pt x="1432589" y="871839"/>
                      </a:cubicBezTo>
                      <a:cubicBezTo>
                        <a:pt x="1432589" y="871839"/>
                        <a:pt x="1426337" y="878090"/>
                        <a:pt x="1420085" y="878090"/>
                      </a:cubicBezTo>
                      <a:cubicBezTo>
                        <a:pt x="1413834" y="884342"/>
                        <a:pt x="1407721" y="871839"/>
                        <a:pt x="1401470" y="878090"/>
                      </a:cubicBezTo>
                      <a:cubicBezTo>
                        <a:pt x="1413973" y="871839"/>
                        <a:pt x="1426476" y="865726"/>
                        <a:pt x="1432589" y="859474"/>
                      </a:cubicBezTo>
                      <a:cubicBezTo>
                        <a:pt x="1438840" y="853223"/>
                        <a:pt x="1457456" y="853223"/>
                        <a:pt x="1445092" y="840859"/>
                      </a:cubicBezTo>
                      <a:cubicBezTo>
                        <a:pt x="1432589" y="834607"/>
                        <a:pt x="1426476" y="828495"/>
                        <a:pt x="1413973" y="815991"/>
                      </a:cubicBezTo>
                      <a:cubicBezTo>
                        <a:pt x="1413973" y="809740"/>
                        <a:pt x="1382854" y="822243"/>
                        <a:pt x="1382854" y="803627"/>
                      </a:cubicBezTo>
                      <a:cubicBezTo>
                        <a:pt x="1382854" y="815991"/>
                        <a:pt x="1413973" y="815991"/>
                        <a:pt x="1420225" y="815991"/>
                      </a:cubicBezTo>
                      <a:cubicBezTo>
                        <a:pt x="1426476" y="815991"/>
                        <a:pt x="1445231" y="834607"/>
                        <a:pt x="1451343" y="822243"/>
                      </a:cubicBezTo>
                      <a:cubicBezTo>
                        <a:pt x="1457595" y="809879"/>
                        <a:pt x="1420225" y="797376"/>
                        <a:pt x="1420225" y="785011"/>
                      </a:cubicBezTo>
                      <a:cubicBezTo>
                        <a:pt x="1413973" y="772647"/>
                        <a:pt x="1413973" y="747780"/>
                        <a:pt x="1401608" y="741528"/>
                      </a:cubicBezTo>
                      <a:cubicBezTo>
                        <a:pt x="1395357" y="729164"/>
                        <a:pt x="1357986" y="729164"/>
                        <a:pt x="1370490" y="710548"/>
                      </a:cubicBezTo>
                      <a:cubicBezTo>
                        <a:pt x="1376741" y="698184"/>
                        <a:pt x="1382854" y="691933"/>
                        <a:pt x="1389105" y="685681"/>
                      </a:cubicBezTo>
                      <a:cubicBezTo>
                        <a:pt x="1401470" y="673317"/>
                        <a:pt x="1389105" y="679430"/>
                        <a:pt x="1395357" y="673317"/>
                      </a:cubicBezTo>
                      <a:cubicBezTo>
                        <a:pt x="1395357" y="667065"/>
                        <a:pt x="1413973" y="673317"/>
                        <a:pt x="1413973" y="673317"/>
                      </a:cubicBezTo>
                      <a:cubicBezTo>
                        <a:pt x="1420225" y="667065"/>
                        <a:pt x="1407721" y="660953"/>
                        <a:pt x="1420225" y="654701"/>
                      </a:cubicBezTo>
                      <a:cubicBezTo>
                        <a:pt x="1432728" y="654701"/>
                        <a:pt x="1438840" y="648450"/>
                        <a:pt x="1445231" y="642337"/>
                      </a:cubicBezTo>
                      <a:cubicBezTo>
                        <a:pt x="1451482" y="642337"/>
                        <a:pt x="1457595" y="642337"/>
                        <a:pt x="1457595" y="642337"/>
                      </a:cubicBezTo>
                      <a:cubicBezTo>
                        <a:pt x="1463846" y="642337"/>
                        <a:pt x="1457595" y="648589"/>
                        <a:pt x="1463846" y="648589"/>
                      </a:cubicBezTo>
                      <a:cubicBezTo>
                        <a:pt x="1470098" y="654840"/>
                        <a:pt x="1476210" y="636224"/>
                        <a:pt x="1476210" y="629973"/>
                      </a:cubicBezTo>
                      <a:cubicBezTo>
                        <a:pt x="1463846" y="617609"/>
                        <a:pt x="1451343" y="623721"/>
                        <a:pt x="1445092" y="623721"/>
                      </a:cubicBezTo>
                      <a:cubicBezTo>
                        <a:pt x="1432589" y="623721"/>
                        <a:pt x="1426476" y="611357"/>
                        <a:pt x="1413973" y="617470"/>
                      </a:cubicBezTo>
                      <a:cubicBezTo>
                        <a:pt x="1407721" y="617470"/>
                        <a:pt x="1401470" y="629834"/>
                        <a:pt x="1389105" y="629834"/>
                      </a:cubicBezTo>
                      <a:cubicBezTo>
                        <a:pt x="1382854" y="636085"/>
                        <a:pt x="1370490" y="636085"/>
                        <a:pt x="1364099" y="629834"/>
                      </a:cubicBezTo>
                      <a:cubicBezTo>
                        <a:pt x="1357847" y="623582"/>
                        <a:pt x="1370350" y="611218"/>
                        <a:pt x="1364099" y="604967"/>
                      </a:cubicBezTo>
                      <a:cubicBezTo>
                        <a:pt x="1351735" y="598715"/>
                        <a:pt x="1301861" y="598715"/>
                        <a:pt x="1320477" y="567735"/>
                      </a:cubicBezTo>
                      <a:cubicBezTo>
                        <a:pt x="1326729" y="561483"/>
                        <a:pt x="1332980" y="567735"/>
                        <a:pt x="1345344" y="567735"/>
                      </a:cubicBezTo>
                      <a:cubicBezTo>
                        <a:pt x="1351596" y="567735"/>
                        <a:pt x="1363961" y="561483"/>
                        <a:pt x="1370350" y="555371"/>
                      </a:cubicBezTo>
                      <a:cubicBezTo>
                        <a:pt x="1382715" y="536755"/>
                        <a:pt x="1401470" y="524391"/>
                        <a:pt x="1420085" y="511888"/>
                      </a:cubicBezTo>
                      <a:cubicBezTo>
                        <a:pt x="1426337" y="499524"/>
                        <a:pt x="1432589" y="499524"/>
                        <a:pt x="1445092" y="499524"/>
                      </a:cubicBezTo>
                      <a:cubicBezTo>
                        <a:pt x="1445092" y="505775"/>
                        <a:pt x="1463707" y="505775"/>
                        <a:pt x="1463707" y="511888"/>
                      </a:cubicBezTo>
                      <a:cubicBezTo>
                        <a:pt x="1457456" y="518139"/>
                        <a:pt x="1457456" y="530504"/>
                        <a:pt x="1451204" y="536755"/>
                      </a:cubicBezTo>
                      <a:cubicBezTo>
                        <a:pt x="1444953" y="536755"/>
                        <a:pt x="1432589" y="543007"/>
                        <a:pt x="1432589" y="549119"/>
                      </a:cubicBezTo>
                      <a:cubicBezTo>
                        <a:pt x="1432589" y="555371"/>
                        <a:pt x="1451204" y="555371"/>
                        <a:pt x="1451204" y="555371"/>
                      </a:cubicBezTo>
                      <a:cubicBezTo>
                        <a:pt x="1451204" y="555371"/>
                        <a:pt x="1426337" y="573987"/>
                        <a:pt x="1432589" y="573987"/>
                      </a:cubicBezTo>
                      <a:cubicBezTo>
                        <a:pt x="1438840" y="580238"/>
                        <a:pt x="1469959" y="549119"/>
                        <a:pt x="1476210" y="549119"/>
                      </a:cubicBezTo>
                      <a:cubicBezTo>
                        <a:pt x="1488714" y="542868"/>
                        <a:pt x="1501217" y="536755"/>
                        <a:pt x="1513581" y="536755"/>
                      </a:cubicBezTo>
                      <a:cubicBezTo>
                        <a:pt x="1526084" y="536755"/>
                        <a:pt x="1526084" y="536755"/>
                        <a:pt x="1532196" y="524391"/>
                      </a:cubicBezTo>
                      <a:cubicBezTo>
                        <a:pt x="1544700" y="518139"/>
                        <a:pt x="1563316" y="512027"/>
                        <a:pt x="1575819" y="499524"/>
                      </a:cubicBezTo>
                      <a:cubicBezTo>
                        <a:pt x="1582071" y="493272"/>
                        <a:pt x="1594435" y="474656"/>
                        <a:pt x="1606938" y="474656"/>
                      </a:cubicBezTo>
                      <a:cubicBezTo>
                        <a:pt x="1613189" y="468405"/>
                        <a:pt x="1650560" y="493272"/>
                        <a:pt x="1650560" y="474656"/>
                      </a:cubicBezTo>
                      <a:cubicBezTo>
                        <a:pt x="1650560" y="468405"/>
                        <a:pt x="1644308" y="462292"/>
                        <a:pt x="1650560" y="456041"/>
                      </a:cubicBezTo>
                      <a:cubicBezTo>
                        <a:pt x="1656811" y="456041"/>
                        <a:pt x="1662924" y="456041"/>
                        <a:pt x="1669175" y="456041"/>
                      </a:cubicBezTo>
                      <a:cubicBezTo>
                        <a:pt x="1681539" y="456041"/>
                        <a:pt x="1675427" y="449789"/>
                        <a:pt x="1681539" y="443676"/>
                      </a:cubicBezTo>
                      <a:cubicBezTo>
                        <a:pt x="1694042" y="437425"/>
                        <a:pt x="1700156" y="443676"/>
                        <a:pt x="1700156" y="431312"/>
                      </a:cubicBezTo>
                      <a:cubicBezTo>
                        <a:pt x="1700156" y="412696"/>
                        <a:pt x="1718771" y="431312"/>
                        <a:pt x="1725162" y="437564"/>
                      </a:cubicBezTo>
                      <a:cubicBezTo>
                        <a:pt x="1725162" y="425199"/>
                        <a:pt x="1743777" y="425199"/>
                        <a:pt x="1743777" y="412696"/>
                      </a:cubicBezTo>
                      <a:cubicBezTo>
                        <a:pt x="1743777" y="400332"/>
                        <a:pt x="1750029" y="381716"/>
                        <a:pt x="1743777" y="369213"/>
                      </a:cubicBezTo>
                      <a:cubicBezTo>
                        <a:pt x="1731274" y="350598"/>
                        <a:pt x="1737526" y="356849"/>
                        <a:pt x="1750029" y="344346"/>
                      </a:cubicBezTo>
                      <a:cubicBezTo>
                        <a:pt x="1762532" y="338094"/>
                        <a:pt x="1768645" y="331982"/>
                        <a:pt x="1781148" y="338094"/>
                      </a:cubicBezTo>
                      <a:cubicBezTo>
                        <a:pt x="1799763" y="344346"/>
                        <a:pt x="1799763" y="344346"/>
                        <a:pt x="1806015" y="325730"/>
                      </a:cubicBezTo>
                      <a:cubicBezTo>
                        <a:pt x="1812266" y="313366"/>
                        <a:pt x="1824631" y="307114"/>
                        <a:pt x="1830882" y="288499"/>
                      </a:cubicBezTo>
                      <a:cubicBezTo>
                        <a:pt x="1830882" y="276135"/>
                        <a:pt x="1837134" y="263631"/>
                        <a:pt x="1849498" y="251267"/>
                      </a:cubicBezTo>
                      <a:cubicBezTo>
                        <a:pt x="1862279" y="238208"/>
                        <a:pt x="1849915" y="238208"/>
                        <a:pt x="1849915" y="22584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0" name="Freihandform: Form 359">
                  <a:extLst>
                    <a:ext uri="{FF2B5EF4-FFF2-40B4-BE49-F238E27FC236}">
                      <a16:creationId xmlns:a16="http://schemas.microsoft.com/office/drawing/2014/main" id="{D865C4B3-0A43-4F04-BA5B-B4A517FA6D79}"/>
                    </a:ext>
                  </a:extLst>
                </p:cNvPr>
                <p:cNvSpPr/>
                <p:nvPr/>
              </p:nvSpPr>
              <p:spPr>
                <a:xfrm>
                  <a:off x="8797697" y="2749536"/>
                  <a:ext cx="959292" cy="418822"/>
                </a:xfrm>
                <a:custGeom>
                  <a:avLst/>
                  <a:gdLst>
                    <a:gd name="connsiteX0" fmla="*/ 0 w 959292"/>
                    <a:gd name="connsiteY0" fmla="*/ 114769 h 418822"/>
                    <a:gd name="connsiteX1" fmla="*/ 43344 w 959292"/>
                    <a:gd name="connsiteY1" fmla="*/ 158946 h 418822"/>
                    <a:gd name="connsiteX2" fmla="*/ 74324 w 959292"/>
                    <a:gd name="connsiteY2" fmla="*/ 177840 h 418822"/>
                    <a:gd name="connsiteX3" fmla="*/ 92940 w 959292"/>
                    <a:gd name="connsiteY3" fmla="*/ 222018 h 418822"/>
                    <a:gd name="connsiteX4" fmla="*/ 92940 w 959292"/>
                    <a:gd name="connsiteY4" fmla="*/ 234660 h 418822"/>
                    <a:gd name="connsiteX5" fmla="*/ 92940 w 959292"/>
                    <a:gd name="connsiteY5" fmla="*/ 247302 h 418822"/>
                    <a:gd name="connsiteX6" fmla="*/ 99192 w 959292"/>
                    <a:gd name="connsiteY6" fmla="*/ 278838 h 418822"/>
                    <a:gd name="connsiteX7" fmla="*/ 173516 w 959292"/>
                    <a:gd name="connsiteY7" fmla="*/ 291480 h 418822"/>
                    <a:gd name="connsiteX8" fmla="*/ 223111 w 959292"/>
                    <a:gd name="connsiteY8" fmla="*/ 335657 h 418822"/>
                    <a:gd name="connsiteX9" fmla="*/ 241727 w 959292"/>
                    <a:gd name="connsiteY9" fmla="*/ 367193 h 418822"/>
                    <a:gd name="connsiteX10" fmla="*/ 272707 w 959292"/>
                    <a:gd name="connsiteY10" fmla="*/ 373444 h 418822"/>
                    <a:gd name="connsiteX11" fmla="*/ 347032 w 959292"/>
                    <a:gd name="connsiteY11" fmla="*/ 373444 h 418822"/>
                    <a:gd name="connsiteX12" fmla="*/ 396627 w 959292"/>
                    <a:gd name="connsiteY12" fmla="*/ 379696 h 418822"/>
                    <a:gd name="connsiteX13" fmla="*/ 427607 w 959292"/>
                    <a:gd name="connsiteY13" fmla="*/ 398590 h 418822"/>
                    <a:gd name="connsiteX14" fmla="*/ 470951 w 959292"/>
                    <a:gd name="connsiteY14" fmla="*/ 411232 h 418822"/>
                    <a:gd name="connsiteX15" fmla="*/ 501931 w 959292"/>
                    <a:gd name="connsiteY15" fmla="*/ 417483 h 418822"/>
                    <a:gd name="connsiteX16" fmla="*/ 576255 w 959292"/>
                    <a:gd name="connsiteY16" fmla="*/ 385948 h 418822"/>
                    <a:gd name="connsiteX17" fmla="*/ 656831 w 959292"/>
                    <a:gd name="connsiteY17" fmla="*/ 379696 h 418822"/>
                    <a:gd name="connsiteX18" fmla="*/ 700175 w 959292"/>
                    <a:gd name="connsiteY18" fmla="*/ 341909 h 418822"/>
                    <a:gd name="connsiteX19" fmla="*/ 706426 w 959292"/>
                    <a:gd name="connsiteY19" fmla="*/ 316625 h 418822"/>
                    <a:gd name="connsiteX20" fmla="*/ 712678 w 959292"/>
                    <a:gd name="connsiteY20" fmla="*/ 291341 h 418822"/>
                    <a:gd name="connsiteX21" fmla="*/ 780750 w 959292"/>
                    <a:gd name="connsiteY21" fmla="*/ 285089 h 418822"/>
                    <a:gd name="connsiteX22" fmla="*/ 805479 w 959292"/>
                    <a:gd name="connsiteY22" fmla="*/ 272447 h 418822"/>
                    <a:gd name="connsiteX23" fmla="*/ 848823 w 959292"/>
                    <a:gd name="connsiteY23" fmla="*/ 259805 h 418822"/>
                    <a:gd name="connsiteX24" fmla="*/ 861188 w 959292"/>
                    <a:gd name="connsiteY24" fmla="*/ 234521 h 418822"/>
                    <a:gd name="connsiteX25" fmla="*/ 885916 w 959292"/>
                    <a:gd name="connsiteY25" fmla="*/ 228269 h 418822"/>
                    <a:gd name="connsiteX26" fmla="*/ 954128 w 959292"/>
                    <a:gd name="connsiteY26" fmla="*/ 222018 h 418822"/>
                    <a:gd name="connsiteX27" fmla="*/ 929399 w 959292"/>
                    <a:gd name="connsiteY27" fmla="*/ 177840 h 418822"/>
                    <a:gd name="connsiteX28" fmla="*/ 898419 w 959292"/>
                    <a:gd name="connsiteY28" fmla="*/ 171588 h 418822"/>
                    <a:gd name="connsiteX29" fmla="*/ 873691 w 959292"/>
                    <a:gd name="connsiteY29" fmla="*/ 177840 h 418822"/>
                    <a:gd name="connsiteX30" fmla="*/ 842711 w 959292"/>
                    <a:gd name="connsiteY30" fmla="*/ 171588 h 418822"/>
                    <a:gd name="connsiteX31" fmla="*/ 830346 w 959292"/>
                    <a:gd name="connsiteY31" fmla="*/ 165337 h 418822"/>
                    <a:gd name="connsiteX32" fmla="*/ 848962 w 959292"/>
                    <a:gd name="connsiteY32" fmla="*/ 114908 h 418822"/>
                    <a:gd name="connsiteX33" fmla="*/ 848962 w 959292"/>
                    <a:gd name="connsiteY33" fmla="*/ 83372 h 418822"/>
                    <a:gd name="connsiteX34" fmla="*/ 811731 w 959292"/>
                    <a:gd name="connsiteY34" fmla="*/ 83372 h 418822"/>
                    <a:gd name="connsiteX35" fmla="*/ 768386 w 959292"/>
                    <a:gd name="connsiteY35" fmla="*/ 89624 h 418822"/>
                    <a:gd name="connsiteX36" fmla="*/ 706426 w 959292"/>
                    <a:gd name="connsiteY36" fmla="*/ 114908 h 418822"/>
                    <a:gd name="connsiteX37" fmla="*/ 638354 w 959292"/>
                    <a:gd name="connsiteY37" fmla="*/ 114908 h 418822"/>
                    <a:gd name="connsiteX38" fmla="*/ 607374 w 959292"/>
                    <a:gd name="connsiteY38" fmla="*/ 102266 h 418822"/>
                    <a:gd name="connsiteX39" fmla="*/ 582646 w 959292"/>
                    <a:gd name="connsiteY39" fmla="*/ 89624 h 418822"/>
                    <a:gd name="connsiteX40" fmla="*/ 514573 w 959292"/>
                    <a:gd name="connsiteY40" fmla="*/ 64340 h 418822"/>
                    <a:gd name="connsiteX41" fmla="*/ 477481 w 959292"/>
                    <a:gd name="connsiteY41" fmla="*/ 76982 h 418822"/>
                    <a:gd name="connsiteX42" fmla="*/ 440249 w 959292"/>
                    <a:gd name="connsiteY42" fmla="*/ 70730 h 418822"/>
                    <a:gd name="connsiteX43" fmla="*/ 421633 w 959292"/>
                    <a:gd name="connsiteY43" fmla="*/ 45446 h 418822"/>
                    <a:gd name="connsiteX44" fmla="*/ 396905 w 959292"/>
                    <a:gd name="connsiteY44" fmla="*/ 26552 h 418822"/>
                    <a:gd name="connsiteX45" fmla="*/ 359812 w 959292"/>
                    <a:gd name="connsiteY45" fmla="*/ 13910 h 418822"/>
                    <a:gd name="connsiteX46" fmla="*/ 322720 w 959292"/>
                    <a:gd name="connsiteY46" fmla="*/ 1268 h 418822"/>
                    <a:gd name="connsiteX47" fmla="*/ 279375 w 959292"/>
                    <a:gd name="connsiteY47" fmla="*/ 39055 h 418822"/>
                    <a:gd name="connsiteX48" fmla="*/ 291740 w 959292"/>
                    <a:gd name="connsiteY48" fmla="*/ 76843 h 418822"/>
                    <a:gd name="connsiteX49" fmla="*/ 254647 w 959292"/>
                    <a:gd name="connsiteY49" fmla="*/ 89485 h 418822"/>
                    <a:gd name="connsiteX50" fmla="*/ 229919 w 959292"/>
                    <a:gd name="connsiteY50" fmla="*/ 83233 h 418822"/>
                    <a:gd name="connsiteX51" fmla="*/ 211303 w 959292"/>
                    <a:gd name="connsiteY51" fmla="*/ 83233 h 418822"/>
                    <a:gd name="connsiteX52" fmla="*/ 174211 w 959292"/>
                    <a:gd name="connsiteY52" fmla="*/ 57949 h 418822"/>
                    <a:gd name="connsiteX53" fmla="*/ 130866 w 959292"/>
                    <a:gd name="connsiteY53" fmla="*/ 51697 h 418822"/>
                    <a:gd name="connsiteX54" fmla="*/ 81270 w 959292"/>
                    <a:gd name="connsiteY54" fmla="*/ 76982 h 418822"/>
                    <a:gd name="connsiteX55" fmla="*/ 44178 w 959292"/>
                    <a:gd name="connsiteY55" fmla="*/ 102266 h 418822"/>
                    <a:gd name="connsiteX56" fmla="*/ 0 w 959292"/>
                    <a:gd name="connsiteY56" fmla="*/ 114769 h 41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959292" h="418822">
                      <a:moveTo>
                        <a:pt x="0" y="114769"/>
                      </a:moveTo>
                      <a:cubicBezTo>
                        <a:pt x="6252" y="140053"/>
                        <a:pt x="18616" y="152556"/>
                        <a:pt x="43344" y="158946"/>
                      </a:cubicBezTo>
                      <a:cubicBezTo>
                        <a:pt x="55708" y="165198"/>
                        <a:pt x="61960" y="171588"/>
                        <a:pt x="74324" y="177840"/>
                      </a:cubicBezTo>
                      <a:cubicBezTo>
                        <a:pt x="80576" y="190482"/>
                        <a:pt x="86689" y="209376"/>
                        <a:pt x="92940" y="222018"/>
                      </a:cubicBezTo>
                      <a:cubicBezTo>
                        <a:pt x="99192" y="228269"/>
                        <a:pt x="92940" y="228269"/>
                        <a:pt x="92940" y="234660"/>
                      </a:cubicBezTo>
                      <a:cubicBezTo>
                        <a:pt x="86689" y="234660"/>
                        <a:pt x="92940" y="240911"/>
                        <a:pt x="92940" y="247302"/>
                      </a:cubicBezTo>
                      <a:cubicBezTo>
                        <a:pt x="86689" y="266195"/>
                        <a:pt x="80576" y="266195"/>
                        <a:pt x="99192" y="278838"/>
                      </a:cubicBezTo>
                      <a:cubicBezTo>
                        <a:pt x="123920" y="285089"/>
                        <a:pt x="148787" y="278838"/>
                        <a:pt x="173516" y="291480"/>
                      </a:cubicBezTo>
                      <a:cubicBezTo>
                        <a:pt x="185880" y="304122"/>
                        <a:pt x="210608" y="323015"/>
                        <a:pt x="223111" y="335657"/>
                      </a:cubicBezTo>
                      <a:cubicBezTo>
                        <a:pt x="229363" y="341909"/>
                        <a:pt x="235475" y="354551"/>
                        <a:pt x="241727" y="367193"/>
                      </a:cubicBezTo>
                      <a:cubicBezTo>
                        <a:pt x="247979" y="379835"/>
                        <a:pt x="266456" y="373444"/>
                        <a:pt x="272707" y="373444"/>
                      </a:cubicBezTo>
                      <a:cubicBezTo>
                        <a:pt x="297436" y="373444"/>
                        <a:pt x="322303" y="373444"/>
                        <a:pt x="347032" y="373444"/>
                      </a:cubicBezTo>
                      <a:cubicBezTo>
                        <a:pt x="359396" y="373444"/>
                        <a:pt x="384124" y="373444"/>
                        <a:pt x="396627" y="379696"/>
                      </a:cubicBezTo>
                      <a:cubicBezTo>
                        <a:pt x="408992" y="385948"/>
                        <a:pt x="415243" y="398590"/>
                        <a:pt x="427607" y="398590"/>
                      </a:cubicBezTo>
                      <a:cubicBezTo>
                        <a:pt x="439971" y="404841"/>
                        <a:pt x="458587" y="411232"/>
                        <a:pt x="470951" y="411232"/>
                      </a:cubicBezTo>
                      <a:cubicBezTo>
                        <a:pt x="483316" y="404980"/>
                        <a:pt x="495680" y="423874"/>
                        <a:pt x="501931" y="417483"/>
                      </a:cubicBezTo>
                      <a:cubicBezTo>
                        <a:pt x="526659" y="404841"/>
                        <a:pt x="545275" y="392199"/>
                        <a:pt x="576255" y="385948"/>
                      </a:cubicBezTo>
                      <a:cubicBezTo>
                        <a:pt x="600984" y="385948"/>
                        <a:pt x="638215" y="392199"/>
                        <a:pt x="656831" y="379696"/>
                      </a:cubicBezTo>
                      <a:cubicBezTo>
                        <a:pt x="675447" y="367054"/>
                        <a:pt x="681559" y="348160"/>
                        <a:pt x="700175" y="341909"/>
                      </a:cubicBezTo>
                      <a:cubicBezTo>
                        <a:pt x="718791" y="335657"/>
                        <a:pt x="718791" y="329267"/>
                        <a:pt x="706426" y="316625"/>
                      </a:cubicBezTo>
                      <a:cubicBezTo>
                        <a:pt x="700175" y="310373"/>
                        <a:pt x="700175" y="297731"/>
                        <a:pt x="712678" y="291341"/>
                      </a:cubicBezTo>
                      <a:cubicBezTo>
                        <a:pt x="731294" y="272447"/>
                        <a:pt x="756022" y="310234"/>
                        <a:pt x="780750" y="285089"/>
                      </a:cubicBezTo>
                      <a:cubicBezTo>
                        <a:pt x="787002" y="278838"/>
                        <a:pt x="793115" y="272447"/>
                        <a:pt x="805479" y="272447"/>
                      </a:cubicBezTo>
                      <a:cubicBezTo>
                        <a:pt x="824095" y="266195"/>
                        <a:pt x="830207" y="272447"/>
                        <a:pt x="848823" y="259805"/>
                      </a:cubicBezTo>
                      <a:cubicBezTo>
                        <a:pt x="855075" y="253553"/>
                        <a:pt x="855075" y="234521"/>
                        <a:pt x="861188" y="234521"/>
                      </a:cubicBezTo>
                      <a:cubicBezTo>
                        <a:pt x="873552" y="228269"/>
                        <a:pt x="879664" y="228269"/>
                        <a:pt x="885916" y="228269"/>
                      </a:cubicBezTo>
                      <a:cubicBezTo>
                        <a:pt x="910644" y="222018"/>
                        <a:pt x="929260" y="215627"/>
                        <a:pt x="954128" y="222018"/>
                      </a:cubicBezTo>
                      <a:cubicBezTo>
                        <a:pt x="972743" y="222018"/>
                        <a:pt x="935512" y="177840"/>
                        <a:pt x="929399" y="177840"/>
                      </a:cubicBezTo>
                      <a:cubicBezTo>
                        <a:pt x="923147" y="171588"/>
                        <a:pt x="910783" y="165198"/>
                        <a:pt x="898419" y="171588"/>
                      </a:cubicBezTo>
                      <a:cubicBezTo>
                        <a:pt x="886055" y="171588"/>
                        <a:pt x="886055" y="184230"/>
                        <a:pt x="873691" y="177840"/>
                      </a:cubicBezTo>
                      <a:cubicBezTo>
                        <a:pt x="867439" y="171588"/>
                        <a:pt x="848962" y="165198"/>
                        <a:pt x="842711" y="171588"/>
                      </a:cubicBezTo>
                      <a:cubicBezTo>
                        <a:pt x="836459" y="184230"/>
                        <a:pt x="830346" y="177840"/>
                        <a:pt x="830346" y="165337"/>
                      </a:cubicBezTo>
                      <a:cubicBezTo>
                        <a:pt x="830346" y="152695"/>
                        <a:pt x="848962" y="127550"/>
                        <a:pt x="848962" y="114908"/>
                      </a:cubicBezTo>
                      <a:cubicBezTo>
                        <a:pt x="855214" y="102266"/>
                        <a:pt x="873691" y="83372"/>
                        <a:pt x="848962" y="83372"/>
                      </a:cubicBezTo>
                      <a:cubicBezTo>
                        <a:pt x="830346" y="83372"/>
                        <a:pt x="830346" y="89624"/>
                        <a:pt x="811731" y="83372"/>
                      </a:cubicBezTo>
                      <a:cubicBezTo>
                        <a:pt x="793115" y="77120"/>
                        <a:pt x="787002" y="77120"/>
                        <a:pt x="768386" y="89624"/>
                      </a:cubicBezTo>
                      <a:cubicBezTo>
                        <a:pt x="749771" y="102266"/>
                        <a:pt x="725043" y="108517"/>
                        <a:pt x="706426" y="114908"/>
                      </a:cubicBezTo>
                      <a:cubicBezTo>
                        <a:pt x="675447" y="121159"/>
                        <a:pt x="663083" y="114908"/>
                        <a:pt x="638354" y="114908"/>
                      </a:cubicBezTo>
                      <a:cubicBezTo>
                        <a:pt x="625990" y="108656"/>
                        <a:pt x="619738" y="108656"/>
                        <a:pt x="607374" y="102266"/>
                      </a:cubicBezTo>
                      <a:cubicBezTo>
                        <a:pt x="601123" y="102266"/>
                        <a:pt x="595010" y="89624"/>
                        <a:pt x="582646" y="89624"/>
                      </a:cubicBezTo>
                      <a:cubicBezTo>
                        <a:pt x="557917" y="83372"/>
                        <a:pt x="545553" y="70730"/>
                        <a:pt x="514573" y="64340"/>
                      </a:cubicBezTo>
                      <a:cubicBezTo>
                        <a:pt x="502209" y="64340"/>
                        <a:pt x="489845" y="70591"/>
                        <a:pt x="477481" y="76982"/>
                      </a:cubicBezTo>
                      <a:cubicBezTo>
                        <a:pt x="465117" y="83233"/>
                        <a:pt x="452752" y="76982"/>
                        <a:pt x="440249" y="70730"/>
                      </a:cubicBezTo>
                      <a:cubicBezTo>
                        <a:pt x="427885" y="64478"/>
                        <a:pt x="421633" y="64478"/>
                        <a:pt x="421633" y="45446"/>
                      </a:cubicBezTo>
                      <a:cubicBezTo>
                        <a:pt x="415381" y="32804"/>
                        <a:pt x="415381" y="32804"/>
                        <a:pt x="396905" y="26552"/>
                      </a:cubicBezTo>
                      <a:cubicBezTo>
                        <a:pt x="384541" y="20301"/>
                        <a:pt x="372177" y="13910"/>
                        <a:pt x="359812" y="13910"/>
                      </a:cubicBezTo>
                      <a:cubicBezTo>
                        <a:pt x="347448" y="13910"/>
                        <a:pt x="328832" y="-4983"/>
                        <a:pt x="322720" y="1268"/>
                      </a:cubicBezTo>
                      <a:cubicBezTo>
                        <a:pt x="310356" y="1268"/>
                        <a:pt x="285488" y="26552"/>
                        <a:pt x="279375" y="39055"/>
                      </a:cubicBezTo>
                      <a:cubicBezTo>
                        <a:pt x="279375" y="51697"/>
                        <a:pt x="297991" y="64340"/>
                        <a:pt x="291740" y="76843"/>
                      </a:cubicBezTo>
                      <a:cubicBezTo>
                        <a:pt x="285488" y="89485"/>
                        <a:pt x="267011" y="102127"/>
                        <a:pt x="254647" y="89485"/>
                      </a:cubicBezTo>
                      <a:cubicBezTo>
                        <a:pt x="242283" y="89485"/>
                        <a:pt x="236032" y="83233"/>
                        <a:pt x="229919" y="83233"/>
                      </a:cubicBezTo>
                      <a:cubicBezTo>
                        <a:pt x="223667" y="83233"/>
                        <a:pt x="217554" y="83233"/>
                        <a:pt x="211303" y="83233"/>
                      </a:cubicBezTo>
                      <a:cubicBezTo>
                        <a:pt x="192687" y="76982"/>
                        <a:pt x="192687" y="64340"/>
                        <a:pt x="174211" y="57949"/>
                      </a:cubicBezTo>
                      <a:cubicBezTo>
                        <a:pt x="161846" y="51697"/>
                        <a:pt x="143230" y="45307"/>
                        <a:pt x="130866" y="51697"/>
                      </a:cubicBezTo>
                      <a:cubicBezTo>
                        <a:pt x="112251" y="57949"/>
                        <a:pt x="99887" y="70591"/>
                        <a:pt x="81270" y="76982"/>
                      </a:cubicBezTo>
                      <a:cubicBezTo>
                        <a:pt x="68906" y="83233"/>
                        <a:pt x="56542" y="95875"/>
                        <a:pt x="44178" y="102266"/>
                      </a:cubicBezTo>
                      <a:cubicBezTo>
                        <a:pt x="24729" y="102127"/>
                        <a:pt x="12365" y="114769"/>
                        <a:pt x="0" y="11476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1" name="Freihandform: Form 360">
                  <a:extLst>
                    <a:ext uri="{FF2B5EF4-FFF2-40B4-BE49-F238E27FC236}">
                      <a16:creationId xmlns:a16="http://schemas.microsoft.com/office/drawing/2014/main" id="{8F1A8B10-22F6-4815-9D83-9AB8606D6E30}"/>
                    </a:ext>
                  </a:extLst>
                </p:cNvPr>
                <p:cNvSpPr/>
                <p:nvPr/>
              </p:nvSpPr>
              <p:spPr>
                <a:xfrm>
                  <a:off x="6442665" y="1929732"/>
                  <a:ext cx="391072" cy="672007"/>
                </a:xfrm>
                <a:custGeom>
                  <a:avLst/>
                  <a:gdLst>
                    <a:gd name="connsiteX0" fmla="*/ 378844 w 391072"/>
                    <a:gd name="connsiteY0" fmla="*/ 151461 h 672007"/>
                    <a:gd name="connsiteX1" fmla="*/ 378844 w 391072"/>
                    <a:gd name="connsiteY1" fmla="*/ 120064 h 672007"/>
                    <a:gd name="connsiteX2" fmla="*/ 378844 w 391072"/>
                    <a:gd name="connsiteY2" fmla="*/ 95058 h 672007"/>
                    <a:gd name="connsiteX3" fmla="*/ 372593 w 391072"/>
                    <a:gd name="connsiteY3" fmla="*/ 76303 h 672007"/>
                    <a:gd name="connsiteX4" fmla="*/ 372593 w 391072"/>
                    <a:gd name="connsiteY4" fmla="*/ 63800 h 672007"/>
                    <a:gd name="connsiteX5" fmla="*/ 353977 w 391072"/>
                    <a:gd name="connsiteY5" fmla="*/ 38794 h 672007"/>
                    <a:gd name="connsiteX6" fmla="*/ 316746 w 391072"/>
                    <a:gd name="connsiteY6" fmla="*/ 26291 h 672007"/>
                    <a:gd name="connsiteX7" fmla="*/ 273262 w 391072"/>
                    <a:gd name="connsiteY7" fmla="*/ 1284 h 672007"/>
                    <a:gd name="connsiteX8" fmla="*/ 273262 w 391072"/>
                    <a:gd name="connsiteY8" fmla="*/ 26291 h 672007"/>
                    <a:gd name="connsiteX9" fmla="*/ 211164 w 391072"/>
                    <a:gd name="connsiteY9" fmla="*/ 26291 h 672007"/>
                    <a:gd name="connsiteX10" fmla="*/ 211164 w 391072"/>
                    <a:gd name="connsiteY10" fmla="*/ 57687 h 672007"/>
                    <a:gd name="connsiteX11" fmla="*/ 180183 w 391072"/>
                    <a:gd name="connsiteY11" fmla="*/ 57687 h 672007"/>
                    <a:gd name="connsiteX12" fmla="*/ 167819 w 391072"/>
                    <a:gd name="connsiteY12" fmla="*/ 70190 h 672007"/>
                    <a:gd name="connsiteX13" fmla="*/ 155455 w 391072"/>
                    <a:gd name="connsiteY13" fmla="*/ 88945 h 672007"/>
                    <a:gd name="connsiteX14" fmla="*/ 155455 w 391072"/>
                    <a:gd name="connsiteY14" fmla="*/ 107700 h 672007"/>
                    <a:gd name="connsiteX15" fmla="*/ 149204 w 391072"/>
                    <a:gd name="connsiteY15" fmla="*/ 120203 h 672007"/>
                    <a:gd name="connsiteX16" fmla="*/ 124337 w 391072"/>
                    <a:gd name="connsiteY16" fmla="*/ 151600 h 672007"/>
                    <a:gd name="connsiteX17" fmla="*/ 105721 w 391072"/>
                    <a:gd name="connsiteY17" fmla="*/ 164103 h 672007"/>
                    <a:gd name="connsiteX18" fmla="*/ 99469 w 391072"/>
                    <a:gd name="connsiteY18" fmla="*/ 201751 h 672007"/>
                    <a:gd name="connsiteX19" fmla="*/ 80853 w 391072"/>
                    <a:gd name="connsiteY19" fmla="*/ 233148 h 672007"/>
                    <a:gd name="connsiteX20" fmla="*/ 93218 w 391072"/>
                    <a:gd name="connsiteY20" fmla="*/ 258154 h 672007"/>
                    <a:gd name="connsiteX21" fmla="*/ 55986 w 391072"/>
                    <a:gd name="connsiteY21" fmla="*/ 270657 h 672007"/>
                    <a:gd name="connsiteX22" fmla="*/ 31119 w 391072"/>
                    <a:gd name="connsiteY22" fmla="*/ 314557 h 672007"/>
                    <a:gd name="connsiteX23" fmla="*/ 37370 w 391072"/>
                    <a:gd name="connsiteY23" fmla="*/ 352205 h 672007"/>
                    <a:gd name="connsiteX24" fmla="*/ 49734 w 391072"/>
                    <a:gd name="connsiteY24" fmla="*/ 389853 h 672007"/>
                    <a:gd name="connsiteX25" fmla="*/ 43483 w 391072"/>
                    <a:gd name="connsiteY25" fmla="*/ 414860 h 672007"/>
                    <a:gd name="connsiteX26" fmla="*/ 43483 w 391072"/>
                    <a:gd name="connsiteY26" fmla="*/ 458760 h 672007"/>
                    <a:gd name="connsiteX27" fmla="*/ 24867 w 391072"/>
                    <a:gd name="connsiteY27" fmla="*/ 483766 h 672007"/>
                    <a:gd name="connsiteX28" fmla="*/ 18616 w 391072"/>
                    <a:gd name="connsiteY28" fmla="*/ 515163 h 672007"/>
                    <a:gd name="connsiteX29" fmla="*/ 0 w 391072"/>
                    <a:gd name="connsiteY29" fmla="*/ 508911 h 672007"/>
                    <a:gd name="connsiteX30" fmla="*/ 24867 w 391072"/>
                    <a:gd name="connsiteY30" fmla="*/ 559062 h 672007"/>
                    <a:gd name="connsiteX31" fmla="*/ 43483 w 391072"/>
                    <a:gd name="connsiteY31" fmla="*/ 602962 h 672007"/>
                    <a:gd name="connsiteX32" fmla="*/ 49734 w 391072"/>
                    <a:gd name="connsiteY32" fmla="*/ 634359 h 672007"/>
                    <a:gd name="connsiteX33" fmla="*/ 62099 w 391072"/>
                    <a:gd name="connsiteY33" fmla="*/ 665756 h 672007"/>
                    <a:gd name="connsiteX34" fmla="*/ 86966 w 391072"/>
                    <a:gd name="connsiteY34" fmla="*/ 672007 h 672007"/>
                    <a:gd name="connsiteX35" fmla="*/ 93218 w 391072"/>
                    <a:gd name="connsiteY35" fmla="*/ 653253 h 672007"/>
                    <a:gd name="connsiteX36" fmla="*/ 149065 w 391072"/>
                    <a:gd name="connsiteY36" fmla="*/ 628246 h 672007"/>
                    <a:gd name="connsiteX37" fmla="*/ 167680 w 391072"/>
                    <a:gd name="connsiteY37" fmla="*/ 571843 h 672007"/>
                    <a:gd name="connsiteX38" fmla="*/ 161429 w 391072"/>
                    <a:gd name="connsiteY38" fmla="*/ 540447 h 672007"/>
                    <a:gd name="connsiteX39" fmla="*/ 173794 w 391072"/>
                    <a:gd name="connsiteY39" fmla="*/ 521692 h 672007"/>
                    <a:gd name="connsiteX40" fmla="*/ 198661 w 391072"/>
                    <a:gd name="connsiteY40" fmla="*/ 509189 h 672007"/>
                    <a:gd name="connsiteX41" fmla="*/ 198661 w 391072"/>
                    <a:gd name="connsiteY41" fmla="*/ 502937 h 672007"/>
                    <a:gd name="connsiteX42" fmla="*/ 217276 w 391072"/>
                    <a:gd name="connsiteY42" fmla="*/ 496686 h 672007"/>
                    <a:gd name="connsiteX43" fmla="*/ 211025 w 391072"/>
                    <a:gd name="connsiteY43" fmla="*/ 484183 h 672007"/>
                    <a:gd name="connsiteX44" fmla="*/ 223389 w 391072"/>
                    <a:gd name="connsiteY44" fmla="*/ 477931 h 672007"/>
                    <a:gd name="connsiteX45" fmla="*/ 217137 w 391072"/>
                    <a:gd name="connsiteY45" fmla="*/ 452925 h 672007"/>
                    <a:gd name="connsiteX46" fmla="*/ 179906 w 391072"/>
                    <a:gd name="connsiteY46" fmla="*/ 409025 h 672007"/>
                    <a:gd name="connsiteX47" fmla="*/ 186158 w 391072"/>
                    <a:gd name="connsiteY47" fmla="*/ 371377 h 672007"/>
                    <a:gd name="connsiteX48" fmla="*/ 186158 w 391072"/>
                    <a:gd name="connsiteY48" fmla="*/ 346370 h 672007"/>
                    <a:gd name="connsiteX49" fmla="*/ 204773 w 391072"/>
                    <a:gd name="connsiteY49" fmla="*/ 327616 h 672007"/>
                    <a:gd name="connsiteX50" fmla="*/ 242004 w 391072"/>
                    <a:gd name="connsiteY50" fmla="*/ 296219 h 672007"/>
                    <a:gd name="connsiteX51" fmla="*/ 304104 w 391072"/>
                    <a:gd name="connsiteY51" fmla="*/ 252319 h 672007"/>
                    <a:gd name="connsiteX52" fmla="*/ 310355 w 391072"/>
                    <a:gd name="connsiteY52" fmla="*/ 214671 h 672007"/>
                    <a:gd name="connsiteX53" fmla="*/ 310355 w 391072"/>
                    <a:gd name="connsiteY53" fmla="*/ 195916 h 672007"/>
                    <a:gd name="connsiteX54" fmla="*/ 335222 w 391072"/>
                    <a:gd name="connsiteY54" fmla="*/ 183413 h 672007"/>
                    <a:gd name="connsiteX55" fmla="*/ 360090 w 391072"/>
                    <a:gd name="connsiteY55" fmla="*/ 177162 h 672007"/>
                    <a:gd name="connsiteX56" fmla="*/ 372454 w 391072"/>
                    <a:gd name="connsiteY56" fmla="*/ 170910 h 672007"/>
                    <a:gd name="connsiteX57" fmla="*/ 391070 w 391072"/>
                    <a:gd name="connsiteY57" fmla="*/ 170910 h 672007"/>
                    <a:gd name="connsiteX58" fmla="*/ 378844 w 391072"/>
                    <a:gd name="connsiteY58" fmla="*/ 151461 h 672007"/>
                    <a:gd name="connsiteX59" fmla="*/ 378844 w 391072"/>
                    <a:gd name="connsiteY59" fmla="*/ 151461 h 67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91072" h="672007">
                      <a:moveTo>
                        <a:pt x="378844" y="151461"/>
                      </a:moveTo>
                      <a:cubicBezTo>
                        <a:pt x="372593" y="145209"/>
                        <a:pt x="385096" y="132706"/>
                        <a:pt x="378844" y="120064"/>
                      </a:cubicBezTo>
                      <a:cubicBezTo>
                        <a:pt x="372593" y="107561"/>
                        <a:pt x="378844" y="107561"/>
                        <a:pt x="378844" y="95058"/>
                      </a:cubicBezTo>
                      <a:cubicBezTo>
                        <a:pt x="378844" y="88806"/>
                        <a:pt x="372593" y="82555"/>
                        <a:pt x="372593" y="76303"/>
                      </a:cubicBezTo>
                      <a:cubicBezTo>
                        <a:pt x="366341" y="70052"/>
                        <a:pt x="372593" y="70052"/>
                        <a:pt x="372593" y="63800"/>
                      </a:cubicBezTo>
                      <a:cubicBezTo>
                        <a:pt x="366341" y="51297"/>
                        <a:pt x="366341" y="45045"/>
                        <a:pt x="353977" y="38794"/>
                      </a:cubicBezTo>
                      <a:cubicBezTo>
                        <a:pt x="341613" y="32542"/>
                        <a:pt x="329110" y="32542"/>
                        <a:pt x="316746" y="26291"/>
                      </a:cubicBezTo>
                      <a:cubicBezTo>
                        <a:pt x="304382" y="13788"/>
                        <a:pt x="291879" y="-5106"/>
                        <a:pt x="273262" y="1284"/>
                      </a:cubicBezTo>
                      <a:cubicBezTo>
                        <a:pt x="267011" y="1284"/>
                        <a:pt x="273262" y="20039"/>
                        <a:pt x="273262" y="26291"/>
                      </a:cubicBezTo>
                      <a:cubicBezTo>
                        <a:pt x="267011" y="45045"/>
                        <a:pt x="229779" y="32542"/>
                        <a:pt x="211164" y="26291"/>
                      </a:cubicBezTo>
                      <a:cubicBezTo>
                        <a:pt x="211164" y="38794"/>
                        <a:pt x="211164" y="45045"/>
                        <a:pt x="211164" y="57687"/>
                      </a:cubicBezTo>
                      <a:cubicBezTo>
                        <a:pt x="204912" y="57687"/>
                        <a:pt x="192548" y="51436"/>
                        <a:pt x="180183" y="57687"/>
                      </a:cubicBezTo>
                      <a:cubicBezTo>
                        <a:pt x="173932" y="57687"/>
                        <a:pt x="173932" y="63939"/>
                        <a:pt x="167819" y="70190"/>
                      </a:cubicBezTo>
                      <a:cubicBezTo>
                        <a:pt x="167819" y="76442"/>
                        <a:pt x="155455" y="82694"/>
                        <a:pt x="155455" y="88945"/>
                      </a:cubicBezTo>
                      <a:cubicBezTo>
                        <a:pt x="149204" y="95197"/>
                        <a:pt x="161707" y="107700"/>
                        <a:pt x="155455" y="107700"/>
                      </a:cubicBezTo>
                      <a:cubicBezTo>
                        <a:pt x="155455" y="113951"/>
                        <a:pt x="149204" y="113951"/>
                        <a:pt x="149204" y="120203"/>
                      </a:cubicBezTo>
                      <a:cubicBezTo>
                        <a:pt x="136840" y="126454"/>
                        <a:pt x="124337" y="138958"/>
                        <a:pt x="124337" y="151600"/>
                      </a:cubicBezTo>
                      <a:cubicBezTo>
                        <a:pt x="124337" y="164103"/>
                        <a:pt x="111972" y="151600"/>
                        <a:pt x="105721" y="164103"/>
                      </a:cubicBezTo>
                      <a:cubicBezTo>
                        <a:pt x="105721" y="176606"/>
                        <a:pt x="105721" y="189109"/>
                        <a:pt x="99469" y="201751"/>
                      </a:cubicBezTo>
                      <a:cubicBezTo>
                        <a:pt x="99469" y="214254"/>
                        <a:pt x="80853" y="220506"/>
                        <a:pt x="80853" y="233148"/>
                      </a:cubicBezTo>
                      <a:cubicBezTo>
                        <a:pt x="80853" y="239399"/>
                        <a:pt x="99469" y="251902"/>
                        <a:pt x="93218" y="258154"/>
                      </a:cubicBezTo>
                      <a:cubicBezTo>
                        <a:pt x="80853" y="270657"/>
                        <a:pt x="68350" y="264406"/>
                        <a:pt x="55986" y="270657"/>
                      </a:cubicBezTo>
                      <a:cubicBezTo>
                        <a:pt x="37370" y="276909"/>
                        <a:pt x="31119" y="295663"/>
                        <a:pt x="31119" y="314557"/>
                      </a:cubicBezTo>
                      <a:cubicBezTo>
                        <a:pt x="37370" y="327060"/>
                        <a:pt x="37370" y="339563"/>
                        <a:pt x="37370" y="352205"/>
                      </a:cubicBezTo>
                      <a:cubicBezTo>
                        <a:pt x="37370" y="370960"/>
                        <a:pt x="25006" y="377211"/>
                        <a:pt x="49734" y="389853"/>
                      </a:cubicBezTo>
                      <a:cubicBezTo>
                        <a:pt x="62099" y="402357"/>
                        <a:pt x="55986" y="408608"/>
                        <a:pt x="43483" y="414860"/>
                      </a:cubicBezTo>
                      <a:cubicBezTo>
                        <a:pt x="37231" y="421111"/>
                        <a:pt x="49734" y="446257"/>
                        <a:pt x="43483" y="458760"/>
                      </a:cubicBezTo>
                      <a:cubicBezTo>
                        <a:pt x="43483" y="471263"/>
                        <a:pt x="24867" y="471263"/>
                        <a:pt x="24867" y="483766"/>
                      </a:cubicBezTo>
                      <a:cubicBezTo>
                        <a:pt x="24867" y="490017"/>
                        <a:pt x="24867" y="515163"/>
                        <a:pt x="18616" y="515163"/>
                      </a:cubicBezTo>
                      <a:cubicBezTo>
                        <a:pt x="18616" y="515163"/>
                        <a:pt x="6252" y="508911"/>
                        <a:pt x="0" y="508911"/>
                      </a:cubicBezTo>
                      <a:cubicBezTo>
                        <a:pt x="0" y="533917"/>
                        <a:pt x="24867" y="540308"/>
                        <a:pt x="24867" y="559062"/>
                      </a:cubicBezTo>
                      <a:cubicBezTo>
                        <a:pt x="18616" y="565314"/>
                        <a:pt x="37231" y="596711"/>
                        <a:pt x="43483" y="602962"/>
                      </a:cubicBezTo>
                      <a:cubicBezTo>
                        <a:pt x="55847" y="615465"/>
                        <a:pt x="49734" y="621717"/>
                        <a:pt x="49734" y="634359"/>
                      </a:cubicBezTo>
                      <a:cubicBezTo>
                        <a:pt x="49734" y="640611"/>
                        <a:pt x="62099" y="653114"/>
                        <a:pt x="62099" y="665756"/>
                      </a:cubicBezTo>
                      <a:cubicBezTo>
                        <a:pt x="55847" y="672007"/>
                        <a:pt x="80714" y="665756"/>
                        <a:pt x="86966" y="672007"/>
                      </a:cubicBezTo>
                      <a:cubicBezTo>
                        <a:pt x="99330" y="672007"/>
                        <a:pt x="93218" y="665756"/>
                        <a:pt x="93218" y="653253"/>
                      </a:cubicBezTo>
                      <a:cubicBezTo>
                        <a:pt x="93218" y="621856"/>
                        <a:pt x="142813" y="647001"/>
                        <a:pt x="149065" y="628246"/>
                      </a:cubicBezTo>
                      <a:cubicBezTo>
                        <a:pt x="155316" y="609492"/>
                        <a:pt x="161429" y="590598"/>
                        <a:pt x="167680" y="571843"/>
                      </a:cubicBezTo>
                      <a:cubicBezTo>
                        <a:pt x="167680" y="559340"/>
                        <a:pt x="167680" y="546837"/>
                        <a:pt x="161429" y="540447"/>
                      </a:cubicBezTo>
                      <a:cubicBezTo>
                        <a:pt x="155177" y="527944"/>
                        <a:pt x="161429" y="527944"/>
                        <a:pt x="173794" y="521692"/>
                      </a:cubicBezTo>
                      <a:cubicBezTo>
                        <a:pt x="180045" y="521692"/>
                        <a:pt x="198661" y="515440"/>
                        <a:pt x="198661" y="509189"/>
                      </a:cubicBezTo>
                      <a:lnTo>
                        <a:pt x="198661" y="502937"/>
                      </a:lnTo>
                      <a:cubicBezTo>
                        <a:pt x="204912" y="502937"/>
                        <a:pt x="217276" y="502937"/>
                        <a:pt x="217276" y="496686"/>
                      </a:cubicBezTo>
                      <a:cubicBezTo>
                        <a:pt x="217276" y="490434"/>
                        <a:pt x="211025" y="490434"/>
                        <a:pt x="211025" y="484183"/>
                      </a:cubicBezTo>
                      <a:cubicBezTo>
                        <a:pt x="217276" y="484183"/>
                        <a:pt x="223389" y="477931"/>
                        <a:pt x="223389" y="477931"/>
                      </a:cubicBezTo>
                      <a:cubicBezTo>
                        <a:pt x="235753" y="465428"/>
                        <a:pt x="229640" y="459176"/>
                        <a:pt x="217137" y="452925"/>
                      </a:cubicBezTo>
                      <a:cubicBezTo>
                        <a:pt x="204773" y="440422"/>
                        <a:pt x="179906" y="434170"/>
                        <a:pt x="179906" y="409025"/>
                      </a:cubicBezTo>
                      <a:cubicBezTo>
                        <a:pt x="179906" y="396522"/>
                        <a:pt x="179906" y="384019"/>
                        <a:pt x="186158" y="371377"/>
                      </a:cubicBezTo>
                      <a:cubicBezTo>
                        <a:pt x="192409" y="358874"/>
                        <a:pt x="192409" y="358874"/>
                        <a:pt x="186158" y="346370"/>
                      </a:cubicBezTo>
                      <a:cubicBezTo>
                        <a:pt x="179906" y="346370"/>
                        <a:pt x="204773" y="327616"/>
                        <a:pt x="204773" y="327616"/>
                      </a:cubicBezTo>
                      <a:cubicBezTo>
                        <a:pt x="217137" y="315113"/>
                        <a:pt x="223389" y="302610"/>
                        <a:pt x="242004" y="296219"/>
                      </a:cubicBezTo>
                      <a:cubicBezTo>
                        <a:pt x="260621" y="289968"/>
                        <a:pt x="291600" y="271213"/>
                        <a:pt x="304104" y="252319"/>
                      </a:cubicBezTo>
                      <a:cubicBezTo>
                        <a:pt x="316468" y="233565"/>
                        <a:pt x="285488" y="220922"/>
                        <a:pt x="310355" y="214671"/>
                      </a:cubicBezTo>
                      <a:cubicBezTo>
                        <a:pt x="322719" y="208419"/>
                        <a:pt x="316607" y="208419"/>
                        <a:pt x="310355" y="195916"/>
                      </a:cubicBezTo>
                      <a:cubicBezTo>
                        <a:pt x="310355" y="189665"/>
                        <a:pt x="328971" y="183413"/>
                        <a:pt x="335222" y="183413"/>
                      </a:cubicBezTo>
                      <a:cubicBezTo>
                        <a:pt x="347586" y="170910"/>
                        <a:pt x="353838" y="164658"/>
                        <a:pt x="360090" y="177162"/>
                      </a:cubicBezTo>
                      <a:cubicBezTo>
                        <a:pt x="366341" y="177162"/>
                        <a:pt x="372454" y="170910"/>
                        <a:pt x="372454" y="170910"/>
                      </a:cubicBezTo>
                      <a:cubicBezTo>
                        <a:pt x="378706" y="170910"/>
                        <a:pt x="384818" y="170910"/>
                        <a:pt x="391070" y="170910"/>
                      </a:cubicBezTo>
                      <a:cubicBezTo>
                        <a:pt x="391209" y="164103"/>
                        <a:pt x="385096" y="164103"/>
                        <a:pt x="378844" y="151461"/>
                      </a:cubicBezTo>
                      <a:cubicBezTo>
                        <a:pt x="372593" y="145209"/>
                        <a:pt x="378844" y="157851"/>
                        <a:pt x="378844" y="15146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2" name="Freihandform: Form 361">
                  <a:extLst>
                    <a:ext uri="{FF2B5EF4-FFF2-40B4-BE49-F238E27FC236}">
                      <a16:creationId xmlns:a16="http://schemas.microsoft.com/office/drawing/2014/main" id="{22F0A4DC-A78C-49FC-95B9-62A4D3CF8936}"/>
                    </a:ext>
                  </a:extLst>
                </p:cNvPr>
                <p:cNvSpPr/>
                <p:nvPr/>
              </p:nvSpPr>
              <p:spPr>
                <a:xfrm>
                  <a:off x="6729542" y="1876419"/>
                  <a:ext cx="328775" cy="520137"/>
                </a:xfrm>
                <a:custGeom>
                  <a:avLst/>
                  <a:gdLst>
                    <a:gd name="connsiteX0" fmla="*/ 327026 w 328775"/>
                    <a:gd name="connsiteY0" fmla="*/ 368703 h 520137"/>
                    <a:gd name="connsiteX1" fmla="*/ 289933 w 328775"/>
                    <a:gd name="connsiteY1" fmla="*/ 343697 h 520137"/>
                    <a:gd name="connsiteX2" fmla="*/ 302298 w 328775"/>
                    <a:gd name="connsiteY2" fmla="*/ 318691 h 520137"/>
                    <a:gd name="connsiteX3" fmla="*/ 271457 w 328775"/>
                    <a:gd name="connsiteY3" fmla="*/ 275069 h 520137"/>
                    <a:gd name="connsiteX4" fmla="*/ 283821 w 328775"/>
                    <a:gd name="connsiteY4" fmla="*/ 268817 h 520137"/>
                    <a:gd name="connsiteX5" fmla="*/ 271457 w 328775"/>
                    <a:gd name="connsiteY5" fmla="*/ 237559 h 520137"/>
                    <a:gd name="connsiteX6" fmla="*/ 277569 w 328775"/>
                    <a:gd name="connsiteY6" fmla="*/ 225056 h 520137"/>
                    <a:gd name="connsiteX7" fmla="*/ 271457 w 328775"/>
                    <a:gd name="connsiteY7" fmla="*/ 200050 h 520137"/>
                    <a:gd name="connsiteX8" fmla="*/ 259092 w 328775"/>
                    <a:gd name="connsiteY8" fmla="*/ 162541 h 520137"/>
                    <a:gd name="connsiteX9" fmla="*/ 277569 w 328775"/>
                    <a:gd name="connsiteY9" fmla="*/ 143786 h 520137"/>
                    <a:gd name="connsiteX10" fmla="*/ 271457 w 328775"/>
                    <a:gd name="connsiteY10" fmla="*/ 118780 h 520137"/>
                    <a:gd name="connsiteX11" fmla="*/ 234364 w 328775"/>
                    <a:gd name="connsiteY11" fmla="*/ 81270 h 520137"/>
                    <a:gd name="connsiteX12" fmla="*/ 246728 w 328775"/>
                    <a:gd name="connsiteY12" fmla="*/ 75019 h 520137"/>
                    <a:gd name="connsiteX13" fmla="*/ 240615 w 328775"/>
                    <a:gd name="connsiteY13" fmla="*/ 62516 h 520137"/>
                    <a:gd name="connsiteX14" fmla="*/ 252980 w 328775"/>
                    <a:gd name="connsiteY14" fmla="*/ 18755 h 520137"/>
                    <a:gd name="connsiteX15" fmla="*/ 228251 w 328775"/>
                    <a:gd name="connsiteY15" fmla="*/ 6252 h 520137"/>
                    <a:gd name="connsiteX16" fmla="*/ 209775 w 328775"/>
                    <a:gd name="connsiteY16" fmla="*/ 0 h 520137"/>
                    <a:gd name="connsiteX17" fmla="*/ 178933 w 328775"/>
                    <a:gd name="connsiteY17" fmla="*/ 6252 h 520137"/>
                    <a:gd name="connsiteX18" fmla="*/ 154205 w 328775"/>
                    <a:gd name="connsiteY18" fmla="*/ 31258 h 520137"/>
                    <a:gd name="connsiteX19" fmla="*/ 148093 w 328775"/>
                    <a:gd name="connsiteY19" fmla="*/ 62516 h 520137"/>
                    <a:gd name="connsiteX20" fmla="*/ 129615 w 328775"/>
                    <a:gd name="connsiteY20" fmla="*/ 81270 h 520137"/>
                    <a:gd name="connsiteX21" fmla="*/ 104887 w 328775"/>
                    <a:gd name="connsiteY21" fmla="*/ 68767 h 520137"/>
                    <a:gd name="connsiteX22" fmla="*/ 86410 w 328775"/>
                    <a:gd name="connsiteY22" fmla="*/ 75019 h 520137"/>
                    <a:gd name="connsiteX23" fmla="*/ 43205 w 328775"/>
                    <a:gd name="connsiteY23" fmla="*/ 62516 h 520137"/>
                    <a:gd name="connsiteX24" fmla="*/ 24728 w 328775"/>
                    <a:gd name="connsiteY24" fmla="*/ 43761 h 520137"/>
                    <a:gd name="connsiteX25" fmla="*/ 0 w 328775"/>
                    <a:gd name="connsiteY25" fmla="*/ 56264 h 520137"/>
                    <a:gd name="connsiteX26" fmla="*/ 49457 w 328775"/>
                    <a:gd name="connsiteY26" fmla="*/ 87522 h 520137"/>
                    <a:gd name="connsiteX27" fmla="*/ 74185 w 328775"/>
                    <a:gd name="connsiteY27" fmla="*/ 100025 h 520137"/>
                    <a:gd name="connsiteX28" fmla="*/ 86549 w 328775"/>
                    <a:gd name="connsiteY28" fmla="*/ 118780 h 520137"/>
                    <a:gd name="connsiteX29" fmla="*/ 86549 w 328775"/>
                    <a:gd name="connsiteY29" fmla="*/ 131283 h 520137"/>
                    <a:gd name="connsiteX30" fmla="*/ 92662 w 328775"/>
                    <a:gd name="connsiteY30" fmla="*/ 150037 h 520137"/>
                    <a:gd name="connsiteX31" fmla="*/ 92662 w 328775"/>
                    <a:gd name="connsiteY31" fmla="*/ 168792 h 520137"/>
                    <a:gd name="connsiteX32" fmla="*/ 98775 w 328775"/>
                    <a:gd name="connsiteY32" fmla="*/ 181295 h 520137"/>
                    <a:gd name="connsiteX33" fmla="*/ 92662 w 328775"/>
                    <a:gd name="connsiteY33" fmla="*/ 206301 h 520137"/>
                    <a:gd name="connsiteX34" fmla="*/ 105026 w 328775"/>
                    <a:gd name="connsiteY34" fmla="*/ 225056 h 520137"/>
                    <a:gd name="connsiteX35" fmla="*/ 129754 w 328775"/>
                    <a:gd name="connsiteY35" fmla="*/ 237559 h 520137"/>
                    <a:gd name="connsiteX36" fmla="*/ 135867 w 328775"/>
                    <a:gd name="connsiteY36" fmla="*/ 256314 h 520137"/>
                    <a:gd name="connsiteX37" fmla="*/ 141979 w 328775"/>
                    <a:gd name="connsiteY37" fmla="*/ 275069 h 520137"/>
                    <a:gd name="connsiteX38" fmla="*/ 123503 w 328775"/>
                    <a:gd name="connsiteY38" fmla="*/ 275069 h 520137"/>
                    <a:gd name="connsiteX39" fmla="*/ 98775 w 328775"/>
                    <a:gd name="connsiteY39" fmla="*/ 306326 h 520137"/>
                    <a:gd name="connsiteX40" fmla="*/ 80298 w 328775"/>
                    <a:gd name="connsiteY40" fmla="*/ 318830 h 520137"/>
                    <a:gd name="connsiteX41" fmla="*/ 61821 w 328775"/>
                    <a:gd name="connsiteY41" fmla="*/ 337584 h 520137"/>
                    <a:gd name="connsiteX42" fmla="*/ 24728 w 328775"/>
                    <a:gd name="connsiteY42" fmla="*/ 356339 h 520137"/>
                    <a:gd name="connsiteX43" fmla="*/ 12364 w 328775"/>
                    <a:gd name="connsiteY43" fmla="*/ 387597 h 520137"/>
                    <a:gd name="connsiteX44" fmla="*/ 24728 w 328775"/>
                    <a:gd name="connsiteY44" fmla="*/ 418854 h 520137"/>
                    <a:gd name="connsiteX45" fmla="*/ 24728 w 328775"/>
                    <a:gd name="connsiteY45" fmla="*/ 456364 h 520137"/>
                    <a:gd name="connsiteX46" fmla="*/ 24728 w 328775"/>
                    <a:gd name="connsiteY46" fmla="*/ 487622 h 520137"/>
                    <a:gd name="connsiteX47" fmla="*/ 43205 w 328775"/>
                    <a:gd name="connsiteY47" fmla="*/ 500125 h 520137"/>
                    <a:gd name="connsiteX48" fmla="*/ 30841 w 328775"/>
                    <a:gd name="connsiteY48" fmla="*/ 506376 h 520137"/>
                    <a:gd name="connsiteX49" fmla="*/ 49318 w 328775"/>
                    <a:gd name="connsiteY49" fmla="*/ 493873 h 520137"/>
                    <a:gd name="connsiteX50" fmla="*/ 49318 w 328775"/>
                    <a:gd name="connsiteY50" fmla="*/ 518879 h 520137"/>
                    <a:gd name="connsiteX51" fmla="*/ 67794 w 328775"/>
                    <a:gd name="connsiteY51" fmla="*/ 500125 h 520137"/>
                    <a:gd name="connsiteX52" fmla="*/ 67794 w 328775"/>
                    <a:gd name="connsiteY52" fmla="*/ 518879 h 520137"/>
                    <a:gd name="connsiteX53" fmla="*/ 141979 w 328775"/>
                    <a:gd name="connsiteY53" fmla="*/ 500125 h 520137"/>
                    <a:gd name="connsiteX54" fmla="*/ 222278 w 328775"/>
                    <a:gd name="connsiteY54" fmla="*/ 487622 h 520137"/>
                    <a:gd name="connsiteX55" fmla="*/ 284099 w 328775"/>
                    <a:gd name="connsiteY55" fmla="*/ 425245 h 520137"/>
                    <a:gd name="connsiteX56" fmla="*/ 327026 w 328775"/>
                    <a:gd name="connsiteY56" fmla="*/ 368703 h 520137"/>
                    <a:gd name="connsiteX57" fmla="*/ 327026 w 328775"/>
                    <a:gd name="connsiteY57" fmla="*/ 368703 h 52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8775" h="520137">
                      <a:moveTo>
                        <a:pt x="327026" y="368703"/>
                      </a:moveTo>
                      <a:cubicBezTo>
                        <a:pt x="320913" y="356200"/>
                        <a:pt x="302298" y="349948"/>
                        <a:pt x="289933" y="343697"/>
                      </a:cubicBezTo>
                      <a:cubicBezTo>
                        <a:pt x="271457" y="331194"/>
                        <a:pt x="296046" y="331194"/>
                        <a:pt x="302298" y="318691"/>
                      </a:cubicBezTo>
                      <a:cubicBezTo>
                        <a:pt x="302298" y="318691"/>
                        <a:pt x="277569" y="281181"/>
                        <a:pt x="271457" y="275069"/>
                      </a:cubicBezTo>
                      <a:lnTo>
                        <a:pt x="283821" y="268817"/>
                      </a:lnTo>
                      <a:cubicBezTo>
                        <a:pt x="283821" y="262566"/>
                        <a:pt x="271457" y="243811"/>
                        <a:pt x="271457" y="237559"/>
                      </a:cubicBezTo>
                      <a:cubicBezTo>
                        <a:pt x="271457" y="231308"/>
                        <a:pt x="277569" y="231308"/>
                        <a:pt x="277569" y="225056"/>
                      </a:cubicBezTo>
                      <a:cubicBezTo>
                        <a:pt x="283682" y="218805"/>
                        <a:pt x="271457" y="206301"/>
                        <a:pt x="271457" y="200050"/>
                      </a:cubicBezTo>
                      <a:cubicBezTo>
                        <a:pt x="259092" y="187547"/>
                        <a:pt x="246728" y="175044"/>
                        <a:pt x="259092" y="162541"/>
                      </a:cubicBezTo>
                      <a:cubicBezTo>
                        <a:pt x="265205" y="156289"/>
                        <a:pt x="277569" y="150037"/>
                        <a:pt x="277569" y="143786"/>
                      </a:cubicBezTo>
                      <a:cubicBezTo>
                        <a:pt x="283682" y="131283"/>
                        <a:pt x="271457" y="125031"/>
                        <a:pt x="271457" y="118780"/>
                      </a:cubicBezTo>
                      <a:cubicBezTo>
                        <a:pt x="265205" y="112528"/>
                        <a:pt x="222000" y="93773"/>
                        <a:pt x="234364" y="81270"/>
                      </a:cubicBezTo>
                      <a:lnTo>
                        <a:pt x="246728" y="75019"/>
                      </a:lnTo>
                      <a:cubicBezTo>
                        <a:pt x="246728" y="75019"/>
                        <a:pt x="228251" y="62516"/>
                        <a:pt x="240615" y="62516"/>
                      </a:cubicBezTo>
                      <a:cubicBezTo>
                        <a:pt x="259092" y="62516"/>
                        <a:pt x="271457" y="31258"/>
                        <a:pt x="252980" y="18755"/>
                      </a:cubicBezTo>
                      <a:cubicBezTo>
                        <a:pt x="246867" y="12503"/>
                        <a:pt x="234503" y="12503"/>
                        <a:pt x="228251" y="6252"/>
                      </a:cubicBezTo>
                      <a:cubicBezTo>
                        <a:pt x="222000" y="0"/>
                        <a:pt x="215887" y="0"/>
                        <a:pt x="209775" y="0"/>
                      </a:cubicBezTo>
                      <a:cubicBezTo>
                        <a:pt x="197411" y="6252"/>
                        <a:pt x="191297" y="0"/>
                        <a:pt x="178933" y="6252"/>
                      </a:cubicBezTo>
                      <a:cubicBezTo>
                        <a:pt x="172821" y="12503"/>
                        <a:pt x="160457" y="25006"/>
                        <a:pt x="154205" y="31258"/>
                      </a:cubicBezTo>
                      <a:cubicBezTo>
                        <a:pt x="154205" y="37509"/>
                        <a:pt x="154205" y="62516"/>
                        <a:pt x="148093" y="62516"/>
                      </a:cubicBezTo>
                      <a:cubicBezTo>
                        <a:pt x="141841" y="68767"/>
                        <a:pt x="135728" y="75019"/>
                        <a:pt x="129615" y="81270"/>
                      </a:cubicBezTo>
                      <a:cubicBezTo>
                        <a:pt x="123503" y="81270"/>
                        <a:pt x="111139" y="68767"/>
                        <a:pt x="104887" y="68767"/>
                      </a:cubicBezTo>
                      <a:cubicBezTo>
                        <a:pt x="98636" y="68767"/>
                        <a:pt x="92523" y="75019"/>
                        <a:pt x="86410" y="75019"/>
                      </a:cubicBezTo>
                      <a:cubicBezTo>
                        <a:pt x="67933" y="81270"/>
                        <a:pt x="55569" y="75019"/>
                        <a:pt x="43205" y="62516"/>
                      </a:cubicBezTo>
                      <a:cubicBezTo>
                        <a:pt x="43205" y="56264"/>
                        <a:pt x="30841" y="43761"/>
                        <a:pt x="24728" y="43761"/>
                      </a:cubicBezTo>
                      <a:cubicBezTo>
                        <a:pt x="18616" y="43761"/>
                        <a:pt x="6252" y="56264"/>
                        <a:pt x="0" y="56264"/>
                      </a:cubicBezTo>
                      <a:cubicBezTo>
                        <a:pt x="12364" y="68767"/>
                        <a:pt x="30841" y="81270"/>
                        <a:pt x="49457" y="87522"/>
                      </a:cubicBezTo>
                      <a:cubicBezTo>
                        <a:pt x="55569" y="87522"/>
                        <a:pt x="67933" y="93773"/>
                        <a:pt x="74185" y="100025"/>
                      </a:cubicBezTo>
                      <a:cubicBezTo>
                        <a:pt x="80298" y="106277"/>
                        <a:pt x="80298" y="112528"/>
                        <a:pt x="86549" y="118780"/>
                      </a:cubicBezTo>
                      <a:cubicBezTo>
                        <a:pt x="86549" y="125031"/>
                        <a:pt x="80437" y="125031"/>
                        <a:pt x="86549" y="131283"/>
                      </a:cubicBezTo>
                      <a:cubicBezTo>
                        <a:pt x="86549" y="137534"/>
                        <a:pt x="98913" y="143786"/>
                        <a:pt x="92662" y="150037"/>
                      </a:cubicBezTo>
                      <a:cubicBezTo>
                        <a:pt x="92662" y="156289"/>
                        <a:pt x="86549" y="162541"/>
                        <a:pt x="92662" y="168792"/>
                      </a:cubicBezTo>
                      <a:lnTo>
                        <a:pt x="98775" y="181295"/>
                      </a:lnTo>
                      <a:cubicBezTo>
                        <a:pt x="92662" y="187547"/>
                        <a:pt x="92662" y="200050"/>
                        <a:pt x="92662" y="206301"/>
                      </a:cubicBezTo>
                      <a:lnTo>
                        <a:pt x="105026" y="225056"/>
                      </a:lnTo>
                      <a:cubicBezTo>
                        <a:pt x="111139" y="231308"/>
                        <a:pt x="123503" y="237559"/>
                        <a:pt x="129754" y="237559"/>
                      </a:cubicBezTo>
                      <a:cubicBezTo>
                        <a:pt x="135867" y="243811"/>
                        <a:pt x="135867" y="250062"/>
                        <a:pt x="135867" y="256314"/>
                      </a:cubicBezTo>
                      <a:cubicBezTo>
                        <a:pt x="135867" y="262566"/>
                        <a:pt x="141979" y="268817"/>
                        <a:pt x="141979" y="275069"/>
                      </a:cubicBezTo>
                      <a:cubicBezTo>
                        <a:pt x="141979" y="281320"/>
                        <a:pt x="129615" y="275069"/>
                        <a:pt x="123503" y="275069"/>
                      </a:cubicBezTo>
                      <a:cubicBezTo>
                        <a:pt x="117390" y="275069"/>
                        <a:pt x="98775" y="300075"/>
                        <a:pt x="98775" y="306326"/>
                      </a:cubicBezTo>
                      <a:cubicBezTo>
                        <a:pt x="92662" y="312578"/>
                        <a:pt x="86410" y="312578"/>
                        <a:pt x="80298" y="318830"/>
                      </a:cubicBezTo>
                      <a:cubicBezTo>
                        <a:pt x="74185" y="325081"/>
                        <a:pt x="67933" y="331333"/>
                        <a:pt x="61821" y="337584"/>
                      </a:cubicBezTo>
                      <a:cubicBezTo>
                        <a:pt x="55569" y="337584"/>
                        <a:pt x="24728" y="362590"/>
                        <a:pt x="24728" y="356339"/>
                      </a:cubicBezTo>
                      <a:cubicBezTo>
                        <a:pt x="24728" y="368842"/>
                        <a:pt x="12364" y="375094"/>
                        <a:pt x="12364" y="387597"/>
                      </a:cubicBezTo>
                      <a:cubicBezTo>
                        <a:pt x="18616" y="400100"/>
                        <a:pt x="12364" y="418854"/>
                        <a:pt x="24728" y="418854"/>
                      </a:cubicBezTo>
                      <a:cubicBezTo>
                        <a:pt x="30841" y="418854"/>
                        <a:pt x="24728" y="450112"/>
                        <a:pt x="24728" y="456364"/>
                      </a:cubicBezTo>
                      <a:cubicBezTo>
                        <a:pt x="24728" y="468867"/>
                        <a:pt x="12364" y="481370"/>
                        <a:pt x="24728" y="487622"/>
                      </a:cubicBezTo>
                      <a:cubicBezTo>
                        <a:pt x="24728" y="487622"/>
                        <a:pt x="49457" y="493873"/>
                        <a:pt x="43205" y="500125"/>
                      </a:cubicBezTo>
                      <a:lnTo>
                        <a:pt x="30841" y="506376"/>
                      </a:lnTo>
                      <a:cubicBezTo>
                        <a:pt x="43205" y="506376"/>
                        <a:pt x="43205" y="493873"/>
                        <a:pt x="49318" y="493873"/>
                      </a:cubicBezTo>
                      <a:cubicBezTo>
                        <a:pt x="61682" y="487622"/>
                        <a:pt x="49318" y="518879"/>
                        <a:pt x="49318" y="518879"/>
                      </a:cubicBezTo>
                      <a:lnTo>
                        <a:pt x="67794" y="500125"/>
                      </a:lnTo>
                      <a:cubicBezTo>
                        <a:pt x="73907" y="493873"/>
                        <a:pt x="67794" y="518879"/>
                        <a:pt x="67794" y="518879"/>
                      </a:cubicBezTo>
                      <a:cubicBezTo>
                        <a:pt x="86272" y="525131"/>
                        <a:pt x="123364" y="506376"/>
                        <a:pt x="141979" y="500125"/>
                      </a:cubicBezTo>
                      <a:cubicBezTo>
                        <a:pt x="166708" y="493873"/>
                        <a:pt x="191436" y="493873"/>
                        <a:pt x="222278" y="487622"/>
                      </a:cubicBezTo>
                      <a:cubicBezTo>
                        <a:pt x="240754" y="462615"/>
                        <a:pt x="265483" y="444000"/>
                        <a:pt x="284099" y="425245"/>
                      </a:cubicBezTo>
                      <a:cubicBezTo>
                        <a:pt x="296046" y="412464"/>
                        <a:pt x="333138" y="387458"/>
                        <a:pt x="327026" y="368703"/>
                      </a:cubicBezTo>
                      <a:cubicBezTo>
                        <a:pt x="320774" y="356200"/>
                        <a:pt x="333138" y="387458"/>
                        <a:pt x="327026" y="36870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3" name="Freihandform: Form 362">
                  <a:extLst>
                    <a:ext uri="{FF2B5EF4-FFF2-40B4-BE49-F238E27FC236}">
                      <a16:creationId xmlns:a16="http://schemas.microsoft.com/office/drawing/2014/main" id="{E7B52261-3E9F-4B0D-B788-1F40B7C400B4}"/>
                    </a:ext>
                  </a:extLst>
                </p:cNvPr>
                <p:cNvSpPr/>
                <p:nvPr/>
              </p:nvSpPr>
              <p:spPr>
                <a:xfrm>
                  <a:off x="6246504" y="1823539"/>
                  <a:ext cx="791733" cy="665393"/>
                </a:xfrm>
                <a:custGeom>
                  <a:avLst/>
                  <a:gdLst>
                    <a:gd name="connsiteX0" fmla="*/ 209080 w 791733"/>
                    <a:gd name="connsiteY0" fmla="*/ 626078 h 665393"/>
                    <a:gd name="connsiteX1" fmla="*/ 215332 w 791733"/>
                    <a:gd name="connsiteY1" fmla="*/ 601072 h 665393"/>
                    <a:gd name="connsiteX2" fmla="*/ 234086 w 791733"/>
                    <a:gd name="connsiteY2" fmla="*/ 576066 h 665393"/>
                    <a:gd name="connsiteX3" fmla="*/ 234086 w 791733"/>
                    <a:gd name="connsiteY3" fmla="*/ 538695 h 665393"/>
                    <a:gd name="connsiteX4" fmla="*/ 240338 w 791733"/>
                    <a:gd name="connsiteY4" fmla="*/ 507577 h 665393"/>
                    <a:gd name="connsiteX5" fmla="*/ 227835 w 791733"/>
                    <a:gd name="connsiteY5" fmla="*/ 476458 h 665393"/>
                    <a:gd name="connsiteX6" fmla="*/ 227835 w 791733"/>
                    <a:gd name="connsiteY6" fmla="*/ 439087 h 665393"/>
                    <a:gd name="connsiteX7" fmla="*/ 234086 w 791733"/>
                    <a:gd name="connsiteY7" fmla="*/ 389214 h 665393"/>
                    <a:gd name="connsiteX8" fmla="*/ 259092 w 791733"/>
                    <a:gd name="connsiteY8" fmla="*/ 376711 h 665393"/>
                    <a:gd name="connsiteX9" fmla="*/ 277847 w 791733"/>
                    <a:gd name="connsiteY9" fmla="*/ 376711 h 665393"/>
                    <a:gd name="connsiteX10" fmla="*/ 271596 w 791733"/>
                    <a:gd name="connsiteY10" fmla="*/ 351704 h 665393"/>
                    <a:gd name="connsiteX11" fmla="*/ 290350 w 791733"/>
                    <a:gd name="connsiteY11" fmla="*/ 320585 h 665393"/>
                    <a:gd name="connsiteX12" fmla="*/ 296602 w 791733"/>
                    <a:gd name="connsiteY12" fmla="*/ 283215 h 665393"/>
                    <a:gd name="connsiteX13" fmla="*/ 315357 w 791733"/>
                    <a:gd name="connsiteY13" fmla="*/ 264460 h 665393"/>
                    <a:gd name="connsiteX14" fmla="*/ 334111 w 791733"/>
                    <a:gd name="connsiteY14" fmla="*/ 233341 h 665393"/>
                    <a:gd name="connsiteX15" fmla="*/ 346614 w 791733"/>
                    <a:gd name="connsiteY15" fmla="*/ 208335 h 665393"/>
                    <a:gd name="connsiteX16" fmla="*/ 371621 w 791733"/>
                    <a:gd name="connsiteY16" fmla="*/ 170965 h 665393"/>
                    <a:gd name="connsiteX17" fmla="*/ 402878 w 791733"/>
                    <a:gd name="connsiteY17" fmla="*/ 170965 h 665393"/>
                    <a:gd name="connsiteX18" fmla="*/ 402878 w 791733"/>
                    <a:gd name="connsiteY18" fmla="*/ 139846 h 665393"/>
                    <a:gd name="connsiteX19" fmla="*/ 446639 w 791733"/>
                    <a:gd name="connsiteY19" fmla="*/ 152349 h 665393"/>
                    <a:gd name="connsiteX20" fmla="*/ 465394 w 791733"/>
                    <a:gd name="connsiteY20" fmla="*/ 114979 h 665393"/>
                    <a:gd name="connsiteX21" fmla="*/ 484149 w 791733"/>
                    <a:gd name="connsiteY21" fmla="*/ 114979 h 665393"/>
                    <a:gd name="connsiteX22" fmla="*/ 509155 w 791733"/>
                    <a:gd name="connsiteY22" fmla="*/ 108727 h 665393"/>
                    <a:gd name="connsiteX23" fmla="*/ 534161 w 791733"/>
                    <a:gd name="connsiteY23" fmla="*/ 133733 h 665393"/>
                    <a:gd name="connsiteX24" fmla="*/ 559167 w 791733"/>
                    <a:gd name="connsiteY24" fmla="*/ 133733 h 665393"/>
                    <a:gd name="connsiteX25" fmla="*/ 584174 w 791733"/>
                    <a:gd name="connsiteY25" fmla="*/ 127482 h 665393"/>
                    <a:gd name="connsiteX26" fmla="*/ 609180 w 791733"/>
                    <a:gd name="connsiteY26" fmla="*/ 139985 h 665393"/>
                    <a:gd name="connsiteX27" fmla="*/ 634186 w 791733"/>
                    <a:gd name="connsiteY27" fmla="*/ 121230 h 665393"/>
                    <a:gd name="connsiteX28" fmla="*/ 640438 w 791733"/>
                    <a:gd name="connsiteY28" fmla="*/ 83860 h 665393"/>
                    <a:gd name="connsiteX29" fmla="*/ 665444 w 791733"/>
                    <a:gd name="connsiteY29" fmla="*/ 65105 h 665393"/>
                    <a:gd name="connsiteX30" fmla="*/ 684199 w 791733"/>
                    <a:gd name="connsiteY30" fmla="*/ 65105 h 665393"/>
                    <a:gd name="connsiteX31" fmla="*/ 696702 w 791733"/>
                    <a:gd name="connsiteY31" fmla="*/ 58854 h 665393"/>
                    <a:gd name="connsiteX32" fmla="*/ 721708 w 791733"/>
                    <a:gd name="connsiteY32" fmla="*/ 71357 h 665393"/>
                    <a:gd name="connsiteX33" fmla="*/ 740463 w 791733"/>
                    <a:gd name="connsiteY33" fmla="*/ 102475 h 665393"/>
                    <a:gd name="connsiteX34" fmla="*/ 771720 w 791733"/>
                    <a:gd name="connsiteY34" fmla="*/ 71357 h 665393"/>
                    <a:gd name="connsiteX35" fmla="*/ 746714 w 791733"/>
                    <a:gd name="connsiteY35" fmla="*/ 77608 h 665393"/>
                    <a:gd name="connsiteX36" fmla="*/ 727960 w 791733"/>
                    <a:gd name="connsiteY36" fmla="*/ 58854 h 665393"/>
                    <a:gd name="connsiteX37" fmla="*/ 740463 w 791733"/>
                    <a:gd name="connsiteY37" fmla="*/ 58854 h 665393"/>
                    <a:gd name="connsiteX38" fmla="*/ 771720 w 791733"/>
                    <a:gd name="connsiteY38" fmla="*/ 52602 h 665393"/>
                    <a:gd name="connsiteX39" fmla="*/ 790475 w 791733"/>
                    <a:gd name="connsiteY39" fmla="*/ 33847 h 665393"/>
                    <a:gd name="connsiteX40" fmla="*/ 740463 w 791733"/>
                    <a:gd name="connsiteY40" fmla="*/ 15093 h 665393"/>
                    <a:gd name="connsiteX41" fmla="*/ 721708 w 791733"/>
                    <a:gd name="connsiteY41" fmla="*/ 27596 h 665393"/>
                    <a:gd name="connsiteX42" fmla="*/ 709205 w 791733"/>
                    <a:gd name="connsiteY42" fmla="*/ 40099 h 665393"/>
                    <a:gd name="connsiteX43" fmla="*/ 709205 w 791733"/>
                    <a:gd name="connsiteY43" fmla="*/ 27596 h 665393"/>
                    <a:gd name="connsiteX44" fmla="*/ 696702 w 791733"/>
                    <a:gd name="connsiteY44" fmla="*/ 27596 h 665393"/>
                    <a:gd name="connsiteX45" fmla="*/ 715456 w 791733"/>
                    <a:gd name="connsiteY45" fmla="*/ 21344 h 665393"/>
                    <a:gd name="connsiteX46" fmla="*/ 696702 w 791733"/>
                    <a:gd name="connsiteY46" fmla="*/ 21344 h 665393"/>
                    <a:gd name="connsiteX47" fmla="*/ 721708 w 791733"/>
                    <a:gd name="connsiteY47" fmla="*/ 8841 h 665393"/>
                    <a:gd name="connsiteX48" fmla="*/ 684199 w 791733"/>
                    <a:gd name="connsiteY48" fmla="*/ 8841 h 665393"/>
                    <a:gd name="connsiteX49" fmla="*/ 684199 w 791733"/>
                    <a:gd name="connsiteY49" fmla="*/ 21344 h 665393"/>
                    <a:gd name="connsiteX50" fmla="*/ 659192 w 791733"/>
                    <a:gd name="connsiteY50" fmla="*/ 40099 h 665393"/>
                    <a:gd name="connsiteX51" fmla="*/ 659192 w 791733"/>
                    <a:gd name="connsiteY51" fmla="*/ 15093 h 665393"/>
                    <a:gd name="connsiteX52" fmla="*/ 621683 w 791733"/>
                    <a:gd name="connsiteY52" fmla="*/ 52463 h 665393"/>
                    <a:gd name="connsiteX53" fmla="*/ 627935 w 791733"/>
                    <a:gd name="connsiteY53" fmla="*/ 21344 h 665393"/>
                    <a:gd name="connsiteX54" fmla="*/ 640438 w 791733"/>
                    <a:gd name="connsiteY54" fmla="*/ 8841 h 665393"/>
                    <a:gd name="connsiteX55" fmla="*/ 621683 w 791733"/>
                    <a:gd name="connsiteY55" fmla="*/ 2589 h 665393"/>
                    <a:gd name="connsiteX56" fmla="*/ 627935 w 791733"/>
                    <a:gd name="connsiteY56" fmla="*/ 8841 h 665393"/>
                    <a:gd name="connsiteX57" fmla="*/ 609180 w 791733"/>
                    <a:gd name="connsiteY57" fmla="*/ 8841 h 665393"/>
                    <a:gd name="connsiteX58" fmla="*/ 602928 w 791733"/>
                    <a:gd name="connsiteY58" fmla="*/ 2589 h 665393"/>
                    <a:gd name="connsiteX59" fmla="*/ 590425 w 791733"/>
                    <a:gd name="connsiteY59" fmla="*/ 15093 h 665393"/>
                    <a:gd name="connsiteX60" fmla="*/ 596677 w 791733"/>
                    <a:gd name="connsiteY60" fmla="*/ 27596 h 665393"/>
                    <a:gd name="connsiteX61" fmla="*/ 590425 w 791733"/>
                    <a:gd name="connsiteY61" fmla="*/ 27596 h 665393"/>
                    <a:gd name="connsiteX62" fmla="*/ 584174 w 791733"/>
                    <a:gd name="connsiteY62" fmla="*/ 40099 h 665393"/>
                    <a:gd name="connsiteX63" fmla="*/ 565419 w 791733"/>
                    <a:gd name="connsiteY63" fmla="*/ 33847 h 665393"/>
                    <a:gd name="connsiteX64" fmla="*/ 577922 w 791733"/>
                    <a:gd name="connsiteY64" fmla="*/ 21344 h 665393"/>
                    <a:gd name="connsiteX65" fmla="*/ 546664 w 791733"/>
                    <a:gd name="connsiteY65" fmla="*/ 33847 h 665393"/>
                    <a:gd name="connsiteX66" fmla="*/ 565419 w 791733"/>
                    <a:gd name="connsiteY66" fmla="*/ 52602 h 665393"/>
                    <a:gd name="connsiteX67" fmla="*/ 559167 w 791733"/>
                    <a:gd name="connsiteY67" fmla="*/ 65105 h 665393"/>
                    <a:gd name="connsiteX68" fmla="*/ 540413 w 791733"/>
                    <a:gd name="connsiteY68" fmla="*/ 46350 h 665393"/>
                    <a:gd name="connsiteX69" fmla="*/ 527910 w 791733"/>
                    <a:gd name="connsiteY69" fmla="*/ 46350 h 665393"/>
                    <a:gd name="connsiteX70" fmla="*/ 496652 w 791733"/>
                    <a:gd name="connsiteY70" fmla="*/ 46350 h 665393"/>
                    <a:gd name="connsiteX71" fmla="*/ 521658 w 791733"/>
                    <a:gd name="connsiteY71" fmla="*/ 58854 h 665393"/>
                    <a:gd name="connsiteX72" fmla="*/ 515406 w 791733"/>
                    <a:gd name="connsiteY72" fmla="*/ 65105 h 665393"/>
                    <a:gd name="connsiteX73" fmla="*/ 521658 w 791733"/>
                    <a:gd name="connsiteY73" fmla="*/ 77608 h 665393"/>
                    <a:gd name="connsiteX74" fmla="*/ 502903 w 791733"/>
                    <a:gd name="connsiteY74" fmla="*/ 65105 h 665393"/>
                    <a:gd name="connsiteX75" fmla="*/ 496652 w 791733"/>
                    <a:gd name="connsiteY75" fmla="*/ 77608 h 665393"/>
                    <a:gd name="connsiteX76" fmla="*/ 490400 w 791733"/>
                    <a:gd name="connsiteY76" fmla="*/ 65105 h 665393"/>
                    <a:gd name="connsiteX77" fmla="*/ 477897 w 791733"/>
                    <a:gd name="connsiteY77" fmla="*/ 77608 h 665393"/>
                    <a:gd name="connsiteX78" fmla="*/ 484149 w 791733"/>
                    <a:gd name="connsiteY78" fmla="*/ 90111 h 665393"/>
                    <a:gd name="connsiteX79" fmla="*/ 471646 w 791733"/>
                    <a:gd name="connsiteY79" fmla="*/ 90111 h 665393"/>
                    <a:gd name="connsiteX80" fmla="*/ 471646 w 791733"/>
                    <a:gd name="connsiteY80" fmla="*/ 71357 h 665393"/>
                    <a:gd name="connsiteX81" fmla="*/ 452891 w 791733"/>
                    <a:gd name="connsiteY81" fmla="*/ 83860 h 665393"/>
                    <a:gd name="connsiteX82" fmla="*/ 459142 w 791733"/>
                    <a:gd name="connsiteY82" fmla="*/ 83860 h 665393"/>
                    <a:gd name="connsiteX83" fmla="*/ 446639 w 791733"/>
                    <a:gd name="connsiteY83" fmla="*/ 96363 h 665393"/>
                    <a:gd name="connsiteX84" fmla="*/ 446639 w 791733"/>
                    <a:gd name="connsiteY84" fmla="*/ 83860 h 665393"/>
                    <a:gd name="connsiteX85" fmla="*/ 434136 w 791733"/>
                    <a:gd name="connsiteY85" fmla="*/ 71357 h 665393"/>
                    <a:gd name="connsiteX86" fmla="*/ 446639 w 791733"/>
                    <a:gd name="connsiteY86" fmla="*/ 71357 h 665393"/>
                    <a:gd name="connsiteX87" fmla="*/ 421633 w 791733"/>
                    <a:gd name="connsiteY87" fmla="*/ 58854 h 665393"/>
                    <a:gd name="connsiteX88" fmla="*/ 427885 w 791733"/>
                    <a:gd name="connsiteY88" fmla="*/ 77608 h 665393"/>
                    <a:gd name="connsiteX89" fmla="*/ 409130 w 791733"/>
                    <a:gd name="connsiteY89" fmla="*/ 83860 h 665393"/>
                    <a:gd name="connsiteX90" fmla="*/ 421633 w 791733"/>
                    <a:gd name="connsiteY90" fmla="*/ 83860 h 665393"/>
                    <a:gd name="connsiteX91" fmla="*/ 415381 w 791733"/>
                    <a:gd name="connsiteY91" fmla="*/ 83860 h 665393"/>
                    <a:gd name="connsiteX92" fmla="*/ 427885 w 791733"/>
                    <a:gd name="connsiteY92" fmla="*/ 83860 h 665393"/>
                    <a:gd name="connsiteX93" fmla="*/ 427885 w 791733"/>
                    <a:gd name="connsiteY93" fmla="*/ 96363 h 665393"/>
                    <a:gd name="connsiteX94" fmla="*/ 415381 w 791733"/>
                    <a:gd name="connsiteY94" fmla="*/ 90111 h 665393"/>
                    <a:gd name="connsiteX95" fmla="*/ 402878 w 791733"/>
                    <a:gd name="connsiteY95" fmla="*/ 83860 h 665393"/>
                    <a:gd name="connsiteX96" fmla="*/ 390375 w 791733"/>
                    <a:gd name="connsiteY96" fmla="*/ 90111 h 665393"/>
                    <a:gd name="connsiteX97" fmla="*/ 371621 w 791733"/>
                    <a:gd name="connsiteY97" fmla="*/ 96363 h 665393"/>
                    <a:gd name="connsiteX98" fmla="*/ 371621 w 791733"/>
                    <a:gd name="connsiteY98" fmla="*/ 115118 h 665393"/>
                    <a:gd name="connsiteX99" fmla="*/ 384124 w 791733"/>
                    <a:gd name="connsiteY99" fmla="*/ 108866 h 665393"/>
                    <a:gd name="connsiteX100" fmla="*/ 396627 w 791733"/>
                    <a:gd name="connsiteY100" fmla="*/ 108866 h 665393"/>
                    <a:gd name="connsiteX101" fmla="*/ 390375 w 791733"/>
                    <a:gd name="connsiteY101" fmla="*/ 121369 h 665393"/>
                    <a:gd name="connsiteX102" fmla="*/ 384124 w 791733"/>
                    <a:gd name="connsiteY102" fmla="*/ 133872 h 665393"/>
                    <a:gd name="connsiteX103" fmla="*/ 377872 w 791733"/>
                    <a:gd name="connsiteY103" fmla="*/ 127621 h 665393"/>
                    <a:gd name="connsiteX104" fmla="*/ 365369 w 791733"/>
                    <a:gd name="connsiteY104" fmla="*/ 140124 h 665393"/>
                    <a:gd name="connsiteX105" fmla="*/ 365369 w 791733"/>
                    <a:gd name="connsiteY105" fmla="*/ 127621 h 665393"/>
                    <a:gd name="connsiteX106" fmla="*/ 352866 w 791733"/>
                    <a:gd name="connsiteY106" fmla="*/ 133872 h 665393"/>
                    <a:gd name="connsiteX107" fmla="*/ 352866 w 791733"/>
                    <a:gd name="connsiteY107" fmla="*/ 121369 h 665393"/>
                    <a:gd name="connsiteX108" fmla="*/ 340363 w 791733"/>
                    <a:gd name="connsiteY108" fmla="*/ 133872 h 665393"/>
                    <a:gd name="connsiteX109" fmla="*/ 346614 w 791733"/>
                    <a:gd name="connsiteY109" fmla="*/ 102753 h 665393"/>
                    <a:gd name="connsiteX110" fmla="*/ 327860 w 791733"/>
                    <a:gd name="connsiteY110" fmla="*/ 109005 h 665393"/>
                    <a:gd name="connsiteX111" fmla="*/ 334111 w 791733"/>
                    <a:gd name="connsiteY111" fmla="*/ 121508 h 665393"/>
                    <a:gd name="connsiteX112" fmla="*/ 321608 w 791733"/>
                    <a:gd name="connsiteY112" fmla="*/ 121508 h 665393"/>
                    <a:gd name="connsiteX113" fmla="*/ 315357 w 791733"/>
                    <a:gd name="connsiteY113" fmla="*/ 134011 h 665393"/>
                    <a:gd name="connsiteX114" fmla="*/ 302853 w 791733"/>
                    <a:gd name="connsiteY114" fmla="*/ 134011 h 665393"/>
                    <a:gd name="connsiteX115" fmla="*/ 315357 w 791733"/>
                    <a:gd name="connsiteY115" fmla="*/ 134011 h 665393"/>
                    <a:gd name="connsiteX116" fmla="*/ 315357 w 791733"/>
                    <a:gd name="connsiteY116" fmla="*/ 140263 h 665393"/>
                    <a:gd name="connsiteX117" fmla="*/ 321608 w 791733"/>
                    <a:gd name="connsiteY117" fmla="*/ 134011 h 665393"/>
                    <a:gd name="connsiteX118" fmla="*/ 315357 w 791733"/>
                    <a:gd name="connsiteY118" fmla="*/ 146514 h 665393"/>
                    <a:gd name="connsiteX119" fmla="*/ 302853 w 791733"/>
                    <a:gd name="connsiteY119" fmla="*/ 140263 h 665393"/>
                    <a:gd name="connsiteX120" fmla="*/ 290350 w 791733"/>
                    <a:gd name="connsiteY120" fmla="*/ 159017 h 665393"/>
                    <a:gd name="connsiteX121" fmla="*/ 271596 w 791733"/>
                    <a:gd name="connsiteY121" fmla="*/ 159017 h 665393"/>
                    <a:gd name="connsiteX122" fmla="*/ 315357 w 791733"/>
                    <a:gd name="connsiteY122" fmla="*/ 152766 h 665393"/>
                    <a:gd name="connsiteX123" fmla="*/ 334111 w 791733"/>
                    <a:gd name="connsiteY123" fmla="*/ 152766 h 665393"/>
                    <a:gd name="connsiteX124" fmla="*/ 334111 w 791733"/>
                    <a:gd name="connsiteY124" fmla="*/ 140263 h 665393"/>
                    <a:gd name="connsiteX125" fmla="*/ 340363 w 791733"/>
                    <a:gd name="connsiteY125" fmla="*/ 140263 h 665393"/>
                    <a:gd name="connsiteX126" fmla="*/ 359117 w 791733"/>
                    <a:gd name="connsiteY126" fmla="*/ 140263 h 665393"/>
                    <a:gd name="connsiteX127" fmla="*/ 346614 w 791733"/>
                    <a:gd name="connsiteY127" fmla="*/ 152766 h 665393"/>
                    <a:gd name="connsiteX128" fmla="*/ 359117 w 791733"/>
                    <a:gd name="connsiteY128" fmla="*/ 152766 h 665393"/>
                    <a:gd name="connsiteX129" fmla="*/ 346614 w 791733"/>
                    <a:gd name="connsiteY129" fmla="*/ 165269 h 665393"/>
                    <a:gd name="connsiteX130" fmla="*/ 377872 w 791733"/>
                    <a:gd name="connsiteY130" fmla="*/ 159017 h 665393"/>
                    <a:gd name="connsiteX131" fmla="*/ 352866 w 791733"/>
                    <a:gd name="connsiteY131" fmla="*/ 171520 h 665393"/>
                    <a:gd name="connsiteX132" fmla="*/ 334111 w 791733"/>
                    <a:gd name="connsiteY132" fmla="*/ 165269 h 665393"/>
                    <a:gd name="connsiteX133" fmla="*/ 334111 w 791733"/>
                    <a:gd name="connsiteY133" fmla="*/ 177772 h 665393"/>
                    <a:gd name="connsiteX134" fmla="*/ 321608 w 791733"/>
                    <a:gd name="connsiteY134" fmla="*/ 165269 h 665393"/>
                    <a:gd name="connsiteX135" fmla="*/ 302853 w 791733"/>
                    <a:gd name="connsiteY135" fmla="*/ 190275 h 665393"/>
                    <a:gd name="connsiteX136" fmla="*/ 315357 w 791733"/>
                    <a:gd name="connsiteY136" fmla="*/ 184024 h 665393"/>
                    <a:gd name="connsiteX137" fmla="*/ 327860 w 791733"/>
                    <a:gd name="connsiteY137" fmla="*/ 190275 h 665393"/>
                    <a:gd name="connsiteX138" fmla="*/ 309105 w 791733"/>
                    <a:gd name="connsiteY138" fmla="*/ 196527 h 665393"/>
                    <a:gd name="connsiteX139" fmla="*/ 327860 w 791733"/>
                    <a:gd name="connsiteY139" fmla="*/ 202778 h 665393"/>
                    <a:gd name="connsiteX140" fmla="*/ 290350 w 791733"/>
                    <a:gd name="connsiteY140" fmla="*/ 209030 h 665393"/>
                    <a:gd name="connsiteX141" fmla="*/ 321608 w 791733"/>
                    <a:gd name="connsiteY141" fmla="*/ 215281 h 665393"/>
                    <a:gd name="connsiteX142" fmla="*/ 302853 w 791733"/>
                    <a:gd name="connsiteY142" fmla="*/ 215281 h 665393"/>
                    <a:gd name="connsiteX143" fmla="*/ 302853 w 791733"/>
                    <a:gd name="connsiteY143" fmla="*/ 215281 h 665393"/>
                    <a:gd name="connsiteX144" fmla="*/ 277847 w 791733"/>
                    <a:gd name="connsiteY144" fmla="*/ 221533 h 665393"/>
                    <a:gd name="connsiteX145" fmla="*/ 296602 w 791733"/>
                    <a:gd name="connsiteY145" fmla="*/ 221533 h 665393"/>
                    <a:gd name="connsiteX146" fmla="*/ 277847 w 791733"/>
                    <a:gd name="connsiteY146" fmla="*/ 240288 h 665393"/>
                    <a:gd name="connsiteX147" fmla="*/ 265344 w 791733"/>
                    <a:gd name="connsiteY147" fmla="*/ 246539 h 665393"/>
                    <a:gd name="connsiteX148" fmla="*/ 259092 w 791733"/>
                    <a:gd name="connsiteY148" fmla="*/ 252791 h 665393"/>
                    <a:gd name="connsiteX149" fmla="*/ 252841 w 791733"/>
                    <a:gd name="connsiteY149" fmla="*/ 259042 h 665393"/>
                    <a:gd name="connsiteX150" fmla="*/ 259092 w 791733"/>
                    <a:gd name="connsiteY150" fmla="*/ 259042 h 665393"/>
                    <a:gd name="connsiteX151" fmla="*/ 259092 w 791733"/>
                    <a:gd name="connsiteY151" fmla="*/ 265294 h 665393"/>
                    <a:gd name="connsiteX152" fmla="*/ 284099 w 791733"/>
                    <a:gd name="connsiteY152" fmla="*/ 265294 h 665393"/>
                    <a:gd name="connsiteX153" fmla="*/ 259092 w 791733"/>
                    <a:gd name="connsiteY153" fmla="*/ 271545 h 665393"/>
                    <a:gd name="connsiteX154" fmla="*/ 234086 w 791733"/>
                    <a:gd name="connsiteY154" fmla="*/ 277797 h 665393"/>
                    <a:gd name="connsiteX155" fmla="*/ 240338 w 791733"/>
                    <a:gd name="connsiteY155" fmla="*/ 277797 h 665393"/>
                    <a:gd name="connsiteX156" fmla="*/ 234086 w 791733"/>
                    <a:gd name="connsiteY156" fmla="*/ 284049 h 665393"/>
                    <a:gd name="connsiteX157" fmla="*/ 246589 w 791733"/>
                    <a:gd name="connsiteY157" fmla="*/ 284049 h 665393"/>
                    <a:gd name="connsiteX158" fmla="*/ 234086 w 791733"/>
                    <a:gd name="connsiteY158" fmla="*/ 296552 h 665393"/>
                    <a:gd name="connsiteX159" fmla="*/ 240338 w 791733"/>
                    <a:gd name="connsiteY159" fmla="*/ 302803 h 665393"/>
                    <a:gd name="connsiteX160" fmla="*/ 227835 w 791733"/>
                    <a:gd name="connsiteY160" fmla="*/ 302803 h 665393"/>
                    <a:gd name="connsiteX161" fmla="*/ 240338 w 791733"/>
                    <a:gd name="connsiteY161" fmla="*/ 309055 h 665393"/>
                    <a:gd name="connsiteX162" fmla="*/ 227835 w 791733"/>
                    <a:gd name="connsiteY162" fmla="*/ 309055 h 665393"/>
                    <a:gd name="connsiteX163" fmla="*/ 240338 w 791733"/>
                    <a:gd name="connsiteY163" fmla="*/ 321558 h 665393"/>
                    <a:gd name="connsiteX164" fmla="*/ 209080 w 791733"/>
                    <a:gd name="connsiteY164" fmla="*/ 334061 h 665393"/>
                    <a:gd name="connsiteX165" fmla="*/ 184074 w 791733"/>
                    <a:gd name="connsiteY165" fmla="*/ 334061 h 665393"/>
                    <a:gd name="connsiteX166" fmla="*/ 227835 w 791733"/>
                    <a:gd name="connsiteY166" fmla="*/ 334061 h 665393"/>
                    <a:gd name="connsiteX167" fmla="*/ 215332 w 791733"/>
                    <a:gd name="connsiteY167" fmla="*/ 346564 h 665393"/>
                    <a:gd name="connsiteX168" fmla="*/ 202828 w 791733"/>
                    <a:gd name="connsiteY168" fmla="*/ 359067 h 665393"/>
                    <a:gd name="connsiteX169" fmla="*/ 177822 w 791733"/>
                    <a:gd name="connsiteY169" fmla="*/ 359067 h 665393"/>
                    <a:gd name="connsiteX170" fmla="*/ 159067 w 791733"/>
                    <a:gd name="connsiteY170" fmla="*/ 377822 h 665393"/>
                    <a:gd name="connsiteX171" fmla="*/ 165319 w 791733"/>
                    <a:gd name="connsiteY171" fmla="*/ 384074 h 665393"/>
                    <a:gd name="connsiteX172" fmla="*/ 146564 w 791733"/>
                    <a:gd name="connsiteY172" fmla="*/ 390325 h 665393"/>
                    <a:gd name="connsiteX173" fmla="*/ 152816 w 791733"/>
                    <a:gd name="connsiteY173" fmla="*/ 402828 h 665393"/>
                    <a:gd name="connsiteX174" fmla="*/ 171571 w 791733"/>
                    <a:gd name="connsiteY174" fmla="*/ 402828 h 665393"/>
                    <a:gd name="connsiteX175" fmla="*/ 190325 w 791733"/>
                    <a:gd name="connsiteY175" fmla="*/ 396577 h 665393"/>
                    <a:gd name="connsiteX176" fmla="*/ 184074 w 791733"/>
                    <a:gd name="connsiteY176" fmla="*/ 384074 h 665393"/>
                    <a:gd name="connsiteX177" fmla="*/ 202828 w 791733"/>
                    <a:gd name="connsiteY177" fmla="*/ 396577 h 665393"/>
                    <a:gd name="connsiteX178" fmla="*/ 184074 w 791733"/>
                    <a:gd name="connsiteY178" fmla="*/ 409080 h 665393"/>
                    <a:gd name="connsiteX179" fmla="*/ 171571 w 791733"/>
                    <a:gd name="connsiteY179" fmla="*/ 409080 h 665393"/>
                    <a:gd name="connsiteX180" fmla="*/ 152816 w 791733"/>
                    <a:gd name="connsiteY180" fmla="*/ 415331 h 665393"/>
                    <a:gd name="connsiteX181" fmla="*/ 140313 w 791733"/>
                    <a:gd name="connsiteY181" fmla="*/ 409080 h 665393"/>
                    <a:gd name="connsiteX182" fmla="*/ 127810 w 791733"/>
                    <a:gd name="connsiteY182" fmla="*/ 402828 h 665393"/>
                    <a:gd name="connsiteX183" fmla="*/ 115307 w 791733"/>
                    <a:gd name="connsiteY183" fmla="*/ 421583 h 665393"/>
                    <a:gd name="connsiteX184" fmla="*/ 102803 w 791733"/>
                    <a:gd name="connsiteY184" fmla="*/ 440338 h 665393"/>
                    <a:gd name="connsiteX185" fmla="*/ 96552 w 791733"/>
                    <a:gd name="connsiteY185" fmla="*/ 427834 h 665393"/>
                    <a:gd name="connsiteX186" fmla="*/ 65294 w 791733"/>
                    <a:gd name="connsiteY186" fmla="*/ 440338 h 665393"/>
                    <a:gd name="connsiteX187" fmla="*/ 96552 w 791733"/>
                    <a:gd name="connsiteY187" fmla="*/ 446589 h 665393"/>
                    <a:gd name="connsiteX188" fmla="*/ 115307 w 791733"/>
                    <a:gd name="connsiteY188" fmla="*/ 440338 h 665393"/>
                    <a:gd name="connsiteX189" fmla="*/ 90300 w 791733"/>
                    <a:gd name="connsiteY189" fmla="*/ 446589 h 665393"/>
                    <a:gd name="connsiteX190" fmla="*/ 77797 w 791733"/>
                    <a:gd name="connsiteY190" fmla="*/ 452841 h 665393"/>
                    <a:gd name="connsiteX191" fmla="*/ 59043 w 791733"/>
                    <a:gd name="connsiteY191" fmla="*/ 452841 h 665393"/>
                    <a:gd name="connsiteX192" fmla="*/ 52791 w 791733"/>
                    <a:gd name="connsiteY192" fmla="*/ 459092 h 665393"/>
                    <a:gd name="connsiteX193" fmla="*/ 71546 w 791733"/>
                    <a:gd name="connsiteY193" fmla="*/ 471595 h 665393"/>
                    <a:gd name="connsiteX194" fmla="*/ 65294 w 791733"/>
                    <a:gd name="connsiteY194" fmla="*/ 477847 h 665393"/>
                    <a:gd name="connsiteX195" fmla="*/ 59043 w 791733"/>
                    <a:gd name="connsiteY195" fmla="*/ 459092 h 665393"/>
                    <a:gd name="connsiteX196" fmla="*/ 46539 w 791733"/>
                    <a:gd name="connsiteY196" fmla="*/ 471595 h 665393"/>
                    <a:gd name="connsiteX197" fmla="*/ 40288 w 791733"/>
                    <a:gd name="connsiteY197" fmla="*/ 452841 h 665393"/>
                    <a:gd name="connsiteX198" fmla="*/ 34036 w 791733"/>
                    <a:gd name="connsiteY198" fmla="*/ 477847 h 665393"/>
                    <a:gd name="connsiteX199" fmla="*/ 27785 w 791733"/>
                    <a:gd name="connsiteY199" fmla="*/ 465344 h 665393"/>
                    <a:gd name="connsiteX200" fmla="*/ 21533 w 791733"/>
                    <a:gd name="connsiteY200" fmla="*/ 477847 h 665393"/>
                    <a:gd name="connsiteX201" fmla="*/ 2778 w 791733"/>
                    <a:gd name="connsiteY201" fmla="*/ 484098 h 665393"/>
                    <a:gd name="connsiteX202" fmla="*/ 2778 w 791733"/>
                    <a:gd name="connsiteY202" fmla="*/ 496602 h 665393"/>
                    <a:gd name="connsiteX203" fmla="*/ 21533 w 791733"/>
                    <a:gd name="connsiteY203" fmla="*/ 502853 h 665393"/>
                    <a:gd name="connsiteX204" fmla="*/ 2778 w 791733"/>
                    <a:gd name="connsiteY204" fmla="*/ 515356 h 665393"/>
                    <a:gd name="connsiteX205" fmla="*/ 15282 w 791733"/>
                    <a:gd name="connsiteY205" fmla="*/ 521608 h 665393"/>
                    <a:gd name="connsiteX206" fmla="*/ 34036 w 791733"/>
                    <a:gd name="connsiteY206" fmla="*/ 521608 h 665393"/>
                    <a:gd name="connsiteX207" fmla="*/ 2778 w 791733"/>
                    <a:gd name="connsiteY207" fmla="*/ 534111 h 665393"/>
                    <a:gd name="connsiteX208" fmla="*/ 21533 w 791733"/>
                    <a:gd name="connsiteY208" fmla="*/ 552866 h 665393"/>
                    <a:gd name="connsiteX209" fmla="*/ 9030 w 791733"/>
                    <a:gd name="connsiteY209" fmla="*/ 546614 h 665393"/>
                    <a:gd name="connsiteX210" fmla="*/ 9030 w 791733"/>
                    <a:gd name="connsiteY210" fmla="*/ 565369 h 665393"/>
                    <a:gd name="connsiteX211" fmla="*/ 34036 w 791733"/>
                    <a:gd name="connsiteY211" fmla="*/ 571620 h 665393"/>
                    <a:gd name="connsiteX212" fmla="*/ 52791 w 791733"/>
                    <a:gd name="connsiteY212" fmla="*/ 559117 h 665393"/>
                    <a:gd name="connsiteX213" fmla="*/ 40288 w 791733"/>
                    <a:gd name="connsiteY213" fmla="*/ 565369 h 665393"/>
                    <a:gd name="connsiteX214" fmla="*/ 27785 w 791733"/>
                    <a:gd name="connsiteY214" fmla="*/ 571620 h 665393"/>
                    <a:gd name="connsiteX215" fmla="*/ 40288 w 791733"/>
                    <a:gd name="connsiteY215" fmla="*/ 584123 h 665393"/>
                    <a:gd name="connsiteX216" fmla="*/ 27785 w 791733"/>
                    <a:gd name="connsiteY216" fmla="*/ 584123 h 665393"/>
                    <a:gd name="connsiteX217" fmla="*/ 46539 w 791733"/>
                    <a:gd name="connsiteY217" fmla="*/ 596627 h 665393"/>
                    <a:gd name="connsiteX218" fmla="*/ 21533 w 791733"/>
                    <a:gd name="connsiteY218" fmla="*/ 596627 h 665393"/>
                    <a:gd name="connsiteX219" fmla="*/ 15282 w 791733"/>
                    <a:gd name="connsiteY219" fmla="*/ 577872 h 665393"/>
                    <a:gd name="connsiteX220" fmla="*/ 9030 w 791733"/>
                    <a:gd name="connsiteY220" fmla="*/ 596627 h 665393"/>
                    <a:gd name="connsiteX221" fmla="*/ 9030 w 791733"/>
                    <a:gd name="connsiteY221" fmla="*/ 609130 h 665393"/>
                    <a:gd name="connsiteX222" fmla="*/ 27785 w 791733"/>
                    <a:gd name="connsiteY222" fmla="*/ 596627 h 665393"/>
                    <a:gd name="connsiteX223" fmla="*/ 27785 w 791733"/>
                    <a:gd name="connsiteY223" fmla="*/ 602878 h 665393"/>
                    <a:gd name="connsiteX224" fmla="*/ 40288 w 791733"/>
                    <a:gd name="connsiteY224" fmla="*/ 596627 h 665393"/>
                    <a:gd name="connsiteX225" fmla="*/ 34036 w 791733"/>
                    <a:gd name="connsiteY225" fmla="*/ 609130 h 665393"/>
                    <a:gd name="connsiteX226" fmla="*/ 46539 w 791733"/>
                    <a:gd name="connsiteY226" fmla="*/ 621633 h 665393"/>
                    <a:gd name="connsiteX227" fmla="*/ 27785 w 791733"/>
                    <a:gd name="connsiteY227" fmla="*/ 640387 h 665393"/>
                    <a:gd name="connsiteX228" fmla="*/ 59043 w 791733"/>
                    <a:gd name="connsiteY228" fmla="*/ 652891 h 665393"/>
                    <a:gd name="connsiteX229" fmla="*/ 84049 w 791733"/>
                    <a:gd name="connsiteY229" fmla="*/ 665394 h 665393"/>
                    <a:gd name="connsiteX230" fmla="*/ 140313 w 791733"/>
                    <a:gd name="connsiteY230" fmla="*/ 634275 h 665393"/>
                    <a:gd name="connsiteX231" fmla="*/ 165319 w 791733"/>
                    <a:gd name="connsiteY231" fmla="*/ 615520 h 665393"/>
                    <a:gd name="connsiteX232" fmla="*/ 177822 w 791733"/>
                    <a:gd name="connsiteY232" fmla="*/ 590514 h 665393"/>
                    <a:gd name="connsiteX233" fmla="*/ 184074 w 791733"/>
                    <a:gd name="connsiteY233" fmla="*/ 609269 h 665393"/>
                    <a:gd name="connsiteX234" fmla="*/ 190325 w 791733"/>
                    <a:gd name="connsiteY234" fmla="*/ 621772 h 665393"/>
                    <a:gd name="connsiteX235" fmla="*/ 209080 w 791733"/>
                    <a:gd name="connsiteY235" fmla="*/ 626078 h 665393"/>
                    <a:gd name="connsiteX236" fmla="*/ 209080 w 791733"/>
                    <a:gd name="connsiteY236" fmla="*/ 626078 h 66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791733" h="665393">
                      <a:moveTo>
                        <a:pt x="209080" y="626078"/>
                      </a:moveTo>
                      <a:cubicBezTo>
                        <a:pt x="209080" y="626078"/>
                        <a:pt x="215332" y="607324"/>
                        <a:pt x="215332" y="601072"/>
                      </a:cubicBezTo>
                      <a:cubicBezTo>
                        <a:pt x="215332" y="588569"/>
                        <a:pt x="221583" y="582317"/>
                        <a:pt x="234086" y="576066"/>
                      </a:cubicBezTo>
                      <a:cubicBezTo>
                        <a:pt x="246589" y="563563"/>
                        <a:pt x="234086" y="544947"/>
                        <a:pt x="234086" y="538695"/>
                      </a:cubicBezTo>
                      <a:cubicBezTo>
                        <a:pt x="234086" y="519941"/>
                        <a:pt x="259092" y="519941"/>
                        <a:pt x="240338" y="507577"/>
                      </a:cubicBezTo>
                      <a:cubicBezTo>
                        <a:pt x="227835" y="495073"/>
                        <a:pt x="221583" y="495073"/>
                        <a:pt x="227835" y="476458"/>
                      </a:cubicBezTo>
                      <a:cubicBezTo>
                        <a:pt x="234086" y="463955"/>
                        <a:pt x="227835" y="451451"/>
                        <a:pt x="227835" y="439087"/>
                      </a:cubicBezTo>
                      <a:cubicBezTo>
                        <a:pt x="221583" y="420333"/>
                        <a:pt x="215332" y="401717"/>
                        <a:pt x="234086" y="389214"/>
                      </a:cubicBezTo>
                      <a:cubicBezTo>
                        <a:pt x="240338" y="382962"/>
                        <a:pt x="252841" y="382962"/>
                        <a:pt x="259092" y="376711"/>
                      </a:cubicBezTo>
                      <a:cubicBezTo>
                        <a:pt x="265344" y="376711"/>
                        <a:pt x="271596" y="382962"/>
                        <a:pt x="277847" y="376711"/>
                      </a:cubicBezTo>
                      <a:cubicBezTo>
                        <a:pt x="284099" y="364207"/>
                        <a:pt x="277847" y="357956"/>
                        <a:pt x="271596" y="351704"/>
                      </a:cubicBezTo>
                      <a:cubicBezTo>
                        <a:pt x="271596" y="339201"/>
                        <a:pt x="284099" y="332950"/>
                        <a:pt x="290350" y="320585"/>
                      </a:cubicBezTo>
                      <a:cubicBezTo>
                        <a:pt x="290350" y="314334"/>
                        <a:pt x="296602" y="295579"/>
                        <a:pt x="296602" y="283215"/>
                      </a:cubicBezTo>
                      <a:cubicBezTo>
                        <a:pt x="296602" y="270712"/>
                        <a:pt x="321608" y="270712"/>
                        <a:pt x="315357" y="264460"/>
                      </a:cubicBezTo>
                      <a:cubicBezTo>
                        <a:pt x="315357" y="251957"/>
                        <a:pt x="327860" y="245706"/>
                        <a:pt x="334111" y="233341"/>
                      </a:cubicBezTo>
                      <a:cubicBezTo>
                        <a:pt x="346614" y="220838"/>
                        <a:pt x="346614" y="227090"/>
                        <a:pt x="346614" y="208335"/>
                      </a:cubicBezTo>
                      <a:cubicBezTo>
                        <a:pt x="340363" y="202084"/>
                        <a:pt x="365369" y="170965"/>
                        <a:pt x="371621" y="170965"/>
                      </a:cubicBezTo>
                      <a:cubicBezTo>
                        <a:pt x="377872" y="164713"/>
                        <a:pt x="396627" y="170965"/>
                        <a:pt x="402878" y="170965"/>
                      </a:cubicBezTo>
                      <a:cubicBezTo>
                        <a:pt x="402878" y="158462"/>
                        <a:pt x="402878" y="152210"/>
                        <a:pt x="402878" y="139846"/>
                      </a:cubicBezTo>
                      <a:cubicBezTo>
                        <a:pt x="421633" y="146097"/>
                        <a:pt x="434136" y="146097"/>
                        <a:pt x="446639" y="152349"/>
                      </a:cubicBezTo>
                      <a:cubicBezTo>
                        <a:pt x="471646" y="152349"/>
                        <a:pt x="459142" y="127343"/>
                        <a:pt x="465394" y="114979"/>
                      </a:cubicBezTo>
                      <a:cubicBezTo>
                        <a:pt x="465394" y="114979"/>
                        <a:pt x="477897" y="114979"/>
                        <a:pt x="484149" y="114979"/>
                      </a:cubicBezTo>
                      <a:cubicBezTo>
                        <a:pt x="490400" y="108727"/>
                        <a:pt x="502903" y="96224"/>
                        <a:pt x="509155" y="108727"/>
                      </a:cubicBezTo>
                      <a:cubicBezTo>
                        <a:pt x="521658" y="114979"/>
                        <a:pt x="521658" y="127482"/>
                        <a:pt x="534161" y="133733"/>
                      </a:cubicBezTo>
                      <a:cubicBezTo>
                        <a:pt x="540413" y="133733"/>
                        <a:pt x="552916" y="133733"/>
                        <a:pt x="559167" y="133733"/>
                      </a:cubicBezTo>
                      <a:cubicBezTo>
                        <a:pt x="565419" y="133733"/>
                        <a:pt x="571671" y="127482"/>
                        <a:pt x="584174" y="127482"/>
                      </a:cubicBezTo>
                      <a:cubicBezTo>
                        <a:pt x="590425" y="127482"/>
                        <a:pt x="596677" y="139985"/>
                        <a:pt x="609180" y="139985"/>
                      </a:cubicBezTo>
                      <a:cubicBezTo>
                        <a:pt x="609180" y="133733"/>
                        <a:pt x="634186" y="121230"/>
                        <a:pt x="634186" y="121230"/>
                      </a:cubicBezTo>
                      <a:cubicBezTo>
                        <a:pt x="634186" y="102475"/>
                        <a:pt x="634186" y="96224"/>
                        <a:pt x="640438" y="83860"/>
                      </a:cubicBezTo>
                      <a:cubicBezTo>
                        <a:pt x="646689" y="77608"/>
                        <a:pt x="659192" y="65105"/>
                        <a:pt x="665444" y="65105"/>
                      </a:cubicBezTo>
                      <a:cubicBezTo>
                        <a:pt x="671695" y="65105"/>
                        <a:pt x="677947" y="65105"/>
                        <a:pt x="684199" y="65105"/>
                      </a:cubicBezTo>
                      <a:cubicBezTo>
                        <a:pt x="690450" y="65105"/>
                        <a:pt x="690450" y="58854"/>
                        <a:pt x="696702" y="58854"/>
                      </a:cubicBezTo>
                      <a:cubicBezTo>
                        <a:pt x="702953" y="58854"/>
                        <a:pt x="715456" y="71357"/>
                        <a:pt x="721708" y="71357"/>
                      </a:cubicBezTo>
                      <a:cubicBezTo>
                        <a:pt x="734211" y="77608"/>
                        <a:pt x="740463" y="83860"/>
                        <a:pt x="740463" y="102475"/>
                      </a:cubicBezTo>
                      <a:cubicBezTo>
                        <a:pt x="752966" y="102475"/>
                        <a:pt x="784224" y="83721"/>
                        <a:pt x="771720" y="71357"/>
                      </a:cubicBezTo>
                      <a:cubicBezTo>
                        <a:pt x="784224" y="77608"/>
                        <a:pt x="752966" y="77608"/>
                        <a:pt x="746714" y="77608"/>
                      </a:cubicBezTo>
                      <a:cubicBezTo>
                        <a:pt x="777972" y="71357"/>
                        <a:pt x="734211" y="52602"/>
                        <a:pt x="727960" y="58854"/>
                      </a:cubicBezTo>
                      <a:cubicBezTo>
                        <a:pt x="734211" y="52602"/>
                        <a:pt x="740463" y="58854"/>
                        <a:pt x="740463" y="58854"/>
                      </a:cubicBezTo>
                      <a:cubicBezTo>
                        <a:pt x="752966" y="58854"/>
                        <a:pt x="765469" y="58854"/>
                        <a:pt x="771720" y="52602"/>
                      </a:cubicBezTo>
                      <a:cubicBezTo>
                        <a:pt x="777972" y="52602"/>
                        <a:pt x="796727" y="40099"/>
                        <a:pt x="790475" y="33847"/>
                      </a:cubicBezTo>
                      <a:cubicBezTo>
                        <a:pt x="777972" y="27596"/>
                        <a:pt x="759217" y="21344"/>
                        <a:pt x="740463" y="15093"/>
                      </a:cubicBezTo>
                      <a:cubicBezTo>
                        <a:pt x="734211" y="8841"/>
                        <a:pt x="727960" y="21344"/>
                        <a:pt x="721708" y="27596"/>
                      </a:cubicBezTo>
                      <a:cubicBezTo>
                        <a:pt x="721708" y="27596"/>
                        <a:pt x="709205" y="46350"/>
                        <a:pt x="709205" y="40099"/>
                      </a:cubicBezTo>
                      <a:cubicBezTo>
                        <a:pt x="709205" y="40099"/>
                        <a:pt x="709205" y="33847"/>
                        <a:pt x="709205" y="27596"/>
                      </a:cubicBezTo>
                      <a:lnTo>
                        <a:pt x="696702" y="27596"/>
                      </a:lnTo>
                      <a:cubicBezTo>
                        <a:pt x="702953" y="21344"/>
                        <a:pt x="715456" y="27596"/>
                        <a:pt x="715456" y="21344"/>
                      </a:cubicBezTo>
                      <a:lnTo>
                        <a:pt x="696702" y="21344"/>
                      </a:lnTo>
                      <a:cubicBezTo>
                        <a:pt x="696702" y="15093"/>
                        <a:pt x="721708" y="15093"/>
                        <a:pt x="721708" y="8841"/>
                      </a:cubicBezTo>
                      <a:cubicBezTo>
                        <a:pt x="715456" y="2589"/>
                        <a:pt x="677947" y="-3662"/>
                        <a:pt x="684199" y="8841"/>
                      </a:cubicBezTo>
                      <a:cubicBezTo>
                        <a:pt x="690450" y="15093"/>
                        <a:pt x="690450" y="15093"/>
                        <a:pt x="684199" y="21344"/>
                      </a:cubicBezTo>
                      <a:cubicBezTo>
                        <a:pt x="677947" y="27596"/>
                        <a:pt x="665444" y="40099"/>
                        <a:pt x="659192" y="40099"/>
                      </a:cubicBezTo>
                      <a:cubicBezTo>
                        <a:pt x="652941" y="40099"/>
                        <a:pt x="659192" y="15093"/>
                        <a:pt x="659192" y="15093"/>
                      </a:cubicBezTo>
                      <a:cubicBezTo>
                        <a:pt x="659192" y="8841"/>
                        <a:pt x="627935" y="52463"/>
                        <a:pt x="621683" y="52463"/>
                      </a:cubicBezTo>
                      <a:cubicBezTo>
                        <a:pt x="602928" y="52463"/>
                        <a:pt x="621683" y="27457"/>
                        <a:pt x="627935" y="21344"/>
                      </a:cubicBezTo>
                      <a:cubicBezTo>
                        <a:pt x="634186" y="21344"/>
                        <a:pt x="640438" y="8841"/>
                        <a:pt x="640438" y="8841"/>
                      </a:cubicBezTo>
                      <a:cubicBezTo>
                        <a:pt x="634186" y="2589"/>
                        <a:pt x="621683" y="-3662"/>
                        <a:pt x="621683" y="2589"/>
                      </a:cubicBezTo>
                      <a:lnTo>
                        <a:pt x="627935" y="8841"/>
                      </a:lnTo>
                      <a:cubicBezTo>
                        <a:pt x="627935" y="8841"/>
                        <a:pt x="615431" y="8841"/>
                        <a:pt x="609180" y="8841"/>
                      </a:cubicBezTo>
                      <a:cubicBezTo>
                        <a:pt x="602928" y="15093"/>
                        <a:pt x="609180" y="8841"/>
                        <a:pt x="602928" y="2589"/>
                      </a:cubicBezTo>
                      <a:lnTo>
                        <a:pt x="590425" y="15093"/>
                      </a:lnTo>
                      <a:cubicBezTo>
                        <a:pt x="590425" y="21344"/>
                        <a:pt x="602928" y="27596"/>
                        <a:pt x="596677" y="27596"/>
                      </a:cubicBezTo>
                      <a:cubicBezTo>
                        <a:pt x="590425" y="27596"/>
                        <a:pt x="590425" y="27596"/>
                        <a:pt x="590425" y="27596"/>
                      </a:cubicBezTo>
                      <a:cubicBezTo>
                        <a:pt x="584174" y="27596"/>
                        <a:pt x="584174" y="33847"/>
                        <a:pt x="584174" y="40099"/>
                      </a:cubicBezTo>
                      <a:cubicBezTo>
                        <a:pt x="590425" y="27596"/>
                        <a:pt x="565419" y="33847"/>
                        <a:pt x="565419" y="33847"/>
                      </a:cubicBezTo>
                      <a:cubicBezTo>
                        <a:pt x="565419" y="33847"/>
                        <a:pt x="577922" y="27596"/>
                        <a:pt x="577922" y="21344"/>
                      </a:cubicBezTo>
                      <a:cubicBezTo>
                        <a:pt x="577922" y="27596"/>
                        <a:pt x="552916" y="33847"/>
                        <a:pt x="546664" y="33847"/>
                      </a:cubicBezTo>
                      <a:cubicBezTo>
                        <a:pt x="540413" y="33847"/>
                        <a:pt x="565419" y="52602"/>
                        <a:pt x="565419" y="52602"/>
                      </a:cubicBezTo>
                      <a:lnTo>
                        <a:pt x="559167" y="65105"/>
                      </a:lnTo>
                      <a:lnTo>
                        <a:pt x="540413" y="46350"/>
                      </a:lnTo>
                      <a:cubicBezTo>
                        <a:pt x="540413" y="46350"/>
                        <a:pt x="527910" y="65105"/>
                        <a:pt x="527910" y="46350"/>
                      </a:cubicBezTo>
                      <a:cubicBezTo>
                        <a:pt x="521658" y="40099"/>
                        <a:pt x="502903" y="52602"/>
                        <a:pt x="496652" y="46350"/>
                      </a:cubicBezTo>
                      <a:cubicBezTo>
                        <a:pt x="502903" y="52602"/>
                        <a:pt x="521658" y="52602"/>
                        <a:pt x="521658" y="58854"/>
                      </a:cubicBezTo>
                      <a:cubicBezTo>
                        <a:pt x="521658" y="58854"/>
                        <a:pt x="515406" y="58854"/>
                        <a:pt x="515406" y="65105"/>
                      </a:cubicBezTo>
                      <a:cubicBezTo>
                        <a:pt x="515406" y="71357"/>
                        <a:pt x="521658" y="71357"/>
                        <a:pt x="521658" y="77608"/>
                      </a:cubicBezTo>
                      <a:cubicBezTo>
                        <a:pt x="521658" y="77608"/>
                        <a:pt x="502903" y="71357"/>
                        <a:pt x="502903" y="65105"/>
                      </a:cubicBezTo>
                      <a:cubicBezTo>
                        <a:pt x="496652" y="65105"/>
                        <a:pt x="496652" y="71357"/>
                        <a:pt x="496652" y="77608"/>
                      </a:cubicBezTo>
                      <a:cubicBezTo>
                        <a:pt x="490400" y="77608"/>
                        <a:pt x="490400" y="71357"/>
                        <a:pt x="490400" y="65105"/>
                      </a:cubicBezTo>
                      <a:lnTo>
                        <a:pt x="477897" y="77608"/>
                      </a:lnTo>
                      <a:cubicBezTo>
                        <a:pt x="471646" y="83860"/>
                        <a:pt x="484149" y="83860"/>
                        <a:pt x="484149" y="90111"/>
                      </a:cubicBezTo>
                      <a:lnTo>
                        <a:pt x="471646" y="90111"/>
                      </a:lnTo>
                      <a:cubicBezTo>
                        <a:pt x="465394" y="83860"/>
                        <a:pt x="471646" y="77608"/>
                        <a:pt x="471646" y="71357"/>
                      </a:cubicBezTo>
                      <a:lnTo>
                        <a:pt x="452891" y="83860"/>
                      </a:lnTo>
                      <a:cubicBezTo>
                        <a:pt x="452891" y="83860"/>
                        <a:pt x="452891" y="83860"/>
                        <a:pt x="459142" y="83860"/>
                      </a:cubicBezTo>
                      <a:cubicBezTo>
                        <a:pt x="452891" y="83860"/>
                        <a:pt x="446639" y="96363"/>
                        <a:pt x="446639" y="96363"/>
                      </a:cubicBezTo>
                      <a:cubicBezTo>
                        <a:pt x="440388" y="90111"/>
                        <a:pt x="452891" y="83860"/>
                        <a:pt x="446639" y="83860"/>
                      </a:cubicBezTo>
                      <a:cubicBezTo>
                        <a:pt x="440388" y="77608"/>
                        <a:pt x="434136" y="77608"/>
                        <a:pt x="434136" y="71357"/>
                      </a:cubicBezTo>
                      <a:lnTo>
                        <a:pt x="446639" y="71357"/>
                      </a:lnTo>
                      <a:cubicBezTo>
                        <a:pt x="446639" y="65105"/>
                        <a:pt x="427885" y="58854"/>
                        <a:pt x="421633" y="58854"/>
                      </a:cubicBezTo>
                      <a:cubicBezTo>
                        <a:pt x="421633" y="65105"/>
                        <a:pt x="427885" y="77608"/>
                        <a:pt x="427885" y="77608"/>
                      </a:cubicBezTo>
                      <a:cubicBezTo>
                        <a:pt x="427885" y="77608"/>
                        <a:pt x="402878" y="83860"/>
                        <a:pt x="409130" y="83860"/>
                      </a:cubicBezTo>
                      <a:lnTo>
                        <a:pt x="421633" y="83860"/>
                      </a:lnTo>
                      <a:lnTo>
                        <a:pt x="415381" y="83860"/>
                      </a:lnTo>
                      <a:cubicBezTo>
                        <a:pt x="421633" y="96363"/>
                        <a:pt x="434136" y="83860"/>
                        <a:pt x="427885" y="83860"/>
                      </a:cubicBezTo>
                      <a:cubicBezTo>
                        <a:pt x="434136" y="90111"/>
                        <a:pt x="427885" y="96363"/>
                        <a:pt x="427885" y="96363"/>
                      </a:cubicBezTo>
                      <a:cubicBezTo>
                        <a:pt x="427885" y="102614"/>
                        <a:pt x="415381" y="90111"/>
                        <a:pt x="415381" y="90111"/>
                      </a:cubicBezTo>
                      <a:cubicBezTo>
                        <a:pt x="409130" y="90111"/>
                        <a:pt x="409130" y="83860"/>
                        <a:pt x="402878" y="83860"/>
                      </a:cubicBezTo>
                      <a:cubicBezTo>
                        <a:pt x="402878" y="83860"/>
                        <a:pt x="396627" y="96363"/>
                        <a:pt x="390375" y="90111"/>
                      </a:cubicBezTo>
                      <a:cubicBezTo>
                        <a:pt x="390375" y="83860"/>
                        <a:pt x="371621" y="96363"/>
                        <a:pt x="371621" y="96363"/>
                      </a:cubicBezTo>
                      <a:lnTo>
                        <a:pt x="371621" y="115118"/>
                      </a:lnTo>
                      <a:cubicBezTo>
                        <a:pt x="371621" y="121369"/>
                        <a:pt x="377872" y="102614"/>
                        <a:pt x="384124" y="108866"/>
                      </a:cubicBezTo>
                      <a:cubicBezTo>
                        <a:pt x="384124" y="108866"/>
                        <a:pt x="396627" y="115118"/>
                        <a:pt x="396627" y="108866"/>
                      </a:cubicBezTo>
                      <a:cubicBezTo>
                        <a:pt x="396627" y="115118"/>
                        <a:pt x="390375" y="115118"/>
                        <a:pt x="390375" y="121369"/>
                      </a:cubicBezTo>
                      <a:cubicBezTo>
                        <a:pt x="384124" y="121369"/>
                        <a:pt x="390375" y="133872"/>
                        <a:pt x="384124" y="133872"/>
                      </a:cubicBezTo>
                      <a:cubicBezTo>
                        <a:pt x="384124" y="140124"/>
                        <a:pt x="377872" y="127621"/>
                        <a:pt x="377872" y="127621"/>
                      </a:cubicBezTo>
                      <a:cubicBezTo>
                        <a:pt x="371621" y="127621"/>
                        <a:pt x="371621" y="140124"/>
                        <a:pt x="365369" y="140124"/>
                      </a:cubicBezTo>
                      <a:lnTo>
                        <a:pt x="365369" y="127621"/>
                      </a:lnTo>
                      <a:cubicBezTo>
                        <a:pt x="359117" y="127621"/>
                        <a:pt x="359117" y="133872"/>
                        <a:pt x="352866" y="133872"/>
                      </a:cubicBezTo>
                      <a:lnTo>
                        <a:pt x="352866" y="121369"/>
                      </a:lnTo>
                      <a:cubicBezTo>
                        <a:pt x="352866" y="115118"/>
                        <a:pt x="346614" y="133872"/>
                        <a:pt x="340363" y="133872"/>
                      </a:cubicBezTo>
                      <a:cubicBezTo>
                        <a:pt x="327860" y="140124"/>
                        <a:pt x="346614" y="102753"/>
                        <a:pt x="346614" y="102753"/>
                      </a:cubicBezTo>
                      <a:cubicBezTo>
                        <a:pt x="340363" y="102753"/>
                        <a:pt x="327860" y="109005"/>
                        <a:pt x="327860" y="109005"/>
                      </a:cubicBezTo>
                      <a:cubicBezTo>
                        <a:pt x="321608" y="115256"/>
                        <a:pt x="334111" y="121508"/>
                        <a:pt x="334111" y="121508"/>
                      </a:cubicBezTo>
                      <a:cubicBezTo>
                        <a:pt x="327860" y="121508"/>
                        <a:pt x="327860" y="121508"/>
                        <a:pt x="321608" y="121508"/>
                      </a:cubicBezTo>
                      <a:cubicBezTo>
                        <a:pt x="321608" y="121508"/>
                        <a:pt x="321608" y="127760"/>
                        <a:pt x="315357" y="134011"/>
                      </a:cubicBezTo>
                      <a:cubicBezTo>
                        <a:pt x="321608" y="127760"/>
                        <a:pt x="290350" y="127760"/>
                        <a:pt x="302853" y="134011"/>
                      </a:cubicBezTo>
                      <a:cubicBezTo>
                        <a:pt x="302853" y="140263"/>
                        <a:pt x="315357" y="134011"/>
                        <a:pt x="315357" y="134011"/>
                      </a:cubicBezTo>
                      <a:cubicBezTo>
                        <a:pt x="315357" y="134011"/>
                        <a:pt x="309105" y="140263"/>
                        <a:pt x="315357" y="140263"/>
                      </a:cubicBezTo>
                      <a:cubicBezTo>
                        <a:pt x="315357" y="140263"/>
                        <a:pt x="321608" y="140263"/>
                        <a:pt x="321608" y="134011"/>
                      </a:cubicBezTo>
                      <a:cubicBezTo>
                        <a:pt x="321608" y="134011"/>
                        <a:pt x="321608" y="146514"/>
                        <a:pt x="315357" y="146514"/>
                      </a:cubicBezTo>
                      <a:cubicBezTo>
                        <a:pt x="309105" y="146514"/>
                        <a:pt x="309105" y="140263"/>
                        <a:pt x="302853" y="140263"/>
                      </a:cubicBezTo>
                      <a:cubicBezTo>
                        <a:pt x="296602" y="146514"/>
                        <a:pt x="296602" y="159017"/>
                        <a:pt x="290350" y="159017"/>
                      </a:cubicBezTo>
                      <a:lnTo>
                        <a:pt x="271596" y="159017"/>
                      </a:lnTo>
                      <a:cubicBezTo>
                        <a:pt x="271596" y="177772"/>
                        <a:pt x="315357" y="152766"/>
                        <a:pt x="315357" y="152766"/>
                      </a:cubicBezTo>
                      <a:cubicBezTo>
                        <a:pt x="321608" y="152766"/>
                        <a:pt x="327860" y="146514"/>
                        <a:pt x="334111" y="152766"/>
                      </a:cubicBezTo>
                      <a:cubicBezTo>
                        <a:pt x="346614" y="152766"/>
                        <a:pt x="340363" y="140263"/>
                        <a:pt x="334111" y="140263"/>
                      </a:cubicBezTo>
                      <a:cubicBezTo>
                        <a:pt x="340363" y="140263"/>
                        <a:pt x="340363" y="140263"/>
                        <a:pt x="340363" y="140263"/>
                      </a:cubicBezTo>
                      <a:cubicBezTo>
                        <a:pt x="346614" y="152766"/>
                        <a:pt x="352866" y="140263"/>
                        <a:pt x="359117" y="140263"/>
                      </a:cubicBezTo>
                      <a:cubicBezTo>
                        <a:pt x="352866" y="140263"/>
                        <a:pt x="352866" y="152766"/>
                        <a:pt x="346614" y="152766"/>
                      </a:cubicBezTo>
                      <a:cubicBezTo>
                        <a:pt x="352866" y="152766"/>
                        <a:pt x="359117" y="152766"/>
                        <a:pt x="359117" y="152766"/>
                      </a:cubicBezTo>
                      <a:cubicBezTo>
                        <a:pt x="359117" y="152766"/>
                        <a:pt x="346614" y="159017"/>
                        <a:pt x="346614" y="165269"/>
                      </a:cubicBezTo>
                      <a:cubicBezTo>
                        <a:pt x="346614" y="165269"/>
                        <a:pt x="377872" y="152766"/>
                        <a:pt x="377872" y="159017"/>
                      </a:cubicBezTo>
                      <a:cubicBezTo>
                        <a:pt x="371621" y="165269"/>
                        <a:pt x="352866" y="159017"/>
                        <a:pt x="352866" y="171520"/>
                      </a:cubicBezTo>
                      <a:cubicBezTo>
                        <a:pt x="346614" y="190275"/>
                        <a:pt x="334111" y="165269"/>
                        <a:pt x="334111" y="165269"/>
                      </a:cubicBezTo>
                      <a:cubicBezTo>
                        <a:pt x="334111" y="159017"/>
                        <a:pt x="334111" y="177772"/>
                        <a:pt x="334111" y="177772"/>
                      </a:cubicBezTo>
                      <a:cubicBezTo>
                        <a:pt x="334111" y="177772"/>
                        <a:pt x="327860" y="165269"/>
                        <a:pt x="321608" y="165269"/>
                      </a:cubicBezTo>
                      <a:cubicBezTo>
                        <a:pt x="315357" y="171520"/>
                        <a:pt x="302853" y="184024"/>
                        <a:pt x="302853" y="190275"/>
                      </a:cubicBezTo>
                      <a:lnTo>
                        <a:pt x="315357" y="184024"/>
                      </a:lnTo>
                      <a:cubicBezTo>
                        <a:pt x="315357" y="190275"/>
                        <a:pt x="327860" y="184024"/>
                        <a:pt x="327860" y="190275"/>
                      </a:cubicBezTo>
                      <a:cubicBezTo>
                        <a:pt x="327860" y="184024"/>
                        <a:pt x="309105" y="190275"/>
                        <a:pt x="309105" y="196527"/>
                      </a:cubicBezTo>
                      <a:cubicBezTo>
                        <a:pt x="315357" y="202778"/>
                        <a:pt x="334111" y="190275"/>
                        <a:pt x="327860" y="202778"/>
                      </a:cubicBezTo>
                      <a:cubicBezTo>
                        <a:pt x="334111" y="190275"/>
                        <a:pt x="290350" y="209030"/>
                        <a:pt x="290350" y="209030"/>
                      </a:cubicBezTo>
                      <a:cubicBezTo>
                        <a:pt x="290350" y="202778"/>
                        <a:pt x="327860" y="215281"/>
                        <a:pt x="321608" y="215281"/>
                      </a:cubicBezTo>
                      <a:cubicBezTo>
                        <a:pt x="315357" y="221533"/>
                        <a:pt x="309105" y="209030"/>
                        <a:pt x="302853" y="215281"/>
                      </a:cubicBezTo>
                      <a:lnTo>
                        <a:pt x="302853" y="215281"/>
                      </a:lnTo>
                      <a:cubicBezTo>
                        <a:pt x="302853" y="221533"/>
                        <a:pt x="284099" y="209030"/>
                        <a:pt x="277847" y="221533"/>
                      </a:cubicBezTo>
                      <a:lnTo>
                        <a:pt x="296602" y="221533"/>
                      </a:lnTo>
                      <a:cubicBezTo>
                        <a:pt x="284099" y="234036"/>
                        <a:pt x="271596" y="221533"/>
                        <a:pt x="277847" y="240288"/>
                      </a:cubicBezTo>
                      <a:lnTo>
                        <a:pt x="265344" y="246539"/>
                      </a:lnTo>
                      <a:cubicBezTo>
                        <a:pt x="259092" y="252791"/>
                        <a:pt x="259092" y="252791"/>
                        <a:pt x="259092" y="252791"/>
                      </a:cubicBezTo>
                      <a:cubicBezTo>
                        <a:pt x="259092" y="259042"/>
                        <a:pt x="252841" y="259042"/>
                        <a:pt x="252841" y="259042"/>
                      </a:cubicBezTo>
                      <a:cubicBezTo>
                        <a:pt x="252841" y="265294"/>
                        <a:pt x="259092" y="259042"/>
                        <a:pt x="259092" y="259042"/>
                      </a:cubicBezTo>
                      <a:cubicBezTo>
                        <a:pt x="265344" y="259042"/>
                        <a:pt x="259092" y="265294"/>
                        <a:pt x="259092" y="265294"/>
                      </a:cubicBezTo>
                      <a:cubicBezTo>
                        <a:pt x="265344" y="265294"/>
                        <a:pt x="277847" y="271545"/>
                        <a:pt x="284099" y="265294"/>
                      </a:cubicBezTo>
                      <a:cubicBezTo>
                        <a:pt x="271596" y="271545"/>
                        <a:pt x="271596" y="271545"/>
                        <a:pt x="259092" y="271545"/>
                      </a:cubicBezTo>
                      <a:cubicBezTo>
                        <a:pt x="252841" y="271545"/>
                        <a:pt x="234086" y="271545"/>
                        <a:pt x="234086" y="277797"/>
                      </a:cubicBezTo>
                      <a:lnTo>
                        <a:pt x="240338" y="277797"/>
                      </a:lnTo>
                      <a:lnTo>
                        <a:pt x="234086" y="284049"/>
                      </a:lnTo>
                      <a:cubicBezTo>
                        <a:pt x="234086" y="284049"/>
                        <a:pt x="246589" y="277797"/>
                        <a:pt x="246589" y="284049"/>
                      </a:cubicBezTo>
                      <a:lnTo>
                        <a:pt x="234086" y="296552"/>
                      </a:lnTo>
                      <a:cubicBezTo>
                        <a:pt x="234086" y="296552"/>
                        <a:pt x="240338" y="296552"/>
                        <a:pt x="240338" y="302803"/>
                      </a:cubicBezTo>
                      <a:lnTo>
                        <a:pt x="227835" y="302803"/>
                      </a:lnTo>
                      <a:lnTo>
                        <a:pt x="240338" y="309055"/>
                      </a:lnTo>
                      <a:cubicBezTo>
                        <a:pt x="234086" y="309055"/>
                        <a:pt x="227835" y="309055"/>
                        <a:pt x="227835" y="309055"/>
                      </a:cubicBezTo>
                      <a:cubicBezTo>
                        <a:pt x="227835" y="315306"/>
                        <a:pt x="234086" y="321558"/>
                        <a:pt x="240338" y="321558"/>
                      </a:cubicBezTo>
                      <a:cubicBezTo>
                        <a:pt x="227835" y="321558"/>
                        <a:pt x="215332" y="321558"/>
                        <a:pt x="209080" y="334061"/>
                      </a:cubicBezTo>
                      <a:cubicBezTo>
                        <a:pt x="209080" y="340313"/>
                        <a:pt x="184074" y="334061"/>
                        <a:pt x="184074" y="334061"/>
                      </a:cubicBezTo>
                      <a:cubicBezTo>
                        <a:pt x="184074" y="352816"/>
                        <a:pt x="221583" y="334061"/>
                        <a:pt x="227835" y="334061"/>
                      </a:cubicBezTo>
                      <a:cubicBezTo>
                        <a:pt x="221583" y="334061"/>
                        <a:pt x="215332" y="346564"/>
                        <a:pt x="215332" y="346564"/>
                      </a:cubicBezTo>
                      <a:cubicBezTo>
                        <a:pt x="196577" y="346564"/>
                        <a:pt x="209080" y="352816"/>
                        <a:pt x="202828" y="359067"/>
                      </a:cubicBezTo>
                      <a:cubicBezTo>
                        <a:pt x="196577" y="365319"/>
                        <a:pt x="184074" y="352816"/>
                        <a:pt x="177822" y="359067"/>
                      </a:cubicBezTo>
                      <a:cubicBezTo>
                        <a:pt x="177822" y="365319"/>
                        <a:pt x="159067" y="377822"/>
                        <a:pt x="159067" y="377822"/>
                      </a:cubicBezTo>
                      <a:cubicBezTo>
                        <a:pt x="159067" y="384074"/>
                        <a:pt x="165319" y="384074"/>
                        <a:pt x="165319" y="384074"/>
                      </a:cubicBezTo>
                      <a:cubicBezTo>
                        <a:pt x="165319" y="390325"/>
                        <a:pt x="146564" y="390325"/>
                        <a:pt x="146564" y="390325"/>
                      </a:cubicBezTo>
                      <a:cubicBezTo>
                        <a:pt x="146564" y="390325"/>
                        <a:pt x="152816" y="396577"/>
                        <a:pt x="152816" y="402828"/>
                      </a:cubicBezTo>
                      <a:cubicBezTo>
                        <a:pt x="152816" y="409080"/>
                        <a:pt x="165319" y="402828"/>
                        <a:pt x="171571" y="402828"/>
                      </a:cubicBezTo>
                      <a:cubicBezTo>
                        <a:pt x="177822" y="396577"/>
                        <a:pt x="184074" y="402828"/>
                        <a:pt x="190325" y="396577"/>
                      </a:cubicBezTo>
                      <a:cubicBezTo>
                        <a:pt x="190325" y="396577"/>
                        <a:pt x="184074" y="390325"/>
                        <a:pt x="184074" y="384074"/>
                      </a:cubicBezTo>
                      <a:cubicBezTo>
                        <a:pt x="184074" y="384074"/>
                        <a:pt x="196577" y="390325"/>
                        <a:pt x="202828" y="396577"/>
                      </a:cubicBezTo>
                      <a:lnTo>
                        <a:pt x="184074" y="409080"/>
                      </a:lnTo>
                      <a:cubicBezTo>
                        <a:pt x="177822" y="409080"/>
                        <a:pt x="171571" y="415331"/>
                        <a:pt x="171571" y="409080"/>
                      </a:cubicBezTo>
                      <a:cubicBezTo>
                        <a:pt x="165319" y="402828"/>
                        <a:pt x="159067" y="415331"/>
                        <a:pt x="152816" y="415331"/>
                      </a:cubicBezTo>
                      <a:cubicBezTo>
                        <a:pt x="146564" y="409080"/>
                        <a:pt x="146564" y="390325"/>
                        <a:pt x="140313" y="409080"/>
                      </a:cubicBezTo>
                      <a:cubicBezTo>
                        <a:pt x="127810" y="434086"/>
                        <a:pt x="121558" y="402828"/>
                        <a:pt x="127810" y="402828"/>
                      </a:cubicBezTo>
                      <a:cubicBezTo>
                        <a:pt x="115307" y="402828"/>
                        <a:pt x="127810" y="427834"/>
                        <a:pt x="115307" y="421583"/>
                      </a:cubicBezTo>
                      <a:cubicBezTo>
                        <a:pt x="90300" y="421583"/>
                        <a:pt x="109055" y="434086"/>
                        <a:pt x="102803" y="440338"/>
                      </a:cubicBezTo>
                      <a:cubicBezTo>
                        <a:pt x="96552" y="440338"/>
                        <a:pt x="96552" y="427834"/>
                        <a:pt x="96552" y="427834"/>
                      </a:cubicBezTo>
                      <a:cubicBezTo>
                        <a:pt x="84049" y="427834"/>
                        <a:pt x="71546" y="434086"/>
                        <a:pt x="65294" y="440338"/>
                      </a:cubicBezTo>
                      <a:cubicBezTo>
                        <a:pt x="65294" y="446589"/>
                        <a:pt x="90300" y="446589"/>
                        <a:pt x="96552" y="446589"/>
                      </a:cubicBezTo>
                      <a:lnTo>
                        <a:pt x="115307" y="440338"/>
                      </a:lnTo>
                      <a:cubicBezTo>
                        <a:pt x="121558" y="446589"/>
                        <a:pt x="90300" y="446589"/>
                        <a:pt x="90300" y="446589"/>
                      </a:cubicBezTo>
                      <a:cubicBezTo>
                        <a:pt x="84049" y="446589"/>
                        <a:pt x="84049" y="452841"/>
                        <a:pt x="77797" y="452841"/>
                      </a:cubicBezTo>
                      <a:cubicBezTo>
                        <a:pt x="71546" y="452841"/>
                        <a:pt x="65294" y="452841"/>
                        <a:pt x="59043" y="452841"/>
                      </a:cubicBezTo>
                      <a:cubicBezTo>
                        <a:pt x="46539" y="446589"/>
                        <a:pt x="40288" y="452841"/>
                        <a:pt x="52791" y="459092"/>
                      </a:cubicBezTo>
                      <a:cubicBezTo>
                        <a:pt x="59043" y="459092"/>
                        <a:pt x="71546" y="459092"/>
                        <a:pt x="71546" y="471595"/>
                      </a:cubicBezTo>
                      <a:cubicBezTo>
                        <a:pt x="71546" y="471595"/>
                        <a:pt x="65294" y="484098"/>
                        <a:pt x="65294" y="477847"/>
                      </a:cubicBezTo>
                      <a:cubicBezTo>
                        <a:pt x="59043" y="477847"/>
                        <a:pt x="71546" y="465344"/>
                        <a:pt x="59043" y="459092"/>
                      </a:cubicBezTo>
                      <a:cubicBezTo>
                        <a:pt x="40288" y="459092"/>
                        <a:pt x="52791" y="465344"/>
                        <a:pt x="46539" y="471595"/>
                      </a:cubicBezTo>
                      <a:cubicBezTo>
                        <a:pt x="46539" y="471595"/>
                        <a:pt x="46539" y="452841"/>
                        <a:pt x="40288" y="452841"/>
                      </a:cubicBezTo>
                      <a:cubicBezTo>
                        <a:pt x="40288" y="446589"/>
                        <a:pt x="27785" y="483960"/>
                        <a:pt x="34036" y="477847"/>
                      </a:cubicBezTo>
                      <a:cubicBezTo>
                        <a:pt x="27785" y="477847"/>
                        <a:pt x="27785" y="465344"/>
                        <a:pt x="27785" y="465344"/>
                      </a:cubicBezTo>
                      <a:cubicBezTo>
                        <a:pt x="21533" y="465344"/>
                        <a:pt x="21533" y="477847"/>
                        <a:pt x="21533" y="477847"/>
                      </a:cubicBezTo>
                      <a:cubicBezTo>
                        <a:pt x="15282" y="484098"/>
                        <a:pt x="2778" y="477847"/>
                        <a:pt x="2778" y="484098"/>
                      </a:cubicBezTo>
                      <a:cubicBezTo>
                        <a:pt x="2778" y="490350"/>
                        <a:pt x="-3473" y="496602"/>
                        <a:pt x="2778" y="496602"/>
                      </a:cubicBezTo>
                      <a:cubicBezTo>
                        <a:pt x="9030" y="496602"/>
                        <a:pt x="15282" y="496602"/>
                        <a:pt x="21533" y="502853"/>
                      </a:cubicBezTo>
                      <a:cubicBezTo>
                        <a:pt x="21533" y="502853"/>
                        <a:pt x="-3473" y="509105"/>
                        <a:pt x="2778" y="515356"/>
                      </a:cubicBezTo>
                      <a:cubicBezTo>
                        <a:pt x="2778" y="521608"/>
                        <a:pt x="15282" y="521608"/>
                        <a:pt x="15282" y="521608"/>
                      </a:cubicBezTo>
                      <a:cubicBezTo>
                        <a:pt x="15282" y="521608"/>
                        <a:pt x="34036" y="515356"/>
                        <a:pt x="34036" y="521608"/>
                      </a:cubicBezTo>
                      <a:cubicBezTo>
                        <a:pt x="27785" y="527859"/>
                        <a:pt x="9030" y="521608"/>
                        <a:pt x="2778" y="534111"/>
                      </a:cubicBezTo>
                      <a:cubicBezTo>
                        <a:pt x="-3473" y="540363"/>
                        <a:pt x="34036" y="540363"/>
                        <a:pt x="21533" y="552866"/>
                      </a:cubicBezTo>
                      <a:cubicBezTo>
                        <a:pt x="21533" y="552866"/>
                        <a:pt x="15282" y="540363"/>
                        <a:pt x="9030" y="546614"/>
                      </a:cubicBezTo>
                      <a:cubicBezTo>
                        <a:pt x="2778" y="552866"/>
                        <a:pt x="2778" y="559117"/>
                        <a:pt x="9030" y="565369"/>
                      </a:cubicBezTo>
                      <a:cubicBezTo>
                        <a:pt x="15282" y="565369"/>
                        <a:pt x="27785" y="571620"/>
                        <a:pt x="34036" y="571620"/>
                      </a:cubicBezTo>
                      <a:cubicBezTo>
                        <a:pt x="40288" y="565369"/>
                        <a:pt x="46539" y="552866"/>
                        <a:pt x="52791" y="559117"/>
                      </a:cubicBezTo>
                      <a:cubicBezTo>
                        <a:pt x="46539" y="559117"/>
                        <a:pt x="40288" y="565369"/>
                        <a:pt x="40288" y="565369"/>
                      </a:cubicBezTo>
                      <a:cubicBezTo>
                        <a:pt x="40288" y="571620"/>
                        <a:pt x="34036" y="571620"/>
                        <a:pt x="27785" y="571620"/>
                      </a:cubicBezTo>
                      <a:cubicBezTo>
                        <a:pt x="27785" y="571620"/>
                        <a:pt x="40288" y="577872"/>
                        <a:pt x="40288" y="584123"/>
                      </a:cubicBezTo>
                      <a:cubicBezTo>
                        <a:pt x="40288" y="584123"/>
                        <a:pt x="21533" y="571620"/>
                        <a:pt x="27785" y="584123"/>
                      </a:cubicBezTo>
                      <a:cubicBezTo>
                        <a:pt x="27785" y="590375"/>
                        <a:pt x="46539" y="596627"/>
                        <a:pt x="46539" y="596627"/>
                      </a:cubicBezTo>
                      <a:cubicBezTo>
                        <a:pt x="46539" y="602878"/>
                        <a:pt x="27785" y="590375"/>
                        <a:pt x="21533" y="596627"/>
                      </a:cubicBezTo>
                      <a:cubicBezTo>
                        <a:pt x="9030" y="596627"/>
                        <a:pt x="21533" y="577872"/>
                        <a:pt x="15282" y="577872"/>
                      </a:cubicBezTo>
                      <a:cubicBezTo>
                        <a:pt x="15282" y="577872"/>
                        <a:pt x="2778" y="590375"/>
                        <a:pt x="9030" y="596627"/>
                      </a:cubicBezTo>
                      <a:cubicBezTo>
                        <a:pt x="15282" y="596627"/>
                        <a:pt x="9030" y="609130"/>
                        <a:pt x="9030" y="609130"/>
                      </a:cubicBezTo>
                      <a:cubicBezTo>
                        <a:pt x="15282" y="615381"/>
                        <a:pt x="21533" y="602878"/>
                        <a:pt x="27785" y="596627"/>
                      </a:cubicBezTo>
                      <a:lnTo>
                        <a:pt x="27785" y="602878"/>
                      </a:lnTo>
                      <a:cubicBezTo>
                        <a:pt x="34036" y="602878"/>
                        <a:pt x="34036" y="596627"/>
                        <a:pt x="40288" y="596627"/>
                      </a:cubicBezTo>
                      <a:cubicBezTo>
                        <a:pt x="40288" y="596627"/>
                        <a:pt x="40288" y="609130"/>
                        <a:pt x="34036" y="609130"/>
                      </a:cubicBezTo>
                      <a:cubicBezTo>
                        <a:pt x="21533" y="615381"/>
                        <a:pt x="46539" y="627884"/>
                        <a:pt x="46539" y="621633"/>
                      </a:cubicBezTo>
                      <a:cubicBezTo>
                        <a:pt x="46539" y="634136"/>
                        <a:pt x="2778" y="621633"/>
                        <a:pt x="27785" y="640387"/>
                      </a:cubicBezTo>
                      <a:cubicBezTo>
                        <a:pt x="40288" y="646639"/>
                        <a:pt x="46539" y="652891"/>
                        <a:pt x="59043" y="652891"/>
                      </a:cubicBezTo>
                      <a:cubicBezTo>
                        <a:pt x="59043" y="652891"/>
                        <a:pt x="77797" y="665394"/>
                        <a:pt x="84049" y="665394"/>
                      </a:cubicBezTo>
                      <a:cubicBezTo>
                        <a:pt x="102803" y="665394"/>
                        <a:pt x="127810" y="646639"/>
                        <a:pt x="140313" y="634275"/>
                      </a:cubicBezTo>
                      <a:cubicBezTo>
                        <a:pt x="146564" y="621772"/>
                        <a:pt x="152816" y="621772"/>
                        <a:pt x="165319" y="615520"/>
                      </a:cubicBezTo>
                      <a:cubicBezTo>
                        <a:pt x="171571" y="609269"/>
                        <a:pt x="171571" y="590514"/>
                        <a:pt x="177822" y="590514"/>
                      </a:cubicBezTo>
                      <a:cubicBezTo>
                        <a:pt x="177822" y="590514"/>
                        <a:pt x="177822" y="609269"/>
                        <a:pt x="184074" y="609269"/>
                      </a:cubicBezTo>
                      <a:cubicBezTo>
                        <a:pt x="196577" y="615520"/>
                        <a:pt x="190325" y="615520"/>
                        <a:pt x="190325" y="621772"/>
                      </a:cubicBezTo>
                      <a:cubicBezTo>
                        <a:pt x="196577" y="619827"/>
                        <a:pt x="202828" y="619827"/>
                        <a:pt x="209080" y="626078"/>
                      </a:cubicBezTo>
                      <a:cubicBezTo>
                        <a:pt x="209080" y="632330"/>
                        <a:pt x="202828" y="619827"/>
                        <a:pt x="209080" y="62607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4" name="Freihandform: Form 363">
                  <a:extLst>
                    <a:ext uri="{FF2B5EF4-FFF2-40B4-BE49-F238E27FC236}">
                      <a16:creationId xmlns:a16="http://schemas.microsoft.com/office/drawing/2014/main" id="{EB1F6A5F-E767-4FB2-B551-ABD24F2AFDBA}"/>
                    </a:ext>
                  </a:extLst>
                </p:cNvPr>
                <p:cNvSpPr/>
                <p:nvPr/>
              </p:nvSpPr>
              <p:spPr>
                <a:xfrm>
                  <a:off x="6923112" y="1421911"/>
                  <a:ext cx="5043431" cy="1742206"/>
                </a:xfrm>
                <a:custGeom>
                  <a:avLst/>
                  <a:gdLst>
                    <a:gd name="connsiteX0" fmla="*/ 5036485 w 5043431"/>
                    <a:gd name="connsiteY0" fmla="*/ 687899 h 1742206"/>
                    <a:gd name="connsiteX1" fmla="*/ 4992863 w 5043431"/>
                    <a:gd name="connsiteY1" fmla="*/ 656781 h 1742206"/>
                    <a:gd name="connsiteX2" fmla="*/ 4967857 w 5043431"/>
                    <a:gd name="connsiteY2" fmla="*/ 638165 h 1742206"/>
                    <a:gd name="connsiteX3" fmla="*/ 4942990 w 5043431"/>
                    <a:gd name="connsiteY3" fmla="*/ 631913 h 1742206"/>
                    <a:gd name="connsiteX4" fmla="*/ 4949242 w 5043431"/>
                    <a:gd name="connsiteY4" fmla="*/ 638165 h 1742206"/>
                    <a:gd name="connsiteX5" fmla="*/ 4930626 w 5043431"/>
                    <a:gd name="connsiteY5" fmla="*/ 638165 h 1742206"/>
                    <a:gd name="connsiteX6" fmla="*/ 4936878 w 5043431"/>
                    <a:gd name="connsiteY6" fmla="*/ 631913 h 1742206"/>
                    <a:gd name="connsiteX7" fmla="*/ 4893256 w 5043431"/>
                    <a:gd name="connsiteY7" fmla="*/ 631913 h 1742206"/>
                    <a:gd name="connsiteX8" fmla="*/ 4905759 w 5043431"/>
                    <a:gd name="connsiteY8" fmla="*/ 656781 h 1742206"/>
                    <a:gd name="connsiteX9" fmla="*/ 4912010 w 5043431"/>
                    <a:gd name="connsiteY9" fmla="*/ 675396 h 1742206"/>
                    <a:gd name="connsiteX10" fmla="*/ 4905759 w 5043431"/>
                    <a:gd name="connsiteY10" fmla="*/ 669145 h 1742206"/>
                    <a:gd name="connsiteX11" fmla="*/ 4893256 w 5043431"/>
                    <a:gd name="connsiteY11" fmla="*/ 675396 h 1742206"/>
                    <a:gd name="connsiteX12" fmla="*/ 4880753 w 5043431"/>
                    <a:gd name="connsiteY12" fmla="*/ 650529 h 1742206"/>
                    <a:gd name="connsiteX13" fmla="*/ 4880753 w 5043431"/>
                    <a:gd name="connsiteY13" fmla="*/ 644277 h 1742206"/>
                    <a:gd name="connsiteX14" fmla="*/ 4880753 w 5043431"/>
                    <a:gd name="connsiteY14" fmla="*/ 625662 h 1742206"/>
                    <a:gd name="connsiteX15" fmla="*/ 4868249 w 5043431"/>
                    <a:gd name="connsiteY15" fmla="*/ 613158 h 1742206"/>
                    <a:gd name="connsiteX16" fmla="*/ 4849633 w 5043431"/>
                    <a:gd name="connsiteY16" fmla="*/ 600655 h 1742206"/>
                    <a:gd name="connsiteX17" fmla="*/ 4724880 w 5043431"/>
                    <a:gd name="connsiteY17" fmla="*/ 538418 h 1742206"/>
                    <a:gd name="connsiteX18" fmla="*/ 4699874 w 5043431"/>
                    <a:gd name="connsiteY18" fmla="*/ 519802 h 1742206"/>
                    <a:gd name="connsiteX19" fmla="*/ 4668755 w 5043431"/>
                    <a:gd name="connsiteY19" fmla="*/ 507299 h 1742206"/>
                    <a:gd name="connsiteX20" fmla="*/ 4606378 w 5043431"/>
                    <a:gd name="connsiteY20" fmla="*/ 482431 h 1742206"/>
                    <a:gd name="connsiteX21" fmla="*/ 4550253 w 5043431"/>
                    <a:gd name="connsiteY21" fmla="*/ 482431 h 1742206"/>
                    <a:gd name="connsiteX22" fmla="*/ 4525386 w 5043431"/>
                    <a:gd name="connsiteY22" fmla="*/ 482431 h 1742206"/>
                    <a:gd name="connsiteX23" fmla="*/ 4519134 w 5043431"/>
                    <a:gd name="connsiteY23" fmla="*/ 476180 h 1742206"/>
                    <a:gd name="connsiteX24" fmla="*/ 4506631 w 5043431"/>
                    <a:gd name="connsiteY24" fmla="*/ 482431 h 1742206"/>
                    <a:gd name="connsiteX25" fmla="*/ 4450645 w 5043431"/>
                    <a:gd name="connsiteY25" fmla="*/ 469928 h 1742206"/>
                    <a:gd name="connsiteX26" fmla="*/ 4425639 w 5043431"/>
                    <a:gd name="connsiteY26" fmla="*/ 476180 h 1742206"/>
                    <a:gd name="connsiteX27" fmla="*/ 4425639 w 5043431"/>
                    <a:gd name="connsiteY27" fmla="*/ 494796 h 1742206"/>
                    <a:gd name="connsiteX28" fmla="*/ 4419387 w 5043431"/>
                    <a:gd name="connsiteY28" fmla="*/ 538279 h 1742206"/>
                    <a:gd name="connsiteX29" fmla="*/ 4388268 w 5043431"/>
                    <a:gd name="connsiteY29" fmla="*/ 532027 h 1742206"/>
                    <a:gd name="connsiteX30" fmla="*/ 4363262 w 5043431"/>
                    <a:gd name="connsiteY30" fmla="*/ 519524 h 1742206"/>
                    <a:gd name="connsiteX31" fmla="*/ 4350897 w 5043431"/>
                    <a:gd name="connsiteY31" fmla="*/ 500908 h 1742206"/>
                    <a:gd name="connsiteX32" fmla="*/ 4325891 w 5043431"/>
                    <a:gd name="connsiteY32" fmla="*/ 494657 h 1742206"/>
                    <a:gd name="connsiteX33" fmla="*/ 4251012 w 5043431"/>
                    <a:gd name="connsiteY33" fmla="*/ 494657 h 1742206"/>
                    <a:gd name="connsiteX34" fmla="*/ 4176132 w 5043431"/>
                    <a:gd name="connsiteY34" fmla="*/ 488405 h 1742206"/>
                    <a:gd name="connsiteX35" fmla="*/ 4144874 w 5043431"/>
                    <a:gd name="connsiteY35" fmla="*/ 494657 h 1742206"/>
                    <a:gd name="connsiteX36" fmla="*/ 4138622 w 5043431"/>
                    <a:gd name="connsiteY36" fmla="*/ 532027 h 1742206"/>
                    <a:gd name="connsiteX37" fmla="*/ 4138622 w 5043431"/>
                    <a:gd name="connsiteY37" fmla="*/ 532027 h 1742206"/>
                    <a:gd name="connsiteX38" fmla="*/ 4120007 w 5043431"/>
                    <a:gd name="connsiteY38" fmla="*/ 494657 h 1742206"/>
                    <a:gd name="connsiteX39" fmla="*/ 4082497 w 5043431"/>
                    <a:gd name="connsiteY39" fmla="*/ 482154 h 1742206"/>
                    <a:gd name="connsiteX40" fmla="*/ 4082497 w 5043431"/>
                    <a:gd name="connsiteY40" fmla="*/ 438671 h 1742206"/>
                    <a:gd name="connsiteX41" fmla="*/ 4038876 w 5043431"/>
                    <a:gd name="connsiteY41" fmla="*/ 420055 h 1742206"/>
                    <a:gd name="connsiteX42" fmla="*/ 3920373 w 5043431"/>
                    <a:gd name="connsiteY42" fmla="*/ 426306 h 1742206"/>
                    <a:gd name="connsiteX43" fmla="*/ 3857997 w 5043431"/>
                    <a:gd name="connsiteY43" fmla="*/ 426306 h 1742206"/>
                    <a:gd name="connsiteX44" fmla="*/ 3845633 w 5043431"/>
                    <a:gd name="connsiteY44" fmla="*/ 426306 h 1742206"/>
                    <a:gd name="connsiteX45" fmla="*/ 3851884 w 5043431"/>
                    <a:gd name="connsiteY45" fmla="*/ 413803 h 1742206"/>
                    <a:gd name="connsiteX46" fmla="*/ 3820766 w 5043431"/>
                    <a:gd name="connsiteY46" fmla="*/ 401300 h 1742206"/>
                    <a:gd name="connsiteX47" fmla="*/ 3783256 w 5043431"/>
                    <a:gd name="connsiteY47" fmla="*/ 401300 h 1742206"/>
                    <a:gd name="connsiteX48" fmla="*/ 3802011 w 5043431"/>
                    <a:gd name="connsiteY48" fmla="*/ 388797 h 1742206"/>
                    <a:gd name="connsiteX49" fmla="*/ 3783256 w 5043431"/>
                    <a:gd name="connsiteY49" fmla="*/ 395049 h 1742206"/>
                    <a:gd name="connsiteX50" fmla="*/ 3764502 w 5043431"/>
                    <a:gd name="connsiteY50" fmla="*/ 382545 h 1742206"/>
                    <a:gd name="connsiteX51" fmla="*/ 3751998 w 5043431"/>
                    <a:gd name="connsiteY51" fmla="*/ 370042 h 1742206"/>
                    <a:gd name="connsiteX52" fmla="*/ 3777005 w 5043431"/>
                    <a:gd name="connsiteY52" fmla="*/ 370042 h 1742206"/>
                    <a:gd name="connsiteX53" fmla="*/ 3764502 w 5043431"/>
                    <a:gd name="connsiteY53" fmla="*/ 351427 h 1742206"/>
                    <a:gd name="connsiteX54" fmla="*/ 3702124 w 5043431"/>
                    <a:gd name="connsiteY54" fmla="*/ 338923 h 1742206"/>
                    <a:gd name="connsiteX55" fmla="*/ 3671006 w 5043431"/>
                    <a:gd name="connsiteY55" fmla="*/ 363791 h 1742206"/>
                    <a:gd name="connsiteX56" fmla="*/ 3627245 w 5043431"/>
                    <a:gd name="connsiteY56" fmla="*/ 370042 h 1742206"/>
                    <a:gd name="connsiteX57" fmla="*/ 3652251 w 5043431"/>
                    <a:gd name="connsiteY57" fmla="*/ 363791 h 1742206"/>
                    <a:gd name="connsiteX58" fmla="*/ 3639748 w 5043431"/>
                    <a:gd name="connsiteY58" fmla="*/ 345175 h 1742206"/>
                    <a:gd name="connsiteX59" fmla="*/ 3602377 w 5043431"/>
                    <a:gd name="connsiteY59" fmla="*/ 345175 h 1742206"/>
                    <a:gd name="connsiteX60" fmla="*/ 3633496 w 5043431"/>
                    <a:gd name="connsiteY60" fmla="*/ 332672 h 1742206"/>
                    <a:gd name="connsiteX61" fmla="*/ 3683370 w 5043431"/>
                    <a:gd name="connsiteY61" fmla="*/ 338923 h 1742206"/>
                    <a:gd name="connsiteX62" fmla="*/ 3639748 w 5043431"/>
                    <a:gd name="connsiteY62" fmla="*/ 326420 h 1742206"/>
                    <a:gd name="connsiteX63" fmla="*/ 3602377 w 5043431"/>
                    <a:gd name="connsiteY63" fmla="*/ 326420 h 1742206"/>
                    <a:gd name="connsiteX64" fmla="*/ 3527498 w 5043431"/>
                    <a:gd name="connsiteY64" fmla="*/ 313917 h 1742206"/>
                    <a:gd name="connsiteX65" fmla="*/ 3496240 w 5043431"/>
                    <a:gd name="connsiteY65" fmla="*/ 307666 h 1742206"/>
                    <a:gd name="connsiteX66" fmla="*/ 3496240 w 5043431"/>
                    <a:gd name="connsiteY66" fmla="*/ 320169 h 1742206"/>
                    <a:gd name="connsiteX67" fmla="*/ 3477624 w 5043431"/>
                    <a:gd name="connsiteY67" fmla="*/ 326420 h 1742206"/>
                    <a:gd name="connsiteX68" fmla="*/ 3446505 w 5043431"/>
                    <a:gd name="connsiteY68" fmla="*/ 345036 h 1742206"/>
                    <a:gd name="connsiteX69" fmla="*/ 3471511 w 5043431"/>
                    <a:gd name="connsiteY69" fmla="*/ 345036 h 1742206"/>
                    <a:gd name="connsiteX70" fmla="*/ 3459008 w 5043431"/>
                    <a:gd name="connsiteY70" fmla="*/ 363652 h 1742206"/>
                    <a:gd name="connsiteX71" fmla="*/ 3459008 w 5043431"/>
                    <a:gd name="connsiteY71" fmla="*/ 376155 h 1742206"/>
                    <a:gd name="connsiteX72" fmla="*/ 3471511 w 5043431"/>
                    <a:gd name="connsiteY72" fmla="*/ 388658 h 1742206"/>
                    <a:gd name="connsiteX73" fmla="*/ 3440392 w 5043431"/>
                    <a:gd name="connsiteY73" fmla="*/ 388658 h 1742206"/>
                    <a:gd name="connsiteX74" fmla="*/ 3440392 w 5043431"/>
                    <a:gd name="connsiteY74" fmla="*/ 382406 h 1742206"/>
                    <a:gd name="connsiteX75" fmla="*/ 3415386 w 5043431"/>
                    <a:gd name="connsiteY75" fmla="*/ 382406 h 1742206"/>
                    <a:gd name="connsiteX76" fmla="*/ 3384267 w 5043431"/>
                    <a:gd name="connsiteY76" fmla="*/ 382406 h 1742206"/>
                    <a:gd name="connsiteX77" fmla="*/ 3402883 w 5043431"/>
                    <a:gd name="connsiteY77" fmla="*/ 388658 h 1742206"/>
                    <a:gd name="connsiteX78" fmla="*/ 3396631 w 5043431"/>
                    <a:gd name="connsiteY78" fmla="*/ 401161 h 1742206"/>
                    <a:gd name="connsiteX79" fmla="*/ 3390380 w 5043431"/>
                    <a:gd name="connsiteY79" fmla="*/ 388658 h 1742206"/>
                    <a:gd name="connsiteX80" fmla="*/ 3371764 w 5043431"/>
                    <a:gd name="connsiteY80" fmla="*/ 388658 h 1742206"/>
                    <a:gd name="connsiteX81" fmla="*/ 3328142 w 5043431"/>
                    <a:gd name="connsiteY81" fmla="*/ 382406 h 1742206"/>
                    <a:gd name="connsiteX82" fmla="*/ 3278130 w 5043431"/>
                    <a:gd name="connsiteY82" fmla="*/ 388658 h 1742206"/>
                    <a:gd name="connsiteX83" fmla="*/ 3247011 w 5043431"/>
                    <a:gd name="connsiteY83" fmla="*/ 363791 h 1742206"/>
                    <a:gd name="connsiteX84" fmla="*/ 3222005 w 5043431"/>
                    <a:gd name="connsiteY84" fmla="*/ 382406 h 1742206"/>
                    <a:gd name="connsiteX85" fmla="*/ 3190886 w 5043431"/>
                    <a:gd name="connsiteY85" fmla="*/ 425890 h 1742206"/>
                    <a:gd name="connsiteX86" fmla="*/ 3153515 w 5043431"/>
                    <a:gd name="connsiteY86" fmla="*/ 407274 h 1742206"/>
                    <a:gd name="connsiteX87" fmla="*/ 3128509 w 5043431"/>
                    <a:gd name="connsiteY87" fmla="*/ 382406 h 1742206"/>
                    <a:gd name="connsiteX88" fmla="*/ 3103503 w 5043431"/>
                    <a:gd name="connsiteY88" fmla="*/ 357539 h 1742206"/>
                    <a:gd name="connsiteX89" fmla="*/ 3122118 w 5043431"/>
                    <a:gd name="connsiteY89" fmla="*/ 351288 h 1742206"/>
                    <a:gd name="connsiteX90" fmla="*/ 3140873 w 5043431"/>
                    <a:gd name="connsiteY90" fmla="*/ 338784 h 1742206"/>
                    <a:gd name="connsiteX91" fmla="*/ 3109754 w 5043431"/>
                    <a:gd name="connsiteY91" fmla="*/ 320169 h 1742206"/>
                    <a:gd name="connsiteX92" fmla="*/ 3128370 w 5043431"/>
                    <a:gd name="connsiteY92" fmla="*/ 313917 h 1742206"/>
                    <a:gd name="connsiteX93" fmla="*/ 3109754 w 5043431"/>
                    <a:gd name="connsiteY93" fmla="*/ 307666 h 1742206"/>
                    <a:gd name="connsiteX94" fmla="*/ 3109754 w 5043431"/>
                    <a:gd name="connsiteY94" fmla="*/ 282798 h 1742206"/>
                    <a:gd name="connsiteX95" fmla="*/ 3084748 w 5043431"/>
                    <a:gd name="connsiteY95" fmla="*/ 270295 h 1742206"/>
                    <a:gd name="connsiteX96" fmla="*/ 3059742 w 5043431"/>
                    <a:gd name="connsiteY96" fmla="*/ 270295 h 1742206"/>
                    <a:gd name="connsiteX97" fmla="*/ 3047239 w 5043431"/>
                    <a:gd name="connsiteY97" fmla="*/ 276547 h 1742206"/>
                    <a:gd name="connsiteX98" fmla="*/ 3034736 w 5043431"/>
                    <a:gd name="connsiteY98" fmla="*/ 270295 h 1742206"/>
                    <a:gd name="connsiteX99" fmla="*/ 3009868 w 5043431"/>
                    <a:gd name="connsiteY99" fmla="*/ 264044 h 1742206"/>
                    <a:gd name="connsiteX100" fmla="*/ 2991114 w 5043431"/>
                    <a:gd name="connsiteY100" fmla="*/ 251540 h 1742206"/>
                    <a:gd name="connsiteX101" fmla="*/ 2978750 w 5043431"/>
                    <a:gd name="connsiteY101" fmla="*/ 251540 h 1742206"/>
                    <a:gd name="connsiteX102" fmla="*/ 2966247 w 5043431"/>
                    <a:gd name="connsiteY102" fmla="*/ 257792 h 1742206"/>
                    <a:gd name="connsiteX103" fmla="*/ 2953743 w 5043431"/>
                    <a:gd name="connsiteY103" fmla="*/ 257792 h 1742206"/>
                    <a:gd name="connsiteX104" fmla="*/ 2947492 w 5043431"/>
                    <a:gd name="connsiteY104" fmla="*/ 276408 h 1742206"/>
                    <a:gd name="connsiteX105" fmla="*/ 2953743 w 5043431"/>
                    <a:gd name="connsiteY105" fmla="*/ 288911 h 1742206"/>
                    <a:gd name="connsiteX106" fmla="*/ 2947492 w 5043431"/>
                    <a:gd name="connsiteY106" fmla="*/ 295163 h 1742206"/>
                    <a:gd name="connsiteX107" fmla="*/ 2922625 w 5043431"/>
                    <a:gd name="connsiteY107" fmla="*/ 301414 h 1742206"/>
                    <a:gd name="connsiteX108" fmla="*/ 2947492 w 5043431"/>
                    <a:gd name="connsiteY108" fmla="*/ 307666 h 1742206"/>
                    <a:gd name="connsiteX109" fmla="*/ 2910122 w 5043431"/>
                    <a:gd name="connsiteY109" fmla="*/ 301414 h 1742206"/>
                    <a:gd name="connsiteX110" fmla="*/ 2860109 w 5043431"/>
                    <a:gd name="connsiteY110" fmla="*/ 301414 h 1742206"/>
                    <a:gd name="connsiteX111" fmla="*/ 2847606 w 5043431"/>
                    <a:gd name="connsiteY111" fmla="*/ 295163 h 1742206"/>
                    <a:gd name="connsiteX112" fmla="*/ 2816487 w 5043431"/>
                    <a:gd name="connsiteY112" fmla="*/ 295163 h 1742206"/>
                    <a:gd name="connsiteX113" fmla="*/ 2791619 w 5043431"/>
                    <a:gd name="connsiteY113" fmla="*/ 282659 h 1742206"/>
                    <a:gd name="connsiteX114" fmla="*/ 2803983 w 5043431"/>
                    <a:gd name="connsiteY114" fmla="*/ 270156 h 1742206"/>
                    <a:gd name="connsiteX115" fmla="*/ 2747997 w 5043431"/>
                    <a:gd name="connsiteY115" fmla="*/ 263905 h 1742206"/>
                    <a:gd name="connsiteX116" fmla="*/ 2660615 w 5043431"/>
                    <a:gd name="connsiteY116" fmla="*/ 263905 h 1742206"/>
                    <a:gd name="connsiteX117" fmla="*/ 2654363 w 5043431"/>
                    <a:gd name="connsiteY117" fmla="*/ 276408 h 1742206"/>
                    <a:gd name="connsiteX118" fmla="*/ 2641860 w 5043431"/>
                    <a:gd name="connsiteY118" fmla="*/ 276408 h 1742206"/>
                    <a:gd name="connsiteX119" fmla="*/ 2635608 w 5043431"/>
                    <a:gd name="connsiteY119" fmla="*/ 263905 h 1742206"/>
                    <a:gd name="connsiteX120" fmla="*/ 2616854 w 5043431"/>
                    <a:gd name="connsiteY120" fmla="*/ 245289 h 1742206"/>
                    <a:gd name="connsiteX121" fmla="*/ 2579483 w 5043431"/>
                    <a:gd name="connsiteY121" fmla="*/ 251540 h 1742206"/>
                    <a:gd name="connsiteX122" fmla="*/ 2560729 w 5043431"/>
                    <a:gd name="connsiteY122" fmla="*/ 239037 h 1742206"/>
                    <a:gd name="connsiteX123" fmla="*/ 2541974 w 5043431"/>
                    <a:gd name="connsiteY123" fmla="*/ 239037 h 1742206"/>
                    <a:gd name="connsiteX124" fmla="*/ 2516968 w 5043431"/>
                    <a:gd name="connsiteY124" fmla="*/ 245289 h 1742206"/>
                    <a:gd name="connsiteX125" fmla="*/ 2535723 w 5043431"/>
                    <a:gd name="connsiteY125" fmla="*/ 257792 h 1742206"/>
                    <a:gd name="connsiteX126" fmla="*/ 2504465 w 5043431"/>
                    <a:gd name="connsiteY126" fmla="*/ 270295 h 1742206"/>
                    <a:gd name="connsiteX127" fmla="*/ 2473345 w 5043431"/>
                    <a:gd name="connsiteY127" fmla="*/ 282798 h 1742206"/>
                    <a:gd name="connsiteX128" fmla="*/ 2429723 w 5043431"/>
                    <a:gd name="connsiteY128" fmla="*/ 289050 h 1742206"/>
                    <a:gd name="connsiteX129" fmla="*/ 2410969 w 5043431"/>
                    <a:gd name="connsiteY129" fmla="*/ 301553 h 1742206"/>
                    <a:gd name="connsiteX130" fmla="*/ 2373598 w 5043431"/>
                    <a:gd name="connsiteY130" fmla="*/ 314056 h 1742206"/>
                    <a:gd name="connsiteX131" fmla="*/ 2386102 w 5043431"/>
                    <a:gd name="connsiteY131" fmla="*/ 307805 h 1742206"/>
                    <a:gd name="connsiteX132" fmla="*/ 2404856 w 5043431"/>
                    <a:gd name="connsiteY132" fmla="*/ 282937 h 1742206"/>
                    <a:gd name="connsiteX133" fmla="*/ 2423611 w 5043431"/>
                    <a:gd name="connsiteY133" fmla="*/ 276686 h 1742206"/>
                    <a:gd name="connsiteX134" fmla="*/ 2436114 w 5043431"/>
                    <a:gd name="connsiteY134" fmla="*/ 270434 h 1742206"/>
                    <a:gd name="connsiteX135" fmla="*/ 2498491 w 5043431"/>
                    <a:gd name="connsiteY135" fmla="*/ 239315 h 1742206"/>
                    <a:gd name="connsiteX136" fmla="*/ 2535861 w 5043431"/>
                    <a:gd name="connsiteY136" fmla="*/ 220699 h 1742206"/>
                    <a:gd name="connsiteX137" fmla="*/ 2616854 w 5043431"/>
                    <a:gd name="connsiteY137" fmla="*/ 177216 h 1742206"/>
                    <a:gd name="connsiteX138" fmla="*/ 2635608 w 5043431"/>
                    <a:gd name="connsiteY138" fmla="*/ 139846 h 1742206"/>
                    <a:gd name="connsiteX139" fmla="*/ 2623105 w 5043431"/>
                    <a:gd name="connsiteY139" fmla="*/ 139846 h 1742206"/>
                    <a:gd name="connsiteX140" fmla="*/ 2604490 w 5043431"/>
                    <a:gd name="connsiteY140" fmla="*/ 127343 h 1742206"/>
                    <a:gd name="connsiteX141" fmla="*/ 2635608 w 5043431"/>
                    <a:gd name="connsiteY141" fmla="*/ 133594 h 1742206"/>
                    <a:gd name="connsiteX142" fmla="*/ 2648112 w 5043431"/>
                    <a:gd name="connsiteY142" fmla="*/ 121091 h 1742206"/>
                    <a:gd name="connsiteX143" fmla="*/ 2635608 w 5043431"/>
                    <a:gd name="connsiteY143" fmla="*/ 102476 h 1742206"/>
                    <a:gd name="connsiteX144" fmla="*/ 2616854 w 5043431"/>
                    <a:gd name="connsiteY144" fmla="*/ 114979 h 1742206"/>
                    <a:gd name="connsiteX145" fmla="*/ 2616854 w 5043431"/>
                    <a:gd name="connsiteY145" fmla="*/ 102476 h 1742206"/>
                    <a:gd name="connsiteX146" fmla="*/ 2610602 w 5043431"/>
                    <a:gd name="connsiteY146" fmla="*/ 89972 h 1742206"/>
                    <a:gd name="connsiteX147" fmla="*/ 2591848 w 5043431"/>
                    <a:gd name="connsiteY147" fmla="*/ 77469 h 1742206"/>
                    <a:gd name="connsiteX148" fmla="*/ 2560590 w 5043431"/>
                    <a:gd name="connsiteY148" fmla="*/ 64966 h 1742206"/>
                    <a:gd name="connsiteX149" fmla="*/ 2529332 w 5043431"/>
                    <a:gd name="connsiteY149" fmla="*/ 71218 h 1742206"/>
                    <a:gd name="connsiteX150" fmla="*/ 2466955 w 5043431"/>
                    <a:gd name="connsiteY150" fmla="*/ 71218 h 1742206"/>
                    <a:gd name="connsiteX151" fmla="*/ 2417081 w 5043431"/>
                    <a:gd name="connsiteY151" fmla="*/ 77469 h 1742206"/>
                    <a:gd name="connsiteX152" fmla="*/ 2442088 w 5043431"/>
                    <a:gd name="connsiteY152" fmla="*/ 46350 h 1742206"/>
                    <a:gd name="connsiteX153" fmla="*/ 2392214 w 5043431"/>
                    <a:gd name="connsiteY153" fmla="*/ 46350 h 1742206"/>
                    <a:gd name="connsiteX154" fmla="*/ 2404717 w 5043431"/>
                    <a:gd name="connsiteY154" fmla="*/ 40099 h 1742206"/>
                    <a:gd name="connsiteX155" fmla="*/ 2354844 w 5043431"/>
                    <a:gd name="connsiteY155" fmla="*/ 40099 h 1742206"/>
                    <a:gd name="connsiteX156" fmla="*/ 2392214 w 5043431"/>
                    <a:gd name="connsiteY156" fmla="*/ 27596 h 1742206"/>
                    <a:gd name="connsiteX157" fmla="*/ 2404717 w 5043431"/>
                    <a:gd name="connsiteY157" fmla="*/ 21344 h 1742206"/>
                    <a:gd name="connsiteX158" fmla="*/ 2398466 w 5043431"/>
                    <a:gd name="connsiteY158" fmla="*/ 8841 h 1742206"/>
                    <a:gd name="connsiteX159" fmla="*/ 2354844 w 5043431"/>
                    <a:gd name="connsiteY159" fmla="*/ 2589 h 1742206"/>
                    <a:gd name="connsiteX160" fmla="*/ 2317473 w 5043431"/>
                    <a:gd name="connsiteY160" fmla="*/ 8841 h 1742206"/>
                    <a:gd name="connsiteX161" fmla="*/ 2255097 w 5043431"/>
                    <a:gd name="connsiteY161" fmla="*/ 46212 h 1742206"/>
                    <a:gd name="connsiteX162" fmla="*/ 2255097 w 5043431"/>
                    <a:gd name="connsiteY162" fmla="*/ 58715 h 1742206"/>
                    <a:gd name="connsiteX163" fmla="*/ 2255097 w 5043431"/>
                    <a:gd name="connsiteY163" fmla="*/ 71218 h 1742206"/>
                    <a:gd name="connsiteX164" fmla="*/ 2280103 w 5043431"/>
                    <a:gd name="connsiteY164" fmla="*/ 83721 h 1742206"/>
                    <a:gd name="connsiteX165" fmla="*/ 2242732 w 5043431"/>
                    <a:gd name="connsiteY165" fmla="*/ 83721 h 1742206"/>
                    <a:gd name="connsiteX166" fmla="*/ 2192859 w 5043431"/>
                    <a:gd name="connsiteY166" fmla="*/ 83721 h 1742206"/>
                    <a:gd name="connsiteX167" fmla="*/ 2211613 w 5043431"/>
                    <a:gd name="connsiteY167" fmla="*/ 102337 h 1742206"/>
                    <a:gd name="connsiteX168" fmla="*/ 2180356 w 5043431"/>
                    <a:gd name="connsiteY168" fmla="*/ 96085 h 1742206"/>
                    <a:gd name="connsiteX169" fmla="*/ 2149237 w 5043431"/>
                    <a:gd name="connsiteY169" fmla="*/ 108588 h 1742206"/>
                    <a:gd name="connsiteX170" fmla="*/ 2142985 w 5043431"/>
                    <a:gd name="connsiteY170" fmla="*/ 108588 h 1742206"/>
                    <a:gd name="connsiteX171" fmla="*/ 2136734 w 5043431"/>
                    <a:gd name="connsiteY171" fmla="*/ 102337 h 1742206"/>
                    <a:gd name="connsiteX172" fmla="*/ 2105615 w 5043431"/>
                    <a:gd name="connsiteY172" fmla="*/ 120952 h 1742206"/>
                    <a:gd name="connsiteX173" fmla="*/ 2118118 w 5043431"/>
                    <a:gd name="connsiteY173" fmla="*/ 108449 h 1742206"/>
                    <a:gd name="connsiteX174" fmla="*/ 2080748 w 5043431"/>
                    <a:gd name="connsiteY174" fmla="*/ 102198 h 1742206"/>
                    <a:gd name="connsiteX175" fmla="*/ 2093251 w 5043431"/>
                    <a:gd name="connsiteY175" fmla="*/ 95946 h 1742206"/>
                    <a:gd name="connsiteX176" fmla="*/ 2043377 w 5043431"/>
                    <a:gd name="connsiteY176" fmla="*/ 108449 h 1742206"/>
                    <a:gd name="connsiteX177" fmla="*/ 2055880 w 5043431"/>
                    <a:gd name="connsiteY177" fmla="*/ 120952 h 1742206"/>
                    <a:gd name="connsiteX178" fmla="*/ 2012258 w 5043431"/>
                    <a:gd name="connsiteY178" fmla="*/ 127204 h 1742206"/>
                    <a:gd name="connsiteX179" fmla="*/ 1993503 w 5043431"/>
                    <a:gd name="connsiteY179" fmla="*/ 133455 h 1742206"/>
                    <a:gd name="connsiteX180" fmla="*/ 1962246 w 5043431"/>
                    <a:gd name="connsiteY180" fmla="*/ 133455 h 1742206"/>
                    <a:gd name="connsiteX181" fmla="*/ 1937239 w 5043431"/>
                    <a:gd name="connsiteY181" fmla="*/ 145959 h 1742206"/>
                    <a:gd name="connsiteX182" fmla="*/ 1912233 w 5043431"/>
                    <a:gd name="connsiteY182" fmla="*/ 152210 h 1742206"/>
                    <a:gd name="connsiteX183" fmla="*/ 1893478 w 5043431"/>
                    <a:gd name="connsiteY183" fmla="*/ 164713 h 1742206"/>
                    <a:gd name="connsiteX184" fmla="*/ 1862221 w 5043431"/>
                    <a:gd name="connsiteY184" fmla="*/ 164713 h 1742206"/>
                    <a:gd name="connsiteX185" fmla="*/ 1880975 w 5043431"/>
                    <a:gd name="connsiteY185" fmla="*/ 177216 h 1742206"/>
                    <a:gd name="connsiteX186" fmla="*/ 1837353 w 5043431"/>
                    <a:gd name="connsiteY186" fmla="*/ 183468 h 1742206"/>
                    <a:gd name="connsiteX187" fmla="*/ 1862360 w 5043431"/>
                    <a:gd name="connsiteY187" fmla="*/ 183468 h 1742206"/>
                    <a:gd name="connsiteX188" fmla="*/ 1843605 w 5043431"/>
                    <a:gd name="connsiteY188" fmla="*/ 183468 h 1742206"/>
                    <a:gd name="connsiteX189" fmla="*/ 1862360 w 5043431"/>
                    <a:gd name="connsiteY189" fmla="*/ 189720 h 1742206"/>
                    <a:gd name="connsiteX190" fmla="*/ 1849857 w 5043431"/>
                    <a:gd name="connsiteY190" fmla="*/ 189720 h 1742206"/>
                    <a:gd name="connsiteX191" fmla="*/ 1849857 w 5043431"/>
                    <a:gd name="connsiteY191" fmla="*/ 195971 h 1742206"/>
                    <a:gd name="connsiteX192" fmla="*/ 1831102 w 5043431"/>
                    <a:gd name="connsiteY192" fmla="*/ 195971 h 1742206"/>
                    <a:gd name="connsiteX193" fmla="*/ 1843605 w 5043431"/>
                    <a:gd name="connsiteY193" fmla="*/ 208474 h 1742206"/>
                    <a:gd name="connsiteX194" fmla="*/ 1837353 w 5043431"/>
                    <a:gd name="connsiteY194" fmla="*/ 208474 h 1742206"/>
                    <a:gd name="connsiteX195" fmla="*/ 1856108 w 5043431"/>
                    <a:gd name="connsiteY195" fmla="*/ 220977 h 1742206"/>
                    <a:gd name="connsiteX196" fmla="*/ 1856108 w 5043431"/>
                    <a:gd name="connsiteY196" fmla="*/ 245845 h 1742206"/>
                    <a:gd name="connsiteX197" fmla="*/ 1818738 w 5043431"/>
                    <a:gd name="connsiteY197" fmla="*/ 245845 h 1742206"/>
                    <a:gd name="connsiteX198" fmla="*/ 1799983 w 5043431"/>
                    <a:gd name="connsiteY198" fmla="*/ 252096 h 1742206"/>
                    <a:gd name="connsiteX199" fmla="*/ 1781228 w 5043431"/>
                    <a:gd name="connsiteY199" fmla="*/ 252096 h 1742206"/>
                    <a:gd name="connsiteX200" fmla="*/ 1706349 w 5043431"/>
                    <a:gd name="connsiteY200" fmla="*/ 258348 h 1742206"/>
                    <a:gd name="connsiteX201" fmla="*/ 1675091 w 5043431"/>
                    <a:gd name="connsiteY201" fmla="*/ 264599 h 1742206"/>
                    <a:gd name="connsiteX202" fmla="*/ 1662588 w 5043431"/>
                    <a:gd name="connsiteY202" fmla="*/ 283215 h 1742206"/>
                    <a:gd name="connsiteX203" fmla="*/ 1675091 w 5043431"/>
                    <a:gd name="connsiteY203" fmla="*/ 301831 h 1742206"/>
                    <a:gd name="connsiteX204" fmla="*/ 1675091 w 5043431"/>
                    <a:gd name="connsiteY204" fmla="*/ 326698 h 1742206"/>
                    <a:gd name="connsiteX205" fmla="*/ 1718713 w 5043431"/>
                    <a:gd name="connsiteY205" fmla="*/ 345314 h 1742206"/>
                    <a:gd name="connsiteX206" fmla="*/ 1731216 w 5043431"/>
                    <a:gd name="connsiteY206" fmla="*/ 370181 h 1742206"/>
                    <a:gd name="connsiteX207" fmla="*/ 1681343 w 5043431"/>
                    <a:gd name="connsiteY207" fmla="*/ 357678 h 1742206"/>
                    <a:gd name="connsiteX208" fmla="*/ 1606462 w 5043431"/>
                    <a:gd name="connsiteY208" fmla="*/ 332811 h 1742206"/>
                    <a:gd name="connsiteX209" fmla="*/ 1587707 w 5043431"/>
                    <a:gd name="connsiteY209" fmla="*/ 320308 h 1742206"/>
                    <a:gd name="connsiteX210" fmla="*/ 1556450 w 5043431"/>
                    <a:gd name="connsiteY210" fmla="*/ 332811 h 1742206"/>
                    <a:gd name="connsiteX211" fmla="*/ 1581456 w 5043431"/>
                    <a:gd name="connsiteY211" fmla="*/ 339062 h 1742206"/>
                    <a:gd name="connsiteX212" fmla="*/ 1568953 w 5043431"/>
                    <a:gd name="connsiteY212" fmla="*/ 345314 h 1742206"/>
                    <a:gd name="connsiteX213" fmla="*/ 1593959 w 5043431"/>
                    <a:gd name="connsiteY213" fmla="*/ 357817 h 1742206"/>
                    <a:gd name="connsiteX214" fmla="*/ 1568953 w 5043431"/>
                    <a:gd name="connsiteY214" fmla="*/ 364069 h 1742206"/>
                    <a:gd name="connsiteX215" fmla="*/ 1537695 w 5043431"/>
                    <a:gd name="connsiteY215" fmla="*/ 357817 h 1742206"/>
                    <a:gd name="connsiteX216" fmla="*/ 1537695 w 5043431"/>
                    <a:gd name="connsiteY216" fmla="*/ 382684 h 1742206"/>
                    <a:gd name="connsiteX217" fmla="*/ 1562701 w 5043431"/>
                    <a:gd name="connsiteY217" fmla="*/ 388936 h 1742206"/>
                    <a:gd name="connsiteX218" fmla="*/ 1593821 w 5043431"/>
                    <a:gd name="connsiteY218" fmla="*/ 401439 h 1742206"/>
                    <a:gd name="connsiteX219" fmla="*/ 1600072 w 5043431"/>
                    <a:gd name="connsiteY219" fmla="*/ 413942 h 1742206"/>
                    <a:gd name="connsiteX220" fmla="*/ 1618827 w 5043431"/>
                    <a:gd name="connsiteY220" fmla="*/ 413942 h 1742206"/>
                    <a:gd name="connsiteX221" fmla="*/ 1600072 w 5043431"/>
                    <a:gd name="connsiteY221" fmla="*/ 420194 h 1742206"/>
                    <a:gd name="connsiteX222" fmla="*/ 1581318 w 5043431"/>
                    <a:gd name="connsiteY222" fmla="*/ 407691 h 1742206"/>
                    <a:gd name="connsiteX223" fmla="*/ 1531443 w 5043431"/>
                    <a:gd name="connsiteY223" fmla="*/ 401439 h 1742206"/>
                    <a:gd name="connsiteX224" fmla="*/ 1506437 w 5043431"/>
                    <a:gd name="connsiteY224" fmla="*/ 382823 h 1742206"/>
                    <a:gd name="connsiteX225" fmla="*/ 1506437 w 5043431"/>
                    <a:gd name="connsiteY225" fmla="*/ 370320 h 1742206"/>
                    <a:gd name="connsiteX226" fmla="*/ 1506437 w 5043431"/>
                    <a:gd name="connsiteY226" fmla="*/ 351704 h 1742206"/>
                    <a:gd name="connsiteX227" fmla="*/ 1506437 w 5043431"/>
                    <a:gd name="connsiteY227" fmla="*/ 308221 h 1742206"/>
                    <a:gd name="connsiteX228" fmla="*/ 1493934 w 5043431"/>
                    <a:gd name="connsiteY228" fmla="*/ 345592 h 1742206"/>
                    <a:gd name="connsiteX229" fmla="*/ 1450312 w 5043431"/>
                    <a:gd name="connsiteY229" fmla="*/ 376711 h 1742206"/>
                    <a:gd name="connsiteX230" fmla="*/ 1450312 w 5043431"/>
                    <a:gd name="connsiteY230" fmla="*/ 401578 h 1742206"/>
                    <a:gd name="connsiteX231" fmla="*/ 1475318 w 5043431"/>
                    <a:gd name="connsiteY231" fmla="*/ 438948 h 1742206"/>
                    <a:gd name="connsiteX232" fmla="*/ 1462815 w 5043431"/>
                    <a:gd name="connsiteY232" fmla="*/ 451452 h 1742206"/>
                    <a:gd name="connsiteX233" fmla="*/ 1450312 w 5043431"/>
                    <a:gd name="connsiteY233" fmla="*/ 488822 h 1742206"/>
                    <a:gd name="connsiteX234" fmla="*/ 1462815 w 5043431"/>
                    <a:gd name="connsiteY234" fmla="*/ 519941 h 1742206"/>
                    <a:gd name="connsiteX235" fmla="*/ 1500186 w 5043431"/>
                    <a:gd name="connsiteY235" fmla="*/ 513689 h 1742206"/>
                    <a:gd name="connsiteX236" fmla="*/ 1543808 w 5043431"/>
                    <a:gd name="connsiteY236" fmla="*/ 519941 h 1742206"/>
                    <a:gd name="connsiteX237" fmla="*/ 1581178 w 5043431"/>
                    <a:gd name="connsiteY237" fmla="*/ 551060 h 1742206"/>
                    <a:gd name="connsiteX238" fmla="*/ 1574927 w 5043431"/>
                    <a:gd name="connsiteY238" fmla="*/ 588430 h 1742206"/>
                    <a:gd name="connsiteX239" fmla="*/ 1612297 w 5043431"/>
                    <a:gd name="connsiteY239" fmla="*/ 600933 h 1742206"/>
                    <a:gd name="connsiteX240" fmla="*/ 1562424 w 5043431"/>
                    <a:gd name="connsiteY240" fmla="*/ 594682 h 1742206"/>
                    <a:gd name="connsiteX241" fmla="*/ 1556172 w 5043431"/>
                    <a:gd name="connsiteY241" fmla="*/ 576066 h 1742206"/>
                    <a:gd name="connsiteX242" fmla="*/ 1556172 w 5043431"/>
                    <a:gd name="connsiteY242" fmla="*/ 551199 h 1742206"/>
                    <a:gd name="connsiteX243" fmla="*/ 1537418 w 5043431"/>
                    <a:gd name="connsiteY243" fmla="*/ 526331 h 1742206"/>
                    <a:gd name="connsiteX244" fmla="*/ 1500047 w 5043431"/>
                    <a:gd name="connsiteY244" fmla="*/ 532583 h 1742206"/>
                    <a:gd name="connsiteX245" fmla="*/ 1475041 w 5043431"/>
                    <a:gd name="connsiteY245" fmla="*/ 544947 h 1742206"/>
                    <a:gd name="connsiteX246" fmla="*/ 1481293 w 5043431"/>
                    <a:gd name="connsiteY246" fmla="*/ 544947 h 1742206"/>
                    <a:gd name="connsiteX247" fmla="*/ 1475041 w 5043431"/>
                    <a:gd name="connsiteY247" fmla="*/ 563563 h 1742206"/>
                    <a:gd name="connsiteX248" fmla="*/ 1468789 w 5043431"/>
                    <a:gd name="connsiteY248" fmla="*/ 607046 h 1742206"/>
                    <a:gd name="connsiteX249" fmla="*/ 1456286 w 5043431"/>
                    <a:gd name="connsiteY249" fmla="*/ 631913 h 1742206"/>
                    <a:gd name="connsiteX250" fmla="*/ 1425167 w 5043431"/>
                    <a:gd name="connsiteY250" fmla="*/ 644416 h 1742206"/>
                    <a:gd name="connsiteX251" fmla="*/ 1412664 w 5043431"/>
                    <a:gd name="connsiteY251" fmla="*/ 663032 h 1742206"/>
                    <a:gd name="connsiteX252" fmla="*/ 1387658 w 5043431"/>
                    <a:gd name="connsiteY252" fmla="*/ 669284 h 1742206"/>
                    <a:gd name="connsiteX253" fmla="*/ 1344036 w 5043431"/>
                    <a:gd name="connsiteY253" fmla="*/ 663032 h 1742206"/>
                    <a:gd name="connsiteX254" fmla="*/ 1325281 w 5043431"/>
                    <a:gd name="connsiteY254" fmla="*/ 656781 h 1742206"/>
                    <a:gd name="connsiteX255" fmla="*/ 1306526 w 5043431"/>
                    <a:gd name="connsiteY255" fmla="*/ 644277 h 1742206"/>
                    <a:gd name="connsiteX256" fmla="*/ 1319029 w 5043431"/>
                    <a:gd name="connsiteY256" fmla="*/ 644277 h 1742206"/>
                    <a:gd name="connsiteX257" fmla="*/ 1337784 w 5043431"/>
                    <a:gd name="connsiteY257" fmla="*/ 650529 h 1742206"/>
                    <a:gd name="connsiteX258" fmla="*/ 1387658 w 5043431"/>
                    <a:gd name="connsiteY258" fmla="*/ 650529 h 1742206"/>
                    <a:gd name="connsiteX259" fmla="*/ 1387658 w 5043431"/>
                    <a:gd name="connsiteY259" fmla="*/ 638026 h 1742206"/>
                    <a:gd name="connsiteX260" fmla="*/ 1412664 w 5043431"/>
                    <a:gd name="connsiteY260" fmla="*/ 619410 h 1742206"/>
                    <a:gd name="connsiteX261" fmla="*/ 1431418 w 5043431"/>
                    <a:gd name="connsiteY261" fmla="*/ 600794 h 1742206"/>
                    <a:gd name="connsiteX262" fmla="*/ 1437670 w 5043431"/>
                    <a:gd name="connsiteY262" fmla="*/ 563424 h 1742206"/>
                    <a:gd name="connsiteX263" fmla="*/ 1437670 w 5043431"/>
                    <a:gd name="connsiteY263" fmla="*/ 544808 h 1742206"/>
                    <a:gd name="connsiteX264" fmla="*/ 1418915 w 5043431"/>
                    <a:gd name="connsiteY264" fmla="*/ 532444 h 1742206"/>
                    <a:gd name="connsiteX265" fmla="*/ 1418915 w 5043431"/>
                    <a:gd name="connsiteY265" fmla="*/ 488961 h 1742206"/>
                    <a:gd name="connsiteX266" fmla="*/ 1418915 w 5043431"/>
                    <a:gd name="connsiteY266" fmla="*/ 451590 h 1742206"/>
                    <a:gd name="connsiteX267" fmla="*/ 1431418 w 5043431"/>
                    <a:gd name="connsiteY267" fmla="*/ 426723 h 1742206"/>
                    <a:gd name="connsiteX268" fmla="*/ 1406412 w 5043431"/>
                    <a:gd name="connsiteY268" fmla="*/ 401856 h 1742206"/>
                    <a:gd name="connsiteX269" fmla="*/ 1400161 w 5043431"/>
                    <a:gd name="connsiteY269" fmla="*/ 383240 h 1742206"/>
                    <a:gd name="connsiteX270" fmla="*/ 1418915 w 5043431"/>
                    <a:gd name="connsiteY270" fmla="*/ 352121 h 1742206"/>
                    <a:gd name="connsiteX271" fmla="*/ 1425167 w 5043431"/>
                    <a:gd name="connsiteY271" fmla="*/ 321002 h 1742206"/>
                    <a:gd name="connsiteX272" fmla="*/ 1387797 w 5043431"/>
                    <a:gd name="connsiteY272" fmla="*/ 302386 h 1742206"/>
                    <a:gd name="connsiteX273" fmla="*/ 1350426 w 5043431"/>
                    <a:gd name="connsiteY273" fmla="*/ 302386 h 1742206"/>
                    <a:gd name="connsiteX274" fmla="*/ 1319168 w 5043431"/>
                    <a:gd name="connsiteY274" fmla="*/ 302386 h 1742206"/>
                    <a:gd name="connsiteX275" fmla="*/ 1281798 w 5043431"/>
                    <a:gd name="connsiteY275" fmla="*/ 370737 h 1742206"/>
                    <a:gd name="connsiteX276" fmla="*/ 1231925 w 5043431"/>
                    <a:gd name="connsiteY276" fmla="*/ 420471 h 1742206"/>
                    <a:gd name="connsiteX277" fmla="*/ 1250679 w 5043431"/>
                    <a:gd name="connsiteY277" fmla="*/ 420471 h 1742206"/>
                    <a:gd name="connsiteX278" fmla="*/ 1250679 w 5043431"/>
                    <a:gd name="connsiteY278" fmla="*/ 451590 h 1742206"/>
                    <a:gd name="connsiteX279" fmla="*/ 1238176 w 5043431"/>
                    <a:gd name="connsiteY279" fmla="*/ 470206 h 1742206"/>
                    <a:gd name="connsiteX280" fmla="*/ 1231925 w 5043431"/>
                    <a:gd name="connsiteY280" fmla="*/ 482709 h 1742206"/>
                    <a:gd name="connsiteX281" fmla="*/ 1250679 w 5043431"/>
                    <a:gd name="connsiteY281" fmla="*/ 488961 h 1742206"/>
                    <a:gd name="connsiteX282" fmla="*/ 1281798 w 5043431"/>
                    <a:gd name="connsiteY282" fmla="*/ 495212 h 1742206"/>
                    <a:gd name="connsiteX283" fmla="*/ 1294301 w 5043431"/>
                    <a:gd name="connsiteY283" fmla="*/ 526331 h 1742206"/>
                    <a:gd name="connsiteX284" fmla="*/ 1306804 w 5043431"/>
                    <a:gd name="connsiteY284" fmla="*/ 538834 h 1742206"/>
                    <a:gd name="connsiteX285" fmla="*/ 1294301 w 5043431"/>
                    <a:gd name="connsiteY285" fmla="*/ 563702 h 1742206"/>
                    <a:gd name="connsiteX286" fmla="*/ 1250679 w 5043431"/>
                    <a:gd name="connsiteY286" fmla="*/ 538834 h 1742206"/>
                    <a:gd name="connsiteX287" fmla="*/ 1188302 w 5043431"/>
                    <a:gd name="connsiteY287" fmla="*/ 513967 h 1742206"/>
                    <a:gd name="connsiteX288" fmla="*/ 1157183 w 5043431"/>
                    <a:gd name="connsiteY288" fmla="*/ 495351 h 1742206"/>
                    <a:gd name="connsiteX289" fmla="*/ 1132177 w 5043431"/>
                    <a:gd name="connsiteY289" fmla="*/ 489100 h 1742206"/>
                    <a:gd name="connsiteX290" fmla="*/ 1076052 w 5043431"/>
                    <a:gd name="connsiteY290" fmla="*/ 482848 h 1742206"/>
                    <a:gd name="connsiteX291" fmla="*/ 1044794 w 5043431"/>
                    <a:gd name="connsiteY291" fmla="*/ 513967 h 1742206"/>
                    <a:gd name="connsiteX292" fmla="*/ 1038543 w 5043431"/>
                    <a:gd name="connsiteY292" fmla="*/ 538834 h 1742206"/>
                    <a:gd name="connsiteX293" fmla="*/ 1019788 w 5043431"/>
                    <a:gd name="connsiteY293" fmla="*/ 551338 h 1742206"/>
                    <a:gd name="connsiteX294" fmla="*/ 1001033 w 5043431"/>
                    <a:gd name="connsiteY294" fmla="*/ 538834 h 1742206"/>
                    <a:gd name="connsiteX295" fmla="*/ 982279 w 5043431"/>
                    <a:gd name="connsiteY295" fmla="*/ 526331 h 1742206"/>
                    <a:gd name="connsiteX296" fmla="*/ 951021 w 5043431"/>
                    <a:gd name="connsiteY296" fmla="*/ 538834 h 1742206"/>
                    <a:gd name="connsiteX297" fmla="*/ 894896 w 5043431"/>
                    <a:gd name="connsiteY297" fmla="*/ 545086 h 1742206"/>
                    <a:gd name="connsiteX298" fmla="*/ 851274 w 5043431"/>
                    <a:gd name="connsiteY298" fmla="*/ 563702 h 1742206"/>
                    <a:gd name="connsiteX299" fmla="*/ 813903 w 5043431"/>
                    <a:gd name="connsiteY299" fmla="*/ 557450 h 1742206"/>
                    <a:gd name="connsiteX300" fmla="*/ 826406 w 5043431"/>
                    <a:gd name="connsiteY300" fmla="*/ 551199 h 1742206"/>
                    <a:gd name="connsiteX301" fmla="*/ 838909 w 5043431"/>
                    <a:gd name="connsiteY301" fmla="*/ 526331 h 1742206"/>
                    <a:gd name="connsiteX302" fmla="*/ 801539 w 5043431"/>
                    <a:gd name="connsiteY302" fmla="*/ 532583 h 1742206"/>
                    <a:gd name="connsiteX303" fmla="*/ 789036 w 5043431"/>
                    <a:gd name="connsiteY303" fmla="*/ 538834 h 1742206"/>
                    <a:gd name="connsiteX304" fmla="*/ 789036 w 5043431"/>
                    <a:gd name="connsiteY304" fmla="*/ 557450 h 1742206"/>
                    <a:gd name="connsiteX305" fmla="*/ 764030 w 5043431"/>
                    <a:gd name="connsiteY305" fmla="*/ 551199 h 1742206"/>
                    <a:gd name="connsiteX306" fmla="*/ 720408 w 5043431"/>
                    <a:gd name="connsiteY306" fmla="*/ 563702 h 1742206"/>
                    <a:gd name="connsiteX307" fmla="*/ 664283 w 5043431"/>
                    <a:gd name="connsiteY307" fmla="*/ 588569 h 1742206"/>
                    <a:gd name="connsiteX308" fmla="*/ 639277 w 5043431"/>
                    <a:gd name="connsiteY308" fmla="*/ 607185 h 1742206"/>
                    <a:gd name="connsiteX309" fmla="*/ 626774 w 5043431"/>
                    <a:gd name="connsiteY309" fmla="*/ 632052 h 1742206"/>
                    <a:gd name="connsiteX310" fmla="*/ 589403 w 5043431"/>
                    <a:gd name="connsiteY310" fmla="*/ 638304 h 1742206"/>
                    <a:gd name="connsiteX311" fmla="*/ 570649 w 5043431"/>
                    <a:gd name="connsiteY311" fmla="*/ 619688 h 1742206"/>
                    <a:gd name="connsiteX312" fmla="*/ 551894 w 5043431"/>
                    <a:gd name="connsiteY312" fmla="*/ 594821 h 1742206"/>
                    <a:gd name="connsiteX313" fmla="*/ 583013 w 5043431"/>
                    <a:gd name="connsiteY313" fmla="*/ 582317 h 1742206"/>
                    <a:gd name="connsiteX314" fmla="*/ 601767 w 5043431"/>
                    <a:gd name="connsiteY314" fmla="*/ 576066 h 1742206"/>
                    <a:gd name="connsiteX315" fmla="*/ 583013 w 5043431"/>
                    <a:gd name="connsiteY315" fmla="*/ 551199 h 1742206"/>
                    <a:gd name="connsiteX316" fmla="*/ 539391 w 5043431"/>
                    <a:gd name="connsiteY316" fmla="*/ 544947 h 1742206"/>
                    <a:gd name="connsiteX317" fmla="*/ 495768 w 5043431"/>
                    <a:gd name="connsiteY317" fmla="*/ 538695 h 1742206"/>
                    <a:gd name="connsiteX318" fmla="*/ 514523 w 5043431"/>
                    <a:gd name="connsiteY318" fmla="*/ 544947 h 1742206"/>
                    <a:gd name="connsiteX319" fmla="*/ 520774 w 5043431"/>
                    <a:gd name="connsiteY319" fmla="*/ 563563 h 1742206"/>
                    <a:gd name="connsiteX320" fmla="*/ 520774 w 5043431"/>
                    <a:gd name="connsiteY320" fmla="*/ 588430 h 1742206"/>
                    <a:gd name="connsiteX321" fmla="*/ 508271 w 5043431"/>
                    <a:gd name="connsiteY321" fmla="*/ 607046 h 1742206"/>
                    <a:gd name="connsiteX322" fmla="*/ 533278 w 5043431"/>
                    <a:gd name="connsiteY322" fmla="*/ 638165 h 1742206"/>
                    <a:gd name="connsiteX323" fmla="*/ 520774 w 5043431"/>
                    <a:gd name="connsiteY323" fmla="*/ 663032 h 1742206"/>
                    <a:gd name="connsiteX324" fmla="*/ 520774 w 5043431"/>
                    <a:gd name="connsiteY324" fmla="*/ 687899 h 1742206"/>
                    <a:gd name="connsiteX325" fmla="*/ 514523 w 5043431"/>
                    <a:gd name="connsiteY325" fmla="*/ 669284 h 1742206"/>
                    <a:gd name="connsiteX326" fmla="*/ 495768 w 5043431"/>
                    <a:gd name="connsiteY326" fmla="*/ 675535 h 1742206"/>
                    <a:gd name="connsiteX327" fmla="*/ 508271 w 5043431"/>
                    <a:gd name="connsiteY327" fmla="*/ 663032 h 1742206"/>
                    <a:gd name="connsiteX328" fmla="*/ 483265 w 5043431"/>
                    <a:gd name="connsiteY328" fmla="*/ 656781 h 1742206"/>
                    <a:gd name="connsiteX329" fmla="*/ 464510 w 5043431"/>
                    <a:gd name="connsiteY329" fmla="*/ 656781 h 1742206"/>
                    <a:gd name="connsiteX330" fmla="*/ 433392 w 5043431"/>
                    <a:gd name="connsiteY330" fmla="*/ 669284 h 1742206"/>
                    <a:gd name="connsiteX331" fmla="*/ 402134 w 5043431"/>
                    <a:gd name="connsiteY331" fmla="*/ 694151 h 1742206"/>
                    <a:gd name="connsiteX332" fmla="*/ 395882 w 5043431"/>
                    <a:gd name="connsiteY332" fmla="*/ 719018 h 1742206"/>
                    <a:gd name="connsiteX333" fmla="*/ 408385 w 5043431"/>
                    <a:gd name="connsiteY333" fmla="*/ 750137 h 1742206"/>
                    <a:gd name="connsiteX334" fmla="*/ 358512 w 5043431"/>
                    <a:gd name="connsiteY334" fmla="*/ 743886 h 1742206"/>
                    <a:gd name="connsiteX335" fmla="*/ 327254 w 5043431"/>
                    <a:gd name="connsiteY335" fmla="*/ 743886 h 1742206"/>
                    <a:gd name="connsiteX336" fmla="*/ 295996 w 5043431"/>
                    <a:gd name="connsiteY336" fmla="*/ 725270 h 1742206"/>
                    <a:gd name="connsiteX337" fmla="*/ 333367 w 5043431"/>
                    <a:gd name="connsiteY337" fmla="*/ 768753 h 1742206"/>
                    <a:gd name="connsiteX338" fmla="*/ 289745 w 5043431"/>
                    <a:gd name="connsiteY338" fmla="*/ 781256 h 1742206"/>
                    <a:gd name="connsiteX339" fmla="*/ 246123 w 5043431"/>
                    <a:gd name="connsiteY339" fmla="*/ 756389 h 1742206"/>
                    <a:gd name="connsiteX340" fmla="*/ 227368 w 5043431"/>
                    <a:gd name="connsiteY340" fmla="*/ 731521 h 1742206"/>
                    <a:gd name="connsiteX341" fmla="*/ 214865 w 5043431"/>
                    <a:gd name="connsiteY341" fmla="*/ 712906 h 1742206"/>
                    <a:gd name="connsiteX342" fmla="*/ 233620 w 5043431"/>
                    <a:gd name="connsiteY342" fmla="*/ 694290 h 1742206"/>
                    <a:gd name="connsiteX343" fmla="*/ 196249 w 5043431"/>
                    <a:gd name="connsiteY343" fmla="*/ 663171 h 1742206"/>
                    <a:gd name="connsiteX344" fmla="*/ 171243 w 5043431"/>
                    <a:gd name="connsiteY344" fmla="*/ 644555 h 1742206"/>
                    <a:gd name="connsiteX345" fmla="*/ 146237 w 5043431"/>
                    <a:gd name="connsiteY345" fmla="*/ 613436 h 1742206"/>
                    <a:gd name="connsiteX346" fmla="*/ 177356 w 5043431"/>
                    <a:gd name="connsiteY346" fmla="*/ 632052 h 1742206"/>
                    <a:gd name="connsiteX347" fmla="*/ 189859 w 5043431"/>
                    <a:gd name="connsiteY347" fmla="*/ 632052 h 1742206"/>
                    <a:gd name="connsiteX348" fmla="*/ 202362 w 5043431"/>
                    <a:gd name="connsiteY348" fmla="*/ 638304 h 1742206"/>
                    <a:gd name="connsiteX349" fmla="*/ 252235 w 5043431"/>
                    <a:gd name="connsiteY349" fmla="*/ 650807 h 1742206"/>
                    <a:gd name="connsiteX350" fmla="*/ 302109 w 5043431"/>
                    <a:gd name="connsiteY350" fmla="*/ 663310 h 1742206"/>
                    <a:gd name="connsiteX351" fmla="*/ 389492 w 5043431"/>
                    <a:gd name="connsiteY351" fmla="*/ 657058 h 1742206"/>
                    <a:gd name="connsiteX352" fmla="*/ 420749 w 5043431"/>
                    <a:gd name="connsiteY352" fmla="*/ 638443 h 1742206"/>
                    <a:gd name="connsiteX353" fmla="*/ 427001 w 5043431"/>
                    <a:gd name="connsiteY353" fmla="*/ 601072 h 1742206"/>
                    <a:gd name="connsiteX354" fmla="*/ 370876 w 5043431"/>
                    <a:gd name="connsiteY354" fmla="*/ 563702 h 1742206"/>
                    <a:gd name="connsiteX355" fmla="*/ 308499 w 5043431"/>
                    <a:gd name="connsiteY355" fmla="*/ 532583 h 1742206"/>
                    <a:gd name="connsiteX356" fmla="*/ 246123 w 5043431"/>
                    <a:gd name="connsiteY356" fmla="*/ 507716 h 1742206"/>
                    <a:gd name="connsiteX357" fmla="*/ 233620 w 5043431"/>
                    <a:gd name="connsiteY357" fmla="*/ 507716 h 1742206"/>
                    <a:gd name="connsiteX358" fmla="*/ 214865 w 5043431"/>
                    <a:gd name="connsiteY358" fmla="*/ 501464 h 1742206"/>
                    <a:gd name="connsiteX359" fmla="*/ 177495 w 5043431"/>
                    <a:gd name="connsiteY359" fmla="*/ 520080 h 1742206"/>
                    <a:gd name="connsiteX360" fmla="*/ 177495 w 5043431"/>
                    <a:gd name="connsiteY360" fmla="*/ 495212 h 1742206"/>
                    <a:gd name="connsiteX361" fmla="*/ 146375 w 5043431"/>
                    <a:gd name="connsiteY361" fmla="*/ 482709 h 1742206"/>
                    <a:gd name="connsiteX362" fmla="*/ 177495 w 5043431"/>
                    <a:gd name="connsiteY362" fmla="*/ 482709 h 1742206"/>
                    <a:gd name="connsiteX363" fmla="*/ 146375 w 5043431"/>
                    <a:gd name="connsiteY363" fmla="*/ 464094 h 1742206"/>
                    <a:gd name="connsiteX364" fmla="*/ 121369 w 5043431"/>
                    <a:gd name="connsiteY364" fmla="*/ 482709 h 1742206"/>
                    <a:gd name="connsiteX365" fmla="*/ 115118 w 5043431"/>
                    <a:gd name="connsiteY365" fmla="*/ 470206 h 1742206"/>
                    <a:gd name="connsiteX366" fmla="*/ 96363 w 5043431"/>
                    <a:gd name="connsiteY366" fmla="*/ 482709 h 1742206"/>
                    <a:gd name="connsiteX367" fmla="*/ 96363 w 5043431"/>
                    <a:gd name="connsiteY367" fmla="*/ 476458 h 1742206"/>
                    <a:gd name="connsiteX368" fmla="*/ 77608 w 5043431"/>
                    <a:gd name="connsiteY368" fmla="*/ 495073 h 1742206"/>
                    <a:gd name="connsiteX369" fmla="*/ 58854 w 5043431"/>
                    <a:gd name="connsiteY369" fmla="*/ 501325 h 1742206"/>
                    <a:gd name="connsiteX370" fmla="*/ 33847 w 5043431"/>
                    <a:gd name="connsiteY370" fmla="*/ 526192 h 1742206"/>
                    <a:gd name="connsiteX371" fmla="*/ 27596 w 5043431"/>
                    <a:gd name="connsiteY371" fmla="*/ 544808 h 1742206"/>
                    <a:gd name="connsiteX372" fmla="*/ 58715 w 5043431"/>
                    <a:gd name="connsiteY372" fmla="*/ 569675 h 1742206"/>
                    <a:gd name="connsiteX373" fmla="*/ 77470 w 5043431"/>
                    <a:gd name="connsiteY373" fmla="*/ 600794 h 1742206"/>
                    <a:gd name="connsiteX374" fmla="*/ 52464 w 5043431"/>
                    <a:gd name="connsiteY374" fmla="*/ 631913 h 1742206"/>
                    <a:gd name="connsiteX375" fmla="*/ 77470 w 5043431"/>
                    <a:gd name="connsiteY375" fmla="*/ 669284 h 1742206"/>
                    <a:gd name="connsiteX376" fmla="*/ 71218 w 5043431"/>
                    <a:gd name="connsiteY376" fmla="*/ 694151 h 1742206"/>
                    <a:gd name="connsiteX377" fmla="*/ 77470 w 5043431"/>
                    <a:gd name="connsiteY377" fmla="*/ 725270 h 1742206"/>
                    <a:gd name="connsiteX378" fmla="*/ 83721 w 5043431"/>
                    <a:gd name="connsiteY378" fmla="*/ 756389 h 1742206"/>
                    <a:gd name="connsiteX379" fmla="*/ 89973 w 5043431"/>
                    <a:gd name="connsiteY379" fmla="*/ 781256 h 1742206"/>
                    <a:gd name="connsiteX380" fmla="*/ 89973 w 5043431"/>
                    <a:gd name="connsiteY380" fmla="*/ 799872 h 1742206"/>
                    <a:gd name="connsiteX381" fmla="*/ 108728 w 5043431"/>
                    <a:gd name="connsiteY381" fmla="*/ 855858 h 1742206"/>
                    <a:gd name="connsiteX382" fmla="*/ 21344 w 5043431"/>
                    <a:gd name="connsiteY382" fmla="*/ 942963 h 1742206"/>
                    <a:gd name="connsiteX383" fmla="*/ 40099 w 5043431"/>
                    <a:gd name="connsiteY383" fmla="*/ 942963 h 1742206"/>
                    <a:gd name="connsiteX384" fmla="*/ 65105 w 5043431"/>
                    <a:gd name="connsiteY384" fmla="*/ 961579 h 1742206"/>
                    <a:gd name="connsiteX385" fmla="*/ 40099 w 5043431"/>
                    <a:gd name="connsiteY385" fmla="*/ 974082 h 1742206"/>
                    <a:gd name="connsiteX386" fmla="*/ 21344 w 5043431"/>
                    <a:gd name="connsiteY386" fmla="*/ 992698 h 1742206"/>
                    <a:gd name="connsiteX387" fmla="*/ 2589 w 5043431"/>
                    <a:gd name="connsiteY387" fmla="*/ 1023817 h 1742206"/>
                    <a:gd name="connsiteX388" fmla="*/ 8841 w 5043431"/>
                    <a:gd name="connsiteY388" fmla="*/ 1054935 h 1742206"/>
                    <a:gd name="connsiteX389" fmla="*/ 2589 w 5043431"/>
                    <a:gd name="connsiteY389" fmla="*/ 1086054 h 1742206"/>
                    <a:gd name="connsiteX390" fmla="*/ 15093 w 5043431"/>
                    <a:gd name="connsiteY390" fmla="*/ 1104670 h 1742206"/>
                    <a:gd name="connsiteX391" fmla="*/ 21344 w 5043431"/>
                    <a:gd name="connsiteY391" fmla="*/ 1135789 h 1742206"/>
                    <a:gd name="connsiteX392" fmla="*/ 46350 w 5043431"/>
                    <a:gd name="connsiteY392" fmla="*/ 1154405 h 1742206"/>
                    <a:gd name="connsiteX393" fmla="*/ 58854 w 5043431"/>
                    <a:gd name="connsiteY393" fmla="*/ 1148153 h 1742206"/>
                    <a:gd name="connsiteX394" fmla="*/ 71357 w 5043431"/>
                    <a:gd name="connsiteY394" fmla="*/ 1160656 h 1742206"/>
                    <a:gd name="connsiteX395" fmla="*/ 96363 w 5043431"/>
                    <a:gd name="connsiteY395" fmla="*/ 1160656 h 1742206"/>
                    <a:gd name="connsiteX396" fmla="*/ 108866 w 5043431"/>
                    <a:gd name="connsiteY396" fmla="*/ 1179272 h 1742206"/>
                    <a:gd name="connsiteX397" fmla="*/ 146237 w 5043431"/>
                    <a:gd name="connsiteY397" fmla="*/ 1247622 h 1742206"/>
                    <a:gd name="connsiteX398" fmla="*/ 152489 w 5043431"/>
                    <a:gd name="connsiteY398" fmla="*/ 1266238 h 1742206"/>
                    <a:gd name="connsiteX399" fmla="*/ 127482 w 5043431"/>
                    <a:gd name="connsiteY399" fmla="*/ 1272490 h 1742206"/>
                    <a:gd name="connsiteX400" fmla="*/ 146237 w 5043431"/>
                    <a:gd name="connsiteY400" fmla="*/ 1322224 h 1742206"/>
                    <a:gd name="connsiteX401" fmla="*/ 164992 w 5043431"/>
                    <a:gd name="connsiteY401" fmla="*/ 1303609 h 1742206"/>
                    <a:gd name="connsiteX402" fmla="*/ 189998 w 5043431"/>
                    <a:gd name="connsiteY402" fmla="*/ 1309860 h 1742206"/>
                    <a:gd name="connsiteX403" fmla="*/ 215004 w 5043431"/>
                    <a:gd name="connsiteY403" fmla="*/ 1328476 h 1742206"/>
                    <a:gd name="connsiteX404" fmla="*/ 208753 w 5043431"/>
                    <a:gd name="connsiteY404" fmla="*/ 1334727 h 1742206"/>
                    <a:gd name="connsiteX405" fmla="*/ 215004 w 5043431"/>
                    <a:gd name="connsiteY405" fmla="*/ 1353343 h 1742206"/>
                    <a:gd name="connsiteX406" fmla="*/ 240010 w 5043431"/>
                    <a:gd name="connsiteY406" fmla="*/ 1359595 h 1742206"/>
                    <a:gd name="connsiteX407" fmla="*/ 246262 w 5043431"/>
                    <a:gd name="connsiteY407" fmla="*/ 1384462 h 1742206"/>
                    <a:gd name="connsiteX408" fmla="*/ 271268 w 5043431"/>
                    <a:gd name="connsiteY408" fmla="*/ 1384462 h 1742206"/>
                    <a:gd name="connsiteX409" fmla="*/ 296274 w 5043431"/>
                    <a:gd name="connsiteY409" fmla="*/ 1396965 h 1742206"/>
                    <a:gd name="connsiteX410" fmla="*/ 315029 w 5043431"/>
                    <a:gd name="connsiteY410" fmla="*/ 1396965 h 1742206"/>
                    <a:gd name="connsiteX411" fmla="*/ 340035 w 5043431"/>
                    <a:gd name="connsiteY411" fmla="*/ 1403217 h 1742206"/>
                    <a:gd name="connsiteX412" fmla="*/ 358790 w 5043431"/>
                    <a:gd name="connsiteY412" fmla="*/ 1415720 h 1742206"/>
                    <a:gd name="connsiteX413" fmla="*/ 389909 w 5043431"/>
                    <a:gd name="connsiteY413" fmla="*/ 1428223 h 1742206"/>
                    <a:gd name="connsiteX414" fmla="*/ 383657 w 5043431"/>
                    <a:gd name="connsiteY414" fmla="*/ 1440726 h 1742206"/>
                    <a:gd name="connsiteX415" fmla="*/ 389909 w 5043431"/>
                    <a:gd name="connsiteY415" fmla="*/ 1453229 h 1742206"/>
                    <a:gd name="connsiteX416" fmla="*/ 377406 w 5043431"/>
                    <a:gd name="connsiteY416" fmla="*/ 1465732 h 1742206"/>
                    <a:gd name="connsiteX417" fmla="*/ 377406 w 5043431"/>
                    <a:gd name="connsiteY417" fmla="*/ 1484348 h 1742206"/>
                    <a:gd name="connsiteX418" fmla="*/ 352399 w 5043431"/>
                    <a:gd name="connsiteY418" fmla="*/ 1490600 h 1742206"/>
                    <a:gd name="connsiteX419" fmla="*/ 327393 w 5043431"/>
                    <a:gd name="connsiteY419" fmla="*/ 1515467 h 1742206"/>
                    <a:gd name="connsiteX420" fmla="*/ 358651 w 5043431"/>
                    <a:gd name="connsiteY420" fmla="*/ 1521719 h 1742206"/>
                    <a:gd name="connsiteX421" fmla="*/ 327393 w 5043431"/>
                    <a:gd name="connsiteY421" fmla="*/ 1540334 h 1742206"/>
                    <a:gd name="connsiteX422" fmla="*/ 339896 w 5043431"/>
                    <a:gd name="connsiteY422" fmla="*/ 1558950 h 1742206"/>
                    <a:gd name="connsiteX423" fmla="*/ 321142 w 5043431"/>
                    <a:gd name="connsiteY423" fmla="*/ 1565202 h 1742206"/>
                    <a:gd name="connsiteX424" fmla="*/ 308639 w 5043431"/>
                    <a:gd name="connsiteY424" fmla="*/ 1583817 h 1742206"/>
                    <a:gd name="connsiteX425" fmla="*/ 296135 w 5043431"/>
                    <a:gd name="connsiteY425" fmla="*/ 1596320 h 1742206"/>
                    <a:gd name="connsiteX426" fmla="*/ 314890 w 5043431"/>
                    <a:gd name="connsiteY426" fmla="*/ 1614936 h 1742206"/>
                    <a:gd name="connsiteX427" fmla="*/ 358512 w 5043431"/>
                    <a:gd name="connsiteY427" fmla="*/ 1639804 h 1742206"/>
                    <a:gd name="connsiteX428" fmla="*/ 377267 w 5043431"/>
                    <a:gd name="connsiteY428" fmla="*/ 1652307 h 1742206"/>
                    <a:gd name="connsiteX429" fmla="*/ 396021 w 5043431"/>
                    <a:gd name="connsiteY429" fmla="*/ 1652307 h 1742206"/>
                    <a:gd name="connsiteX430" fmla="*/ 452146 w 5043431"/>
                    <a:gd name="connsiteY430" fmla="*/ 1670922 h 1742206"/>
                    <a:gd name="connsiteX431" fmla="*/ 508271 w 5043431"/>
                    <a:gd name="connsiteY431" fmla="*/ 1689538 h 1742206"/>
                    <a:gd name="connsiteX432" fmla="*/ 558145 w 5043431"/>
                    <a:gd name="connsiteY432" fmla="*/ 1689538 h 1742206"/>
                    <a:gd name="connsiteX433" fmla="*/ 570649 w 5043431"/>
                    <a:gd name="connsiteY433" fmla="*/ 1708154 h 1742206"/>
                    <a:gd name="connsiteX434" fmla="*/ 583152 w 5043431"/>
                    <a:gd name="connsiteY434" fmla="*/ 1714405 h 1742206"/>
                    <a:gd name="connsiteX435" fmla="*/ 639277 w 5043431"/>
                    <a:gd name="connsiteY435" fmla="*/ 1739273 h 1742206"/>
                    <a:gd name="connsiteX436" fmla="*/ 651780 w 5043431"/>
                    <a:gd name="connsiteY436" fmla="*/ 1720657 h 1742206"/>
                    <a:gd name="connsiteX437" fmla="*/ 633025 w 5043431"/>
                    <a:gd name="connsiteY437" fmla="*/ 1702041 h 1742206"/>
                    <a:gd name="connsiteX438" fmla="*/ 620522 w 5043431"/>
                    <a:gd name="connsiteY438" fmla="*/ 1658558 h 1742206"/>
                    <a:gd name="connsiteX439" fmla="*/ 601767 w 5043431"/>
                    <a:gd name="connsiteY439" fmla="*/ 1627439 h 1742206"/>
                    <a:gd name="connsiteX440" fmla="*/ 614270 w 5043431"/>
                    <a:gd name="connsiteY440" fmla="*/ 1602572 h 1742206"/>
                    <a:gd name="connsiteX441" fmla="*/ 639277 w 5043431"/>
                    <a:gd name="connsiteY441" fmla="*/ 1577705 h 1742206"/>
                    <a:gd name="connsiteX442" fmla="*/ 658031 w 5043431"/>
                    <a:gd name="connsiteY442" fmla="*/ 1565202 h 1742206"/>
                    <a:gd name="connsiteX443" fmla="*/ 676786 w 5043431"/>
                    <a:gd name="connsiteY443" fmla="*/ 1552698 h 1742206"/>
                    <a:gd name="connsiteX444" fmla="*/ 658031 w 5043431"/>
                    <a:gd name="connsiteY444" fmla="*/ 1540195 h 1742206"/>
                    <a:gd name="connsiteX445" fmla="*/ 670534 w 5043431"/>
                    <a:gd name="connsiteY445" fmla="*/ 1540195 h 1742206"/>
                    <a:gd name="connsiteX446" fmla="*/ 651780 w 5043431"/>
                    <a:gd name="connsiteY446" fmla="*/ 1509076 h 1742206"/>
                    <a:gd name="connsiteX447" fmla="*/ 626774 w 5043431"/>
                    <a:gd name="connsiteY447" fmla="*/ 1496573 h 1742206"/>
                    <a:gd name="connsiteX448" fmla="*/ 608019 w 5043431"/>
                    <a:gd name="connsiteY448" fmla="*/ 1477958 h 1742206"/>
                    <a:gd name="connsiteX449" fmla="*/ 595516 w 5043431"/>
                    <a:gd name="connsiteY449" fmla="*/ 1459342 h 1742206"/>
                    <a:gd name="connsiteX450" fmla="*/ 601767 w 5043431"/>
                    <a:gd name="connsiteY450" fmla="*/ 1434475 h 1742206"/>
                    <a:gd name="connsiteX451" fmla="*/ 614270 w 5043431"/>
                    <a:gd name="connsiteY451" fmla="*/ 1409607 h 1742206"/>
                    <a:gd name="connsiteX452" fmla="*/ 626774 w 5043431"/>
                    <a:gd name="connsiteY452" fmla="*/ 1390991 h 1742206"/>
                    <a:gd name="connsiteX453" fmla="*/ 645528 w 5043431"/>
                    <a:gd name="connsiteY453" fmla="*/ 1415859 h 1742206"/>
                    <a:gd name="connsiteX454" fmla="*/ 664283 w 5043431"/>
                    <a:gd name="connsiteY454" fmla="*/ 1403356 h 1742206"/>
                    <a:gd name="connsiteX455" fmla="*/ 670534 w 5043431"/>
                    <a:gd name="connsiteY455" fmla="*/ 1378488 h 1742206"/>
                    <a:gd name="connsiteX456" fmla="*/ 695541 w 5043431"/>
                    <a:gd name="connsiteY456" fmla="*/ 1359873 h 1742206"/>
                    <a:gd name="connsiteX457" fmla="*/ 732911 w 5043431"/>
                    <a:gd name="connsiteY457" fmla="*/ 1341257 h 1742206"/>
                    <a:gd name="connsiteX458" fmla="*/ 757917 w 5043431"/>
                    <a:gd name="connsiteY458" fmla="*/ 1341257 h 1742206"/>
                    <a:gd name="connsiteX459" fmla="*/ 782923 w 5043431"/>
                    <a:gd name="connsiteY459" fmla="*/ 1347508 h 1742206"/>
                    <a:gd name="connsiteX460" fmla="*/ 820294 w 5043431"/>
                    <a:gd name="connsiteY460" fmla="*/ 1353760 h 1742206"/>
                    <a:gd name="connsiteX461" fmla="*/ 845300 w 5043431"/>
                    <a:gd name="connsiteY461" fmla="*/ 1384879 h 1742206"/>
                    <a:gd name="connsiteX462" fmla="*/ 857803 w 5043431"/>
                    <a:gd name="connsiteY462" fmla="*/ 1372376 h 1742206"/>
                    <a:gd name="connsiteX463" fmla="*/ 882809 w 5043431"/>
                    <a:gd name="connsiteY463" fmla="*/ 1384879 h 1742206"/>
                    <a:gd name="connsiteX464" fmla="*/ 901564 w 5043431"/>
                    <a:gd name="connsiteY464" fmla="*/ 1372376 h 1742206"/>
                    <a:gd name="connsiteX465" fmla="*/ 932683 w 5043431"/>
                    <a:gd name="connsiteY465" fmla="*/ 1372376 h 1742206"/>
                    <a:gd name="connsiteX466" fmla="*/ 963941 w 5043431"/>
                    <a:gd name="connsiteY466" fmla="*/ 1366124 h 1742206"/>
                    <a:gd name="connsiteX467" fmla="*/ 995060 w 5043431"/>
                    <a:gd name="connsiteY467" fmla="*/ 1384740 h 1742206"/>
                    <a:gd name="connsiteX468" fmla="*/ 1013815 w 5043431"/>
                    <a:gd name="connsiteY468" fmla="*/ 1378488 h 1742206"/>
                    <a:gd name="connsiteX469" fmla="*/ 1051185 w 5043431"/>
                    <a:gd name="connsiteY469" fmla="*/ 1378488 h 1742206"/>
                    <a:gd name="connsiteX470" fmla="*/ 1069940 w 5043431"/>
                    <a:gd name="connsiteY470" fmla="*/ 1359873 h 1742206"/>
                    <a:gd name="connsiteX471" fmla="*/ 1044933 w 5043431"/>
                    <a:gd name="connsiteY471" fmla="*/ 1341257 h 1742206"/>
                    <a:gd name="connsiteX472" fmla="*/ 1051185 w 5043431"/>
                    <a:gd name="connsiteY472" fmla="*/ 1303886 h 1742206"/>
                    <a:gd name="connsiteX473" fmla="*/ 1051185 w 5043431"/>
                    <a:gd name="connsiteY473" fmla="*/ 1291383 h 1742206"/>
                    <a:gd name="connsiteX474" fmla="*/ 1076191 w 5043431"/>
                    <a:gd name="connsiteY474" fmla="*/ 1285132 h 1742206"/>
                    <a:gd name="connsiteX475" fmla="*/ 1063688 w 5043431"/>
                    <a:gd name="connsiteY475" fmla="*/ 1241649 h 1742206"/>
                    <a:gd name="connsiteX476" fmla="*/ 1088694 w 5043431"/>
                    <a:gd name="connsiteY476" fmla="*/ 1241649 h 1742206"/>
                    <a:gd name="connsiteX477" fmla="*/ 1138568 w 5043431"/>
                    <a:gd name="connsiteY477" fmla="*/ 1235397 h 1742206"/>
                    <a:gd name="connsiteX478" fmla="*/ 1175938 w 5043431"/>
                    <a:gd name="connsiteY478" fmla="*/ 1229145 h 1742206"/>
                    <a:gd name="connsiteX479" fmla="*/ 1219560 w 5043431"/>
                    <a:gd name="connsiteY479" fmla="*/ 1216642 h 1742206"/>
                    <a:gd name="connsiteX480" fmla="*/ 1294440 w 5043431"/>
                    <a:gd name="connsiteY480" fmla="*/ 1191775 h 1742206"/>
                    <a:gd name="connsiteX481" fmla="*/ 1363068 w 5043431"/>
                    <a:gd name="connsiteY481" fmla="*/ 1204278 h 1742206"/>
                    <a:gd name="connsiteX482" fmla="*/ 1369320 w 5043431"/>
                    <a:gd name="connsiteY482" fmla="*/ 1229145 h 1742206"/>
                    <a:gd name="connsiteX483" fmla="*/ 1406690 w 5043431"/>
                    <a:gd name="connsiteY483" fmla="*/ 1235397 h 1742206"/>
                    <a:gd name="connsiteX484" fmla="*/ 1412942 w 5043431"/>
                    <a:gd name="connsiteY484" fmla="*/ 1241649 h 1742206"/>
                    <a:gd name="connsiteX485" fmla="*/ 1419193 w 5043431"/>
                    <a:gd name="connsiteY485" fmla="*/ 1241649 h 1742206"/>
                    <a:gd name="connsiteX486" fmla="*/ 1437948 w 5043431"/>
                    <a:gd name="connsiteY486" fmla="*/ 1247900 h 1742206"/>
                    <a:gd name="connsiteX487" fmla="*/ 1437948 w 5043431"/>
                    <a:gd name="connsiteY487" fmla="*/ 1254152 h 1742206"/>
                    <a:gd name="connsiteX488" fmla="*/ 1487822 w 5043431"/>
                    <a:gd name="connsiteY488" fmla="*/ 1254152 h 1742206"/>
                    <a:gd name="connsiteX489" fmla="*/ 1543947 w 5043431"/>
                    <a:gd name="connsiteY489" fmla="*/ 1229285 h 1742206"/>
                    <a:gd name="connsiteX490" fmla="*/ 1543947 w 5043431"/>
                    <a:gd name="connsiteY490" fmla="*/ 1254152 h 1742206"/>
                    <a:gd name="connsiteX491" fmla="*/ 1568953 w 5043431"/>
                    <a:gd name="connsiteY491" fmla="*/ 1266655 h 1742206"/>
                    <a:gd name="connsiteX492" fmla="*/ 1606324 w 5043431"/>
                    <a:gd name="connsiteY492" fmla="*/ 1322641 h 1742206"/>
                    <a:gd name="connsiteX493" fmla="*/ 1637443 w 5043431"/>
                    <a:gd name="connsiteY493" fmla="*/ 1372376 h 1742206"/>
                    <a:gd name="connsiteX494" fmla="*/ 1674813 w 5043431"/>
                    <a:gd name="connsiteY494" fmla="*/ 1366124 h 1742206"/>
                    <a:gd name="connsiteX495" fmla="*/ 1743441 w 5043431"/>
                    <a:gd name="connsiteY495" fmla="*/ 1372376 h 1742206"/>
                    <a:gd name="connsiteX496" fmla="*/ 1768447 w 5043431"/>
                    <a:gd name="connsiteY496" fmla="*/ 1390991 h 1742206"/>
                    <a:gd name="connsiteX497" fmla="*/ 1793453 w 5043431"/>
                    <a:gd name="connsiteY497" fmla="*/ 1415859 h 1742206"/>
                    <a:gd name="connsiteX498" fmla="*/ 1824572 w 5043431"/>
                    <a:gd name="connsiteY498" fmla="*/ 1428362 h 1742206"/>
                    <a:gd name="connsiteX499" fmla="*/ 1843327 w 5043431"/>
                    <a:gd name="connsiteY499" fmla="*/ 1434613 h 1742206"/>
                    <a:gd name="connsiteX500" fmla="*/ 1911956 w 5043431"/>
                    <a:gd name="connsiteY500" fmla="*/ 1428362 h 1742206"/>
                    <a:gd name="connsiteX501" fmla="*/ 1968081 w 5043431"/>
                    <a:gd name="connsiteY501" fmla="*/ 1397243 h 1742206"/>
                    <a:gd name="connsiteX502" fmla="*/ 2036709 w 5043431"/>
                    <a:gd name="connsiteY502" fmla="*/ 1384740 h 1742206"/>
                    <a:gd name="connsiteX503" fmla="*/ 2061715 w 5043431"/>
                    <a:gd name="connsiteY503" fmla="*/ 1403356 h 1742206"/>
                    <a:gd name="connsiteX504" fmla="*/ 2092973 w 5043431"/>
                    <a:gd name="connsiteY504" fmla="*/ 1409607 h 1742206"/>
                    <a:gd name="connsiteX505" fmla="*/ 2124231 w 5043431"/>
                    <a:gd name="connsiteY505" fmla="*/ 1415859 h 1742206"/>
                    <a:gd name="connsiteX506" fmla="*/ 2155349 w 5043431"/>
                    <a:gd name="connsiteY506" fmla="*/ 1409607 h 1742206"/>
                    <a:gd name="connsiteX507" fmla="*/ 2155349 w 5043431"/>
                    <a:gd name="connsiteY507" fmla="*/ 1359873 h 1742206"/>
                    <a:gd name="connsiteX508" fmla="*/ 2198971 w 5043431"/>
                    <a:gd name="connsiteY508" fmla="*/ 1328754 h 1742206"/>
                    <a:gd name="connsiteX509" fmla="*/ 2280103 w 5043431"/>
                    <a:gd name="connsiteY509" fmla="*/ 1353621 h 1742206"/>
                    <a:gd name="connsiteX510" fmla="*/ 2292606 w 5043431"/>
                    <a:gd name="connsiteY510" fmla="*/ 1378488 h 1742206"/>
                    <a:gd name="connsiteX511" fmla="*/ 2329977 w 5043431"/>
                    <a:gd name="connsiteY511" fmla="*/ 1403356 h 1742206"/>
                    <a:gd name="connsiteX512" fmla="*/ 2404856 w 5043431"/>
                    <a:gd name="connsiteY512" fmla="*/ 1397104 h 1742206"/>
                    <a:gd name="connsiteX513" fmla="*/ 2429863 w 5043431"/>
                    <a:gd name="connsiteY513" fmla="*/ 1403356 h 1742206"/>
                    <a:gd name="connsiteX514" fmla="*/ 2467233 w 5043431"/>
                    <a:gd name="connsiteY514" fmla="*/ 1421971 h 1742206"/>
                    <a:gd name="connsiteX515" fmla="*/ 2585735 w 5043431"/>
                    <a:gd name="connsiteY515" fmla="*/ 1434475 h 1742206"/>
                    <a:gd name="connsiteX516" fmla="*/ 2654363 w 5043431"/>
                    <a:gd name="connsiteY516" fmla="*/ 1409607 h 1742206"/>
                    <a:gd name="connsiteX517" fmla="*/ 2697985 w 5043431"/>
                    <a:gd name="connsiteY517" fmla="*/ 1409607 h 1742206"/>
                    <a:gd name="connsiteX518" fmla="*/ 2729104 w 5043431"/>
                    <a:gd name="connsiteY518" fmla="*/ 1409607 h 1742206"/>
                    <a:gd name="connsiteX519" fmla="*/ 2772726 w 5043431"/>
                    <a:gd name="connsiteY519" fmla="*/ 1428223 h 1742206"/>
                    <a:gd name="connsiteX520" fmla="*/ 2797732 w 5043431"/>
                    <a:gd name="connsiteY520" fmla="*/ 1415720 h 1742206"/>
                    <a:gd name="connsiteX521" fmla="*/ 2822738 w 5043431"/>
                    <a:gd name="connsiteY521" fmla="*/ 1397104 h 1742206"/>
                    <a:gd name="connsiteX522" fmla="*/ 2853858 w 5043431"/>
                    <a:gd name="connsiteY522" fmla="*/ 1334866 h 1742206"/>
                    <a:gd name="connsiteX523" fmla="*/ 2860109 w 5043431"/>
                    <a:gd name="connsiteY523" fmla="*/ 1309999 h 1742206"/>
                    <a:gd name="connsiteX524" fmla="*/ 2847606 w 5043431"/>
                    <a:gd name="connsiteY524" fmla="*/ 1291383 h 1742206"/>
                    <a:gd name="connsiteX525" fmla="*/ 2928737 w 5043431"/>
                    <a:gd name="connsiteY525" fmla="*/ 1266516 h 1742206"/>
                    <a:gd name="connsiteX526" fmla="*/ 2966247 w 5043431"/>
                    <a:gd name="connsiteY526" fmla="*/ 1272767 h 1742206"/>
                    <a:gd name="connsiteX527" fmla="*/ 3009868 w 5043431"/>
                    <a:gd name="connsiteY527" fmla="*/ 1285271 h 1742206"/>
                    <a:gd name="connsiteX528" fmla="*/ 3047239 w 5043431"/>
                    <a:gd name="connsiteY528" fmla="*/ 1335005 h 1742206"/>
                    <a:gd name="connsiteX529" fmla="*/ 3072245 w 5043431"/>
                    <a:gd name="connsiteY529" fmla="*/ 1390991 h 1742206"/>
                    <a:gd name="connsiteX530" fmla="*/ 3078497 w 5043431"/>
                    <a:gd name="connsiteY530" fmla="*/ 1422110 h 1742206"/>
                    <a:gd name="connsiteX531" fmla="*/ 3103503 w 5043431"/>
                    <a:gd name="connsiteY531" fmla="*/ 1428362 h 1742206"/>
                    <a:gd name="connsiteX532" fmla="*/ 3165879 w 5043431"/>
                    <a:gd name="connsiteY532" fmla="*/ 1471845 h 1742206"/>
                    <a:gd name="connsiteX533" fmla="*/ 3203250 w 5043431"/>
                    <a:gd name="connsiteY533" fmla="*/ 1502964 h 1742206"/>
                    <a:gd name="connsiteX534" fmla="*/ 3228257 w 5043431"/>
                    <a:gd name="connsiteY534" fmla="*/ 1502964 h 1742206"/>
                    <a:gd name="connsiteX535" fmla="*/ 3253263 w 5043431"/>
                    <a:gd name="connsiteY535" fmla="*/ 1490461 h 1742206"/>
                    <a:gd name="connsiteX536" fmla="*/ 3303136 w 5043431"/>
                    <a:gd name="connsiteY536" fmla="*/ 1496712 h 1742206"/>
                    <a:gd name="connsiteX537" fmla="*/ 3296885 w 5043431"/>
                    <a:gd name="connsiteY537" fmla="*/ 1515328 h 1742206"/>
                    <a:gd name="connsiteX538" fmla="*/ 3278130 w 5043431"/>
                    <a:gd name="connsiteY538" fmla="*/ 1546447 h 1742206"/>
                    <a:gd name="connsiteX539" fmla="*/ 3247011 w 5043431"/>
                    <a:gd name="connsiteY539" fmla="*/ 1602433 h 1742206"/>
                    <a:gd name="connsiteX540" fmla="*/ 3228257 w 5043431"/>
                    <a:gd name="connsiteY540" fmla="*/ 1602433 h 1742206"/>
                    <a:gd name="connsiteX541" fmla="*/ 3203250 w 5043431"/>
                    <a:gd name="connsiteY541" fmla="*/ 1608685 h 1742206"/>
                    <a:gd name="connsiteX542" fmla="*/ 3184634 w 5043431"/>
                    <a:gd name="connsiteY542" fmla="*/ 1614936 h 1742206"/>
                    <a:gd name="connsiteX543" fmla="*/ 3197137 w 5043431"/>
                    <a:gd name="connsiteY543" fmla="*/ 1658419 h 1742206"/>
                    <a:gd name="connsiteX544" fmla="*/ 3190886 w 5043431"/>
                    <a:gd name="connsiteY544" fmla="*/ 1683287 h 1742206"/>
                    <a:gd name="connsiteX545" fmla="*/ 3172270 w 5043431"/>
                    <a:gd name="connsiteY545" fmla="*/ 1701902 h 1742206"/>
                    <a:gd name="connsiteX546" fmla="*/ 3203389 w 5043431"/>
                    <a:gd name="connsiteY546" fmla="*/ 1689399 h 1742206"/>
                    <a:gd name="connsiteX547" fmla="*/ 3234508 w 5043431"/>
                    <a:gd name="connsiteY547" fmla="*/ 1689399 h 1742206"/>
                    <a:gd name="connsiteX548" fmla="*/ 3309388 w 5043431"/>
                    <a:gd name="connsiteY548" fmla="*/ 1670783 h 1742206"/>
                    <a:gd name="connsiteX549" fmla="*/ 3365513 w 5043431"/>
                    <a:gd name="connsiteY549" fmla="*/ 1608546 h 1742206"/>
                    <a:gd name="connsiteX550" fmla="*/ 3421638 w 5043431"/>
                    <a:gd name="connsiteY550" fmla="*/ 1533944 h 1742206"/>
                    <a:gd name="connsiteX551" fmla="*/ 3477763 w 5043431"/>
                    <a:gd name="connsiteY551" fmla="*/ 1403356 h 1742206"/>
                    <a:gd name="connsiteX552" fmla="*/ 3496379 w 5043431"/>
                    <a:gd name="connsiteY552" fmla="*/ 1347370 h 1742206"/>
                    <a:gd name="connsiteX553" fmla="*/ 3508882 w 5043431"/>
                    <a:gd name="connsiteY553" fmla="*/ 1316251 h 1742206"/>
                    <a:gd name="connsiteX554" fmla="*/ 3508882 w 5043431"/>
                    <a:gd name="connsiteY554" fmla="*/ 1303747 h 1742206"/>
                    <a:gd name="connsiteX555" fmla="*/ 3496379 w 5043431"/>
                    <a:gd name="connsiteY555" fmla="*/ 1285132 h 1742206"/>
                    <a:gd name="connsiteX556" fmla="*/ 3508882 w 5043431"/>
                    <a:gd name="connsiteY556" fmla="*/ 1285132 h 1742206"/>
                    <a:gd name="connsiteX557" fmla="*/ 3496379 w 5043431"/>
                    <a:gd name="connsiteY557" fmla="*/ 1272629 h 1742206"/>
                    <a:gd name="connsiteX558" fmla="*/ 3471511 w 5043431"/>
                    <a:gd name="connsiteY558" fmla="*/ 1241510 h 1742206"/>
                    <a:gd name="connsiteX559" fmla="*/ 3427889 w 5043431"/>
                    <a:gd name="connsiteY559" fmla="*/ 1235258 h 1742206"/>
                    <a:gd name="connsiteX560" fmla="*/ 3427889 w 5043431"/>
                    <a:gd name="connsiteY560" fmla="*/ 1247761 h 1742206"/>
                    <a:gd name="connsiteX561" fmla="*/ 3409135 w 5043431"/>
                    <a:gd name="connsiteY561" fmla="*/ 1260264 h 1742206"/>
                    <a:gd name="connsiteX562" fmla="*/ 3390519 w 5043431"/>
                    <a:gd name="connsiteY562" fmla="*/ 1247761 h 1742206"/>
                    <a:gd name="connsiteX563" fmla="*/ 3384267 w 5043431"/>
                    <a:gd name="connsiteY563" fmla="*/ 1235258 h 1742206"/>
                    <a:gd name="connsiteX564" fmla="*/ 3365513 w 5043431"/>
                    <a:gd name="connsiteY564" fmla="*/ 1253874 h 1742206"/>
                    <a:gd name="connsiteX565" fmla="*/ 3365513 w 5043431"/>
                    <a:gd name="connsiteY565" fmla="*/ 1216503 h 1742206"/>
                    <a:gd name="connsiteX566" fmla="*/ 3328142 w 5043431"/>
                    <a:gd name="connsiteY566" fmla="*/ 1204000 h 1742206"/>
                    <a:gd name="connsiteX567" fmla="*/ 3403022 w 5043431"/>
                    <a:gd name="connsiteY567" fmla="*/ 1148014 h 1742206"/>
                    <a:gd name="connsiteX568" fmla="*/ 3421638 w 5043431"/>
                    <a:gd name="connsiteY568" fmla="*/ 1123147 h 1742206"/>
                    <a:gd name="connsiteX569" fmla="*/ 3471650 w 5043431"/>
                    <a:gd name="connsiteY569" fmla="*/ 1085776 h 1742206"/>
                    <a:gd name="connsiteX570" fmla="*/ 3496517 w 5043431"/>
                    <a:gd name="connsiteY570" fmla="*/ 1060909 h 1742206"/>
                    <a:gd name="connsiteX571" fmla="*/ 3534027 w 5043431"/>
                    <a:gd name="connsiteY571" fmla="*/ 1023539 h 1742206"/>
                    <a:gd name="connsiteX572" fmla="*/ 3627523 w 5043431"/>
                    <a:gd name="connsiteY572" fmla="*/ 1004923 h 1742206"/>
                    <a:gd name="connsiteX573" fmla="*/ 3646277 w 5043431"/>
                    <a:gd name="connsiteY573" fmla="*/ 1004923 h 1742206"/>
                    <a:gd name="connsiteX574" fmla="*/ 3658781 w 5043431"/>
                    <a:gd name="connsiteY574" fmla="*/ 1017426 h 1742206"/>
                    <a:gd name="connsiteX575" fmla="*/ 3683648 w 5043431"/>
                    <a:gd name="connsiteY575" fmla="*/ 1004923 h 1742206"/>
                    <a:gd name="connsiteX576" fmla="*/ 3702402 w 5043431"/>
                    <a:gd name="connsiteY576" fmla="*/ 1011175 h 1742206"/>
                    <a:gd name="connsiteX577" fmla="*/ 3721018 w 5043431"/>
                    <a:gd name="connsiteY577" fmla="*/ 1011175 h 1742206"/>
                    <a:gd name="connsiteX578" fmla="*/ 3733521 w 5043431"/>
                    <a:gd name="connsiteY578" fmla="*/ 1011175 h 1742206"/>
                    <a:gd name="connsiteX579" fmla="*/ 3764640 w 5043431"/>
                    <a:gd name="connsiteY579" fmla="*/ 992559 h 1742206"/>
                    <a:gd name="connsiteX580" fmla="*/ 3789646 w 5043431"/>
                    <a:gd name="connsiteY580" fmla="*/ 992559 h 1742206"/>
                    <a:gd name="connsiteX581" fmla="*/ 3808262 w 5043431"/>
                    <a:gd name="connsiteY581" fmla="*/ 1005062 h 1742206"/>
                    <a:gd name="connsiteX582" fmla="*/ 3839381 w 5043431"/>
                    <a:gd name="connsiteY582" fmla="*/ 1017565 h 1742206"/>
                    <a:gd name="connsiteX583" fmla="*/ 3820766 w 5043431"/>
                    <a:gd name="connsiteY583" fmla="*/ 1023817 h 1742206"/>
                    <a:gd name="connsiteX584" fmla="*/ 3839381 w 5043431"/>
                    <a:gd name="connsiteY584" fmla="*/ 1030068 h 1742206"/>
                    <a:gd name="connsiteX585" fmla="*/ 3870500 w 5043431"/>
                    <a:gd name="connsiteY585" fmla="*/ 1030068 h 1742206"/>
                    <a:gd name="connsiteX586" fmla="*/ 3883003 w 5043431"/>
                    <a:gd name="connsiteY586" fmla="*/ 1017565 h 1742206"/>
                    <a:gd name="connsiteX587" fmla="*/ 3908009 w 5043431"/>
                    <a:gd name="connsiteY587" fmla="*/ 1023817 h 1742206"/>
                    <a:gd name="connsiteX588" fmla="*/ 3933016 w 5043431"/>
                    <a:gd name="connsiteY588" fmla="*/ 1005201 h 1742206"/>
                    <a:gd name="connsiteX589" fmla="*/ 3914261 w 5043431"/>
                    <a:gd name="connsiteY589" fmla="*/ 992698 h 1742206"/>
                    <a:gd name="connsiteX590" fmla="*/ 3933016 w 5043431"/>
                    <a:gd name="connsiteY590" fmla="*/ 961579 h 1742206"/>
                    <a:gd name="connsiteX591" fmla="*/ 3964134 w 5043431"/>
                    <a:gd name="connsiteY591" fmla="*/ 936711 h 1742206"/>
                    <a:gd name="connsiteX592" fmla="*/ 3989141 w 5043431"/>
                    <a:gd name="connsiteY592" fmla="*/ 918096 h 1742206"/>
                    <a:gd name="connsiteX593" fmla="*/ 4014008 w 5043431"/>
                    <a:gd name="connsiteY593" fmla="*/ 899480 h 1742206"/>
                    <a:gd name="connsiteX594" fmla="*/ 4057630 w 5043431"/>
                    <a:gd name="connsiteY594" fmla="*/ 893228 h 1742206"/>
                    <a:gd name="connsiteX595" fmla="*/ 4082636 w 5043431"/>
                    <a:gd name="connsiteY595" fmla="*/ 905732 h 1742206"/>
                    <a:gd name="connsiteX596" fmla="*/ 4101252 w 5043431"/>
                    <a:gd name="connsiteY596" fmla="*/ 893228 h 1742206"/>
                    <a:gd name="connsiteX597" fmla="*/ 4088749 w 5043431"/>
                    <a:gd name="connsiteY597" fmla="*/ 924347 h 1742206"/>
                    <a:gd name="connsiteX598" fmla="*/ 4107504 w 5043431"/>
                    <a:gd name="connsiteY598" fmla="*/ 930599 h 1742206"/>
                    <a:gd name="connsiteX599" fmla="*/ 4095001 w 5043431"/>
                    <a:gd name="connsiteY599" fmla="*/ 949215 h 1742206"/>
                    <a:gd name="connsiteX600" fmla="*/ 4138622 w 5043431"/>
                    <a:gd name="connsiteY600" fmla="*/ 924347 h 1742206"/>
                    <a:gd name="connsiteX601" fmla="*/ 4163629 w 5043431"/>
                    <a:gd name="connsiteY601" fmla="*/ 905732 h 1742206"/>
                    <a:gd name="connsiteX602" fmla="*/ 4188496 w 5043431"/>
                    <a:gd name="connsiteY602" fmla="*/ 899480 h 1742206"/>
                    <a:gd name="connsiteX603" fmla="*/ 4207251 w 5043431"/>
                    <a:gd name="connsiteY603" fmla="*/ 862109 h 1742206"/>
                    <a:gd name="connsiteX604" fmla="*/ 4232118 w 5043431"/>
                    <a:gd name="connsiteY604" fmla="*/ 855858 h 1742206"/>
                    <a:gd name="connsiteX605" fmla="*/ 4257124 w 5043431"/>
                    <a:gd name="connsiteY605" fmla="*/ 862109 h 1742206"/>
                    <a:gd name="connsiteX606" fmla="*/ 4219754 w 5043431"/>
                    <a:gd name="connsiteY606" fmla="*/ 880725 h 1742206"/>
                    <a:gd name="connsiteX607" fmla="*/ 4219754 w 5043431"/>
                    <a:gd name="connsiteY607" fmla="*/ 899341 h 1742206"/>
                    <a:gd name="connsiteX608" fmla="*/ 4213502 w 5043431"/>
                    <a:gd name="connsiteY608" fmla="*/ 911844 h 1742206"/>
                    <a:gd name="connsiteX609" fmla="*/ 4213502 w 5043431"/>
                    <a:gd name="connsiteY609" fmla="*/ 924347 h 1742206"/>
                    <a:gd name="connsiteX610" fmla="*/ 4207251 w 5043431"/>
                    <a:gd name="connsiteY610" fmla="*/ 936850 h 1742206"/>
                    <a:gd name="connsiteX611" fmla="*/ 4169741 w 5043431"/>
                    <a:gd name="connsiteY611" fmla="*/ 955466 h 1742206"/>
                    <a:gd name="connsiteX612" fmla="*/ 4138622 w 5043431"/>
                    <a:gd name="connsiteY612" fmla="*/ 980333 h 1742206"/>
                    <a:gd name="connsiteX613" fmla="*/ 4101113 w 5043431"/>
                    <a:gd name="connsiteY613" fmla="*/ 1011452 h 1742206"/>
                    <a:gd name="connsiteX614" fmla="*/ 4026233 w 5043431"/>
                    <a:gd name="connsiteY614" fmla="*/ 1073690 h 1742206"/>
                    <a:gd name="connsiteX615" fmla="*/ 3995115 w 5043431"/>
                    <a:gd name="connsiteY615" fmla="*/ 1086193 h 1742206"/>
                    <a:gd name="connsiteX616" fmla="*/ 3976498 w 5043431"/>
                    <a:gd name="connsiteY616" fmla="*/ 1123564 h 1742206"/>
                    <a:gd name="connsiteX617" fmla="*/ 3957744 w 5043431"/>
                    <a:gd name="connsiteY617" fmla="*/ 1210669 h 1742206"/>
                    <a:gd name="connsiteX618" fmla="*/ 3976498 w 5043431"/>
                    <a:gd name="connsiteY618" fmla="*/ 1304025 h 1742206"/>
                    <a:gd name="connsiteX619" fmla="*/ 3982750 w 5043431"/>
                    <a:gd name="connsiteY619" fmla="*/ 1347508 h 1742206"/>
                    <a:gd name="connsiteX620" fmla="*/ 3989001 w 5043431"/>
                    <a:gd name="connsiteY620" fmla="*/ 1360012 h 1742206"/>
                    <a:gd name="connsiteX621" fmla="*/ 3989001 w 5043431"/>
                    <a:gd name="connsiteY621" fmla="*/ 1378627 h 1742206"/>
                    <a:gd name="connsiteX622" fmla="*/ 4020121 w 5043431"/>
                    <a:gd name="connsiteY622" fmla="*/ 1347508 h 1742206"/>
                    <a:gd name="connsiteX623" fmla="*/ 4044988 w 5043431"/>
                    <a:gd name="connsiteY623" fmla="*/ 1304025 h 1742206"/>
                    <a:gd name="connsiteX624" fmla="*/ 4082497 w 5043431"/>
                    <a:gd name="connsiteY624" fmla="*/ 1279158 h 1742206"/>
                    <a:gd name="connsiteX625" fmla="*/ 4088749 w 5043431"/>
                    <a:gd name="connsiteY625" fmla="*/ 1248039 h 1742206"/>
                    <a:gd name="connsiteX626" fmla="*/ 4126258 w 5043431"/>
                    <a:gd name="connsiteY626" fmla="*/ 1223172 h 1742206"/>
                    <a:gd name="connsiteX627" fmla="*/ 4157377 w 5043431"/>
                    <a:gd name="connsiteY627" fmla="*/ 1204556 h 1742206"/>
                    <a:gd name="connsiteX628" fmla="*/ 4169880 w 5043431"/>
                    <a:gd name="connsiteY628" fmla="*/ 1154821 h 1742206"/>
                    <a:gd name="connsiteX629" fmla="*/ 4182383 w 5043431"/>
                    <a:gd name="connsiteY629" fmla="*/ 1161073 h 1742206"/>
                    <a:gd name="connsiteX630" fmla="*/ 4194887 w 5043431"/>
                    <a:gd name="connsiteY630" fmla="*/ 1136206 h 1742206"/>
                    <a:gd name="connsiteX631" fmla="*/ 4182383 w 5043431"/>
                    <a:gd name="connsiteY631" fmla="*/ 1098835 h 1742206"/>
                    <a:gd name="connsiteX632" fmla="*/ 4194887 w 5043431"/>
                    <a:gd name="connsiteY632" fmla="*/ 1086332 h 1742206"/>
                    <a:gd name="connsiteX633" fmla="*/ 4176271 w 5043431"/>
                    <a:gd name="connsiteY633" fmla="*/ 1073829 h 1742206"/>
                    <a:gd name="connsiteX634" fmla="*/ 4170019 w 5043431"/>
                    <a:gd name="connsiteY634" fmla="*/ 1080081 h 1742206"/>
                    <a:gd name="connsiteX635" fmla="*/ 4157516 w 5043431"/>
                    <a:gd name="connsiteY635" fmla="*/ 1061465 h 1742206"/>
                    <a:gd name="connsiteX636" fmla="*/ 4188635 w 5043431"/>
                    <a:gd name="connsiteY636" fmla="*/ 1024094 h 1742206"/>
                    <a:gd name="connsiteX637" fmla="*/ 4213641 w 5043431"/>
                    <a:gd name="connsiteY637" fmla="*/ 980611 h 1742206"/>
                    <a:gd name="connsiteX638" fmla="*/ 4219893 w 5043431"/>
                    <a:gd name="connsiteY638" fmla="*/ 986863 h 1742206"/>
                    <a:gd name="connsiteX639" fmla="*/ 4238508 w 5043431"/>
                    <a:gd name="connsiteY639" fmla="*/ 980611 h 1742206"/>
                    <a:gd name="connsiteX640" fmla="*/ 4251012 w 5043431"/>
                    <a:gd name="connsiteY640" fmla="*/ 980611 h 1742206"/>
                    <a:gd name="connsiteX641" fmla="*/ 4282130 w 5043431"/>
                    <a:gd name="connsiteY641" fmla="*/ 961996 h 1742206"/>
                    <a:gd name="connsiteX642" fmla="*/ 4288382 w 5043431"/>
                    <a:gd name="connsiteY642" fmla="*/ 986863 h 1742206"/>
                    <a:gd name="connsiteX643" fmla="*/ 4319501 w 5043431"/>
                    <a:gd name="connsiteY643" fmla="*/ 968247 h 1742206"/>
                    <a:gd name="connsiteX644" fmla="*/ 4363123 w 5043431"/>
                    <a:gd name="connsiteY644" fmla="*/ 955744 h 1742206"/>
                    <a:gd name="connsiteX645" fmla="*/ 4394381 w 5043431"/>
                    <a:gd name="connsiteY645" fmla="*/ 968247 h 1742206"/>
                    <a:gd name="connsiteX646" fmla="*/ 4412997 w 5043431"/>
                    <a:gd name="connsiteY646" fmla="*/ 980750 h 1742206"/>
                    <a:gd name="connsiteX647" fmla="*/ 4425500 w 5043431"/>
                    <a:gd name="connsiteY647" fmla="*/ 968247 h 1742206"/>
                    <a:gd name="connsiteX648" fmla="*/ 4587624 w 5043431"/>
                    <a:gd name="connsiteY648" fmla="*/ 881142 h 1742206"/>
                    <a:gd name="connsiteX649" fmla="*/ 4625133 w 5043431"/>
                    <a:gd name="connsiteY649" fmla="*/ 856275 h 1742206"/>
                    <a:gd name="connsiteX650" fmla="*/ 4643749 w 5043431"/>
                    <a:gd name="connsiteY650" fmla="*/ 862526 h 1742206"/>
                    <a:gd name="connsiteX651" fmla="*/ 4668755 w 5043431"/>
                    <a:gd name="connsiteY651" fmla="*/ 862526 h 1742206"/>
                    <a:gd name="connsiteX652" fmla="*/ 4687510 w 5043431"/>
                    <a:gd name="connsiteY652" fmla="*/ 875029 h 1742206"/>
                    <a:gd name="connsiteX653" fmla="*/ 4700013 w 5043431"/>
                    <a:gd name="connsiteY653" fmla="*/ 837659 h 1742206"/>
                    <a:gd name="connsiteX654" fmla="*/ 4681397 w 5043431"/>
                    <a:gd name="connsiteY654" fmla="*/ 812792 h 1742206"/>
                    <a:gd name="connsiteX655" fmla="*/ 4662643 w 5043431"/>
                    <a:gd name="connsiteY655" fmla="*/ 781673 h 1742206"/>
                    <a:gd name="connsiteX656" fmla="*/ 4644026 w 5043431"/>
                    <a:gd name="connsiteY656" fmla="*/ 775421 h 1742206"/>
                    <a:gd name="connsiteX657" fmla="*/ 4637775 w 5043431"/>
                    <a:gd name="connsiteY657" fmla="*/ 756805 h 1742206"/>
                    <a:gd name="connsiteX658" fmla="*/ 4619020 w 5043431"/>
                    <a:gd name="connsiteY658" fmla="*/ 756805 h 1742206"/>
                    <a:gd name="connsiteX659" fmla="*/ 4600404 w 5043431"/>
                    <a:gd name="connsiteY659" fmla="*/ 750554 h 1742206"/>
                    <a:gd name="connsiteX660" fmla="*/ 4625411 w 5043431"/>
                    <a:gd name="connsiteY660" fmla="*/ 750554 h 1742206"/>
                    <a:gd name="connsiteX661" fmla="*/ 4606656 w 5043431"/>
                    <a:gd name="connsiteY661" fmla="*/ 744302 h 1742206"/>
                    <a:gd name="connsiteX662" fmla="*/ 4662781 w 5043431"/>
                    <a:gd name="connsiteY662" fmla="*/ 756805 h 1742206"/>
                    <a:gd name="connsiteX663" fmla="*/ 4725158 w 5043431"/>
                    <a:gd name="connsiteY663" fmla="*/ 738190 h 1742206"/>
                    <a:gd name="connsiteX664" fmla="*/ 4718907 w 5043431"/>
                    <a:gd name="connsiteY664" fmla="*/ 725687 h 1742206"/>
                    <a:gd name="connsiteX665" fmla="*/ 4743913 w 5043431"/>
                    <a:gd name="connsiteY665" fmla="*/ 713183 h 1742206"/>
                    <a:gd name="connsiteX666" fmla="*/ 4731410 w 5043431"/>
                    <a:gd name="connsiteY666" fmla="*/ 694568 h 1742206"/>
                    <a:gd name="connsiteX667" fmla="*/ 4743913 w 5043431"/>
                    <a:gd name="connsiteY667" fmla="*/ 675952 h 1742206"/>
                    <a:gd name="connsiteX668" fmla="*/ 4775032 w 5043431"/>
                    <a:gd name="connsiteY668" fmla="*/ 675952 h 1742206"/>
                    <a:gd name="connsiteX669" fmla="*/ 4756416 w 5043431"/>
                    <a:gd name="connsiteY669" fmla="*/ 694568 h 1742206"/>
                    <a:gd name="connsiteX670" fmla="*/ 4768919 w 5043431"/>
                    <a:gd name="connsiteY670" fmla="*/ 707071 h 1742206"/>
                    <a:gd name="connsiteX671" fmla="*/ 4768919 w 5043431"/>
                    <a:gd name="connsiteY671" fmla="*/ 719574 h 1742206"/>
                    <a:gd name="connsiteX672" fmla="*/ 4806289 w 5043431"/>
                    <a:gd name="connsiteY672" fmla="*/ 713322 h 1742206"/>
                    <a:gd name="connsiteX673" fmla="*/ 4843799 w 5043431"/>
                    <a:gd name="connsiteY673" fmla="*/ 719574 h 1742206"/>
                    <a:gd name="connsiteX674" fmla="*/ 4850050 w 5043431"/>
                    <a:gd name="connsiteY674" fmla="*/ 738190 h 1742206"/>
                    <a:gd name="connsiteX675" fmla="*/ 4881169 w 5043431"/>
                    <a:gd name="connsiteY675" fmla="*/ 750693 h 1742206"/>
                    <a:gd name="connsiteX676" fmla="*/ 4931182 w 5043431"/>
                    <a:gd name="connsiteY676" fmla="*/ 769309 h 1742206"/>
                    <a:gd name="connsiteX677" fmla="*/ 4962300 w 5043431"/>
                    <a:gd name="connsiteY677" fmla="*/ 769309 h 1742206"/>
                    <a:gd name="connsiteX678" fmla="*/ 4943685 w 5043431"/>
                    <a:gd name="connsiteY678" fmla="*/ 756805 h 1742206"/>
                    <a:gd name="connsiteX679" fmla="*/ 4962300 w 5043431"/>
                    <a:gd name="connsiteY679" fmla="*/ 756805 h 1742206"/>
                    <a:gd name="connsiteX680" fmla="*/ 4962300 w 5043431"/>
                    <a:gd name="connsiteY680" fmla="*/ 738190 h 1742206"/>
                    <a:gd name="connsiteX681" fmla="*/ 4962300 w 5043431"/>
                    <a:gd name="connsiteY681" fmla="*/ 719574 h 1742206"/>
                    <a:gd name="connsiteX682" fmla="*/ 4949797 w 5043431"/>
                    <a:gd name="connsiteY682" fmla="*/ 707071 h 1742206"/>
                    <a:gd name="connsiteX683" fmla="*/ 4999810 w 5043431"/>
                    <a:gd name="connsiteY683" fmla="*/ 713322 h 1742206"/>
                    <a:gd name="connsiteX684" fmla="*/ 4987307 w 5043431"/>
                    <a:gd name="connsiteY684" fmla="*/ 707071 h 1742206"/>
                    <a:gd name="connsiteX685" fmla="*/ 5018425 w 5043431"/>
                    <a:gd name="connsiteY685" fmla="*/ 707071 h 1742206"/>
                    <a:gd name="connsiteX686" fmla="*/ 5024677 w 5043431"/>
                    <a:gd name="connsiteY686" fmla="*/ 688455 h 1742206"/>
                    <a:gd name="connsiteX687" fmla="*/ 5043431 w 5043431"/>
                    <a:gd name="connsiteY687" fmla="*/ 688455 h 1742206"/>
                    <a:gd name="connsiteX688" fmla="*/ 5036485 w 5043431"/>
                    <a:gd name="connsiteY688" fmla="*/ 688455 h 1742206"/>
                    <a:gd name="connsiteX689" fmla="*/ 5036485 w 5043431"/>
                    <a:gd name="connsiteY689" fmla="*/ 687899 h 1742206"/>
                    <a:gd name="connsiteX690" fmla="*/ 2522802 w 5043431"/>
                    <a:gd name="connsiteY690" fmla="*/ 1191636 h 1742206"/>
                    <a:gd name="connsiteX691" fmla="*/ 2510299 w 5043431"/>
                    <a:gd name="connsiteY691" fmla="*/ 1247622 h 1742206"/>
                    <a:gd name="connsiteX692" fmla="*/ 2485293 w 5043431"/>
                    <a:gd name="connsiteY692" fmla="*/ 1266238 h 1742206"/>
                    <a:gd name="connsiteX693" fmla="*/ 2504048 w 5043431"/>
                    <a:gd name="connsiteY693" fmla="*/ 1266238 h 1742206"/>
                    <a:gd name="connsiteX694" fmla="*/ 2441671 w 5043431"/>
                    <a:gd name="connsiteY694" fmla="*/ 1303609 h 1742206"/>
                    <a:gd name="connsiteX695" fmla="*/ 2416665 w 5043431"/>
                    <a:gd name="connsiteY695" fmla="*/ 1316112 h 1742206"/>
                    <a:gd name="connsiteX696" fmla="*/ 2397910 w 5043431"/>
                    <a:gd name="connsiteY696" fmla="*/ 1340979 h 1742206"/>
                    <a:gd name="connsiteX697" fmla="*/ 2341785 w 5043431"/>
                    <a:gd name="connsiteY697" fmla="*/ 1347230 h 1742206"/>
                    <a:gd name="connsiteX698" fmla="*/ 2391659 w 5043431"/>
                    <a:gd name="connsiteY698" fmla="*/ 1322363 h 1742206"/>
                    <a:gd name="connsiteX699" fmla="*/ 2447784 w 5043431"/>
                    <a:gd name="connsiteY699" fmla="*/ 1278880 h 1742206"/>
                    <a:gd name="connsiteX700" fmla="*/ 2472790 w 5043431"/>
                    <a:gd name="connsiteY700" fmla="*/ 1247761 h 1742206"/>
                    <a:gd name="connsiteX701" fmla="*/ 2503908 w 5043431"/>
                    <a:gd name="connsiteY701" fmla="*/ 1191775 h 1742206"/>
                    <a:gd name="connsiteX702" fmla="*/ 2516412 w 5043431"/>
                    <a:gd name="connsiteY702" fmla="*/ 1173159 h 1742206"/>
                    <a:gd name="connsiteX703" fmla="*/ 2522802 w 5043431"/>
                    <a:gd name="connsiteY703" fmla="*/ 1191636 h 1742206"/>
                    <a:gd name="connsiteX704" fmla="*/ 2522802 w 5043431"/>
                    <a:gd name="connsiteY704" fmla="*/ 1191636 h 174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Lst>
                  <a:rect l="l" t="t" r="r" b="b"/>
                  <a:pathLst>
                    <a:path w="5043431" h="1742206">
                      <a:moveTo>
                        <a:pt x="5036485" y="687899"/>
                      </a:moveTo>
                      <a:cubicBezTo>
                        <a:pt x="5023982" y="675396"/>
                        <a:pt x="5005367" y="669284"/>
                        <a:pt x="4992863" y="656781"/>
                      </a:cubicBezTo>
                      <a:cubicBezTo>
                        <a:pt x="4986612" y="650529"/>
                        <a:pt x="4980360" y="644277"/>
                        <a:pt x="4967857" y="638165"/>
                      </a:cubicBezTo>
                      <a:cubicBezTo>
                        <a:pt x="4961606" y="638165"/>
                        <a:pt x="4949242" y="638165"/>
                        <a:pt x="4942990" y="631913"/>
                      </a:cubicBezTo>
                      <a:cubicBezTo>
                        <a:pt x="4942990" y="638165"/>
                        <a:pt x="4949242" y="638165"/>
                        <a:pt x="4949242" y="638165"/>
                      </a:cubicBezTo>
                      <a:cubicBezTo>
                        <a:pt x="4955493" y="638165"/>
                        <a:pt x="4936738" y="644416"/>
                        <a:pt x="4930626" y="638165"/>
                      </a:cubicBezTo>
                      <a:cubicBezTo>
                        <a:pt x="4930626" y="638165"/>
                        <a:pt x="4936878" y="638165"/>
                        <a:pt x="4936878" y="631913"/>
                      </a:cubicBezTo>
                      <a:cubicBezTo>
                        <a:pt x="4930626" y="625662"/>
                        <a:pt x="4899507" y="638165"/>
                        <a:pt x="4893256" y="631913"/>
                      </a:cubicBezTo>
                      <a:cubicBezTo>
                        <a:pt x="4905759" y="638165"/>
                        <a:pt x="4905759" y="638165"/>
                        <a:pt x="4905759" y="656781"/>
                      </a:cubicBezTo>
                      <a:cubicBezTo>
                        <a:pt x="4899507" y="663032"/>
                        <a:pt x="4912010" y="675396"/>
                        <a:pt x="4912010" y="675396"/>
                      </a:cubicBezTo>
                      <a:cubicBezTo>
                        <a:pt x="4905759" y="675396"/>
                        <a:pt x="4905759" y="669145"/>
                        <a:pt x="4905759" y="669145"/>
                      </a:cubicBezTo>
                      <a:cubicBezTo>
                        <a:pt x="4899507" y="662893"/>
                        <a:pt x="4899507" y="675396"/>
                        <a:pt x="4893256" y="675396"/>
                      </a:cubicBezTo>
                      <a:lnTo>
                        <a:pt x="4880753" y="650529"/>
                      </a:lnTo>
                      <a:cubicBezTo>
                        <a:pt x="4880753" y="644277"/>
                        <a:pt x="4880753" y="644277"/>
                        <a:pt x="4880753" y="644277"/>
                      </a:cubicBezTo>
                      <a:cubicBezTo>
                        <a:pt x="4880753" y="638026"/>
                        <a:pt x="4874501" y="631774"/>
                        <a:pt x="4880753" y="625662"/>
                      </a:cubicBezTo>
                      <a:cubicBezTo>
                        <a:pt x="4887004" y="613158"/>
                        <a:pt x="4874501" y="619410"/>
                        <a:pt x="4868249" y="613158"/>
                      </a:cubicBezTo>
                      <a:cubicBezTo>
                        <a:pt x="4868249" y="606907"/>
                        <a:pt x="4855885" y="600655"/>
                        <a:pt x="4849633" y="600655"/>
                      </a:cubicBezTo>
                      <a:cubicBezTo>
                        <a:pt x="4806011" y="575788"/>
                        <a:pt x="4768641" y="550921"/>
                        <a:pt x="4724880" y="538418"/>
                      </a:cubicBezTo>
                      <a:cubicBezTo>
                        <a:pt x="4712377" y="532166"/>
                        <a:pt x="4706125" y="525915"/>
                        <a:pt x="4699874" y="519802"/>
                      </a:cubicBezTo>
                      <a:cubicBezTo>
                        <a:pt x="4693622" y="513550"/>
                        <a:pt x="4681258" y="507299"/>
                        <a:pt x="4668755" y="507299"/>
                      </a:cubicBezTo>
                      <a:cubicBezTo>
                        <a:pt x="4650000" y="501047"/>
                        <a:pt x="4631246" y="494796"/>
                        <a:pt x="4606378" y="482431"/>
                      </a:cubicBezTo>
                      <a:cubicBezTo>
                        <a:pt x="4587624" y="482431"/>
                        <a:pt x="4562756" y="482431"/>
                        <a:pt x="4550253" y="482431"/>
                      </a:cubicBezTo>
                      <a:cubicBezTo>
                        <a:pt x="4537889" y="482431"/>
                        <a:pt x="4531498" y="482431"/>
                        <a:pt x="4525386" y="482431"/>
                      </a:cubicBezTo>
                      <a:lnTo>
                        <a:pt x="4519134" y="476180"/>
                      </a:lnTo>
                      <a:cubicBezTo>
                        <a:pt x="4512883" y="482431"/>
                        <a:pt x="4512883" y="488683"/>
                        <a:pt x="4506631" y="482431"/>
                      </a:cubicBezTo>
                      <a:cubicBezTo>
                        <a:pt x="4488015" y="482431"/>
                        <a:pt x="4469261" y="476180"/>
                        <a:pt x="4450645" y="469928"/>
                      </a:cubicBezTo>
                      <a:cubicBezTo>
                        <a:pt x="4444393" y="469928"/>
                        <a:pt x="4425639" y="463677"/>
                        <a:pt x="4425639" y="476180"/>
                      </a:cubicBezTo>
                      <a:cubicBezTo>
                        <a:pt x="4419387" y="488683"/>
                        <a:pt x="4413136" y="488683"/>
                        <a:pt x="4425639" y="494796"/>
                      </a:cubicBezTo>
                      <a:cubicBezTo>
                        <a:pt x="4438142" y="507299"/>
                        <a:pt x="4450645" y="532166"/>
                        <a:pt x="4419387" y="538279"/>
                      </a:cubicBezTo>
                      <a:cubicBezTo>
                        <a:pt x="4413136" y="544530"/>
                        <a:pt x="4394520" y="544530"/>
                        <a:pt x="4388268" y="532027"/>
                      </a:cubicBezTo>
                      <a:cubicBezTo>
                        <a:pt x="4382017" y="525776"/>
                        <a:pt x="4382017" y="519524"/>
                        <a:pt x="4363262" y="519524"/>
                      </a:cubicBezTo>
                      <a:cubicBezTo>
                        <a:pt x="4344646" y="513272"/>
                        <a:pt x="4357011" y="507021"/>
                        <a:pt x="4350897" y="500908"/>
                      </a:cubicBezTo>
                      <a:cubicBezTo>
                        <a:pt x="4350897" y="494657"/>
                        <a:pt x="4332143" y="488405"/>
                        <a:pt x="4325891" y="494657"/>
                      </a:cubicBezTo>
                      <a:cubicBezTo>
                        <a:pt x="4307276" y="513272"/>
                        <a:pt x="4275879" y="494657"/>
                        <a:pt x="4251012" y="494657"/>
                      </a:cubicBezTo>
                      <a:cubicBezTo>
                        <a:pt x="4226005" y="494657"/>
                        <a:pt x="4200999" y="488405"/>
                        <a:pt x="4176132" y="488405"/>
                      </a:cubicBezTo>
                      <a:cubicBezTo>
                        <a:pt x="4163629" y="488405"/>
                        <a:pt x="4157377" y="488405"/>
                        <a:pt x="4144874" y="494657"/>
                      </a:cubicBezTo>
                      <a:cubicBezTo>
                        <a:pt x="4132371" y="500908"/>
                        <a:pt x="4138622" y="519524"/>
                        <a:pt x="4138622" y="532027"/>
                      </a:cubicBezTo>
                      <a:lnTo>
                        <a:pt x="4138622" y="532027"/>
                      </a:lnTo>
                      <a:cubicBezTo>
                        <a:pt x="4132371" y="532027"/>
                        <a:pt x="4126119" y="500908"/>
                        <a:pt x="4120007" y="494657"/>
                      </a:cubicBezTo>
                      <a:cubicBezTo>
                        <a:pt x="4113755" y="494657"/>
                        <a:pt x="4088749" y="494657"/>
                        <a:pt x="4082497" y="482154"/>
                      </a:cubicBezTo>
                      <a:cubicBezTo>
                        <a:pt x="4082497" y="463538"/>
                        <a:pt x="4107504" y="457286"/>
                        <a:pt x="4082497" y="438671"/>
                      </a:cubicBezTo>
                      <a:cubicBezTo>
                        <a:pt x="4069994" y="432419"/>
                        <a:pt x="4057491" y="426167"/>
                        <a:pt x="4038876" y="420055"/>
                      </a:cubicBezTo>
                      <a:cubicBezTo>
                        <a:pt x="4001366" y="407552"/>
                        <a:pt x="3957744" y="420055"/>
                        <a:pt x="3920373" y="426306"/>
                      </a:cubicBezTo>
                      <a:cubicBezTo>
                        <a:pt x="3901619" y="426306"/>
                        <a:pt x="3882864" y="426306"/>
                        <a:pt x="3857997" y="426306"/>
                      </a:cubicBezTo>
                      <a:cubicBezTo>
                        <a:pt x="3851745" y="426306"/>
                        <a:pt x="3851745" y="426306"/>
                        <a:pt x="3845633" y="426306"/>
                      </a:cubicBezTo>
                      <a:cubicBezTo>
                        <a:pt x="3833130" y="420055"/>
                        <a:pt x="3845633" y="420055"/>
                        <a:pt x="3851884" y="413803"/>
                      </a:cubicBezTo>
                      <a:cubicBezTo>
                        <a:pt x="3851884" y="407552"/>
                        <a:pt x="3820766" y="401300"/>
                        <a:pt x="3820766" y="401300"/>
                      </a:cubicBezTo>
                      <a:cubicBezTo>
                        <a:pt x="3814514" y="395049"/>
                        <a:pt x="3789646" y="401300"/>
                        <a:pt x="3783256" y="401300"/>
                      </a:cubicBezTo>
                      <a:cubicBezTo>
                        <a:pt x="3783256" y="401300"/>
                        <a:pt x="3808262" y="395049"/>
                        <a:pt x="3802011" y="388797"/>
                      </a:cubicBezTo>
                      <a:cubicBezTo>
                        <a:pt x="3795759" y="388797"/>
                        <a:pt x="3789508" y="395049"/>
                        <a:pt x="3783256" y="395049"/>
                      </a:cubicBezTo>
                      <a:cubicBezTo>
                        <a:pt x="3777005" y="388797"/>
                        <a:pt x="3764502" y="382545"/>
                        <a:pt x="3764502" y="382545"/>
                      </a:cubicBezTo>
                      <a:cubicBezTo>
                        <a:pt x="3758250" y="382545"/>
                        <a:pt x="3739495" y="370042"/>
                        <a:pt x="3751998" y="370042"/>
                      </a:cubicBezTo>
                      <a:cubicBezTo>
                        <a:pt x="3758250" y="370042"/>
                        <a:pt x="3770614" y="370042"/>
                        <a:pt x="3777005" y="370042"/>
                      </a:cubicBezTo>
                      <a:cubicBezTo>
                        <a:pt x="3795620" y="370042"/>
                        <a:pt x="3770753" y="351427"/>
                        <a:pt x="3764502" y="351427"/>
                      </a:cubicBezTo>
                      <a:cubicBezTo>
                        <a:pt x="3751998" y="338923"/>
                        <a:pt x="3720879" y="345175"/>
                        <a:pt x="3702124" y="338923"/>
                      </a:cubicBezTo>
                      <a:cubicBezTo>
                        <a:pt x="3689621" y="338923"/>
                        <a:pt x="3683370" y="351427"/>
                        <a:pt x="3671006" y="363791"/>
                      </a:cubicBezTo>
                      <a:cubicBezTo>
                        <a:pt x="3671006" y="363791"/>
                        <a:pt x="3627245" y="388658"/>
                        <a:pt x="3627245" y="370042"/>
                      </a:cubicBezTo>
                      <a:cubicBezTo>
                        <a:pt x="3633496" y="357539"/>
                        <a:pt x="3639748" y="370042"/>
                        <a:pt x="3652251" y="363791"/>
                      </a:cubicBezTo>
                      <a:cubicBezTo>
                        <a:pt x="3652251" y="363791"/>
                        <a:pt x="3645999" y="345175"/>
                        <a:pt x="3639748" y="345175"/>
                      </a:cubicBezTo>
                      <a:lnTo>
                        <a:pt x="3602377" y="345175"/>
                      </a:lnTo>
                      <a:cubicBezTo>
                        <a:pt x="3608629" y="338923"/>
                        <a:pt x="3621132" y="332672"/>
                        <a:pt x="3633496" y="332672"/>
                      </a:cubicBezTo>
                      <a:cubicBezTo>
                        <a:pt x="3639748" y="338923"/>
                        <a:pt x="3683370" y="338923"/>
                        <a:pt x="3683370" y="338923"/>
                      </a:cubicBezTo>
                      <a:cubicBezTo>
                        <a:pt x="3683370" y="332672"/>
                        <a:pt x="3645999" y="332672"/>
                        <a:pt x="3639748" y="326420"/>
                      </a:cubicBezTo>
                      <a:cubicBezTo>
                        <a:pt x="3627245" y="326420"/>
                        <a:pt x="3614881" y="326420"/>
                        <a:pt x="3602377" y="326420"/>
                      </a:cubicBezTo>
                      <a:cubicBezTo>
                        <a:pt x="3577371" y="320169"/>
                        <a:pt x="3552365" y="320169"/>
                        <a:pt x="3527498" y="313917"/>
                      </a:cubicBezTo>
                      <a:cubicBezTo>
                        <a:pt x="3521246" y="313917"/>
                        <a:pt x="3496240" y="307666"/>
                        <a:pt x="3496240" y="307666"/>
                      </a:cubicBezTo>
                      <a:cubicBezTo>
                        <a:pt x="3496240" y="313917"/>
                        <a:pt x="3502492" y="320169"/>
                        <a:pt x="3496240" y="320169"/>
                      </a:cubicBezTo>
                      <a:cubicBezTo>
                        <a:pt x="3489988" y="326420"/>
                        <a:pt x="3483876" y="326420"/>
                        <a:pt x="3477624" y="326420"/>
                      </a:cubicBezTo>
                      <a:cubicBezTo>
                        <a:pt x="3471373" y="326420"/>
                        <a:pt x="3440253" y="332672"/>
                        <a:pt x="3446505" y="345036"/>
                      </a:cubicBezTo>
                      <a:cubicBezTo>
                        <a:pt x="3452756" y="357539"/>
                        <a:pt x="3465121" y="338784"/>
                        <a:pt x="3471511" y="345036"/>
                      </a:cubicBezTo>
                      <a:cubicBezTo>
                        <a:pt x="3471511" y="345036"/>
                        <a:pt x="3452756" y="351288"/>
                        <a:pt x="3459008" y="363652"/>
                      </a:cubicBezTo>
                      <a:cubicBezTo>
                        <a:pt x="3465260" y="363652"/>
                        <a:pt x="3459008" y="369903"/>
                        <a:pt x="3459008" y="376155"/>
                      </a:cubicBezTo>
                      <a:cubicBezTo>
                        <a:pt x="3465260" y="376155"/>
                        <a:pt x="3471511" y="382406"/>
                        <a:pt x="3471511" y="388658"/>
                      </a:cubicBezTo>
                      <a:cubicBezTo>
                        <a:pt x="3471511" y="388658"/>
                        <a:pt x="3446505" y="388658"/>
                        <a:pt x="3440392" y="388658"/>
                      </a:cubicBezTo>
                      <a:cubicBezTo>
                        <a:pt x="3427889" y="388658"/>
                        <a:pt x="3440392" y="382406"/>
                        <a:pt x="3440392" y="382406"/>
                      </a:cubicBezTo>
                      <a:cubicBezTo>
                        <a:pt x="3434141" y="376155"/>
                        <a:pt x="3415386" y="382406"/>
                        <a:pt x="3415386" y="382406"/>
                      </a:cubicBezTo>
                      <a:cubicBezTo>
                        <a:pt x="3402883" y="388658"/>
                        <a:pt x="3390380" y="382406"/>
                        <a:pt x="3384267" y="382406"/>
                      </a:cubicBezTo>
                      <a:cubicBezTo>
                        <a:pt x="3378016" y="382406"/>
                        <a:pt x="3402883" y="388658"/>
                        <a:pt x="3402883" y="388658"/>
                      </a:cubicBezTo>
                      <a:cubicBezTo>
                        <a:pt x="3421499" y="394910"/>
                        <a:pt x="3402883" y="407274"/>
                        <a:pt x="3396631" y="401161"/>
                      </a:cubicBezTo>
                      <a:cubicBezTo>
                        <a:pt x="3390380" y="401161"/>
                        <a:pt x="3390380" y="394910"/>
                        <a:pt x="3390380" y="388658"/>
                      </a:cubicBezTo>
                      <a:cubicBezTo>
                        <a:pt x="3384128" y="388658"/>
                        <a:pt x="3377877" y="388658"/>
                        <a:pt x="3371764" y="388658"/>
                      </a:cubicBezTo>
                      <a:cubicBezTo>
                        <a:pt x="3359261" y="382406"/>
                        <a:pt x="3346758" y="376155"/>
                        <a:pt x="3328142" y="382406"/>
                      </a:cubicBezTo>
                      <a:cubicBezTo>
                        <a:pt x="3309388" y="382406"/>
                        <a:pt x="3297024" y="401022"/>
                        <a:pt x="3278130" y="388658"/>
                      </a:cubicBezTo>
                      <a:cubicBezTo>
                        <a:pt x="3265627" y="382406"/>
                        <a:pt x="3253263" y="376155"/>
                        <a:pt x="3247011" y="363791"/>
                      </a:cubicBezTo>
                      <a:cubicBezTo>
                        <a:pt x="3240760" y="357539"/>
                        <a:pt x="3228257" y="382406"/>
                        <a:pt x="3222005" y="382406"/>
                      </a:cubicBezTo>
                      <a:cubicBezTo>
                        <a:pt x="3215753" y="394910"/>
                        <a:pt x="3209640" y="432141"/>
                        <a:pt x="3190886" y="425890"/>
                      </a:cubicBezTo>
                      <a:cubicBezTo>
                        <a:pt x="3178382" y="419638"/>
                        <a:pt x="3166018" y="419638"/>
                        <a:pt x="3153515" y="407274"/>
                      </a:cubicBezTo>
                      <a:cubicBezTo>
                        <a:pt x="3147264" y="401022"/>
                        <a:pt x="3134761" y="388658"/>
                        <a:pt x="3128509" y="382406"/>
                      </a:cubicBezTo>
                      <a:cubicBezTo>
                        <a:pt x="3122257" y="369903"/>
                        <a:pt x="3109893" y="363791"/>
                        <a:pt x="3103503" y="357539"/>
                      </a:cubicBezTo>
                      <a:cubicBezTo>
                        <a:pt x="3091000" y="345036"/>
                        <a:pt x="3116006" y="351288"/>
                        <a:pt x="3122118" y="351288"/>
                      </a:cubicBezTo>
                      <a:cubicBezTo>
                        <a:pt x="3128370" y="351288"/>
                        <a:pt x="3140873" y="345036"/>
                        <a:pt x="3140873" y="338784"/>
                      </a:cubicBezTo>
                      <a:lnTo>
                        <a:pt x="3109754" y="320169"/>
                      </a:lnTo>
                      <a:cubicBezTo>
                        <a:pt x="3109754" y="320169"/>
                        <a:pt x="3128370" y="320169"/>
                        <a:pt x="3128370" y="313917"/>
                      </a:cubicBezTo>
                      <a:cubicBezTo>
                        <a:pt x="3122118" y="307666"/>
                        <a:pt x="3109754" y="307666"/>
                        <a:pt x="3109754" y="307666"/>
                      </a:cubicBezTo>
                      <a:cubicBezTo>
                        <a:pt x="3109754" y="295163"/>
                        <a:pt x="3140873" y="289050"/>
                        <a:pt x="3109754" y="282798"/>
                      </a:cubicBezTo>
                      <a:cubicBezTo>
                        <a:pt x="3103503" y="282798"/>
                        <a:pt x="3097251" y="270295"/>
                        <a:pt x="3084748" y="270295"/>
                      </a:cubicBezTo>
                      <a:cubicBezTo>
                        <a:pt x="3078497" y="270295"/>
                        <a:pt x="3066132" y="264044"/>
                        <a:pt x="3059742" y="270295"/>
                      </a:cubicBezTo>
                      <a:cubicBezTo>
                        <a:pt x="3053490" y="270295"/>
                        <a:pt x="3053490" y="276547"/>
                        <a:pt x="3047239" y="276547"/>
                      </a:cubicBezTo>
                      <a:cubicBezTo>
                        <a:pt x="3040987" y="270295"/>
                        <a:pt x="3040987" y="270295"/>
                        <a:pt x="3034736" y="270295"/>
                      </a:cubicBezTo>
                      <a:cubicBezTo>
                        <a:pt x="3028484" y="270295"/>
                        <a:pt x="3016120" y="270295"/>
                        <a:pt x="3009868" y="264044"/>
                      </a:cubicBezTo>
                      <a:cubicBezTo>
                        <a:pt x="3003617" y="264044"/>
                        <a:pt x="2997365" y="264044"/>
                        <a:pt x="2991114" y="251540"/>
                      </a:cubicBezTo>
                      <a:cubicBezTo>
                        <a:pt x="2984862" y="251540"/>
                        <a:pt x="2991114" y="245289"/>
                        <a:pt x="2978750" y="251540"/>
                      </a:cubicBezTo>
                      <a:cubicBezTo>
                        <a:pt x="2978750" y="251540"/>
                        <a:pt x="2972498" y="257792"/>
                        <a:pt x="2966247" y="257792"/>
                      </a:cubicBezTo>
                      <a:cubicBezTo>
                        <a:pt x="2959995" y="257792"/>
                        <a:pt x="2959995" y="251540"/>
                        <a:pt x="2953743" y="257792"/>
                      </a:cubicBezTo>
                      <a:cubicBezTo>
                        <a:pt x="2953743" y="264044"/>
                        <a:pt x="2947492" y="270295"/>
                        <a:pt x="2947492" y="276408"/>
                      </a:cubicBezTo>
                      <a:cubicBezTo>
                        <a:pt x="2947492" y="282659"/>
                        <a:pt x="2959995" y="282659"/>
                        <a:pt x="2953743" y="288911"/>
                      </a:cubicBezTo>
                      <a:cubicBezTo>
                        <a:pt x="2947492" y="295163"/>
                        <a:pt x="2953743" y="295163"/>
                        <a:pt x="2947492" y="295163"/>
                      </a:cubicBezTo>
                      <a:cubicBezTo>
                        <a:pt x="2941240" y="295163"/>
                        <a:pt x="2928876" y="295163"/>
                        <a:pt x="2922625" y="301414"/>
                      </a:cubicBezTo>
                      <a:cubicBezTo>
                        <a:pt x="2928876" y="295163"/>
                        <a:pt x="2947492" y="307666"/>
                        <a:pt x="2947492" y="307666"/>
                      </a:cubicBezTo>
                      <a:cubicBezTo>
                        <a:pt x="2941240" y="313917"/>
                        <a:pt x="2922625" y="301414"/>
                        <a:pt x="2910122" y="301414"/>
                      </a:cubicBezTo>
                      <a:cubicBezTo>
                        <a:pt x="2897618" y="301414"/>
                        <a:pt x="2879002" y="301414"/>
                        <a:pt x="2860109" y="301414"/>
                      </a:cubicBezTo>
                      <a:cubicBezTo>
                        <a:pt x="2853858" y="301414"/>
                        <a:pt x="2853858" y="295163"/>
                        <a:pt x="2847606" y="295163"/>
                      </a:cubicBezTo>
                      <a:cubicBezTo>
                        <a:pt x="2841354" y="288911"/>
                        <a:pt x="2822738" y="295163"/>
                        <a:pt x="2816487" y="295163"/>
                      </a:cubicBezTo>
                      <a:cubicBezTo>
                        <a:pt x="2810235" y="288911"/>
                        <a:pt x="2797871" y="288911"/>
                        <a:pt x="2791619" y="282659"/>
                      </a:cubicBezTo>
                      <a:cubicBezTo>
                        <a:pt x="2791619" y="276408"/>
                        <a:pt x="2803983" y="276408"/>
                        <a:pt x="2803983" y="270156"/>
                      </a:cubicBezTo>
                      <a:cubicBezTo>
                        <a:pt x="2810235" y="263905"/>
                        <a:pt x="2754110" y="263905"/>
                        <a:pt x="2747997" y="263905"/>
                      </a:cubicBezTo>
                      <a:cubicBezTo>
                        <a:pt x="2716740" y="257653"/>
                        <a:pt x="2691872" y="263905"/>
                        <a:pt x="2660615" y="263905"/>
                      </a:cubicBezTo>
                      <a:cubicBezTo>
                        <a:pt x="2641860" y="263905"/>
                        <a:pt x="2648112" y="263905"/>
                        <a:pt x="2654363" y="276408"/>
                      </a:cubicBezTo>
                      <a:cubicBezTo>
                        <a:pt x="2654363" y="282659"/>
                        <a:pt x="2641860" y="276408"/>
                        <a:pt x="2641860" y="276408"/>
                      </a:cubicBezTo>
                      <a:cubicBezTo>
                        <a:pt x="2629357" y="276408"/>
                        <a:pt x="2635608" y="270156"/>
                        <a:pt x="2635608" y="263905"/>
                      </a:cubicBezTo>
                      <a:cubicBezTo>
                        <a:pt x="2635608" y="251402"/>
                        <a:pt x="2629357" y="232786"/>
                        <a:pt x="2616854" y="245289"/>
                      </a:cubicBezTo>
                      <a:cubicBezTo>
                        <a:pt x="2616854" y="257792"/>
                        <a:pt x="2591987" y="257792"/>
                        <a:pt x="2579483" y="251540"/>
                      </a:cubicBezTo>
                      <a:cubicBezTo>
                        <a:pt x="2573232" y="245289"/>
                        <a:pt x="2585735" y="232925"/>
                        <a:pt x="2560729" y="239037"/>
                      </a:cubicBezTo>
                      <a:cubicBezTo>
                        <a:pt x="2554477" y="239037"/>
                        <a:pt x="2548226" y="239037"/>
                        <a:pt x="2541974" y="239037"/>
                      </a:cubicBezTo>
                      <a:cubicBezTo>
                        <a:pt x="2535723" y="232786"/>
                        <a:pt x="2529471" y="239037"/>
                        <a:pt x="2516968" y="245289"/>
                      </a:cubicBezTo>
                      <a:cubicBezTo>
                        <a:pt x="2504465" y="257792"/>
                        <a:pt x="2535723" y="251540"/>
                        <a:pt x="2535723" y="257792"/>
                      </a:cubicBezTo>
                      <a:cubicBezTo>
                        <a:pt x="2535723" y="270295"/>
                        <a:pt x="2510716" y="264044"/>
                        <a:pt x="2504465" y="270295"/>
                      </a:cubicBezTo>
                      <a:cubicBezTo>
                        <a:pt x="2498213" y="276547"/>
                        <a:pt x="2485710" y="276547"/>
                        <a:pt x="2473345" y="282798"/>
                      </a:cubicBezTo>
                      <a:cubicBezTo>
                        <a:pt x="2460842" y="289050"/>
                        <a:pt x="2448339" y="289050"/>
                        <a:pt x="2429723" y="289050"/>
                      </a:cubicBezTo>
                      <a:cubicBezTo>
                        <a:pt x="2417220" y="289050"/>
                        <a:pt x="2417220" y="289050"/>
                        <a:pt x="2410969" y="301553"/>
                      </a:cubicBezTo>
                      <a:cubicBezTo>
                        <a:pt x="2404717" y="307805"/>
                        <a:pt x="2379850" y="314056"/>
                        <a:pt x="2373598" y="314056"/>
                      </a:cubicBezTo>
                      <a:cubicBezTo>
                        <a:pt x="2373598" y="307805"/>
                        <a:pt x="2386102" y="307805"/>
                        <a:pt x="2386102" y="307805"/>
                      </a:cubicBezTo>
                      <a:cubicBezTo>
                        <a:pt x="2398605" y="301553"/>
                        <a:pt x="2398605" y="289189"/>
                        <a:pt x="2404856" y="282937"/>
                      </a:cubicBezTo>
                      <a:cubicBezTo>
                        <a:pt x="2411108" y="270434"/>
                        <a:pt x="2417359" y="282937"/>
                        <a:pt x="2423611" y="276686"/>
                      </a:cubicBezTo>
                      <a:cubicBezTo>
                        <a:pt x="2429863" y="276686"/>
                        <a:pt x="2429863" y="270434"/>
                        <a:pt x="2436114" y="270434"/>
                      </a:cubicBezTo>
                      <a:cubicBezTo>
                        <a:pt x="2454869" y="257931"/>
                        <a:pt x="2479736" y="251818"/>
                        <a:pt x="2498491" y="239315"/>
                      </a:cubicBezTo>
                      <a:cubicBezTo>
                        <a:pt x="2510994" y="233064"/>
                        <a:pt x="2523497" y="226812"/>
                        <a:pt x="2535861" y="220699"/>
                      </a:cubicBezTo>
                      <a:cubicBezTo>
                        <a:pt x="2560867" y="202084"/>
                        <a:pt x="2591987" y="189581"/>
                        <a:pt x="2616854" y="177216"/>
                      </a:cubicBezTo>
                      <a:cubicBezTo>
                        <a:pt x="2635608" y="170965"/>
                        <a:pt x="2654363" y="158601"/>
                        <a:pt x="2635608" y="139846"/>
                      </a:cubicBezTo>
                      <a:cubicBezTo>
                        <a:pt x="2629357" y="133594"/>
                        <a:pt x="2629357" y="146098"/>
                        <a:pt x="2623105" y="139846"/>
                      </a:cubicBezTo>
                      <a:cubicBezTo>
                        <a:pt x="2616854" y="133594"/>
                        <a:pt x="2610602" y="133594"/>
                        <a:pt x="2604490" y="127343"/>
                      </a:cubicBezTo>
                      <a:cubicBezTo>
                        <a:pt x="2604490" y="121091"/>
                        <a:pt x="2635608" y="133594"/>
                        <a:pt x="2635608" y="133594"/>
                      </a:cubicBezTo>
                      <a:cubicBezTo>
                        <a:pt x="2641860" y="133594"/>
                        <a:pt x="2660615" y="133594"/>
                        <a:pt x="2648112" y="121091"/>
                      </a:cubicBezTo>
                      <a:cubicBezTo>
                        <a:pt x="2641860" y="114840"/>
                        <a:pt x="2641860" y="108588"/>
                        <a:pt x="2635608" y="102476"/>
                      </a:cubicBezTo>
                      <a:cubicBezTo>
                        <a:pt x="2629357" y="89972"/>
                        <a:pt x="2623105" y="114979"/>
                        <a:pt x="2616854" y="114979"/>
                      </a:cubicBezTo>
                      <a:cubicBezTo>
                        <a:pt x="2616854" y="108727"/>
                        <a:pt x="2616854" y="102476"/>
                        <a:pt x="2616854" y="102476"/>
                      </a:cubicBezTo>
                      <a:cubicBezTo>
                        <a:pt x="2616854" y="96224"/>
                        <a:pt x="2616854" y="96224"/>
                        <a:pt x="2610602" y="89972"/>
                      </a:cubicBezTo>
                      <a:cubicBezTo>
                        <a:pt x="2610602" y="83721"/>
                        <a:pt x="2598099" y="77469"/>
                        <a:pt x="2591848" y="77469"/>
                      </a:cubicBezTo>
                      <a:cubicBezTo>
                        <a:pt x="2579344" y="71218"/>
                        <a:pt x="2573093" y="71218"/>
                        <a:pt x="2560590" y="64966"/>
                      </a:cubicBezTo>
                      <a:cubicBezTo>
                        <a:pt x="2548087" y="64966"/>
                        <a:pt x="2548087" y="64966"/>
                        <a:pt x="2529332" y="71218"/>
                      </a:cubicBezTo>
                      <a:cubicBezTo>
                        <a:pt x="2516829" y="71218"/>
                        <a:pt x="2473207" y="52602"/>
                        <a:pt x="2466955" y="71218"/>
                      </a:cubicBezTo>
                      <a:cubicBezTo>
                        <a:pt x="2460704" y="77469"/>
                        <a:pt x="2423333" y="83721"/>
                        <a:pt x="2417081" y="77469"/>
                      </a:cubicBezTo>
                      <a:cubicBezTo>
                        <a:pt x="2417081" y="77469"/>
                        <a:pt x="2454452" y="52602"/>
                        <a:pt x="2442088" y="46350"/>
                      </a:cubicBezTo>
                      <a:cubicBezTo>
                        <a:pt x="2442088" y="46350"/>
                        <a:pt x="2398466" y="52602"/>
                        <a:pt x="2392214" y="46350"/>
                      </a:cubicBezTo>
                      <a:cubicBezTo>
                        <a:pt x="2392214" y="40099"/>
                        <a:pt x="2404717" y="40099"/>
                        <a:pt x="2404717" y="40099"/>
                      </a:cubicBezTo>
                      <a:cubicBezTo>
                        <a:pt x="2404717" y="33847"/>
                        <a:pt x="2354844" y="40099"/>
                        <a:pt x="2354844" y="40099"/>
                      </a:cubicBezTo>
                      <a:cubicBezTo>
                        <a:pt x="2361095" y="27596"/>
                        <a:pt x="2386102" y="33847"/>
                        <a:pt x="2392214" y="27596"/>
                      </a:cubicBezTo>
                      <a:cubicBezTo>
                        <a:pt x="2398466" y="21344"/>
                        <a:pt x="2410969" y="27596"/>
                        <a:pt x="2404717" y="21344"/>
                      </a:cubicBezTo>
                      <a:cubicBezTo>
                        <a:pt x="2404717" y="15093"/>
                        <a:pt x="2404717" y="8841"/>
                        <a:pt x="2398466" y="8841"/>
                      </a:cubicBezTo>
                      <a:cubicBezTo>
                        <a:pt x="2379711" y="8841"/>
                        <a:pt x="2373459" y="2589"/>
                        <a:pt x="2354844" y="2589"/>
                      </a:cubicBezTo>
                      <a:cubicBezTo>
                        <a:pt x="2342341" y="-3662"/>
                        <a:pt x="2329838" y="2589"/>
                        <a:pt x="2317473" y="8841"/>
                      </a:cubicBezTo>
                      <a:cubicBezTo>
                        <a:pt x="2292467" y="15093"/>
                        <a:pt x="2267600" y="33708"/>
                        <a:pt x="2255097" y="46212"/>
                      </a:cubicBezTo>
                      <a:cubicBezTo>
                        <a:pt x="2248845" y="52463"/>
                        <a:pt x="2248845" y="52463"/>
                        <a:pt x="2255097" y="58715"/>
                      </a:cubicBezTo>
                      <a:cubicBezTo>
                        <a:pt x="2261348" y="58715"/>
                        <a:pt x="2255097" y="64966"/>
                        <a:pt x="2255097" y="71218"/>
                      </a:cubicBezTo>
                      <a:cubicBezTo>
                        <a:pt x="2255097" y="83721"/>
                        <a:pt x="2280103" y="77469"/>
                        <a:pt x="2280103" y="83721"/>
                      </a:cubicBezTo>
                      <a:cubicBezTo>
                        <a:pt x="2280103" y="77469"/>
                        <a:pt x="2248845" y="83721"/>
                        <a:pt x="2242732" y="83721"/>
                      </a:cubicBezTo>
                      <a:cubicBezTo>
                        <a:pt x="2236481" y="83721"/>
                        <a:pt x="2199110" y="77469"/>
                        <a:pt x="2192859" y="83721"/>
                      </a:cubicBezTo>
                      <a:cubicBezTo>
                        <a:pt x="2192859" y="77469"/>
                        <a:pt x="2211613" y="102337"/>
                        <a:pt x="2211613" y="102337"/>
                      </a:cubicBezTo>
                      <a:cubicBezTo>
                        <a:pt x="2217865" y="108588"/>
                        <a:pt x="2186607" y="96085"/>
                        <a:pt x="2180356" y="96085"/>
                      </a:cubicBezTo>
                      <a:cubicBezTo>
                        <a:pt x="2174104" y="96085"/>
                        <a:pt x="2161601" y="102337"/>
                        <a:pt x="2149237" y="108588"/>
                      </a:cubicBezTo>
                      <a:cubicBezTo>
                        <a:pt x="2149237" y="108588"/>
                        <a:pt x="2149237" y="108588"/>
                        <a:pt x="2142985" y="108588"/>
                      </a:cubicBezTo>
                      <a:cubicBezTo>
                        <a:pt x="2130482" y="108588"/>
                        <a:pt x="2142985" y="108588"/>
                        <a:pt x="2136734" y="102337"/>
                      </a:cubicBezTo>
                      <a:cubicBezTo>
                        <a:pt x="2136734" y="108588"/>
                        <a:pt x="2105615" y="120952"/>
                        <a:pt x="2105615" y="120952"/>
                      </a:cubicBezTo>
                      <a:cubicBezTo>
                        <a:pt x="2105615" y="114701"/>
                        <a:pt x="2118118" y="108449"/>
                        <a:pt x="2118118" y="108449"/>
                      </a:cubicBezTo>
                      <a:cubicBezTo>
                        <a:pt x="2118118" y="102198"/>
                        <a:pt x="2086999" y="108449"/>
                        <a:pt x="2080748" y="102198"/>
                      </a:cubicBezTo>
                      <a:lnTo>
                        <a:pt x="2093251" y="95946"/>
                      </a:lnTo>
                      <a:cubicBezTo>
                        <a:pt x="2086999" y="102198"/>
                        <a:pt x="2055880" y="108449"/>
                        <a:pt x="2043377" y="108449"/>
                      </a:cubicBezTo>
                      <a:cubicBezTo>
                        <a:pt x="2012258" y="114701"/>
                        <a:pt x="2049628" y="114701"/>
                        <a:pt x="2055880" y="120952"/>
                      </a:cubicBezTo>
                      <a:cubicBezTo>
                        <a:pt x="2049628" y="114701"/>
                        <a:pt x="2018510" y="127204"/>
                        <a:pt x="2012258" y="127204"/>
                      </a:cubicBezTo>
                      <a:cubicBezTo>
                        <a:pt x="2006006" y="127204"/>
                        <a:pt x="1999755" y="127204"/>
                        <a:pt x="1993503" y="133455"/>
                      </a:cubicBezTo>
                      <a:cubicBezTo>
                        <a:pt x="1987252" y="139707"/>
                        <a:pt x="1974749" y="133455"/>
                        <a:pt x="1962246" y="133455"/>
                      </a:cubicBezTo>
                      <a:cubicBezTo>
                        <a:pt x="1955994" y="133455"/>
                        <a:pt x="1949742" y="145959"/>
                        <a:pt x="1937239" y="145959"/>
                      </a:cubicBezTo>
                      <a:cubicBezTo>
                        <a:pt x="1924736" y="152210"/>
                        <a:pt x="1918485" y="145959"/>
                        <a:pt x="1912233" y="152210"/>
                      </a:cubicBezTo>
                      <a:cubicBezTo>
                        <a:pt x="1905982" y="158462"/>
                        <a:pt x="1899730" y="164713"/>
                        <a:pt x="1893478" y="164713"/>
                      </a:cubicBezTo>
                      <a:cubicBezTo>
                        <a:pt x="1880975" y="164713"/>
                        <a:pt x="1868472" y="164713"/>
                        <a:pt x="1862221" y="164713"/>
                      </a:cubicBezTo>
                      <a:lnTo>
                        <a:pt x="1880975" y="177216"/>
                      </a:lnTo>
                      <a:cubicBezTo>
                        <a:pt x="1874724" y="183468"/>
                        <a:pt x="1837353" y="183468"/>
                        <a:pt x="1837353" y="183468"/>
                      </a:cubicBezTo>
                      <a:lnTo>
                        <a:pt x="1862360" y="183468"/>
                      </a:lnTo>
                      <a:cubicBezTo>
                        <a:pt x="1862360" y="183468"/>
                        <a:pt x="1849857" y="183468"/>
                        <a:pt x="1843605" y="183468"/>
                      </a:cubicBezTo>
                      <a:cubicBezTo>
                        <a:pt x="1849857" y="183468"/>
                        <a:pt x="1862360" y="189720"/>
                        <a:pt x="1862360" y="189720"/>
                      </a:cubicBezTo>
                      <a:cubicBezTo>
                        <a:pt x="1856108" y="189720"/>
                        <a:pt x="1856108" y="189720"/>
                        <a:pt x="1849857" y="189720"/>
                      </a:cubicBezTo>
                      <a:cubicBezTo>
                        <a:pt x="1856108" y="189720"/>
                        <a:pt x="1849857" y="195971"/>
                        <a:pt x="1849857" y="195971"/>
                      </a:cubicBezTo>
                      <a:cubicBezTo>
                        <a:pt x="1849857" y="202223"/>
                        <a:pt x="1831102" y="195971"/>
                        <a:pt x="1831102" y="195971"/>
                      </a:cubicBezTo>
                      <a:cubicBezTo>
                        <a:pt x="1831102" y="202223"/>
                        <a:pt x="1843605" y="202223"/>
                        <a:pt x="1843605" y="208474"/>
                      </a:cubicBezTo>
                      <a:cubicBezTo>
                        <a:pt x="1849857" y="208474"/>
                        <a:pt x="1837353" y="208474"/>
                        <a:pt x="1837353" y="208474"/>
                      </a:cubicBezTo>
                      <a:cubicBezTo>
                        <a:pt x="1837353" y="220977"/>
                        <a:pt x="1862360" y="208474"/>
                        <a:pt x="1856108" y="220977"/>
                      </a:cubicBezTo>
                      <a:cubicBezTo>
                        <a:pt x="1843605" y="233480"/>
                        <a:pt x="1874863" y="239593"/>
                        <a:pt x="1856108" y="245845"/>
                      </a:cubicBezTo>
                      <a:cubicBezTo>
                        <a:pt x="1843605" y="245845"/>
                        <a:pt x="1831102" y="245845"/>
                        <a:pt x="1818738" y="245845"/>
                      </a:cubicBezTo>
                      <a:cubicBezTo>
                        <a:pt x="1812486" y="252096"/>
                        <a:pt x="1812486" y="258348"/>
                        <a:pt x="1799983" y="252096"/>
                      </a:cubicBezTo>
                      <a:cubicBezTo>
                        <a:pt x="1793732" y="252096"/>
                        <a:pt x="1787480" y="252096"/>
                        <a:pt x="1781228" y="252096"/>
                      </a:cubicBezTo>
                      <a:cubicBezTo>
                        <a:pt x="1756222" y="258348"/>
                        <a:pt x="1731355" y="258348"/>
                        <a:pt x="1706349" y="258348"/>
                      </a:cubicBezTo>
                      <a:cubicBezTo>
                        <a:pt x="1693846" y="258348"/>
                        <a:pt x="1681343" y="258348"/>
                        <a:pt x="1675091" y="264599"/>
                      </a:cubicBezTo>
                      <a:cubicBezTo>
                        <a:pt x="1668839" y="270851"/>
                        <a:pt x="1662588" y="277102"/>
                        <a:pt x="1662588" y="283215"/>
                      </a:cubicBezTo>
                      <a:cubicBezTo>
                        <a:pt x="1662588" y="289467"/>
                        <a:pt x="1675091" y="295718"/>
                        <a:pt x="1675091" y="301831"/>
                      </a:cubicBezTo>
                      <a:cubicBezTo>
                        <a:pt x="1668839" y="314334"/>
                        <a:pt x="1668839" y="320447"/>
                        <a:pt x="1675091" y="326698"/>
                      </a:cubicBezTo>
                      <a:cubicBezTo>
                        <a:pt x="1687594" y="339201"/>
                        <a:pt x="1706349" y="332950"/>
                        <a:pt x="1718713" y="345314"/>
                      </a:cubicBezTo>
                      <a:lnTo>
                        <a:pt x="1731216" y="370181"/>
                      </a:lnTo>
                      <a:cubicBezTo>
                        <a:pt x="1706210" y="370181"/>
                        <a:pt x="1700097" y="370181"/>
                        <a:pt x="1681343" y="357678"/>
                      </a:cubicBezTo>
                      <a:cubicBezTo>
                        <a:pt x="1662588" y="345175"/>
                        <a:pt x="1631468" y="332811"/>
                        <a:pt x="1606462" y="332811"/>
                      </a:cubicBezTo>
                      <a:cubicBezTo>
                        <a:pt x="1593959" y="332811"/>
                        <a:pt x="1600211" y="326559"/>
                        <a:pt x="1587707" y="320308"/>
                      </a:cubicBezTo>
                      <a:cubicBezTo>
                        <a:pt x="1581456" y="320308"/>
                        <a:pt x="1556450" y="320308"/>
                        <a:pt x="1556450" y="332811"/>
                      </a:cubicBezTo>
                      <a:cubicBezTo>
                        <a:pt x="1556450" y="339062"/>
                        <a:pt x="1581456" y="339062"/>
                        <a:pt x="1581456" y="339062"/>
                      </a:cubicBezTo>
                      <a:cubicBezTo>
                        <a:pt x="1581456" y="339062"/>
                        <a:pt x="1562701" y="345314"/>
                        <a:pt x="1568953" y="345314"/>
                      </a:cubicBezTo>
                      <a:cubicBezTo>
                        <a:pt x="1581456" y="351565"/>
                        <a:pt x="1587707" y="345314"/>
                        <a:pt x="1593959" y="357817"/>
                      </a:cubicBezTo>
                      <a:cubicBezTo>
                        <a:pt x="1593959" y="370320"/>
                        <a:pt x="1575204" y="364069"/>
                        <a:pt x="1568953" y="364069"/>
                      </a:cubicBezTo>
                      <a:cubicBezTo>
                        <a:pt x="1556450" y="357817"/>
                        <a:pt x="1550198" y="351704"/>
                        <a:pt x="1537695" y="357817"/>
                      </a:cubicBezTo>
                      <a:cubicBezTo>
                        <a:pt x="1525192" y="357817"/>
                        <a:pt x="1531443" y="376433"/>
                        <a:pt x="1537695" y="382684"/>
                      </a:cubicBezTo>
                      <a:cubicBezTo>
                        <a:pt x="1543947" y="388936"/>
                        <a:pt x="1556450" y="388936"/>
                        <a:pt x="1562701" y="388936"/>
                      </a:cubicBezTo>
                      <a:cubicBezTo>
                        <a:pt x="1575204" y="395187"/>
                        <a:pt x="1587707" y="395187"/>
                        <a:pt x="1593821" y="401439"/>
                      </a:cubicBezTo>
                      <a:cubicBezTo>
                        <a:pt x="1600072" y="407691"/>
                        <a:pt x="1600072" y="413942"/>
                        <a:pt x="1600072" y="413942"/>
                      </a:cubicBezTo>
                      <a:cubicBezTo>
                        <a:pt x="1606324" y="413942"/>
                        <a:pt x="1612575" y="413942"/>
                        <a:pt x="1618827" y="413942"/>
                      </a:cubicBezTo>
                      <a:lnTo>
                        <a:pt x="1600072" y="420194"/>
                      </a:lnTo>
                      <a:cubicBezTo>
                        <a:pt x="1587569" y="420194"/>
                        <a:pt x="1587569" y="413942"/>
                        <a:pt x="1581318" y="407691"/>
                      </a:cubicBezTo>
                      <a:cubicBezTo>
                        <a:pt x="1568814" y="401439"/>
                        <a:pt x="1550060" y="401439"/>
                        <a:pt x="1531443" y="401439"/>
                      </a:cubicBezTo>
                      <a:cubicBezTo>
                        <a:pt x="1525192" y="401439"/>
                        <a:pt x="1494073" y="395187"/>
                        <a:pt x="1506437" y="382823"/>
                      </a:cubicBezTo>
                      <a:cubicBezTo>
                        <a:pt x="1512689" y="382823"/>
                        <a:pt x="1506437" y="376572"/>
                        <a:pt x="1506437" y="370320"/>
                      </a:cubicBezTo>
                      <a:cubicBezTo>
                        <a:pt x="1500186" y="364069"/>
                        <a:pt x="1506437" y="357817"/>
                        <a:pt x="1506437" y="351704"/>
                      </a:cubicBezTo>
                      <a:cubicBezTo>
                        <a:pt x="1512689" y="339201"/>
                        <a:pt x="1518940" y="314334"/>
                        <a:pt x="1506437" y="308221"/>
                      </a:cubicBezTo>
                      <a:cubicBezTo>
                        <a:pt x="1481431" y="301970"/>
                        <a:pt x="1500186" y="333089"/>
                        <a:pt x="1493934" y="345592"/>
                      </a:cubicBezTo>
                      <a:cubicBezTo>
                        <a:pt x="1481431" y="358095"/>
                        <a:pt x="1462815" y="364207"/>
                        <a:pt x="1450312" y="376711"/>
                      </a:cubicBezTo>
                      <a:cubicBezTo>
                        <a:pt x="1431558" y="395326"/>
                        <a:pt x="1437809" y="389214"/>
                        <a:pt x="1450312" y="401578"/>
                      </a:cubicBezTo>
                      <a:cubicBezTo>
                        <a:pt x="1456564" y="407829"/>
                        <a:pt x="1475318" y="426445"/>
                        <a:pt x="1475318" y="438948"/>
                      </a:cubicBezTo>
                      <a:cubicBezTo>
                        <a:pt x="1475318" y="438948"/>
                        <a:pt x="1469067" y="451452"/>
                        <a:pt x="1462815" y="451452"/>
                      </a:cubicBezTo>
                      <a:cubicBezTo>
                        <a:pt x="1456564" y="463955"/>
                        <a:pt x="1450312" y="476319"/>
                        <a:pt x="1450312" y="488822"/>
                      </a:cubicBezTo>
                      <a:cubicBezTo>
                        <a:pt x="1450312" y="488822"/>
                        <a:pt x="1456564" y="519941"/>
                        <a:pt x="1462815" y="519941"/>
                      </a:cubicBezTo>
                      <a:cubicBezTo>
                        <a:pt x="1475318" y="519941"/>
                        <a:pt x="1487822" y="519941"/>
                        <a:pt x="1500186" y="513689"/>
                      </a:cubicBezTo>
                      <a:cubicBezTo>
                        <a:pt x="1512689" y="507438"/>
                        <a:pt x="1531443" y="513689"/>
                        <a:pt x="1543808" y="519941"/>
                      </a:cubicBezTo>
                      <a:cubicBezTo>
                        <a:pt x="1562563" y="519941"/>
                        <a:pt x="1574927" y="532444"/>
                        <a:pt x="1581178" y="551060"/>
                      </a:cubicBezTo>
                      <a:cubicBezTo>
                        <a:pt x="1587430" y="563563"/>
                        <a:pt x="1562424" y="582179"/>
                        <a:pt x="1574927" y="588430"/>
                      </a:cubicBezTo>
                      <a:lnTo>
                        <a:pt x="1612297" y="600933"/>
                      </a:lnTo>
                      <a:cubicBezTo>
                        <a:pt x="1612297" y="607185"/>
                        <a:pt x="1568675" y="594682"/>
                        <a:pt x="1562424" y="594682"/>
                      </a:cubicBezTo>
                      <a:lnTo>
                        <a:pt x="1556172" y="576066"/>
                      </a:lnTo>
                      <a:cubicBezTo>
                        <a:pt x="1562424" y="563563"/>
                        <a:pt x="1568675" y="557450"/>
                        <a:pt x="1556172" y="551199"/>
                      </a:cubicBezTo>
                      <a:cubicBezTo>
                        <a:pt x="1543669" y="544947"/>
                        <a:pt x="1549921" y="532583"/>
                        <a:pt x="1537418" y="526331"/>
                      </a:cubicBezTo>
                      <a:cubicBezTo>
                        <a:pt x="1524914" y="526331"/>
                        <a:pt x="1512411" y="532583"/>
                        <a:pt x="1500047" y="532583"/>
                      </a:cubicBezTo>
                      <a:cubicBezTo>
                        <a:pt x="1500047" y="532583"/>
                        <a:pt x="1475041" y="538834"/>
                        <a:pt x="1475041" y="544947"/>
                      </a:cubicBezTo>
                      <a:cubicBezTo>
                        <a:pt x="1481293" y="544947"/>
                        <a:pt x="1487544" y="544947"/>
                        <a:pt x="1481293" y="544947"/>
                      </a:cubicBezTo>
                      <a:cubicBezTo>
                        <a:pt x="1481293" y="551199"/>
                        <a:pt x="1468789" y="557450"/>
                        <a:pt x="1475041" y="563563"/>
                      </a:cubicBezTo>
                      <a:cubicBezTo>
                        <a:pt x="1500047" y="576066"/>
                        <a:pt x="1481293" y="594682"/>
                        <a:pt x="1468789" y="607046"/>
                      </a:cubicBezTo>
                      <a:cubicBezTo>
                        <a:pt x="1462538" y="613297"/>
                        <a:pt x="1456286" y="625662"/>
                        <a:pt x="1456286" y="631913"/>
                      </a:cubicBezTo>
                      <a:cubicBezTo>
                        <a:pt x="1450035" y="638165"/>
                        <a:pt x="1437532" y="644416"/>
                        <a:pt x="1425167" y="644416"/>
                      </a:cubicBezTo>
                      <a:cubicBezTo>
                        <a:pt x="1418915" y="650668"/>
                        <a:pt x="1412664" y="650668"/>
                        <a:pt x="1412664" y="663032"/>
                      </a:cubicBezTo>
                      <a:cubicBezTo>
                        <a:pt x="1406412" y="675535"/>
                        <a:pt x="1393909" y="669284"/>
                        <a:pt x="1387658" y="669284"/>
                      </a:cubicBezTo>
                      <a:cubicBezTo>
                        <a:pt x="1368903" y="663032"/>
                        <a:pt x="1356400" y="669284"/>
                        <a:pt x="1344036" y="663032"/>
                      </a:cubicBezTo>
                      <a:cubicBezTo>
                        <a:pt x="1337784" y="663032"/>
                        <a:pt x="1331533" y="656781"/>
                        <a:pt x="1325281" y="656781"/>
                      </a:cubicBezTo>
                      <a:cubicBezTo>
                        <a:pt x="1312778" y="656781"/>
                        <a:pt x="1312778" y="650529"/>
                        <a:pt x="1306526" y="644277"/>
                      </a:cubicBezTo>
                      <a:cubicBezTo>
                        <a:pt x="1306526" y="644277"/>
                        <a:pt x="1319029" y="638026"/>
                        <a:pt x="1319029" y="644277"/>
                      </a:cubicBezTo>
                      <a:cubicBezTo>
                        <a:pt x="1325281" y="656781"/>
                        <a:pt x="1337784" y="656781"/>
                        <a:pt x="1337784" y="650529"/>
                      </a:cubicBezTo>
                      <a:cubicBezTo>
                        <a:pt x="1344036" y="644277"/>
                        <a:pt x="1375154" y="663032"/>
                        <a:pt x="1387658" y="650529"/>
                      </a:cubicBezTo>
                      <a:cubicBezTo>
                        <a:pt x="1387658" y="644277"/>
                        <a:pt x="1375154" y="638026"/>
                        <a:pt x="1387658" y="638026"/>
                      </a:cubicBezTo>
                      <a:cubicBezTo>
                        <a:pt x="1393909" y="631774"/>
                        <a:pt x="1406412" y="625523"/>
                        <a:pt x="1412664" y="619410"/>
                      </a:cubicBezTo>
                      <a:cubicBezTo>
                        <a:pt x="1418915" y="606907"/>
                        <a:pt x="1412664" y="606907"/>
                        <a:pt x="1431418" y="600794"/>
                      </a:cubicBezTo>
                      <a:cubicBezTo>
                        <a:pt x="1450173" y="588291"/>
                        <a:pt x="1425167" y="575927"/>
                        <a:pt x="1437670" y="563424"/>
                      </a:cubicBezTo>
                      <a:cubicBezTo>
                        <a:pt x="1450173" y="557172"/>
                        <a:pt x="1450173" y="550921"/>
                        <a:pt x="1437670" y="544808"/>
                      </a:cubicBezTo>
                      <a:cubicBezTo>
                        <a:pt x="1431418" y="544808"/>
                        <a:pt x="1425167" y="538557"/>
                        <a:pt x="1418915" y="532444"/>
                      </a:cubicBezTo>
                      <a:cubicBezTo>
                        <a:pt x="1412664" y="519941"/>
                        <a:pt x="1418915" y="501325"/>
                        <a:pt x="1418915" y="488961"/>
                      </a:cubicBezTo>
                      <a:cubicBezTo>
                        <a:pt x="1418915" y="476458"/>
                        <a:pt x="1412664" y="464094"/>
                        <a:pt x="1418915" y="451590"/>
                      </a:cubicBezTo>
                      <a:cubicBezTo>
                        <a:pt x="1418915" y="439087"/>
                        <a:pt x="1431418" y="439087"/>
                        <a:pt x="1431418" y="426723"/>
                      </a:cubicBezTo>
                      <a:cubicBezTo>
                        <a:pt x="1425167" y="414220"/>
                        <a:pt x="1412664" y="408107"/>
                        <a:pt x="1406412" y="401856"/>
                      </a:cubicBezTo>
                      <a:cubicBezTo>
                        <a:pt x="1400161" y="395604"/>
                        <a:pt x="1393909" y="389353"/>
                        <a:pt x="1400161" y="383240"/>
                      </a:cubicBezTo>
                      <a:cubicBezTo>
                        <a:pt x="1412664" y="376988"/>
                        <a:pt x="1412664" y="364624"/>
                        <a:pt x="1418915" y="352121"/>
                      </a:cubicBezTo>
                      <a:cubicBezTo>
                        <a:pt x="1425167" y="345870"/>
                        <a:pt x="1431418" y="327254"/>
                        <a:pt x="1425167" y="321002"/>
                      </a:cubicBezTo>
                      <a:cubicBezTo>
                        <a:pt x="1425167" y="314751"/>
                        <a:pt x="1400161" y="308499"/>
                        <a:pt x="1387797" y="302386"/>
                      </a:cubicBezTo>
                      <a:cubicBezTo>
                        <a:pt x="1375293" y="302386"/>
                        <a:pt x="1362790" y="302386"/>
                        <a:pt x="1350426" y="302386"/>
                      </a:cubicBezTo>
                      <a:cubicBezTo>
                        <a:pt x="1344175" y="302386"/>
                        <a:pt x="1325420" y="296135"/>
                        <a:pt x="1319168" y="302386"/>
                      </a:cubicBezTo>
                      <a:cubicBezTo>
                        <a:pt x="1300414" y="314890"/>
                        <a:pt x="1300414" y="358373"/>
                        <a:pt x="1281798" y="370737"/>
                      </a:cubicBezTo>
                      <a:cubicBezTo>
                        <a:pt x="1269295" y="389353"/>
                        <a:pt x="1231925" y="395604"/>
                        <a:pt x="1231925" y="420471"/>
                      </a:cubicBezTo>
                      <a:cubicBezTo>
                        <a:pt x="1231925" y="426723"/>
                        <a:pt x="1250679" y="420471"/>
                        <a:pt x="1250679" y="420471"/>
                      </a:cubicBezTo>
                      <a:cubicBezTo>
                        <a:pt x="1256931" y="426723"/>
                        <a:pt x="1250679" y="451590"/>
                        <a:pt x="1250679" y="451590"/>
                      </a:cubicBezTo>
                      <a:cubicBezTo>
                        <a:pt x="1244428" y="464094"/>
                        <a:pt x="1256931" y="470206"/>
                        <a:pt x="1238176" y="470206"/>
                      </a:cubicBezTo>
                      <a:cubicBezTo>
                        <a:pt x="1238176" y="476458"/>
                        <a:pt x="1231925" y="476458"/>
                        <a:pt x="1231925" y="482709"/>
                      </a:cubicBezTo>
                      <a:cubicBezTo>
                        <a:pt x="1238176" y="488961"/>
                        <a:pt x="1244428" y="488961"/>
                        <a:pt x="1250679" y="488961"/>
                      </a:cubicBezTo>
                      <a:cubicBezTo>
                        <a:pt x="1256931" y="488961"/>
                        <a:pt x="1281798" y="488961"/>
                        <a:pt x="1281798" y="495212"/>
                      </a:cubicBezTo>
                      <a:cubicBezTo>
                        <a:pt x="1281798" y="507716"/>
                        <a:pt x="1281798" y="520080"/>
                        <a:pt x="1294301" y="526331"/>
                      </a:cubicBezTo>
                      <a:cubicBezTo>
                        <a:pt x="1306804" y="532583"/>
                        <a:pt x="1319308" y="526331"/>
                        <a:pt x="1306804" y="538834"/>
                      </a:cubicBezTo>
                      <a:cubicBezTo>
                        <a:pt x="1300553" y="545086"/>
                        <a:pt x="1300553" y="557450"/>
                        <a:pt x="1294301" y="563702"/>
                      </a:cubicBezTo>
                      <a:cubicBezTo>
                        <a:pt x="1288050" y="576205"/>
                        <a:pt x="1256931" y="545086"/>
                        <a:pt x="1250679" y="538834"/>
                      </a:cubicBezTo>
                      <a:cubicBezTo>
                        <a:pt x="1231925" y="526331"/>
                        <a:pt x="1207057" y="520219"/>
                        <a:pt x="1188302" y="513967"/>
                      </a:cubicBezTo>
                      <a:cubicBezTo>
                        <a:pt x="1175799" y="507716"/>
                        <a:pt x="1169548" y="501464"/>
                        <a:pt x="1157183" y="495351"/>
                      </a:cubicBezTo>
                      <a:cubicBezTo>
                        <a:pt x="1150932" y="495351"/>
                        <a:pt x="1138429" y="489100"/>
                        <a:pt x="1132177" y="489100"/>
                      </a:cubicBezTo>
                      <a:cubicBezTo>
                        <a:pt x="1113423" y="489100"/>
                        <a:pt x="1094807" y="482848"/>
                        <a:pt x="1076052" y="482848"/>
                      </a:cubicBezTo>
                      <a:cubicBezTo>
                        <a:pt x="1051046" y="482848"/>
                        <a:pt x="1026179" y="482848"/>
                        <a:pt x="1044794" y="513967"/>
                      </a:cubicBezTo>
                      <a:cubicBezTo>
                        <a:pt x="1057298" y="520219"/>
                        <a:pt x="1051046" y="532583"/>
                        <a:pt x="1038543" y="538834"/>
                      </a:cubicBezTo>
                      <a:cubicBezTo>
                        <a:pt x="1032291" y="545086"/>
                        <a:pt x="1013537" y="532583"/>
                        <a:pt x="1019788" y="551338"/>
                      </a:cubicBezTo>
                      <a:cubicBezTo>
                        <a:pt x="1026040" y="557589"/>
                        <a:pt x="976166" y="557589"/>
                        <a:pt x="1001033" y="538834"/>
                      </a:cubicBezTo>
                      <a:cubicBezTo>
                        <a:pt x="1007285" y="532583"/>
                        <a:pt x="988530" y="520219"/>
                        <a:pt x="982279" y="526331"/>
                      </a:cubicBezTo>
                      <a:cubicBezTo>
                        <a:pt x="969776" y="526331"/>
                        <a:pt x="957273" y="532583"/>
                        <a:pt x="951021" y="538834"/>
                      </a:cubicBezTo>
                      <a:cubicBezTo>
                        <a:pt x="932266" y="551338"/>
                        <a:pt x="913651" y="538834"/>
                        <a:pt x="894896" y="545086"/>
                      </a:cubicBezTo>
                      <a:cubicBezTo>
                        <a:pt x="876141" y="551338"/>
                        <a:pt x="863777" y="563702"/>
                        <a:pt x="851274" y="563702"/>
                      </a:cubicBezTo>
                      <a:cubicBezTo>
                        <a:pt x="845023" y="563702"/>
                        <a:pt x="807652" y="563702"/>
                        <a:pt x="813903" y="557450"/>
                      </a:cubicBezTo>
                      <a:cubicBezTo>
                        <a:pt x="826406" y="557450"/>
                        <a:pt x="826406" y="557450"/>
                        <a:pt x="826406" y="551199"/>
                      </a:cubicBezTo>
                      <a:cubicBezTo>
                        <a:pt x="826406" y="532583"/>
                        <a:pt x="838909" y="538695"/>
                        <a:pt x="838909" y="526331"/>
                      </a:cubicBezTo>
                      <a:cubicBezTo>
                        <a:pt x="845161" y="520080"/>
                        <a:pt x="801539" y="532583"/>
                        <a:pt x="801539" y="532583"/>
                      </a:cubicBezTo>
                      <a:cubicBezTo>
                        <a:pt x="795288" y="532583"/>
                        <a:pt x="789036" y="532583"/>
                        <a:pt x="789036" y="538834"/>
                      </a:cubicBezTo>
                      <a:cubicBezTo>
                        <a:pt x="789036" y="545086"/>
                        <a:pt x="789036" y="551338"/>
                        <a:pt x="789036" y="557450"/>
                      </a:cubicBezTo>
                      <a:cubicBezTo>
                        <a:pt x="782784" y="557450"/>
                        <a:pt x="770281" y="551199"/>
                        <a:pt x="764030" y="551199"/>
                      </a:cubicBezTo>
                      <a:cubicBezTo>
                        <a:pt x="751527" y="551199"/>
                        <a:pt x="732772" y="557450"/>
                        <a:pt x="720408" y="563702"/>
                      </a:cubicBezTo>
                      <a:cubicBezTo>
                        <a:pt x="701653" y="569953"/>
                        <a:pt x="683038" y="582317"/>
                        <a:pt x="664283" y="588569"/>
                      </a:cubicBezTo>
                      <a:cubicBezTo>
                        <a:pt x="651780" y="588569"/>
                        <a:pt x="645528" y="594821"/>
                        <a:pt x="639277" y="607185"/>
                      </a:cubicBezTo>
                      <a:cubicBezTo>
                        <a:pt x="639277" y="613436"/>
                        <a:pt x="639277" y="632052"/>
                        <a:pt x="626774" y="632052"/>
                      </a:cubicBezTo>
                      <a:cubicBezTo>
                        <a:pt x="614270" y="632052"/>
                        <a:pt x="601767" y="638304"/>
                        <a:pt x="589403" y="638304"/>
                      </a:cubicBezTo>
                      <a:cubicBezTo>
                        <a:pt x="583152" y="638304"/>
                        <a:pt x="576900" y="625801"/>
                        <a:pt x="570649" y="619688"/>
                      </a:cubicBezTo>
                      <a:cubicBezTo>
                        <a:pt x="558145" y="607185"/>
                        <a:pt x="539391" y="613436"/>
                        <a:pt x="551894" y="594821"/>
                      </a:cubicBezTo>
                      <a:cubicBezTo>
                        <a:pt x="558145" y="582317"/>
                        <a:pt x="576900" y="588569"/>
                        <a:pt x="583013" y="582317"/>
                      </a:cubicBezTo>
                      <a:cubicBezTo>
                        <a:pt x="595516" y="582317"/>
                        <a:pt x="608019" y="588569"/>
                        <a:pt x="601767" y="576066"/>
                      </a:cubicBezTo>
                      <a:cubicBezTo>
                        <a:pt x="595516" y="569814"/>
                        <a:pt x="589264" y="557450"/>
                        <a:pt x="583013" y="551199"/>
                      </a:cubicBezTo>
                      <a:cubicBezTo>
                        <a:pt x="570509" y="538695"/>
                        <a:pt x="551894" y="544947"/>
                        <a:pt x="539391" y="544947"/>
                      </a:cubicBezTo>
                      <a:cubicBezTo>
                        <a:pt x="533139" y="544947"/>
                        <a:pt x="495768" y="538695"/>
                        <a:pt x="495768" y="538695"/>
                      </a:cubicBezTo>
                      <a:lnTo>
                        <a:pt x="514523" y="544947"/>
                      </a:lnTo>
                      <a:cubicBezTo>
                        <a:pt x="520774" y="551199"/>
                        <a:pt x="520774" y="557450"/>
                        <a:pt x="520774" y="563563"/>
                      </a:cubicBezTo>
                      <a:cubicBezTo>
                        <a:pt x="520774" y="569814"/>
                        <a:pt x="520774" y="582179"/>
                        <a:pt x="520774" y="588430"/>
                      </a:cubicBezTo>
                      <a:cubicBezTo>
                        <a:pt x="514523" y="594682"/>
                        <a:pt x="508271" y="600933"/>
                        <a:pt x="508271" y="607046"/>
                      </a:cubicBezTo>
                      <a:cubicBezTo>
                        <a:pt x="514523" y="619549"/>
                        <a:pt x="539529" y="619549"/>
                        <a:pt x="533278" y="638165"/>
                      </a:cubicBezTo>
                      <a:cubicBezTo>
                        <a:pt x="527026" y="644416"/>
                        <a:pt x="520774" y="656781"/>
                        <a:pt x="520774" y="663032"/>
                      </a:cubicBezTo>
                      <a:lnTo>
                        <a:pt x="520774" y="687899"/>
                      </a:lnTo>
                      <a:lnTo>
                        <a:pt x="514523" y="669284"/>
                      </a:lnTo>
                      <a:cubicBezTo>
                        <a:pt x="508271" y="669284"/>
                        <a:pt x="502020" y="681787"/>
                        <a:pt x="495768" y="675535"/>
                      </a:cubicBezTo>
                      <a:cubicBezTo>
                        <a:pt x="495768" y="675535"/>
                        <a:pt x="508271" y="669284"/>
                        <a:pt x="508271" y="663032"/>
                      </a:cubicBezTo>
                      <a:cubicBezTo>
                        <a:pt x="502020" y="656781"/>
                        <a:pt x="489517" y="656781"/>
                        <a:pt x="483265" y="656781"/>
                      </a:cubicBezTo>
                      <a:cubicBezTo>
                        <a:pt x="477013" y="656781"/>
                        <a:pt x="470762" y="650529"/>
                        <a:pt x="464510" y="656781"/>
                      </a:cubicBezTo>
                      <a:cubicBezTo>
                        <a:pt x="452007" y="656781"/>
                        <a:pt x="445756" y="669284"/>
                        <a:pt x="433392" y="669284"/>
                      </a:cubicBezTo>
                      <a:cubicBezTo>
                        <a:pt x="420889" y="681787"/>
                        <a:pt x="414637" y="681787"/>
                        <a:pt x="402134" y="694151"/>
                      </a:cubicBezTo>
                      <a:cubicBezTo>
                        <a:pt x="389631" y="706654"/>
                        <a:pt x="377128" y="706654"/>
                        <a:pt x="395882" y="719018"/>
                      </a:cubicBezTo>
                      <a:cubicBezTo>
                        <a:pt x="402134" y="725270"/>
                        <a:pt x="414637" y="743886"/>
                        <a:pt x="408385" y="750137"/>
                      </a:cubicBezTo>
                      <a:cubicBezTo>
                        <a:pt x="402134" y="756389"/>
                        <a:pt x="364764" y="743886"/>
                        <a:pt x="358512" y="743886"/>
                      </a:cubicBezTo>
                      <a:cubicBezTo>
                        <a:pt x="352260" y="737634"/>
                        <a:pt x="333506" y="743886"/>
                        <a:pt x="327254" y="743886"/>
                      </a:cubicBezTo>
                      <a:cubicBezTo>
                        <a:pt x="333506" y="737634"/>
                        <a:pt x="302248" y="712767"/>
                        <a:pt x="295996" y="725270"/>
                      </a:cubicBezTo>
                      <a:cubicBezTo>
                        <a:pt x="264878" y="750137"/>
                        <a:pt x="333367" y="756389"/>
                        <a:pt x="333367" y="768753"/>
                      </a:cubicBezTo>
                      <a:cubicBezTo>
                        <a:pt x="327115" y="793620"/>
                        <a:pt x="308360" y="781256"/>
                        <a:pt x="289745" y="781256"/>
                      </a:cubicBezTo>
                      <a:cubicBezTo>
                        <a:pt x="270990" y="775004"/>
                        <a:pt x="264739" y="762640"/>
                        <a:pt x="246123" y="756389"/>
                      </a:cubicBezTo>
                      <a:cubicBezTo>
                        <a:pt x="233620" y="750137"/>
                        <a:pt x="233620" y="743886"/>
                        <a:pt x="227368" y="731521"/>
                      </a:cubicBezTo>
                      <a:cubicBezTo>
                        <a:pt x="227368" y="719018"/>
                        <a:pt x="221117" y="719018"/>
                        <a:pt x="214865" y="712906"/>
                      </a:cubicBezTo>
                      <a:cubicBezTo>
                        <a:pt x="214865" y="706654"/>
                        <a:pt x="233620" y="694290"/>
                        <a:pt x="233620" y="694290"/>
                      </a:cubicBezTo>
                      <a:cubicBezTo>
                        <a:pt x="239871" y="675674"/>
                        <a:pt x="208614" y="663171"/>
                        <a:pt x="196249" y="663171"/>
                      </a:cubicBezTo>
                      <a:cubicBezTo>
                        <a:pt x="183746" y="656919"/>
                        <a:pt x="183746" y="644555"/>
                        <a:pt x="171243" y="644555"/>
                      </a:cubicBezTo>
                      <a:cubicBezTo>
                        <a:pt x="177495" y="638304"/>
                        <a:pt x="146237" y="613436"/>
                        <a:pt x="146237" y="613436"/>
                      </a:cubicBezTo>
                      <a:cubicBezTo>
                        <a:pt x="158740" y="607185"/>
                        <a:pt x="171243" y="625939"/>
                        <a:pt x="177356" y="632052"/>
                      </a:cubicBezTo>
                      <a:cubicBezTo>
                        <a:pt x="183607" y="638304"/>
                        <a:pt x="189859" y="638304"/>
                        <a:pt x="189859" y="632052"/>
                      </a:cubicBezTo>
                      <a:cubicBezTo>
                        <a:pt x="196110" y="632052"/>
                        <a:pt x="202362" y="638304"/>
                        <a:pt x="202362" y="638304"/>
                      </a:cubicBezTo>
                      <a:cubicBezTo>
                        <a:pt x="221117" y="644555"/>
                        <a:pt x="233481" y="650807"/>
                        <a:pt x="252235" y="650807"/>
                      </a:cubicBezTo>
                      <a:cubicBezTo>
                        <a:pt x="264739" y="657058"/>
                        <a:pt x="283493" y="657058"/>
                        <a:pt x="302109" y="663310"/>
                      </a:cubicBezTo>
                      <a:cubicBezTo>
                        <a:pt x="333228" y="675813"/>
                        <a:pt x="358234" y="675813"/>
                        <a:pt x="389492" y="657058"/>
                      </a:cubicBezTo>
                      <a:cubicBezTo>
                        <a:pt x="401995" y="650807"/>
                        <a:pt x="408246" y="644555"/>
                        <a:pt x="420749" y="638443"/>
                      </a:cubicBezTo>
                      <a:cubicBezTo>
                        <a:pt x="439504" y="625939"/>
                        <a:pt x="427001" y="619827"/>
                        <a:pt x="427001" y="601072"/>
                      </a:cubicBezTo>
                      <a:cubicBezTo>
                        <a:pt x="427001" y="582456"/>
                        <a:pt x="383379" y="576205"/>
                        <a:pt x="370876" y="563702"/>
                      </a:cubicBezTo>
                      <a:cubicBezTo>
                        <a:pt x="352121" y="551199"/>
                        <a:pt x="327254" y="538834"/>
                        <a:pt x="308499" y="532583"/>
                      </a:cubicBezTo>
                      <a:cubicBezTo>
                        <a:pt x="289745" y="520080"/>
                        <a:pt x="264878" y="507716"/>
                        <a:pt x="246123" y="507716"/>
                      </a:cubicBezTo>
                      <a:cubicBezTo>
                        <a:pt x="239871" y="501464"/>
                        <a:pt x="239871" y="507716"/>
                        <a:pt x="233620" y="507716"/>
                      </a:cubicBezTo>
                      <a:cubicBezTo>
                        <a:pt x="227368" y="507716"/>
                        <a:pt x="221117" y="501464"/>
                        <a:pt x="214865" y="501464"/>
                      </a:cubicBezTo>
                      <a:cubicBezTo>
                        <a:pt x="202362" y="495212"/>
                        <a:pt x="189859" y="520080"/>
                        <a:pt x="177495" y="520080"/>
                      </a:cubicBezTo>
                      <a:cubicBezTo>
                        <a:pt x="177495" y="513828"/>
                        <a:pt x="202501" y="495212"/>
                        <a:pt x="177495" y="495212"/>
                      </a:cubicBezTo>
                      <a:cubicBezTo>
                        <a:pt x="171243" y="495212"/>
                        <a:pt x="146375" y="482709"/>
                        <a:pt x="146375" y="482709"/>
                      </a:cubicBezTo>
                      <a:cubicBezTo>
                        <a:pt x="152627" y="476458"/>
                        <a:pt x="177495" y="495212"/>
                        <a:pt x="177495" y="482709"/>
                      </a:cubicBezTo>
                      <a:cubicBezTo>
                        <a:pt x="177495" y="476458"/>
                        <a:pt x="152489" y="464094"/>
                        <a:pt x="146375" y="464094"/>
                      </a:cubicBezTo>
                      <a:cubicBezTo>
                        <a:pt x="140124" y="470345"/>
                        <a:pt x="121369" y="482709"/>
                        <a:pt x="121369" y="482709"/>
                      </a:cubicBezTo>
                      <a:cubicBezTo>
                        <a:pt x="121369" y="476458"/>
                        <a:pt x="121369" y="476458"/>
                        <a:pt x="115118" y="470206"/>
                      </a:cubicBezTo>
                      <a:cubicBezTo>
                        <a:pt x="102614" y="470206"/>
                        <a:pt x="102614" y="476458"/>
                        <a:pt x="96363" y="482709"/>
                      </a:cubicBezTo>
                      <a:cubicBezTo>
                        <a:pt x="96363" y="482709"/>
                        <a:pt x="96363" y="482709"/>
                        <a:pt x="96363" y="476458"/>
                      </a:cubicBezTo>
                      <a:cubicBezTo>
                        <a:pt x="90111" y="482709"/>
                        <a:pt x="83860" y="495073"/>
                        <a:pt x="77608" y="495073"/>
                      </a:cubicBezTo>
                      <a:cubicBezTo>
                        <a:pt x="71357" y="501325"/>
                        <a:pt x="58854" y="501325"/>
                        <a:pt x="58854" y="501325"/>
                      </a:cubicBezTo>
                      <a:cubicBezTo>
                        <a:pt x="52602" y="513828"/>
                        <a:pt x="27735" y="513828"/>
                        <a:pt x="33847" y="526192"/>
                      </a:cubicBezTo>
                      <a:cubicBezTo>
                        <a:pt x="52602" y="538695"/>
                        <a:pt x="27596" y="526192"/>
                        <a:pt x="27596" y="544808"/>
                      </a:cubicBezTo>
                      <a:cubicBezTo>
                        <a:pt x="27596" y="557311"/>
                        <a:pt x="52602" y="563424"/>
                        <a:pt x="58715" y="569675"/>
                      </a:cubicBezTo>
                      <a:cubicBezTo>
                        <a:pt x="71218" y="575927"/>
                        <a:pt x="83721" y="588291"/>
                        <a:pt x="77470" y="600794"/>
                      </a:cubicBezTo>
                      <a:cubicBezTo>
                        <a:pt x="71218" y="613297"/>
                        <a:pt x="52464" y="619410"/>
                        <a:pt x="52464" y="631913"/>
                      </a:cubicBezTo>
                      <a:cubicBezTo>
                        <a:pt x="58715" y="644416"/>
                        <a:pt x="71218" y="656781"/>
                        <a:pt x="77470" y="669284"/>
                      </a:cubicBezTo>
                      <a:cubicBezTo>
                        <a:pt x="83721" y="681787"/>
                        <a:pt x="71218" y="681787"/>
                        <a:pt x="71218" y="694151"/>
                      </a:cubicBezTo>
                      <a:cubicBezTo>
                        <a:pt x="71218" y="706654"/>
                        <a:pt x="89973" y="719018"/>
                        <a:pt x="77470" y="725270"/>
                      </a:cubicBezTo>
                      <a:cubicBezTo>
                        <a:pt x="64967" y="731521"/>
                        <a:pt x="83721" y="750137"/>
                        <a:pt x="83721" y="756389"/>
                      </a:cubicBezTo>
                      <a:cubicBezTo>
                        <a:pt x="96225" y="768892"/>
                        <a:pt x="108728" y="768892"/>
                        <a:pt x="89973" y="781256"/>
                      </a:cubicBezTo>
                      <a:cubicBezTo>
                        <a:pt x="77470" y="793759"/>
                        <a:pt x="83721" y="793759"/>
                        <a:pt x="89973" y="799872"/>
                      </a:cubicBezTo>
                      <a:cubicBezTo>
                        <a:pt x="121092" y="818487"/>
                        <a:pt x="139846" y="830991"/>
                        <a:pt x="108728" y="855858"/>
                      </a:cubicBezTo>
                      <a:cubicBezTo>
                        <a:pt x="77470" y="886977"/>
                        <a:pt x="46350" y="911844"/>
                        <a:pt x="21344" y="942963"/>
                      </a:cubicBezTo>
                      <a:cubicBezTo>
                        <a:pt x="33847" y="942963"/>
                        <a:pt x="33847" y="936711"/>
                        <a:pt x="40099" y="942963"/>
                      </a:cubicBezTo>
                      <a:cubicBezTo>
                        <a:pt x="46350" y="955466"/>
                        <a:pt x="58854" y="955466"/>
                        <a:pt x="65105" y="961579"/>
                      </a:cubicBezTo>
                      <a:cubicBezTo>
                        <a:pt x="102476" y="974082"/>
                        <a:pt x="52602" y="974082"/>
                        <a:pt x="40099" y="974082"/>
                      </a:cubicBezTo>
                      <a:cubicBezTo>
                        <a:pt x="27596" y="974082"/>
                        <a:pt x="21344" y="980333"/>
                        <a:pt x="21344" y="992698"/>
                      </a:cubicBezTo>
                      <a:cubicBezTo>
                        <a:pt x="21344" y="1005201"/>
                        <a:pt x="8841" y="1011313"/>
                        <a:pt x="2589" y="1023817"/>
                      </a:cubicBezTo>
                      <a:cubicBezTo>
                        <a:pt x="-3662" y="1030068"/>
                        <a:pt x="2589" y="1042432"/>
                        <a:pt x="8841" y="1054935"/>
                      </a:cubicBezTo>
                      <a:cubicBezTo>
                        <a:pt x="8841" y="1067439"/>
                        <a:pt x="-3662" y="1079803"/>
                        <a:pt x="2589" y="1086054"/>
                      </a:cubicBezTo>
                      <a:cubicBezTo>
                        <a:pt x="15093" y="1092306"/>
                        <a:pt x="15093" y="1092306"/>
                        <a:pt x="15093" y="1104670"/>
                      </a:cubicBezTo>
                      <a:cubicBezTo>
                        <a:pt x="8841" y="1117173"/>
                        <a:pt x="21344" y="1123286"/>
                        <a:pt x="21344" y="1135789"/>
                      </a:cubicBezTo>
                      <a:cubicBezTo>
                        <a:pt x="21344" y="1142040"/>
                        <a:pt x="40099" y="1154405"/>
                        <a:pt x="46350" y="1154405"/>
                      </a:cubicBezTo>
                      <a:cubicBezTo>
                        <a:pt x="46350" y="1154405"/>
                        <a:pt x="52602" y="1148153"/>
                        <a:pt x="58854" y="1148153"/>
                      </a:cubicBezTo>
                      <a:cubicBezTo>
                        <a:pt x="65105" y="1148153"/>
                        <a:pt x="65105" y="1160656"/>
                        <a:pt x="71357" y="1160656"/>
                      </a:cubicBezTo>
                      <a:cubicBezTo>
                        <a:pt x="83860" y="1154405"/>
                        <a:pt x="83860" y="1148153"/>
                        <a:pt x="96363" y="1160656"/>
                      </a:cubicBezTo>
                      <a:cubicBezTo>
                        <a:pt x="108866" y="1166908"/>
                        <a:pt x="108866" y="1166908"/>
                        <a:pt x="108866" y="1179272"/>
                      </a:cubicBezTo>
                      <a:cubicBezTo>
                        <a:pt x="102614" y="1210391"/>
                        <a:pt x="127621" y="1235258"/>
                        <a:pt x="146237" y="1247622"/>
                      </a:cubicBezTo>
                      <a:cubicBezTo>
                        <a:pt x="158740" y="1253874"/>
                        <a:pt x="164992" y="1260125"/>
                        <a:pt x="152489" y="1266238"/>
                      </a:cubicBezTo>
                      <a:cubicBezTo>
                        <a:pt x="146237" y="1278741"/>
                        <a:pt x="139985" y="1272490"/>
                        <a:pt x="127482" y="1272490"/>
                      </a:cubicBezTo>
                      <a:cubicBezTo>
                        <a:pt x="114979" y="1272490"/>
                        <a:pt x="133734" y="1328476"/>
                        <a:pt x="146237" y="1322224"/>
                      </a:cubicBezTo>
                      <a:cubicBezTo>
                        <a:pt x="152489" y="1315973"/>
                        <a:pt x="158740" y="1297357"/>
                        <a:pt x="164992" y="1303609"/>
                      </a:cubicBezTo>
                      <a:cubicBezTo>
                        <a:pt x="171243" y="1303609"/>
                        <a:pt x="177495" y="1309860"/>
                        <a:pt x="189998" y="1309860"/>
                      </a:cubicBezTo>
                      <a:cubicBezTo>
                        <a:pt x="202501" y="1309860"/>
                        <a:pt x="215004" y="1316112"/>
                        <a:pt x="215004" y="1328476"/>
                      </a:cubicBezTo>
                      <a:cubicBezTo>
                        <a:pt x="215004" y="1334727"/>
                        <a:pt x="208753" y="1334727"/>
                        <a:pt x="208753" y="1334727"/>
                      </a:cubicBezTo>
                      <a:cubicBezTo>
                        <a:pt x="202501" y="1340979"/>
                        <a:pt x="208753" y="1353343"/>
                        <a:pt x="215004" y="1353343"/>
                      </a:cubicBezTo>
                      <a:cubicBezTo>
                        <a:pt x="221256" y="1359595"/>
                        <a:pt x="233759" y="1353343"/>
                        <a:pt x="240010" y="1359595"/>
                      </a:cubicBezTo>
                      <a:cubicBezTo>
                        <a:pt x="246262" y="1365846"/>
                        <a:pt x="246262" y="1378210"/>
                        <a:pt x="246262" y="1384462"/>
                      </a:cubicBezTo>
                      <a:cubicBezTo>
                        <a:pt x="246262" y="1390714"/>
                        <a:pt x="265017" y="1384462"/>
                        <a:pt x="271268" y="1384462"/>
                      </a:cubicBezTo>
                      <a:cubicBezTo>
                        <a:pt x="277520" y="1390714"/>
                        <a:pt x="290023" y="1409329"/>
                        <a:pt x="296274" y="1396965"/>
                      </a:cubicBezTo>
                      <a:cubicBezTo>
                        <a:pt x="302526" y="1384462"/>
                        <a:pt x="308778" y="1390714"/>
                        <a:pt x="315029" y="1396965"/>
                      </a:cubicBezTo>
                      <a:cubicBezTo>
                        <a:pt x="327532" y="1409468"/>
                        <a:pt x="327532" y="1403217"/>
                        <a:pt x="340035" y="1403217"/>
                      </a:cubicBezTo>
                      <a:cubicBezTo>
                        <a:pt x="346287" y="1403217"/>
                        <a:pt x="352539" y="1421833"/>
                        <a:pt x="358790" y="1415720"/>
                      </a:cubicBezTo>
                      <a:cubicBezTo>
                        <a:pt x="371293" y="1409468"/>
                        <a:pt x="383796" y="1421971"/>
                        <a:pt x="389909" y="1428223"/>
                      </a:cubicBezTo>
                      <a:cubicBezTo>
                        <a:pt x="402412" y="1434475"/>
                        <a:pt x="383657" y="1440726"/>
                        <a:pt x="383657" y="1440726"/>
                      </a:cubicBezTo>
                      <a:cubicBezTo>
                        <a:pt x="371154" y="1446978"/>
                        <a:pt x="389909" y="1453229"/>
                        <a:pt x="389909" y="1453229"/>
                      </a:cubicBezTo>
                      <a:cubicBezTo>
                        <a:pt x="389909" y="1453229"/>
                        <a:pt x="371154" y="1453229"/>
                        <a:pt x="377406" y="1465732"/>
                      </a:cubicBezTo>
                      <a:cubicBezTo>
                        <a:pt x="389909" y="1471984"/>
                        <a:pt x="383657" y="1478235"/>
                        <a:pt x="377406" y="1484348"/>
                      </a:cubicBezTo>
                      <a:cubicBezTo>
                        <a:pt x="377406" y="1490600"/>
                        <a:pt x="358651" y="1490600"/>
                        <a:pt x="352399" y="1490600"/>
                      </a:cubicBezTo>
                      <a:cubicBezTo>
                        <a:pt x="339896" y="1490600"/>
                        <a:pt x="333645" y="1503103"/>
                        <a:pt x="327393" y="1515467"/>
                      </a:cubicBezTo>
                      <a:cubicBezTo>
                        <a:pt x="333645" y="1515467"/>
                        <a:pt x="358651" y="1515467"/>
                        <a:pt x="358651" y="1521719"/>
                      </a:cubicBezTo>
                      <a:cubicBezTo>
                        <a:pt x="358651" y="1527970"/>
                        <a:pt x="327393" y="1534222"/>
                        <a:pt x="327393" y="1540334"/>
                      </a:cubicBezTo>
                      <a:cubicBezTo>
                        <a:pt x="327393" y="1546586"/>
                        <a:pt x="339896" y="1546586"/>
                        <a:pt x="339896" y="1558950"/>
                      </a:cubicBezTo>
                      <a:lnTo>
                        <a:pt x="321142" y="1565202"/>
                      </a:lnTo>
                      <a:cubicBezTo>
                        <a:pt x="314890" y="1571453"/>
                        <a:pt x="314890" y="1577705"/>
                        <a:pt x="308639" y="1583817"/>
                      </a:cubicBezTo>
                      <a:cubicBezTo>
                        <a:pt x="308639" y="1590069"/>
                        <a:pt x="296135" y="1583817"/>
                        <a:pt x="296135" y="1596320"/>
                      </a:cubicBezTo>
                      <a:cubicBezTo>
                        <a:pt x="289884" y="1602572"/>
                        <a:pt x="302387" y="1614936"/>
                        <a:pt x="314890" y="1614936"/>
                      </a:cubicBezTo>
                      <a:cubicBezTo>
                        <a:pt x="327393" y="1621188"/>
                        <a:pt x="339896" y="1627439"/>
                        <a:pt x="358512" y="1639804"/>
                      </a:cubicBezTo>
                      <a:cubicBezTo>
                        <a:pt x="364764" y="1646055"/>
                        <a:pt x="371015" y="1652307"/>
                        <a:pt x="377267" y="1652307"/>
                      </a:cubicBezTo>
                      <a:cubicBezTo>
                        <a:pt x="383518" y="1664810"/>
                        <a:pt x="383518" y="1658558"/>
                        <a:pt x="396021" y="1652307"/>
                      </a:cubicBezTo>
                      <a:cubicBezTo>
                        <a:pt x="414776" y="1652307"/>
                        <a:pt x="433392" y="1670922"/>
                        <a:pt x="452146" y="1670922"/>
                      </a:cubicBezTo>
                      <a:cubicBezTo>
                        <a:pt x="470901" y="1670922"/>
                        <a:pt x="489517" y="1683425"/>
                        <a:pt x="508271" y="1689538"/>
                      </a:cubicBezTo>
                      <a:cubicBezTo>
                        <a:pt x="527026" y="1695790"/>
                        <a:pt x="539529" y="1689538"/>
                        <a:pt x="558145" y="1689538"/>
                      </a:cubicBezTo>
                      <a:cubicBezTo>
                        <a:pt x="564397" y="1695790"/>
                        <a:pt x="570649" y="1702041"/>
                        <a:pt x="570649" y="1708154"/>
                      </a:cubicBezTo>
                      <a:cubicBezTo>
                        <a:pt x="570649" y="1714405"/>
                        <a:pt x="576900" y="1714405"/>
                        <a:pt x="583152" y="1714405"/>
                      </a:cubicBezTo>
                      <a:cubicBezTo>
                        <a:pt x="601906" y="1720657"/>
                        <a:pt x="614409" y="1751776"/>
                        <a:pt x="639277" y="1739273"/>
                      </a:cubicBezTo>
                      <a:cubicBezTo>
                        <a:pt x="645528" y="1733021"/>
                        <a:pt x="658031" y="1726770"/>
                        <a:pt x="651780" y="1720657"/>
                      </a:cubicBezTo>
                      <a:cubicBezTo>
                        <a:pt x="645528" y="1714405"/>
                        <a:pt x="639277" y="1708154"/>
                        <a:pt x="633025" y="1702041"/>
                      </a:cubicBezTo>
                      <a:cubicBezTo>
                        <a:pt x="620522" y="1689538"/>
                        <a:pt x="614270" y="1677174"/>
                        <a:pt x="620522" y="1658558"/>
                      </a:cubicBezTo>
                      <a:cubicBezTo>
                        <a:pt x="620522" y="1646055"/>
                        <a:pt x="614270" y="1633691"/>
                        <a:pt x="601767" y="1627439"/>
                      </a:cubicBezTo>
                      <a:cubicBezTo>
                        <a:pt x="589264" y="1621188"/>
                        <a:pt x="608019" y="1608824"/>
                        <a:pt x="614270" y="1602572"/>
                      </a:cubicBezTo>
                      <a:cubicBezTo>
                        <a:pt x="620522" y="1590208"/>
                        <a:pt x="620522" y="1577705"/>
                        <a:pt x="639277" y="1577705"/>
                      </a:cubicBezTo>
                      <a:cubicBezTo>
                        <a:pt x="645528" y="1577705"/>
                        <a:pt x="651780" y="1571453"/>
                        <a:pt x="658031" y="1565202"/>
                      </a:cubicBezTo>
                      <a:cubicBezTo>
                        <a:pt x="664283" y="1558950"/>
                        <a:pt x="670534" y="1558950"/>
                        <a:pt x="676786" y="1552698"/>
                      </a:cubicBezTo>
                      <a:cubicBezTo>
                        <a:pt x="670534" y="1552698"/>
                        <a:pt x="658031" y="1546447"/>
                        <a:pt x="658031" y="1540195"/>
                      </a:cubicBezTo>
                      <a:cubicBezTo>
                        <a:pt x="658031" y="1533944"/>
                        <a:pt x="670534" y="1540195"/>
                        <a:pt x="670534" y="1540195"/>
                      </a:cubicBezTo>
                      <a:cubicBezTo>
                        <a:pt x="670534" y="1533944"/>
                        <a:pt x="658031" y="1515328"/>
                        <a:pt x="651780" y="1509076"/>
                      </a:cubicBezTo>
                      <a:cubicBezTo>
                        <a:pt x="645528" y="1496573"/>
                        <a:pt x="639277" y="1496573"/>
                        <a:pt x="626774" y="1496573"/>
                      </a:cubicBezTo>
                      <a:cubicBezTo>
                        <a:pt x="608019" y="1496573"/>
                        <a:pt x="620522" y="1484070"/>
                        <a:pt x="608019" y="1477958"/>
                      </a:cubicBezTo>
                      <a:cubicBezTo>
                        <a:pt x="601767" y="1471706"/>
                        <a:pt x="583013" y="1471706"/>
                        <a:pt x="595516" y="1459342"/>
                      </a:cubicBezTo>
                      <a:cubicBezTo>
                        <a:pt x="601767" y="1446839"/>
                        <a:pt x="614270" y="1440726"/>
                        <a:pt x="601767" y="1434475"/>
                      </a:cubicBezTo>
                      <a:cubicBezTo>
                        <a:pt x="595516" y="1421971"/>
                        <a:pt x="608019" y="1415859"/>
                        <a:pt x="614270" y="1409607"/>
                      </a:cubicBezTo>
                      <a:cubicBezTo>
                        <a:pt x="614270" y="1403356"/>
                        <a:pt x="626774" y="1384740"/>
                        <a:pt x="626774" y="1390991"/>
                      </a:cubicBezTo>
                      <a:cubicBezTo>
                        <a:pt x="633025" y="1397243"/>
                        <a:pt x="639277" y="1409607"/>
                        <a:pt x="645528" y="1415859"/>
                      </a:cubicBezTo>
                      <a:cubicBezTo>
                        <a:pt x="658031" y="1415859"/>
                        <a:pt x="664283" y="1409607"/>
                        <a:pt x="664283" y="1403356"/>
                      </a:cubicBezTo>
                      <a:cubicBezTo>
                        <a:pt x="658031" y="1390852"/>
                        <a:pt x="658031" y="1384740"/>
                        <a:pt x="670534" y="1378488"/>
                      </a:cubicBezTo>
                      <a:cubicBezTo>
                        <a:pt x="683038" y="1372237"/>
                        <a:pt x="683038" y="1359873"/>
                        <a:pt x="695541" y="1359873"/>
                      </a:cubicBezTo>
                      <a:cubicBezTo>
                        <a:pt x="708044" y="1353621"/>
                        <a:pt x="720547" y="1335005"/>
                        <a:pt x="732911" y="1341257"/>
                      </a:cubicBezTo>
                      <a:cubicBezTo>
                        <a:pt x="745414" y="1341257"/>
                        <a:pt x="745414" y="1353760"/>
                        <a:pt x="757917" y="1341257"/>
                      </a:cubicBezTo>
                      <a:cubicBezTo>
                        <a:pt x="770420" y="1335005"/>
                        <a:pt x="770420" y="1341257"/>
                        <a:pt x="782923" y="1347508"/>
                      </a:cubicBezTo>
                      <a:cubicBezTo>
                        <a:pt x="795427" y="1347508"/>
                        <a:pt x="807930" y="1347508"/>
                        <a:pt x="820294" y="1353760"/>
                      </a:cubicBezTo>
                      <a:cubicBezTo>
                        <a:pt x="832797" y="1360012"/>
                        <a:pt x="832797" y="1372376"/>
                        <a:pt x="845300" y="1384879"/>
                      </a:cubicBezTo>
                      <a:cubicBezTo>
                        <a:pt x="845300" y="1384879"/>
                        <a:pt x="845300" y="1366263"/>
                        <a:pt x="857803" y="1372376"/>
                      </a:cubicBezTo>
                      <a:cubicBezTo>
                        <a:pt x="864055" y="1372376"/>
                        <a:pt x="870306" y="1384879"/>
                        <a:pt x="882809" y="1384879"/>
                      </a:cubicBezTo>
                      <a:cubicBezTo>
                        <a:pt x="889061" y="1391130"/>
                        <a:pt x="895313" y="1378627"/>
                        <a:pt x="901564" y="1372376"/>
                      </a:cubicBezTo>
                      <a:cubicBezTo>
                        <a:pt x="914067" y="1359873"/>
                        <a:pt x="920319" y="1372376"/>
                        <a:pt x="932683" y="1372376"/>
                      </a:cubicBezTo>
                      <a:cubicBezTo>
                        <a:pt x="945186" y="1372376"/>
                        <a:pt x="951437" y="1359873"/>
                        <a:pt x="963941" y="1366124"/>
                      </a:cubicBezTo>
                      <a:cubicBezTo>
                        <a:pt x="976444" y="1372376"/>
                        <a:pt x="982695" y="1378627"/>
                        <a:pt x="995060" y="1384740"/>
                      </a:cubicBezTo>
                      <a:cubicBezTo>
                        <a:pt x="1007563" y="1390991"/>
                        <a:pt x="1001312" y="1384740"/>
                        <a:pt x="1013815" y="1378488"/>
                      </a:cubicBezTo>
                      <a:cubicBezTo>
                        <a:pt x="1020066" y="1372237"/>
                        <a:pt x="1045073" y="1378488"/>
                        <a:pt x="1051185" y="1378488"/>
                      </a:cubicBezTo>
                      <a:cubicBezTo>
                        <a:pt x="1057437" y="1378488"/>
                        <a:pt x="1069940" y="1365985"/>
                        <a:pt x="1069940" y="1359873"/>
                      </a:cubicBezTo>
                      <a:cubicBezTo>
                        <a:pt x="1069940" y="1347370"/>
                        <a:pt x="1051185" y="1347370"/>
                        <a:pt x="1044933" y="1341257"/>
                      </a:cubicBezTo>
                      <a:cubicBezTo>
                        <a:pt x="1001312" y="1322641"/>
                        <a:pt x="1063688" y="1328754"/>
                        <a:pt x="1051185" y="1303886"/>
                      </a:cubicBezTo>
                      <a:cubicBezTo>
                        <a:pt x="1044933" y="1297635"/>
                        <a:pt x="1032430" y="1297635"/>
                        <a:pt x="1051185" y="1291383"/>
                      </a:cubicBezTo>
                      <a:cubicBezTo>
                        <a:pt x="1057437" y="1285132"/>
                        <a:pt x="1069940" y="1291383"/>
                        <a:pt x="1076191" y="1285132"/>
                      </a:cubicBezTo>
                      <a:cubicBezTo>
                        <a:pt x="1101198" y="1285132"/>
                        <a:pt x="1032569" y="1254013"/>
                        <a:pt x="1063688" y="1241649"/>
                      </a:cubicBezTo>
                      <a:cubicBezTo>
                        <a:pt x="1069940" y="1241649"/>
                        <a:pt x="1082443" y="1241649"/>
                        <a:pt x="1088694" y="1241649"/>
                      </a:cubicBezTo>
                      <a:cubicBezTo>
                        <a:pt x="1107449" y="1241649"/>
                        <a:pt x="1119952" y="1241649"/>
                        <a:pt x="1138568" y="1235397"/>
                      </a:cubicBezTo>
                      <a:cubicBezTo>
                        <a:pt x="1151071" y="1229145"/>
                        <a:pt x="1163574" y="1229145"/>
                        <a:pt x="1175938" y="1229145"/>
                      </a:cubicBezTo>
                      <a:cubicBezTo>
                        <a:pt x="1188441" y="1222894"/>
                        <a:pt x="1200944" y="1216642"/>
                        <a:pt x="1219560" y="1216642"/>
                      </a:cubicBezTo>
                      <a:cubicBezTo>
                        <a:pt x="1244566" y="1210391"/>
                        <a:pt x="1269434" y="1204139"/>
                        <a:pt x="1294440" y="1191775"/>
                      </a:cubicBezTo>
                      <a:cubicBezTo>
                        <a:pt x="1313195" y="1179272"/>
                        <a:pt x="1350565" y="1179272"/>
                        <a:pt x="1363068" y="1204278"/>
                      </a:cubicBezTo>
                      <a:cubicBezTo>
                        <a:pt x="1369320" y="1216781"/>
                        <a:pt x="1363068" y="1216781"/>
                        <a:pt x="1369320" y="1229145"/>
                      </a:cubicBezTo>
                      <a:cubicBezTo>
                        <a:pt x="1369320" y="1247761"/>
                        <a:pt x="1394326" y="1229145"/>
                        <a:pt x="1406690" y="1235397"/>
                      </a:cubicBezTo>
                      <a:cubicBezTo>
                        <a:pt x="1412942" y="1235397"/>
                        <a:pt x="1406690" y="1241649"/>
                        <a:pt x="1412942" y="1241649"/>
                      </a:cubicBezTo>
                      <a:cubicBezTo>
                        <a:pt x="1419193" y="1247900"/>
                        <a:pt x="1419193" y="1241649"/>
                        <a:pt x="1419193" y="1241649"/>
                      </a:cubicBezTo>
                      <a:cubicBezTo>
                        <a:pt x="1425445" y="1235397"/>
                        <a:pt x="1431697" y="1241649"/>
                        <a:pt x="1437948" y="1247900"/>
                      </a:cubicBezTo>
                      <a:cubicBezTo>
                        <a:pt x="1444200" y="1247900"/>
                        <a:pt x="1444200" y="1247900"/>
                        <a:pt x="1437948" y="1254152"/>
                      </a:cubicBezTo>
                      <a:cubicBezTo>
                        <a:pt x="1431697" y="1272767"/>
                        <a:pt x="1475318" y="1260403"/>
                        <a:pt x="1487822" y="1254152"/>
                      </a:cubicBezTo>
                      <a:cubicBezTo>
                        <a:pt x="1487822" y="1254152"/>
                        <a:pt x="1543947" y="1223033"/>
                        <a:pt x="1543947" y="1229285"/>
                      </a:cubicBezTo>
                      <a:cubicBezTo>
                        <a:pt x="1543947" y="1235536"/>
                        <a:pt x="1531443" y="1247900"/>
                        <a:pt x="1543947" y="1254152"/>
                      </a:cubicBezTo>
                      <a:cubicBezTo>
                        <a:pt x="1556450" y="1254152"/>
                        <a:pt x="1562701" y="1260403"/>
                        <a:pt x="1568953" y="1266655"/>
                      </a:cubicBezTo>
                      <a:cubicBezTo>
                        <a:pt x="1587707" y="1285271"/>
                        <a:pt x="1593959" y="1304025"/>
                        <a:pt x="1606324" y="1322641"/>
                      </a:cubicBezTo>
                      <a:cubicBezTo>
                        <a:pt x="1618827" y="1341257"/>
                        <a:pt x="1625078" y="1360012"/>
                        <a:pt x="1637443" y="1372376"/>
                      </a:cubicBezTo>
                      <a:cubicBezTo>
                        <a:pt x="1656197" y="1390991"/>
                        <a:pt x="1656197" y="1347508"/>
                        <a:pt x="1674813" y="1366124"/>
                      </a:cubicBezTo>
                      <a:cubicBezTo>
                        <a:pt x="1699819" y="1390991"/>
                        <a:pt x="1712183" y="1378627"/>
                        <a:pt x="1743441" y="1372376"/>
                      </a:cubicBezTo>
                      <a:cubicBezTo>
                        <a:pt x="1755944" y="1366124"/>
                        <a:pt x="1762196" y="1384879"/>
                        <a:pt x="1768447" y="1390991"/>
                      </a:cubicBezTo>
                      <a:cubicBezTo>
                        <a:pt x="1774699" y="1403494"/>
                        <a:pt x="1787202" y="1403494"/>
                        <a:pt x="1793453" y="1415859"/>
                      </a:cubicBezTo>
                      <a:cubicBezTo>
                        <a:pt x="1799705" y="1428362"/>
                        <a:pt x="1812208" y="1428362"/>
                        <a:pt x="1824572" y="1428362"/>
                      </a:cubicBezTo>
                      <a:cubicBezTo>
                        <a:pt x="1843327" y="1422110"/>
                        <a:pt x="1837075" y="1428362"/>
                        <a:pt x="1843327" y="1434613"/>
                      </a:cubicBezTo>
                      <a:cubicBezTo>
                        <a:pt x="1855830" y="1459481"/>
                        <a:pt x="1893201" y="1428362"/>
                        <a:pt x="1911956" y="1428362"/>
                      </a:cubicBezTo>
                      <a:cubicBezTo>
                        <a:pt x="1930710" y="1422110"/>
                        <a:pt x="1949326" y="1403494"/>
                        <a:pt x="1968081" y="1397243"/>
                      </a:cubicBezTo>
                      <a:cubicBezTo>
                        <a:pt x="1993087" y="1378627"/>
                        <a:pt x="2005451" y="1378627"/>
                        <a:pt x="2036709" y="1384740"/>
                      </a:cubicBezTo>
                      <a:cubicBezTo>
                        <a:pt x="2049212" y="1384740"/>
                        <a:pt x="2049212" y="1390991"/>
                        <a:pt x="2061715" y="1403356"/>
                      </a:cubicBezTo>
                      <a:cubicBezTo>
                        <a:pt x="2067967" y="1409607"/>
                        <a:pt x="2080470" y="1409607"/>
                        <a:pt x="2092973" y="1409607"/>
                      </a:cubicBezTo>
                      <a:cubicBezTo>
                        <a:pt x="2105476" y="1409607"/>
                        <a:pt x="2111728" y="1415859"/>
                        <a:pt x="2124231" y="1415859"/>
                      </a:cubicBezTo>
                      <a:cubicBezTo>
                        <a:pt x="2136734" y="1428362"/>
                        <a:pt x="2142985" y="1415859"/>
                        <a:pt x="2155349" y="1409607"/>
                      </a:cubicBezTo>
                      <a:cubicBezTo>
                        <a:pt x="2174104" y="1390991"/>
                        <a:pt x="2142846" y="1378488"/>
                        <a:pt x="2155349" y="1359873"/>
                      </a:cubicBezTo>
                      <a:cubicBezTo>
                        <a:pt x="2161601" y="1347370"/>
                        <a:pt x="2186607" y="1322502"/>
                        <a:pt x="2198971" y="1328754"/>
                      </a:cubicBezTo>
                      <a:cubicBezTo>
                        <a:pt x="2223978" y="1341257"/>
                        <a:pt x="2255097" y="1341257"/>
                        <a:pt x="2280103" y="1353621"/>
                      </a:cubicBezTo>
                      <a:cubicBezTo>
                        <a:pt x="2292606" y="1359873"/>
                        <a:pt x="2286355" y="1372237"/>
                        <a:pt x="2292606" y="1378488"/>
                      </a:cubicBezTo>
                      <a:cubicBezTo>
                        <a:pt x="2298858" y="1397104"/>
                        <a:pt x="2311361" y="1397104"/>
                        <a:pt x="2329977" y="1403356"/>
                      </a:cubicBezTo>
                      <a:cubicBezTo>
                        <a:pt x="2354983" y="1409607"/>
                        <a:pt x="2379850" y="1390852"/>
                        <a:pt x="2404856" y="1397104"/>
                      </a:cubicBezTo>
                      <a:cubicBezTo>
                        <a:pt x="2411108" y="1397104"/>
                        <a:pt x="2423611" y="1397104"/>
                        <a:pt x="2429863" y="1403356"/>
                      </a:cubicBezTo>
                      <a:cubicBezTo>
                        <a:pt x="2442366" y="1409607"/>
                        <a:pt x="2454869" y="1409607"/>
                        <a:pt x="2467233" y="1421971"/>
                      </a:cubicBezTo>
                      <a:cubicBezTo>
                        <a:pt x="2498491" y="1446839"/>
                        <a:pt x="2548364" y="1446839"/>
                        <a:pt x="2585735" y="1434475"/>
                      </a:cubicBezTo>
                      <a:cubicBezTo>
                        <a:pt x="2610741" y="1428223"/>
                        <a:pt x="2629357" y="1415859"/>
                        <a:pt x="2654363" y="1409607"/>
                      </a:cubicBezTo>
                      <a:cubicBezTo>
                        <a:pt x="2666866" y="1397104"/>
                        <a:pt x="2685482" y="1409607"/>
                        <a:pt x="2697985" y="1409607"/>
                      </a:cubicBezTo>
                      <a:cubicBezTo>
                        <a:pt x="2710488" y="1415859"/>
                        <a:pt x="2716601" y="1403356"/>
                        <a:pt x="2729104" y="1409607"/>
                      </a:cubicBezTo>
                      <a:cubicBezTo>
                        <a:pt x="2735355" y="1415859"/>
                        <a:pt x="2760222" y="1434475"/>
                        <a:pt x="2772726" y="1428223"/>
                      </a:cubicBezTo>
                      <a:cubicBezTo>
                        <a:pt x="2778977" y="1428223"/>
                        <a:pt x="2791480" y="1421971"/>
                        <a:pt x="2797732" y="1415720"/>
                      </a:cubicBezTo>
                      <a:cubicBezTo>
                        <a:pt x="2816348" y="1409468"/>
                        <a:pt x="2822738" y="1409468"/>
                        <a:pt x="2822738" y="1397104"/>
                      </a:cubicBezTo>
                      <a:cubicBezTo>
                        <a:pt x="2822738" y="1372237"/>
                        <a:pt x="2841354" y="1347370"/>
                        <a:pt x="2853858" y="1334866"/>
                      </a:cubicBezTo>
                      <a:cubicBezTo>
                        <a:pt x="2860109" y="1328615"/>
                        <a:pt x="2866361" y="1316251"/>
                        <a:pt x="2860109" y="1309999"/>
                      </a:cubicBezTo>
                      <a:cubicBezTo>
                        <a:pt x="2853858" y="1303747"/>
                        <a:pt x="2835241" y="1303747"/>
                        <a:pt x="2847606" y="1291383"/>
                      </a:cubicBezTo>
                      <a:cubicBezTo>
                        <a:pt x="2866361" y="1272767"/>
                        <a:pt x="2897618" y="1272767"/>
                        <a:pt x="2928737" y="1266516"/>
                      </a:cubicBezTo>
                      <a:cubicBezTo>
                        <a:pt x="2941240" y="1266516"/>
                        <a:pt x="2953743" y="1266516"/>
                        <a:pt x="2966247" y="1272767"/>
                      </a:cubicBezTo>
                      <a:cubicBezTo>
                        <a:pt x="2978750" y="1279019"/>
                        <a:pt x="2997365" y="1279019"/>
                        <a:pt x="3009868" y="1285271"/>
                      </a:cubicBezTo>
                      <a:cubicBezTo>
                        <a:pt x="3028484" y="1291522"/>
                        <a:pt x="3034736" y="1316390"/>
                        <a:pt x="3047239" y="1335005"/>
                      </a:cubicBezTo>
                      <a:cubicBezTo>
                        <a:pt x="3053490" y="1353621"/>
                        <a:pt x="3065993" y="1372376"/>
                        <a:pt x="3072245" y="1390991"/>
                      </a:cubicBezTo>
                      <a:cubicBezTo>
                        <a:pt x="3072245" y="1397243"/>
                        <a:pt x="3072245" y="1409607"/>
                        <a:pt x="3078497" y="1422110"/>
                      </a:cubicBezTo>
                      <a:cubicBezTo>
                        <a:pt x="3078497" y="1428362"/>
                        <a:pt x="3097251" y="1428362"/>
                        <a:pt x="3103503" y="1428362"/>
                      </a:cubicBezTo>
                      <a:cubicBezTo>
                        <a:pt x="3128509" y="1434613"/>
                        <a:pt x="3159628" y="1446978"/>
                        <a:pt x="3165879" y="1471845"/>
                      </a:cubicBezTo>
                      <a:cubicBezTo>
                        <a:pt x="3172131" y="1490461"/>
                        <a:pt x="3178244" y="1502964"/>
                        <a:pt x="3203250" y="1502964"/>
                      </a:cubicBezTo>
                      <a:cubicBezTo>
                        <a:pt x="3209502" y="1502964"/>
                        <a:pt x="3221866" y="1502964"/>
                        <a:pt x="3228257" y="1502964"/>
                      </a:cubicBezTo>
                      <a:cubicBezTo>
                        <a:pt x="3240760" y="1502964"/>
                        <a:pt x="3240760" y="1490461"/>
                        <a:pt x="3253263" y="1490461"/>
                      </a:cubicBezTo>
                      <a:cubicBezTo>
                        <a:pt x="3271878" y="1490461"/>
                        <a:pt x="3290633" y="1471845"/>
                        <a:pt x="3303136" y="1496712"/>
                      </a:cubicBezTo>
                      <a:cubicBezTo>
                        <a:pt x="3303136" y="1509215"/>
                        <a:pt x="3303136" y="1509215"/>
                        <a:pt x="3296885" y="1515328"/>
                      </a:cubicBezTo>
                      <a:cubicBezTo>
                        <a:pt x="3284382" y="1527831"/>
                        <a:pt x="3284382" y="1533944"/>
                        <a:pt x="3278130" y="1546447"/>
                      </a:cubicBezTo>
                      <a:cubicBezTo>
                        <a:pt x="3271878" y="1565063"/>
                        <a:pt x="3259514" y="1583817"/>
                        <a:pt x="3247011" y="1602433"/>
                      </a:cubicBezTo>
                      <a:cubicBezTo>
                        <a:pt x="3240760" y="1614936"/>
                        <a:pt x="3234508" y="1608685"/>
                        <a:pt x="3228257" y="1602433"/>
                      </a:cubicBezTo>
                      <a:cubicBezTo>
                        <a:pt x="3215753" y="1596182"/>
                        <a:pt x="3215753" y="1602433"/>
                        <a:pt x="3203250" y="1608685"/>
                      </a:cubicBezTo>
                      <a:cubicBezTo>
                        <a:pt x="3196999" y="1608685"/>
                        <a:pt x="3184634" y="1614936"/>
                        <a:pt x="3184634" y="1614936"/>
                      </a:cubicBezTo>
                      <a:cubicBezTo>
                        <a:pt x="3178382" y="1621188"/>
                        <a:pt x="3197137" y="1646055"/>
                        <a:pt x="3197137" y="1658419"/>
                      </a:cubicBezTo>
                      <a:cubicBezTo>
                        <a:pt x="3190886" y="1664671"/>
                        <a:pt x="3190886" y="1677035"/>
                        <a:pt x="3190886" y="1683287"/>
                      </a:cubicBezTo>
                      <a:cubicBezTo>
                        <a:pt x="3184634" y="1695790"/>
                        <a:pt x="3172270" y="1689538"/>
                        <a:pt x="3172270" y="1701902"/>
                      </a:cubicBezTo>
                      <a:cubicBezTo>
                        <a:pt x="3184773" y="1695651"/>
                        <a:pt x="3190886" y="1701902"/>
                        <a:pt x="3203389" y="1689399"/>
                      </a:cubicBezTo>
                      <a:cubicBezTo>
                        <a:pt x="3209640" y="1676896"/>
                        <a:pt x="3222005" y="1689399"/>
                        <a:pt x="3234508" y="1689399"/>
                      </a:cubicBezTo>
                      <a:cubicBezTo>
                        <a:pt x="3259514" y="1701902"/>
                        <a:pt x="3284521" y="1689399"/>
                        <a:pt x="3309388" y="1670783"/>
                      </a:cubicBezTo>
                      <a:cubicBezTo>
                        <a:pt x="3328142" y="1652168"/>
                        <a:pt x="3346897" y="1627300"/>
                        <a:pt x="3365513" y="1608546"/>
                      </a:cubicBezTo>
                      <a:cubicBezTo>
                        <a:pt x="3384267" y="1583678"/>
                        <a:pt x="3403022" y="1558811"/>
                        <a:pt x="3421638" y="1533944"/>
                      </a:cubicBezTo>
                      <a:cubicBezTo>
                        <a:pt x="3452756" y="1490461"/>
                        <a:pt x="3484014" y="1459342"/>
                        <a:pt x="3477763" y="1403356"/>
                      </a:cubicBezTo>
                      <a:cubicBezTo>
                        <a:pt x="3477763" y="1378488"/>
                        <a:pt x="3484014" y="1365985"/>
                        <a:pt x="3496379" y="1347370"/>
                      </a:cubicBezTo>
                      <a:cubicBezTo>
                        <a:pt x="3502631" y="1334866"/>
                        <a:pt x="3502631" y="1328754"/>
                        <a:pt x="3508882" y="1316251"/>
                      </a:cubicBezTo>
                      <a:cubicBezTo>
                        <a:pt x="3508882" y="1316251"/>
                        <a:pt x="3508882" y="1309999"/>
                        <a:pt x="3508882" y="1303747"/>
                      </a:cubicBezTo>
                      <a:cubicBezTo>
                        <a:pt x="3508882" y="1297496"/>
                        <a:pt x="3496379" y="1291244"/>
                        <a:pt x="3496379" y="1285132"/>
                      </a:cubicBezTo>
                      <a:cubicBezTo>
                        <a:pt x="3496379" y="1285132"/>
                        <a:pt x="3508882" y="1291383"/>
                        <a:pt x="3508882" y="1285132"/>
                      </a:cubicBezTo>
                      <a:cubicBezTo>
                        <a:pt x="3502631" y="1278880"/>
                        <a:pt x="3502631" y="1272629"/>
                        <a:pt x="3496379" y="1272629"/>
                      </a:cubicBezTo>
                      <a:cubicBezTo>
                        <a:pt x="3490127" y="1266377"/>
                        <a:pt x="3477763" y="1247761"/>
                        <a:pt x="3471511" y="1241510"/>
                      </a:cubicBezTo>
                      <a:cubicBezTo>
                        <a:pt x="3465260" y="1241510"/>
                        <a:pt x="3434002" y="1229007"/>
                        <a:pt x="3427889" y="1235258"/>
                      </a:cubicBezTo>
                      <a:cubicBezTo>
                        <a:pt x="3427889" y="1241510"/>
                        <a:pt x="3434141" y="1247761"/>
                        <a:pt x="3427889" y="1247761"/>
                      </a:cubicBezTo>
                      <a:cubicBezTo>
                        <a:pt x="3415386" y="1247761"/>
                        <a:pt x="3415386" y="1260264"/>
                        <a:pt x="3409135" y="1260264"/>
                      </a:cubicBezTo>
                      <a:cubicBezTo>
                        <a:pt x="3396631" y="1272767"/>
                        <a:pt x="3390519" y="1254013"/>
                        <a:pt x="3390519" y="1247761"/>
                      </a:cubicBezTo>
                      <a:cubicBezTo>
                        <a:pt x="3390519" y="1235258"/>
                        <a:pt x="3403022" y="1229145"/>
                        <a:pt x="3384267" y="1235258"/>
                      </a:cubicBezTo>
                      <a:cubicBezTo>
                        <a:pt x="3365513" y="1241510"/>
                        <a:pt x="3390519" y="1253874"/>
                        <a:pt x="3365513" y="1253874"/>
                      </a:cubicBezTo>
                      <a:cubicBezTo>
                        <a:pt x="3359261" y="1253874"/>
                        <a:pt x="3371764" y="1222755"/>
                        <a:pt x="3365513" y="1216503"/>
                      </a:cubicBezTo>
                      <a:cubicBezTo>
                        <a:pt x="3365513" y="1222755"/>
                        <a:pt x="3297024" y="1222755"/>
                        <a:pt x="3328142" y="1204000"/>
                      </a:cubicBezTo>
                      <a:cubicBezTo>
                        <a:pt x="3353010" y="1185385"/>
                        <a:pt x="3378016" y="1166630"/>
                        <a:pt x="3403022" y="1148014"/>
                      </a:cubicBezTo>
                      <a:cubicBezTo>
                        <a:pt x="3409274" y="1141763"/>
                        <a:pt x="3415525" y="1129398"/>
                        <a:pt x="3421638" y="1123147"/>
                      </a:cubicBezTo>
                      <a:cubicBezTo>
                        <a:pt x="3440392" y="1110644"/>
                        <a:pt x="3459147" y="1098280"/>
                        <a:pt x="3471650" y="1085776"/>
                      </a:cubicBezTo>
                      <a:cubicBezTo>
                        <a:pt x="3477902" y="1079525"/>
                        <a:pt x="3484153" y="1067161"/>
                        <a:pt x="3496517" y="1060909"/>
                      </a:cubicBezTo>
                      <a:cubicBezTo>
                        <a:pt x="3509021" y="1048545"/>
                        <a:pt x="3521524" y="1036042"/>
                        <a:pt x="3534027" y="1023539"/>
                      </a:cubicBezTo>
                      <a:cubicBezTo>
                        <a:pt x="3559033" y="1004923"/>
                        <a:pt x="3596404" y="1004923"/>
                        <a:pt x="3627523" y="1004923"/>
                      </a:cubicBezTo>
                      <a:cubicBezTo>
                        <a:pt x="3633774" y="1004923"/>
                        <a:pt x="3640026" y="1004923"/>
                        <a:pt x="3646277" y="1004923"/>
                      </a:cubicBezTo>
                      <a:cubicBezTo>
                        <a:pt x="3652529" y="1011175"/>
                        <a:pt x="3652529" y="1017426"/>
                        <a:pt x="3658781" y="1017426"/>
                      </a:cubicBezTo>
                      <a:cubicBezTo>
                        <a:pt x="3665032" y="1011175"/>
                        <a:pt x="3677535" y="1011175"/>
                        <a:pt x="3683648" y="1004923"/>
                      </a:cubicBezTo>
                      <a:cubicBezTo>
                        <a:pt x="3689899" y="1004923"/>
                        <a:pt x="3696151" y="1011175"/>
                        <a:pt x="3702402" y="1011175"/>
                      </a:cubicBezTo>
                      <a:cubicBezTo>
                        <a:pt x="3708654" y="1011175"/>
                        <a:pt x="3714906" y="1011175"/>
                        <a:pt x="3721018" y="1011175"/>
                      </a:cubicBezTo>
                      <a:cubicBezTo>
                        <a:pt x="3721018" y="1004923"/>
                        <a:pt x="3727270" y="1011175"/>
                        <a:pt x="3733521" y="1011175"/>
                      </a:cubicBezTo>
                      <a:cubicBezTo>
                        <a:pt x="3746024" y="1011175"/>
                        <a:pt x="3746024" y="992559"/>
                        <a:pt x="3764640" y="992559"/>
                      </a:cubicBezTo>
                      <a:cubicBezTo>
                        <a:pt x="3770891" y="992559"/>
                        <a:pt x="3783395" y="992559"/>
                        <a:pt x="3789646" y="992559"/>
                      </a:cubicBezTo>
                      <a:cubicBezTo>
                        <a:pt x="3795898" y="998810"/>
                        <a:pt x="3802149" y="1005062"/>
                        <a:pt x="3808262" y="1005062"/>
                      </a:cubicBezTo>
                      <a:cubicBezTo>
                        <a:pt x="3814514" y="1011313"/>
                        <a:pt x="3839381" y="998810"/>
                        <a:pt x="3839381" y="1017565"/>
                      </a:cubicBezTo>
                      <a:cubicBezTo>
                        <a:pt x="3839381" y="1017565"/>
                        <a:pt x="3820766" y="1017565"/>
                        <a:pt x="3820766" y="1023817"/>
                      </a:cubicBezTo>
                      <a:cubicBezTo>
                        <a:pt x="3814514" y="1036320"/>
                        <a:pt x="3839381" y="1030068"/>
                        <a:pt x="3839381" y="1030068"/>
                      </a:cubicBezTo>
                      <a:cubicBezTo>
                        <a:pt x="3851884" y="1030068"/>
                        <a:pt x="3864387" y="1030068"/>
                        <a:pt x="3870500" y="1030068"/>
                      </a:cubicBezTo>
                      <a:cubicBezTo>
                        <a:pt x="3876751" y="1023817"/>
                        <a:pt x="3876751" y="1023817"/>
                        <a:pt x="3883003" y="1017565"/>
                      </a:cubicBezTo>
                      <a:cubicBezTo>
                        <a:pt x="3889255" y="1017565"/>
                        <a:pt x="3895506" y="1023817"/>
                        <a:pt x="3908009" y="1023817"/>
                      </a:cubicBezTo>
                      <a:cubicBezTo>
                        <a:pt x="3914261" y="1023817"/>
                        <a:pt x="3957883" y="1011313"/>
                        <a:pt x="3933016" y="1005201"/>
                      </a:cubicBezTo>
                      <a:cubicBezTo>
                        <a:pt x="3920512" y="1005201"/>
                        <a:pt x="3914261" y="1011452"/>
                        <a:pt x="3914261" y="992698"/>
                      </a:cubicBezTo>
                      <a:cubicBezTo>
                        <a:pt x="3914261" y="986446"/>
                        <a:pt x="3926764" y="967830"/>
                        <a:pt x="3933016" y="961579"/>
                      </a:cubicBezTo>
                      <a:cubicBezTo>
                        <a:pt x="3945519" y="955327"/>
                        <a:pt x="3951631" y="949076"/>
                        <a:pt x="3964134" y="936711"/>
                      </a:cubicBezTo>
                      <a:cubicBezTo>
                        <a:pt x="3970386" y="930460"/>
                        <a:pt x="3982750" y="930460"/>
                        <a:pt x="3989141" y="918096"/>
                      </a:cubicBezTo>
                      <a:cubicBezTo>
                        <a:pt x="3995392" y="905593"/>
                        <a:pt x="4001505" y="899480"/>
                        <a:pt x="4014008" y="899480"/>
                      </a:cubicBezTo>
                      <a:cubicBezTo>
                        <a:pt x="4026511" y="899480"/>
                        <a:pt x="4045127" y="893228"/>
                        <a:pt x="4057630" y="893228"/>
                      </a:cubicBezTo>
                      <a:cubicBezTo>
                        <a:pt x="4070133" y="893228"/>
                        <a:pt x="4076385" y="905732"/>
                        <a:pt x="4082636" y="905732"/>
                      </a:cubicBezTo>
                      <a:cubicBezTo>
                        <a:pt x="4088888" y="899480"/>
                        <a:pt x="4095140" y="887116"/>
                        <a:pt x="4101252" y="893228"/>
                      </a:cubicBezTo>
                      <a:cubicBezTo>
                        <a:pt x="4107504" y="899480"/>
                        <a:pt x="4088749" y="918096"/>
                        <a:pt x="4088749" y="924347"/>
                      </a:cubicBezTo>
                      <a:cubicBezTo>
                        <a:pt x="4088749" y="936850"/>
                        <a:pt x="4095001" y="924347"/>
                        <a:pt x="4107504" y="930599"/>
                      </a:cubicBezTo>
                      <a:cubicBezTo>
                        <a:pt x="4107504" y="930599"/>
                        <a:pt x="4095001" y="943102"/>
                        <a:pt x="4095001" y="949215"/>
                      </a:cubicBezTo>
                      <a:cubicBezTo>
                        <a:pt x="4095001" y="955466"/>
                        <a:pt x="4138622" y="924347"/>
                        <a:pt x="4138622" y="924347"/>
                      </a:cubicBezTo>
                      <a:cubicBezTo>
                        <a:pt x="4144874" y="918096"/>
                        <a:pt x="4151126" y="911844"/>
                        <a:pt x="4163629" y="905732"/>
                      </a:cubicBezTo>
                      <a:cubicBezTo>
                        <a:pt x="4169880" y="899480"/>
                        <a:pt x="4188496" y="911983"/>
                        <a:pt x="4188496" y="899480"/>
                      </a:cubicBezTo>
                      <a:cubicBezTo>
                        <a:pt x="4182244" y="886977"/>
                        <a:pt x="4188496" y="862109"/>
                        <a:pt x="4207251" y="862109"/>
                      </a:cubicBezTo>
                      <a:cubicBezTo>
                        <a:pt x="4213502" y="855858"/>
                        <a:pt x="4225866" y="849606"/>
                        <a:pt x="4232118" y="855858"/>
                      </a:cubicBezTo>
                      <a:cubicBezTo>
                        <a:pt x="4238369" y="855858"/>
                        <a:pt x="4250873" y="868361"/>
                        <a:pt x="4257124" y="862109"/>
                      </a:cubicBezTo>
                      <a:cubicBezTo>
                        <a:pt x="4244621" y="868361"/>
                        <a:pt x="4226005" y="862109"/>
                        <a:pt x="4219754" y="880725"/>
                      </a:cubicBezTo>
                      <a:cubicBezTo>
                        <a:pt x="4219754" y="886977"/>
                        <a:pt x="4219754" y="893089"/>
                        <a:pt x="4219754" y="899341"/>
                      </a:cubicBezTo>
                      <a:cubicBezTo>
                        <a:pt x="4219754" y="905593"/>
                        <a:pt x="4207251" y="905593"/>
                        <a:pt x="4213502" y="911844"/>
                      </a:cubicBezTo>
                      <a:cubicBezTo>
                        <a:pt x="4213502" y="918096"/>
                        <a:pt x="4219754" y="918096"/>
                        <a:pt x="4213502" y="924347"/>
                      </a:cubicBezTo>
                      <a:cubicBezTo>
                        <a:pt x="4207251" y="924347"/>
                        <a:pt x="4200999" y="930599"/>
                        <a:pt x="4207251" y="936850"/>
                      </a:cubicBezTo>
                      <a:cubicBezTo>
                        <a:pt x="4207251" y="936850"/>
                        <a:pt x="4169741" y="949353"/>
                        <a:pt x="4169741" y="955466"/>
                      </a:cubicBezTo>
                      <a:cubicBezTo>
                        <a:pt x="4157238" y="961718"/>
                        <a:pt x="4151126" y="974082"/>
                        <a:pt x="4138622" y="980333"/>
                      </a:cubicBezTo>
                      <a:cubicBezTo>
                        <a:pt x="4126119" y="992837"/>
                        <a:pt x="4113616" y="998949"/>
                        <a:pt x="4101113" y="1011452"/>
                      </a:cubicBezTo>
                      <a:cubicBezTo>
                        <a:pt x="4076246" y="1030068"/>
                        <a:pt x="4057491" y="1073690"/>
                        <a:pt x="4026233" y="1073690"/>
                      </a:cubicBezTo>
                      <a:cubicBezTo>
                        <a:pt x="4019982" y="1073690"/>
                        <a:pt x="3995115" y="1079942"/>
                        <a:pt x="3995115" y="1086193"/>
                      </a:cubicBezTo>
                      <a:cubicBezTo>
                        <a:pt x="3995115" y="1104809"/>
                        <a:pt x="3995115" y="1111060"/>
                        <a:pt x="3976498" y="1123564"/>
                      </a:cubicBezTo>
                      <a:cubicBezTo>
                        <a:pt x="3951492" y="1142179"/>
                        <a:pt x="3951492" y="1179550"/>
                        <a:pt x="3957744" y="1210669"/>
                      </a:cubicBezTo>
                      <a:cubicBezTo>
                        <a:pt x="3963995" y="1241788"/>
                        <a:pt x="3957744" y="1279019"/>
                        <a:pt x="3976498" y="1304025"/>
                      </a:cubicBezTo>
                      <a:cubicBezTo>
                        <a:pt x="3982750" y="1316528"/>
                        <a:pt x="3982750" y="1335144"/>
                        <a:pt x="3982750" y="1347508"/>
                      </a:cubicBezTo>
                      <a:cubicBezTo>
                        <a:pt x="3982750" y="1347508"/>
                        <a:pt x="3982750" y="1360012"/>
                        <a:pt x="3989001" y="1360012"/>
                      </a:cubicBezTo>
                      <a:cubicBezTo>
                        <a:pt x="3995253" y="1360012"/>
                        <a:pt x="3982750" y="1378627"/>
                        <a:pt x="3989001" y="1378627"/>
                      </a:cubicBezTo>
                      <a:cubicBezTo>
                        <a:pt x="3989001" y="1378627"/>
                        <a:pt x="4020121" y="1353760"/>
                        <a:pt x="4020121" y="1347508"/>
                      </a:cubicBezTo>
                      <a:cubicBezTo>
                        <a:pt x="4032624" y="1335005"/>
                        <a:pt x="4038737" y="1322641"/>
                        <a:pt x="4044988" y="1304025"/>
                      </a:cubicBezTo>
                      <a:cubicBezTo>
                        <a:pt x="4051240" y="1291522"/>
                        <a:pt x="4076246" y="1279158"/>
                        <a:pt x="4082497" y="1279158"/>
                      </a:cubicBezTo>
                      <a:cubicBezTo>
                        <a:pt x="4101113" y="1291661"/>
                        <a:pt x="4082497" y="1254291"/>
                        <a:pt x="4088749" y="1248039"/>
                      </a:cubicBezTo>
                      <a:cubicBezTo>
                        <a:pt x="4101252" y="1229423"/>
                        <a:pt x="4107504" y="1223172"/>
                        <a:pt x="4126258" y="1223172"/>
                      </a:cubicBezTo>
                      <a:cubicBezTo>
                        <a:pt x="4144874" y="1223172"/>
                        <a:pt x="4169880" y="1223172"/>
                        <a:pt x="4157377" y="1204556"/>
                      </a:cubicBezTo>
                      <a:cubicBezTo>
                        <a:pt x="4138622" y="1185940"/>
                        <a:pt x="4151126" y="1167186"/>
                        <a:pt x="4169880" y="1154821"/>
                      </a:cubicBezTo>
                      <a:cubicBezTo>
                        <a:pt x="4176132" y="1148570"/>
                        <a:pt x="4176132" y="1161073"/>
                        <a:pt x="4182383" y="1161073"/>
                      </a:cubicBezTo>
                      <a:cubicBezTo>
                        <a:pt x="4194887" y="1161073"/>
                        <a:pt x="4194887" y="1142457"/>
                        <a:pt x="4194887" y="1136206"/>
                      </a:cubicBezTo>
                      <a:cubicBezTo>
                        <a:pt x="4182383" y="1123703"/>
                        <a:pt x="4169880" y="1117590"/>
                        <a:pt x="4182383" y="1098835"/>
                      </a:cubicBezTo>
                      <a:cubicBezTo>
                        <a:pt x="4182383" y="1098835"/>
                        <a:pt x="4200999" y="1092584"/>
                        <a:pt x="4194887" y="1086332"/>
                      </a:cubicBezTo>
                      <a:cubicBezTo>
                        <a:pt x="4188635" y="1086332"/>
                        <a:pt x="4182383" y="1073829"/>
                        <a:pt x="4176271" y="1073829"/>
                      </a:cubicBezTo>
                      <a:cubicBezTo>
                        <a:pt x="4170019" y="1073829"/>
                        <a:pt x="4176271" y="1080081"/>
                        <a:pt x="4170019" y="1080081"/>
                      </a:cubicBezTo>
                      <a:cubicBezTo>
                        <a:pt x="4157516" y="1080081"/>
                        <a:pt x="4151404" y="1073829"/>
                        <a:pt x="4157516" y="1061465"/>
                      </a:cubicBezTo>
                      <a:cubicBezTo>
                        <a:pt x="4163768" y="1049101"/>
                        <a:pt x="4176271" y="1042849"/>
                        <a:pt x="4188635" y="1024094"/>
                      </a:cubicBezTo>
                      <a:cubicBezTo>
                        <a:pt x="4194887" y="1011591"/>
                        <a:pt x="4194887" y="992975"/>
                        <a:pt x="4213641" y="980611"/>
                      </a:cubicBezTo>
                      <a:cubicBezTo>
                        <a:pt x="4219893" y="974360"/>
                        <a:pt x="4219893" y="986863"/>
                        <a:pt x="4219893" y="986863"/>
                      </a:cubicBezTo>
                      <a:cubicBezTo>
                        <a:pt x="4232257" y="986863"/>
                        <a:pt x="4232257" y="974360"/>
                        <a:pt x="4238508" y="980611"/>
                      </a:cubicBezTo>
                      <a:cubicBezTo>
                        <a:pt x="4244760" y="980611"/>
                        <a:pt x="4244760" y="986863"/>
                        <a:pt x="4251012" y="980611"/>
                      </a:cubicBezTo>
                      <a:cubicBezTo>
                        <a:pt x="4263515" y="974360"/>
                        <a:pt x="4269627" y="968108"/>
                        <a:pt x="4282130" y="961996"/>
                      </a:cubicBezTo>
                      <a:cubicBezTo>
                        <a:pt x="4300747" y="955744"/>
                        <a:pt x="4275879" y="980611"/>
                        <a:pt x="4288382" y="986863"/>
                      </a:cubicBezTo>
                      <a:cubicBezTo>
                        <a:pt x="4288382" y="993114"/>
                        <a:pt x="4313388" y="968247"/>
                        <a:pt x="4319501" y="968247"/>
                      </a:cubicBezTo>
                      <a:cubicBezTo>
                        <a:pt x="4332004" y="961996"/>
                        <a:pt x="4344508" y="955744"/>
                        <a:pt x="4363123" y="955744"/>
                      </a:cubicBezTo>
                      <a:cubicBezTo>
                        <a:pt x="4375626" y="955744"/>
                        <a:pt x="4388129" y="955744"/>
                        <a:pt x="4394381" y="968247"/>
                      </a:cubicBezTo>
                      <a:cubicBezTo>
                        <a:pt x="4400633" y="968247"/>
                        <a:pt x="4406745" y="974499"/>
                        <a:pt x="4412997" y="980750"/>
                      </a:cubicBezTo>
                      <a:cubicBezTo>
                        <a:pt x="4419248" y="987002"/>
                        <a:pt x="4419248" y="968247"/>
                        <a:pt x="4425500" y="968247"/>
                      </a:cubicBezTo>
                      <a:cubicBezTo>
                        <a:pt x="4475373" y="924764"/>
                        <a:pt x="4531498" y="906009"/>
                        <a:pt x="4587624" y="881142"/>
                      </a:cubicBezTo>
                      <a:cubicBezTo>
                        <a:pt x="4600127" y="874890"/>
                        <a:pt x="4618743" y="868639"/>
                        <a:pt x="4625133" y="856275"/>
                      </a:cubicBezTo>
                      <a:cubicBezTo>
                        <a:pt x="4631385" y="843772"/>
                        <a:pt x="4631385" y="862526"/>
                        <a:pt x="4643749" y="862526"/>
                      </a:cubicBezTo>
                      <a:cubicBezTo>
                        <a:pt x="4650000" y="862526"/>
                        <a:pt x="4662364" y="862526"/>
                        <a:pt x="4668755" y="862526"/>
                      </a:cubicBezTo>
                      <a:cubicBezTo>
                        <a:pt x="4675007" y="868778"/>
                        <a:pt x="4681258" y="875029"/>
                        <a:pt x="4687510" y="875029"/>
                      </a:cubicBezTo>
                      <a:cubicBezTo>
                        <a:pt x="4706125" y="875029"/>
                        <a:pt x="4706125" y="850162"/>
                        <a:pt x="4700013" y="837659"/>
                      </a:cubicBezTo>
                      <a:cubicBezTo>
                        <a:pt x="4700013" y="831407"/>
                        <a:pt x="4675007" y="819043"/>
                        <a:pt x="4681397" y="812792"/>
                      </a:cubicBezTo>
                      <a:cubicBezTo>
                        <a:pt x="4681397" y="806540"/>
                        <a:pt x="4668894" y="775421"/>
                        <a:pt x="4662643" y="781673"/>
                      </a:cubicBezTo>
                      <a:cubicBezTo>
                        <a:pt x="4662643" y="787924"/>
                        <a:pt x="4650139" y="775421"/>
                        <a:pt x="4644026" y="775421"/>
                      </a:cubicBezTo>
                      <a:cubicBezTo>
                        <a:pt x="4637775" y="769170"/>
                        <a:pt x="4644026" y="762918"/>
                        <a:pt x="4637775" y="756805"/>
                      </a:cubicBezTo>
                      <a:cubicBezTo>
                        <a:pt x="4637775" y="750554"/>
                        <a:pt x="4619020" y="756805"/>
                        <a:pt x="4619020" y="756805"/>
                      </a:cubicBezTo>
                      <a:cubicBezTo>
                        <a:pt x="4612768" y="763057"/>
                        <a:pt x="4594014" y="756805"/>
                        <a:pt x="4600404" y="750554"/>
                      </a:cubicBezTo>
                      <a:cubicBezTo>
                        <a:pt x="4600404" y="744302"/>
                        <a:pt x="4619020" y="750554"/>
                        <a:pt x="4625411" y="750554"/>
                      </a:cubicBezTo>
                      <a:cubicBezTo>
                        <a:pt x="4625411" y="744302"/>
                        <a:pt x="4606656" y="744302"/>
                        <a:pt x="4606656" y="744302"/>
                      </a:cubicBezTo>
                      <a:cubicBezTo>
                        <a:pt x="4606656" y="725687"/>
                        <a:pt x="4656668" y="756805"/>
                        <a:pt x="4662781" y="756805"/>
                      </a:cubicBezTo>
                      <a:cubicBezTo>
                        <a:pt x="4675284" y="763057"/>
                        <a:pt x="4712793" y="750554"/>
                        <a:pt x="4725158" y="738190"/>
                      </a:cubicBezTo>
                      <a:cubicBezTo>
                        <a:pt x="4731410" y="731938"/>
                        <a:pt x="4718907" y="731938"/>
                        <a:pt x="4718907" y="725687"/>
                      </a:cubicBezTo>
                      <a:cubicBezTo>
                        <a:pt x="4718907" y="725687"/>
                        <a:pt x="4743913" y="725687"/>
                        <a:pt x="4743913" y="713183"/>
                      </a:cubicBezTo>
                      <a:cubicBezTo>
                        <a:pt x="4737661" y="706932"/>
                        <a:pt x="4725297" y="700819"/>
                        <a:pt x="4731410" y="694568"/>
                      </a:cubicBezTo>
                      <a:cubicBezTo>
                        <a:pt x="4731410" y="688316"/>
                        <a:pt x="4743913" y="675952"/>
                        <a:pt x="4743913" y="675952"/>
                      </a:cubicBezTo>
                      <a:cubicBezTo>
                        <a:pt x="4750164" y="675952"/>
                        <a:pt x="4775032" y="682204"/>
                        <a:pt x="4775032" y="675952"/>
                      </a:cubicBezTo>
                      <a:cubicBezTo>
                        <a:pt x="4768780" y="682204"/>
                        <a:pt x="4750025" y="688455"/>
                        <a:pt x="4756416" y="694568"/>
                      </a:cubicBezTo>
                      <a:cubicBezTo>
                        <a:pt x="4762667" y="700819"/>
                        <a:pt x="4768919" y="707071"/>
                        <a:pt x="4768919" y="707071"/>
                      </a:cubicBezTo>
                      <a:cubicBezTo>
                        <a:pt x="4768919" y="713322"/>
                        <a:pt x="4762667" y="719574"/>
                        <a:pt x="4768919" y="719574"/>
                      </a:cubicBezTo>
                      <a:cubicBezTo>
                        <a:pt x="4781283" y="719574"/>
                        <a:pt x="4793786" y="713322"/>
                        <a:pt x="4806289" y="713322"/>
                      </a:cubicBezTo>
                      <a:cubicBezTo>
                        <a:pt x="4818792" y="713322"/>
                        <a:pt x="4831296" y="713322"/>
                        <a:pt x="4843799" y="719574"/>
                      </a:cubicBezTo>
                      <a:cubicBezTo>
                        <a:pt x="4850050" y="725826"/>
                        <a:pt x="4850050" y="725826"/>
                        <a:pt x="4850050" y="738190"/>
                      </a:cubicBezTo>
                      <a:cubicBezTo>
                        <a:pt x="4850050" y="744441"/>
                        <a:pt x="4875057" y="750693"/>
                        <a:pt x="4881169" y="750693"/>
                      </a:cubicBezTo>
                      <a:cubicBezTo>
                        <a:pt x="4887421" y="756944"/>
                        <a:pt x="4924791" y="781812"/>
                        <a:pt x="4931182" y="769309"/>
                      </a:cubicBezTo>
                      <a:cubicBezTo>
                        <a:pt x="4924930" y="787924"/>
                        <a:pt x="4962300" y="769309"/>
                        <a:pt x="4962300" y="769309"/>
                      </a:cubicBezTo>
                      <a:cubicBezTo>
                        <a:pt x="4962300" y="763057"/>
                        <a:pt x="4937294" y="763057"/>
                        <a:pt x="4943685" y="756805"/>
                      </a:cubicBezTo>
                      <a:cubicBezTo>
                        <a:pt x="4943685" y="744302"/>
                        <a:pt x="4962300" y="756805"/>
                        <a:pt x="4962300" y="756805"/>
                      </a:cubicBezTo>
                      <a:cubicBezTo>
                        <a:pt x="4962300" y="744302"/>
                        <a:pt x="4956049" y="756805"/>
                        <a:pt x="4962300" y="738190"/>
                      </a:cubicBezTo>
                      <a:cubicBezTo>
                        <a:pt x="4962300" y="731938"/>
                        <a:pt x="4962300" y="725687"/>
                        <a:pt x="4962300" y="719574"/>
                      </a:cubicBezTo>
                      <a:cubicBezTo>
                        <a:pt x="4956049" y="713322"/>
                        <a:pt x="4949797" y="713322"/>
                        <a:pt x="4949797" y="707071"/>
                      </a:cubicBezTo>
                      <a:cubicBezTo>
                        <a:pt x="4949797" y="707071"/>
                        <a:pt x="4993419" y="719574"/>
                        <a:pt x="4999810" y="713322"/>
                      </a:cubicBezTo>
                      <a:cubicBezTo>
                        <a:pt x="4999810" y="713322"/>
                        <a:pt x="4993558" y="707071"/>
                        <a:pt x="4987307" y="707071"/>
                      </a:cubicBezTo>
                      <a:cubicBezTo>
                        <a:pt x="4993558" y="707071"/>
                        <a:pt x="5012174" y="713322"/>
                        <a:pt x="5018425" y="707071"/>
                      </a:cubicBezTo>
                      <a:cubicBezTo>
                        <a:pt x="5018425" y="700819"/>
                        <a:pt x="5018425" y="694568"/>
                        <a:pt x="5024677" y="688455"/>
                      </a:cubicBezTo>
                      <a:lnTo>
                        <a:pt x="5043431" y="688455"/>
                      </a:lnTo>
                      <a:lnTo>
                        <a:pt x="5036485" y="688455"/>
                      </a:lnTo>
                      <a:cubicBezTo>
                        <a:pt x="5030373" y="681648"/>
                        <a:pt x="5048988" y="687899"/>
                        <a:pt x="5036485" y="687899"/>
                      </a:cubicBezTo>
                      <a:close/>
                      <a:moveTo>
                        <a:pt x="2522802" y="1191636"/>
                      </a:moveTo>
                      <a:cubicBezTo>
                        <a:pt x="2516551" y="1210252"/>
                        <a:pt x="2516551" y="1229007"/>
                        <a:pt x="2510299" y="1247622"/>
                      </a:cubicBezTo>
                      <a:cubicBezTo>
                        <a:pt x="2504048" y="1260125"/>
                        <a:pt x="2485293" y="1253874"/>
                        <a:pt x="2485293" y="1266238"/>
                      </a:cubicBezTo>
                      <a:cubicBezTo>
                        <a:pt x="2485293" y="1266238"/>
                        <a:pt x="2497796" y="1266238"/>
                        <a:pt x="2504048" y="1266238"/>
                      </a:cubicBezTo>
                      <a:cubicBezTo>
                        <a:pt x="2504048" y="1266238"/>
                        <a:pt x="2447923" y="1303609"/>
                        <a:pt x="2441671" y="1303609"/>
                      </a:cubicBezTo>
                      <a:cubicBezTo>
                        <a:pt x="2435419" y="1309860"/>
                        <a:pt x="2429168" y="1316112"/>
                        <a:pt x="2416665" y="1316112"/>
                      </a:cubicBezTo>
                      <a:cubicBezTo>
                        <a:pt x="2410413" y="1322363"/>
                        <a:pt x="2404162" y="1334727"/>
                        <a:pt x="2397910" y="1340979"/>
                      </a:cubicBezTo>
                      <a:cubicBezTo>
                        <a:pt x="2391659" y="1347230"/>
                        <a:pt x="2348037" y="1359595"/>
                        <a:pt x="2341785" y="1347230"/>
                      </a:cubicBezTo>
                      <a:cubicBezTo>
                        <a:pt x="2341785" y="1340979"/>
                        <a:pt x="2385407" y="1328615"/>
                        <a:pt x="2391659" y="1322363"/>
                      </a:cubicBezTo>
                      <a:cubicBezTo>
                        <a:pt x="2410413" y="1309860"/>
                        <a:pt x="2429029" y="1291244"/>
                        <a:pt x="2447784" y="1278880"/>
                      </a:cubicBezTo>
                      <a:cubicBezTo>
                        <a:pt x="2460287" y="1272629"/>
                        <a:pt x="2460287" y="1254013"/>
                        <a:pt x="2472790" y="1247761"/>
                      </a:cubicBezTo>
                      <a:cubicBezTo>
                        <a:pt x="2485293" y="1229145"/>
                        <a:pt x="2497796" y="1210391"/>
                        <a:pt x="2503908" y="1191775"/>
                      </a:cubicBezTo>
                      <a:cubicBezTo>
                        <a:pt x="2503908" y="1179272"/>
                        <a:pt x="2503908" y="1179272"/>
                        <a:pt x="2516412" y="1173159"/>
                      </a:cubicBezTo>
                      <a:cubicBezTo>
                        <a:pt x="2529054" y="1166769"/>
                        <a:pt x="2522802" y="1185385"/>
                        <a:pt x="2522802" y="1191636"/>
                      </a:cubicBezTo>
                      <a:cubicBezTo>
                        <a:pt x="2516551" y="1197888"/>
                        <a:pt x="2522802" y="1179272"/>
                        <a:pt x="2522802" y="119163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5" name="Freihandform: Form 364">
                  <a:extLst>
                    <a:ext uri="{FF2B5EF4-FFF2-40B4-BE49-F238E27FC236}">
                      <a16:creationId xmlns:a16="http://schemas.microsoft.com/office/drawing/2014/main" id="{31DB5B02-46AF-4C00-98A2-C9007F55F643}"/>
                    </a:ext>
                  </a:extLst>
                </p:cNvPr>
                <p:cNvSpPr/>
                <p:nvPr/>
              </p:nvSpPr>
              <p:spPr>
                <a:xfrm>
                  <a:off x="10437129" y="2658697"/>
                  <a:ext cx="86137" cy="200049"/>
                </a:xfrm>
                <a:custGeom>
                  <a:avLst/>
                  <a:gdLst>
                    <a:gd name="connsiteX0" fmla="*/ 73357 w 86137"/>
                    <a:gd name="connsiteY0" fmla="*/ 162541 h 200049"/>
                    <a:gd name="connsiteX1" fmla="*/ 54324 w 86137"/>
                    <a:gd name="connsiteY1" fmla="*/ 81270 h 200049"/>
                    <a:gd name="connsiteX2" fmla="*/ 47933 w 86137"/>
                    <a:gd name="connsiteY2" fmla="*/ 25006 h 200049"/>
                    <a:gd name="connsiteX3" fmla="*/ 47933 w 86137"/>
                    <a:gd name="connsiteY3" fmla="*/ 6252 h 200049"/>
                    <a:gd name="connsiteX4" fmla="*/ 28901 w 86137"/>
                    <a:gd name="connsiteY4" fmla="*/ 0 h 200049"/>
                    <a:gd name="connsiteX5" fmla="*/ 35291 w 86137"/>
                    <a:gd name="connsiteY5" fmla="*/ 18755 h 200049"/>
                    <a:gd name="connsiteX6" fmla="*/ 28901 w 86137"/>
                    <a:gd name="connsiteY6" fmla="*/ 31258 h 200049"/>
                    <a:gd name="connsiteX7" fmla="*/ 16259 w 86137"/>
                    <a:gd name="connsiteY7" fmla="*/ 43761 h 200049"/>
                    <a:gd name="connsiteX8" fmla="*/ 16259 w 86137"/>
                    <a:gd name="connsiteY8" fmla="*/ 56264 h 200049"/>
                    <a:gd name="connsiteX9" fmla="*/ 3478 w 86137"/>
                    <a:gd name="connsiteY9" fmla="*/ 87522 h 200049"/>
                    <a:gd name="connsiteX10" fmla="*/ 22511 w 86137"/>
                    <a:gd name="connsiteY10" fmla="*/ 125031 h 200049"/>
                    <a:gd name="connsiteX11" fmla="*/ 28901 w 86137"/>
                    <a:gd name="connsiteY11" fmla="*/ 200050 h 200049"/>
                    <a:gd name="connsiteX12" fmla="*/ 86137 w 86137"/>
                    <a:gd name="connsiteY12" fmla="*/ 200050 h 200049"/>
                    <a:gd name="connsiteX13" fmla="*/ 73357 w 86137"/>
                    <a:gd name="connsiteY13" fmla="*/ 162541 h 200049"/>
                    <a:gd name="connsiteX14" fmla="*/ 73357 w 86137"/>
                    <a:gd name="connsiteY14" fmla="*/ 162541 h 2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6137" h="200049">
                      <a:moveTo>
                        <a:pt x="73357" y="162541"/>
                      </a:moveTo>
                      <a:cubicBezTo>
                        <a:pt x="73357" y="137534"/>
                        <a:pt x="47933" y="106277"/>
                        <a:pt x="54324" y="81270"/>
                      </a:cubicBezTo>
                      <a:cubicBezTo>
                        <a:pt x="60575" y="62516"/>
                        <a:pt x="54324" y="43761"/>
                        <a:pt x="47933" y="25006"/>
                      </a:cubicBezTo>
                      <a:cubicBezTo>
                        <a:pt x="47933" y="18755"/>
                        <a:pt x="47933" y="12503"/>
                        <a:pt x="47933" y="6252"/>
                      </a:cubicBezTo>
                      <a:cubicBezTo>
                        <a:pt x="47933" y="0"/>
                        <a:pt x="28901" y="0"/>
                        <a:pt x="28901" y="0"/>
                      </a:cubicBezTo>
                      <a:cubicBezTo>
                        <a:pt x="28901" y="6252"/>
                        <a:pt x="35291" y="12503"/>
                        <a:pt x="35291" y="18755"/>
                      </a:cubicBezTo>
                      <a:cubicBezTo>
                        <a:pt x="41543" y="25006"/>
                        <a:pt x="35291" y="31258"/>
                        <a:pt x="28901" y="31258"/>
                      </a:cubicBezTo>
                      <a:cubicBezTo>
                        <a:pt x="22511" y="37509"/>
                        <a:pt x="16259" y="31258"/>
                        <a:pt x="16259" y="43761"/>
                      </a:cubicBezTo>
                      <a:cubicBezTo>
                        <a:pt x="16259" y="50012"/>
                        <a:pt x="16259" y="50012"/>
                        <a:pt x="16259" y="56264"/>
                      </a:cubicBezTo>
                      <a:cubicBezTo>
                        <a:pt x="9868" y="68767"/>
                        <a:pt x="9868" y="81270"/>
                        <a:pt x="3478" y="87522"/>
                      </a:cubicBezTo>
                      <a:cubicBezTo>
                        <a:pt x="-9164" y="93773"/>
                        <a:pt x="16259" y="112528"/>
                        <a:pt x="22511" y="125031"/>
                      </a:cubicBezTo>
                      <a:cubicBezTo>
                        <a:pt x="28901" y="137534"/>
                        <a:pt x="16259" y="200050"/>
                        <a:pt x="28901" y="200050"/>
                      </a:cubicBezTo>
                      <a:cubicBezTo>
                        <a:pt x="47933" y="200050"/>
                        <a:pt x="66966" y="200050"/>
                        <a:pt x="86137" y="200050"/>
                      </a:cubicBezTo>
                      <a:cubicBezTo>
                        <a:pt x="85998" y="187547"/>
                        <a:pt x="79608" y="175044"/>
                        <a:pt x="73357" y="162541"/>
                      </a:cubicBezTo>
                      <a:cubicBezTo>
                        <a:pt x="73357" y="150037"/>
                        <a:pt x="73357" y="168792"/>
                        <a:pt x="73357" y="16254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6" name="Freihandform: Form 365">
                  <a:extLst>
                    <a:ext uri="{FF2B5EF4-FFF2-40B4-BE49-F238E27FC236}">
                      <a16:creationId xmlns:a16="http://schemas.microsoft.com/office/drawing/2014/main" id="{056DAD3F-CDA8-4C3B-9735-318C8D8CD342}"/>
                    </a:ext>
                  </a:extLst>
                </p:cNvPr>
                <p:cNvSpPr/>
                <p:nvPr/>
              </p:nvSpPr>
              <p:spPr>
                <a:xfrm>
                  <a:off x="10451445" y="2853850"/>
                  <a:ext cx="90715" cy="138402"/>
                </a:xfrm>
                <a:custGeom>
                  <a:avLst/>
                  <a:gdLst>
                    <a:gd name="connsiteX0" fmla="*/ 71682 w 90715"/>
                    <a:gd name="connsiteY0" fmla="*/ 1563 h 138402"/>
                    <a:gd name="connsiteX1" fmla="*/ 39869 w 90715"/>
                    <a:gd name="connsiteY1" fmla="*/ 1563 h 138402"/>
                    <a:gd name="connsiteX2" fmla="*/ 8056 w 90715"/>
                    <a:gd name="connsiteY2" fmla="*/ 7814 h 138402"/>
                    <a:gd name="connsiteX3" fmla="*/ 1804 w 90715"/>
                    <a:gd name="connsiteY3" fmla="*/ 38933 h 138402"/>
                    <a:gd name="connsiteX4" fmla="*/ 8056 w 90715"/>
                    <a:gd name="connsiteY4" fmla="*/ 63801 h 138402"/>
                    <a:gd name="connsiteX5" fmla="*/ 1804 w 90715"/>
                    <a:gd name="connsiteY5" fmla="*/ 138403 h 138402"/>
                    <a:gd name="connsiteX6" fmla="*/ 20837 w 90715"/>
                    <a:gd name="connsiteY6" fmla="*/ 119787 h 138402"/>
                    <a:gd name="connsiteX7" fmla="*/ 39869 w 90715"/>
                    <a:gd name="connsiteY7" fmla="*/ 119787 h 138402"/>
                    <a:gd name="connsiteX8" fmla="*/ 52511 w 90715"/>
                    <a:gd name="connsiteY8" fmla="*/ 138403 h 138402"/>
                    <a:gd name="connsiteX9" fmla="*/ 52511 w 90715"/>
                    <a:gd name="connsiteY9" fmla="*/ 119787 h 138402"/>
                    <a:gd name="connsiteX10" fmla="*/ 33478 w 90715"/>
                    <a:gd name="connsiteY10" fmla="*/ 94919 h 138402"/>
                    <a:gd name="connsiteX11" fmla="*/ 20837 w 90715"/>
                    <a:gd name="connsiteY11" fmla="*/ 38933 h 138402"/>
                    <a:gd name="connsiteX12" fmla="*/ 52650 w 90715"/>
                    <a:gd name="connsiteY12" fmla="*/ 14066 h 138402"/>
                    <a:gd name="connsiteX13" fmla="*/ 90715 w 90715"/>
                    <a:gd name="connsiteY13" fmla="*/ 32682 h 138402"/>
                    <a:gd name="connsiteX14" fmla="*/ 71682 w 90715"/>
                    <a:gd name="connsiteY14" fmla="*/ 1563 h 13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0715" h="138402">
                      <a:moveTo>
                        <a:pt x="71682" y="1563"/>
                      </a:moveTo>
                      <a:cubicBezTo>
                        <a:pt x="65292" y="1563"/>
                        <a:pt x="52650" y="1563"/>
                        <a:pt x="39869" y="1563"/>
                      </a:cubicBezTo>
                      <a:cubicBezTo>
                        <a:pt x="27088" y="1563"/>
                        <a:pt x="14446" y="-4689"/>
                        <a:pt x="8056" y="7814"/>
                      </a:cubicBezTo>
                      <a:cubicBezTo>
                        <a:pt x="8056" y="20318"/>
                        <a:pt x="1804" y="26430"/>
                        <a:pt x="1804" y="38933"/>
                      </a:cubicBezTo>
                      <a:cubicBezTo>
                        <a:pt x="1804" y="45185"/>
                        <a:pt x="8056" y="51436"/>
                        <a:pt x="8056" y="63801"/>
                      </a:cubicBezTo>
                      <a:cubicBezTo>
                        <a:pt x="8056" y="70052"/>
                        <a:pt x="-4587" y="138403"/>
                        <a:pt x="1804" y="138403"/>
                      </a:cubicBezTo>
                      <a:cubicBezTo>
                        <a:pt x="14446" y="132151"/>
                        <a:pt x="1804" y="113535"/>
                        <a:pt x="20837" y="119787"/>
                      </a:cubicBezTo>
                      <a:cubicBezTo>
                        <a:pt x="27088" y="119787"/>
                        <a:pt x="39869" y="113535"/>
                        <a:pt x="39869" y="119787"/>
                      </a:cubicBezTo>
                      <a:cubicBezTo>
                        <a:pt x="46120" y="119787"/>
                        <a:pt x="46120" y="138403"/>
                        <a:pt x="52511" y="138403"/>
                      </a:cubicBezTo>
                      <a:lnTo>
                        <a:pt x="52511" y="119787"/>
                      </a:lnTo>
                      <a:cubicBezTo>
                        <a:pt x="52511" y="107284"/>
                        <a:pt x="39869" y="101171"/>
                        <a:pt x="33478" y="94919"/>
                      </a:cubicBezTo>
                      <a:cubicBezTo>
                        <a:pt x="27088" y="82416"/>
                        <a:pt x="8056" y="51436"/>
                        <a:pt x="20837" y="38933"/>
                      </a:cubicBezTo>
                      <a:cubicBezTo>
                        <a:pt x="39869" y="26569"/>
                        <a:pt x="33478" y="20318"/>
                        <a:pt x="52650" y="14066"/>
                      </a:cubicBezTo>
                      <a:cubicBezTo>
                        <a:pt x="65292" y="7814"/>
                        <a:pt x="84463" y="20318"/>
                        <a:pt x="90715" y="32682"/>
                      </a:cubicBezTo>
                      <a:cubicBezTo>
                        <a:pt x="84324" y="20318"/>
                        <a:pt x="78073" y="7814"/>
                        <a:pt x="71682" y="15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7" name="Freihandform: Form 366">
                  <a:extLst>
                    <a:ext uri="{FF2B5EF4-FFF2-40B4-BE49-F238E27FC236}">
                      <a16:creationId xmlns:a16="http://schemas.microsoft.com/office/drawing/2014/main" id="{286DB70E-F1FC-4EC8-AB53-7F3F2466E1CD}"/>
                    </a:ext>
                  </a:extLst>
                </p:cNvPr>
                <p:cNvSpPr/>
                <p:nvPr/>
              </p:nvSpPr>
              <p:spPr>
                <a:xfrm>
                  <a:off x="9951179" y="3278157"/>
                  <a:ext cx="128640" cy="148275"/>
                </a:xfrm>
                <a:custGeom>
                  <a:avLst/>
                  <a:gdLst>
                    <a:gd name="connsiteX0" fmla="*/ 31674 w 128640"/>
                    <a:gd name="connsiteY0" fmla="*/ 6113 h 148275"/>
                    <a:gd name="connsiteX1" fmla="*/ 25423 w 128640"/>
                    <a:gd name="connsiteY1" fmla="*/ 42650 h 148275"/>
                    <a:gd name="connsiteX2" fmla="*/ 6391 w 128640"/>
                    <a:gd name="connsiteY2" fmla="*/ 54875 h 148275"/>
                    <a:gd name="connsiteX3" fmla="*/ 19032 w 128640"/>
                    <a:gd name="connsiteY3" fmla="*/ 67100 h 148275"/>
                    <a:gd name="connsiteX4" fmla="*/ 12642 w 128640"/>
                    <a:gd name="connsiteY4" fmla="*/ 85438 h 148275"/>
                    <a:gd name="connsiteX5" fmla="*/ 19032 w 128640"/>
                    <a:gd name="connsiteY5" fmla="*/ 97663 h 148275"/>
                    <a:gd name="connsiteX6" fmla="*/ 6391 w 128640"/>
                    <a:gd name="connsiteY6" fmla="*/ 122114 h 148275"/>
                    <a:gd name="connsiteX7" fmla="*/ 19032 w 128640"/>
                    <a:gd name="connsiteY7" fmla="*/ 128227 h 148275"/>
                    <a:gd name="connsiteX8" fmla="*/ 0 w 128640"/>
                    <a:gd name="connsiteY8" fmla="*/ 146564 h 148275"/>
                    <a:gd name="connsiteX9" fmla="*/ 12642 w 128640"/>
                    <a:gd name="connsiteY9" fmla="*/ 140452 h 148275"/>
                    <a:gd name="connsiteX10" fmla="*/ 19032 w 128640"/>
                    <a:gd name="connsiteY10" fmla="*/ 146564 h 148275"/>
                    <a:gd name="connsiteX11" fmla="*/ 38065 w 128640"/>
                    <a:gd name="connsiteY11" fmla="*/ 134339 h 148275"/>
                    <a:gd name="connsiteX12" fmla="*/ 50707 w 128640"/>
                    <a:gd name="connsiteY12" fmla="*/ 134339 h 148275"/>
                    <a:gd name="connsiteX13" fmla="*/ 57098 w 128640"/>
                    <a:gd name="connsiteY13" fmla="*/ 134339 h 148275"/>
                    <a:gd name="connsiteX14" fmla="*/ 76130 w 128640"/>
                    <a:gd name="connsiteY14" fmla="*/ 128227 h 148275"/>
                    <a:gd name="connsiteX15" fmla="*/ 88772 w 128640"/>
                    <a:gd name="connsiteY15" fmla="*/ 122114 h 148275"/>
                    <a:gd name="connsiteX16" fmla="*/ 107805 w 128640"/>
                    <a:gd name="connsiteY16" fmla="*/ 109888 h 148275"/>
                    <a:gd name="connsiteX17" fmla="*/ 126837 w 128640"/>
                    <a:gd name="connsiteY17" fmla="*/ 122114 h 148275"/>
                    <a:gd name="connsiteX18" fmla="*/ 120585 w 128640"/>
                    <a:gd name="connsiteY18" fmla="*/ 97663 h 148275"/>
                    <a:gd name="connsiteX19" fmla="*/ 107805 w 128640"/>
                    <a:gd name="connsiteY19" fmla="*/ 73213 h 148275"/>
                    <a:gd name="connsiteX20" fmla="*/ 75991 w 128640"/>
                    <a:gd name="connsiteY20" fmla="*/ 0 h 148275"/>
                    <a:gd name="connsiteX21" fmla="*/ 31674 w 128640"/>
                    <a:gd name="connsiteY21" fmla="*/ 6113 h 148275"/>
                    <a:gd name="connsiteX22" fmla="*/ 31674 w 128640"/>
                    <a:gd name="connsiteY22" fmla="*/ 6113 h 14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640" h="148275">
                      <a:moveTo>
                        <a:pt x="31674" y="6113"/>
                      </a:moveTo>
                      <a:cubicBezTo>
                        <a:pt x="19032" y="12225"/>
                        <a:pt x="12642" y="36676"/>
                        <a:pt x="25423" y="42650"/>
                      </a:cubicBezTo>
                      <a:cubicBezTo>
                        <a:pt x="44456" y="60987"/>
                        <a:pt x="12642" y="54875"/>
                        <a:pt x="6391" y="54875"/>
                      </a:cubicBezTo>
                      <a:lnTo>
                        <a:pt x="19032" y="67100"/>
                      </a:lnTo>
                      <a:cubicBezTo>
                        <a:pt x="19032" y="79325"/>
                        <a:pt x="19032" y="79325"/>
                        <a:pt x="12642" y="85438"/>
                      </a:cubicBezTo>
                      <a:cubicBezTo>
                        <a:pt x="12642" y="85438"/>
                        <a:pt x="19032" y="91551"/>
                        <a:pt x="19032" y="97663"/>
                      </a:cubicBezTo>
                      <a:cubicBezTo>
                        <a:pt x="12642" y="103776"/>
                        <a:pt x="6391" y="122114"/>
                        <a:pt x="6391" y="122114"/>
                      </a:cubicBezTo>
                      <a:cubicBezTo>
                        <a:pt x="6391" y="122114"/>
                        <a:pt x="19032" y="122114"/>
                        <a:pt x="19032" y="128227"/>
                      </a:cubicBezTo>
                      <a:cubicBezTo>
                        <a:pt x="19032" y="128227"/>
                        <a:pt x="0" y="140452"/>
                        <a:pt x="0" y="146564"/>
                      </a:cubicBezTo>
                      <a:cubicBezTo>
                        <a:pt x="0" y="146564"/>
                        <a:pt x="6391" y="140452"/>
                        <a:pt x="12642" y="140452"/>
                      </a:cubicBezTo>
                      <a:cubicBezTo>
                        <a:pt x="12642" y="140452"/>
                        <a:pt x="12642" y="152677"/>
                        <a:pt x="19032" y="146564"/>
                      </a:cubicBezTo>
                      <a:cubicBezTo>
                        <a:pt x="19032" y="140452"/>
                        <a:pt x="31674" y="134339"/>
                        <a:pt x="38065" y="134339"/>
                      </a:cubicBezTo>
                      <a:cubicBezTo>
                        <a:pt x="44456" y="128227"/>
                        <a:pt x="38065" y="152677"/>
                        <a:pt x="50707" y="134339"/>
                      </a:cubicBezTo>
                      <a:cubicBezTo>
                        <a:pt x="57098" y="122114"/>
                        <a:pt x="50707" y="128227"/>
                        <a:pt x="57098" y="134339"/>
                      </a:cubicBezTo>
                      <a:lnTo>
                        <a:pt x="76130" y="128227"/>
                      </a:lnTo>
                      <a:cubicBezTo>
                        <a:pt x="88772" y="128227"/>
                        <a:pt x="82520" y="122114"/>
                        <a:pt x="88772" y="122114"/>
                      </a:cubicBezTo>
                      <a:cubicBezTo>
                        <a:pt x="101553" y="122114"/>
                        <a:pt x="101553" y="116001"/>
                        <a:pt x="107805" y="109888"/>
                      </a:cubicBezTo>
                      <a:cubicBezTo>
                        <a:pt x="114195" y="97663"/>
                        <a:pt x="120585" y="116001"/>
                        <a:pt x="126837" y="122114"/>
                      </a:cubicBezTo>
                      <a:cubicBezTo>
                        <a:pt x="133228" y="122114"/>
                        <a:pt x="120585" y="97663"/>
                        <a:pt x="120585" y="97663"/>
                      </a:cubicBezTo>
                      <a:cubicBezTo>
                        <a:pt x="114195" y="91551"/>
                        <a:pt x="107805" y="85438"/>
                        <a:pt x="107805" y="73213"/>
                      </a:cubicBezTo>
                      <a:cubicBezTo>
                        <a:pt x="107805" y="42650"/>
                        <a:pt x="88772" y="24451"/>
                        <a:pt x="75991" y="0"/>
                      </a:cubicBezTo>
                      <a:cubicBezTo>
                        <a:pt x="63627" y="12225"/>
                        <a:pt x="50846" y="6113"/>
                        <a:pt x="31674" y="6113"/>
                      </a:cubicBezTo>
                      <a:cubicBezTo>
                        <a:pt x="31674" y="12225"/>
                        <a:pt x="38065" y="6113"/>
                        <a:pt x="31674" y="611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8" name="Freihandform: Form 367">
                  <a:extLst>
                    <a:ext uri="{FF2B5EF4-FFF2-40B4-BE49-F238E27FC236}">
                      <a16:creationId xmlns:a16="http://schemas.microsoft.com/office/drawing/2014/main" id="{7C288702-6277-4781-8CD7-0264B57C94E2}"/>
                    </a:ext>
                  </a:extLst>
                </p:cNvPr>
                <p:cNvSpPr/>
                <p:nvPr/>
              </p:nvSpPr>
              <p:spPr>
                <a:xfrm>
                  <a:off x="9903528" y="3111047"/>
                  <a:ext cx="200189" cy="186282"/>
                </a:xfrm>
                <a:custGeom>
                  <a:avLst/>
                  <a:gdLst>
                    <a:gd name="connsiteX0" fmla="*/ 200189 w 200189"/>
                    <a:gd name="connsiteY0" fmla="*/ 14017 h 186282"/>
                    <a:gd name="connsiteX1" fmla="*/ 181434 w 200189"/>
                    <a:gd name="connsiteY1" fmla="*/ 1653 h 186282"/>
                    <a:gd name="connsiteX2" fmla="*/ 168931 w 200189"/>
                    <a:gd name="connsiteY2" fmla="*/ 20130 h 186282"/>
                    <a:gd name="connsiteX3" fmla="*/ 156428 w 200189"/>
                    <a:gd name="connsiteY3" fmla="*/ 26242 h 186282"/>
                    <a:gd name="connsiteX4" fmla="*/ 125170 w 200189"/>
                    <a:gd name="connsiteY4" fmla="*/ 32355 h 186282"/>
                    <a:gd name="connsiteX5" fmla="*/ 125170 w 200189"/>
                    <a:gd name="connsiteY5" fmla="*/ 56944 h 186282"/>
                    <a:gd name="connsiteX6" fmla="*/ 81270 w 200189"/>
                    <a:gd name="connsiteY6" fmla="*/ 50832 h 186282"/>
                    <a:gd name="connsiteX7" fmla="*/ 62516 w 200189"/>
                    <a:gd name="connsiteY7" fmla="*/ 69309 h 186282"/>
                    <a:gd name="connsiteX8" fmla="*/ 0 w 200189"/>
                    <a:gd name="connsiteY8" fmla="*/ 112375 h 186282"/>
                    <a:gd name="connsiteX9" fmla="*/ 37509 w 200189"/>
                    <a:gd name="connsiteY9" fmla="*/ 124739 h 186282"/>
                    <a:gd name="connsiteX10" fmla="*/ 31258 w 200189"/>
                    <a:gd name="connsiteY10" fmla="*/ 143216 h 186282"/>
                    <a:gd name="connsiteX11" fmla="*/ 37509 w 200189"/>
                    <a:gd name="connsiteY11" fmla="*/ 155580 h 186282"/>
                    <a:gd name="connsiteX12" fmla="*/ 18755 w 200189"/>
                    <a:gd name="connsiteY12" fmla="*/ 174057 h 186282"/>
                    <a:gd name="connsiteX13" fmla="*/ 31258 w 200189"/>
                    <a:gd name="connsiteY13" fmla="*/ 180170 h 186282"/>
                    <a:gd name="connsiteX14" fmla="*/ 31258 w 200189"/>
                    <a:gd name="connsiteY14" fmla="*/ 186282 h 186282"/>
                    <a:gd name="connsiteX15" fmla="*/ 56264 w 200189"/>
                    <a:gd name="connsiteY15" fmla="*/ 186282 h 186282"/>
                    <a:gd name="connsiteX16" fmla="*/ 75019 w 200189"/>
                    <a:gd name="connsiteY16" fmla="*/ 186282 h 186282"/>
                    <a:gd name="connsiteX17" fmla="*/ 87522 w 200189"/>
                    <a:gd name="connsiteY17" fmla="*/ 167805 h 186282"/>
                    <a:gd name="connsiteX18" fmla="*/ 131283 w 200189"/>
                    <a:gd name="connsiteY18" fmla="*/ 161693 h 186282"/>
                    <a:gd name="connsiteX19" fmla="*/ 100025 w 200189"/>
                    <a:gd name="connsiteY19" fmla="*/ 130991 h 186282"/>
                    <a:gd name="connsiteX20" fmla="*/ 125031 w 200189"/>
                    <a:gd name="connsiteY20" fmla="*/ 112514 h 186282"/>
                    <a:gd name="connsiteX21" fmla="*/ 168792 w 200189"/>
                    <a:gd name="connsiteY21" fmla="*/ 81812 h 186282"/>
                    <a:gd name="connsiteX22" fmla="*/ 168792 w 200189"/>
                    <a:gd name="connsiteY22" fmla="*/ 44858 h 186282"/>
                    <a:gd name="connsiteX23" fmla="*/ 200189 w 200189"/>
                    <a:gd name="connsiteY23" fmla="*/ 14017 h 18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0189" h="186282">
                      <a:moveTo>
                        <a:pt x="200189" y="14017"/>
                      </a:moveTo>
                      <a:cubicBezTo>
                        <a:pt x="193937" y="7904"/>
                        <a:pt x="187686" y="-4460"/>
                        <a:pt x="181434" y="1653"/>
                      </a:cubicBezTo>
                      <a:cubicBezTo>
                        <a:pt x="175183" y="1653"/>
                        <a:pt x="175183" y="14017"/>
                        <a:pt x="168931" y="20130"/>
                      </a:cubicBezTo>
                      <a:cubicBezTo>
                        <a:pt x="168931" y="20130"/>
                        <a:pt x="162680" y="14017"/>
                        <a:pt x="156428" y="26242"/>
                      </a:cubicBezTo>
                      <a:cubicBezTo>
                        <a:pt x="150177" y="32355"/>
                        <a:pt x="137673" y="32355"/>
                        <a:pt x="125170" y="32355"/>
                      </a:cubicBezTo>
                      <a:cubicBezTo>
                        <a:pt x="112528" y="38468"/>
                        <a:pt x="137673" y="50832"/>
                        <a:pt x="125170" y="56944"/>
                      </a:cubicBezTo>
                      <a:cubicBezTo>
                        <a:pt x="106416" y="63057"/>
                        <a:pt x="100164" y="50832"/>
                        <a:pt x="81270" y="50832"/>
                      </a:cubicBezTo>
                      <a:cubicBezTo>
                        <a:pt x="75019" y="44719"/>
                        <a:pt x="62516" y="63196"/>
                        <a:pt x="62516" y="69309"/>
                      </a:cubicBezTo>
                      <a:cubicBezTo>
                        <a:pt x="43761" y="87785"/>
                        <a:pt x="6252" y="87785"/>
                        <a:pt x="0" y="112375"/>
                      </a:cubicBezTo>
                      <a:lnTo>
                        <a:pt x="37509" y="124739"/>
                      </a:lnTo>
                      <a:cubicBezTo>
                        <a:pt x="37509" y="130852"/>
                        <a:pt x="31258" y="143216"/>
                        <a:pt x="31258" y="143216"/>
                      </a:cubicBezTo>
                      <a:cubicBezTo>
                        <a:pt x="31258" y="155580"/>
                        <a:pt x="37509" y="149329"/>
                        <a:pt x="37509" y="155580"/>
                      </a:cubicBezTo>
                      <a:cubicBezTo>
                        <a:pt x="37509" y="149467"/>
                        <a:pt x="12503" y="167944"/>
                        <a:pt x="18755" y="174057"/>
                      </a:cubicBezTo>
                      <a:lnTo>
                        <a:pt x="31258" y="180170"/>
                      </a:lnTo>
                      <a:cubicBezTo>
                        <a:pt x="37509" y="180170"/>
                        <a:pt x="31258" y="180170"/>
                        <a:pt x="31258" y="186282"/>
                      </a:cubicBezTo>
                      <a:cubicBezTo>
                        <a:pt x="31258" y="180170"/>
                        <a:pt x="56264" y="180170"/>
                        <a:pt x="56264" y="186282"/>
                      </a:cubicBezTo>
                      <a:cubicBezTo>
                        <a:pt x="62516" y="186282"/>
                        <a:pt x="68767" y="186282"/>
                        <a:pt x="75019" y="186282"/>
                      </a:cubicBezTo>
                      <a:cubicBezTo>
                        <a:pt x="75019" y="186282"/>
                        <a:pt x="81270" y="173918"/>
                        <a:pt x="87522" y="167805"/>
                      </a:cubicBezTo>
                      <a:cubicBezTo>
                        <a:pt x="106277" y="167805"/>
                        <a:pt x="118780" y="173918"/>
                        <a:pt x="131283" y="161693"/>
                      </a:cubicBezTo>
                      <a:cubicBezTo>
                        <a:pt x="131283" y="149329"/>
                        <a:pt x="100025" y="137103"/>
                        <a:pt x="100025" y="130991"/>
                      </a:cubicBezTo>
                      <a:cubicBezTo>
                        <a:pt x="106277" y="124878"/>
                        <a:pt x="112528" y="118626"/>
                        <a:pt x="125031" y="112514"/>
                      </a:cubicBezTo>
                      <a:cubicBezTo>
                        <a:pt x="137534" y="100150"/>
                        <a:pt x="150037" y="87924"/>
                        <a:pt x="168792" y="81812"/>
                      </a:cubicBezTo>
                      <a:cubicBezTo>
                        <a:pt x="181295" y="69448"/>
                        <a:pt x="162541" y="51110"/>
                        <a:pt x="168792" y="44858"/>
                      </a:cubicBezTo>
                      <a:cubicBezTo>
                        <a:pt x="181434" y="32494"/>
                        <a:pt x="187686" y="20269"/>
                        <a:pt x="200189" y="1401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69" name="Freihandform: Form 368">
                  <a:extLst>
                    <a:ext uri="{FF2B5EF4-FFF2-40B4-BE49-F238E27FC236}">
                      <a16:creationId xmlns:a16="http://schemas.microsoft.com/office/drawing/2014/main" id="{66A3B60C-57F1-43F1-9F39-147D8A324CE4}"/>
                    </a:ext>
                  </a:extLst>
                </p:cNvPr>
                <p:cNvSpPr/>
                <p:nvPr/>
              </p:nvSpPr>
              <p:spPr>
                <a:xfrm>
                  <a:off x="5766246" y="2614674"/>
                  <a:ext cx="144230" cy="158635"/>
                </a:xfrm>
                <a:custGeom>
                  <a:avLst/>
                  <a:gdLst>
                    <a:gd name="connsiteX0" fmla="*/ 133506 w 144230"/>
                    <a:gd name="connsiteY0" fmla="*/ 48191 h 158635"/>
                    <a:gd name="connsiteX1" fmla="*/ 114473 w 144230"/>
                    <a:gd name="connsiteY1" fmla="*/ 28742 h 158635"/>
                    <a:gd name="connsiteX2" fmla="*/ 95440 w 144230"/>
                    <a:gd name="connsiteY2" fmla="*/ 35271 h 158635"/>
                    <a:gd name="connsiteX3" fmla="*/ 101831 w 144230"/>
                    <a:gd name="connsiteY3" fmla="*/ 2902 h 158635"/>
                    <a:gd name="connsiteX4" fmla="*/ 63766 w 144230"/>
                    <a:gd name="connsiteY4" fmla="*/ 2902 h 158635"/>
                    <a:gd name="connsiteX5" fmla="*/ 63766 w 144230"/>
                    <a:gd name="connsiteY5" fmla="*/ 9431 h 158635"/>
                    <a:gd name="connsiteX6" fmla="*/ 57376 w 144230"/>
                    <a:gd name="connsiteY6" fmla="*/ 15961 h 158635"/>
                    <a:gd name="connsiteX7" fmla="*/ 70018 w 144230"/>
                    <a:gd name="connsiteY7" fmla="*/ 22490 h 158635"/>
                    <a:gd name="connsiteX8" fmla="*/ 57376 w 144230"/>
                    <a:gd name="connsiteY8" fmla="*/ 29020 h 158635"/>
                    <a:gd name="connsiteX9" fmla="*/ 12920 w 144230"/>
                    <a:gd name="connsiteY9" fmla="*/ 35549 h 158635"/>
                    <a:gd name="connsiteX10" fmla="*/ 19311 w 144230"/>
                    <a:gd name="connsiteY10" fmla="*/ 42078 h 158635"/>
                    <a:gd name="connsiteX11" fmla="*/ 12920 w 144230"/>
                    <a:gd name="connsiteY11" fmla="*/ 48608 h 158635"/>
                    <a:gd name="connsiteX12" fmla="*/ 12920 w 144230"/>
                    <a:gd name="connsiteY12" fmla="*/ 48608 h 158635"/>
                    <a:gd name="connsiteX13" fmla="*/ 6529 w 144230"/>
                    <a:gd name="connsiteY13" fmla="*/ 48608 h 158635"/>
                    <a:gd name="connsiteX14" fmla="*/ 19172 w 144230"/>
                    <a:gd name="connsiteY14" fmla="*/ 61528 h 158635"/>
                    <a:gd name="connsiteX15" fmla="*/ 38204 w 144230"/>
                    <a:gd name="connsiteY15" fmla="*/ 80977 h 158635"/>
                    <a:gd name="connsiteX16" fmla="*/ 31814 w 144230"/>
                    <a:gd name="connsiteY16" fmla="*/ 106956 h 158635"/>
                    <a:gd name="connsiteX17" fmla="*/ 6391 w 144230"/>
                    <a:gd name="connsiteY17" fmla="*/ 126405 h 158635"/>
                    <a:gd name="connsiteX18" fmla="*/ 19032 w 144230"/>
                    <a:gd name="connsiteY18" fmla="*/ 126405 h 158635"/>
                    <a:gd name="connsiteX19" fmla="*/ 0 w 144230"/>
                    <a:gd name="connsiteY19" fmla="*/ 139325 h 158635"/>
                    <a:gd name="connsiteX20" fmla="*/ 19032 w 144230"/>
                    <a:gd name="connsiteY20" fmla="*/ 132795 h 158635"/>
                    <a:gd name="connsiteX21" fmla="*/ 12642 w 144230"/>
                    <a:gd name="connsiteY21" fmla="*/ 152245 h 158635"/>
                    <a:gd name="connsiteX22" fmla="*/ 25423 w 144230"/>
                    <a:gd name="connsiteY22" fmla="*/ 145715 h 158635"/>
                    <a:gd name="connsiteX23" fmla="*/ 25423 w 144230"/>
                    <a:gd name="connsiteY23" fmla="*/ 158635 h 158635"/>
                    <a:gd name="connsiteX24" fmla="*/ 50846 w 144230"/>
                    <a:gd name="connsiteY24" fmla="*/ 152106 h 158635"/>
                    <a:gd name="connsiteX25" fmla="*/ 108083 w 144230"/>
                    <a:gd name="connsiteY25" fmla="*/ 126127 h 158635"/>
                    <a:gd name="connsiteX26" fmla="*/ 139896 w 144230"/>
                    <a:gd name="connsiteY26" fmla="*/ 100148 h 158635"/>
                    <a:gd name="connsiteX27" fmla="*/ 133506 w 144230"/>
                    <a:gd name="connsiteY27" fmla="*/ 48191 h 158635"/>
                    <a:gd name="connsiteX28" fmla="*/ 133506 w 144230"/>
                    <a:gd name="connsiteY28" fmla="*/ 48191 h 15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4230" h="158635">
                      <a:moveTo>
                        <a:pt x="133506" y="48191"/>
                      </a:moveTo>
                      <a:cubicBezTo>
                        <a:pt x="127115" y="48191"/>
                        <a:pt x="120864" y="28742"/>
                        <a:pt x="114473" y="28742"/>
                      </a:cubicBezTo>
                      <a:cubicBezTo>
                        <a:pt x="101831" y="35271"/>
                        <a:pt x="108083" y="41662"/>
                        <a:pt x="95440" y="35271"/>
                      </a:cubicBezTo>
                      <a:cubicBezTo>
                        <a:pt x="70018" y="28742"/>
                        <a:pt x="95440" y="15822"/>
                        <a:pt x="101831" y="2902"/>
                      </a:cubicBezTo>
                      <a:cubicBezTo>
                        <a:pt x="89050" y="2902"/>
                        <a:pt x="70018" y="-3627"/>
                        <a:pt x="63766" y="2902"/>
                      </a:cubicBezTo>
                      <a:cubicBezTo>
                        <a:pt x="63766" y="2902"/>
                        <a:pt x="76408" y="2902"/>
                        <a:pt x="63766" y="9431"/>
                      </a:cubicBezTo>
                      <a:cubicBezTo>
                        <a:pt x="63766" y="9431"/>
                        <a:pt x="50985" y="15961"/>
                        <a:pt x="57376" y="15961"/>
                      </a:cubicBezTo>
                      <a:cubicBezTo>
                        <a:pt x="57376" y="22490"/>
                        <a:pt x="70018" y="15961"/>
                        <a:pt x="70018" y="22490"/>
                      </a:cubicBezTo>
                      <a:cubicBezTo>
                        <a:pt x="76408" y="29020"/>
                        <a:pt x="57376" y="29020"/>
                        <a:pt x="57376" y="29020"/>
                      </a:cubicBezTo>
                      <a:cubicBezTo>
                        <a:pt x="44733" y="35549"/>
                        <a:pt x="19311" y="29020"/>
                        <a:pt x="12920" y="35549"/>
                      </a:cubicBezTo>
                      <a:cubicBezTo>
                        <a:pt x="12920" y="35549"/>
                        <a:pt x="19311" y="35549"/>
                        <a:pt x="19311" y="42078"/>
                      </a:cubicBezTo>
                      <a:cubicBezTo>
                        <a:pt x="19311" y="42078"/>
                        <a:pt x="6668" y="42078"/>
                        <a:pt x="12920" y="48608"/>
                      </a:cubicBezTo>
                      <a:lnTo>
                        <a:pt x="12920" y="48608"/>
                      </a:lnTo>
                      <a:cubicBezTo>
                        <a:pt x="19311" y="48608"/>
                        <a:pt x="6529" y="48608"/>
                        <a:pt x="6529" y="48608"/>
                      </a:cubicBezTo>
                      <a:cubicBezTo>
                        <a:pt x="6529" y="55137"/>
                        <a:pt x="31952" y="55137"/>
                        <a:pt x="19172" y="61528"/>
                      </a:cubicBezTo>
                      <a:cubicBezTo>
                        <a:pt x="139" y="74448"/>
                        <a:pt x="25562" y="80977"/>
                        <a:pt x="38204" y="80977"/>
                      </a:cubicBezTo>
                      <a:cubicBezTo>
                        <a:pt x="44595" y="80977"/>
                        <a:pt x="31814" y="100426"/>
                        <a:pt x="31814" y="106956"/>
                      </a:cubicBezTo>
                      <a:cubicBezTo>
                        <a:pt x="25423" y="106956"/>
                        <a:pt x="12781" y="132934"/>
                        <a:pt x="6391" y="126405"/>
                      </a:cubicBezTo>
                      <a:lnTo>
                        <a:pt x="19032" y="126405"/>
                      </a:lnTo>
                      <a:cubicBezTo>
                        <a:pt x="12642" y="132934"/>
                        <a:pt x="6391" y="126405"/>
                        <a:pt x="0" y="139325"/>
                      </a:cubicBezTo>
                      <a:lnTo>
                        <a:pt x="19032" y="132795"/>
                      </a:lnTo>
                      <a:cubicBezTo>
                        <a:pt x="19032" y="132795"/>
                        <a:pt x="12642" y="145715"/>
                        <a:pt x="12642" y="152245"/>
                      </a:cubicBezTo>
                      <a:lnTo>
                        <a:pt x="25423" y="145715"/>
                      </a:lnTo>
                      <a:cubicBezTo>
                        <a:pt x="25423" y="145715"/>
                        <a:pt x="25423" y="152245"/>
                        <a:pt x="25423" y="158635"/>
                      </a:cubicBezTo>
                      <a:cubicBezTo>
                        <a:pt x="31814" y="158635"/>
                        <a:pt x="44456" y="152106"/>
                        <a:pt x="50846" y="152106"/>
                      </a:cubicBezTo>
                      <a:cubicBezTo>
                        <a:pt x="69879" y="145577"/>
                        <a:pt x="88911" y="126127"/>
                        <a:pt x="108083" y="126127"/>
                      </a:cubicBezTo>
                      <a:cubicBezTo>
                        <a:pt x="133506" y="126127"/>
                        <a:pt x="127115" y="119598"/>
                        <a:pt x="139896" y="100148"/>
                      </a:cubicBezTo>
                      <a:cubicBezTo>
                        <a:pt x="152538" y="80560"/>
                        <a:pt x="133506" y="67501"/>
                        <a:pt x="133506" y="48191"/>
                      </a:cubicBezTo>
                      <a:cubicBezTo>
                        <a:pt x="127115" y="48191"/>
                        <a:pt x="133506" y="54582"/>
                        <a:pt x="133506" y="481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0" name="Freihandform: Form 369">
                  <a:extLst>
                    <a:ext uri="{FF2B5EF4-FFF2-40B4-BE49-F238E27FC236}">
                      <a16:creationId xmlns:a16="http://schemas.microsoft.com/office/drawing/2014/main" id="{3EFA0785-0BC2-4844-AABD-5DF9AED5BF2D}"/>
                    </a:ext>
                  </a:extLst>
                </p:cNvPr>
                <p:cNvSpPr/>
                <p:nvPr/>
              </p:nvSpPr>
              <p:spPr>
                <a:xfrm>
                  <a:off x="5847286" y="2612862"/>
                  <a:ext cx="72480" cy="46405"/>
                </a:xfrm>
                <a:custGeom>
                  <a:avLst/>
                  <a:gdLst>
                    <a:gd name="connsiteX0" fmla="*/ 1202 w 72480"/>
                    <a:gd name="connsiteY0" fmla="*/ 32360 h 46405"/>
                    <a:gd name="connsiteX1" fmla="*/ 19124 w 72480"/>
                    <a:gd name="connsiteY1" fmla="*/ 43751 h 46405"/>
                    <a:gd name="connsiteX2" fmla="*/ 25097 w 72480"/>
                    <a:gd name="connsiteY2" fmla="*/ 38055 h 46405"/>
                    <a:gd name="connsiteX3" fmla="*/ 43018 w 72480"/>
                    <a:gd name="connsiteY3" fmla="*/ 43751 h 46405"/>
                    <a:gd name="connsiteX4" fmla="*/ 60939 w 72480"/>
                    <a:gd name="connsiteY4" fmla="*/ 20829 h 46405"/>
                    <a:gd name="connsiteX5" fmla="*/ 60939 w 72480"/>
                    <a:gd name="connsiteY5" fmla="*/ 9437 h 46405"/>
                    <a:gd name="connsiteX6" fmla="*/ 37045 w 72480"/>
                    <a:gd name="connsiteY6" fmla="*/ 3741 h 46405"/>
                    <a:gd name="connsiteX7" fmla="*/ 19124 w 72480"/>
                    <a:gd name="connsiteY7" fmla="*/ 9437 h 46405"/>
                    <a:gd name="connsiteX8" fmla="*/ 1202 w 72480"/>
                    <a:gd name="connsiteY8" fmla="*/ 32360 h 46405"/>
                    <a:gd name="connsiteX9" fmla="*/ 1202 w 72480"/>
                    <a:gd name="connsiteY9" fmla="*/ 32360 h 4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480" h="46405">
                      <a:moveTo>
                        <a:pt x="1202" y="32360"/>
                      </a:moveTo>
                      <a:cubicBezTo>
                        <a:pt x="-4771" y="38055"/>
                        <a:pt x="13150" y="43751"/>
                        <a:pt x="19124" y="43751"/>
                      </a:cubicBezTo>
                      <a:lnTo>
                        <a:pt x="25097" y="38055"/>
                      </a:lnTo>
                      <a:cubicBezTo>
                        <a:pt x="31071" y="32360"/>
                        <a:pt x="37045" y="38055"/>
                        <a:pt x="43018" y="43751"/>
                      </a:cubicBezTo>
                      <a:cubicBezTo>
                        <a:pt x="54966" y="55143"/>
                        <a:pt x="90669" y="26525"/>
                        <a:pt x="60939" y="20829"/>
                      </a:cubicBezTo>
                      <a:cubicBezTo>
                        <a:pt x="66913" y="20829"/>
                        <a:pt x="60939" y="9437"/>
                        <a:pt x="60939" y="9437"/>
                      </a:cubicBezTo>
                      <a:cubicBezTo>
                        <a:pt x="54966" y="-1955"/>
                        <a:pt x="48992" y="-1955"/>
                        <a:pt x="37045" y="3741"/>
                      </a:cubicBezTo>
                      <a:cubicBezTo>
                        <a:pt x="31071" y="3741"/>
                        <a:pt x="19124" y="3741"/>
                        <a:pt x="19124" y="9437"/>
                      </a:cubicBezTo>
                      <a:cubicBezTo>
                        <a:pt x="13150" y="15272"/>
                        <a:pt x="1202" y="20968"/>
                        <a:pt x="1202" y="32360"/>
                      </a:cubicBezTo>
                      <a:cubicBezTo>
                        <a:pt x="1202" y="32360"/>
                        <a:pt x="1202" y="26664"/>
                        <a:pt x="1202" y="3236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1" name="Freihandform: Form 370">
                  <a:extLst>
                    <a:ext uri="{FF2B5EF4-FFF2-40B4-BE49-F238E27FC236}">
                      <a16:creationId xmlns:a16="http://schemas.microsoft.com/office/drawing/2014/main" id="{4F7DA1C6-1FA7-498E-8067-B4AB451F015A}"/>
                    </a:ext>
                  </a:extLst>
                </p:cNvPr>
                <p:cNvSpPr/>
                <p:nvPr/>
              </p:nvSpPr>
              <p:spPr>
                <a:xfrm>
                  <a:off x="5809515" y="3078108"/>
                  <a:ext cx="385726" cy="282320"/>
                </a:xfrm>
                <a:custGeom>
                  <a:avLst/>
                  <a:gdLst>
                    <a:gd name="connsiteX0" fmla="*/ 354747 w 385726"/>
                    <a:gd name="connsiteY0" fmla="*/ 49735 h 282320"/>
                    <a:gd name="connsiteX1" fmla="*/ 317515 w 385726"/>
                    <a:gd name="connsiteY1" fmla="*/ 37370 h 282320"/>
                    <a:gd name="connsiteX2" fmla="*/ 298899 w 385726"/>
                    <a:gd name="connsiteY2" fmla="*/ 37370 h 282320"/>
                    <a:gd name="connsiteX3" fmla="*/ 274032 w 385726"/>
                    <a:gd name="connsiteY3" fmla="*/ 37370 h 282320"/>
                    <a:gd name="connsiteX4" fmla="*/ 243052 w 385726"/>
                    <a:gd name="connsiteY4" fmla="*/ 25006 h 282320"/>
                    <a:gd name="connsiteX5" fmla="*/ 230688 w 385726"/>
                    <a:gd name="connsiteY5" fmla="*/ 12503 h 282320"/>
                    <a:gd name="connsiteX6" fmla="*/ 212072 w 385726"/>
                    <a:gd name="connsiteY6" fmla="*/ 12503 h 282320"/>
                    <a:gd name="connsiteX7" fmla="*/ 187205 w 385726"/>
                    <a:gd name="connsiteY7" fmla="*/ 12503 h 282320"/>
                    <a:gd name="connsiteX8" fmla="*/ 162338 w 385726"/>
                    <a:gd name="connsiteY8" fmla="*/ 12503 h 282320"/>
                    <a:gd name="connsiteX9" fmla="*/ 100239 w 385726"/>
                    <a:gd name="connsiteY9" fmla="*/ 6252 h 282320"/>
                    <a:gd name="connsiteX10" fmla="*/ 44392 w 385726"/>
                    <a:gd name="connsiteY10" fmla="*/ 0 h 282320"/>
                    <a:gd name="connsiteX11" fmla="*/ 7160 w 385726"/>
                    <a:gd name="connsiteY11" fmla="*/ 18616 h 282320"/>
                    <a:gd name="connsiteX12" fmla="*/ 7160 w 385726"/>
                    <a:gd name="connsiteY12" fmla="*/ 37232 h 282320"/>
                    <a:gd name="connsiteX13" fmla="*/ 7160 w 385726"/>
                    <a:gd name="connsiteY13" fmla="*/ 68350 h 282320"/>
                    <a:gd name="connsiteX14" fmla="*/ 25776 w 385726"/>
                    <a:gd name="connsiteY14" fmla="*/ 62099 h 282320"/>
                    <a:gd name="connsiteX15" fmla="*/ 38140 w 385726"/>
                    <a:gd name="connsiteY15" fmla="*/ 74463 h 282320"/>
                    <a:gd name="connsiteX16" fmla="*/ 69120 w 385726"/>
                    <a:gd name="connsiteY16" fmla="*/ 68211 h 282320"/>
                    <a:gd name="connsiteX17" fmla="*/ 81484 w 385726"/>
                    <a:gd name="connsiteY17" fmla="*/ 86827 h 282320"/>
                    <a:gd name="connsiteX18" fmla="*/ 75232 w 385726"/>
                    <a:gd name="connsiteY18" fmla="*/ 124198 h 282320"/>
                    <a:gd name="connsiteX19" fmla="*/ 68981 w 385726"/>
                    <a:gd name="connsiteY19" fmla="*/ 155317 h 282320"/>
                    <a:gd name="connsiteX20" fmla="*/ 68981 w 385726"/>
                    <a:gd name="connsiteY20" fmla="*/ 173932 h 282320"/>
                    <a:gd name="connsiteX21" fmla="*/ 56617 w 385726"/>
                    <a:gd name="connsiteY21" fmla="*/ 205051 h 282320"/>
                    <a:gd name="connsiteX22" fmla="*/ 56617 w 385726"/>
                    <a:gd name="connsiteY22" fmla="*/ 236170 h 282320"/>
                    <a:gd name="connsiteX23" fmla="*/ 100100 w 385726"/>
                    <a:gd name="connsiteY23" fmla="*/ 273541 h 282320"/>
                    <a:gd name="connsiteX24" fmla="*/ 118716 w 385726"/>
                    <a:gd name="connsiteY24" fmla="*/ 279792 h 282320"/>
                    <a:gd name="connsiteX25" fmla="*/ 124967 w 385726"/>
                    <a:gd name="connsiteY25" fmla="*/ 267428 h 282320"/>
                    <a:gd name="connsiteX26" fmla="*/ 143583 w 385726"/>
                    <a:gd name="connsiteY26" fmla="*/ 261176 h 282320"/>
                    <a:gd name="connsiteX27" fmla="*/ 218046 w 385726"/>
                    <a:gd name="connsiteY27" fmla="*/ 254925 h 282320"/>
                    <a:gd name="connsiteX28" fmla="*/ 236662 w 385726"/>
                    <a:gd name="connsiteY28" fmla="*/ 236309 h 282320"/>
                    <a:gd name="connsiteX29" fmla="*/ 261529 w 385726"/>
                    <a:gd name="connsiteY29" fmla="*/ 217693 h 282320"/>
                    <a:gd name="connsiteX30" fmla="*/ 286396 w 385726"/>
                    <a:gd name="connsiteY30" fmla="*/ 186574 h 282320"/>
                    <a:gd name="connsiteX31" fmla="*/ 274032 w 385726"/>
                    <a:gd name="connsiteY31" fmla="*/ 161707 h 282320"/>
                    <a:gd name="connsiteX32" fmla="*/ 292648 w 385726"/>
                    <a:gd name="connsiteY32" fmla="*/ 130588 h 282320"/>
                    <a:gd name="connsiteX33" fmla="*/ 305012 w 385726"/>
                    <a:gd name="connsiteY33" fmla="*/ 118085 h 282320"/>
                    <a:gd name="connsiteX34" fmla="*/ 311264 w 385726"/>
                    <a:gd name="connsiteY34" fmla="*/ 105721 h 282320"/>
                    <a:gd name="connsiteX35" fmla="*/ 367111 w 385726"/>
                    <a:gd name="connsiteY35" fmla="*/ 80854 h 282320"/>
                    <a:gd name="connsiteX36" fmla="*/ 385727 w 385726"/>
                    <a:gd name="connsiteY36" fmla="*/ 55986 h 282320"/>
                    <a:gd name="connsiteX37" fmla="*/ 354747 w 385726"/>
                    <a:gd name="connsiteY37" fmla="*/ 49735 h 282320"/>
                    <a:gd name="connsiteX38" fmla="*/ 354747 w 385726"/>
                    <a:gd name="connsiteY38" fmla="*/ 49735 h 28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5726" h="282320">
                      <a:moveTo>
                        <a:pt x="354747" y="49735"/>
                      </a:moveTo>
                      <a:cubicBezTo>
                        <a:pt x="336131" y="49735"/>
                        <a:pt x="329879" y="43483"/>
                        <a:pt x="317515" y="37370"/>
                      </a:cubicBezTo>
                      <a:cubicBezTo>
                        <a:pt x="311264" y="31119"/>
                        <a:pt x="305151" y="37370"/>
                        <a:pt x="298899" y="37370"/>
                      </a:cubicBezTo>
                      <a:cubicBezTo>
                        <a:pt x="292648" y="37370"/>
                        <a:pt x="280284" y="37370"/>
                        <a:pt x="274032" y="37370"/>
                      </a:cubicBezTo>
                      <a:cubicBezTo>
                        <a:pt x="261668" y="31119"/>
                        <a:pt x="249165" y="25006"/>
                        <a:pt x="243052" y="25006"/>
                      </a:cubicBezTo>
                      <a:cubicBezTo>
                        <a:pt x="236801" y="18755"/>
                        <a:pt x="236801" y="18755"/>
                        <a:pt x="230688" y="12503"/>
                      </a:cubicBezTo>
                      <a:cubicBezTo>
                        <a:pt x="224436" y="18755"/>
                        <a:pt x="218324" y="12503"/>
                        <a:pt x="212072" y="12503"/>
                      </a:cubicBezTo>
                      <a:cubicBezTo>
                        <a:pt x="199708" y="6252"/>
                        <a:pt x="193457" y="12503"/>
                        <a:pt x="187205" y="12503"/>
                      </a:cubicBezTo>
                      <a:cubicBezTo>
                        <a:pt x="174841" y="12503"/>
                        <a:pt x="168589" y="12503"/>
                        <a:pt x="162338" y="12503"/>
                      </a:cubicBezTo>
                      <a:cubicBezTo>
                        <a:pt x="143722" y="12503"/>
                        <a:pt x="125106" y="6252"/>
                        <a:pt x="100239" y="6252"/>
                      </a:cubicBezTo>
                      <a:cubicBezTo>
                        <a:pt x="87875" y="6252"/>
                        <a:pt x="63007" y="0"/>
                        <a:pt x="44392" y="0"/>
                      </a:cubicBezTo>
                      <a:cubicBezTo>
                        <a:pt x="38140" y="6252"/>
                        <a:pt x="19524" y="12364"/>
                        <a:pt x="7160" y="18616"/>
                      </a:cubicBezTo>
                      <a:cubicBezTo>
                        <a:pt x="-5204" y="24867"/>
                        <a:pt x="908" y="30980"/>
                        <a:pt x="7160" y="37232"/>
                      </a:cubicBezTo>
                      <a:cubicBezTo>
                        <a:pt x="7160" y="49596"/>
                        <a:pt x="7160" y="55847"/>
                        <a:pt x="7160" y="68350"/>
                      </a:cubicBezTo>
                      <a:cubicBezTo>
                        <a:pt x="13412" y="68350"/>
                        <a:pt x="25776" y="62099"/>
                        <a:pt x="25776" y="62099"/>
                      </a:cubicBezTo>
                      <a:cubicBezTo>
                        <a:pt x="32027" y="62099"/>
                        <a:pt x="25776" y="74463"/>
                        <a:pt x="38140" y="74463"/>
                      </a:cubicBezTo>
                      <a:cubicBezTo>
                        <a:pt x="50504" y="74463"/>
                        <a:pt x="56756" y="68211"/>
                        <a:pt x="69120" y="68211"/>
                      </a:cubicBezTo>
                      <a:cubicBezTo>
                        <a:pt x="81484" y="61960"/>
                        <a:pt x="93987" y="80576"/>
                        <a:pt x="81484" y="86827"/>
                      </a:cubicBezTo>
                      <a:cubicBezTo>
                        <a:pt x="69120" y="99330"/>
                        <a:pt x="75232" y="105443"/>
                        <a:pt x="75232" y="124198"/>
                      </a:cubicBezTo>
                      <a:cubicBezTo>
                        <a:pt x="68981" y="130449"/>
                        <a:pt x="75232" y="149065"/>
                        <a:pt x="68981" y="155317"/>
                      </a:cubicBezTo>
                      <a:cubicBezTo>
                        <a:pt x="50365" y="155317"/>
                        <a:pt x="56617" y="161568"/>
                        <a:pt x="68981" y="173932"/>
                      </a:cubicBezTo>
                      <a:cubicBezTo>
                        <a:pt x="75232" y="180184"/>
                        <a:pt x="56617" y="192548"/>
                        <a:pt x="56617" y="205051"/>
                      </a:cubicBezTo>
                      <a:cubicBezTo>
                        <a:pt x="68981" y="217415"/>
                        <a:pt x="56617" y="223667"/>
                        <a:pt x="56617" y="236170"/>
                      </a:cubicBezTo>
                      <a:cubicBezTo>
                        <a:pt x="75232" y="229918"/>
                        <a:pt x="87597" y="261037"/>
                        <a:pt x="100100" y="273541"/>
                      </a:cubicBezTo>
                      <a:cubicBezTo>
                        <a:pt x="100100" y="279792"/>
                        <a:pt x="112464" y="285905"/>
                        <a:pt x="118716" y="279792"/>
                      </a:cubicBezTo>
                      <a:cubicBezTo>
                        <a:pt x="118716" y="279792"/>
                        <a:pt x="124967" y="273541"/>
                        <a:pt x="124967" y="267428"/>
                      </a:cubicBezTo>
                      <a:cubicBezTo>
                        <a:pt x="131219" y="267428"/>
                        <a:pt x="143583" y="261176"/>
                        <a:pt x="143583" y="261176"/>
                      </a:cubicBezTo>
                      <a:cubicBezTo>
                        <a:pt x="168450" y="254925"/>
                        <a:pt x="193178" y="261176"/>
                        <a:pt x="218046" y="254925"/>
                      </a:cubicBezTo>
                      <a:cubicBezTo>
                        <a:pt x="224298" y="248673"/>
                        <a:pt x="224298" y="242560"/>
                        <a:pt x="236662" y="236309"/>
                      </a:cubicBezTo>
                      <a:cubicBezTo>
                        <a:pt x="249026" y="230057"/>
                        <a:pt x="255278" y="223806"/>
                        <a:pt x="261529" y="217693"/>
                      </a:cubicBezTo>
                      <a:cubicBezTo>
                        <a:pt x="267781" y="199078"/>
                        <a:pt x="273893" y="192826"/>
                        <a:pt x="286396" y="186574"/>
                      </a:cubicBezTo>
                      <a:cubicBezTo>
                        <a:pt x="292648" y="180323"/>
                        <a:pt x="280145" y="167959"/>
                        <a:pt x="274032" y="161707"/>
                      </a:cubicBezTo>
                      <a:cubicBezTo>
                        <a:pt x="274032" y="155455"/>
                        <a:pt x="286396" y="136840"/>
                        <a:pt x="292648" y="130588"/>
                      </a:cubicBezTo>
                      <a:cubicBezTo>
                        <a:pt x="292648" y="130588"/>
                        <a:pt x="298899" y="124337"/>
                        <a:pt x="305012" y="118085"/>
                      </a:cubicBezTo>
                      <a:cubicBezTo>
                        <a:pt x="305012" y="118085"/>
                        <a:pt x="305012" y="105721"/>
                        <a:pt x="311264" y="105721"/>
                      </a:cubicBezTo>
                      <a:cubicBezTo>
                        <a:pt x="329879" y="93357"/>
                        <a:pt x="348495" y="87105"/>
                        <a:pt x="367111" y="80854"/>
                      </a:cubicBezTo>
                      <a:cubicBezTo>
                        <a:pt x="373363" y="74602"/>
                        <a:pt x="385727" y="68489"/>
                        <a:pt x="385727" y="55986"/>
                      </a:cubicBezTo>
                      <a:cubicBezTo>
                        <a:pt x="379475" y="43483"/>
                        <a:pt x="367111" y="55847"/>
                        <a:pt x="354747" y="49735"/>
                      </a:cubicBezTo>
                      <a:cubicBezTo>
                        <a:pt x="336131" y="49735"/>
                        <a:pt x="367111" y="55847"/>
                        <a:pt x="354747" y="4973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2" name="Freihandform: Form 371">
                  <a:extLst>
                    <a:ext uri="{FF2B5EF4-FFF2-40B4-BE49-F238E27FC236}">
                      <a16:creationId xmlns:a16="http://schemas.microsoft.com/office/drawing/2014/main" id="{48188741-B0C1-49D7-8A5C-8E6AAFB20065}"/>
                    </a:ext>
                  </a:extLst>
                </p:cNvPr>
                <p:cNvSpPr/>
                <p:nvPr/>
              </p:nvSpPr>
              <p:spPr>
                <a:xfrm>
                  <a:off x="5804311" y="3135205"/>
                  <a:ext cx="88441" cy="190603"/>
                </a:xfrm>
                <a:custGeom>
                  <a:avLst/>
                  <a:gdLst>
                    <a:gd name="connsiteX0" fmla="*/ 65572 w 88441"/>
                    <a:gd name="connsiteY0" fmla="*/ 158929 h 190603"/>
                    <a:gd name="connsiteX1" fmla="*/ 65572 w 88441"/>
                    <a:gd name="connsiteY1" fmla="*/ 133506 h 190603"/>
                    <a:gd name="connsiteX2" fmla="*/ 59598 w 88441"/>
                    <a:gd name="connsiteY2" fmla="*/ 101692 h 190603"/>
                    <a:gd name="connsiteX3" fmla="*/ 71546 w 88441"/>
                    <a:gd name="connsiteY3" fmla="*/ 88911 h 190603"/>
                    <a:gd name="connsiteX4" fmla="*/ 77519 w 88441"/>
                    <a:gd name="connsiteY4" fmla="*/ 57098 h 190603"/>
                    <a:gd name="connsiteX5" fmla="*/ 83493 w 88441"/>
                    <a:gd name="connsiteY5" fmla="*/ 25284 h 190603"/>
                    <a:gd name="connsiteX6" fmla="*/ 71546 w 88441"/>
                    <a:gd name="connsiteY6" fmla="*/ 6252 h 190603"/>
                    <a:gd name="connsiteX7" fmla="*/ 41816 w 88441"/>
                    <a:gd name="connsiteY7" fmla="*/ 12642 h 190603"/>
                    <a:gd name="connsiteX8" fmla="*/ 29869 w 88441"/>
                    <a:gd name="connsiteY8" fmla="*/ 0 h 190603"/>
                    <a:gd name="connsiteX9" fmla="*/ 23895 w 88441"/>
                    <a:gd name="connsiteY9" fmla="*/ 0 h 190603"/>
                    <a:gd name="connsiteX10" fmla="*/ 17921 w 88441"/>
                    <a:gd name="connsiteY10" fmla="*/ 25423 h 190603"/>
                    <a:gd name="connsiteX11" fmla="*/ 17921 w 88441"/>
                    <a:gd name="connsiteY11" fmla="*/ 50846 h 190603"/>
                    <a:gd name="connsiteX12" fmla="*/ 11947 w 88441"/>
                    <a:gd name="connsiteY12" fmla="*/ 82660 h 190603"/>
                    <a:gd name="connsiteX13" fmla="*/ 0 w 88441"/>
                    <a:gd name="connsiteY13" fmla="*/ 127115 h 190603"/>
                    <a:gd name="connsiteX14" fmla="*/ 11947 w 88441"/>
                    <a:gd name="connsiteY14" fmla="*/ 139896 h 190603"/>
                    <a:gd name="connsiteX15" fmla="*/ 11947 w 88441"/>
                    <a:gd name="connsiteY15" fmla="*/ 177961 h 190603"/>
                    <a:gd name="connsiteX16" fmla="*/ 35842 w 88441"/>
                    <a:gd name="connsiteY16" fmla="*/ 190603 h 190603"/>
                    <a:gd name="connsiteX17" fmla="*/ 65572 w 88441"/>
                    <a:gd name="connsiteY17" fmla="*/ 158929 h 190603"/>
                    <a:gd name="connsiteX18" fmla="*/ 65572 w 88441"/>
                    <a:gd name="connsiteY18" fmla="*/ 158929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441" h="190603">
                      <a:moveTo>
                        <a:pt x="65572" y="158929"/>
                      </a:moveTo>
                      <a:cubicBezTo>
                        <a:pt x="71546" y="146148"/>
                        <a:pt x="59598" y="139896"/>
                        <a:pt x="65572" y="133506"/>
                      </a:cubicBezTo>
                      <a:cubicBezTo>
                        <a:pt x="71546" y="114473"/>
                        <a:pt x="71546" y="114473"/>
                        <a:pt x="59598" y="101692"/>
                      </a:cubicBezTo>
                      <a:cubicBezTo>
                        <a:pt x="53624" y="88911"/>
                        <a:pt x="65572" y="95302"/>
                        <a:pt x="71546" y="88911"/>
                      </a:cubicBezTo>
                      <a:cubicBezTo>
                        <a:pt x="77519" y="82521"/>
                        <a:pt x="77519" y="63488"/>
                        <a:pt x="77519" y="57098"/>
                      </a:cubicBezTo>
                      <a:cubicBezTo>
                        <a:pt x="77519" y="38065"/>
                        <a:pt x="71546" y="38065"/>
                        <a:pt x="83493" y="25284"/>
                      </a:cubicBezTo>
                      <a:cubicBezTo>
                        <a:pt x="95440" y="18894"/>
                        <a:pt x="83493" y="-139"/>
                        <a:pt x="71546" y="6252"/>
                      </a:cubicBezTo>
                      <a:cubicBezTo>
                        <a:pt x="59598" y="6252"/>
                        <a:pt x="53624" y="12642"/>
                        <a:pt x="41816" y="12642"/>
                      </a:cubicBezTo>
                      <a:cubicBezTo>
                        <a:pt x="30007" y="12642"/>
                        <a:pt x="35842" y="0"/>
                        <a:pt x="29869" y="0"/>
                      </a:cubicBezTo>
                      <a:cubicBezTo>
                        <a:pt x="35842" y="0"/>
                        <a:pt x="17921" y="0"/>
                        <a:pt x="23895" y="0"/>
                      </a:cubicBezTo>
                      <a:cubicBezTo>
                        <a:pt x="11947" y="6391"/>
                        <a:pt x="17921" y="12642"/>
                        <a:pt x="17921" y="25423"/>
                      </a:cubicBezTo>
                      <a:cubicBezTo>
                        <a:pt x="17921" y="31814"/>
                        <a:pt x="17921" y="44456"/>
                        <a:pt x="17921" y="50846"/>
                      </a:cubicBezTo>
                      <a:cubicBezTo>
                        <a:pt x="11947" y="63627"/>
                        <a:pt x="11947" y="76269"/>
                        <a:pt x="11947" y="82660"/>
                      </a:cubicBezTo>
                      <a:cubicBezTo>
                        <a:pt x="5973" y="101692"/>
                        <a:pt x="0" y="108083"/>
                        <a:pt x="0" y="127115"/>
                      </a:cubicBezTo>
                      <a:cubicBezTo>
                        <a:pt x="5973" y="133506"/>
                        <a:pt x="11947" y="127115"/>
                        <a:pt x="11947" y="139896"/>
                      </a:cubicBezTo>
                      <a:cubicBezTo>
                        <a:pt x="17921" y="146287"/>
                        <a:pt x="11947" y="165319"/>
                        <a:pt x="11947" y="177961"/>
                      </a:cubicBezTo>
                      <a:cubicBezTo>
                        <a:pt x="11947" y="190603"/>
                        <a:pt x="23895" y="190603"/>
                        <a:pt x="35842" y="190603"/>
                      </a:cubicBezTo>
                      <a:cubicBezTo>
                        <a:pt x="59598" y="190742"/>
                        <a:pt x="53624" y="171571"/>
                        <a:pt x="65572" y="158929"/>
                      </a:cubicBezTo>
                      <a:cubicBezTo>
                        <a:pt x="71546" y="146148"/>
                        <a:pt x="59598" y="165319"/>
                        <a:pt x="65572" y="15892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3" name="Freihandform: Form 372">
                  <a:extLst>
                    <a:ext uri="{FF2B5EF4-FFF2-40B4-BE49-F238E27FC236}">
                      <a16:creationId xmlns:a16="http://schemas.microsoft.com/office/drawing/2014/main" id="{48C47396-12AD-4465-8AE1-DBD422287565}"/>
                    </a:ext>
                  </a:extLst>
                </p:cNvPr>
                <p:cNvSpPr/>
                <p:nvPr/>
              </p:nvSpPr>
              <p:spPr>
                <a:xfrm>
                  <a:off x="7005305" y="4859978"/>
                  <a:ext cx="328276" cy="540186"/>
                </a:xfrm>
                <a:custGeom>
                  <a:avLst/>
                  <a:gdLst>
                    <a:gd name="connsiteX0" fmla="*/ 327582 w 328276"/>
                    <a:gd name="connsiteY0" fmla="*/ 135691 h 540186"/>
                    <a:gd name="connsiteX1" fmla="*/ 314939 w 328276"/>
                    <a:gd name="connsiteY1" fmla="*/ 9966 h 540186"/>
                    <a:gd name="connsiteX2" fmla="*/ 289795 w 328276"/>
                    <a:gd name="connsiteY2" fmla="*/ 9966 h 540186"/>
                    <a:gd name="connsiteX3" fmla="*/ 258259 w 328276"/>
                    <a:gd name="connsiteY3" fmla="*/ 28859 h 540186"/>
                    <a:gd name="connsiteX4" fmla="*/ 239365 w 328276"/>
                    <a:gd name="connsiteY4" fmla="*/ 35111 h 540186"/>
                    <a:gd name="connsiteX5" fmla="*/ 201578 w 328276"/>
                    <a:gd name="connsiteY5" fmla="*/ 35111 h 540186"/>
                    <a:gd name="connsiteX6" fmla="*/ 176433 w 328276"/>
                    <a:gd name="connsiteY6" fmla="*/ 35111 h 540186"/>
                    <a:gd name="connsiteX7" fmla="*/ 144897 w 328276"/>
                    <a:gd name="connsiteY7" fmla="*/ 35111 h 540186"/>
                    <a:gd name="connsiteX8" fmla="*/ 151149 w 328276"/>
                    <a:gd name="connsiteY8" fmla="*/ 104156 h 540186"/>
                    <a:gd name="connsiteX9" fmla="*/ 157400 w 328276"/>
                    <a:gd name="connsiteY9" fmla="*/ 116659 h 540186"/>
                    <a:gd name="connsiteX10" fmla="*/ 170042 w 328276"/>
                    <a:gd name="connsiteY10" fmla="*/ 129162 h 540186"/>
                    <a:gd name="connsiteX11" fmla="*/ 170042 w 328276"/>
                    <a:gd name="connsiteY11" fmla="*/ 166811 h 540186"/>
                    <a:gd name="connsiteX12" fmla="*/ 157400 w 328276"/>
                    <a:gd name="connsiteY12" fmla="*/ 185704 h 540186"/>
                    <a:gd name="connsiteX13" fmla="*/ 151149 w 328276"/>
                    <a:gd name="connsiteY13" fmla="*/ 210849 h 540186"/>
                    <a:gd name="connsiteX14" fmla="*/ 126003 w 328276"/>
                    <a:gd name="connsiteY14" fmla="*/ 185704 h 540186"/>
                    <a:gd name="connsiteX15" fmla="*/ 132255 w 328276"/>
                    <a:gd name="connsiteY15" fmla="*/ 148056 h 540186"/>
                    <a:gd name="connsiteX16" fmla="*/ 100720 w 328276"/>
                    <a:gd name="connsiteY16" fmla="*/ 129162 h 540186"/>
                    <a:gd name="connsiteX17" fmla="*/ 81826 w 328276"/>
                    <a:gd name="connsiteY17" fmla="*/ 116659 h 540186"/>
                    <a:gd name="connsiteX18" fmla="*/ 12642 w 328276"/>
                    <a:gd name="connsiteY18" fmla="*/ 141804 h 540186"/>
                    <a:gd name="connsiteX19" fmla="*/ 0 w 328276"/>
                    <a:gd name="connsiteY19" fmla="*/ 154307 h 540186"/>
                    <a:gd name="connsiteX20" fmla="*/ 6252 w 328276"/>
                    <a:gd name="connsiteY20" fmla="*/ 179452 h 540186"/>
                    <a:gd name="connsiteX21" fmla="*/ 75574 w 328276"/>
                    <a:gd name="connsiteY21" fmla="*/ 210849 h 540186"/>
                    <a:gd name="connsiteX22" fmla="*/ 81826 w 328276"/>
                    <a:gd name="connsiteY22" fmla="*/ 267391 h 540186"/>
                    <a:gd name="connsiteX23" fmla="*/ 75574 w 328276"/>
                    <a:gd name="connsiteY23" fmla="*/ 317681 h 540186"/>
                    <a:gd name="connsiteX24" fmla="*/ 37787 w 328276"/>
                    <a:gd name="connsiteY24" fmla="*/ 380475 h 540186"/>
                    <a:gd name="connsiteX25" fmla="*/ 37787 w 328276"/>
                    <a:gd name="connsiteY25" fmla="*/ 424514 h 540186"/>
                    <a:gd name="connsiteX26" fmla="*/ 50429 w 328276"/>
                    <a:gd name="connsiteY26" fmla="*/ 481056 h 540186"/>
                    <a:gd name="connsiteX27" fmla="*/ 56681 w 328276"/>
                    <a:gd name="connsiteY27" fmla="*/ 537597 h 540186"/>
                    <a:gd name="connsiteX28" fmla="*/ 75574 w 328276"/>
                    <a:gd name="connsiteY28" fmla="*/ 531346 h 540186"/>
                    <a:gd name="connsiteX29" fmla="*/ 81826 w 328276"/>
                    <a:gd name="connsiteY29" fmla="*/ 512452 h 540186"/>
                    <a:gd name="connsiteX30" fmla="*/ 69184 w 328276"/>
                    <a:gd name="connsiteY30" fmla="*/ 512452 h 540186"/>
                    <a:gd name="connsiteX31" fmla="*/ 100720 w 328276"/>
                    <a:gd name="connsiteY31" fmla="*/ 474804 h 540186"/>
                    <a:gd name="connsiteX32" fmla="*/ 157400 w 328276"/>
                    <a:gd name="connsiteY32" fmla="*/ 443407 h 540186"/>
                    <a:gd name="connsiteX33" fmla="*/ 157400 w 328276"/>
                    <a:gd name="connsiteY33" fmla="*/ 393117 h 540186"/>
                    <a:gd name="connsiteX34" fmla="*/ 132255 w 328276"/>
                    <a:gd name="connsiteY34" fmla="*/ 292536 h 540186"/>
                    <a:gd name="connsiteX35" fmla="*/ 151149 w 328276"/>
                    <a:gd name="connsiteY35" fmla="*/ 292536 h 540186"/>
                    <a:gd name="connsiteX36" fmla="*/ 182685 w 328276"/>
                    <a:gd name="connsiteY36" fmla="*/ 267391 h 540186"/>
                    <a:gd name="connsiteX37" fmla="*/ 220471 w 328276"/>
                    <a:gd name="connsiteY37" fmla="*/ 229743 h 540186"/>
                    <a:gd name="connsiteX38" fmla="*/ 252007 w 328276"/>
                    <a:gd name="connsiteY38" fmla="*/ 217101 h 540186"/>
                    <a:gd name="connsiteX39" fmla="*/ 289795 w 328276"/>
                    <a:gd name="connsiteY39" fmla="*/ 191955 h 540186"/>
                    <a:gd name="connsiteX40" fmla="*/ 327582 w 328276"/>
                    <a:gd name="connsiteY40" fmla="*/ 135691 h 540186"/>
                    <a:gd name="connsiteX41" fmla="*/ 327582 w 328276"/>
                    <a:gd name="connsiteY41" fmla="*/ 135691 h 54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8276" h="540186">
                      <a:moveTo>
                        <a:pt x="327582" y="135691"/>
                      </a:moveTo>
                      <a:cubicBezTo>
                        <a:pt x="308688" y="98043"/>
                        <a:pt x="314939" y="47753"/>
                        <a:pt x="314939" y="9966"/>
                      </a:cubicBezTo>
                      <a:cubicBezTo>
                        <a:pt x="314939" y="-8928"/>
                        <a:pt x="302298" y="3714"/>
                        <a:pt x="289795" y="9966"/>
                      </a:cubicBezTo>
                      <a:cubicBezTo>
                        <a:pt x="283543" y="16217"/>
                        <a:pt x="270901" y="28859"/>
                        <a:pt x="258259" y="28859"/>
                      </a:cubicBezTo>
                      <a:cubicBezTo>
                        <a:pt x="252007" y="28859"/>
                        <a:pt x="239365" y="22608"/>
                        <a:pt x="239365" y="35111"/>
                      </a:cubicBezTo>
                      <a:cubicBezTo>
                        <a:pt x="226723" y="54005"/>
                        <a:pt x="214220" y="35111"/>
                        <a:pt x="201578" y="35111"/>
                      </a:cubicBezTo>
                      <a:cubicBezTo>
                        <a:pt x="188936" y="35111"/>
                        <a:pt x="188936" y="47614"/>
                        <a:pt x="176433" y="35111"/>
                      </a:cubicBezTo>
                      <a:cubicBezTo>
                        <a:pt x="170181" y="35111"/>
                        <a:pt x="151288" y="35111"/>
                        <a:pt x="144897" y="35111"/>
                      </a:cubicBezTo>
                      <a:cubicBezTo>
                        <a:pt x="126003" y="35111"/>
                        <a:pt x="132255" y="91653"/>
                        <a:pt x="151149" y="104156"/>
                      </a:cubicBezTo>
                      <a:cubicBezTo>
                        <a:pt x="151149" y="104156"/>
                        <a:pt x="151149" y="116659"/>
                        <a:pt x="157400" y="116659"/>
                      </a:cubicBezTo>
                      <a:cubicBezTo>
                        <a:pt x="157400" y="122911"/>
                        <a:pt x="163652" y="122911"/>
                        <a:pt x="170042" y="129162"/>
                      </a:cubicBezTo>
                      <a:cubicBezTo>
                        <a:pt x="170042" y="141665"/>
                        <a:pt x="170042" y="160559"/>
                        <a:pt x="170042" y="166811"/>
                      </a:cubicBezTo>
                      <a:cubicBezTo>
                        <a:pt x="170042" y="179314"/>
                        <a:pt x="176294" y="185704"/>
                        <a:pt x="157400" y="185704"/>
                      </a:cubicBezTo>
                      <a:cubicBezTo>
                        <a:pt x="151149" y="185704"/>
                        <a:pt x="151149" y="204598"/>
                        <a:pt x="151149" y="210849"/>
                      </a:cubicBezTo>
                      <a:cubicBezTo>
                        <a:pt x="144897" y="204598"/>
                        <a:pt x="132255" y="191955"/>
                        <a:pt x="126003" y="185704"/>
                      </a:cubicBezTo>
                      <a:cubicBezTo>
                        <a:pt x="119752" y="173201"/>
                        <a:pt x="132255" y="160559"/>
                        <a:pt x="132255" y="148056"/>
                      </a:cubicBezTo>
                      <a:cubicBezTo>
                        <a:pt x="138506" y="116659"/>
                        <a:pt x="119613" y="141804"/>
                        <a:pt x="100720" y="129162"/>
                      </a:cubicBezTo>
                      <a:cubicBezTo>
                        <a:pt x="94468" y="122911"/>
                        <a:pt x="94468" y="110269"/>
                        <a:pt x="81826" y="116659"/>
                      </a:cubicBezTo>
                      <a:cubicBezTo>
                        <a:pt x="56681" y="129162"/>
                        <a:pt x="37787" y="135553"/>
                        <a:pt x="12642" y="141804"/>
                      </a:cubicBezTo>
                      <a:cubicBezTo>
                        <a:pt x="6391" y="148056"/>
                        <a:pt x="0" y="148056"/>
                        <a:pt x="0" y="154307"/>
                      </a:cubicBezTo>
                      <a:cubicBezTo>
                        <a:pt x="0" y="160559"/>
                        <a:pt x="6252" y="173201"/>
                        <a:pt x="6252" y="179452"/>
                      </a:cubicBezTo>
                      <a:cubicBezTo>
                        <a:pt x="25145" y="179452"/>
                        <a:pt x="75574" y="191955"/>
                        <a:pt x="75574" y="210849"/>
                      </a:cubicBezTo>
                      <a:cubicBezTo>
                        <a:pt x="81826" y="229743"/>
                        <a:pt x="81826" y="248498"/>
                        <a:pt x="81826" y="267391"/>
                      </a:cubicBezTo>
                      <a:cubicBezTo>
                        <a:pt x="75574" y="279894"/>
                        <a:pt x="88077" y="298788"/>
                        <a:pt x="75574" y="317681"/>
                      </a:cubicBezTo>
                      <a:cubicBezTo>
                        <a:pt x="62932" y="336575"/>
                        <a:pt x="50429" y="361720"/>
                        <a:pt x="37787" y="380475"/>
                      </a:cubicBezTo>
                      <a:cubicBezTo>
                        <a:pt x="25145" y="392978"/>
                        <a:pt x="37787" y="418123"/>
                        <a:pt x="37787" y="424514"/>
                      </a:cubicBezTo>
                      <a:cubicBezTo>
                        <a:pt x="50429" y="449659"/>
                        <a:pt x="50429" y="462162"/>
                        <a:pt x="50429" y="481056"/>
                      </a:cubicBezTo>
                      <a:cubicBezTo>
                        <a:pt x="50429" y="499949"/>
                        <a:pt x="50429" y="518704"/>
                        <a:pt x="56681" y="537597"/>
                      </a:cubicBezTo>
                      <a:cubicBezTo>
                        <a:pt x="56681" y="543849"/>
                        <a:pt x="75574" y="537597"/>
                        <a:pt x="75574" y="531346"/>
                      </a:cubicBezTo>
                      <a:cubicBezTo>
                        <a:pt x="81826" y="525094"/>
                        <a:pt x="81826" y="512452"/>
                        <a:pt x="81826" y="512452"/>
                      </a:cubicBezTo>
                      <a:cubicBezTo>
                        <a:pt x="75574" y="512452"/>
                        <a:pt x="69184" y="512452"/>
                        <a:pt x="69184" y="512452"/>
                      </a:cubicBezTo>
                      <a:cubicBezTo>
                        <a:pt x="69184" y="493559"/>
                        <a:pt x="88077" y="481056"/>
                        <a:pt x="100720" y="474804"/>
                      </a:cubicBezTo>
                      <a:cubicBezTo>
                        <a:pt x="119613" y="468552"/>
                        <a:pt x="144758" y="462301"/>
                        <a:pt x="157400" y="443407"/>
                      </a:cubicBezTo>
                      <a:cubicBezTo>
                        <a:pt x="157400" y="437156"/>
                        <a:pt x="157400" y="405759"/>
                        <a:pt x="157400" y="393117"/>
                      </a:cubicBezTo>
                      <a:cubicBezTo>
                        <a:pt x="157400" y="380614"/>
                        <a:pt x="132255" y="292536"/>
                        <a:pt x="132255" y="292536"/>
                      </a:cubicBezTo>
                      <a:cubicBezTo>
                        <a:pt x="138506" y="286285"/>
                        <a:pt x="138506" y="305178"/>
                        <a:pt x="151149" y="292536"/>
                      </a:cubicBezTo>
                      <a:cubicBezTo>
                        <a:pt x="163791" y="280033"/>
                        <a:pt x="170042" y="273643"/>
                        <a:pt x="182685" y="267391"/>
                      </a:cubicBezTo>
                      <a:cubicBezTo>
                        <a:pt x="195327" y="261139"/>
                        <a:pt x="201578" y="223352"/>
                        <a:pt x="220471" y="229743"/>
                      </a:cubicBezTo>
                      <a:cubicBezTo>
                        <a:pt x="226723" y="229743"/>
                        <a:pt x="239365" y="217101"/>
                        <a:pt x="252007" y="217101"/>
                      </a:cubicBezTo>
                      <a:cubicBezTo>
                        <a:pt x="264649" y="210849"/>
                        <a:pt x="277153" y="204598"/>
                        <a:pt x="289795" y="191955"/>
                      </a:cubicBezTo>
                      <a:cubicBezTo>
                        <a:pt x="296046" y="185982"/>
                        <a:pt x="333833" y="148195"/>
                        <a:pt x="327582" y="135691"/>
                      </a:cubicBezTo>
                      <a:cubicBezTo>
                        <a:pt x="321330" y="129440"/>
                        <a:pt x="327582" y="141943"/>
                        <a:pt x="327582" y="1356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4" name="Freihandform: Form 373">
                  <a:extLst>
                    <a:ext uri="{FF2B5EF4-FFF2-40B4-BE49-F238E27FC236}">
                      <a16:creationId xmlns:a16="http://schemas.microsoft.com/office/drawing/2014/main" id="{DE77F82C-476F-4DFB-978A-2A54011CFE71}"/>
                    </a:ext>
                  </a:extLst>
                </p:cNvPr>
                <p:cNvSpPr/>
                <p:nvPr/>
              </p:nvSpPr>
              <p:spPr>
                <a:xfrm>
                  <a:off x="7086484" y="4832017"/>
                  <a:ext cx="85897" cy="238392"/>
                </a:xfrm>
                <a:custGeom>
                  <a:avLst/>
                  <a:gdLst>
                    <a:gd name="connsiteX0" fmla="*/ 19123 w 85897"/>
                    <a:gd name="connsiteY0" fmla="*/ 156845 h 238392"/>
                    <a:gd name="connsiteX1" fmla="*/ 48853 w 85897"/>
                    <a:gd name="connsiteY1" fmla="*/ 163096 h 238392"/>
                    <a:gd name="connsiteX2" fmla="*/ 42879 w 85897"/>
                    <a:gd name="connsiteY2" fmla="*/ 194493 h 238392"/>
                    <a:gd name="connsiteX3" fmla="*/ 66774 w 85897"/>
                    <a:gd name="connsiteY3" fmla="*/ 238393 h 238392"/>
                    <a:gd name="connsiteX4" fmla="*/ 66774 w 85897"/>
                    <a:gd name="connsiteY4" fmla="*/ 213248 h 238392"/>
                    <a:gd name="connsiteX5" fmla="*/ 84695 w 85897"/>
                    <a:gd name="connsiteY5" fmla="*/ 206996 h 238392"/>
                    <a:gd name="connsiteX6" fmla="*/ 84695 w 85897"/>
                    <a:gd name="connsiteY6" fmla="*/ 169348 h 238392"/>
                    <a:gd name="connsiteX7" fmla="*/ 66774 w 85897"/>
                    <a:gd name="connsiteY7" fmla="*/ 137951 h 238392"/>
                    <a:gd name="connsiteX8" fmla="*/ 42879 w 85897"/>
                    <a:gd name="connsiteY8" fmla="*/ 125448 h 238392"/>
                    <a:gd name="connsiteX9" fmla="*/ 42879 w 85897"/>
                    <a:gd name="connsiteY9" fmla="*/ 100303 h 238392"/>
                    <a:gd name="connsiteX10" fmla="*/ 36906 w 85897"/>
                    <a:gd name="connsiteY10" fmla="*/ 87800 h 238392"/>
                    <a:gd name="connsiteX11" fmla="*/ 42879 w 85897"/>
                    <a:gd name="connsiteY11" fmla="*/ 50151 h 238392"/>
                    <a:gd name="connsiteX12" fmla="*/ 36906 w 85897"/>
                    <a:gd name="connsiteY12" fmla="*/ 18755 h 238392"/>
                    <a:gd name="connsiteX13" fmla="*/ 36906 w 85897"/>
                    <a:gd name="connsiteY13" fmla="*/ 6252 h 238392"/>
                    <a:gd name="connsiteX14" fmla="*/ 7176 w 85897"/>
                    <a:gd name="connsiteY14" fmla="*/ 0 h 238392"/>
                    <a:gd name="connsiteX15" fmla="*/ 19123 w 85897"/>
                    <a:gd name="connsiteY15" fmla="*/ 37648 h 238392"/>
                    <a:gd name="connsiteX16" fmla="*/ 19123 w 85897"/>
                    <a:gd name="connsiteY16" fmla="*/ 87800 h 238392"/>
                    <a:gd name="connsiteX17" fmla="*/ 7176 w 85897"/>
                    <a:gd name="connsiteY17" fmla="*/ 100303 h 238392"/>
                    <a:gd name="connsiteX18" fmla="*/ 1202 w 85897"/>
                    <a:gd name="connsiteY18" fmla="*/ 125448 h 238392"/>
                    <a:gd name="connsiteX19" fmla="*/ 19123 w 85897"/>
                    <a:gd name="connsiteY19" fmla="*/ 156845 h 238392"/>
                    <a:gd name="connsiteX20" fmla="*/ 19123 w 85897"/>
                    <a:gd name="connsiteY20" fmla="*/ 156845 h 23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897" h="238392">
                      <a:moveTo>
                        <a:pt x="19123" y="156845"/>
                      </a:moveTo>
                      <a:cubicBezTo>
                        <a:pt x="31071" y="163096"/>
                        <a:pt x="48853" y="150593"/>
                        <a:pt x="48853" y="163096"/>
                      </a:cubicBezTo>
                      <a:cubicBezTo>
                        <a:pt x="54827" y="175599"/>
                        <a:pt x="48853" y="181851"/>
                        <a:pt x="42879" y="194493"/>
                      </a:cubicBezTo>
                      <a:cubicBezTo>
                        <a:pt x="30932" y="206996"/>
                        <a:pt x="54827" y="225889"/>
                        <a:pt x="66774" y="238393"/>
                      </a:cubicBezTo>
                      <a:cubicBezTo>
                        <a:pt x="72748" y="232141"/>
                        <a:pt x="66774" y="219638"/>
                        <a:pt x="66774" y="213248"/>
                      </a:cubicBezTo>
                      <a:cubicBezTo>
                        <a:pt x="72748" y="206996"/>
                        <a:pt x="90669" y="219499"/>
                        <a:pt x="84695" y="206996"/>
                      </a:cubicBezTo>
                      <a:cubicBezTo>
                        <a:pt x="84695" y="194493"/>
                        <a:pt x="84695" y="181851"/>
                        <a:pt x="84695" y="169348"/>
                      </a:cubicBezTo>
                      <a:cubicBezTo>
                        <a:pt x="78722" y="156845"/>
                        <a:pt x="72748" y="150593"/>
                        <a:pt x="66774" y="137951"/>
                      </a:cubicBezTo>
                      <a:cubicBezTo>
                        <a:pt x="60800" y="156705"/>
                        <a:pt x="42879" y="131699"/>
                        <a:pt x="42879" y="125448"/>
                      </a:cubicBezTo>
                      <a:cubicBezTo>
                        <a:pt x="42879" y="112945"/>
                        <a:pt x="42879" y="106693"/>
                        <a:pt x="42879" y="100303"/>
                      </a:cubicBezTo>
                      <a:cubicBezTo>
                        <a:pt x="42879" y="87800"/>
                        <a:pt x="42879" y="94051"/>
                        <a:pt x="36906" y="87800"/>
                      </a:cubicBezTo>
                      <a:cubicBezTo>
                        <a:pt x="30932" y="87800"/>
                        <a:pt x="42879" y="50151"/>
                        <a:pt x="42879" y="50151"/>
                      </a:cubicBezTo>
                      <a:cubicBezTo>
                        <a:pt x="42879" y="37648"/>
                        <a:pt x="36906" y="31397"/>
                        <a:pt x="36906" y="18755"/>
                      </a:cubicBezTo>
                      <a:cubicBezTo>
                        <a:pt x="30932" y="12503"/>
                        <a:pt x="24958" y="0"/>
                        <a:pt x="36906" y="6252"/>
                      </a:cubicBezTo>
                      <a:cubicBezTo>
                        <a:pt x="30932" y="0"/>
                        <a:pt x="13011" y="0"/>
                        <a:pt x="7176" y="0"/>
                      </a:cubicBezTo>
                      <a:cubicBezTo>
                        <a:pt x="7176" y="6252"/>
                        <a:pt x="31071" y="31397"/>
                        <a:pt x="19123" y="37648"/>
                      </a:cubicBezTo>
                      <a:cubicBezTo>
                        <a:pt x="1202" y="43900"/>
                        <a:pt x="7176" y="75296"/>
                        <a:pt x="19123" y="87800"/>
                      </a:cubicBezTo>
                      <a:cubicBezTo>
                        <a:pt x="19123" y="94051"/>
                        <a:pt x="7176" y="94051"/>
                        <a:pt x="7176" y="100303"/>
                      </a:cubicBezTo>
                      <a:cubicBezTo>
                        <a:pt x="1202" y="100303"/>
                        <a:pt x="1202" y="119057"/>
                        <a:pt x="1202" y="125448"/>
                      </a:cubicBezTo>
                      <a:cubicBezTo>
                        <a:pt x="-4771" y="138090"/>
                        <a:pt x="13150" y="150593"/>
                        <a:pt x="19123" y="156845"/>
                      </a:cubicBezTo>
                      <a:cubicBezTo>
                        <a:pt x="25097" y="163096"/>
                        <a:pt x="19123" y="150593"/>
                        <a:pt x="19123" y="15684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5" name="Freihandform: Form 374">
                  <a:extLst>
                    <a:ext uri="{FF2B5EF4-FFF2-40B4-BE49-F238E27FC236}">
                      <a16:creationId xmlns:a16="http://schemas.microsoft.com/office/drawing/2014/main" id="{DB2E4FDF-CE4E-47D4-840E-244528A10AA1}"/>
                    </a:ext>
                  </a:extLst>
                </p:cNvPr>
                <p:cNvSpPr/>
                <p:nvPr/>
              </p:nvSpPr>
              <p:spPr>
                <a:xfrm>
                  <a:off x="6753539" y="4784228"/>
                  <a:ext cx="358164" cy="314523"/>
                </a:xfrm>
                <a:custGeom>
                  <a:avLst/>
                  <a:gdLst>
                    <a:gd name="connsiteX0" fmla="*/ 341649 w 358164"/>
                    <a:gd name="connsiteY0" fmla="*/ 188936 h 314523"/>
                    <a:gd name="connsiteX1" fmla="*/ 335398 w 358164"/>
                    <a:gd name="connsiteY1" fmla="*/ 151149 h 314523"/>
                    <a:gd name="connsiteX2" fmla="*/ 347763 w 358164"/>
                    <a:gd name="connsiteY2" fmla="*/ 138507 h 314523"/>
                    <a:gd name="connsiteX3" fmla="*/ 347763 w 358164"/>
                    <a:gd name="connsiteY3" fmla="*/ 119613 h 314523"/>
                    <a:gd name="connsiteX4" fmla="*/ 354014 w 358164"/>
                    <a:gd name="connsiteY4" fmla="*/ 81826 h 314523"/>
                    <a:gd name="connsiteX5" fmla="*/ 341649 w 358164"/>
                    <a:gd name="connsiteY5" fmla="*/ 50429 h 314523"/>
                    <a:gd name="connsiteX6" fmla="*/ 310670 w 358164"/>
                    <a:gd name="connsiteY6" fmla="*/ 31536 h 314523"/>
                    <a:gd name="connsiteX7" fmla="*/ 292054 w 358164"/>
                    <a:gd name="connsiteY7" fmla="*/ 18894 h 314523"/>
                    <a:gd name="connsiteX8" fmla="*/ 273438 w 358164"/>
                    <a:gd name="connsiteY8" fmla="*/ 0 h 314523"/>
                    <a:gd name="connsiteX9" fmla="*/ 230094 w 358164"/>
                    <a:gd name="connsiteY9" fmla="*/ 6252 h 314523"/>
                    <a:gd name="connsiteX10" fmla="*/ 205366 w 358164"/>
                    <a:gd name="connsiteY10" fmla="*/ 25145 h 314523"/>
                    <a:gd name="connsiteX11" fmla="*/ 211617 w 358164"/>
                    <a:gd name="connsiteY11" fmla="*/ 62932 h 314523"/>
                    <a:gd name="connsiteX12" fmla="*/ 199253 w 358164"/>
                    <a:gd name="connsiteY12" fmla="*/ 106971 h 314523"/>
                    <a:gd name="connsiteX13" fmla="*/ 223982 w 358164"/>
                    <a:gd name="connsiteY13" fmla="*/ 132116 h 314523"/>
                    <a:gd name="connsiteX14" fmla="*/ 242597 w 358164"/>
                    <a:gd name="connsiteY14" fmla="*/ 144758 h 314523"/>
                    <a:gd name="connsiteX15" fmla="*/ 236346 w 358164"/>
                    <a:gd name="connsiteY15" fmla="*/ 163652 h 314523"/>
                    <a:gd name="connsiteX16" fmla="*/ 211617 w 358164"/>
                    <a:gd name="connsiteY16" fmla="*/ 163652 h 314523"/>
                    <a:gd name="connsiteX17" fmla="*/ 186889 w 358164"/>
                    <a:gd name="connsiteY17" fmla="*/ 138507 h 314523"/>
                    <a:gd name="connsiteX18" fmla="*/ 162161 w 358164"/>
                    <a:gd name="connsiteY18" fmla="*/ 107110 h 314523"/>
                    <a:gd name="connsiteX19" fmla="*/ 118816 w 358164"/>
                    <a:gd name="connsiteY19" fmla="*/ 113362 h 314523"/>
                    <a:gd name="connsiteX20" fmla="*/ 94088 w 358164"/>
                    <a:gd name="connsiteY20" fmla="*/ 100720 h 314523"/>
                    <a:gd name="connsiteX21" fmla="*/ 81724 w 358164"/>
                    <a:gd name="connsiteY21" fmla="*/ 100720 h 314523"/>
                    <a:gd name="connsiteX22" fmla="*/ 63108 w 358164"/>
                    <a:gd name="connsiteY22" fmla="*/ 88078 h 314523"/>
                    <a:gd name="connsiteX23" fmla="*/ 63108 w 358164"/>
                    <a:gd name="connsiteY23" fmla="*/ 125865 h 314523"/>
                    <a:gd name="connsiteX24" fmla="*/ 56856 w 358164"/>
                    <a:gd name="connsiteY24" fmla="*/ 151010 h 314523"/>
                    <a:gd name="connsiteX25" fmla="*/ 7261 w 358164"/>
                    <a:gd name="connsiteY25" fmla="*/ 151010 h 314523"/>
                    <a:gd name="connsiteX26" fmla="*/ 1009 w 358164"/>
                    <a:gd name="connsiteY26" fmla="*/ 182407 h 314523"/>
                    <a:gd name="connsiteX27" fmla="*/ 13373 w 358164"/>
                    <a:gd name="connsiteY27" fmla="*/ 270484 h 314523"/>
                    <a:gd name="connsiteX28" fmla="*/ 44353 w 358164"/>
                    <a:gd name="connsiteY28" fmla="*/ 301881 h 314523"/>
                    <a:gd name="connsiteX29" fmla="*/ 93949 w 358164"/>
                    <a:gd name="connsiteY29" fmla="*/ 314523 h 314523"/>
                    <a:gd name="connsiteX30" fmla="*/ 106313 w 358164"/>
                    <a:gd name="connsiteY30" fmla="*/ 314523 h 314523"/>
                    <a:gd name="connsiteX31" fmla="*/ 131042 w 358164"/>
                    <a:gd name="connsiteY31" fmla="*/ 314523 h 314523"/>
                    <a:gd name="connsiteX32" fmla="*/ 168273 w 358164"/>
                    <a:gd name="connsiteY32" fmla="*/ 295629 h 314523"/>
                    <a:gd name="connsiteX33" fmla="*/ 186889 w 358164"/>
                    <a:gd name="connsiteY33" fmla="*/ 276736 h 314523"/>
                    <a:gd name="connsiteX34" fmla="*/ 211617 w 358164"/>
                    <a:gd name="connsiteY34" fmla="*/ 257842 h 314523"/>
                    <a:gd name="connsiteX35" fmla="*/ 223982 w 358164"/>
                    <a:gd name="connsiteY35" fmla="*/ 238949 h 314523"/>
                    <a:gd name="connsiteX36" fmla="*/ 261213 w 358164"/>
                    <a:gd name="connsiteY36" fmla="*/ 238949 h 314523"/>
                    <a:gd name="connsiteX37" fmla="*/ 254961 w 358164"/>
                    <a:gd name="connsiteY37" fmla="*/ 220055 h 314523"/>
                    <a:gd name="connsiteX38" fmla="*/ 279690 w 358164"/>
                    <a:gd name="connsiteY38" fmla="*/ 207413 h 314523"/>
                    <a:gd name="connsiteX39" fmla="*/ 341649 w 358164"/>
                    <a:gd name="connsiteY39" fmla="*/ 188936 h 314523"/>
                    <a:gd name="connsiteX40" fmla="*/ 341649 w 358164"/>
                    <a:gd name="connsiteY40" fmla="*/ 188936 h 314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8164" h="314523">
                      <a:moveTo>
                        <a:pt x="341649" y="188936"/>
                      </a:moveTo>
                      <a:cubicBezTo>
                        <a:pt x="329285" y="170043"/>
                        <a:pt x="341649" y="170043"/>
                        <a:pt x="335398" y="151149"/>
                      </a:cubicBezTo>
                      <a:cubicBezTo>
                        <a:pt x="335398" y="144897"/>
                        <a:pt x="341649" y="144897"/>
                        <a:pt x="347763" y="138507"/>
                      </a:cubicBezTo>
                      <a:cubicBezTo>
                        <a:pt x="354014" y="132255"/>
                        <a:pt x="347763" y="125865"/>
                        <a:pt x="347763" y="119613"/>
                      </a:cubicBezTo>
                      <a:cubicBezTo>
                        <a:pt x="341511" y="106971"/>
                        <a:pt x="341511" y="88216"/>
                        <a:pt x="354014" y="81826"/>
                      </a:cubicBezTo>
                      <a:cubicBezTo>
                        <a:pt x="366378" y="75575"/>
                        <a:pt x="347763" y="56681"/>
                        <a:pt x="341649" y="50429"/>
                      </a:cubicBezTo>
                      <a:cubicBezTo>
                        <a:pt x="335398" y="37787"/>
                        <a:pt x="323034" y="31536"/>
                        <a:pt x="310670" y="31536"/>
                      </a:cubicBezTo>
                      <a:cubicBezTo>
                        <a:pt x="304418" y="25284"/>
                        <a:pt x="298306" y="18894"/>
                        <a:pt x="292054" y="18894"/>
                      </a:cubicBezTo>
                      <a:cubicBezTo>
                        <a:pt x="285803" y="12642"/>
                        <a:pt x="279690" y="6252"/>
                        <a:pt x="273438" y="0"/>
                      </a:cubicBezTo>
                      <a:cubicBezTo>
                        <a:pt x="273438" y="0"/>
                        <a:pt x="236207" y="6252"/>
                        <a:pt x="230094" y="6252"/>
                      </a:cubicBezTo>
                      <a:cubicBezTo>
                        <a:pt x="217730" y="6252"/>
                        <a:pt x="217730" y="18894"/>
                        <a:pt x="205366" y="25145"/>
                      </a:cubicBezTo>
                      <a:cubicBezTo>
                        <a:pt x="199114" y="37787"/>
                        <a:pt x="205366" y="56542"/>
                        <a:pt x="211617" y="62932"/>
                      </a:cubicBezTo>
                      <a:cubicBezTo>
                        <a:pt x="211617" y="81826"/>
                        <a:pt x="199253" y="88078"/>
                        <a:pt x="199253" y="106971"/>
                      </a:cubicBezTo>
                      <a:cubicBezTo>
                        <a:pt x="199253" y="113223"/>
                        <a:pt x="211617" y="132116"/>
                        <a:pt x="223982" y="132116"/>
                      </a:cubicBezTo>
                      <a:cubicBezTo>
                        <a:pt x="236346" y="132116"/>
                        <a:pt x="242597" y="125865"/>
                        <a:pt x="242597" y="144758"/>
                      </a:cubicBezTo>
                      <a:cubicBezTo>
                        <a:pt x="242597" y="157400"/>
                        <a:pt x="242597" y="163652"/>
                        <a:pt x="236346" y="163652"/>
                      </a:cubicBezTo>
                      <a:cubicBezTo>
                        <a:pt x="223982" y="169904"/>
                        <a:pt x="217730" y="176294"/>
                        <a:pt x="211617" y="163652"/>
                      </a:cubicBezTo>
                      <a:cubicBezTo>
                        <a:pt x="205366" y="151010"/>
                        <a:pt x="199253" y="138507"/>
                        <a:pt x="186889" y="138507"/>
                      </a:cubicBezTo>
                      <a:cubicBezTo>
                        <a:pt x="174525" y="132255"/>
                        <a:pt x="168273" y="119613"/>
                        <a:pt x="162161" y="107110"/>
                      </a:cubicBezTo>
                      <a:cubicBezTo>
                        <a:pt x="149796" y="132255"/>
                        <a:pt x="137432" y="119752"/>
                        <a:pt x="118816" y="113362"/>
                      </a:cubicBezTo>
                      <a:cubicBezTo>
                        <a:pt x="106452" y="113362"/>
                        <a:pt x="106452" y="100720"/>
                        <a:pt x="94088" y="100720"/>
                      </a:cubicBezTo>
                      <a:cubicBezTo>
                        <a:pt x="94088" y="100720"/>
                        <a:pt x="87836" y="106971"/>
                        <a:pt x="81724" y="100720"/>
                      </a:cubicBezTo>
                      <a:cubicBezTo>
                        <a:pt x="75472" y="100720"/>
                        <a:pt x="75472" y="88078"/>
                        <a:pt x="63108" y="88078"/>
                      </a:cubicBezTo>
                      <a:cubicBezTo>
                        <a:pt x="63108" y="100720"/>
                        <a:pt x="63108" y="113223"/>
                        <a:pt x="63108" y="125865"/>
                      </a:cubicBezTo>
                      <a:cubicBezTo>
                        <a:pt x="63108" y="138507"/>
                        <a:pt x="69359" y="151010"/>
                        <a:pt x="56856" y="151010"/>
                      </a:cubicBezTo>
                      <a:cubicBezTo>
                        <a:pt x="38240" y="151010"/>
                        <a:pt x="19625" y="151010"/>
                        <a:pt x="7261" y="151010"/>
                      </a:cubicBezTo>
                      <a:cubicBezTo>
                        <a:pt x="1009" y="151010"/>
                        <a:pt x="1009" y="176155"/>
                        <a:pt x="1009" y="182407"/>
                      </a:cubicBezTo>
                      <a:cubicBezTo>
                        <a:pt x="1009" y="207552"/>
                        <a:pt x="-5242" y="251591"/>
                        <a:pt x="13373" y="270484"/>
                      </a:cubicBezTo>
                      <a:cubicBezTo>
                        <a:pt x="19625" y="276736"/>
                        <a:pt x="38101" y="301881"/>
                        <a:pt x="44353" y="301881"/>
                      </a:cubicBezTo>
                      <a:cubicBezTo>
                        <a:pt x="56718" y="295629"/>
                        <a:pt x="112565" y="295629"/>
                        <a:pt x="93949" y="314523"/>
                      </a:cubicBezTo>
                      <a:cubicBezTo>
                        <a:pt x="106313" y="314523"/>
                        <a:pt x="100201" y="314523"/>
                        <a:pt x="106313" y="314523"/>
                      </a:cubicBezTo>
                      <a:cubicBezTo>
                        <a:pt x="118677" y="308272"/>
                        <a:pt x="124929" y="314523"/>
                        <a:pt x="131042" y="314523"/>
                      </a:cubicBezTo>
                      <a:cubicBezTo>
                        <a:pt x="149657" y="314523"/>
                        <a:pt x="162021" y="314523"/>
                        <a:pt x="168273" y="295629"/>
                      </a:cubicBezTo>
                      <a:cubicBezTo>
                        <a:pt x="174525" y="289378"/>
                        <a:pt x="180637" y="282987"/>
                        <a:pt x="186889" y="276736"/>
                      </a:cubicBezTo>
                      <a:cubicBezTo>
                        <a:pt x="193140" y="270484"/>
                        <a:pt x="205504" y="270484"/>
                        <a:pt x="211617" y="257842"/>
                      </a:cubicBezTo>
                      <a:cubicBezTo>
                        <a:pt x="217869" y="251591"/>
                        <a:pt x="217869" y="245200"/>
                        <a:pt x="223982" y="238949"/>
                      </a:cubicBezTo>
                      <a:cubicBezTo>
                        <a:pt x="236346" y="238949"/>
                        <a:pt x="248710" y="238949"/>
                        <a:pt x="261213" y="238949"/>
                      </a:cubicBezTo>
                      <a:cubicBezTo>
                        <a:pt x="254961" y="232697"/>
                        <a:pt x="254961" y="220055"/>
                        <a:pt x="254961" y="220055"/>
                      </a:cubicBezTo>
                      <a:cubicBezTo>
                        <a:pt x="267325" y="213804"/>
                        <a:pt x="273577" y="213804"/>
                        <a:pt x="279690" y="207413"/>
                      </a:cubicBezTo>
                      <a:cubicBezTo>
                        <a:pt x="298167" y="201578"/>
                        <a:pt x="323034" y="195188"/>
                        <a:pt x="341649" y="188936"/>
                      </a:cubicBezTo>
                      <a:cubicBezTo>
                        <a:pt x="335398" y="182684"/>
                        <a:pt x="335398" y="188936"/>
                        <a:pt x="341649" y="18893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6" name="Freihandform: Form 375">
                  <a:extLst>
                    <a:ext uri="{FF2B5EF4-FFF2-40B4-BE49-F238E27FC236}">
                      <a16:creationId xmlns:a16="http://schemas.microsoft.com/office/drawing/2014/main" id="{75C56FED-25BE-4B43-A08A-04DAF9FB1F0A}"/>
                    </a:ext>
                  </a:extLst>
                </p:cNvPr>
                <p:cNvSpPr/>
                <p:nvPr/>
              </p:nvSpPr>
              <p:spPr>
                <a:xfrm>
                  <a:off x="6467123" y="5070410"/>
                  <a:ext cx="377211" cy="389368"/>
                </a:xfrm>
                <a:custGeom>
                  <a:avLst/>
                  <a:gdLst>
                    <a:gd name="connsiteX0" fmla="*/ 196570 w 377211"/>
                    <a:gd name="connsiteY0" fmla="*/ 30980 h 389368"/>
                    <a:gd name="connsiteX1" fmla="*/ 184344 w 377211"/>
                    <a:gd name="connsiteY1" fmla="*/ 12364 h 389368"/>
                    <a:gd name="connsiteX2" fmla="*/ 166007 w 377211"/>
                    <a:gd name="connsiteY2" fmla="*/ 12364 h 389368"/>
                    <a:gd name="connsiteX3" fmla="*/ 104880 w 377211"/>
                    <a:gd name="connsiteY3" fmla="*/ 12364 h 389368"/>
                    <a:gd name="connsiteX4" fmla="*/ 55979 w 377211"/>
                    <a:gd name="connsiteY4" fmla="*/ 12364 h 389368"/>
                    <a:gd name="connsiteX5" fmla="*/ 37641 w 377211"/>
                    <a:gd name="connsiteY5" fmla="*/ 0 h 389368"/>
                    <a:gd name="connsiteX6" fmla="*/ 19303 w 377211"/>
                    <a:gd name="connsiteY6" fmla="*/ 12364 h 389368"/>
                    <a:gd name="connsiteX7" fmla="*/ 965 w 377211"/>
                    <a:gd name="connsiteY7" fmla="*/ 12364 h 389368"/>
                    <a:gd name="connsiteX8" fmla="*/ 31528 w 377211"/>
                    <a:gd name="connsiteY8" fmla="*/ 86827 h 389368"/>
                    <a:gd name="connsiteX9" fmla="*/ 49866 w 377211"/>
                    <a:gd name="connsiteY9" fmla="*/ 130310 h 389368"/>
                    <a:gd name="connsiteX10" fmla="*/ 74317 w 377211"/>
                    <a:gd name="connsiteY10" fmla="*/ 179906 h 389368"/>
                    <a:gd name="connsiteX11" fmla="*/ 74317 w 377211"/>
                    <a:gd name="connsiteY11" fmla="*/ 210886 h 389368"/>
                    <a:gd name="connsiteX12" fmla="*/ 80429 w 377211"/>
                    <a:gd name="connsiteY12" fmla="*/ 260482 h 389368"/>
                    <a:gd name="connsiteX13" fmla="*/ 92654 w 377211"/>
                    <a:gd name="connsiteY13" fmla="*/ 316329 h 389368"/>
                    <a:gd name="connsiteX14" fmla="*/ 129330 w 377211"/>
                    <a:gd name="connsiteY14" fmla="*/ 378428 h 389368"/>
                    <a:gd name="connsiteX15" fmla="*/ 166007 w 377211"/>
                    <a:gd name="connsiteY15" fmla="*/ 384680 h 389368"/>
                    <a:gd name="connsiteX16" fmla="*/ 196570 w 377211"/>
                    <a:gd name="connsiteY16" fmla="*/ 384680 h 389368"/>
                    <a:gd name="connsiteX17" fmla="*/ 227133 w 377211"/>
                    <a:gd name="connsiteY17" fmla="*/ 359812 h 389368"/>
                    <a:gd name="connsiteX18" fmla="*/ 227133 w 377211"/>
                    <a:gd name="connsiteY18" fmla="*/ 248118 h 389368"/>
                    <a:gd name="connsiteX19" fmla="*/ 227133 w 377211"/>
                    <a:gd name="connsiteY19" fmla="*/ 173654 h 389368"/>
                    <a:gd name="connsiteX20" fmla="*/ 233245 w 377211"/>
                    <a:gd name="connsiteY20" fmla="*/ 161290 h 389368"/>
                    <a:gd name="connsiteX21" fmla="*/ 257696 w 377211"/>
                    <a:gd name="connsiteY21" fmla="*/ 161290 h 389368"/>
                    <a:gd name="connsiteX22" fmla="*/ 257696 w 377211"/>
                    <a:gd name="connsiteY22" fmla="*/ 43483 h 389368"/>
                    <a:gd name="connsiteX23" fmla="*/ 306597 w 377211"/>
                    <a:gd name="connsiteY23" fmla="*/ 37232 h 389368"/>
                    <a:gd name="connsiteX24" fmla="*/ 318822 w 377211"/>
                    <a:gd name="connsiteY24" fmla="*/ 30980 h 389368"/>
                    <a:gd name="connsiteX25" fmla="*/ 337160 w 377211"/>
                    <a:gd name="connsiteY25" fmla="*/ 49596 h 389368"/>
                    <a:gd name="connsiteX26" fmla="*/ 349386 w 377211"/>
                    <a:gd name="connsiteY26" fmla="*/ 37232 h 389368"/>
                    <a:gd name="connsiteX27" fmla="*/ 373836 w 377211"/>
                    <a:gd name="connsiteY27" fmla="*/ 30980 h 389368"/>
                    <a:gd name="connsiteX28" fmla="*/ 355498 w 377211"/>
                    <a:gd name="connsiteY28" fmla="*/ 12364 h 389368"/>
                    <a:gd name="connsiteX29" fmla="*/ 270060 w 377211"/>
                    <a:gd name="connsiteY29" fmla="*/ 30980 h 389368"/>
                    <a:gd name="connsiteX30" fmla="*/ 196570 w 377211"/>
                    <a:gd name="connsiteY30" fmla="*/ 30980 h 38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7211" h="389368">
                      <a:moveTo>
                        <a:pt x="196570" y="30980"/>
                      </a:moveTo>
                      <a:cubicBezTo>
                        <a:pt x="190457" y="30980"/>
                        <a:pt x="184344" y="12364"/>
                        <a:pt x="184344" y="12364"/>
                      </a:cubicBezTo>
                      <a:cubicBezTo>
                        <a:pt x="178232" y="12364"/>
                        <a:pt x="172119" y="12364"/>
                        <a:pt x="166007" y="12364"/>
                      </a:cubicBezTo>
                      <a:cubicBezTo>
                        <a:pt x="147668" y="12364"/>
                        <a:pt x="123218" y="12364"/>
                        <a:pt x="104880" y="12364"/>
                      </a:cubicBezTo>
                      <a:cubicBezTo>
                        <a:pt x="86542" y="12364"/>
                        <a:pt x="74317" y="12364"/>
                        <a:pt x="55979" y="12364"/>
                      </a:cubicBezTo>
                      <a:cubicBezTo>
                        <a:pt x="49866" y="12364"/>
                        <a:pt x="49866" y="0"/>
                        <a:pt x="37641" y="0"/>
                      </a:cubicBezTo>
                      <a:cubicBezTo>
                        <a:pt x="31528" y="0"/>
                        <a:pt x="25416" y="12364"/>
                        <a:pt x="19303" y="12364"/>
                      </a:cubicBezTo>
                      <a:cubicBezTo>
                        <a:pt x="13190" y="12364"/>
                        <a:pt x="7078" y="12364"/>
                        <a:pt x="965" y="12364"/>
                      </a:cubicBezTo>
                      <a:cubicBezTo>
                        <a:pt x="-5148" y="43344"/>
                        <a:pt x="19303" y="55847"/>
                        <a:pt x="31528" y="86827"/>
                      </a:cubicBezTo>
                      <a:cubicBezTo>
                        <a:pt x="37641" y="99192"/>
                        <a:pt x="43753" y="117807"/>
                        <a:pt x="49866" y="130310"/>
                      </a:cubicBezTo>
                      <a:cubicBezTo>
                        <a:pt x="55979" y="148926"/>
                        <a:pt x="68204" y="161290"/>
                        <a:pt x="74317" y="179906"/>
                      </a:cubicBezTo>
                      <a:cubicBezTo>
                        <a:pt x="74317" y="186158"/>
                        <a:pt x="74317" y="204774"/>
                        <a:pt x="74317" y="210886"/>
                      </a:cubicBezTo>
                      <a:cubicBezTo>
                        <a:pt x="74317" y="229502"/>
                        <a:pt x="80429" y="241866"/>
                        <a:pt x="80429" y="260482"/>
                      </a:cubicBezTo>
                      <a:cubicBezTo>
                        <a:pt x="86542" y="279098"/>
                        <a:pt x="86542" y="297713"/>
                        <a:pt x="92654" y="316329"/>
                      </a:cubicBezTo>
                      <a:cubicBezTo>
                        <a:pt x="98767" y="341196"/>
                        <a:pt x="117105" y="359812"/>
                        <a:pt x="129330" y="378428"/>
                      </a:cubicBezTo>
                      <a:cubicBezTo>
                        <a:pt x="147668" y="359812"/>
                        <a:pt x="147668" y="372176"/>
                        <a:pt x="166007" y="384680"/>
                      </a:cubicBezTo>
                      <a:cubicBezTo>
                        <a:pt x="172119" y="390931"/>
                        <a:pt x="190457" y="390931"/>
                        <a:pt x="196570" y="384680"/>
                      </a:cubicBezTo>
                      <a:cubicBezTo>
                        <a:pt x="214907" y="384680"/>
                        <a:pt x="227133" y="378428"/>
                        <a:pt x="227133" y="359812"/>
                      </a:cubicBezTo>
                      <a:cubicBezTo>
                        <a:pt x="227133" y="322580"/>
                        <a:pt x="227133" y="285349"/>
                        <a:pt x="227133" y="248118"/>
                      </a:cubicBezTo>
                      <a:cubicBezTo>
                        <a:pt x="227133" y="223250"/>
                        <a:pt x="227133" y="198522"/>
                        <a:pt x="227133" y="173654"/>
                      </a:cubicBezTo>
                      <a:cubicBezTo>
                        <a:pt x="227133" y="167403"/>
                        <a:pt x="227133" y="161290"/>
                        <a:pt x="233245" y="161290"/>
                      </a:cubicBezTo>
                      <a:lnTo>
                        <a:pt x="257696" y="161290"/>
                      </a:lnTo>
                      <a:cubicBezTo>
                        <a:pt x="257696" y="124059"/>
                        <a:pt x="257696" y="80576"/>
                        <a:pt x="257696" y="43483"/>
                      </a:cubicBezTo>
                      <a:cubicBezTo>
                        <a:pt x="276034" y="49735"/>
                        <a:pt x="288259" y="37232"/>
                        <a:pt x="306597" y="37232"/>
                      </a:cubicBezTo>
                      <a:cubicBezTo>
                        <a:pt x="306597" y="30980"/>
                        <a:pt x="312709" y="30980"/>
                        <a:pt x="318822" y="30980"/>
                      </a:cubicBezTo>
                      <a:cubicBezTo>
                        <a:pt x="318822" y="30980"/>
                        <a:pt x="331047" y="49596"/>
                        <a:pt x="337160" y="49596"/>
                      </a:cubicBezTo>
                      <a:cubicBezTo>
                        <a:pt x="343272" y="43344"/>
                        <a:pt x="337160" y="37232"/>
                        <a:pt x="349386" y="37232"/>
                      </a:cubicBezTo>
                      <a:cubicBezTo>
                        <a:pt x="355498" y="37232"/>
                        <a:pt x="361611" y="30980"/>
                        <a:pt x="373836" y="30980"/>
                      </a:cubicBezTo>
                      <a:cubicBezTo>
                        <a:pt x="386061" y="24728"/>
                        <a:pt x="361611" y="12364"/>
                        <a:pt x="355498" y="12364"/>
                      </a:cubicBezTo>
                      <a:cubicBezTo>
                        <a:pt x="324935" y="12364"/>
                        <a:pt x="300484" y="30980"/>
                        <a:pt x="270060" y="30980"/>
                      </a:cubicBezTo>
                      <a:cubicBezTo>
                        <a:pt x="245470" y="30980"/>
                        <a:pt x="221020" y="30980"/>
                        <a:pt x="196570" y="3098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7" name="Freihandform: Form 376">
                  <a:extLst>
                    <a:ext uri="{FF2B5EF4-FFF2-40B4-BE49-F238E27FC236}">
                      <a16:creationId xmlns:a16="http://schemas.microsoft.com/office/drawing/2014/main" id="{876DA8A5-C5CA-461A-B8D9-0BCD481F1B05}"/>
                    </a:ext>
                  </a:extLst>
                </p:cNvPr>
                <p:cNvSpPr/>
                <p:nvPr/>
              </p:nvSpPr>
              <p:spPr>
                <a:xfrm>
                  <a:off x="6475790" y="4368757"/>
                  <a:ext cx="556743" cy="587457"/>
                </a:xfrm>
                <a:custGeom>
                  <a:avLst/>
                  <a:gdLst>
                    <a:gd name="connsiteX0" fmla="*/ 552159 w 556743"/>
                    <a:gd name="connsiteY0" fmla="*/ 89556 h 587457"/>
                    <a:gd name="connsiteX1" fmla="*/ 545908 w 556743"/>
                    <a:gd name="connsiteY1" fmla="*/ 58437 h 587457"/>
                    <a:gd name="connsiteX2" fmla="*/ 527431 w 556743"/>
                    <a:gd name="connsiteY2" fmla="*/ 39821 h 587457"/>
                    <a:gd name="connsiteX3" fmla="*/ 508954 w 556743"/>
                    <a:gd name="connsiteY3" fmla="*/ 21205 h 587457"/>
                    <a:gd name="connsiteX4" fmla="*/ 490477 w 556743"/>
                    <a:gd name="connsiteY4" fmla="*/ 27457 h 587457"/>
                    <a:gd name="connsiteX5" fmla="*/ 472001 w 556743"/>
                    <a:gd name="connsiteY5" fmla="*/ 33708 h 587457"/>
                    <a:gd name="connsiteX6" fmla="*/ 459636 w 556743"/>
                    <a:gd name="connsiteY6" fmla="*/ 21205 h 587457"/>
                    <a:gd name="connsiteX7" fmla="*/ 441160 w 556743"/>
                    <a:gd name="connsiteY7" fmla="*/ 2589 h 587457"/>
                    <a:gd name="connsiteX8" fmla="*/ 422683 w 556743"/>
                    <a:gd name="connsiteY8" fmla="*/ 8841 h 587457"/>
                    <a:gd name="connsiteX9" fmla="*/ 397954 w 556743"/>
                    <a:gd name="connsiteY9" fmla="*/ 2589 h 587457"/>
                    <a:gd name="connsiteX10" fmla="*/ 373226 w 556743"/>
                    <a:gd name="connsiteY10" fmla="*/ 8841 h 587457"/>
                    <a:gd name="connsiteX11" fmla="*/ 348497 w 556743"/>
                    <a:gd name="connsiteY11" fmla="*/ 8841 h 587457"/>
                    <a:gd name="connsiteX12" fmla="*/ 317657 w 556743"/>
                    <a:gd name="connsiteY12" fmla="*/ 15093 h 587457"/>
                    <a:gd name="connsiteX13" fmla="*/ 292928 w 556743"/>
                    <a:gd name="connsiteY13" fmla="*/ 33708 h 587457"/>
                    <a:gd name="connsiteX14" fmla="*/ 243472 w 556743"/>
                    <a:gd name="connsiteY14" fmla="*/ 27457 h 587457"/>
                    <a:gd name="connsiteX15" fmla="*/ 212630 w 556743"/>
                    <a:gd name="connsiteY15" fmla="*/ 8841 h 587457"/>
                    <a:gd name="connsiteX16" fmla="*/ 187902 w 556743"/>
                    <a:gd name="connsiteY16" fmla="*/ 21344 h 587457"/>
                    <a:gd name="connsiteX17" fmla="*/ 181789 w 556743"/>
                    <a:gd name="connsiteY17" fmla="*/ 71079 h 587457"/>
                    <a:gd name="connsiteX18" fmla="*/ 144697 w 556743"/>
                    <a:gd name="connsiteY18" fmla="*/ 164435 h 587457"/>
                    <a:gd name="connsiteX19" fmla="*/ 113856 w 556743"/>
                    <a:gd name="connsiteY19" fmla="*/ 214170 h 587457"/>
                    <a:gd name="connsiteX20" fmla="*/ 107604 w 556743"/>
                    <a:gd name="connsiteY20" fmla="*/ 251540 h 587457"/>
                    <a:gd name="connsiteX21" fmla="*/ 101491 w 556743"/>
                    <a:gd name="connsiteY21" fmla="*/ 295024 h 587457"/>
                    <a:gd name="connsiteX22" fmla="*/ 64399 w 556743"/>
                    <a:gd name="connsiteY22" fmla="*/ 313639 h 587457"/>
                    <a:gd name="connsiteX23" fmla="*/ 58286 w 556743"/>
                    <a:gd name="connsiteY23" fmla="*/ 301136 h 587457"/>
                    <a:gd name="connsiteX24" fmla="*/ 27445 w 556743"/>
                    <a:gd name="connsiteY24" fmla="*/ 307388 h 587457"/>
                    <a:gd name="connsiteX25" fmla="*/ 8968 w 556743"/>
                    <a:gd name="connsiteY25" fmla="*/ 338507 h 587457"/>
                    <a:gd name="connsiteX26" fmla="*/ 2717 w 556743"/>
                    <a:gd name="connsiteY26" fmla="*/ 344758 h 587457"/>
                    <a:gd name="connsiteX27" fmla="*/ 2717 w 556743"/>
                    <a:gd name="connsiteY27" fmla="*/ 363374 h 587457"/>
                    <a:gd name="connsiteX28" fmla="*/ 76902 w 556743"/>
                    <a:gd name="connsiteY28" fmla="*/ 350871 h 587457"/>
                    <a:gd name="connsiteX29" fmla="*/ 107743 w 556743"/>
                    <a:gd name="connsiteY29" fmla="*/ 350871 h 587457"/>
                    <a:gd name="connsiteX30" fmla="*/ 132471 w 556743"/>
                    <a:gd name="connsiteY30" fmla="*/ 381990 h 587457"/>
                    <a:gd name="connsiteX31" fmla="*/ 157200 w 556743"/>
                    <a:gd name="connsiteY31" fmla="*/ 419360 h 587457"/>
                    <a:gd name="connsiteX32" fmla="*/ 200405 w 556743"/>
                    <a:gd name="connsiteY32" fmla="*/ 413109 h 587457"/>
                    <a:gd name="connsiteX33" fmla="*/ 212769 w 556743"/>
                    <a:gd name="connsiteY33" fmla="*/ 388241 h 587457"/>
                    <a:gd name="connsiteX34" fmla="*/ 237498 w 556743"/>
                    <a:gd name="connsiteY34" fmla="*/ 381990 h 587457"/>
                    <a:gd name="connsiteX35" fmla="*/ 249862 w 556743"/>
                    <a:gd name="connsiteY35" fmla="*/ 394493 h 587457"/>
                    <a:gd name="connsiteX36" fmla="*/ 274590 w 556743"/>
                    <a:gd name="connsiteY36" fmla="*/ 400745 h 587457"/>
                    <a:gd name="connsiteX37" fmla="*/ 280703 w 556743"/>
                    <a:gd name="connsiteY37" fmla="*/ 431863 h 587457"/>
                    <a:gd name="connsiteX38" fmla="*/ 274590 w 556743"/>
                    <a:gd name="connsiteY38" fmla="*/ 456730 h 587457"/>
                    <a:gd name="connsiteX39" fmla="*/ 286954 w 556743"/>
                    <a:gd name="connsiteY39" fmla="*/ 481598 h 587457"/>
                    <a:gd name="connsiteX40" fmla="*/ 286954 w 556743"/>
                    <a:gd name="connsiteY40" fmla="*/ 506465 h 587457"/>
                    <a:gd name="connsiteX41" fmla="*/ 324047 w 556743"/>
                    <a:gd name="connsiteY41" fmla="*/ 506465 h 587457"/>
                    <a:gd name="connsiteX42" fmla="*/ 348775 w 556743"/>
                    <a:gd name="connsiteY42" fmla="*/ 512717 h 587457"/>
                    <a:gd name="connsiteX43" fmla="*/ 367252 w 556743"/>
                    <a:gd name="connsiteY43" fmla="*/ 518968 h 587457"/>
                    <a:gd name="connsiteX44" fmla="*/ 385729 w 556743"/>
                    <a:gd name="connsiteY44" fmla="*/ 531471 h 587457"/>
                    <a:gd name="connsiteX45" fmla="*/ 404206 w 556743"/>
                    <a:gd name="connsiteY45" fmla="*/ 537723 h 587457"/>
                    <a:gd name="connsiteX46" fmla="*/ 435047 w 556743"/>
                    <a:gd name="connsiteY46" fmla="*/ 525220 h 587457"/>
                    <a:gd name="connsiteX47" fmla="*/ 465888 w 556743"/>
                    <a:gd name="connsiteY47" fmla="*/ 556339 h 587457"/>
                    <a:gd name="connsiteX48" fmla="*/ 490617 w 556743"/>
                    <a:gd name="connsiteY48" fmla="*/ 587458 h 587457"/>
                    <a:gd name="connsiteX49" fmla="*/ 515345 w 556743"/>
                    <a:gd name="connsiteY49" fmla="*/ 581206 h 587457"/>
                    <a:gd name="connsiteX50" fmla="*/ 509093 w 556743"/>
                    <a:gd name="connsiteY50" fmla="*/ 550087 h 587457"/>
                    <a:gd name="connsiteX51" fmla="*/ 472001 w 556743"/>
                    <a:gd name="connsiteY51" fmla="*/ 525220 h 587457"/>
                    <a:gd name="connsiteX52" fmla="*/ 478113 w 556743"/>
                    <a:gd name="connsiteY52" fmla="*/ 475485 h 587457"/>
                    <a:gd name="connsiteX53" fmla="*/ 478113 w 556743"/>
                    <a:gd name="connsiteY53" fmla="*/ 450618 h 587457"/>
                    <a:gd name="connsiteX54" fmla="*/ 484365 w 556743"/>
                    <a:gd name="connsiteY54" fmla="*/ 444366 h 587457"/>
                    <a:gd name="connsiteX55" fmla="*/ 490477 w 556743"/>
                    <a:gd name="connsiteY55" fmla="*/ 431863 h 587457"/>
                    <a:gd name="connsiteX56" fmla="*/ 533683 w 556743"/>
                    <a:gd name="connsiteY56" fmla="*/ 419360 h 587457"/>
                    <a:gd name="connsiteX57" fmla="*/ 515206 w 556743"/>
                    <a:gd name="connsiteY57" fmla="*/ 388241 h 587457"/>
                    <a:gd name="connsiteX58" fmla="*/ 502842 w 556743"/>
                    <a:gd name="connsiteY58" fmla="*/ 369625 h 587457"/>
                    <a:gd name="connsiteX59" fmla="*/ 496729 w 556743"/>
                    <a:gd name="connsiteY59" fmla="*/ 338507 h 587457"/>
                    <a:gd name="connsiteX60" fmla="*/ 490477 w 556743"/>
                    <a:gd name="connsiteY60" fmla="*/ 307388 h 587457"/>
                    <a:gd name="connsiteX61" fmla="*/ 496729 w 556743"/>
                    <a:gd name="connsiteY61" fmla="*/ 276269 h 587457"/>
                    <a:gd name="connsiteX62" fmla="*/ 502842 w 556743"/>
                    <a:gd name="connsiteY62" fmla="*/ 214031 h 587457"/>
                    <a:gd name="connsiteX63" fmla="*/ 508954 w 556743"/>
                    <a:gd name="connsiteY63" fmla="*/ 170548 h 587457"/>
                    <a:gd name="connsiteX64" fmla="*/ 533683 w 556743"/>
                    <a:gd name="connsiteY64" fmla="*/ 126926 h 587457"/>
                    <a:gd name="connsiteX65" fmla="*/ 552159 w 556743"/>
                    <a:gd name="connsiteY65" fmla="*/ 108310 h 587457"/>
                    <a:gd name="connsiteX66" fmla="*/ 552159 w 556743"/>
                    <a:gd name="connsiteY66" fmla="*/ 89556 h 587457"/>
                    <a:gd name="connsiteX67" fmla="*/ 552159 w 556743"/>
                    <a:gd name="connsiteY67" fmla="*/ 89556 h 58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56743" h="587457">
                      <a:moveTo>
                        <a:pt x="552159" y="89556"/>
                      </a:moveTo>
                      <a:cubicBezTo>
                        <a:pt x="545908" y="83304"/>
                        <a:pt x="545908" y="70940"/>
                        <a:pt x="545908" y="58437"/>
                      </a:cubicBezTo>
                      <a:cubicBezTo>
                        <a:pt x="545908" y="52185"/>
                        <a:pt x="533544" y="45934"/>
                        <a:pt x="527431" y="39821"/>
                      </a:cubicBezTo>
                      <a:cubicBezTo>
                        <a:pt x="527431" y="33570"/>
                        <a:pt x="515067" y="21205"/>
                        <a:pt x="508954" y="21205"/>
                      </a:cubicBezTo>
                      <a:cubicBezTo>
                        <a:pt x="502842" y="21205"/>
                        <a:pt x="502842" y="33708"/>
                        <a:pt x="490477" y="27457"/>
                      </a:cubicBezTo>
                      <a:cubicBezTo>
                        <a:pt x="478113" y="21205"/>
                        <a:pt x="484365" y="27457"/>
                        <a:pt x="472001" y="33708"/>
                      </a:cubicBezTo>
                      <a:cubicBezTo>
                        <a:pt x="472001" y="33708"/>
                        <a:pt x="459636" y="27457"/>
                        <a:pt x="459636" y="21205"/>
                      </a:cubicBezTo>
                      <a:cubicBezTo>
                        <a:pt x="453524" y="14954"/>
                        <a:pt x="447272" y="8702"/>
                        <a:pt x="441160" y="2589"/>
                      </a:cubicBezTo>
                      <a:cubicBezTo>
                        <a:pt x="435047" y="-3662"/>
                        <a:pt x="428796" y="8841"/>
                        <a:pt x="422683" y="8841"/>
                      </a:cubicBezTo>
                      <a:cubicBezTo>
                        <a:pt x="416570" y="15093"/>
                        <a:pt x="404206" y="8841"/>
                        <a:pt x="397954" y="2589"/>
                      </a:cubicBezTo>
                      <a:cubicBezTo>
                        <a:pt x="385590" y="-3662"/>
                        <a:pt x="385590" y="2589"/>
                        <a:pt x="373226" y="8841"/>
                      </a:cubicBezTo>
                      <a:cubicBezTo>
                        <a:pt x="367114" y="15093"/>
                        <a:pt x="354749" y="8841"/>
                        <a:pt x="348497" y="8841"/>
                      </a:cubicBezTo>
                      <a:cubicBezTo>
                        <a:pt x="342385" y="15093"/>
                        <a:pt x="323769" y="15093"/>
                        <a:pt x="317657" y="15093"/>
                      </a:cubicBezTo>
                      <a:cubicBezTo>
                        <a:pt x="299179" y="2589"/>
                        <a:pt x="311544" y="33708"/>
                        <a:pt x="292928" y="33708"/>
                      </a:cubicBezTo>
                      <a:cubicBezTo>
                        <a:pt x="280564" y="39960"/>
                        <a:pt x="255836" y="33708"/>
                        <a:pt x="243472" y="27457"/>
                      </a:cubicBezTo>
                      <a:cubicBezTo>
                        <a:pt x="231107" y="21205"/>
                        <a:pt x="224994" y="8841"/>
                        <a:pt x="212630" y="8841"/>
                      </a:cubicBezTo>
                      <a:cubicBezTo>
                        <a:pt x="206518" y="2589"/>
                        <a:pt x="194154" y="15093"/>
                        <a:pt x="187902" y="21344"/>
                      </a:cubicBezTo>
                      <a:cubicBezTo>
                        <a:pt x="175537" y="33847"/>
                        <a:pt x="187902" y="52463"/>
                        <a:pt x="181789" y="71079"/>
                      </a:cubicBezTo>
                      <a:cubicBezTo>
                        <a:pt x="163312" y="102198"/>
                        <a:pt x="163312" y="139568"/>
                        <a:pt x="144697" y="164435"/>
                      </a:cubicBezTo>
                      <a:cubicBezTo>
                        <a:pt x="132333" y="183051"/>
                        <a:pt x="126220" y="195554"/>
                        <a:pt x="113856" y="214170"/>
                      </a:cubicBezTo>
                      <a:cubicBezTo>
                        <a:pt x="107604" y="226673"/>
                        <a:pt x="107604" y="239037"/>
                        <a:pt x="107604" y="251540"/>
                      </a:cubicBezTo>
                      <a:cubicBezTo>
                        <a:pt x="107604" y="270156"/>
                        <a:pt x="113856" y="282659"/>
                        <a:pt x="101491" y="295024"/>
                      </a:cubicBezTo>
                      <a:cubicBezTo>
                        <a:pt x="95379" y="295024"/>
                        <a:pt x="64399" y="313639"/>
                        <a:pt x="64399" y="313639"/>
                      </a:cubicBezTo>
                      <a:cubicBezTo>
                        <a:pt x="58286" y="313639"/>
                        <a:pt x="70511" y="295024"/>
                        <a:pt x="58286" y="301136"/>
                      </a:cubicBezTo>
                      <a:cubicBezTo>
                        <a:pt x="39810" y="313639"/>
                        <a:pt x="39810" y="326004"/>
                        <a:pt x="27445" y="307388"/>
                      </a:cubicBezTo>
                      <a:cubicBezTo>
                        <a:pt x="21194" y="313639"/>
                        <a:pt x="8968" y="326004"/>
                        <a:pt x="8968" y="338507"/>
                      </a:cubicBezTo>
                      <a:cubicBezTo>
                        <a:pt x="8968" y="338507"/>
                        <a:pt x="8968" y="344758"/>
                        <a:pt x="2717" y="344758"/>
                      </a:cubicBezTo>
                      <a:cubicBezTo>
                        <a:pt x="-3396" y="351010"/>
                        <a:pt x="2717" y="357261"/>
                        <a:pt x="2717" y="363374"/>
                      </a:cubicBezTo>
                      <a:cubicBezTo>
                        <a:pt x="27445" y="344758"/>
                        <a:pt x="45922" y="350871"/>
                        <a:pt x="76902" y="350871"/>
                      </a:cubicBezTo>
                      <a:cubicBezTo>
                        <a:pt x="89266" y="350871"/>
                        <a:pt x="95379" y="350871"/>
                        <a:pt x="107743" y="350871"/>
                      </a:cubicBezTo>
                      <a:cubicBezTo>
                        <a:pt x="120107" y="350871"/>
                        <a:pt x="126220" y="369487"/>
                        <a:pt x="132471" y="381990"/>
                      </a:cubicBezTo>
                      <a:cubicBezTo>
                        <a:pt x="138584" y="394493"/>
                        <a:pt x="144836" y="413109"/>
                        <a:pt x="157200" y="419360"/>
                      </a:cubicBezTo>
                      <a:cubicBezTo>
                        <a:pt x="163452" y="425612"/>
                        <a:pt x="188041" y="419360"/>
                        <a:pt x="200405" y="413109"/>
                      </a:cubicBezTo>
                      <a:cubicBezTo>
                        <a:pt x="206518" y="413109"/>
                        <a:pt x="206518" y="394493"/>
                        <a:pt x="212769" y="388241"/>
                      </a:cubicBezTo>
                      <a:cubicBezTo>
                        <a:pt x="212769" y="375738"/>
                        <a:pt x="231246" y="381990"/>
                        <a:pt x="237498" y="381990"/>
                      </a:cubicBezTo>
                      <a:cubicBezTo>
                        <a:pt x="237498" y="394493"/>
                        <a:pt x="237498" y="394493"/>
                        <a:pt x="249862" y="394493"/>
                      </a:cubicBezTo>
                      <a:cubicBezTo>
                        <a:pt x="256113" y="394493"/>
                        <a:pt x="274590" y="388241"/>
                        <a:pt x="274590" y="400745"/>
                      </a:cubicBezTo>
                      <a:cubicBezTo>
                        <a:pt x="274590" y="413248"/>
                        <a:pt x="280703" y="419360"/>
                        <a:pt x="280703" y="431863"/>
                      </a:cubicBezTo>
                      <a:cubicBezTo>
                        <a:pt x="280703" y="438115"/>
                        <a:pt x="280703" y="444366"/>
                        <a:pt x="274590" y="456730"/>
                      </a:cubicBezTo>
                      <a:cubicBezTo>
                        <a:pt x="274590" y="462982"/>
                        <a:pt x="280703" y="475346"/>
                        <a:pt x="286954" y="481598"/>
                      </a:cubicBezTo>
                      <a:cubicBezTo>
                        <a:pt x="293067" y="487849"/>
                        <a:pt x="286954" y="500214"/>
                        <a:pt x="286954" y="506465"/>
                      </a:cubicBezTo>
                      <a:cubicBezTo>
                        <a:pt x="286954" y="525081"/>
                        <a:pt x="317796" y="506465"/>
                        <a:pt x="324047" y="506465"/>
                      </a:cubicBezTo>
                      <a:cubicBezTo>
                        <a:pt x="336411" y="506465"/>
                        <a:pt x="342524" y="506465"/>
                        <a:pt x="348775" y="512717"/>
                      </a:cubicBezTo>
                      <a:cubicBezTo>
                        <a:pt x="361139" y="525220"/>
                        <a:pt x="354888" y="518968"/>
                        <a:pt x="367252" y="518968"/>
                      </a:cubicBezTo>
                      <a:cubicBezTo>
                        <a:pt x="379617" y="518968"/>
                        <a:pt x="379617" y="525220"/>
                        <a:pt x="385729" y="531471"/>
                      </a:cubicBezTo>
                      <a:cubicBezTo>
                        <a:pt x="391981" y="531471"/>
                        <a:pt x="398093" y="537723"/>
                        <a:pt x="404206" y="537723"/>
                      </a:cubicBezTo>
                      <a:cubicBezTo>
                        <a:pt x="422683" y="543974"/>
                        <a:pt x="428935" y="543974"/>
                        <a:pt x="435047" y="525220"/>
                      </a:cubicBezTo>
                      <a:cubicBezTo>
                        <a:pt x="441160" y="543836"/>
                        <a:pt x="447411" y="550087"/>
                        <a:pt x="465888" y="556339"/>
                      </a:cubicBezTo>
                      <a:cubicBezTo>
                        <a:pt x="478252" y="562590"/>
                        <a:pt x="478252" y="581206"/>
                        <a:pt x="490617" y="587458"/>
                      </a:cubicBezTo>
                      <a:lnTo>
                        <a:pt x="515345" y="581206"/>
                      </a:lnTo>
                      <a:cubicBezTo>
                        <a:pt x="515345" y="568703"/>
                        <a:pt x="521457" y="543836"/>
                        <a:pt x="509093" y="550087"/>
                      </a:cubicBezTo>
                      <a:cubicBezTo>
                        <a:pt x="490617" y="556339"/>
                        <a:pt x="478252" y="543836"/>
                        <a:pt x="472001" y="525220"/>
                      </a:cubicBezTo>
                      <a:cubicBezTo>
                        <a:pt x="472001" y="512717"/>
                        <a:pt x="484365" y="494101"/>
                        <a:pt x="478113" y="475485"/>
                      </a:cubicBezTo>
                      <a:cubicBezTo>
                        <a:pt x="478113" y="469234"/>
                        <a:pt x="472001" y="456869"/>
                        <a:pt x="478113" y="450618"/>
                      </a:cubicBezTo>
                      <a:cubicBezTo>
                        <a:pt x="478113" y="450618"/>
                        <a:pt x="478113" y="444366"/>
                        <a:pt x="484365" y="444366"/>
                      </a:cubicBezTo>
                      <a:cubicBezTo>
                        <a:pt x="490477" y="444366"/>
                        <a:pt x="484365" y="431863"/>
                        <a:pt x="490477" y="431863"/>
                      </a:cubicBezTo>
                      <a:cubicBezTo>
                        <a:pt x="496729" y="419360"/>
                        <a:pt x="527570" y="419360"/>
                        <a:pt x="533683" y="419360"/>
                      </a:cubicBezTo>
                      <a:cubicBezTo>
                        <a:pt x="521319" y="413109"/>
                        <a:pt x="527431" y="394493"/>
                        <a:pt x="515206" y="388241"/>
                      </a:cubicBezTo>
                      <a:cubicBezTo>
                        <a:pt x="508954" y="381990"/>
                        <a:pt x="502842" y="375738"/>
                        <a:pt x="502842" y="369625"/>
                      </a:cubicBezTo>
                      <a:cubicBezTo>
                        <a:pt x="502842" y="357122"/>
                        <a:pt x="502842" y="344758"/>
                        <a:pt x="496729" y="338507"/>
                      </a:cubicBezTo>
                      <a:cubicBezTo>
                        <a:pt x="496729" y="326004"/>
                        <a:pt x="490477" y="319891"/>
                        <a:pt x="490477" y="307388"/>
                      </a:cubicBezTo>
                      <a:cubicBezTo>
                        <a:pt x="490477" y="301136"/>
                        <a:pt x="490477" y="270017"/>
                        <a:pt x="496729" y="276269"/>
                      </a:cubicBezTo>
                      <a:cubicBezTo>
                        <a:pt x="490477" y="251402"/>
                        <a:pt x="490477" y="238899"/>
                        <a:pt x="502842" y="214031"/>
                      </a:cubicBezTo>
                      <a:cubicBezTo>
                        <a:pt x="508954" y="195415"/>
                        <a:pt x="508954" y="189164"/>
                        <a:pt x="508954" y="170548"/>
                      </a:cubicBezTo>
                      <a:cubicBezTo>
                        <a:pt x="508954" y="151932"/>
                        <a:pt x="521319" y="139429"/>
                        <a:pt x="533683" y="126926"/>
                      </a:cubicBezTo>
                      <a:cubicBezTo>
                        <a:pt x="539795" y="120674"/>
                        <a:pt x="546047" y="114423"/>
                        <a:pt x="552159" y="108310"/>
                      </a:cubicBezTo>
                      <a:cubicBezTo>
                        <a:pt x="558272" y="101920"/>
                        <a:pt x="558272" y="101920"/>
                        <a:pt x="552159" y="89556"/>
                      </a:cubicBezTo>
                      <a:cubicBezTo>
                        <a:pt x="545908" y="89556"/>
                        <a:pt x="558272" y="95807"/>
                        <a:pt x="552159" y="8955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8" name="Freihandform: Form 377">
                  <a:extLst>
                    <a:ext uri="{FF2B5EF4-FFF2-40B4-BE49-F238E27FC236}">
                      <a16:creationId xmlns:a16="http://schemas.microsoft.com/office/drawing/2014/main" id="{6EC1C84B-8AD3-4B5F-A777-17E6843C3826}"/>
                    </a:ext>
                  </a:extLst>
                </p:cNvPr>
                <p:cNvSpPr/>
                <p:nvPr/>
              </p:nvSpPr>
              <p:spPr>
                <a:xfrm>
                  <a:off x="6462114" y="4722372"/>
                  <a:ext cx="352726" cy="380968"/>
                </a:xfrm>
                <a:custGeom>
                  <a:avLst/>
                  <a:gdLst>
                    <a:gd name="connsiteX0" fmla="*/ 321191 w 352726"/>
                    <a:gd name="connsiteY0" fmla="*/ 162853 h 380968"/>
                    <a:gd name="connsiteX1" fmla="*/ 302298 w 352726"/>
                    <a:gd name="connsiteY1" fmla="*/ 156601 h 380968"/>
                    <a:gd name="connsiteX2" fmla="*/ 296046 w 352726"/>
                    <a:gd name="connsiteY2" fmla="*/ 125622 h 380968"/>
                    <a:gd name="connsiteX3" fmla="*/ 289795 w 352726"/>
                    <a:gd name="connsiteY3" fmla="*/ 69774 h 380968"/>
                    <a:gd name="connsiteX4" fmla="*/ 289795 w 352726"/>
                    <a:gd name="connsiteY4" fmla="*/ 44907 h 380968"/>
                    <a:gd name="connsiteX5" fmla="*/ 270901 w 352726"/>
                    <a:gd name="connsiteY5" fmla="*/ 44907 h 380968"/>
                    <a:gd name="connsiteX6" fmla="*/ 252007 w 352726"/>
                    <a:gd name="connsiteY6" fmla="*/ 32543 h 380968"/>
                    <a:gd name="connsiteX7" fmla="*/ 220471 w 352726"/>
                    <a:gd name="connsiteY7" fmla="*/ 44907 h 380968"/>
                    <a:gd name="connsiteX8" fmla="*/ 214220 w 352726"/>
                    <a:gd name="connsiteY8" fmla="*/ 63523 h 380968"/>
                    <a:gd name="connsiteX9" fmla="*/ 182685 w 352726"/>
                    <a:gd name="connsiteY9" fmla="*/ 69774 h 380968"/>
                    <a:gd name="connsiteX10" fmla="*/ 113362 w 352726"/>
                    <a:gd name="connsiteY10" fmla="*/ 1563 h 380968"/>
                    <a:gd name="connsiteX11" fmla="*/ 18893 w 352726"/>
                    <a:gd name="connsiteY11" fmla="*/ 7814 h 380968"/>
                    <a:gd name="connsiteX12" fmla="*/ 37787 w 352726"/>
                    <a:gd name="connsiteY12" fmla="*/ 69913 h 380968"/>
                    <a:gd name="connsiteX13" fmla="*/ 37787 w 352726"/>
                    <a:gd name="connsiteY13" fmla="*/ 94780 h 380968"/>
                    <a:gd name="connsiteX14" fmla="*/ 37787 w 352726"/>
                    <a:gd name="connsiteY14" fmla="*/ 119648 h 380968"/>
                    <a:gd name="connsiteX15" fmla="*/ 50429 w 352726"/>
                    <a:gd name="connsiteY15" fmla="*/ 200362 h 380968"/>
                    <a:gd name="connsiteX16" fmla="*/ 18893 w 352726"/>
                    <a:gd name="connsiteY16" fmla="*/ 249958 h 380968"/>
                    <a:gd name="connsiteX17" fmla="*/ 0 w 352726"/>
                    <a:gd name="connsiteY17" fmla="*/ 305805 h 380968"/>
                    <a:gd name="connsiteX18" fmla="*/ 0 w 352726"/>
                    <a:gd name="connsiteY18" fmla="*/ 336785 h 380968"/>
                    <a:gd name="connsiteX19" fmla="*/ 0 w 352726"/>
                    <a:gd name="connsiteY19" fmla="*/ 361653 h 380968"/>
                    <a:gd name="connsiteX20" fmla="*/ 18893 w 352726"/>
                    <a:gd name="connsiteY20" fmla="*/ 361653 h 380968"/>
                    <a:gd name="connsiteX21" fmla="*/ 50429 w 352726"/>
                    <a:gd name="connsiteY21" fmla="*/ 355401 h 380968"/>
                    <a:gd name="connsiteX22" fmla="*/ 56681 w 352726"/>
                    <a:gd name="connsiteY22" fmla="*/ 361653 h 380968"/>
                    <a:gd name="connsiteX23" fmla="*/ 100720 w 352726"/>
                    <a:gd name="connsiteY23" fmla="*/ 361653 h 380968"/>
                    <a:gd name="connsiteX24" fmla="*/ 157400 w 352726"/>
                    <a:gd name="connsiteY24" fmla="*/ 361653 h 380968"/>
                    <a:gd name="connsiteX25" fmla="*/ 188936 w 352726"/>
                    <a:gd name="connsiteY25" fmla="*/ 361653 h 380968"/>
                    <a:gd name="connsiteX26" fmla="*/ 245617 w 352726"/>
                    <a:gd name="connsiteY26" fmla="*/ 380268 h 380968"/>
                    <a:gd name="connsiteX27" fmla="*/ 333833 w 352726"/>
                    <a:gd name="connsiteY27" fmla="*/ 367904 h 380968"/>
                    <a:gd name="connsiteX28" fmla="*/ 289795 w 352726"/>
                    <a:gd name="connsiteY28" fmla="*/ 312057 h 380968"/>
                    <a:gd name="connsiteX29" fmla="*/ 289795 w 352726"/>
                    <a:gd name="connsiteY29" fmla="*/ 225230 h 380968"/>
                    <a:gd name="connsiteX30" fmla="*/ 352727 w 352726"/>
                    <a:gd name="connsiteY30" fmla="*/ 212865 h 380968"/>
                    <a:gd name="connsiteX31" fmla="*/ 352727 w 352726"/>
                    <a:gd name="connsiteY31" fmla="*/ 163270 h 380968"/>
                    <a:gd name="connsiteX32" fmla="*/ 321191 w 352726"/>
                    <a:gd name="connsiteY32" fmla="*/ 162853 h 38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2726" h="380968">
                      <a:moveTo>
                        <a:pt x="321191" y="162853"/>
                      </a:moveTo>
                      <a:cubicBezTo>
                        <a:pt x="308549" y="162853"/>
                        <a:pt x="302298" y="169104"/>
                        <a:pt x="302298" y="156601"/>
                      </a:cubicBezTo>
                      <a:cubicBezTo>
                        <a:pt x="302298" y="144237"/>
                        <a:pt x="302298" y="137986"/>
                        <a:pt x="296046" y="125622"/>
                      </a:cubicBezTo>
                      <a:cubicBezTo>
                        <a:pt x="283404" y="107006"/>
                        <a:pt x="302298" y="88390"/>
                        <a:pt x="289795" y="69774"/>
                      </a:cubicBezTo>
                      <a:cubicBezTo>
                        <a:pt x="289795" y="63523"/>
                        <a:pt x="289795" y="44907"/>
                        <a:pt x="289795" y="44907"/>
                      </a:cubicBezTo>
                      <a:lnTo>
                        <a:pt x="270901" y="44907"/>
                      </a:lnTo>
                      <a:cubicBezTo>
                        <a:pt x="252007" y="44907"/>
                        <a:pt x="252007" y="51159"/>
                        <a:pt x="252007" y="32543"/>
                      </a:cubicBezTo>
                      <a:cubicBezTo>
                        <a:pt x="233113" y="32543"/>
                        <a:pt x="226862" y="26291"/>
                        <a:pt x="220471" y="44907"/>
                      </a:cubicBezTo>
                      <a:cubicBezTo>
                        <a:pt x="220471" y="44907"/>
                        <a:pt x="220471" y="63523"/>
                        <a:pt x="214220" y="63523"/>
                      </a:cubicBezTo>
                      <a:cubicBezTo>
                        <a:pt x="207968" y="69774"/>
                        <a:pt x="195327" y="69774"/>
                        <a:pt x="182685" y="69774"/>
                      </a:cubicBezTo>
                      <a:cubicBezTo>
                        <a:pt x="138645" y="76026"/>
                        <a:pt x="151149" y="1563"/>
                        <a:pt x="113362" y="1563"/>
                      </a:cubicBezTo>
                      <a:cubicBezTo>
                        <a:pt x="81826" y="1563"/>
                        <a:pt x="44039" y="-4689"/>
                        <a:pt x="18893" y="7814"/>
                      </a:cubicBezTo>
                      <a:cubicBezTo>
                        <a:pt x="6252" y="20179"/>
                        <a:pt x="37787" y="57410"/>
                        <a:pt x="37787" y="69913"/>
                      </a:cubicBezTo>
                      <a:cubicBezTo>
                        <a:pt x="44039" y="76165"/>
                        <a:pt x="44039" y="88529"/>
                        <a:pt x="37787" y="94780"/>
                      </a:cubicBezTo>
                      <a:cubicBezTo>
                        <a:pt x="25145" y="101032"/>
                        <a:pt x="37787" y="113396"/>
                        <a:pt x="37787" y="119648"/>
                      </a:cubicBezTo>
                      <a:cubicBezTo>
                        <a:pt x="56681" y="144515"/>
                        <a:pt x="69323" y="175495"/>
                        <a:pt x="50429" y="200362"/>
                      </a:cubicBezTo>
                      <a:cubicBezTo>
                        <a:pt x="37787" y="218978"/>
                        <a:pt x="25284" y="231342"/>
                        <a:pt x="18893" y="249958"/>
                      </a:cubicBezTo>
                      <a:cubicBezTo>
                        <a:pt x="12642" y="268574"/>
                        <a:pt x="6252" y="287190"/>
                        <a:pt x="0" y="305805"/>
                      </a:cubicBezTo>
                      <a:cubicBezTo>
                        <a:pt x="0" y="318170"/>
                        <a:pt x="0" y="330673"/>
                        <a:pt x="0" y="336785"/>
                      </a:cubicBezTo>
                      <a:cubicBezTo>
                        <a:pt x="0" y="343037"/>
                        <a:pt x="0" y="355401"/>
                        <a:pt x="0" y="361653"/>
                      </a:cubicBezTo>
                      <a:cubicBezTo>
                        <a:pt x="6252" y="361653"/>
                        <a:pt x="12642" y="361653"/>
                        <a:pt x="18893" y="361653"/>
                      </a:cubicBezTo>
                      <a:cubicBezTo>
                        <a:pt x="31536" y="361653"/>
                        <a:pt x="31536" y="343037"/>
                        <a:pt x="50429" y="355401"/>
                      </a:cubicBezTo>
                      <a:lnTo>
                        <a:pt x="56681" y="361653"/>
                      </a:lnTo>
                      <a:cubicBezTo>
                        <a:pt x="75574" y="361653"/>
                        <a:pt x="88216" y="361653"/>
                        <a:pt x="100720" y="361653"/>
                      </a:cubicBezTo>
                      <a:cubicBezTo>
                        <a:pt x="119613" y="361653"/>
                        <a:pt x="138506" y="361653"/>
                        <a:pt x="157400" y="361653"/>
                      </a:cubicBezTo>
                      <a:cubicBezTo>
                        <a:pt x="163652" y="361653"/>
                        <a:pt x="182545" y="361653"/>
                        <a:pt x="188936" y="361653"/>
                      </a:cubicBezTo>
                      <a:cubicBezTo>
                        <a:pt x="201578" y="386520"/>
                        <a:pt x="226723" y="380268"/>
                        <a:pt x="245617" y="380268"/>
                      </a:cubicBezTo>
                      <a:cubicBezTo>
                        <a:pt x="277153" y="380268"/>
                        <a:pt x="302298" y="374017"/>
                        <a:pt x="333833" y="367904"/>
                      </a:cubicBezTo>
                      <a:cubicBezTo>
                        <a:pt x="314939" y="349289"/>
                        <a:pt x="289795" y="336924"/>
                        <a:pt x="289795" y="312057"/>
                      </a:cubicBezTo>
                      <a:cubicBezTo>
                        <a:pt x="289795" y="281077"/>
                        <a:pt x="289795" y="249958"/>
                        <a:pt x="289795" y="225230"/>
                      </a:cubicBezTo>
                      <a:cubicBezTo>
                        <a:pt x="289795" y="218978"/>
                        <a:pt x="352727" y="231481"/>
                        <a:pt x="352727" y="212865"/>
                      </a:cubicBezTo>
                      <a:cubicBezTo>
                        <a:pt x="352727" y="200501"/>
                        <a:pt x="352727" y="181886"/>
                        <a:pt x="352727" y="163270"/>
                      </a:cubicBezTo>
                      <a:cubicBezTo>
                        <a:pt x="352727" y="144237"/>
                        <a:pt x="333833" y="162853"/>
                        <a:pt x="321191" y="16285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79" name="Freihandform: Form 378">
                  <a:extLst>
                    <a:ext uri="{FF2B5EF4-FFF2-40B4-BE49-F238E27FC236}">
                      <a16:creationId xmlns:a16="http://schemas.microsoft.com/office/drawing/2014/main" id="{F6185DF1-C5EF-4FD6-BCA5-43F6AF1639B6}"/>
                    </a:ext>
                  </a:extLst>
                </p:cNvPr>
                <p:cNvSpPr/>
                <p:nvPr/>
              </p:nvSpPr>
              <p:spPr>
                <a:xfrm>
                  <a:off x="6694394" y="5101807"/>
                  <a:ext cx="276923" cy="282987"/>
                </a:xfrm>
                <a:custGeom>
                  <a:avLst/>
                  <a:gdLst>
                    <a:gd name="connsiteX0" fmla="*/ 151983 w 276923"/>
                    <a:gd name="connsiteY0" fmla="*/ 0 h 282987"/>
                    <a:gd name="connsiteX1" fmla="*/ 127115 w 276923"/>
                    <a:gd name="connsiteY1" fmla="*/ 6113 h 282987"/>
                    <a:gd name="connsiteX2" fmla="*/ 108499 w 276923"/>
                    <a:gd name="connsiteY2" fmla="*/ 12225 h 282987"/>
                    <a:gd name="connsiteX3" fmla="*/ 33898 w 276923"/>
                    <a:gd name="connsiteY3" fmla="*/ 12225 h 282987"/>
                    <a:gd name="connsiteX4" fmla="*/ 33898 w 276923"/>
                    <a:gd name="connsiteY4" fmla="*/ 98358 h 282987"/>
                    <a:gd name="connsiteX5" fmla="*/ 33898 w 276923"/>
                    <a:gd name="connsiteY5" fmla="*/ 129199 h 282987"/>
                    <a:gd name="connsiteX6" fmla="*/ 2778 w 276923"/>
                    <a:gd name="connsiteY6" fmla="*/ 135311 h 282987"/>
                    <a:gd name="connsiteX7" fmla="*/ 2778 w 276923"/>
                    <a:gd name="connsiteY7" fmla="*/ 178378 h 282987"/>
                    <a:gd name="connsiteX8" fmla="*/ 2778 w 276923"/>
                    <a:gd name="connsiteY8" fmla="*/ 221444 h 282987"/>
                    <a:gd name="connsiteX9" fmla="*/ 21395 w 276923"/>
                    <a:gd name="connsiteY9" fmla="*/ 276875 h 282987"/>
                    <a:gd name="connsiteX10" fmla="*/ 46262 w 276923"/>
                    <a:gd name="connsiteY10" fmla="*/ 282987 h 282987"/>
                    <a:gd name="connsiteX11" fmla="*/ 77381 w 276923"/>
                    <a:gd name="connsiteY11" fmla="*/ 258398 h 282987"/>
                    <a:gd name="connsiteX12" fmla="*/ 114751 w 276923"/>
                    <a:gd name="connsiteY12" fmla="*/ 239921 h 282987"/>
                    <a:gd name="connsiteX13" fmla="*/ 176989 w 276923"/>
                    <a:gd name="connsiteY13" fmla="*/ 227557 h 282987"/>
                    <a:gd name="connsiteX14" fmla="*/ 189353 w 276923"/>
                    <a:gd name="connsiteY14" fmla="*/ 215192 h 282987"/>
                    <a:gd name="connsiteX15" fmla="*/ 207969 w 276923"/>
                    <a:gd name="connsiteY15" fmla="*/ 196716 h 282987"/>
                    <a:gd name="connsiteX16" fmla="*/ 263955 w 276923"/>
                    <a:gd name="connsiteY16" fmla="*/ 147537 h 282987"/>
                    <a:gd name="connsiteX17" fmla="*/ 270206 w 276923"/>
                    <a:gd name="connsiteY17" fmla="*/ 122947 h 282987"/>
                    <a:gd name="connsiteX18" fmla="*/ 245339 w 276923"/>
                    <a:gd name="connsiteY18" fmla="*/ 116835 h 282987"/>
                    <a:gd name="connsiteX19" fmla="*/ 232975 w 276923"/>
                    <a:gd name="connsiteY19" fmla="*/ 92245 h 282987"/>
                    <a:gd name="connsiteX20" fmla="*/ 239227 w 276923"/>
                    <a:gd name="connsiteY20" fmla="*/ 79881 h 282987"/>
                    <a:gd name="connsiteX21" fmla="*/ 220611 w 276923"/>
                    <a:gd name="connsiteY21" fmla="*/ 73768 h 282987"/>
                    <a:gd name="connsiteX22" fmla="*/ 220611 w 276923"/>
                    <a:gd name="connsiteY22" fmla="*/ 67656 h 282987"/>
                    <a:gd name="connsiteX23" fmla="*/ 208247 w 276923"/>
                    <a:gd name="connsiteY23" fmla="*/ 61543 h 282987"/>
                    <a:gd name="connsiteX24" fmla="*/ 183379 w 276923"/>
                    <a:gd name="connsiteY24" fmla="*/ 30702 h 282987"/>
                    <a:gd name="connsiteX25" fmla="*/ 151983 w 276923"/>
                    <a:gd name="connsiteY25" fmla="*/ 0 h 282987"/>
                    <a:gd name="connsiteX26" fmla="*/ 151983 w 276923"/>
                    <a:gd name="connsiteY26" fmla="*/ 0 h 28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6923" h="282987">
                      <a:moveTo>
                        <a:pt x="151983" y="0"/>
                      </a:moveTo>
                      <a:cubicBezTo>
                        <a:pt x="145731" y="6113"/>
                        <a:pt x="133367" y="6113"/>
                        <a:pt x="127115" y="6113"/>
                      </a:cubicBezTo>
                      <a:cubicBezTo>
                        <a:pt x="114612" y="6113"/>
                        <a:pt x="120864" y="24589"/>
                        <a:pt x="108499" y="12225"/>
                      </a:cubicBezTo>
                      <a:cubicBezTo>
                        <a:pt x="89884" y="-12364"/>
                        <a:pt x="58765" y="18338"/>
                        <a:pt x="33898" y="12225"/>
                      </a:cubicBezTo>
                      <a:cubicBezTo>
                        <a:pt x="33898" y="43066"/>
                        <a:pt x="33898" y="73768"/>
                        <a:pt x="33898" y="98358"/>
                      </a:cubicBezTo>
                      <a:cubicBezTo>
                        <a:pt x="33898" y="104470"/>
                        <a:pt x="40149" y="129199"/>
                        <a:pt x="33898" y="129199"/>
                      </a:cubicBezTo>
                      <a:cubicBezTo>
                        <a:pt x="27646" y="135311"/>
                        <a:pt x="2778" y="123086"/>
                        <a:pt x="2778" y="135311"/>
                      </a:cubicBezTo>
                      <a:cubicBezTo>
                        <a:pt x="2778" y="147676"/>
                        <a:pt x="2778" y="166152"/>
                        <a:pt x="2778" y="178378"/>
                      </a:cubicBezTo>
                      <a:cubicBezTo>
                        <a:pt x="2778" y="190742"/>
                        <a:pt x="-3473" y="209219"/>
                        <a:pt x="2778" y="221444"/>
                      </a:cubicBezTo>
                      <a:cubicBezTo>
                        <a:pt x="27646" y="227557"/>
                        <a:pt x="33898" y="258398"/>
                        <a:pt x="21395" y="276875"/>
                      </a:cubicBezTo>
                      <a:cubicBezTo>
                        <a:pt x="21395" y="282987"/>
                        <a:pt x="46262" y="282987"/>
                        <a:pt x="46262" y="282987"/>
                      </a:cubicBezTo>
                      <a:cubicBezTo>
                        <a:pt x="58765" y="282987"/>
                        <a:pt x="64878" y="270623"/>
                        <a:pt x="77381" y="258398"/>
                      </a:cubicBezTo>
                      <a:cubicBezTo>
                        <a:pt x="89884" y="246033"/>
                        <a:pt x="89884" y="227557"/>
                        <a:pt x="114751" y="239921"/>
                      </a:cubicBezTo>
                      <a:cubicBezTo>
                        <a:pt x="139618" y="252285"/>
                        <a:pt x="164486" y="258398"/>
                        <a:pt x="176989" y="227557"/>
                      </a:cubicBezTo>
                      <a:cubicBezTo>
                        <a:pt x="176989" y="221444"/>
                        <a:pt x="176989" y="215192"/>
                        <a:pt x="189353" y="215192"/>
                      </a:cubicBezTo>
                      <a:cubicBezTo>
                        <a:pt x="201856" y="215192"/>
                        <a:pt x="207969" y="202828"/>
                        <a:pt x="207969" y="196716"/>
                      </a:cubicBezTo>
                      <a:cubicBezTo>
                        <a:pt x="220333" y="178239"/>
                        <a:pt x="245339" y="159762"/>
                        <a:pt x="263955" y="147537"/>
                      </a:cubicBezTo>
                      <a:cubicBezTo>
                        <a:pt x="276320" y="141424"/>
                        <a:pt x="282571" y="135173"/>
                        <a:pt x="270206" y="122947"/>
                      </a:cubicBezTo>
                      <a:cubicBezTo>
                        <a:pt x="263955" y="116835"/>
                        <a:pt x="245339" y="122947"/>
                        <a:pt x="245339" y="116835"/>
                      </a:cubicBezTo>
                      <a:cubicBezTo>
                        <a:pt x="239088" y="110722"/>
                        <a:pt x="232975" y="104470"/>
                        <a:pt x="232975" y="92245"/>
                      </a:cubicBezTo>
                      <a:cubicBezTo>
                        <a:pt x="232975" y="92245"/>
                        <a:pt x="239227" y="86133"/>
                        <a:pt x="239227" y="79881"/>
                      </a:cubicBezTo>
                      <a:cubicBezTo>
                        <a:pt x="232975" y="79881"/>
                        <a:pt x="226724" y="79881"/>
                        <a:pt x="220611" y="73768"/>
                      </a:cubicBezTo>
                      <a:cubicBezTo>
                        <a:pt x="220611" y="73768"/>
                        <a:pt x="226863" y="67656"/>
                        <a:pt x="220611" y="67656"/>
                      </a:cubicBezTo>
                      <a:cubicBezTo>
                        <a:pt x="214359" y="67656"/>
                        <a:pt x="214359" y="61543"/>
                        <a:pt x="208247" y="61543"/>
                      </a:cubicBezTo>
                      <a:cubicBezTo>
                        <a:pt x="195882" y="55430"/>
                        <a:pt x="189631" y="49179"/>
                        <a:pt x="183379" y="30702"/>
                      </a:cubicBezTo>
                      <a:cubicBezTo>
                        <a:pt x="183102" y="24589"/>
                        <a:pt x="164347" y="0"/>
                        <a:pt x="151983" y="0"/>
                      </a:cubicBezTo>
                      <a:cubicBezTo>
                        <a:pt x="151983" y="0"/>
                        <a:pt x="158234" y="0"/>
                        <a:pt x="151983"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0" name="Freihandform: Form 379">
                  <a:extLst>
                    <a:ext uri="{FF2B5EF4-FFF2-40B4-BE49-F238E27FC236}">
                      <a16:creationId xmlns:a16="http://schemas.microsoft.com/office/drawing/2014/main" id="{40B8BF61-1954-4F16-B2B8-1109CE644FBD}"/>
                    </a:ext>
                  </a:extLst>
                </p:cNvPr>
                <p:cNvSpPr/>
                <p:nvPr/>
              </p:nvSpPr>
              <p:spPr>
                <a:xfrm>
                  <a:off x="6852762" y="5022898"/>
                  <a:ext cx="238536" cy="218804"/>
                </a:xfrm>
                <a:custGeom>
                  <a:avLst/>
                  <a:gdLst>
                    <a:gd name="connsiteX0" fmla="*/ 238536 w 238536"/>
                    <a:gd name="connsiteY0" fmla="*/ 137673 h 218804"/>
                    <a:gd name="connsiteX1" fmla="*/ 232146 w 238536"/>
                    <a:gd name="connsiteY1" fmla="*/ 112667 h 218804"/>
                    <a:gd name="connsiteX2" fmla="*/ 238536 w 238536"/>
                    <a:gd name="connsiteY2" fmla="*/ 87661 h 218804"/>
                    <a:gd name="connsiteX3" fmla="*/ 232146 w 238536"/>
                    <a:gd name="connsiteY3" fmla="*/ 43761 h 218804"/>
                    <a:gd name="connsiteX4" fmla="*/ 162268 w 238536"/>
                    <a:gd name="connsiteY4" fmla="*/ 12503 h 218804"/>
                    <a:gd name="connsiteX5" fmla="*/ 143235 w 238536"/>
                    <a:gd name="connsiteY5" fmla="*/ 0 h 218804"/>
                    <a:gd name="connsiteX6" fmla="*/ 111421 w 238536"/>
                    <a:gd name="connsiteY6" fmla="*/ 18755 h 218804"/>
                    <a:gd name="connsiteX7" fmla="*/ 73356 w 238536"/>
                    <a:gd name="connsiteY7" fmla="*/ 43761 h 218804"/>
                    <a:gd name="connsiteX8" fmla="*/ 47933 w 238536"/>
                    <a:gd name="connsiteY8" fmla="*/ 75019 h 218804"/>
                    <a:gd name="connsiteX9" fmla="*/ 3478 w 238536"/>
                    <a:gd name="connsiteY9" fmla="*/ 75019 h 218804"/>
                    <a:gd name="connsiteX10" fmla="*/ 22510 w 238536"/>
                    <a:gd name="connsiteY10" fmla="*/ 100025 h 218804"/>
                    <a:gd name="connsiteX11" fmla="*/ 41543 w 238536"/>
                    <a:gd name="connsiteY11" fmla="*/ 131283 h 218804"/>
                    <a:gd name="connsiteX12" fmla="*/ 60575 w 238536"/>
                    <a:gd name="connsiteY12" fmla="*/ 143786 h 218804"/>
                    <a:gd name="connsiteX13" fmla="*/ 60575 w 238536"/>
                    <a:gd name="connsiteY13" fmla="*/ 150037 h 218804"/>
                    <a:gd name="connsiteX14" fmla="*/ 79608 w 238536"/>
                    <a:gd name="connsiteY14" fmla="*/ 156289 h 218804"/>
                    <a:gd name="connsiteX15" fmla="*/ 73217 w 238536"/>
                    <a:gd name="connsiteY15" fmla="*/ 175044 h 218804"/>
                    <a:gd name="connsiteX16" fmla="*/ 85860 w 238536"/>
                    <a:gd name="connsiteY16" fmla="*/ 193798 h 218804"/>
                    <a:gd name="connsiteX17" fmla="*/ 117673 w 238536"/>
                    <a:gd name="connsiteY17" fmla="*/ 212553 h 218804"/>
                    <a:gd name="connsiteX18" fmla="*/ 149486 w 238536"/>
                    <a:gd name="connsiteY18" fmla="*/ 218805 h 218804"/>
                    <a:gd name="connsiteX19" fmla="*/ 162129 w 238536"/>
                    <a:gd name="connsiteY19" fmla="*/ 218805 h 218804"/>
                    <a:gd name="connsiteX20" fmla="*/ 206584 w 238536"/>
                    <a:gd name="connsiteY20" fmla="*/ 193798 h 218804"/>
                    <a:gd name="connsiteX21" fmla="*/ 219226 w 238536"/>
                    <a:gd name="connsiteY21" fmla="*/ 168792 h 218804"/>
                    <a:gd name="connsiteX22" fmla="*/ 238536 w 238536"/>
                    <a:gd name="connsiteY22" fmla="*/ 137673 h 21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8536" h="218804">
                      <a:moveTo>
                        <a:pt x="238536" y="137673"/>
                      </a:moveTo>
                      <a:cubicBezTo>
                        <a:pt x="238536" y="131422"/>
                        <a:pt x="232146" y="118919"/>
                        <a:pt x="232146" y="112667"/>
                      </a:cubicBezTo>
                      <a:cubicBezTo>
                        <a:pt x="232146" y="100164"/>
                        <a:pt x="238536" y="93912"/>
                        <a:pt x="238536" y="87661"/>
                      </a:cubicBezTo>
                      <a:cubicBezTo>
                        <a:pt x="238536" y="68906"/>
                        <a:pt x="238536" y="56403"/>
                        <a:pt x="232146" y="43761"/>
                      </a:cubicBezTo>
                      <a:cubicBezTo>
                        <a:pt x="232146" y="25006"/>
                        <a:pt x="174910" y="12503"/>
                        <a:pt x="162268" y="12503"/>
                      </a:cubicBezTo>
                      <a:cubicBezTo>
                        <a:pt x="162268" y="0"/>
                        <a:pt x="162268" y="0"/>
                        <a:pt x="143235" y="0"/>
                      </a:cubicBezTo>
                      <a:cubicBezTo>
                        <a:pt x="124203" y="0"/>
                        <a:pt x="124203" y="6252"/>
                        <a:pt x="111421" y="18755"/>
                      </a:cubicBezTo>
                      <a:cubicBezTo>
                        <a:pt x="105031" y="31258"/>
                        <a:pt x="85999" y="37509"/>
                        <a:pt x="73356" y="43761"/>
                      </a:cubicBezTo>
                      <a:cubicBezTo>
                        <a:pt x="66966" y="56264"/>
                        <a:pt x="60575" y="75019"/>
                        <a:pt x="47933" y="75019"/>
                      </a:cubicBezTo>
                      <a:cubicBezTo>
                        <a:pt x="35292" y="75019"/>
                        <a:pt x="22510" y="68767"/>
                        <a:pt x="3478" y="75019"/>
                      </a:cubicBezTo>
                      <a:cubicBezTo>
                        <a:pt x="-9164" y="81270"/>
                        <a:pt x="16259" y="93773"/>
                        <a:pt x="22510" y="100025"/>
                      </a:cubicBezTo>
                      <a:cubicBezTo>
                        <a:pt x="28901" y="112528"/>
                        <a:pt x="28901" y="125031"/>
                        <a:pt x="41543" y="131283"/>
                      </a:cubicBezTo>
                      <a:cubicBezTo>
                        <a:pt x="47933" y="137534"/>
                        <a:pt x="54324" y="143786"/>
                        <a:pt x="60575" y="143786"/>
                      </a:cubicBezTo>
                      <a:cubicBezTo>
                        <a:pt x="66966" y="143786"/>
                        <a:pt x="60575" y="150037"/>
                        <a:pt x="60575" y="150037"/>
                      </a:cubicBezTo>
                      <a:cubicBezTo>
                        <a:pt x="66966" y="150037"/>
                        <a:pt x="73356" y="156289"/>
                        <a:pt x="79608" y="156289"/>
                      </a:cubicBezTo>
                      <a:cubicBezTo>
                        <a:pt x="79608" y="162541"/>
                        <a:pt x="73217" y="168792"/>
                        <a:pt x="73217" y="175044"/>
                      </a:cubicBezTo>
                      <a:cubicBezTo>
                        <a:pt x="73217" y="181295"/>
                        <a:pt x="79608" y="193798"/>
                        <a:pt x="85860" y="193798"/>
                      </a:cubicBezTo>
                      <a:cubicBezTo>
                        <a:pt x="104892" y="193798"/>
                        <a:pt x="111282" y="193798"/>
                        <a:pt x="117673" y="212553"/>
                      </a:cubicBezTo>
                      <a:cubicBezTo>
                        <a:pt x="124064" y="218805"/>
                        <a:pt x="136706" y="212553"/>
                        <a:pt x="149486" y="218805"/>
                      </a:cubicBezTo>
                      <a:cubicBezTo>
                        <a:pt x="155877" y="218805"/>
                        <a:pt x="155877" y="218805"/>
                        <a:pt x="162129" y="218805"/>
                      </a:cubicBezTo>
                      <a:cubicBezTo>
                        <a:pt x="187551" y="218805"/>
                        <a:pt x="193942" y="212553"/>
                        <a:pt x="206584" y="193798"/>
                      </a:cubicBezTo>
                      <a:cubicBezTo>
                        <a:pt x="212975" y="187547"/>
                        <a:pt x="219226" y="175044"/>
                        <a:pt x="219226" y="168792"/>
                      </a:cubicBezTo>
                      <a:cubicBezTo>
                        <a:pt x="225894" y="156428"/>
                        <a:pt x="238536" y="150176"/>
                        <a:pt x="238536" y="13767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1" name="Freihandform: Form 380">
                  <a:extLst>
                    <a:ext uri="{FF2B5EF4-FFF2-40B4-BE49-F238E27FC236}">
                      <a16:creationId xmlns:a16="http://schemas.microsoft.com/office/drawing/2014/main" id="{C729AF00-14D7-463B-82BA-6F5AC534609A}"/>
                    </a:ext>
                  </a:extLst>
                </p:cNvPr>
                <p:cNvSpPr/>
                <p:nvPr/>
              </p:nvSpPr>
              <p:spPr>
                <a:xfrm>
                  <a:off x="7021459" y="5353213"/>
                  <a:ext cx="42433" cy="58042"/>
                </a:xfrm>
                <a:custGeom>
                  <a:avLst/>
                  <a:gdLst>
                    <a:gd name="connsiteX0" fmla="*/ 17465 w 42433"/>
                    <a:gd name="connsiteY0" fmla="*/ 601 h 58042"/>
                    <a:gd name="connsiteX1" fmla="*/ 30802 w 42433"/>
                    <a:gd name="connsiteY1" fmla="*/ 56032 h 58042"/>
                    <a:gd name="connsiteX2" fmla="*/ 17465 w 42433"/>
                    <a:gd name="connsiteY2" fmla="*/ 601 h 58042"/>
                    <a:gd name="connsiteX3" fmla="*/ 17465 w 42433"/>
                    <a:gd name="connsiteY3" fmla="*/ 601 h 58042"/>
                  </a:gdLst>
                  <a:ahLst/>
                  <a:cxnLst>
                    <a:cxn ang="0">
                      <a:pos x="connsiteX0" y="connsiteY0"/>
                    </a:cxn>
                    <a:cxn ang="0">
                      <a:pos x="connsiteX1" y="connsiteY1"/>
                    </a:cxn>
                    <a:cxn ang="0">
                      <a:pos x="connsiteX2" y="connsiteY2"/>
                    </a:cxn>
                    <a:cxn ang="0">
                      <a:pos x="connsiteX3" y="connsiteY3"/>
                    </a:cxn>
                  </a:cxnLst>
                  <a:rect l="l" t="t" r="r" b="b"/>
                  <a:pathLst>
                    <a:path w="42433" h="58042">
                      <a:moveTo>
                        <a:pt x="17465" y="601"/>
                      </a:moveTo>
                      <a:cubicBezTo>
                        <a:pt x="-15876" y="7547"/>
                        <a:pt x="4129" y="69924"/>
                        <a:pt x="30802" y="56032"/>
                      </a:cubicBezTo>
                      <a:cubicBezTo>
                        <a:pt x="50807" y="49085"/>
                        <a:pt x="44139" y="-6345"/>
                        <a:pt x="17465" y="601"/>
                      </a:cubicBezTo>
                      <a:cubicBezTo>
                        <a:pt x="4129" y="601"/>
                        <a:pt x="24134" y="601"/>
                        <a:pt x="17465" y="60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2" name="Freihandform: Form 381">
                  <a:extLst>
                    <a:ext uri="{FF2B5EF4-FFF2-40B4-BE49-F238E27FC236}">
                      <a16:creationId xmlns:a16="http://schemas.microsoft.com/office/drawing/2014/main" id="{B9B5121A-581F-434C-B81E-98795AEE7322}"/>
                    </a:ext>
                  </a:extLst>
                </p:cNvPr>
                <p:cNvSpPr/>
                <p:nvPr/>
              </p:nvSpPr>
              <p:spPr>
                <a:xfrm>
                  <a:off x="6593048" y="5234727"/>
                  <a:ext cx="488247" cy="430893"/>
                </a:xfrm>
                <a:custGeom>
                  <a:avLst/>
                  <a:gdLst>
                    <a:gd name="connsiteX0" fmla="*/ 457407 w 488247"/>
                    <a:gd name="connsiteY0" fmla="*/ 169378 h 430893"/>
                    <a:gd name="connsiteX1" fmla="*/ 426010 w 488247"/>
                    <a:gd name="connsiteY1" fmla="*/ 137564 h 430893"/>
                    <a:gd name="connsiteX2" fmla="*/ 444765 w 488247"/>
                    <a:gd name="connsiteY2" fmla="*/ 118532 h 430893"/>
                    <a:gd name="connsiteX3" fmla="*/ 463659 w 488247"/>
                    <a:gd name="connsiteY3" fmla="*/ 124922 h 430893"/>
                    <a:gd name="connsiteX4" fmla="*/ 463659 w 488247"/>
                    <a:gd name="connsiteY4" fmla="*/ 67686 h 430893"/>
                    <a:gd name="connsiteX5" fmla="*/ 451155 w 488247"/>
                    <a:gd name="connsiteY5" fmla="*/ 42263 h 430893"/>
                    <a:gd name="connsiteX6" fmla="*/ 444904 w 488247"/>
                    <a:gd name="connsiteY6" fmla="*/ 4198 h 430893"/>
                    <a:gd name="connsiteX7" fmla="*/ 407255 w 488247"/>
                    <a:gd name="connsiteY7" fmla="*/ 4198 h 430893"/>
                    <a:gd name="connsiteX8" fmla="*/ 369607 w 488247"/>
                    <a:gd name="connsiteY8" fmla="*/ 10588 h 430893"/>
                    <a:gd name="connsiteX9" fmla="*/ 338210 w 488247"/>
                    <a:gd name="connsiteY9" fmla="*/ 29621 h 430893"/>
                    <a:gd name="connsiteX10" fmla="*/ 313066 w 488247"/>
                    <a:gd name="connsiteY10" fmla="*/ 48653 h 430893"/>
                    <a:gd name="connsiteX11" fmla="*/ 300562 w 488247"/>
                    <a:gd name="connsiteY11" fmla="*/ 74076 h 430893"/>
                    <a:gd name="connsiteX12" fmla="*/ 275417 w 488247"/>
                    <a:gd name="connsiteY12" fmla="*/ 86718 h 430893"/>
                    <a:gd name="connsiteX13" fmla="*/ 269166 w 488247"/>
                    <a:gd name="connsiteY13" fmla="*/ 105751 h 430893"/>
                    <a:gd name="connsiteX14" fmla="*/ 206372 w 488247"/>
                    <a:gd name="connsiteY14" fmla="*/ 105751 h 430893"/>
                    <a:gd name="connsiteX15" fmla="*/ 168723 w 488247"/>
                    <a:gd name="connsiteY15" fmla="*/ 131174 h 430893"/>
                    <a:gd name="connsiteX16" fmla="*/ 143579 w 488247"/>
                    <a:gd name="connsiteY16" fmla="*/ 150206 h 430893"/>
                    <a:gd name="connsiteX17" fmla="*/ 118433 w 488247"/>
                    <a:gd name="connsiteY17" fmla="*/ 143816 h 430893"/>
                    <a:gd name="connsiteX18" fmla="*/ 99540 w 488247"/>
                    <a:gd name="connsiteY18" fmla="*/ 86579 h 430893"/>
                    <a:gd name="connsiteX19" fmla="*/ 99540 w 488247"/>
                    <a:gd name="connsiteY19" fmla="*/ 181881 h 430893"/>
                    <a:gd name="connsiteX20" fmla="*/ 99540 w 488247"/>
                    <a:gd name="connsiteY20" fmla="*/ 207304 h 430893"/>
                    <a:gd name="connsiteX21" fmla="*/ 49388 w 488247"/>
                    <a:gd name="connsiteY21" fmla="*/ 219946 h 430893"/>
                    <a:gd name="connsiteX22" fmla="*/ 30494 w 488247"/>
                    <a:gd name="connsiteY22" fmla="*/ 213555 h 430893"/>
                    <a:gd name="connsiteX23" fmla="*/ 5350 w 488247"/>
                    <a:gd name="connsiteY23" fmla="*/ 207165 h 430893"/>
                    <a:gd name="connsiteX24" fmla="*/ 11601 w 488247"/>
                    <a:gd name="connsiteY24" fmla="*/ 251621 h 430893"/>
                    <a:gd name="connsiteX25" fmla="*/ 24104 w 488247"/>
                    <a:gd name="connsiteY25" fmla="*/ 283434 h 430893"/>
                    <a:gd name="connsiteX26" fmla="*/ 49249 w 488247"/>
                    <a:gd name="connsiteY26" fmla="*/ 353313 h 430893"/>
                    <a:gd name="connsiteX27" fmla="*/ 42998 w 488247"/>
                    <a:gd name="connsiteY27" fmla="*/ 378736 h 430893"/>
                    <a:gd name="connsiteX28" fmla="*/ 49249 w 488247"/>
                    <a:gd name="connsiteY28" fmla="*/ 391378 h 430893"/>
                    <a:gd name="connsiteX29" fmla="*/ 55501 w 488247"/>
                    <a:gd name="connsiteY29" fmla="*/ 416801 h 430893"/>
                    <a:gd name="connsiteX30" fmla="*/ 61752 w 488247"/>
                    <a:gd name="connsiteY30" fmla="*/ 404158 h 430893"/>
                    <a:gd name="connsiteX31" fmla="*/ 86898 w 488247"/>
                    <a:gd name="connsiteY31" fmla="*/ 429582 h 430893"/>
                    <a:gd name="connsiteX32" fmla="*/ 124546 w 488247"/>
                    <a:gd name="connsiteY32" fmla="*/ 416940 h 430893"/>
                    <a:gd name="connsiteX33" fmla="*/ 155943 w 488247"/>
                    <a:gd name="connsiteY33" fmla="*/ 410549 h 430893"/>
                    <a:gd name="connsiteX34" fmla="*/ 187340 w 488247"/>
                    <a:gd name="connsiteY34" fmla="*/ 404158 h 430893"/>
                    <a:gd name="connsiteX35" fmla="*/ 231239 w 488247"/>
                    <a:gd name="connsiteY35" fmla="*/ 404158 h 430893"/>
                    <a:gd name="connsiteX36" fmla="*/ 237491 w 488247"/>
                    <a:gd name="connsiteY36" fmla="*/ 404158 h 430893"/>
                    <a:gd name="connsiteX37" fmla="*/ 249994 w 488247"/>
                    <a:gd name="connsiteY37" fmla="*/ 397768 h 430893"/>
                    <a:gd name="connsiteX38" fmla="*/ 256245 w 488247"/>
                    <a:gd name="connsiteY38" fmla="*/ 391378 h 430893"/>
                    <a:gd name="connsiteX39" fmla="*/ 268748 w 488247"/>
                    <a:gd name="connsiteY39" fmla="*/ 410410 h 430893"/>
                    <a:gd name="connsiteX40" fmla="*/ 281251 w 488247"/>
                    <a:gd name="connsiteY40" fmla="*/ 391378 h 430893"/>
                    <a:gd name="connsiteX41" fmla="*/ 350297 w 488247"/>
                    <a:gd name="connsiteY41" fmla="*/ 353313 h 430893"/>
                    <a:gd name="connsiteX42" fmla="*/ 400448 w 488247"/>
                    <a:gd name="connsiteY42" fmla="*/ 302466 h 430893"/>
                    <a:gd name="connsiteX43" fmla="*/ 444348 w 488247"/>
                    <a:gd name="connsiteY43" fmla="*/ 232588 h 430893"/>
                    <a:gd name="connsiteX44" fmla="*/ 475744 w 488247"/>
                    <a:gd name="connsiteY44" fmla="*/ 207165 h 430893"/>
                    <a:gd name="connsiteX45" fmla="*/ 488248 w 488247"/>
                    <a:gd name="connsiteY45" fmla="*/ 156319 h 430893"/>
                    <a:gd name="connsiteX46" fmla="*/ 469355 w 488247"/>
                    <a:gd name="connsiteY46" fmla="*/ 156319 h 430893"/>
                    <a:gd name="connsiteX47" fmla="*/ 457407 w 488247"/>
                    <a:gd name="connsiteY47" fmla="*/ 169378 h 430893"/>
                    <a:gd name="connsiteX48" fmla="*/ 382110 w 488247"/>
                    <a:gd name="connsiteY48" fmla="*/ 245647 h 430893"/>
                    <a:gd name="connsiteX49" fmla="*/ 375859 w 488247"/>
                    <a:gd name="connsiteY49" fmla="*/ 258289 h 430893"/>
                    <a:gd name="connsiteX50" fmla="*/ 350713 w 488247"/>
                    <a:gd name="connsiteY50" fmla="*/ 271070 h 430893"/>
                    <a:gd name="connsiteX51" fmla="*/ 338210 w 488247"/>
                    <a:gd name="connsiteY51" fmla="*/ 277460 h 430893"/>
                    <a:gd name="connsiteX52" fmla="*/ 319317 w 488247"/>
                    <a:gd name="connsiteY52" fmla="*/ 258428 h 430893"/>
                    <a:gd name="connsiteX53" fmla="*/ 344462 w 488247"/>
                    <a:gd name="connsiteY53" fmla="*/ 220363 h 430893"/>
                    <a:gd name="connsiteX54" fmla="*/ 369607 w 488247"/>
                    <a:gd name="connsiteY54" fmla="*/ 220363 h 430893"/>
                    <a:gd name="connsiteX55" fmla="*/ 382110 w 488247"/>
                    <a:gd name="connsiteY55" fmla="*/ 245647 h 430893"/>
                    <a:gd name="connsiteX56" fmla="*/ 382110 w 488247"/>
                    <a:gd name="connsiteY56" fmla="*/ 245647 h 43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88247" h="430893">
                      <a:moveTo>
                        <a:pt x="457407" y="169378"/>
                      </a:moveTo>
                      <a:cubicBezTo>
                        <a:pt x="438513" y="169378"/>
                        <a:pt x="419759" y="150345"/>
                        <a:pt x="426010" y="137564"/>
                      </a:cubicBezTo>
                      <a:cubicBezTo>
                        <a:pt x="426010" y="124783"/>
                        <a:pt x="438513" y="118532"/>
                        <a:pt x="444765" y="118532"/>
                      </a:cubicBezTo>
                      <a:cubicBezTo>
                        <a:pt x="451016" y="118532"/>
                        <a:pt x="457268" y="124922"/>
                        <a:pt x="463659" y="124922"/>
                      </a:cubicBezTo>
                      <a:cubicBezTo>
                        <a:pt x="463659" y="105890"/>
                        <a:pt x="469910" y="86857"/>
                        <a:pt x="463659" y="67686"/>
                      </a:cubicBezTo>
                      <a:cubicBezTo>
                        <a:pt x="457407" y="61295"/>
                        <a:pt x="451155" y="48653"/>
                        <a:pt x="451155" y="42263"/>
                      </a:cubicBezTo>
                      <a:cubicBezTo>
                        <a:pt x="444904" y="29482"/>
                        <a:pt x="444904" y="16840"/>
                        <a:pt x="444904" y="4198"/>
                      </a:cubicBezTo>
                      <a:cubicBezTo>
                        <a:pt x="432401" y="10588"/>
                        <a:pt x="413507" y="4198"/>
                        <a:pt x="407255" y="4198"/>
                      </a:cubicBezTo>
                      <a:cubicBezTo>
                        <a:pt x="388362" y="-2193"/>
                        <a:pt x="375859" y="-2193"/>
                        <a:pt x="369607" y="10588"/>
                      </a:cubicBezTo>
                      <a:cubicBezTo>
                        <a:pt x="357104" y="16979"/>
                        <a:pt x="344462" y="16979"/>
                        <a:pt x="338210" y="29621"/>
                      </a:cubicBezTo>
                      <a:cubicBezTo>
                        <a:pt x="331959" y="36011"/>
                        <a:pt x="319317" y="42402"/>
                        <a:pt x="313066" y="48653"/>
                      </a:cubicBezTo>
                      <a:cubicBezTo>
                        <a:pt x="306814" y="55044"/>
                        <a:pt x="306814" y="67686"/>
                        <a:pt x="300562" y="74076"/>
                      </a:cubicBezTo>
                      <a:cubicBezTo>
                        <a:pt x="294311" y="86718"/>
                        <a:pt x="281808" y="74076"/>
                        <a:pt x="275417" y="86718"/>
                      </a:cubicBezTo>
                      <a:cubicBezTo>
                        <a:pt x="269166" y="93109"/>
                        <a:pt x="275417" y="99499"/>
                        <a:pt x="269166" y="105751"/>
                      </a:cubicBezTo>
                      <a:cubicBezTo>
                        <a:pt x="256662" y="131174"/>
                        <a:pt x="225266" y="112141"/>
                        <a:pt x="206372" y="105751"/>
                      </a:cubicBezTo>
                      <a:cubicBezTo>
                        <a:pt x="187478" y="93109"/>
                        <a:pt x="181227" y="118532"/>
                        <a:pt x="168723" y="131174"/>
                      </a:cubicBezTo>
                      <a:cubicBezTo>
                        <a:pt x="162472" y="137564"/>
                        <a:pt x="156220" y="150206"/>
                        <a:pt x="143579" y="150206"/>
                      </a:cubicBezTo>
                      <a:cubicBezTo>
                        <a:pt x="143579" y="150206"/>
                        <a:pt x="118433" y="150206"/>
                        <a:pt x="118433" y="143816"/>
                      </a:cubicBezTo>
                      <a:cubicBezTo>
                        <a:pt x="130937" y="124783"/>
                        <a:pt x="124685" y="92970"/>
                        <a:pt x="99540" y="86579"/>
                      </a:cubicBezTo>
                      <a:cubicBezTo>
                        <a:pt x="99540" y="118393"/>
                        <a:pt x="99540" y="150067"/>
                        <a:pt x="99540" y="181881"/>
                      </a:cubicBezTo>
                      <a:cubicBezTo>
                        <a:pt x="99540" y="181881"/>
                        <a:pt x="105791" y="200914"/>
                        <a:pt x="99540" y="207304"/>
                      </a:cubicBezTo>
                      <a:cubicBezTo>
                        <a:pt x="80646" y="219946"/>
                        <a:pt x="74394" y="226336"/>
                        <a:pt x="49388" y="219946"/>
                      </a:cubicBezTo>
                      <a:cubicBezTo>
                        <a:pt x="43137" y="219946"/>
                        <a:pt x="36885" y="219946"/>
                        <a:pt x="30494" y="213555"/>
                      </a:cubicBezTo>
                      <a:cubicBezTo>
                        <a:pt x="24243" y="200775"/>
                        <a:pt x="17991" y="194523"/>
                        <a:pt x="5350" y="207165"/>
                      </a:cubicBezTo>
                      <a:cubicBezTo>
                        <a:pt x="-7153" y="219807"/>
                        <a:pt x="5350" y="238979"/>
                        <a:pt x="11601" y="251621"/>
                      </a:cubicBezTo>
                      <a:cubicBezTo>
                        <a:pt x="17853" y="258011"/>
                        <a:pt x="24104" y="270653"/>
                        <a:pt x="24104" y="283434"/>
                      </a:cubicBezTo>
                      <a:cubicBezTo>
                        <a:pt x="36608" y="308857"/>
                        <a:pt x="61752" y="321499"/>
                        <a:pt x="49249" y="353313"/>
                      </a:cubicBezTo>
                      <a:cubicBezTo>
                        <a:pt x="42998" y="366094"/>
                        <a:pt x="36746" y="366094"/>
                        <a:pt x="42998" y="378736"/>
                      </a:cubicBezTo>
                      <a:cubicBezTo>
                        <a:pt x="49249" y="385126"/>
                        <a:pt x="49249" y="391378"/>
                        <a:pt x="49249" y="391378"/>
                      </a:cubicBezTo>
                      <a:cubicBezTo>
                        <a:pt x="55501" y="397768"/>
                        <a:pt x="49249" y="410410"/>
                        <a:pt x="55501" y="416801"/>
                      </a:cubicBezTo>
                      <a:cubicBezTo>
                        <a:pt x="55501" y="416801"/>
                        <a:pt x="55501" y="404158"/>
                        <a:pt x="61752" y="404158"/>
                      </a:cubicBezTo>
                      <a:cubicBezTo>
                        <a:pt x="61752" y="404158"/>
                        <a:pt x="80507" y="423191"/>
                        <a:pt x="86898" y="429582"/>
                      </a:cubicBezTo>
                      <a:cubicBezTo>
                        <a:pt x="99401" y="435972"/>
                        <a:pt x="112043" y="416940"/>
                        <a:pt x="124546" y="416940"/>
                      </a:cubicBezTo>
                      <a:cubicBezTo>
                        <a:pt x="137049" y="410549"/>
                        <a:pt x="149691" y="423330"/>
                        <a:pt x="155943" y="410549"/>
                      </a:cubicBezTo>
                      <a:cubicBezTo>
                        <a:pt x="168446" y="404158"/>
                        <a:pt x="174837" y="404158"/>
                        <a:pt x="187340" y="404158"/>
                      </a:cubicBezTo>
                      <a:cubicBezTo>
                        <a:pt x="199843" y="404158"/>
                        <a:pt x="212484" y="404158"/>
                        <a:pt x="231239" y="404158"/>
                      </a:cubicBezTo>
                      <a:lnTo>
                        <a:pt x="237491" y="404158"/>
                      </a:lnTo>
                      <a:cubicBezTo>
                        <a:pt x="243742" y="404158"/>
                        <a:pt x="243742" y="397768"/>
                        <a:pt x="249994" y="397768"/>
                      </a:cubicBezTo>
                      <a:cubicBezTo>
                        <a:pt x="249994" y="397768"/>
                        <a:pt x="249994" y="391378"/>
                        <a:pt x="256245" y="391378"/>
                      </a:cubicBezTo>
                      <a:cubicBezTo>
                        <a:pt x="256245" y="397768"/>
                        <a:pt x="256245" y="410410"/>
                        <a:pt x="268748" y="410410"/>
                      </a:cubicBezTo>
                      <a:cubicBezTo>
                        <a:pt x="268748" y="410410"/>
                        <a:pt x="262497" y="384987"/>
                        <a:pt x="281251" y="391378"/>
                      </a:cubicBezTo>
                      <a:cubicBezTo>
                        <a:pt x="306397" y="397768"/>
                        <a:pt x="331403" y="372345"/>
                        <a:pt x="350297" y="353313"/>
                      </a:cubicBezTo>
                      <a:cubicBezTo>
                        <a:pt x="369191" y="340670"/>
                        <a:pt x="381694" y="321499"/>
                        <a:pt x="400448" y="302466"/>
                      </a:cubicBezTo>
                      <a:cubicBezTo>
                        <a:pt x="419342" y="283434"/>
                        <a:pt x="425594" y="258011"/>
                        <a:pt x="444348" y="232588"/>
                      </a:cubicBezTo>
                      <a:cubicBezTo>
                        <a:pt x="450600" y="226198"/>
                        <a:pt x="469493" y="219807"/>
                        <a:pt x="475744" y="207165"/>
                      </a:cubicBezTo>
                      <a:cubicBezTo>
                        <a:pt x="481996" y="194523"/>
                        <a:pt x="488248" y="169100"/>
                        <a:pt x="488248" y="156319"/>
                      </a:cubicBezTo>
                      <a:cubicBezTo>
                        <a:pt x="481996" y="156319"/>
                        <a:pt x="475744" y="156319"/>
                        <a:pt x="469355" y="156319"/>
                      </a:cubicBezTo>
                      <a:cubicBezTo>
                        <a:pt x="463659" y="156597"/>
                        <a:pt x="463659" y="169378"/>
                        <a:pt x="457407" y="169378"/>
                      </a:cubicBezTo>
                      <a:close/>
                      <a:moveTo>
                        <a:pt x="382110" y="245647"/>
                      </a:moveTo>
                      <a:cubicBezTo>
                        <a:pt x="375859" y="245647"/>
                        <a:pt x="375859" y="258289"/>
                        <a:pt x="375859" y="258289"/>
                      </a:cubicBezTo>
                      <a:cubicBezTo>
                        <a:pt x="369607" y="271070"/>
                        <a:pt x="356965" y="264679"/>
                        <a:pt x="350713" y="271070"/>
                      </a:cubicBezTo>
                      <a:cubicBezTo>
                        <a:pt x="344462" y="271070"/>
                        <a:pt x="344462" y="277460"/>
                        <a:pt x="338210" y="277460"/>
                      </a:cubicBezTo>
                      <a:cubicBezTo>
                        <a:pt x="325707" y="277460"/>
                        <a:pt x="319317" y="264818"/>
                        <a:pt x="319317" y="258428"/>
                      </a:cubicBezTo>
                      <a:cubicBezTo>
                        <a:pt x="313066" y="245786"/>
                        <a:pt x="331820" y="226614"/>
                        <a:pt x="344462" y="220363"/>
                      </a:cubicBezTo>
                      <a:cubicBezTo>
                        <a:pt x="350713" y="213972"/>
                        <a:pt x="363355" y="213972"/>
                        <a:pt x="369607" y="220363"/>
                      </a:cubicBezTo>
                      <a:cubicBezTo>
                        <a:pt x="375720" y="226475"/>
                        <a:pt x="394613" y="239256"/>
                        <a:pt x="382110" y="245647"/>
                      </a:cubicBezTo>
                      <a:cubicBezTo>
                        <a:pt x="375720" y="245647"/>
                        <a:pt x="388362" y="239256"/>
                        <a:pt x="382110" y="24564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3" name="Freihandform: Form 382">
                  <a:extLst>
                    <a:ext uri="{FF2B5EF4-FFF2-40B4-BE49-F238E27FC236}">
                      <a16:creationId xmlns:a16="http://schemas.microsoft.com/office/drawing/2014/main" id="{4B2DC576-7E18-489D-9CC3-A6103543F0FA}"/>
                    </a:ext>
                  </a:extLst>
                </p:cNvPr>
                <p:cNvSpPr/>
                <p:nvPr/>
              </p:nvSpPr>
              <p:spPr>
                <a:xfrm>
                  <a:off x="6915529" y="5451889"/>
                  <a:ext cx="62989" cy="61471"/>
                </a:xfrm>
                <a:custGeom>
                  <a:avLst/>
                  <a:gdLst>
                    <a:gd name="connsiteX0" fmla="*/ 59213 w 62989"/>
                    <a:gd name="connsiteY0" fmla="*/ 16676 h 61471"/>
                    <a:gd name="connsiteX1" fmla="*/ 12256 w 62989"/>
                    <a:gd name="connsiteY1" fmla="*/ 10147 h 61471"/>
                    <a:gd name="connsiteX2" fmla="*/ 6422 w 62989"/>
                    <a:gd name="connsiteY2" fmla="*/ 49740 h 61471"/>
                    <a:gd name="connsiteX3" fmla="*/ 35735 w 62989"/>
                    <a:gd name="connsiteY3" fmla="*/ 49740 h 61471"/>
                    <a:gd name="connsiteX4" fmla="*/ 59213 w 62989"/>
                    <a:gd name="connsiteY4" fmla="*/ 16676 h 61471"/>
                    <a:gd name="connsiteX5" fmla="*/ 59213 w 62989"/>
                    <a:gd name="connsiteY5" fmla="*/ 16676 h 6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89" h="61471">
                      <a:moveTo>
                        <a:pt x="59213" y="16676"/>
                      </a:moveTo>
                      <a:cubicBezTo>
                        <a:pt x="47543" y="3479"/>
                        <a:pt x="24065" y="-9719"/>
                        <a:pt x="12256" y="10147"/>
                      </a:cubicBezTo>
                      <a:cubicBezTo>
                        <a:pt x="587" y="23345"/>
                        <a:pt x="-5387" y="36543"/>
                        <a:pt x="6422" y="49740"/>
                      </a:cubicBezTo>
                      <a:cubicBezTo>
                        <a:pt x="18091" y="76136"/>
                        <a:pt x="24065" y="49740"/>
                        <a:pt x="35735" y="49740"/>
                      </a:cubicBezTo>
                      <a:cubicBezTo>
                        <a:pt x="53378" y="49740"/>
                        <a:pt x="70882" y="23345"/>
                        <a:pt x="59213" y="16676"/>
                      </a:cubicBezTo>
                      <a:cubicBezTo>
                        <a:pt x="53378" y="10147"/>
                        <a:pt x="65047" y="16676"/>
                        <a:pt x="59213" y="1667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4" name="Freihandform: Form 383">
                  <a:extLst>
                    <a:ext uri="{FF2B5EF4-FFF2-40B4-BE49-F238E27FC236}">
                      <a16:creationId xmlns:a16="http://schemas.microsoft.com/office/drawing/2014/main" id="{6573CC66-AD10-4F49-9F60-2E70399F244F}"/>
                    </a:ext>
                  </a:extLst>
                </p:cNvPr>
                <p:cNvSpPr/>
                <p:nvPr/>
              </p:nvSpPr>
              <p:spPr>
                <a:xfrm>
                  <a:off x="6471700" y="4674239"/>
                  <a:ext cx="28618" cy="43305"/>
                </a:xfrm>
                <a:custGeom>
                  <a:avLst/>
                  <a:gdLst>
                    <a:gd name="connsiteX0" fmla="*/ 11392 w 28618"/>
                    <a:gd name="connsiteY0" fmla="*/ 25523 h 43305"/>
                    <a:gd name="connsiteX1" fmla="*/ 28618 w 28618"/>
                    <a:gd name="connsiteY1" fmla="*/ 1628 h 43305"/>
                    <a:gd name="connsiteX2" fmla="*/ 5696 w 28618"/>
                    <a:gd name="connsiteY2" fmla="*/ 13576 h 43305"/>
                    <a:gd name="connsiteX3" fmla="*/ 0 w 28618"/>
                    <a:gd name="connsiteY3" fmla="*/ 43305 h 43305"/>
                    <a:gd name="connsiteX4" fmla="*/ 11392 w 28618"/>
                    <a:gd name="connsiteY4" fmla="*/ 25523 h 43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8" h="43305">
                      <a:moveTo>
                        <a:pt x="11392" y="25523"/>
                      </a:moveTo>
                      <a:cubicBezTo>
                        <a:pt x="11392" y="19549"/>
                        <a:pt x="22783" y="7602"/>
                        <a:pt x="28618" y="1628"/>
                      </a:cubicBezTo>
                      <a:cubicBezTo>
                        <a:pt x="22922" y="-4346"/>
                        <a:pt x="11392" y="7602"/>
                        <a:pt x="5696" y="13576"/>
                      </a:cubicBezTo>
                      <a:cubicBezTo>
                        <a:pt x="0" y="19549"/>
                        <a:pt x="0" y="31497"/>
                        <a:pt x="0" y="43305"/>
                      </a:cubicBezTo>
                      <a:cubicBezTo>
                        <a:pt x="11392" y="37470"/>
                        <a:pt x="11392" y="31497"/>
                        <a:pt x="11392" y="2552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5" name="Freihandform: Form 384">
                  <a:extLst>
                    <a:ext uri="{FF2B5EF4-FFF2-40B4-BE49-F238E27FC236}">
                      <a16:creationId xmlns:a16="http://schemas.microsoft.com/office/drawing/2014/main" id="{5E455EA6-C6B1-4D96-9E80-620EBBB0BC7E}"/>
                    </a:ext>
                  </a:extLst>
                </p:cNvPr>
                <p:cNvSpPr/>
                <p:nvPr/>
              </p:nvSpPr>
              <p:spPr>
                <a:xfrm>
                  <a:off x="6443220" y="4417539"/>
                  <a:ext cx="209496" cy="281111"/>
                </a:xfrm>
                <a:custGeom>
                  <a:avLst/>
                  <a:gdLst>
                    <a:gd name="connsiteX0" fmla="*/ 65711 w 209496"/>
                    <a:gd name="connsiteY0" fmla="*/ 274721 h 281111"/>
                    <a:gd name="connsiteX1" fmla="*/ 89745 w 209496"/>
                    <a:gd name="connsiteY1" fmla="*/ 255688 h 281111"/>
                    <a:gd name="connsiteX2" fmla="*/ 95718 w 209496"/>
                    <a:gd name="connsiteY2" fmla="*/ 268469 h 281111"/>
                    <a:gd name="connsiteX3" fmla="*/ 137673 w 209496"/>
                    <a:gd name="connsiteY3" fmla="*/ 230404 h 281111"/>
                    <a:gd name="connsiteX4" fmla="*/ 149621 w 209496"/>
                    <a:gd name="connsiteY4" fmla="*/ 160526 h 281111"/>
                    <a:gd name="connsiteX5" fmla="*/ 185602 w 209496"/>
                    <a:gd name="connsiteY5" fmla="*/ 97038 h 281111"/>
                    <a:gd name="connsiteX6" fmla="*/ 197550 w 209496"/>
                    <a:gd name="connsiteY6" fmla="*/ 46192 h 281111"/>
                    <a:gd name="connsiteX7" fmla="*/ 209496 w 209496"/>
                    <a:gd name="connsiteY7" fmla="*/ 8127 h 281111"/>
                    <a:gd name="connsiteX8" fmla="*/ 173515 w 209496"/>
                    <a:gd name="connsiteY8" fmla="*/ 1736 h 281111"/>
                    <a:gd name="connsiteX9" fmla="*/ 155594 w 209496"/>
                    <a:gd name="connsiteY9" fmla="*/ 8127 h 281111"/>
                    <a:gd name="connsiteX10" fmla="*/ 149621 w 209496"/>
                    <a:gd name="connsiteY10" fmla="*/ 33549 h 281111"/>
                    <a:gd name="connsiteX11" fmla="*/ 119613 w 209496"/>
                    <a:gd name="connsiteY11" fmla="*/ 58973 h 281111"/>
                    <a:gd name="connsiteX12" fmla="*/ 59737 w 209496"/>
                    <a:gd name="connsiteY12" fmla="*/ 46192 h 281111"/>
                    <a:gd name="connsiteX13" fmla="*/ 77658 w 209496"/>
                    <a:gd name="connsiteY13" fmla="*/ 78005 h 281111"/>
                    <a:gd name="connsiteX14" fmla="*/ 83632 w 209496"/>
                    <a:gd name="connsiteY14" fmla="*/ 116070 h 281111"/>
                    <a:gd name="connsiteX15" fmla="*/ 89606 w 209496"/>
                    <a:gd name="connsiteY15" fmla="*/ 135103 h 281111"/>
                    <a:gd name="connsiteX16" fmla="*/ 95579 w 209496"/>
                    <a:gd name="connsiteY16" fmla="*/ 154135 h 281111"/>
                    <a:gd name="connsiteX17" fmla="*/ 89606 w 209496"/>
                    <a:gd name="connsiteY17" fmla="*/ 198591 h 281111"/>
                    <a:gd name="connsiteX18" fmla="*/ 77658 w 209496"/>
                    <a:gd name="connsiteY18" fmla="*/ 192200 h 281111"/>
                    <a:gd name="connsiteX19" fmla="*/ 59737 w 209496"/>
                    <a:gd name="connsiteY19" fmla="*/ 198591 h 281111"/>
                    <a:gd name="connsiteX20" fmla="*/ 47790 w 209496"/>
                    <a:gd name="connsiteY20" fmla="*/ 179558 h 281111"/>
                    <a:gd name="connsiteX21" fmla="*/ 35842 w 209496"/>
                    <a:gd name="connsiteY21" fmla="*/ 198591 h 281111"/>
                    <a:gd name="connsiteX22" fmla="*/ 23895 w 209496"/>
                    <a:gd name="connsiteY22" fmla="*/ 198591 h 281111"/>
                    <a:gd name="connsiteX23" fmla="*/ 17921 w 209496"/>
                    <a:gd name="connsiteY23" fmla="*/ 217623 h 281111"/>
                    <a:gd name="connsiteX24" fmla="*/ 0 w 209496"/>
                    <a:gd name="connsiteY24" fmla="*/ 243046 h 281111"/>
                    <a:gd name="connsiteX25" fmla="*/ 30008 w 209496"/>
                    <a:gd name="connsiteY25" fmla="*/ 281111 h 281111"/>
                    <a:gd name="connsiteX26" fmla="*/ 47929 w 209496"/>
                    <a:gd name="connsiteY26" fmla="*/ 262079 h 281111"/>
                    <a:gd name="connsiteX27" fmla="*/ 65711 w 209496"/>
                    <a:gd name="connsiteY27" fmla="*/ 274721 h 281111"/>
                    <a:gd name="connsiteX28" fmla="*/ 65711 w 209496"/>
                    <a:gd name="connsiteY28" fmla="*/ 274721 h 281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9496" h="281111">
                      <a:moveTo>
                        <a:pt x="65711" y="274721"/>
                      </a:moveTo>
                      <a:cubicBezTo>
                        <a:pt x="71685" y="274721"/>
                        <a:pt x="83632" y="262079"/>
                        <a:pt x="89745" y="255688"/>
                      </a:cubicBezTo>
                      <a:cubicBezTo>
                        <a:pt x="101692" y="249298"/>
                        <a:pt x="89745" y="268469"/>
                        <a:pt x="95718" y="268469"/>
                      </a:cubicBezTo>
                      <a:cubicBezTo>
                        <a:pt x="95718" y="268469"/>
                        <a:pt x="137673" y="243046"/>
                        <a:pt x="137673" y="230404"/>
                      </a:cubicBezTo>
                      <a:cubicBezTo>
                        <a:pt x="137673" y="204981"/>
                        <a:pt x="137673" y="179558"/>
                        <a:pt x="149621" y="160526"/>
                      </a:cubicBezTo>
                      <a:cubicBezTo>
                        <a:pt x="161568" y="135103"/>
                        <a:pt x="179628" y="116070"/>
                        <a:pt x="185602" y="97038"/>
                      </a:cubicBezTo>
                      <a:cubicBezTo>
                        <a:pt x="191575" y="78005"/>
                        <a:pt x="191575" y="65224"/>
                        <a:pt x="197550" y="46192"/>
                      </a:cubicBezTo>
                      <a:cubicBezTo>
                        <a:pt x="197550" y="33549"/>
                        <a:pt x="209496" y="20769"/>
                        <a:pt x="209496" y="8127"/>
                      </a:cubicBezTo>
                      <a:cubicBezTo>
                        <a:pt x="197550" y="8127"/>
                        <a:pt x="185463" y="-4515"/>
                        <a:pt x="173515" y="1736"/>
                      </a:cubicBezTo>
                      <a:cubicBezTo>
                        <a:pt x="167542" y="1736"/>
                        <a:pt x="155594" y="1736"/>
                        <a:pt x="155594" y="8127"/>
                      </a:cubicBezTo>
                      <a:cubicBezTo>
                        <a:pt x="149621" y="20908"/>
                        <a:pt x="149621" y="27159"/>
                        <a:pt x="149621" y="33549"/>
                      </a:cubicBezTo>
                      <a:cubicBezTo>
                        <a:pt x="143647" y="52582"/>
                        <a:pt x="137673" y="58973"/>
                        <a:pt x="119613" y="58973"/>
                      </a:cubicBezTo>
                      <a:cubicBezTo>
                        <a:pt x="101692" y="52582"/>
                        <a:pt x="77658" y="46192"/>
                        <a:pt x="59737" y="46192"/>
                      </a:cubicBezTo>
                      <a:cubicBezTo>
                        <a:pt x="59737" y="58973"/>
                        <a:pt x="53763" y="84257"/>
                        <a:pt x="77658" y="78005"/>
                      </a:cubicBezTo>
                      <a:cubicBezTo>
                        <a:pt x="101692" y="65224"/>
                        <a:pt x="83632" y="103428"/>
                        <a:pt x="83632" y="116070"/>
                      </a:cubicBezTo>
                      <a:cubicBezTo>
                        <a:pt x="83632" y="122461"/>
                        <a:pt x="83632" y="128712"/>
                        <a:pt x="89606" y="135103"/>
                      </a:cubicBezTo>
                      <a:cubicBezTo>
                        <a:pt x="95579" y="141493"/>
                        <a:pt x="95579" y="147745"/>
                        <a:pt x="95579" y="154135"/>
                      </a:cubicBezTo>
                      <a:cubicBezTo>
                        <a:pt x="95579" y="166777"/>
                        <a:pt x="95579" y="185949"/>
                        <a:pt x="89606" y="198591"/>
                      </a:cubicBezTo>
                      <a:cubicBezTo>
                        <a:pt x="89606" y="204981"/>
                        <a:pt x="77658" y="192200"/>
                        <a:pt x="77658" y="192200"/>
                      </a:cubicBezTo>
                      <a:cubicBezTo>
                        <a:pt x="65711" y="192200"/>
                        <a:pt x="65711" y="204842"/>
                        <a:pt x="59737" y="198591"/>
                      </a:cubicBezTo>
                      <a:cubicBezTo>
                        <a:pt x="59737" y="192200"/>
                        <a:pt x="53763" y="185949"/>
                        <a:pt x="47790" y="179558"/>
                      </a:cubicBezTo>
                      <a:cubicBezTo>
                        <a:pt x="41816" y="179558"/>
                        <a:pt x="41816" y="192339"/>
                        <a:pt x="35842" y="198591"/>
                      </a:cubicBezTo>
                      <a:lnTo>
                        <a:pt x="23895" y="198591"/>
                      </a:lnTo>
                      <a:cubicBezTo>
                        <a:pt x="11948" y="198591"/>
                        <a:pt x="17921" y="211372"/>
                        <a:pt x="17921" y="217623"/>
                      </a:cubicBezTo>
                      <a:cubicBezTo>
                        <a:pt x="23895" y="236656"/>
                        <a:pt x="17921" y="230404"/>
                        <a:pt x="0" y="243046"/>
                      </a:cubicBezTo>
                      <a:cubicBezTo>
                        <a:pt x="11948" y="255688"/>
                        <a:pt x="24034" y="262079"/>
                        <a:pt x="30008" y="281111"/>
                      </a:cubicBezTo>
                      <a:cubicBezTo>
                        <a:pt x="35981" y="274721"/>
                        <a:pt x="41955" y="268469"/>
                        <a:pt x="47929" y="262079"/>
                      </a:cubicBezTo>
                      <a:cubicBezTo>
                        <a:pt x="59737" y="255688"/>
                        <a:pt x="59737" y="268330"/>
                        <a:pt x="65711" y="274721"/>
                      </a:cubicBezTo>
                      <a:cubicBezTo>
                        <a:pt x="71823" y="274721"/>
                        <a:pt x="59737" y="268330"/>
                        <a:pt x="65711" y="27472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6" name="Freihandform: Form 385">
                  <a:extLst>
                    <a:ext uri="{FF2B5EF4-FFF2-40B4-BE49-F238E27FC236}">
                      <a16:creationId xmlns:a16="http://schemas.microsoft.com/office/drawing/2014/main" id="{D27F2213-3FCE-4C5C-A2C8-C8654DE237E0}"/>
                    </a:ext>
                  </a:extLst>
                </p:cNvPr>
                <p:cNvSpPr/>
                <p:nvPr/>
              </p:nvSpPr>
              <p:spPr>
                <a:xfrm>
                  <a:off x="6538127" y="4183939"/>
                  <a:ext cx="375459" cy="285904"/>
                </a:xfrm>
                <a:custGeom>
                  <a:avLst/>
                  <a:gdLst>
                    <a:gd name="connsiteX0" fmla="*/ 65828 w 375459"/>
                    <a:gd name="connsiteY0" fmla="*/ 235059 h 285904"/>
                    <a:gd name="connsiteX1" fmla="*/ 97086 w 375459"/>
                    <a:gd name="connsiteY1" fmla="*/ 235059 h 285904"/>
                    <a:gd name="connsiteX2" fmla="*/ 115841 w 375459"/>
                    <a:gd name="connsiteY2" fmla="*/ 241449 h 285904"/>
                    <a:gd name="connsiteX3" fmla="*/ 122092 w 375459"/>
                    <a:gd name="connsiteY3" fmla="*/ 209635 h 285904"/>
                    <a:gd name="connsiteX4" fmla="*/ 147098 w 375459"/>
                    <a:gd name="connsiteY4" fmla="*/ 190603 h 285904"/>
                    <a:gd name="connsiteX5" fmla="*/ 178356 w 375459"/>
                    <a:gd name="connsiteY5" fmla="*/ 209635 h 285904"/>
                    <a:gd name="connsiteX6" fmla="*/ 215866 w 375459"/>
                    <a:gd name="connsiteY6" fmla="*/ 216026 h 285904"/>
                    <a:gd name="connsiteX7" fmla="*/ 234620 w 375459"/>
                    <a:gd name="connsiteY7" fmla="*/ 216026 h 285904"/>
                    <a:gd name="connsiteX8" fmla="*/ 247123 w 375459"/>
                    <a:gd name="connsiteY8" fmla="*/ 190603 h 285904"/>
                    <a:gd name="connsiteX9" fmla="*/ 272130 w 375459"/>
                    <a:gd name="connsiteY9" fmla="*/ 196993 h 285904"/>
                    <a:gd name="connsiteX10" fmla="*/ 303387 w 375459"/>
                    <a:gd name="connsiteY10" fmla="*/ 196993 h 285904"/>
                    <a:gd name="connsiteX11" fmla="*/ 334645 w 375459"/>
                    <a:gd name="connsiteY11" fmla="*/ 184212 h 285904"/>
                    <a:gd name="connsiteX12" fmla="*/ 365903 w 375459"/>
                    <a:gd name="connsiteY12" fmla="*/ 190603 h 285904"/>
                    <a:gd name="connsiteX13" fmla="*/ 353400 w 375459"/>
                    <a:gd name="connsiteY13" fmla="*/ 152538 h 285904"/>
                    <a:gd name="connsiteX14" fmla="*/ 334645 w 375459"/>
                    <a:gd name="connsiteY14" fmla="*/ 127115 h 285904"/>
                    <a:gd name="connsiteX15" fmla="*/ 309639 w 375459"/>
                    <a:gd name="connsiteY15" fmla="*/ 101692 h 285904"/>
                    <a:gd name="connsiteX16" fmla="*/ 284633 w 375459"/>
                    <a:gd name="connsiteY16" fmla="*/ 82660 h 285904"/>
                    <a:gd name="connsiteX17" fmla="*/ 278381 w 375459"/>
                    <a:gd name="connsiteY17" fmla="*/ 76269 h 285904"/>
                    <a:gd name="connsiteX18" fmla="*/ 265878 w 375459"/>
                    <a:gd name="connsiteY18" fmla="*/ 76269 h 285904"/>
                    <a:gd name="connsiteX19" fmla="*/ 265878 w 375459"/>
                    <a:gd name="connsiteY19" fmla="*/ 38204 h 285904"/>
                    <a:gd name="connsiteX20" fmla="*/ 247123 w 375459"/>
                    <a:gd name="connsiteY20" fmla="*/ 6390 h 285904"/>
                    <a:gd name="connsiteX21" fmla="*/ 247123 w 375459"/>
                    <a:gd name="connsiteY21" fmla="*/ 0 h 285904"/>
                    <a:gd name="connsiteX22" fmla="*/ 228369 w 375459"/>
                    <a:gd name="connsiteY22" fmla="*/ 0 h 285904"/>
                    <a:gd name="connsiteX23" fmla="*/ 209614 w 375459"/>
                    <a:gd name="connsiteY23" fmla="*/ 19032 h 285904"/>
                    <a:gd name="connsiteX24" fmla="*/ 153350 w 375459"/>
                    <a:gd name="connsiteY24" fmla="*/ 63488 h 285904"/>
                    <a:gd name="connsiteX25" fmla="*/ 128344 w 375459"/>
                    <a:gd name="connsiteY25" fmla="*/ 69878 h 285904"/>
                    <a:gd name="connsiteX26" fmla="*/ 109589 w 375459"/>
                    <a:gd name="connsiteY26" fmla="*/ 95301 h 285904"/>
                    <a:gd name="connsiteX27" fmla="*/ 72080 w 375459"/>
                    <a:gd name="connsiteY27" fmla="*/ 107944 h 285904"/>
                    <a:gd name="connsiteX28" fmla="*/ 47073 w 375459"/>
                    <a:gd name="connsiteY28" fmla="*/ 107944 h 285904"/>
                    <a:gd name="connsiteX29" fmla="*/ 28319 w 375459"/>
                    <a:gd name="connsiteY29" fmla="*/ 114334 h 285904"/>
                    <a:gd name="connsiteX30" fmla="*/ 9564 w 375459"/>
                    <a:gd name="connsiteY30" fmla="*/ 146148 h 285904"/>
                    <a:gd name="connsiteX31" fmla="*/ 15815 w 375459"/>
                    <a:gd name="connsiteY31" fmla="*/ 216026 h 285904"/>
                    <a:gd name="connsiteX32" fmla="*/ 28319 w 375459"/>
                    <a:gd name="connsiteY32" fmla="*/ 247839 h 285904"/>
                    <a:gd name="connsiteX33" fmla="*/ 47073 w 375459"/>
                    <a:gd name="connsiteY33" fmla="*/ 285904 h 285904"/>
                    <a:gd name="connsiteX34" fmla="*/ 65828 w 375459"/>
                    <a:gd name="connsiteY34" fmla="*/ 235059 h 28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5459" h="285904">
                      <a:moveTo>
                        <a:pt x="65828" y="235059"/>
                      </a:moveTo>
                      <a:cubicBezTo>
                        <a:pt x="72080" y="235059"/>
                        <a:pt x="90834" y="228668"/>
                        <a:pt x="97086" y="235059"/>
                      </a:cubicBezTo>
                      <a:cubicBezTo>
                        <a:pt x="97086" y="241449"/>
                        <a:pt x="115841" y="241449"/>
                        <a:pt x="115841" y="241449"/>
                      </a:cubicBezTo>
                      <a:cubicBezTo>
                        <a:pt x="122092" y="228807"/>
                        <a:pt x="115841" y="216026"/>
                        <a:pt x="122092" y="209635"/>
                      </a:cubicBezTo>
                      <a:cubicBezTo>
                        <a:pt x="122092" y="203245"/>
                        <a:pt x="134595" y="184212"/>
                        <a:pt x="147098" y="190603"/>
                      </a:cubicBezTo>
                      <a:cubicBezTo>
                        <a:pt x="159602" y="190603"/>
                        <a:pt x="165853" y="203245"/>
                        <a:pt x="178356" y="209635"/>
                      </a:cubicBezTo>
                      <a:cubicBezTo>
                        <a:pt x="190859" y="216026"/>
                        <a:pt x="203363" y="216026"/>
                        <a:pt x="215866" y="216026"/>
                      </a:cubicBezTo>
                      <a:cubicBezTo>
                        <a:pt x="222117" y="216026"/>
                        <a:pt x="234620" y="222416"/>
                        <a:pt x="234620" y="216026"/>
                      </a:cubicBezTo>
                      <a:cubicBezTo>
                        <a:pt x="240872" y="209635"/>
                        <a:pt x="240872" y="184212"/>
                        <a:pt x="247123" y="190603"/>
                      </a:cubicBezTo>
                      <a:cubicBezTo>
                        <a:pt x="259627" y="196993"/>
                        <a:pt x="259627" y="196993"/>
                        <a:pt x="272130" y="196993"/>
                      </a:cubicBezTo>
                      <a:cubicBezTo>
                        <a:pt x="284633" y="190603"/>
                        <a:pt x="290884" y="196993"/>
                        <a:pt x="303387" y="196993"/>
                      </a:cubicBezTo>
                      <a:cubicBezTo>
                        <a:pt x="315891" y="196993"/>
                        <a:pt x="322142" y="177961"/>
                        <a:pt x="334645" y="184212"/>
                      </a:cubicBezTo>
                      <a:cubicBezTo>
                        <a:pt x="340897" y="184212"/>
                        <a:pt x="353400" y="196993"/>
                        <a:pt x="365903" y="190603"/>
                      </a:cubicBezTo>
                      <a:cubicBezTo>
                        <a:pt x="390909" y="177961"/>
                        <a:pt x="359652" y="165180"/>
                        <a:pt x="353400" y="152538"/>
                      </a:cubicBezTo>
                      <a:cubicBezTo>
                        <a:pt x="347148" y="139896"/>
                        <a:pt x="347148" y="133505"/>
                        <a:pt x="334645" y="127115"/>
                      </a:cubicBezTo>
                      <a:cubicBezTo>
                        <a:pt x="322142" y="120724"/>
                        <a:pt x="315891" y="114473"/>
                        <a:pt x="309639" y="101692"/>
                      </a:cubicBezTo>
                      <a:cubicBezTo>
                        <a:pt x="309639" y="88911"/>
                        <a:pt x="297136" y="88911"/>
                        <a:pt x="284633" y="82660"/>
                      </a:cubicBezTo>
                      <a:cubicBezTo>
                        <a:pt x="284633" y="82660"/>
                        <a:pt x="284633" y="76269"/>
                        <a:pt x="278381" y="76269"/>
                      </a:cubicBezTo>
                      <a:lnTo>
                        <a:pt x="265878" y="76269"/>
                      </a:lnTo>
                      <a:cubicBezTo>
                        <a:pt x="259627" y="69878"/>
                        <a:pt x="265878" y="44456"/>
                        <a:pt x="265878" y="38204"/>
                      </a:cubicBezTo>
                      <a:cubicBezTo>
                        <a:pt x="265878" y="25562"/>
                        <a:pt x="253375" y="19171"/>
                        <a:pt x="247123" y="6390"/>
                      </a:cubicBezTo>
                      <a:lnTo>
                        <a:pt x="247123" y="0"/>
                      </a:lnTo>
                      <a:cubicBezTo>
                        <a:pt x="240872" y="0"/>
                        <a:pt x="234620" y="0"/>
                        <a:pt x="228369" y="0"/>
                      </a:cubicBezTo>
                      <a:cubicBezTo>
                        <a:pt x="215866" y="6390"/>
                        <a:pt x="215866" y="6390"/>
                        <a:pt x="209614" y="19032"/>
                      </a:cubicBezTo>
                      <a:cubicBezTo>
                        <a:pt x="209614" y="38065"/>
                        <a:pt x="165853" y="63488"/>
                        <a:pt x="153350" y="63488"/>
                      </a:cubicBezTo>
                      <a:cubicBezTo>
                        <a:pt x="147098" y="63488"/>
                        <a:pt x="122092" y="63488"/>
                        <a:pt x="128344" y="69878"/>
                      </a:cubicBezTo>
                      <a:cubicBezTo>
                        <a:pt x="134595" y="82660"/>
                        <a:pt x="115841" y="95301"/>
                        <a:pt x="109589" y="95301"/>
                      </a:cubicBezTo>
                      <a:cubicBezTo>
                        <a:pt x="97086" y="101692"/>
                        <a:pt x="84583" y="107944"/>
                        <a:pt x="72080" y="107944"/>
                      </a:cubicBezTo>
                      <a:cubicBezTo>
                        <a:pt x="59577" y="114334"/>
                        <a:pt x="59577" y="101553"/>
                        <a:pt x="47073" y="107944"/>
                      </a:cubicBezTo>
                      <a:cubicBezTo>
                        <a:pt x="34570" y="114334"/>
                        <a:pt x="28319" y="107944"/>
                        <a:pt x="28319" y="114334"/>
                      </a:cubicBezTo>
                      <a:cubicBezTo>
                        <a:pt x="22067" y="126976"/>
                        <a:pt x="15815" y="139757"/>
                        <a:pt x="9564" y="146148"/>
                      </a:cubicBezTo>
                      <a:cubicBezTo>
                        <a:pt x="-9191" y="171571"/>
                        <a:pt x="3312" y="190603"/>
                        <a:pt x="15815" y="216026"/>
                      </a:cubicBezTo>
                      <a:cubicBezTo>
                        <a:pt x="22067" y="228668"/>
                        <a:pt x="22067" y="235059"/>
                        <a:pt x="28319" y="247839"/>
                      </a:cubicBezTo>
                      <a:cubicBezTo>
                        <a:pt x="40822" y="260482"/>
                        <a:pt x="47073" y="266872"/>
                        <a:pt x="47073" y="285904"/>
                      </a:cubicBezTo>
                      <a:cubicBezTo>
                        <a:pt x="47073" y="279514"/>
                        <a:pt x="53325" y="235059"/>
                        <a:pt x="65828" y="23505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7" name="Freihandform: Form 386">
                  <a:extLst>
                    <a:ext uri="{FF2B5EF4-FFF2-40B4-BE49-F238E27FC236}">
                      <a16:creationId xmlns:a16="http://schemas.microsoft.com/office/drawing/2014/main" id="{7D4BE138-EBCD-4740-A824-5EE2E908465B}"/>
                    </a:ext>
                  </a:extLst>
                </p:cNvPr>
                <p:cNvSpPr/>
                <p:nvPr/>
              </p:nvSpPr>
              <p:spPr>
                <a:xfrm>
                  <a:off x="6099638" y="3793147"/>
                  <a:ext cx="724649" cy="505125"/>
                </a:xfrm>
                <a:custGeom>
                  <a:avLst/>
                  <a:gdLst>
                    <a:gd name="connsiteX0" fmla="*/ 492647 w 724649"/>
                    <a:gd name="connsiteY0" fmla="*/ 499013 h 505125"/>
                    <a:gd name="connsiteX1" fmla="*/ 511402 w 724649"/>
                    <a:gd name="connsiteY1" fmla="*/ 505126 h 505125"/>
                    <a:gd name="connsiteX2" fmla="*/ 549050 w 724649"/>
                    <a:gd name="connsiteY2" fmla="*/ 486649 h 505125"/>
                    <a:gd name="connsiteX3" fmla="*/ 574196 w 724649"/>
                    <a:gd name="connsiteY3" fmla="*/ 468172 h 505125"/>
                    <a:gd name="connsiteX4" fmla="*/ 593089 w 724649"/>
                    <a:gd name="connsiteY4" fmla="*/ 455808 h 505125"/>
                    <a:gd name="connsiteX5" fmla="*/ 649492 w 724649"/>
                    <a:gd name="connsiteY5" fmla="*/ 418854 h 505125"/>
                    <a:gd name="connsiteX6" fmla="*/ 661996 w 724649"/>
                    <a:gd name="connsiteY6" fmla="*/ 400378 h 505125"/>
                    <a:gd name="connsiteX7" fmla="*/ 693392 w 724649"/>
                    <a:gd name="connsiteY7" fmla="*/ 394265 h 505125"/>
                    <a:gd name="connsiteX8" fmla="*/ 674637 w 724649"/>
                    <a:gd name="connsiteY8" fmla="*/ 363424 h 505125"/>
                    <a:gd name="connsiteX9" fmla="*/ 662134 w 724649"/>
                    <a:gd name="connsiteY9" fmla="*/ 338834 h 505125"/>
                    <a:gd name="connsiteX10" fmla="*/ 668385 w 724649"/>
                    <a:gd name="connsiteY10" fmla="*/ 320358 h 505125"/>
                    <a:gd name="connsiteX11" fmla="*/ 680889 w 724649"/>
                    <a:gd name="connsiteY11" fmla="*/ 283404 h 505125"/>
                    <a:gd name="connsiteX12" fmla="*/ 693392 w 724649"/>
                    <a:gd name="connsiteY12" fmla="*/ 258815 h 505125"/>
                    <a:gd name="connsiteX13" fmla="*/ 705895 w 724649"/>
                    <a:gd name="connsiteY13" fmla="*/ 246450 h 505125"/>
                    <a:gd name="connsiteX14" fmla="*/ 724650 w 724649"/>
                    <a:gd name="connsiteY14" fmla="*/ 234086 h 505125"/>
                    <a:gd name="connsiteX15" fmla="*/ 724650 w 724649"/>
                    <a:gd name="connsiteY15" fmla="*/ 129338 h 505125"/>
                    <a:gd name="connsiteX16" fmla="*/ 687002 w 724649"/>
                    <a:gd name="connsiteY16" fmla="*/ 104748 h 505125"/>
                    <a:gd name="connsiteX17" fmla="*/ 498760 w 724649"/>
                    <a:gd name="connsiteY17" fmla="*/ 6113 h 505125"/>
                    <a:gd name="connsiteX18" fmla="*/ 486257 w 724649"/>
                    <a:gd name="connsiteY18" fmla="*/ 0 h 505125"/>
                    <a:gd name="connsiteX19" fmla="*/ 461112 w 724649"/>
                    <a:gd name="connsiteY19" fmla="*/ 12364 h 505125"/>
                    <a:gd name="connsiteX20" fmla="*/ 435967 w 724649"/>
                    <a:gd name="connsiteY20" fmla="*/ 30841 h 505125"/>
                    <a:gd name="connsiteX21" fmla="*/ 410821 w 724649"/>
                    <a:gd name="connsiteY21" fmla="*/ 12364 h 505125"/>
                    <a:gd name="connsiteX22" fmla="*/ 392067 w 724649"/>
                    <a:gd name="connsiteY22" fmla="*/ 6252 h 505125"/>
                    <a:gd name="connsiteX23" fmla="*/ 360670 w 724649"/>
                    <a:gd name="connsiteY23" fmla="*/ 6252 h 505125"/>
                    <a:gd name="connsiteX24" fmla="*/ 228970 w 724649"/>
                    <a:gd name="connsiteY24" fmla="*/ 86410 h 505125"/>
                    <a:gd name="connsiteX25" fmla="*/ 172567 w 724649"/>
                    <a:gd name="connsiteY25" fmla="*/ 129477 h 505125"/>
                    <a:gd name="connsiteX26" fmla="*/ 153674 w 724649"/>
                    <a:gd name="connsiteY26" fmla="*/ 135589 h 505125"/>
                    <a:gd name="connsiteX27" fmla="*/ 128529 w 724649"/>
                    <a:gd name="connsiteY27" fmla="*/ 154066 h 505125"/>
                    <a:gd name="connsiteX28" fmla="*/ 128529 w 724649"/>
                    <a:gd name="connsiteY28" fmla="*/ 209497 h 505125"/>
                    <a:gd name="connsiteX29" fmla="*/ 109635 w 724649"/>
                    <a:gd name="connsiteY29" fmla="*/ 258815 h 505125"/>
                    <a:gd name="connsiteX30" fmla="*/ 78238 w 724649"/>
                    <a:gd name="connsiteY30" fmla="*/ 264927 h 505125"/>
                    <a:gd name="connsiteX31" fmla="*/ 40590 w 724649"/>
                    <a:gd name="connsiteY31" fmla="*/ 264927 h 505125"/>
                    <a:gd name="connsiteX32" fmla="*/ 2942 w 724649"/>
                    <a:gd name="connsiteY32" fmla="*/ 271040 h 505125"/>
                    <a:gd name="connsiteX33" fmla="*/ 21835 w 724649"/>
                    <a:gd name="connsiteY33" fmla="*/ 314106 h 505125"/>
                    <a:gd name="connsiteX34" fmla="*/ 53232 w 724649"/>
                    <a:gd name="connsiteY34" fmla="*/ 351060 h 505125"/>
                    <a:gd name="connsiteX35" fmla="*/ 59484 w 724649"/>
                    <a:gd name="connsiteY35" fmla="*/ 344947 h 505125"/>
                    <a:gd name="connsiteX36" fmla="*/ 78377 w 724649"/>
                    <a:gd name="connsiteY36" fmla="*/ 357311 h 505125"/>
                    <a:gd name="connsiteX37" fmla="*/ 109774 w 724649"/>
                    <a:gd name="connsiteY37" fmla="*/ 381901 h 505125"/>
                    <a:gd name="connsiteX38" fmla="*/ 116026 w 724649"/>
                    <a:gd name="connsiteY38" fmla="*/ 357311 h 505125"/>
                    <a:gd name="connsiteX39" fmla="*/ 122277 w 724649"/>
                    <a:gd name="connsiteY39" fmla="*/ 338834 h 505125"/>
                    <a:gd name="connsiteX40" fmla="*/ 147422 w 724649"/>
                    <a:gd name="connsiteY40" fmla="*/ 314245 h 505125"/>
                    <a:gd name="connsiteX41" fmla="*/ 166177 w 724649"/>
                    <a:gd name="connsiteY41" fmla="*/ 308133 h 505125"/>
                    <a:gd name="connsiteX42" fmla="*/ 185070 w 724649"/>
                    <a:gd name="connsiteY42" fmla="*/ 314245 h 505125"/>
                    <a:gd name="connsiteX43" fmla="*/ 210216 w 724649"/>
                    <a:gd name="connsiteY43" fmla="*/ 326609 h 505125"/>
                    <a:gd name="connsiteX44" fmla="*/ 235361 w 724649"/>
                    <a:gd name="connsiteY44" fmla="*/ 332722 h 505125"/>
                    <a:gd name="connsiteX45" fmla="*/ 279261 w 724649"/>
                    <a:gd name="connsiteY45" fmla="*/ 338834 h 505125"/>
                    <a:gd name="connsiteX46" fmla="*/ 335664 w 724649"/>
                    <a:gd name="connsiteY46" fmla="*/ 326470 h 505125"/>
                    <a:gd name="connsiteX47" fmla="*/ 392067 w 724649"/>
                    <a:gd name="connsiteY47" fmla="*/ 326470 h 505125"/>
                    <a:gd name="connsiteX48" fmla="*/ 410821 w 724649"/>
                    <a:gd name="connsiteY48" fmla="*/ 314106 h 505125"/>
                    <a:gd name="connsiteX49" fmla="*/ 417073 w 724649"/>
                    <a:gd name="connsiteY49" fmla="*/ 289517 h 505125"/>
                    <a:gd name="connsiteX50" fmla="*/ 473476 w 724649"/>
                    <a:gd name="connsiteY50" fmla="*/ 215609 h 505125"/>
                    <a:gd name="connsiteX51" fmla="*/ 473476 w 724649"/>
                    <a:gd name="connsiteY51" fmla="*/ 191020 h 505125"/>
                    <a:gd name="connsiteX52" fmla="*/ 473476 w 724649"/>
                    <a:gd name="connsiteY52" fmla="*/ 141702 h 505125"/>
                    <a:gd name="connsiteX53" fmla="*/ 485979 w 724649"/>
                    <a:gd name="connsiteY53" fmla="*/ 98636 h 505125"/>
                    <a:gd name="connsiteX54" fmla="*/ 467085 w 724649"/>
                    <a:gd name="connsiteY54" fmla="*/ 67795 h 505125"/>
                    <a:gd name="connsiteX55" fmla="*/ 460834 w 724649"/>
                    <a:gd name="connsiteY55" fmla="*/ 12364 h 505125"/>
                    <a:gd name="connsiteX56" fmla="*/ 460834 w 724649"/>
                    <a:gd name="connsiteY56" fmla="*/ 55430 h 505125"/>
                    <a:gd name="connsiteX57" fmla="*/ 479588 w 724649"/>
                    <a:gd name="connsiteY57" fmla="*/ 98636 h 505125"/>
                    <a:gd name="connsiteX58" fmla="*/ 473337 w 724649"/>
                    <a:gd name="connsiteY58" fmla="*/ 160179 h 505125"/>
                    <a:gd name="connsiteX59" fmla="*/ 473337 w 724649"/>
                    <a:gd name="connsiteY59" fmla="*/ 215609 h 505125"/>
                    <a:gd name="connsiteX60" fmla="*/ 435689 w 724649"/>
                    <a:gd name="connsiteY60" fmla="*/ 252563 h 505125"/>
                    <a:gd name="connsiteX61" fmla="*/ 416795 w 724649"/>
                    <a:gd name="connsiteY61" fmla="*/ 283404 h 505125"/>
                    <a:gd name="connsiteX62" fmla="*/ 429298 w 724649"/>
                    <a:gd name="connsiteY62" fmla="*/ 326470 h 505125"/>
                    <a:gd name="connsiteX63" fmla="*/ 441801 w 724649"/>
                    <a:gd name="connsiteY63" fmla="*/ 338834 h 505125"/>
                    <a:gd name="connsiteX64" fmla="*/ 460556 w 724649"/>
                    <a:gd name="connsiteY64" fmla="*/ 363424 h 505125"/>
                    <a:gd name="connsiteX65" fmla="*/ 460556 w 724649"/>
                    <a:gd name="connsiteY65" fmla="*/ 400378 h 505125"/>
                    <a:gd name="connsiteX66" fmla="*/ 473059 w 724649"/>
                    <a:gd name="connsiteY66" fmla="*/ 431219 h 505125"/>
                    <a:gd name="connsiteX67" fmla="*/ 441663 w 724649"/>
                    <a:gd name="connsiteY67" fmla="*/ 455808 h 505125"/>
                    <a:gd name="connsiteX68" fmla="*/ 466808 w 724649"/>
                    <a:gd name="connsiteY68" fmla="*/ 480398 h 505125"/>
                    <a:gd name="connsiteX69" fmla="*/ 473059 w 724649"/>
                    <a:gd name="connsiteY69" fmla="*/ 498874 h 505125"/>
                    <a:gd name="connsiteX70" fmla="*/ 492647 w 724649"/>
                    <a:gd name="connsiteY70" fmla="*/ 499013 h 505125"/>
                    <a:gd name="connsiteX71" fmla="*/ 492647 w 724649"/>
                    <a:gd name="connsiteY71" fmla="*/ 499013 h 5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24649" h="505125">
                      <a:moveTo>
                        <a:pt x="492647" y="499013"/>
                      </a:moveTo>
                      <a:cubicBezTo>
                        <a:pt x="498899" y="492901"/>
                        <a:pt x="505150" y="505126"/>
                        <a:pt x="511402" y="505126"/>
                      </a:cubicBezTo>
                      <a:cubicBezTo>
                        <a:pt x="523905" y="499013"/>
                        <a:pt x="536547" y="492762"/>
                        <a:pt x="549050" y="486649"/>
                      </a:cubicBezTo>
                      <a:cubicBezTo>
                        <a:pt x="555302" y="486649"/>
                        <a:pt x="574196" y="480536"/>
                        <a:pt x="574196" y="468172"/>
                      </a:cubicBezTo>
                      <a:cubicBezTo>
                        <a:pt x="574196" y="455808"/>
                        <a:pt x="580447" y="462060"/>
                        <a:pt x="593089" y="455808"/>
                      </a:cubicBezTo>
                      <a:cubicBezTo>
                        <a:pt x="611844" y="455808"/>
                        <a:pt x="636989" y="437331"/>
                        <a:pt x="649492" y="418854"/>
                      </a:cubicBezTo>
                      <a:cubicBezTo>
                        <a:pt x="655744" y="412742"/>
                        <a:pt x="655744" y="406490"/>
                        <a:pt x="661996" y="400378"/>
                      </a:cubicBezTo>
                      <a:cubicBezTo>
                        <a:pt x="668247" y="394265"/>
                        <a:pt x="680750" y="394265"/>
                        <a:pt x="693392" y="394265"/>
                      </a:cubicBezTo>
                      <a:cubicBezTo>
                        <a:pt x="693392" y="381901"/>
                        <a:pt x="680889" y="375788"/>
                        <a:pt x="674637" y="363424"/>
                      </a:cubicBezTo>
                      <a:cubicBezTo>
                        <a:pt x="674637" y="357311"/>
                        <a:pt x="680889" y="338834"/>
                        <a:pt x="662134" y="338834"/>
                      </a:cubicBezTo>
                      <a:cubicBezTo>
                        <a:pt x="655882" y="338834"/>
                        <a:pt x="674637" y="326470"/>
                        <a:pt x="668385" y="320358"/>
                      </a:cubicBezTo>
                      <a:cubicBezTo>
                        <a:pt x="668385" y="301881"/>
                        <a:pt x="674637" y="295768"/>
                        <a:pt x="680889" y="283404"/>
                      </a:cubicBezTo>
                      <a:cubicBezTo>
                        <a:pt x="680889" y="271040"/>
                        <a:pt x="693392" y="271040"/>
                        <a:pt x="693392" y="258815"/>
                      </a:cubicBezTo>
                      <a:cubicBezTo>
                        <a:pt x="693392" y="252702"/>
                        <a:pt x="699643" y="246450"/>
                        <a:pt x="705895" y="246450"/>
                      </a:cubicBezTo>
                      <a:cubicBezTo>
                        <a:pt x="724650" y="246450"/>
                        <a:pt x="724650" y="246450"/>
                        <a:pt x="724650" y="234086"/>
                      </a:cubicBezTo>
                      <a:cubicBezTo>
                        <a:pt x="724650" y="197132"/>
                        <a:pt x="724650" y="166291"/>
                        <a:pt x="724650" y="129338"/>
                      </a:cubicBezTo>
                      <a:cubicBezTo>
                        <a:pt x="724650" y="116974"/>
                        <a:pt x="699505" y="110861"/>
                        <a:pt x="687002" y="104748"/>
                      </a:cubicBezTo>
                      <a:cubicBezTo>
                        <a:pt x="624208" y="73907"/>
                        <a:pt x="561553" y="36953"/>
                        <a:pt x="498760" y="6113"/>
                      </a:cubicBezTo>
                      <a:cubicBezTo>
                        <a:pt x="492509" y="6113"/>
                        <a:pt x="492509" y="0"/>
                        <a:pt x="486257" y="0"/>
                      </a:cubicBezTo>
                      <a:cubicBezTo>
                        <a:pt x="480006" y="6113"/>
                        <a:pt x="467363" y="12364"/>
                        <a:pt x="461112" y="12364"/>
                      </a:cubicBezTo>
                      <a:cubicBezTo>
                        <a:pt x="454860" y="18477"/>
                        <a:pt x="442357" y="30841"/>
                        <a:pt x="435967" y="30841"/>
                      </a:cubicBezTo>
                      <a:cubicBezTo>
                        <a:pt x="429715" y="30841"/>
                        <a:pt x="423463" y="18477"/>
                        <a:pt x="410821" y="12364"/>
                      </a:cubicBezTo>
                      <a:cubicBezTo>
                        <a:pt x="404570" y="6252"/>
                        <a:pt x="398318" y="6252"/>
                        <a:pt x="392067" y="6252"/>
                      </a:cubicBezTo>
                      <a:cubicBezTo>
                        <a:pt x="379563" y="139"/>
                        <a:pt x="373173" y="139"/>
                        <a:pt x="360670" y="6252"/>
                      </a:cubicBezTo>
                      <a:cubicBezTo>
                        <a:pt x="316770" y="30841"/>
                        <a:pt x="272870" y="61682"/>
                        <a:pt x="228970" y="86410"/>
                      </a:cubicBezTo>
                      <a:cubicBezTo>
                        <a:pt x="210077" y="98774"/>
                        <a:pt x="191322" y="111000"/>
                        <a:pt x="172567" y="129477"/>
                      </a:cubicBezTo>
                      <a:cubicBezTo>
                        <a:pt x="166316" y="135589"/>
                        <a:pt x="160064" y="135589"/>
                        <a:pt x="153674" y="135589"/>
                      </a:cubicBezTo>
                      <a:cubicBezTo>
                        <a:pt x="134919" y="135589"/>
                        <a:pt x="128529" y="135589"/>
                        <a:pt x="128529" y="154066"/>
                      </a:cubicBezTo>
                      <a:cubicBezTo>
                        <a:pt x="128529" y="172543"/>
                        <a:pt x="128529" y="191020"/>
                        <a:pt x="128529" y="209497"/>
                      </a:cubicBezTo>
                      <a:cubicBezTo>
                        <a:pt x="128529" y="227973"/>
                        <a:pt x="122277" y="246450"/>
                        <a:pt x="109635" y="258815"/>
                      </a:cubicBezTo>
                      <a:cubicBezTo>
                        <a:pt x="103384" y="264927"/>
                        <a:pt x="84490" y="264927"/>
                        <a:pt x="78238" y="264927"/>
                      </a:cubicBezTo>
                      <a:cubicBezTo>
                        <a:pt x="65735" y="264927"/>
                        <a:pt x="53093" y="264927"/>
                        <a:pt x="40590" y="264927"/>
                      </a:cubicBezTo>
                      <a:cubicBezTo>
                        <a:pt x="28087" y="264927"/>
                        <a:pt x="15445" y="271040"/>
                        <a:pt x="2942" y="271040"/>
                      </a:cubicBezTo>
                      <a:cubicBezTo>
                        <a:pt x="-9561" y="271040"/>
                        <a:pt x="21835" y="314106"/>
                        <a:pt x="21835" y="314106"/>
                      </a:cubicBezTo>
                      <a:cubicBezTo>
                        <a:pt x="28087" y="332583"/>
                        <a:pt x="34338" y="344947"/>
                        <a:pt x="53232" y="351060"/>
                      </a:cubicBezTo>
                      <a:lnTo>
                        <a:pt x="59484" y="344947"/>
                      </a:lnTo>
                      <a:cubicBezTo>
                        <a:pt x="65735" y="351060"/>
                        <a:pt x="65735" y="369537"/>
                        <a:pt x="78377" y="357311"/>
                      </a:cubicBezTo>
                      <a:cubicBezTo>
                        <a:pt x="90881" y="344947"/>
                        <a:pt x="103522" y="375788"/>
                        <a:pt x="109774" y="381901"/>
                      </a:cubicBezTo>
                      <a:cubicBezTo>
                        <a:pt x="109774" y="375788"/>
                        <a:pt x="116026" y="363424"/>
                        <a:pt x="116026" y="357311"/>
                      </a:cubicBezTo>
                      <a:cubicBezTo>
                        <a:pt x="116026" y="351199"/>
                        <a:pt x="122277" y="344947"/>
                        <a:pt x="122277" y="338834"/>
                      </a:cubicBezTo>
                      <a:cubicBezTo>
                        <a:pt x="128529" y="320358"/>
                        <a:pt x="128529" y="320358"/>
                        <a:pt x="147422" y="314245"/>
                      </a:cubicBezTo>
                      <a:cubicBezTo>
                        <a:pt x="153674" y="308133"/>
                        <a:pt x="159926" y="308133"/>
                        <a:pt x="166177" y="308133"/>
                      </a:cubicBezTo>
                      <a:cubicBezTo>
                        <a:pt x="172429" y="302020"/>
                        <a:pt x="178680" y="314245"/>
                        <a:pt x="185070" y="314245"/>
                      </a:cubicBezTo>
                      <a:cubicBezTo>
                        <a:pt x="197574" y="314245"/>
                        <a:pt x="203825" y="320358"/>
                        <a:pt x="210216" y="326609"/>
                      </a:cubicBezTo>
                      <a:cubicBezTo>
                        <a:pt x="216467" y="332722"/>
                        <a:pt x="222719" y="332722"/>
                        <a:pt x="235361" y="332722"/>
                      </a:cubicBezTo>
                      <a:cubicBezTo>
                        <a:pt x="254116" y="320358"/>
                        <a:pt x="260506" y="338834"/>
                        <a:pt x="279261" y="338834"/>
                      </a:cubicBezTo>
                      <a:cubicBezTo>
                        <a:pt x="298015" y="338834"/>
                        <a:pt x="316909" y="326470"/>
                        <a:pt x="335664" y="326470"/>
                      </a:cubicBezTo>
                      <a:cubicBezTo>
                        <a:pt x="348167" y="326470"/>
                        <a:pt x="373312" y="332583"/>
                        <a:pt x="392067" y="326470"/>
                      </a:cubicBezTo>
                      <a:cubicBezTo>
                        <a:pt x="398318" y="326470"/>
                        <a:pt x="404570" y="320358"/>
                        <a:pt x="410821" y="314106"/>
                      </a:cubicBezTo>
                      <a:cubicBezTo>
                        <a:pt x="423324" y="307993"/>
                        <a:pt x="417073" y="301742"/>
                        <a:pt x="417073" y="289517"/>
                      </a:cubicBezTo>
                      <a:cubicBezTo>
                        <a:pt x="417073" y="258676"/>
                        <a:pt x="448470" y="240199"/>
                        <a:pt x="473476" y="215609"/>
                      </a:cubicBezTo>
                      <a:cubicBezTo>
                        <a:pt x="479728" y="209497"/>
                        <a:pt x="473476" y="197132"/>
                        <a:pt x="473476" y="191020"/>
                      </a:cubicBezTo>
                      <a:cubicBezTo>
                        <a:pt x="473476" y="172543"/>
                        <a:pt x="473476" y="160179"/>
                        <a:pt x="473476" y="141702"/>
                      </a:cubicBezTo>
                      <a:cubicBezTo>
                        <a:pt x="479728" y="129338"/>
                        <a:pt x="485979" y="110861"/>
                        <a:pt x="485979" y="98636"/>
                      </a:cubicBezTo>
                      <a:cubicBezTo>
                        <a:pt x="479728" y="86271"/>
                        <a:pt x="473476" y="74046"/>
                        <a:pt x="467085" y="67795"/>
                      </a:cubicBezTo>
                      <a:cubicBezTo>
                        <a:pt x="454582" y="49318"/>
                        <a:pt x="460834" y="30841"/>
                        <a:pt x="460834" y="12364"/>
                      </a:cubicBezTo>
                      <a:cubicBezTo>
                        <a:pt x="460834" y="30841"/>
                        <a:pt x="460834" y="43205"/>
                        <a:pt x="460834" y="55430"/>
                      </a:cubicBezTo>
                      <a:cubicBezTo>
                        <a:pt x="460834" y="67795"/>
                        <a:pt x="479588" y="86271"/>
                        <a:pt x="479588" y="98636"/>
                      </a:cubicBezTo>
                      <a:cubicBezTo>
                        <a:pt x="485840" y="117113"/>
                        <a:pt x="473337" y="141702"/>
                        <a:pt x="473337" y="160179"/>
                      </a:cubicBezTo>
                      <a:cubicBezTo>
                        <a:pt x="473337" y="172543"/>
                        <a:pt x="479588" y="197132"/>
                        <a:pt x="473337" y="215609"/>
                      </a:cubicBezTo>
                      <a:cubicBezTo>
                        <a:pt x="467085" y="227973"/>
                        <a:pt x="441940" y="240199"/>
                        <a:pt x="435689" y="252563"/>
                      </a:cubicBezTo>
                      <a:cubicBezTo>
                        <a:pt x="423186" y="258676"/>
                        <a:pt x="416795" y="271040"/>
                        <a:pt x="416795" y="283404"/>
                      </a:cubicBezTo>
                      <a:cubicBezTo>
                        <a:pt x="410544" y="301881"/>
                        <a:pt x="423047" y="307993"/>
                        <a:pt x="429298" y="326470"/>
                      </a:cubicBezTo>
                      <a:cubicBezTo>
                        <a:pt x="429298" y="332583"/>
                        <a:pt x="435550" y="332583"/>
                        <a:pt x="441801" y="338834"/>
                      </a:cubicBezTo>
                      <a:cubicBezTo>
                        <a:pt x="454304" y="344947"/>
                        <a:pt x="460556" y="351199"/>
                        <a:pt x="460556" y="363424"/>
                      </a:cubicBezTo>
                      <a:cubicBezTo>
                        <a:pt x="460556" y="375788"/>
                        <a:pt x="460556" y="388014"/>
                        <a:pt x="460556" y="400378"/>
                      </a:cubicBezTo>
                      <a:cubicBezTo>
                        <a:pt x="460556" y="406490"/>
                        <a:pt x="466808" y="418854"/>
                        <a:pt x="473059" y="431219"/>
                      </a:cubicBezTo>
                      <a:cubicBezTo>
                        <a:pt x="454304" y="431219"/>
                        <a:pt x="410266" y="431219"/>
                        <a:pt x="441663" y="455808"/>
                      </a:cubicBezTo>
                      <a:cubicBezTo>
                        <a:pt x="454166" y="461921"/>
                        <a:pt x="460417" y="468172"/>
                        <a:pt x="466808" y="480398"/>
                      </a:cubicBezTo>
                      <a:cubicBezTo>
                        <a:pt x="466808" y="486510"/>
                        <a:pt x="473059" y="492762"/>
                        <a:pt x="473059" y="498874"/>
                      </a:cubicBezTo>
                      <a:cubicBezTo>
                        <a:pt x="473754" y="505126"/>
                        <a:pt x="492647" y="499013"/>
                        <a:pt x="492647" y="499013"/>
                      </a:cubicBezTo>
                      <a:cubicBezTo>
                        <a:pt x="505150" y="492762"/>
                        <a:pt x="492647" y="499013"/>
                        <a:pt x="492647" y="49901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8" name="Freihandform: Form 387">
                  <a:extLst>
                    <a:ext uri="{FF2B5EF4-FFF2-40B4-BE49-F238E27FC236}">
                      <a16:creationId xmlns:a16="http://schemas.microsoft.com/office/drawing/2014/main" id="{8D91D457-29D6-4ABF-96A0-04D7EC6CBD54}"/>
                    </a:ext>
                  </a:extLst>
                </p:cNvPr>
                <p:cNvSpPr/>
                <p:nvPr/>
              </p:nvSpPr>
              <p:spPr>
                <a:xfrm>
                  <a:off x="6752798" y="3802316"/>
                  <a:ext cx="510488" cy="623653"/>
                </a:xfrm>
                <a:custGeom>
                  <a:avLst/>
                  <a:gdLst>
                    <a:gd name="connsiteX0" fmla="*/ 33008 w 510488"/>
                    <a:gd name="connsiteY0" fmla="*/ 243116 h 623653"/>
                    <a:gd name="connsiteX1" fmla="*/ 33008 w 510488"/>
                    <a:gd name="connsiteY1" fmla="*/ 255619 h 623653"/>
                    <a:gd name="connsiteX2" fmla="*/ 20505 w 510488"/>
                    <a:gd name="connsiteY2" fmla="*/ 268122 h 623653"/>
                    <a:gd name="connsiteX3" fmla="*/ 8002 w 510488"/>
                    <a:gd name="connsiteY3" fmla="*/ 305493 h 623653"/>
                    <a:gd name="connsiteX4" fmla="*/ 8002 w 510488"/>
                    <a:gd name="connsiteY4" fmla="*/ 317996 h 623653"/>
                    <a:gd name="connsiteX5" fmla="*/ 1750 w 510488"/>
                    <a:gd name="connsiteY5" fmla="*/ 330499 h 623653"/>
                    <a:gd name="connsiteX6" fmla="*/ 20644 w 510488"/>
                    <a:gd name="connsiteY6" fmla="*/ 361618 h 623653"/>
                    <a:gd name="connsiteX7" fmla="*/ 33147 w 510488"/>
                    <a:gd name="connsiteY7" fmla="*/ 374121 h 623653"/>
                    <a:gd name="connsiteX8" fmla="*/ 33147 w 510488"/>
                    <a:gd name="connsiteY8" fmla="*/ 392737 h 623653"/>
                    <a:gd name="connsiteX9" fmla="*/ 52040 w 510488"/>
                    <a:gd name="connsiteY9" fmla="*/ 423856 h 623653"/>
                    <a:gd name="connsiteX10" fmla="*/ 52040 w 510488"/>
                    <a:gd name="connsiteY10" fmla="*/ 461226 h 623653"/>
                    <a:gd name="connsiteX11" fmla="*/ 89689 w 510488"/>
                    <a:gd name="connsiteY11" fmla="*/ 473729 h 623653"/>
                    <a:gd name="connsiteX12" fmla="*/ 108583 w 510488"/>
                    <a:gd name="connsiteY12" fmla="*/ 504848 h 623653"/>
                    <a:gd name="connsiteX13" fmla="*/ 133728 w 510488"/>
                    <a:gd name="connsiteY13" fmla="*/ 523464 h 623653"/>
                    <a:gd name="connsiteX14" fmla="*/ 158873 w 510488"/>
                    <a:gd name="connsiteY14" fmla="*/ 548331 h 623653"/>
                    <a:gd name="connsiteX15" fmla="*/ 158873 w 510488"/>
                    <a:gd name="connsiteY15" fmla="*/ 566947 h 623653"/>
                    <a:gd name="connsiteX16" fmla="*/ 171376 w 510488"/>
                    <a:gd name="connsiteY16" fmla="*/ 573199 h 623653"/>
                    <a:gd name="connsiteX17" fmla="*/ 196521 w 510488"/>
                    <a:gd name="connsiteY17" fmla="*/ 598066 h 623653"/>
                    <a:gd name="connsiteX18" fmla="*/ 215415 w 510488"/>
                    <a:gd name="connsiteY18" fmla="*/ 591814 h 623653"/>
                    <a:gd name="connsiteX19" fmla="*/ 240560 w 510488"/>
                    <a:gd name="connsiteY19" fmla="*/ 585563 h 623653"/>
                    <a:gd name="connsiteX20" fmla="*/ 271957 w 510488"/>
                    <a:gd name="connsiteY20" fmla="*/ 622933 h 623653"/>
                    <a:gd name="connsiteX21" fmla="*/ 315857 w 510488"/>
                    <a:gd name="connsiteY21" fmla="*/ 622933 h 623653"/>
                    <a:gd name="connsiteX22" fmla="*/ 341001 w 510488"/>
                    <a:gd name="connsiteY22" fmla="*/ 610430 h 623653"/>
                    <a:gd name="connsiteX23" fmla="*/ 366147 w 510488"/>
                    <a:gd name="connsiteY23" fmla="*/ 604179 h 623653"/>
                    <a:gd name="connsiteX24" fmla="*/ 428940 w 510488"/>
                    <a:gd name="connsiteY24" fmla="*/ 585563 h 623653"/>
                    <a:gd name="connsiteX25" fmla="*/ 428940 w 510488"/>
                    <a:gd name="connsiteY25" fmla="*/ 566808 h 623653"/>
                    <a:gd name="connsiteX26" fmla="*/ 410047 w 510488"/>
                    <a:gd name="connsiteY26" fmla="*/ 560556 h 623653"/>
                    <a:gd name="connsiteX27" fmla="*/ 378650 w 510488"/>
                    <a:gd name="connsiteY27" fmla="*/ 516934 h 623653"/>
                    <a:gd name="connsiteX28" fmla="*/ 366147 w 510488"/>
                    <a:gd name="connsiteY28" fmla="*/ 498180 h 623653"/>
                    <a:gd name="connsiteX29" fmla="*/ 347253 w 510488"/>
                    <a:gd name="connsiteY29" fmla="*/ 485677 h 623653"/>
                    <a:gd name="connsiteX30" fmla="*/ 366147 w 510488"/>
                    <a:gd name="connsiteY30" fmla="*/ 467061 h 623653"/>
                    <a:gd name="connsiteX31" fmla="*/ 378650 w 510488"/>
                    <a:gd name="connsiteY31" fmla="*/ 417187 h 623653"/>
                    <a:gd name="connsiteX32" fmla="*/ 384901 w 510488"/>
                    <a:gd name="connsiteY32" fmla="*/ 398572 h 623653"/>
                    <a:gd name="connsiteX33" fmla="*/ 403795 w 510488"/>
                    <a:gd name="connsiteY33" fmla="*/ 386069 h 623653"/>
                    <a:gd name="connsiteX34" fmla="*/ 403795 w 510488"/>
                    <a:gd name="connsiteY34" fmla="*/ 361201 h 623653"/>
                    <a:gd name="connsiteX35" fmla="*/ 416298 w 510488"/>
                    <a:gd name="connsiteY35" fmla="*/ 342585 h 623653"/>
                    <a:gd name="connsiteX36" fmla="*/ 441444 w 510488"/>
                    <a:gd name="connsiteY36" fmla="*/ 323831 h 623653"/>
                    <a:gd name="connsiteX37" fmla="*/ 447695 w 510488"/>
                    <a:gd name="connsiteY37" fmla="*/ 280209 h 623653"/>
                    <a:gd name="connsiteX38" fmla="*/ 447695 w 510488"/>
                    <a:gd name="connsiteY38" fmla="*/ 261593 h 623653"/>
                    <a:gd name="connsiteX39" fmla="*/ 460198 w 510488"/>
                    <a:gd name="connsiteY39" fmla="*/ 230474 h 623653"/>
                    <a:gd name="connsiteX40" fmla="*/ 491595 w 510488"/>
                    <a:gd name="connsiteY40" fmla="*/ 180600 h 623653"/>
                    <a:gd name="connsiteX41" fmla="*/ 510488 w 510488"/>
                    <a:gd name="connsiteY41" fmla="*/ 168097 h 623653"/>
                    <a:gd name="connsiteX42" fmla="*/ 491595 w 510488"/>
                    <a:gd name="connsiteY42" fmla="*/ 143230 h 623653"/>
                    <a:gd name="connsiteX43" fmla="*/ 472701 w 510488"/>
                    <a:gd name="connsiteY43" fmla="*/ 105860 h 623653"/>
                    <a:gd name="connsiteX44" fmla="*/ 472701 w 510488"/>
                    <a:gd name="connsiteY44" fmla="*/ 68489 h 623653"/>
                    <a:gd name="connsiteX45" fmla="*/ 466450 w 510488"/>
                    <a:gd name="connsiteY45" fmla="*/ 55986 h 623653"/>
                    <a:gd name="connsiteX46" fmla="*/ 460198 w 510488"/>
                    <a:gd name="connsiteY46" fmla="*/ 31119 h 623653"/>
                    <a:gd name="connsiteX47" fmla="*/ 422550 w 510488"/>
                    <a:gd name="connsiteY47" fmla="*/ 0 h 623653"/>
                    <a:gd name="connsiteX48" fmla="*/ 397405 w 510488"/>
                    <a:gd name="connsiteY48" fmla="*/ 12503 h 623653"/>
                    <a:gd name="connsiteX49" fmla="*/ 372259 w 510488"/>
                    <a:gd name="connsiteY49" fmla="*/ 31119 h 623653"/>
                    <a:gd name="connsiteX50" fmla="*/ 347115 w 510488"/>
                    <a:gd name="connsiteY50" fmla="*/ 31119 h 623653"/>
                    <a:gd name="connsiteX51" fmla="*/ 284321 w 510488"/>
                    <a:gd name="connsiteY51" fmla="*/ 31119 h 623653"/>
                    <a:gd name="connsiteX52" fmla="*/ 102331 w 510488"/>
                    <a:gd name="connsiteY52" fmla="*/ 31119 h 623653"/>
                    <a:gd name="connsiteX53" fmla="*/ 96079 w 510488"/>
                    <a:gd name="connsiteY53" fmla="*/ 87244 h 623653"/>
                    <a:gd name="connsiteX54" fmla="*/ 77186 w 510488"/>
                    <a:gd name="connsiteY54" fmla="*/ 99747 h 623653"/>
                    <a:gd name="connsiteX55" fmla="*/ 64683 w 510488"/>
                    <a:gd name="connsiteY55" fmla="*/ 112250 h 623653"/>
                    <a:gd name="connsiteX56" fmla="*/ 64683 w 510488"/>
                    <a:gd name="connsiteY56" fmla="*/ 199494 h 623653"/>
                    <a:gd name="connsiteX57" fmla="*/ 64683 w 510488"/>
                    <a:gd name="connsiteY57" fmla="*/ 230613 h 623653"/>
                    <a:gd name="connsiteX58" fmla="*/ 33008 w 510488"/>
                    <a:gd name="connsiteY58" fmla="*/ 243116 h 62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10488" h="623653">
                      <a:moveTo>
                        <a:pt x="33008" y="243116"/>
                      </a:moveTo>
                      <a:cubicBezTo>
                        <a:pt x="33008" y="243116"/>
                        <a:pt x="33008" y="249368"/>
                        <a:pt x="33008" y="255619"/>
                      </a:cubicBezTo>
                      <a:cubicBezTo>
                        <a:pt x="26757" y="261871"/>
                        <a:pt x="20505" y="261871"/>
                        <a:pt x="20505" y="268122"/>
                      </a:cubicBezTo>
                      <a:cubicBezTo>
                        <a:pt x="20505" y="280625"/>
                        <a:pt x="8002" y="292990"/>
                        <a:pt x="8002" y="305493"/>
                      </a:cubicBezTo>
                      <a:cubicBezTo>
                        <a:pt x="8002" y="311744"/>
                        <a:pt x="14254" y="317996"/>
                        <a:pt x="8002" y="317996"/>
                      </a:cubicBezTo>
                      <a:cubicBezTo>
                        <a:pt x="8002" y="324248"/>
                        <a:pt x="-4501" y="330499"/>
                        <a:pt x="1750" y="330499"/>
                      </a:cubicBezTo>
                      <a:cubicBezTo>
                        <a:pt x="20644" y="330499"/>
                        <a:pt x="14254" y="355366"/>
                        <a:pt x="20644" y="361618"/>
                      </a:cubicBezTo>
                      <a:cubicBezTo>
                        <a:pt x="20644" y="367869"/>
                        <a:pt x="26896" y="367869"/>
                        <a:pt x="33147" y="374121"/>
                      </a:cubicBezTo>
                      <a:cubicBezTo>
                        <a:pt x="33147" y="380373"/>
                        <a:pt x="33147" y="386624"/>
                        <a:pt x="33147" y="392737"/>
                      </a:cubicBezTo>
                      <a:cubicBezTo>
                        <a:pt x="39399" y="405240"/>
                        <a:pt x="52040" y="411492"/>
                        <a:pt x="52040" y="423856"/>
                      </a:cubicBezTo>
                      <a:cubicBezTo>
                        <a:pt x="52040" y="430107"/>
                        <a:pt x="45789" y="461226"/>
                        <a:pt x="52040" y="461226"/>
                      </a:cubicBezTo>
                      <a:cubicBezTo>
                        <a:pt x="70934" y="461226"/>
                        <a:pt x="77186" y="467478"/>
                        <a:pt x="89689" y="473729"/>
                      </a:cubicBezTo>
                      <a:cubicBezTo>
                        <a:pt x="102192" y="479981"/>
                        <a:pt x="95940" y="498597"/>
                        <a:pt x="108583" y="504848"/>
                      </a:cubicBezTo>
                      <a:cubicBezTo>
                        <a:pt x="114834" y="511100"/>
                        <a:pt x="133728" y="511100"/>
                        <a:pt x="133728" y="523464"/>
                      </a:cubicBezTo>
                      <a:cubicBezTo>
                        <a:pt x="133728" y="535967"/>
                        <a:pt x="152622" y="542219"/>
                        <a:pt x="158873" y="548331"/>
                      </a:cubicBezTo>
                      <a:cubicBezTo>
                        <a:pt x="158873" y="554583"/>
                        <a:pt x="158873" y="560834"/>
                        <a:pt x="158873" y="566947"/>
                      </a:cubicBezTo>
                      <a:cubicBezTo>
                        <a:pt x="165125" y="566947"/>
                        <a:pt x="171376" y="573199"/>
                        <a:pt x="171376" y="573199"/>
                      </a:cubicBezTo>
                      <a:cubicBezTo>
                        <a:pt x="177628" y="579450"/>
                        <a:pt x="183879" y="591814"/>
                        <a:pt x="196521" y="598066"/>
                      </a:cubicBezTo>
                      <a:cubicBezTo>
                        <a:pt x="202772" y="604317"/>
                        <a:pt x="202772" y="579311"/>
                        <a:pt x="215415" y="591814"/>
                      </a:cubicBezTo>
                      <a:cubicBezTo>
                        <a:pt x="227918" y="598066"/>
                        <a:pt x="227918" y="585563"/>
                        <a:pt x="240560" y="585563"/>
                      </a:cubicBezTo>
                      <a:cubicBezTo>
                        <a:pt x="253063" y="591814"/>
                        <a:pt x="259454" y="610430"/>
                        <a:pt x="271957" y="622933"/>
                      </a:cubicBezTo>
                      <a:cubicBezTo>
                        <a:pt x="284460" y="591814"/>
                        <a:pt x="303354" y="629185"/>
                        <a:pt x="315857" y="622933"/>
                      </a:cubicBezTo>
                      <a:cubicBezTo>
                        <a:pt x="322108" y="616682"/>
                        <a:pt x="328360" y="610430"/>
                        <a:pt x="341001" y="610430"/>
                      </a:cubicBezTo>
                      <a:cubicBezTo>
                        <a:pt x="347253" y="610430"/>
                        <a:pt x="359895" y="610430"/>
                        <a:pt x="366147" y="604179"/>
                      </a:cubicBezTo>
                      <a:cubicBezTo>
                        <a:pt x="378650" y="579311"/>
                        <a:pt x="403795" y="566808"/>
                        <a:pt x="428940" y="585563"/>
                      </a:cubicBezTo>
                      <a:cubicBezTo>
                        <a:pt x="428940" y="579311"/>
                        <a:pt x="428940" y="573059"/>
                        <a:pt x="428940" y="566808"/>
                      </a:cubicBezTo>
                      <a:cubicBezTo>
                        <a:pt x="428940" y="560556"/>
                        <a:pt x="410047" y="560556"/>
                        <a:pt x="410047" y="560556"/>
                      </a:cubicBezTo>
                      <a:cubicBezTo>
                        <a:pt x="397544" y="548053"/>
                        <a:pt x="391153" y="529438"/>
                        <a:pt x="378650" y="516934"/>
                      </a:cubicBezTo>
                      <a:cubicBezTo>
                        <a:pt x="372398" y="510683"/>
                        <a:pt x="372398" y="504431"/>
                        <a:pt x="366147" y="498180"/>
                      </a:cubicBezTo>
                      <a:cubicBezTo>
                        <a:pt x="359895" y="491928"/>
                        <a:pt x="353644" y="491928"/>
                        <a:pt x="347253" y="485677"/>
                      </a:cubicBezTo>
                      <a:cubicBezTo>
                        <a:pt x="328360" y="467061"/>
                        <a:pt x="366147" y="467061"/>
                        <a:pt x="366147" y="467061"/>
                      </a:cubicBezTo>
                      <a:cubicBezTo>
                        <a:pt x="378650" y="460810"/>
                        <a:pt x="372398" y="429690"/>
                        <a:pt x="378650" y="417187"/>
                      </a:cubicBezTo>
                      <a:cubicBezTo>
                        <a:pt x="378650" y="410936"/>
                        <a:pt x="378650" y="398572"/>
                        <a:pt x="384901" y="398572"/>
                      </a:cubicBezTo>
                      <a:cubicBezTo>
                        <a:pt x="391153" y="392320"/>
                        <a:pt x="403795" y="392320"/>
                        <a:pt x="403795" y="386069"/>
                      </a:cubicBezTo>
                      <a:cubicBezTo>
                        <a:pt x="403795" y="379817"/>
                        <a:pt x="403795" y="373565"/>
                        <a:pt x="403795" y="361201"/>
                      </a:cubicBezTo>
                      <a:cubicBezTo>
                        <a:pt x="403795" y="354949"/>
                        <a:pt x="410047" y="348698"/>
                        <a:pt x="416298" y="342585"/>
                      </a:cubicBezTo>
                      <a:cubicBezTo>
                        <a:pt x="422550" y="330082"/>
                        <a:pt x="435192" y="336334"/>
                        <a:pt x="441444" y="323831"/>
                      </a:cubicBezTo>
                      <a:cubicBezTo>
                        <a:pt x="441444" y="311328"/>
                        <a:pt x="447695" y="298964"/>
                        <a:pt x="447695" y="280209"/>
                      </a:cubicBezTo>
                      <a:cubicBezTo>
                        <a:pt x="447695" y="273957"/>
                        <a:pt x="447695" y="267706"/>
                        <a:pt x="447695" y="261593"/>
                      </a:cubicBezTo>
                      <a:cubicBezTo>
                        <a:pt x="447695" y="249090"/>
                        <a:pt x="460198" y="236726"/>
                        <a:pt x="460198" y="230474"/>
                      </a:cubicBezTo>
                      <a:cubicBezTo>
                        <a:pt x="460198" y="205607"/>
                        <a:pt x="466450" y="186852"/>
                        <a:pt x="491595" y="180600"/>
                      </a:cubicBezTo>
                      <a:cubicBezTo>
                        <a:pt x="497847" y="180600"/>
                        <a:pt x="504098" y="180600"/>
                        <a:pt x="510488" y="168097"/>
                      </a:cubicBezTo>
                      <a:cubicBezTo>
                        <a:pt x="510488" y="161846"/>
                        <a:pt x="497985" y="149343"/>
                        <a:pt x="491595" y="143230"/>
                      </a:cubicBezTo>
                      <a:cubicBezTo>
                        <a:pt x="479092" y="130727"/>
                        <a:pt x="472701" y="118363"/>
                        <a:pt x="472701" y="105860"/>
                      </a:cubicBezTo>
                      <a:cubicBezTo>
                        <a:pt x="472701" y="99608"/>
                        <a:pt x="466450" y="68489"/>
                        <a:pt x="472701" y="68489"/>
                      </a:cubicBezTo>
                      <a:cubicBezTo>
                        <a:pt x="478953" y="62238"/>
                        <a:pt x="472701" y="62238"/>
                        <a:pt x="466450" y="55986"/>
                      </a:cubicBezTo>
                      <a:cubicBezTo>
                        <a:pt x="460198" y="49735"/>
                        <a:pt x="460198" y="43483"/>
                        <a:pt x="460198" y="31119"/>
                      </a:cubicBezTo>
                      <a:cubicBezTo>
                        <a:pt x="447695" y="18616"/>
                        <a:pt x="428801" y="12503"/>
                        <a:pt x="422550" y="0"/>
                      </a:cubicBezTo>
                      <a:cubicBezTo>
                        <a:pt x="416298" y="0"/>
                        <a:pt x="403656" y="6252"/>
                        <a:pt x="397405" y="12503"/>
                      </a:cubicBezTo>
                      <a:cubicBezTo>
                        <a:pt x="391153" y="31119"/>
                        <a:pt x="378511" y="18755"/>
                        <a:pt x="372259" y="31119"/>
                      </a:cubicBezTo>
                      <a:cubicBezTo>
                        <a:pt x="366008" y="55986"/>
                        <a:pt x="359756" y="31119"/>
                        <a:pt x="347115" y="31119"/>
                      </a:cubicBezTo>
                      <a:cubicBezTo>
                        <a:pt x="321969" y="31119"/>
                        <a:pt x="303215" y="31119"/>
                        <a:pt x="284321" y="31119"/>
                      </a:cubicBezTo>
                      <a:cubicBezTo>
                        <a:pt x="227779" y="31119"/>
                        <a:pt x="164986" y="31119"/>
                        <a:pt x="102331" y="31119"/>
                      </a:cubicBezTo>
                      <a:cubicBezTo>
                        <a:pt x="89828" y="31119"/>
                        <a:pt x="96079" y="74741"/>
                        <a:pt x="96079" y="87244"/>
                      </a:cubicBezTo>
                      <a:cubicBezTo>
                        <a:pt x="96079" y="99747"/>
                        <a:pt x="89828" y="99747"/>
                        <a:pt x="77186" y="99747"/>
                      </a:cubicBezTo>
                      <a:cubicBezTo>
                        <a:pt x="58292" y="99747"/>
                        <a:pt x="64683" y="99747"/>
                        <a:pt x="64683" y="112250"/>
                      </a:cubicBezTo>
                      <a:cubicBezTo>
                        <a:pt x="64683" y="143369"/>
                        <a:pt x="64683" y="168375"/>
                        <a:pt x="64683" y="199494"/>
                      </a:cubicBezTo>
                      <a:cubicBezTo>
                        <a:pt x="64683" y="211997"/>
                        <a:pt x="64683" y="224361"/>
                        <a:pt x="64683" y="230613"/>
                      </a:cubicBezTo>
                      <a:cubicBezTo>
                        <a:pt x="64405" y="243116"/>
                        <a:pt x="39260" y="237004"/>
                        <a:pt x="33008" y="24311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89" name="Freihandform: Form 388">
                  <a:extLst>
                    <a:ext uri="{FF2B5EF4-FFF2-40B4-BE49-F238E27FC236}">
                      <a16:creationId xmlns:a16="http://schemas.microsoft.com/office/drawing/2014/main" id="{75A9D50B-9C7C-4C7B-BCAB-4B6B0EB476DD}"/>
                    </a:ext>
                  </a:extLst>
                </p:cNvPr>
                <p:cNvSpPr/>
                <p:nvPr/>
              </p:nvSpPr>
              <p:spPr>
                <a:xfrm>
                  <a:off x="7196186" y="3964440"/>
                  <a:ext cx="200049" cy="181295"/>
                </a:xfrm>
                <a:custGeom>
                  <a:avLst/>
                  <a:gdLst>
                    <a:gd name="connsiteX0" fmla="*/ 18755 w 200049"/>
                    <a:gd name="connsiteY0" fmla="*/ 118780 h 181295"/>
                    <a:gd name="connsiteX1" fmla="*/ 43761 w 200049"/>
                    <a:gd name="connsiteY1" fmla="*/ 125031 h 181295"/>
                    <a:gd name="connsiteX2" fmla="*/ 43761 w 200049"/>
                    <a:gd name="connsiteY2" fmla="*/ 106277 h 181295"/>
                    <a:gd name="connsiteX3" fmla="*/ 62516 w 200049"/>
                    <a:gd name="connsiteY3" fmla="*/ 118780 h 181295"/>
                    <a:gd name="connsiteX4" fmla="*/ 75019 w 200049"/>
                    <a:gd name="connsiteY4" fmla="*/ 112528 h 181295"/>
                    <a:gd name="connsiteX5" fmla="*/ 87522 w 200049"/>
                    <a:gd name="connsiteY5" fmla="*/ 112528 h 181295"/>
                    <a:gd name="connsiteX6" fmla="*/ 181295 w 200049"/>
                    <a:gd name="connsiteY6" fmla="*/ 181295 h 181295"/>
                    <a:gd name="connsiteX7" fmla="*/ 200050 w 200049"/>
                    <a:gd name="connsiteY7" fmla="*/ 168792 h 181295"/>
                    <a:gd name="connsiteX8" fmla="*/ 150037 w 200049"/>
                    <a:gd name="connsiteY8" fmla="*/ 118780 h 181295"/>
                    <a:gd name="connsiteX9" fmla="*/ 118780 w 200049"/>
                    <a:gd name="connsiteY9" fmla="*/ 100025 h 181295"/>
                    <a:gd name="connsiteX10" fmla="*/ 106277 w 200049"/>
                    <a:gd name="connsiteY10" fmla="*/ 87522 h 181295"/>
                    <a:gd name="connsiteX11" fmla="*/ 106277 w 200049"/>
                    <a:gd name="connsiteY11" fmla="*/ 100025 h 181295"/>
                    <a:gd name="connsiteX12" fmla="*/ 100025 w 200049"/>
                    <a:gd name="connsiteY12" fmla="*/ 87522 h 181295"/>
                    <a:gd name="connsiteX13" fmla="*/ 87522 w 200049"/>
                    <a:gd name="connsiteY13" fmla="*/ 56264 h 181295"/>
                    <a:gd name="connsiteX14" fmla="*/ 62516 w 200049"/>
                    <a:gd name="connsiteY14" fmla="*/ 0 h 181295"/>
                    <a:gd name="connsiteX15" fmla="*/ 12503 w 200049"/>
                    <a:gd name="connsiteY15" fmla="*/ 43761 h 181295"/>
                    <a:gd name="connsiteX16" fmla="*/ 6252 w 200049"/>
                    <a:gd name="connsiteY16" fmla="*/ 81270 h 181295"/>
                    <a:gd name="connsiteX17" fmla="*/ 0 w 200049"/>
                    <a:gd name="connsiteY17" fmla="*/ 125031 h 181295"/>
                    <a:gd name="connsiteX18" fmla="*/ 18755 w 200049"/>
                    <a:gd name="connsiteY18" fmla="*/ 118780 h 18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049" h="181295">
                      <a:moveTo>
                        <a:pt x="18755" y="118780"/>
                      </a:moveTo>
                      <a:cubicBezTo>
                        <a:pt x="25006" y="118780"/>
                        <a:pt x="37509" y="131283"/>
                        <a:pt x="43761" y="125031"/>
                      </a:cubicBezTo>
                      <a:cubicBezTo>
                        <a:pt x="43761" y="118780"/>
                        <a:pt x="37509" y="106277"/>
                        <a:pt x="43761" y="106277"/>
                      </a:cubicBezTo>
                      <a:cubicBezTo>
                        <a:pt x="56264" y="106277"/>
                        <a:pt x="56264" y="118780"/>
                        <a:pt x="62516" y="118780"/>
                      </a:cubicBezTo>
                      <a:cubicBezTo>
                        <a:pt x="68767" y="118780"/>
                        <a:pt x="75019" y="112528"/>
                        <a:pt x="75019" y="112528"/>
                      </a:cubicBezTo>
                      <a:cubicBezTo>
                        <a:pt x="81270" y="106277"/>
                        <a:pt x="87522" y="112528"/>
                        <a:pt x="87522" y="112528"/>
                      </a:cubicBezTo>
                      <a:cubicBezTo>
                        <a:pt x="137534" y="112528"/>
                        <a:pt x="156289" y="150037"/>
                        <a:pt x="181295" y="181295"/>
                      </a:cubicBezTo>
                      <a:cubicBezTo>
                        <a:pt x="187547" y="181295"/>
                        <a:pt x="193798" y="175044"/>
                        <a:pt x="200050" y="168792"/>
                      </a:cubicBezTo>
                      <a:cubicBezTo>
                        <a:pt x="181295" y="156289"/>
                        <a:pt x="162541" y="137534"/>
                        <a:pt x="150037" y="118780"/>
                      </a:cubicBezTo>
                      <a:cubicBezTo>
                        <a:pt x="143786" y="106277"/>
                        <a:pt x="131283" y="106277"/>
                        <a:pt x="118780" y="100025"/>
                      </a:cubicBezTo>
                      <a:cubicBezTo>
                        <a:pt x="112528" y="100025"/>
                        <a:pt x="112528" y="87522"/>
                        <a:pt x="106277" y="87522"/>
                      </a:cubicBezTo>
                      <a:cubicBezTo>
                        <a:pt x="100025" y="87522"/>
                        <a:pt x="106277" y="93773"/>
                        <a:pt x="106277" y="100025"/>
                      </a:cubicBezTo>
                      <a:lnTo>
                        <a:pt x="100025" y="87522"/>
                      </a:lnTo>
                      <a:cubicBezTo>
                        <a:pt x="93773" y="75019"/>
                        <a:pt x="87522" y="68767"/>
                        <a:pt x="87522" y="56264"/>
                      </a:cubicBezTo>
                      <a:cubicBezTo>
                        <a:pt x="81270" y="37509"/>
                        <a:pt x="81270" y="18755"/>
                        <a:pt x="62516" y="0"/>
                      </a:cubicBezTo>
                      <a:cubicBezTo>
                        <a:pt x="56264" y="25006"/>
                        <a:pt x="25006" y="25006"/>
                        <a:pt x="12503" y="43761"/>
                      </a:cubicBezTo>
                      <a:cubicBezTo>
                        <a:pt x="6252" y="56264"/>
                        <a:pt x="12503" y="68767"/>
                        <a:pt x="6252" y="81270"/>
                      </a:cubicBezTo>
                      <a:cubicBezTo>
                        <a:pt x="0" y="93773"/>
                        <a:pt x="0" y="106277"/>
                        <a:pt x="0" y="125031"/>
                      </a:cubicBezTo>
                      <a:cubicBezTo>
                        <a:pt x="6252" y="118780"/>
                        <a:pt x="12503" y="118780"/>
                        <a:pt x="18755" y="11878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0" name="Freihandform: Form 389">
                  <a:extLst>
                    <a:ext uri="{FF2B5EF4-FFF2-40B4-BE49-F238E27FC236}">
                      <a16:creationId xmlns:a16="http://schemas.microsoft.com/office/drawing/2014/main" id="{A1F26D8D-3952-4BAD-91D4-FB67624E5DB4}"/>
                    </a:ext>
                  </a:extLst>
                </p:cNvPr>
                <p:cNvSpPr/>
                <p:nvPr/>
              </p:nvSpPr>
              <p:spPr>
                <a:xfrm>
                  <a:off x="7093583" y="4070060"/>
                  <a:ext cx="464915" cy="357217"/>
                </a:xfrm>
                <a:custGeom>
                  <a:avLst/>
                  <a:gdLst>
                    <a:gd name="connsiteX0" fmla="*/ 439632 w 464915"/>
                    <a:gd name="connsiteY0" fmla="*/ 217933 h 357217"/>
                    <a:gd name="connsiteX1" fmla="*/ 357528 w 464915"/>
                    <a:gd name="connsiteY1" fmla="*/ 186675 h 357217"/>
                    <a:gd name="connsiteX2" fmla="*/ 319602 w 464915"/>
                    <a:gd name="connsiteY2" fmla="*/ 161669 h 357217"/>
                    <a:gd name="connsiteX3" fmla="*/ 300708 w 464915"/>
                    <a:gd name="connsiteY3" fmla="*/ 130411 h 357217"/>
                    <a:gd name="connsiteX4" fmla="*/ 319602 w 464915"/>
                    <a:gd name="connsiteY4" fmla="*/ 105405 h 357217"/>
                    <a:gd name="connsiteX5" fmla="*/ 281675 w 464915"/>
                    <a:gd name="connsiteY5" fmla="*/ 124159 h 357217"/>
                    <a:gd name="connsiteX6" fmla="*/ 275424 w 464915"/>
                    <a:gd name="connsiteY6" fmla="*/ 92902 h 357217"/>
                    <a:gd name="connsiteX7" fmla="*/ 275424 w 464915"/>
                    <a:gd name="connsiteY7" fmla="*/ 55392 h 357217"/>
                    <a:gd name="connsiteX8" fmla="*/ 231246 w 464915"/>
                    <a:gd name="connsiteY8" fmla="*/ 11631 h 357217"/>
                    <a:gd name="connsiteX9" fmla="*/ 174427 w 464915"/>
                    <a:gd name="connsiteY9" fmla="*/ 5380 h 357217"/>
                    <a:gd name="connsiteX10" fmla="*/ 149142 w 464915"/>
                    <a:gd name="connsiteY10" fmla="*/ 11631 h 357217"/>
                    <a:gd name="connsiteX11" fmla="*/ 130249 w 464915"/>
                    <a:gd name="connsiteY11" fmla="*/ 11631 h 357217"/>
                    <a:gd name="connsiteX12" fmla="*/ 111355 w 464915"/>
                    <a:gd name="connsiteY12" fmla="*/ 11631 h 357217"/>
                    <a:gd name="connsiteX13" fmla="*/ 105103 w 464915"/>
                    <a:gd name="connsiteY13" fmla="*/ 30386 h 357217"/>
                    <a:gd name="connsiteX14" fmla="*/ 92462 w 464915"/>
                    <a:gd name="connsiteY14" fmla="*/ 61644 h 357217"/>
                    <a:gd name="connsiteX15" fmla="*/ 73568 w 464915"/>
                    <a:gd name="connsiteY15" fmla="*/ 67895 h 357217"/>
                    <a:gd name="connsiteX16" fmla="*/ 60926 w 464915"/>
                    <a:gd name="connsiteY16" fmla="*/ 92902 h 357217"/>
                    <a:gd name="connsiteX17" fmla="*/ 60926 w 464915"/>
                    <a:gd name="connsiteY17" fmla="*/ 124159 h 357217"/>
                    <a:gd name="connsiteX18" fmla="*/ 29390 w 464915"/>
                    <a:gd name="connsiteY18" fmla="*/ 192927 h 357217"/>
                    <a:gd name="connsiteX19" fmla="*/ 4106 w 464915"/>
                    <a:gd name="connsiteY19" fmla="*/ 199178 h 357217"/>
                    <a:gd name="connsiteX20" fmla="*/ 10358 w 464915"/>
                    <a:gd name="connsiteY20" fmla="*/ 217933 h 357217"/>
                    <a:gd name="connsiteX21" fmla="*/ 54535 w 464915"/>
                    <a:gd name="connsiteY21" fmla="*/ 274197 h 357217"/>
                    <a:gd name="connsiteX22" fmla="*/ 79820 w 464915"/>
                    <a:gd name="connsiteY22" fmla="*/ 292952 h 357217"/>
                    <a:gd name="connsiteX23" fmla="*/ 86071 w 464915"/>
                    <a:gd name="connsiteY23" fmla="*/ 317958 h 357217"/>
                    <a:gd name="connsiteX24" fmla="*/ 123997 w 464915"/>
                    <a:gd name="connsiteY24" fmla="*/ 324209 h 357217"/>
                    <a:gd name="connsiteX25" fmla="*/ 155533 w 464915"/>
                    <a:gd name="connsiteY25" fmla="*/ 349216 h 357217"/>
                    <a:gd name="connsiteX26" fmla="*/ 205962 w 464915"/>
                    <a:gd name="connsiteY26" fmla="*/ 355467 h 357217"/>
                    <a:gd name="connsiteX27" fmla="*/ 243889 w 464915"/>
                    <a:gd name="connsiteY27" fmla="*/ 336712 h 357217"/>
                    <a:gd name="connsiteX28" fmla="*/ 294457 w 464915"/>
                    <a:gd name="connsiteY28" fmla="*/ 330461 h 357217"/>
                    <a:gd name="connsiteX29" fmla="*/ 338634 w 464915"/>
                    <a:gd name="connsiteY29" fmla="*/ 311706 h 357217"/>
                    <a:gd name="connsiteX30" fmla="*/ 370170 w 464915"/>
                    <a:gd name="connsiteY30" fmla="*/ 311706 h 357217"/>
                    <a:gd name="connsiteX31" fmla="*/ 464915 w 464915"/>
                    <a:gd name="connsiteY31" fmla="*/ 217933 h 357217"/>
                    <a:gd name="connsiteX32" fmla="*/ 439632 w 464915"/>
                    <a:gd name="connsiteY32" fmla="*/ 217933 h 35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4915" h="357217">
                      <a:moveTo>
                        <a:pt x="439632" y="217933"/>
                      </a:moveTo>
                      <a:cubicBezTo>
                        <a:pt x="408096" y="205430"/>
                        <a:pt x="382812" y="199178"/>
                        <a:pt x="357528" y="186675"/>
                      </a:cubicBezTo>
                      <a:cubicBezTo>
                        <a:pt x="338634" y="180423"/>
                        <a:pt x="332243" y="174172"/>
                        <a:pt x="319602" y="161669"/>
                      </a:cubicBezTo>
                      <a:cubicBezTo>
                        <a:pt x="313350" y="155417"/>
                        <a:pt x="306960" y="142914"/>
                        <a:pt x="300708" y="130411"/>
                      </a:cubicBezTo>
                      <a:cubicBezTo>
                        <a:pt x="300708" y="124159"/>
                        <a:pt x="319602" y="111656"/>
                        <a:pt x="319602" y="105405"/>
                      </a:cubicBezTo>
                      <a:cubicBezTo>
                        <a:pt x="306960" y="111656"/>
                        <a:pt x="294318" y="117908"/>
                        <a:pt x="281675" y="124159"/>
                      </a:cubicBezTo>
                      <a:cubicBezTo>
                        <a:pt x="269033" y="124159"/>
                        <a:pt x="269033" y="99153"/>
                        <a:pt x="275424" y="92902"/>
                      </a:cubicBezTo>
                      <a:cubicBezTo>
                        <a:pt x="294318" y="74147"/>
                        <a:pt x="288066" y="74147"/>
                        <a:pt x="275424" y="55392"/>
                      </a:cubicBezTo>
                      <a:cubicBezTo>
                        <a:pt x="262782" y="42889"/>
                        <a:pt x="250140" y="17883"/>
                        <a:pt x="231246" y="11631"/>
                      </a:cubicBezTo>
                      <a:cubicBezTo>
                        <a:pt x="218604" y="11631"/>
                        <a:pt x="187068" y="-872"/>
                        <a:pt x="174427" y="5380"/>
                      </a:cubicBezTo>
                      <a:cubicBezTo>
                        <a:pt x="161785" y="24134"/>
                        <a:pt x="149142" y="-19626"/>
                        <a:pt x="149142" y="11631"/>
                      </a:cubicBezTo>
                      <a:cubicBezTo>
                        <a:pt x="149142" y="24134"/>
                        <a:pt x="136500" y="17883"/>
                        <a:pt x="130249" y="11631"/>
                      </a:cubicBezTo>
                      <a:cubicBezTo>
                        <a:pt x="123997" y="11631"/>
                        <a:pt x="117607" y="11631"/>
                        <a:pt x="111355" y="11631"/>
                      </a:cubicBezTo>
                      <a:cubicBezTo>
                        <a:pt x="98713" y="17883"/>
                        <a:pt x="105103" y="17883"/>
                        <a:pt x="105103" y="30386"/>
                      </a:cubicBezTo>
                      <a:cubicBezTo>
                        <a:pt x="105103" y="36638"/>
                        <a:pt x="98852" y="55392"/>
                        <a:pt x="92462" y="61644"/>
                      </a:cubicBezTo>
                      <a:cubicBezTo>
                        <a:pt x="92462" y="67895"/>
                        <a:pt x="73568" y="61644"/>
                        <a:pt x="73568" y="67895"/>
                      </a:cubicBezTo>
                      <a:cubicBezTo>
                        <a:pt x="73568" y="80398"/>
                        <a:pt x="60926" y="86650"/>
                        <a:pt x="60926" y="92902"/>
                      </a:cubicBezTo>
                      <a:cubicBezTo>
                        <a:pt x="60926" y="99153"/>
                        <a:pt x="67178" y="117908"/>
                        <a:pt x="60926" y="124159"/>
                      </a:cubicBezTo>
                      <a:cubicBezTo>
                        <a:pt x="23000" y="130411"/>
                        <a:pt x="35642" y="167920"/>
                        <a:pt x="29390" y="192927"/>
                      </a:cubicBezTo>
                      <a:cubicBezTo>
                        <a:pt x="23138" y="199178"/>
                        <a:pt x="16749" y="199178"/>
                        <a:pt x="4106" y="199178"/>
                      </a:cubicBezTo>
                      <a:cubicBezTo>
                        <a:pt x="-2145" y="205430"/>
                        <a:pt x="-2145" y="217933"/>
                        <a:pt x="10358" y="217933"/>
                      </a:cubicBezTo>
                      <a:cubicBezTo>
                        <a:pt x="29252" y="224184"/>
                        <a:pt x="48284" y="261694"/>
                        <a:pt x="54535" y="274197"/>
                      </a:cubicBezTo>
                      <a:cubicBezTo>
                        <a:pt x="60787" y="286700"/>
                        <a:pt x="67178" y="286700"/>
                        <a:pt x="79820" y="292952"/>
                      </a:cubicBezTo>
                      <a:cubicBezTo>
                        <a:pt x="86071" y="299203"/>
                        <a:pt x="79820" y="311706"/>
                        <a:pt x="86071" y="317958"/>
                      </a:cubicBezTo>
                      <a:cubicBezTo>
                        <a:pt x="98713" y="330461"/>
                        <a:pt x="111355" y="317958"/>
                        <a:pt x="123997" y="324209"/>
                      </a:cubicBezTo>
                      <a:cubicBezTo>
                        <a:pt x="130249" y="330461"/>
                        <a:pt x="142891" y="342964"/>
                        <a:pt x="155533" y="349216"/>
                      </a:cubicBezTo>
                      <a:cubicBezTo>
                        <a:pt x="168175" y="349216"/>
                        <a:pt x="193459" y="361719"/>
                        <a:pt x="205962" y="355467"/>
                      </a:cubicBezTo>
                      <a:cubicBezTo>
                        <a:pt x="218604" y="342964"/>
                        <a:pt x="224856" y="330461"/>
                        <a:pt x="243889" y="336712"/>
                      </a:cubicBezTo>
                      <a:cubicBezTo>
                        <a:pt x="262782" y="342964"/>
                        <a:pt x="281814" y="336712"/>
                        <a:pt x="294457" y="330461"/>
                      </a:cubicBezTo>
                      <a:cubicBezTo>
                        <a:pt x="307099" y="317958"/>
                        <a:pt x="319740" y="311706"/>
                        <a:pt x="338634" y="311706"/>
                      </a:cubicBezTo>
                      <a:cubicBezTo>
                        <a:pt x="344886" y="311706"/>
                        <a:pt x="370170" y="311706"/>
                        <a:pt x="370170" y="311706"/>
                      </a:cubicBezTo>
                      <a:cubicBezTo>
                        <a:pt x="401705" y="280448"/>
                        <a:pt x="433241" y="249191"/>
                        <a:pt x="464915" y="217933"/>
                      </a:cubicBezTo>
                      <a:cubicBezTo>
                        <a:pt x="458526" y="217933"/>
                        <a:pt x="445883" y="217933"/>
                        <a:pt x="439632" y="2179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1" name="Freihandform: Form 390">
                  <a:extLst>
                    <a:ext uri="{FF2B5EF4-FFF2-40B4-BE49-F238E27FC236}">
                      <a16:creationId xmlns:a16="http://schemas.microsoft.com/office/drawing/2014/main" id="{14FE1AFB-4F8B-4BAC-9F5D-DFABFAAFC8C3}"/>
                    </a:ext>
                  </a:extLst>
                </p:cNvPr>
                <p:cNvSpPr/>
                <p:nvPr/>
              </p:nvSpPr>
              <p:spPr>
                <a:xfrm>
                  <a:off x="7119222" y="4164768"/>
                  <a:ext cx="539031" cy="514850"/>
                </a:xfrm>
                <a:custGeom>
                  <a:avLst/>
                  <a:gdLst>
                    <a:gd name="connsiteX0" fmla="*/ 537773 w 539031"/>
                    <a:gd name="connsiteY0" fmla="*/ 6252 h 514850"/>
                    <a:gd name="connsiteX1" fmla="*/ 519019 w 539031"/>
                    <a:gd name="connsiteY1" fmla="*/ 0 h 514850"/>
                    <a:gd name="connsiteX2" fmla="*/ 494012 w 539031"/>
                    <a:gd name="connsiteY2" fmla="*/ 18616 h 514850"/>
                    <a:gd name="connsiteX3" fmla="*/ 444000 w 539031"/>
                    <a:gd name="connsiteY3" fmla="*/ 18616 h 514850"/>
                    <a:gd name="connsiteX4" fmla="*/ 431497 w 539031"/>
                    <a:gd name="connsiteY4" fmla="*/ 24867 h 514850"/>
                    <a:gd name="connsiteX5" fmla="*/ 425245 w 539031"/>
                    <a:gd name="connsiteY5" fmla="*/ 18616 h 514850"/>
                    <a:gd name="connsiteX6" fmla="*/ 393987 w 539031"/>
                    <a:gd name="connsiteY6" fmla="*/ 37232 h 514850"/>
                    <a:gd name="connsiteX7" fmla="*/ 362730 w 539031"/>
                    <a:gd name="connsiteY7" fmla="*/ 30980 h 514850"/>
                    <a:gd name="connsiteX8" fmla="*/ 331472 w 539031"/>
                    <a:gd name="connsiteY8" fmla="*/ 43344 h 514850"/>
                    <a:gd name="connsiteX9" fmla="*/ 293962 w 539031"/>
                    <a:gd name="connsiteY9" fmla="*/ 12364 h 514850"/>
                    <a:gd name="connsiteX10" fmla="*/ 275208 w 539031"/>
                    <a:gd name="connsiteY10" fmla="*/ 37232 h 514850"/>
                    <a:gd name="connsiteX11" fmla="*/ 300214 w 539031"/>
                    <a:gd name="connsiteY11" fmla="*/ 74463 h 514850"/>
                    <a:gd name="connsiteX12" fmla="*/ 350226 w 539031"/>
                    <a:gd name="connsiteY12" fmla="*/ 99330 h 514850"/>
                    <a:gd name="connsiteX13" fmla="*/ 437609 w 539031"/>
                    <a:gd name="connsiteY13" fmla="*/ 124198 h 514850"/>
                    <a:gd name="connsiteX14" fmla="*/ 393848 w 539031"/>
                    <a:gd name="connsiteY14" fmla="*/ 167542 h 514850"/>
                    <a:gd name="connsiteX15" fmla="*/ 362591 w 539031"/>
                    <a:gd name="connsiteY15" fmla="*/ 204773 h 514850"/>
                    <a:gd name="connsiteX16" fmla="*/ 343836 w 539031"/>
                    <a:gd name="connsiteY16" fmla="*/ 217138 h 514850"/>
                    <a:gd name="connsiteX17" fmla="*/ 300075 w 539031"/>
                    <a:gd name="connsiteY17" fmla="*/ 217138 h 514850"/>
                    <a:gd name="connsiteX18" fmla="*/ 262566 w 539031"/>
                    <a:gd name="connsiteY18" fmla="*/ 235753 h 514850"/>
                    <a:gd name="connsiteX19" fmla="*/ 225056 w 539031"/>
                    <a:gd name="connsiteY19" fmla="*/ 242005 h 514850"/>
                    <a:gd name="connsiteX20" fmla="*/ 200050 w 539031"/>
                    <a:gd name="connsiteY20" fmla="*/ 242005 h 514850"/>
                    <a:gd name="connsiteX21" fmla="*/ 162541 w 539031"/>
                    <a:gd name="connsiteY21" fmla="*/ 260620 h 514850"/>
                    <a:gd name="connsiteX22" fmla="*/ 131283 w 539031"/>
                    <a:gd name="connsiteY22" fmla="*/ 254369 h 514850"/>
                    <a:gd name="connsiteX23" fmla="*/ 100025 w 539031"/>
                    <a:gd name="connsiteY23" fmla="*/ 229502 h 514850"/>
                    <a:gd name="connsiteX24" fmla="*/ 68767 w 539031"/>
                    <a:gd name="connsiteY24" fmla="*/ 229502 h 514850"/>
                    <a:gd name="connsiteX25" fmla="*/ 43761 w 539031"/>
                    <a:gd name="connsiteY25" fmla="*/ 210886 h 514850"/>
                    <a:gd name="connsiteX26" fmla="*/ 0 w 539031"/>
                    <a:gd name="connsiteY26" fmla="*/ 241866 h 514850"/>
                    <a:gd name="connsiteX27" fmla="*/ 18755 w 539031"/>
                    <a:gd name="connsiteY27" fmla="*/ 254230 h 514850"/>
                    <a:gd name="connsiteX28" fmla="*/ 25006 w 539031"/>
                    <a:gd name="connsiteY28" fmla="*/ 279097 h 514850"/>
                    <a:gd name="connsiteX29" fmla="*/ 18755 w 539031"/>
                    <a:gd name="connsiteY29" fmla="*/ 334944 h 514850"/>
                    <a:gd name="connsiteX30" fmla="*/ 0 w 539031"/>
                    <a:gd name="connsiteY30" fmla="*/ 359812 h 514850"/>
                    <a:gd name="connsiteX31" fmla="*/ 18755 w 539031"/>
                    <a:gd name="connsiteY31" fmla="*/ 372176 h 514850"/>
                    <a:gd name="connsiteX32" fmla="*/ 6252 w 539031"/>
                    <a:gd name="connsiteY32" fmla="*/ 403156 h 514850"/>
                    <a:gd name="connsiteX33" fmla="*/ 25006 w 539031"/>
                    <a:gd name="connsiteY33" fmla="*/ 409408 h 514850"/>
                    <a:gd name="connsiteX34" fmla="*/ 93773 w 539031"/>
                    <a:gd name="connsiteY34" fmla="*/ 452752 h 514850"/>
                    <a:gd name="connsiteX35" fmla="*/ 118780 w 539031"/>
                    <a:gd name="connsiteY35" fmla="*/ 477619 h 514850"/>
                    <a:gd name="connsiteX36" fmla="*/ 162541 w 539031"/>
                    <a:gd name="connsiteY36" fmla="*/ 514850 h 514850"/>
                    <a:gd name="connsiteX37" fmla="*/ 187547 w 539031"/>
                    <a:gd name="connsiteY37" fmla="*/ 471506 h 514850"/>
                    <a:gd name="connsiteX38" fmla="*/ 206302 w 539031"/>
                    <a:gd name="connsiteY38" fmla="*/ 446639 h 514850"/>
                    <a:gd name="connsiteX39" fmla="*/ 218805 w 539031"/>
                    <a:gd name="connsiteY39" fmla="*/ 428023 h 514850"/>
                    <a:gd name="connsiteX40" fmla="*/ 250062 w 539031"/>
                    <a:gd name="connsiteY40" fmla="*/ 403156 h 514850"/>
                    <a:gd name="connsiteX41" fmla="*/ 368703 w 539031"/>
                    <a:gd name="connsiteY41" fmla="*/ 297713 h 514850"/>
                    <a:gd name="connsiteX42" fmla="*/ 481092 w 539031"/>
                    <a:gd name="connsiteY42" fmla="*/ 148926 h 514850"/>
                    <a:gd name="connsiteX43" fmla="*/ 524853 w 539031"/>
                    <a:gd name="connsiteY43" fmla="*/ 86827 h 514850"/>
                    <a:gd name="connsiteX44" fmla="*/ 537356 w 539031"/>
                    <a:gd name="connsiteY44" fmla="*/ 43483 h 514850"/>
                    <a:gd name="connsiteX45" fmla="*/ 537773 w 539031"/>
                    <a:gd name="connsiteY45" fmla="*/ 6252 h 514850"/>
                    <a:gd name="connsiteX46" fmla="*/ 537773 w 539031"/>
                    <a:gd name="connsiteY46" fmla="*/ 6252 h 51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39031" h="514850">
                      <a:moveTo>
                        <a:pt x="537773" y="6252"/>
                      </a:moveTo>
                      <a:cubicBezTo>
                        <a:pt x="544025" y="0"/>
                        <a:pt x="525270" y="0"/>
                        <a:pt x="519019" y="0"/>
                      </a:cubicBezTo>
                      <a:cubicBezTo>
                        <a:pt x="512767" y="6252"/>
                        <a:pt x="506515" y="12364"/>
                        <a:pt x="494012" y="18616"/>
                      </a:cubicBezTo>
                      <a:cubicBezTo>
                        <a:pt x="481509" y="18616"/>
                        <a:pt x="462755" y="18616"/>
                        <a:pt x="444000" y="18616"/>
                      </a:cubicBezTo>
                      <a:cubicBezTo>
                        <a:pt x="444000" y="24867"/>
                        <a:pt x="437748" y="24867"/>
                        <a:pt x="431497" y="24867"/>
                      </a:cubicBezTo>
                      <a:cubicBezTo>
                        <a:pt x="425245" y="24867"/>
                        <a:pt x="425245" y="18616"/>
                        <a:pt x="425245" y="18616"/>
                      </a:cubicBezTo>
                      <a:cubicBezTo>
                        <a:pt x="412742" y="24867"/>
                        <a:pt x="406491" y="37232"/>
                        <a:pt x="393987" y="37232"/>
                      </a:cubicBezTo>
                      <a:cubicBezTo>
                        <a:pt x="381484" y="37232"/>
                        <a:pt x="381484" y="30980"/>
                        <a:pt x="362730" y="30980"/>
                      </a:cubicBezTo>
                      <a:cubicBezTo>
                        <a:pt x="356478" y="37232"/>
                        <a:pt x="343975" y="49596"/>
                        <a:pt x="331472" y="43344"/>
                      </a:cubicBezTo>
                      <a:cubicBezTo>
                        <a:pt x="312717" y="37093"/>
                        <a:pt x="306466" y="30980"/>
                        <a:pt x="293962" y="12364"/>
                      </a:cubicBezTo>
                      <a:cubicBezTo>
                        <a:pt x="293962" y="18616"/>
                        <a:pt x="275208" y="30980"/>
                        <a:pt x="275208" y="37232"/>
                      </a:cubicBezTo>
                      <a:cubicBezTo>
                        <a:pt x="281459" y="49596"/>
                        <a:pt x="287711" y="62099"/>
                        <a:pt x="300214" y="74463"/>
                      </a:cubicBezTo>
                      <a:cubicBezTo>
                        <a:pt x="312717" y="86827"/>
                        <a:pt x="331472" y="93079"/>
                        <a:pt x="350226" y="99330"/>
                      </a:cubicBezTo>
                      <a:cubicBezTo>
                        <a:pt x="381484" y="111694"/>
                        <a:pt x="406491" y="124198"/>
                        <a:pt x="437609" y="124198"/>
                      </a:cubicBezTo>
                      <a:cubicBezTo>
                        <a:pt x="425106" y="136562"/>
                        <a:pt x="406351" y="155178"/>
                        <a:pt x="393848" y="167542"/>
                      </a:cubicBezTo>
                      <a:cubicBezTo>
                        <a:pt x="381345" y="179906"/>
                        <a:pt x="368842" y="192409"/>
                        <a:pt x="362591" y="204773"/>
                      </a:cubicBezTo>
                      <a:cubicBezTo>
                        <a:pt x="356339" y="204773"/>
                        <a:pt x="350087" y="217138"/>
                        <a:pt x="343836" y="217138"/>
                      </a:cubicBezTo>
                      <a:cubicBezTo>
                        <a:pt x="331333" y="223389"/>
                        <a:pt x="312578" y="210886"/>
                        <a:pt x="300075" y="217138"/>
                      </a:cubicBezTo>
                      <a:cubicBezTo>
                        <a:pt x="287572" y="217138"/>
                        <a:pt x="275069" y="229502"/>
                        <a:pt x="262566" y="235753"/>
                      </a:cubicBezTo>
                      <a:cubicBezTo>
                        <a:pt x="250062" y="242005"/>
                        <a:pt x="237559" y="248117"/>
                        <a:pt x="225056" y="242005"/>
                      </a:cubicBezTo>
                      <a:cubicBezTo>
                        <a:pt x="218805" y="242005"/>
                        <a:pt x="206302" y="235753"/>
                        <a:pt x="200050" y="242005"/>
                      </a:cubicBezTo>
                      <a:cubicBezTo>
                        <a:pt x="181295" y="254369"/>
                        <a:pt x="181295" y="266872"/>
                        <a:pt x="162541" y="260620"/>
                      </a:cubicBezTo>
                      <a:cubicBezTo>
                        <a:pt x="150037" y="254369"/>
                        <a:pt x="137534" y="254369"/>
                        <a:pt x="131283" y="254369"/>
                      </a:cubicBezTo>
                      <a:cubicBezTo>
                        <a:pt x="118780" y="248117"/>
                        <a:pt x="106277" y="235753"/>
                        <a:pt x="100025" y="229502"/>
                      </a:cubicBezTo>
                      <a:cubicBezTo>
                        <a:pt x="93773" y="229502"/>
                        <a:pt x="75019" y="235753"/>
                        <a:pt x="68767" y="229502"/>
                      </a:cubicBezTo>
                      <a:cubicBezTo>
                        <a:pt x="62516" y="223250"/>
                        <a:pt x="50012" y="210886"/>
                        <a:pt x="43761" y="210886"/>
                      </a:cubicBezTo>
                      <a:cubicBezTo>
                        <a:pt x="18755" y="217138"/>
                        <a:pt x="12503" y="223250"/>
                        <a:pt x="0" y="241866"/>
                      </a:cubicBezTo>
                      <a:cubicBezTo>
                        <a:pt x="0" y="248117"/>
                        <a:pt x="18755" y="248117"/>
                        <a:pt x="18755" y="254230"/>
                      </a:cubicBezTo>
                      <a:cubicBezTo>
                        <a:pt x="18755" y="266594"/>
                        <a:pt x="18755" y="272846"/>
                        <a:pt x="25006" y="279097"/>
                      </a:cubicBezTo>
                      <a:cubicBezTo>
                        <a:pt x="37509" y="291462"/>
                        <a:pt x="31258" y="322441"/>
                        <a:pt x="18755" y="334944"/>
                      </a:cubicBezTo>
                      <a:cubicBezTo>
                        <a:pt x="12503" y="341196"/>
                        <a:pt x="6252" y="347309"/>
                        <a:pt x="0" y="359812"/>
                      </a:cubicBezTo>
                      <a:cubicBezTo>
                        <a:pt x="0" y="378428"/>
                        <a:pt x="12503" y="366064"/>
                        <a:pt x="18755" y="372176"/>
                      </a:cubicBezTo>
                      <a:cubicBezTo>
                        <a:pt x="18755" y="372176"/>
                        <a:pt x="0" y="397044"/>
                        <a:pt x="6252" y="403156"/>
                      </a:cubicBezTo>
                      <a:cubicBezTo>
                        <a:pt x="12503" y="403156"/>
                        <a:pt x="18755" y="409408"/>
                        <a:pt x="25006" y="409408"/>
                      </a:cubicBezTo>
                      <a:cubicBezTo>
                        <a:pt x="50012" y="428023"/>
                        <a:pt x="75019" y="440388"/>
                        <a:pt x="93773" y="452752"/>
                      </a:cubicBezTo>
                      <a:cubicBezTo>
                        <a:pt x="112528" y="459003"/>
                        <a:pt x="118780" y="459003"/>
                        <a:pt x="118780" y="477619"/>
                      </a:cubicBezTo>
                      <a:cubicBezTo>
                        <a:pt x="118780" y="489983"/>
                        <a:pt x="156289" y="508599"/>
                        <a:pt x="162541" y="514850"/>
                      </a:cubicBezTo>
                      <a:cubicBezTo>
                        <a:pt x="175044" y="496235"/>
                        <a:pt x="181295" y="483871"/>
                        <a:pt x="187547" y="471506"/>
                      </a:cubicBezTo>
                      <a:cubicBezTo>
                        <a:pt x="187547" y="459142"/>
                        <a:pt x="193798" y="446639"/>
                        <a:pt x="206302" y="446639"/>
                      </a:cubicBezTo>
                      <a:cubicBezTo>
                        <a:pt x="212553" y="440388"/>
                        <a:pt x="212553" y="434275"/>
                        <a:pt x="218805" y="428023"/>
                      </a:cubicBezTo>
                      <a:cubicBezTo>
                        <a:pt x="231308" y="421772"/>
                        <a:pt x="237559" y="415659"/>
                        <a:pt x="250062" y="403156"/>
                      </a:cubicBezTo>
                      <a:cubicBezTo>
                        <a:pt x="281320" y="353560"/>
                        <a:pt x="324942" y="328693"/>
                        <a:pt x="368703" y="297713"/>
                      </a:cubicBezTo>
                      <a:cubicBezTo>
                        <a:pt x="424967" y="260482"/>
                        <a:pt x="456086" y="204634"/>
                        <a:pt x="481092" y="148926"/>
                      </a:cubicBezTo>
                      <a:cubicBezTo>
                        <a:pt x="493595" y="124059"/>
                        <a:pt x="512350" y="111694"/>
                        <a:pt x="524853" y="86827"/>
                      </a:cubicBezTo>
                      <a:cubicBezTo>
                        <a:pt x="531105" y="74463"/>
                        <a:pt x="531105" y="55847"/>
                        <a:pt x="537356" y="43483"/>
                      </a:cubicBezTo>
                      <a:cubicBezTo>
                        <a:pt x="537773" y="37232"/>
                        <a:pt x="531522" y="12364"/>
                        <a:pt x="537773" y="6252"/>
                      </a:cubicBezTo>
                      <a:lnTo>
                        <a:pt x="537773" y="6252"/>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2" name="Freihandform: Form 391">
                  <a:extLst>
                    <a:ext uri="{FF2B5EF4-FFF2-40B4-BE49-F238E27FC236}">
                      <a16:creationId xmlns:a16="http://schemas.microsoft.com/office/drawing/2014/main" id="{BA3B0570-AE8F-44E8-914B-F4CB2C714D0D}"/>
                    </a:ext>
                  </a:extLst>
                </p:cNvPr>
                <p:cNvSpPr/>
                <p:nvPr/>
              </p:nvSpPr>
              <p:spPr>
                <a:xfrm>
                  <a:off x="7358310" y="4139842"/>
                  <a:ext cx="51867" cy="58003"/>
                </a:xfrm>
                <a:custGeom>
                  <a:avLst/>
                  <a:gdLst>
                    <a:gd name="connsiteX0" fmla="*/ 19032 w 51867"/>
                    <a:gd name="connsiteY0" fmla="*/ 8533 h 58003"/>
                    <a:gd name="connsiteX1" fmla="*/ 6390 w 51867"/>
                    <a:gd name="connsiteY1" fmla="*/ 26732 h 58003"/>
                    <a:gd name="connsiteX2" fmla="*/ 0 w 51867"/>
                    <a:gd name="connsiteY2" fmla="*/ 57017 h 58003"/>
                    <a:gd name="connsiteX3" fmla="*/ 50845 w 51867"/>
                    <a:gd name="connsiteY3" fmla="*/ 38818 h 58003"/>
                    <a:gd name="connsiteX4" fmla="*/ 25423 w 51867"/>
                    <a:gd name="connsiteY4" fmla="*/ 32706 h 58003"/>
                    <a:gd name="connsiteX5" fmla="*/ 50845 w 51867"/>
                    <a:gd name="connsiteY5" fmla="*/ 14507 h 58003"/>
                    <a:gd name="connsiteX6" fmla="*/ 19032 w 51867"/>
                    <a:gd name="connsiteY6" fmla="*/ 8533 h 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67" h="58003">
                      <a:moveTo>
                        <a:pt x="19032" y="8533"/>
                      </a:moveTo>
                      <a:cubicBezTo>
                        <a:pt x="12642" y="14645"/>
                        <a:pt x="6390" y="20619"/>
                        <a:pt x="6390" y="26732"/>
                      </a:cubicBezTo>
                      <a:cubicBezTo>
                        <a:pt x="0" y="26732"/>
                        <a:pt x="0" y="51044"/>
                        <a:pt x="0" y="57017"/>
                      </a:cubicBezTo>
                      <a:cubicBezTo>
                        <a:pt x="12642" y="63130"/>
                        <a:pt x="44456" y="38818"/>
                        <a:pt x="50845" y="38818"/>
                      </a:cubicBezTo>
                      <a:cubicBezTo>
                        <a:pt x="50845" y="32706"/>
                        <a:pt x="31813" y="26732"/>
                        <a:pt x="25423" y="32706"/>
                      </a:cubicBezTo>
                      <a:cubicBezTo>
                        <a:pt x="31813" y="26593"/>
                        <a:pt x="57236" y="20619"/>
                        <a:pt x="50845" y="14507"/>
                      </a:cubicBezTo>
                      <a:cubicBezTo>
                        <a:pt x="44456" y="-3692"/>
                        <a:pt x="31674" y="-3692"/>
                        <a:pt x="19032" y="853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3" name="Freihandform: Form 392">
                  <a:extLst>
                    <a:ext uri="{FF2B5EF4-FFF2-40B4-BE49-F238E27FC236}">
                      <a16:creationId xmlns:a16="http://schemas.microsoft.com/office/drawing/2014/main" id="{9C32869A-335E-4B80-A16E-19FEA3A85A00}"/>
                    </a:ext>
                  </a:extLst>
                </p:cNvPr>
                <p:cNvSpPr/>
                <p:nvPr/>
              </p:nvSpPr>
              <p:spPr>
                <a:xfrm>
                  <a:off x="6986411" y="4403160"/>
                  <a:ext cx="162124" cy="177192"/>
                </a:xfrm>
                <a:custGeom>
                  <a:avLst/>
                  <a:gdLst>
                    <a:gd name="connsiteX0" fmla="*/ 137118 w 162124"/>
                    <a:gd name="connsiteY0" fmla="*/ 116418 h 177192"/>
                    <a:gd name="connsiteX1" fmla="*/ 155873 w 162124"/>
                    <a:gd name="connsiteY1" fmla="*/ 90578 h 177192"/>
                    <a:gd name="connsiteX2" fmla="*/ 162124 w 162124"/>
                    <a:gd name="connsiteY2" fmla="*/ 51819 h 177192"/>
                    <a:gd name="connsiteX3" fmla="*/ 149621 w 162124"/>
                    <a:gd name="connsiteY3" fmla="*/ 19449 h 177192"/>
                    <a:gd name="connsiteX4" fmla="*/ 130866 w 162124"/>
                    <a:gd name="connsiteY4" fmla="*/ 0 h 177192"/>
                    <a:gd name="connsiteX5" fmla="*/ 99747 w 162124"/>
                    <a:gd name="connsiteY5" fmla="*/ 6530 h 177192"/>
                    <a:gd name="connsiteX6" fmla="*/ 74741 w 162124"/>
                    <a:gd name="connsiteY6" fmla="*/ 19449 h 177192"/>
                    <a:gd name="connsiteX7" fmla="*/ 37370 w 162124"/>
                    <a:gd name="connsiteY7" fmla="*/ 12920 h 177192"/>
                    <a:gd name="connsiteX8" fmla="*/ 43622 w 162124"/>
                    <a:gd name="connsiteY8" fmla="*/ 51680 h 177192"/>
                    <a:gd name="connsiteX9" fmla="*/ 37370 w 162124"/>
                    <a:gd name="connsiteY9" fmla="*/ 77519 h 177192"/>
                    <a:gd name="connsiteX10" fmla="*/ 12503 w 162124"/>
                    <a:gd name="connsiteY10" fmla="*/ 103359 h 177192"/>
                    <a:gd name="connsiteX11" fmla="*/ 0 w 162124"/>
                    <a:gd name="connsiteY11" fmla="*/ 142119 h 177192"/>
                    <a:gd name="connsiteX12" fmla="*/ 0 w 162124"/>
                    <a:gd name="connsiteY12" fmla="*/ 174488 h 177192"/>
                    <a:gd name="connsiteX13" fmla="*/ 24867 w 162124"/>
                    <a:gd name="connsiteY13" fmla="*/ 167959 h 177192"/>
                    <a:gd name="connsiteX14" fmla="*/ 68489 w 162124"/>
                    <a:gd name="connsiteY14" fmla="*/ 161429 h 177192"/>
                    <a:gd name="connsiteX15" fmla="*/ 87244 w 162124"/>
                    <a:gd name="connsiteY15" fmla="*/ 129060 h 177192"/>
                    <a:gd name="connsiteX16" fmla="*/ 130866 w 162124"/>
                    <a:gd name="connsiteY16" fmla="*/ 129060 h 177192"/>
                    <a:gd name="connsiteX17" fmla="*/ 137118 w 162124"/>
                    <a:gd name="connsiteY17" fmla="*/ 116418 h 177192"/>
                    <a:gd name="connsiteX18" fmla="*/ 137118 w 162124"/>
                    <a:gd name="connsiteY18" fmla="*/ 116418 h 17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2124" h="177192">
                      <a:moveTo>
                        <a:pt x="137118" y="116418"/>
                      </a:moveTo>
                      <a:cubicBezTo>
                        <a:pt x="137118" y="103498"/>
                        <a:pt x="149621" y="96969"/>
                        <a:pt x="155873" y="90578"/>
                      </a:cubicBezTo>
                      <a:cubicBezTo>
                        <a:pt x="162124" y="84049"/>
                        <a:pt x="162124" y="64739"/>
                        <a:pt x="162124" y="51819"/>
                      </a:cubicBezTo>
                      <a:cubicBezTo>
                        <a:pt x="162124" y="38899"/>
                        <a:pt x="149621" y="32369"/>
                        <a:pt x="149621" y="19449"/>
                      </a:cubicBezTo>
                      <a:cubicBezTo>
                        <a:pt x="149621" y="6530"/>
                        <a:pt x="137118" y="6530"/>
                        <a:pt x="130866" y="0"/>
                      </a:cubicBezTo>
                      <a:cubicBezTo>
                        <a:pt x="124615" y="6530"/>
                        <a:pt x="112112" y="0"/>
                        <a:pt x="99747" y="6530"/>
                      </a:cubicBezTo>
                      <a:cubicBezTo>
                        <a:pt x="93495" y="13059"/>
                        <a:pt x="80992" y="25979"/>
                        <a:pt x="74741" y="19449"/>
                      </a:cubicBezTo>
                      <a:cubicBezTo>
                        <a:pt x="62237" y="6530"/>
                        <a:pt x="43622" y="0"/>
                        <a:pt x="37370" y="12920"/>
                      </a:cubicBezTo>
                      <a:cubicBezTo>
                        <a:pt x="31119" y="25840"/>
                        <a:pt x="37370" y="45289"/>
                        <a:pt x="43622" y="51680"/>
                      </a:cubicBezTo>
                      <a:cubicBezTo>
                        <a:pt x="49873" y="64599"/>
                        <a:pt x="43622" y="64599"/>
                        <a:pt x="37370" y="77519"/>
                      </a:cubicBezTo>
                      <a:cubicBezTo>
                        <a:pt x="31119" y="90439"/>
                        <a:pt x="18616" y="96969"/>
                        <a:pt x="12503" y="103359"/>
                      </a:cubicBezTo>
                      <a:cubicBezTo>
                        <a:pt x="6252" y="116279"/>
                        <a:pt x="0" y="122809"/>
                        <a:pt x="0" y="142119"/>
                      </a:cubicBezTo>
                      <a:cubicBezTo>
                        <a:pt x="0" y="148648"/>
                        <a:pt x="6252" y="161568"/>
                        <a:pt x="0" y="174488"/>
                      </a:cubicBezTo>
                      <a:cubicBezTo>
                        <a:pt x="12503" y="181017"/>
                        <a:pt x="12503" y="174488"/>
                        <a:pt x="24867" y="167959"/>
                      </a:cubicBezTo>
                      <a:cubicBezTo>
                        <a:pt x="37370" y="161429"/>
                        <a:pt x="55986" y="161429"/>
                        <a:pt x="68489" y="161429"/>
                      </a:cubicBezTo>
                      <a:cubicBezTo>
                        <a:pt x="62237" y="141980"/>
                        <a:pt x="74741" y="135590"/>
                        <a:pt x="87244" y="129060"/>
                      </a:cubicBezTo>
                      <a:cubicBezTo>
                        <a:pt x="99747" y="122531"/>
                        <a:pt x="124615" y="109611"/>
                        <a:pt x="130866" y="129060"/>
                      </a:cubicBezTo>
                      <a:cubicBezTo>
                        <a:pt x="131005" y="122809"/>
                        <a:pt x="131005" y="116418"/>
                        <a:pt x="137118" y="116418"/>
                      </a:cubicBezTo>
                      <a:cubicBezTo>
                        <a:pt x="137118" y="103498"/>
                        <a:pt x="131005" y="116418"/>
                        <a:pt x="137118" y="11641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4" name="Freihandform: Form 393">
                  <a:extLst>
                    <a:ext uri="{FF2B5EF4-FFF2-40B4-BE49-F238E27FC236}">
                      <a16:creationId xmlns:a16="http://schemas.microsoft.com/office/drawing/2014/main" id="{3EFB8A01-9867-4AC2-AD9B-83F72C62DD59}"/>
                    </a:ext>
                  </a:extLst>
                </p:cNvPr>
                <p:cNvSpPr/>
                <p:nvPr/>
              </p:nvSpPr>
              <p:spPr>
                <a:xfrm>
                  <a:off x="6967379" y="4603349"/>
                  <a:ext cx="60912" cy="66683"/>
                </a:xfrm>
                <a:custGeom>
                  <a:avLst/>
                  <a:gdLst>
                    <a:gd name="connsiteX0" fmla="*/ 6669 w 60912"/>
                    <a:gd name="connsiteY0" fmla="*/ 40010 h 66683"/>
                    <a:gd name="connsiteX1" fmla="*/ 20006 w 60912"/>
                    <a:gd name="connsiteY1" fmla="*/ 66683 h 66683"/>
                    <a:gd name="connsiteX2" fmla="*/ 60015 w 60912"/>
                    <a:gd name="connsiteY2" fmla="*/ 33342 h 66683"/>
                    <a:gd name="connsiteX3" fmla="*/ 53347 w 60912"/>
                    <a:gd name="connsiteY3" fmla="*/ 0 h 66683"/>
                    <a:gd name="connsiteX4" fmla="*/ 26674 w 60912"/>
                    <a:gd name="connsiteY4" fmla="*/ 6668 h 66683"/>
                    <a:gd name="connsiteX5" fmla="*/ 0 w 60912"/>
                    <a:gd name="connsiteY5" fmla="*/ 6668 h 66683"/>
                    <a:gd name="connsiteX6" fmla="*/ 6669 w 60912"/>
                    <a:gd name="connsiteY6" fmla="*/ 40010 h 6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12" h="66683">
                      <a:moveTo>
                        <a:pt x="6669" y="40010"/>
                      </a:moveTo>
                      <a:cubicBezTo>
                        <a:pt x="13337" y="46678"/>
                        <a:pt x="13337" y="60015"/>
                        <a:pt x="20006" y="66683"/>
                      </a:cubicBezTo>
                      <a:cubicBezTo>
                        <a:pt x="33342" y="60015"/>
                        <a:pt x="46678" y="46678"/>
                        <a:pt x="60015" y="33342"/>
                      </a:cubicBezTo>
                      <a:cubicBezTo>
                        <a:pt x="66683" y="20005"/>
                        <a:pt x="33342" y="26673"/>
                        <a:pt x="53347" y="0"/>
                      </a:cubicBezTo>
                      <a:cubicBezTo>
                        <a:pt x="46678" y="0"/>
                        <a:pt x="20006" y="0"/>
                        <a:pt x="26674" y="6668"/>
                      </a:cubicBezTo>
                      <a:cubicBezTo>
                        <a:pt x="33342" y="20005"/>
                        <a:pt x="6669" y="13337"/>
                        <a:pt x="0" y="6668"/>
                      </a:cubicBezTo>
                      <a:cubicBezTo>
                        <a:pt x="0" y="20005"/>
                        <a:pt x="6669" y="26673"/>
                        <a:pt x="6669" y="4001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5" name="Freihandform: Form 394">
                  <a:extLst>
                    <a:ext uri="{FF2B5EF4-FFF2-40B4-BE49-F238E27FC236}">
                      <a16:creationId xmlns:a16="http://schemas.microsoft.com/office/drawing/2014/main" id="{17EB065D-0AD1-4B50-9F30-7FBB3426F33B}"/>
                    </a:ext>
                  </a:extLst>
                </p:cNvPr>
                <p:cNvSpPr/>
                <p:nvPr/>
              </p:nvSpPr>
              <p:spPr>
                <a:xfrm>
                  <a:off x="6967379" y="4565145"/>
                  <a:ext cx="56502" cy="51776"/>
                </a:xfrm>
                <a:custGeom>
                  <a:avLst/>
                  <a:gdLst>
                    <a:gd name="connsiteX0" fmla="*/ 18199 w 56502"/>
                    <a:gd name="connsiteY0" fmla="*/ 6391 h 51776"/>
                    <a:gd name="connsiteX1" fmla="*/ 0 w 56502"/>
                    <a:gd name="connsiteY1" fmla="*/ 44456 h 51776"/>
                    <a:gd name="connsiteX2" fmla="*/ 24312 w 56502"/>
                    <a:gd name="connsiteY2" fmla="*/ 44456 h 51776"/>
                    <a:gd name="connsiteX3" fmla="*/ 48623 w 56502"/>
                    <a:gd name="connsiteY3" fmla="*/ 38065 h 51776"/>
                    <a:gd name="connsiteX4" fmla="*/ 42511 w 56502"/>
                    <a:gd name="connsiteY4" fmla="*/ 0 h 51776"/>
                    <a:gd name="connsiteX5" fmla="*/ 18199 w 56502"/>
                    <a:gd name="connsiteY5" fmla="*/ 6391 h 51776"/>
                    <a:gd name="connsiteX6" fmla="*/ 18199 w 56502"/>
                    <a:gd name="connsiteY6" fmla="*/ 6391 h 5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02" h="51776">
                      <a:moveTo>
                        <a:pt x="18199" y="6391"/>
                      </a:moveTo>
                      <a:cubicBezTo>
                        <a:pt x="6113" y="12781"/>
                        <a:pt x="0" y="31813"/>
                        <a:pt x="0" y="44456"/>
                      </a:cubicBezTo>
                      <a:cubicBezTo>
                        <a:pt x="6113" y="50846"/>
                        <a:pt x="30286" y="57098"/>
                        <a:pt x="24312" y="44456"/>
                      </a:cubicBezTo>
                      <a:cubicBezTo>
                        <a:pt x="18199" y="38065"/>
                        <a:pt x="42511" y="38065"/>
                        <a:pt x="48623" y="38065"/>
                      </a:cubicBezTo>
                      <a:cubicBezTo>
                        <a:pt x="66822" y="31675"/>
                        <a:pt x="48623" y="6252"/>
                        <a:pt x="42511" y="0"/>
                      </a:cubicBezTo>
                      <a:cubicBezTo>
                        <a:pt x="30286" y="6391"/>
                        <a:pt x="30286" y="12781"/>
                        <a:pt x="18199" y="6391"/>
                      </a:cubicBezTo>
                      <a:cubicBezTo>
                        <a:pt x="12087" y="6391"/>
                        <a:pt x="24312" y="6391"/>
                        <a:pt x="18199" y="63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6" name="Freihandform: Form 395">
                  <a:extLst>
                    <a:ext uri="{FF2B5EF4-FFF2-40B4-BE49-F238E27FC236}">
                      <a16:creationId xmlns:a16="http://schemas.microsoft.com/office/drawing/2014/main" id="{B12BD4F7-3316-4AA1-972D-6B4C23D7EAE4}"/>
                    </a:ext>
                  </a:extLst>
                </p:cNvPr>
                <p:cNvSpPr/>
                <p:nvPr/>
              </p:nvSpPr>
              <p:spPr>
                <a:xfrm>
                  <a:off x="6981809" y="4556465"/>
                  <a:ext cx="338018" cy="351273"/>
                </a:xfrm>
                <a:custGeom>
                  <a:avLst/>
                  <a:gdLst>
                    <a:gd name="connsiteX0" fmla="*/ 255637 w 338018"/>
                    <a:gd name="connsiteY0" fmla="*/ 73002 h 351273"/>
                    <a:gd name="connsiteX1" fmla="*/ 141303 w 338018"/>
                    <a:gd name="connsiteY1" fmla="*/ 8958 h 351273"/>
                    <a:gd name="connsiteX2" fmla="*/ 103238 w 338018"/>
                    <a:gd name="connsiteY2" fmla="*/ 34659 h 351273"/>
                    <a:gd name="connsiteX3" fmla="*/ 128661 w 338018"/>
                    <a:gd name="connsiteY3" fmla="*/ 47440 h 351273"/>
                    <a:gd name="connsiteX4" fmla="*/ 103238 w 338018"/>
                    <a:gd name="connsiteY4" fmla="*/ 47440 h 351273"/>
                    <a:gd name="connsiteX5" fmla="*/ 77815 w 338018"/>
                    <a:gd name="connsiteY5" fmla="*/ 53830 h 351273"/>
                    <a:gd name="connsiteX6" fmla="*/ 65034 w 338018"/>
                    <a:gd name="connsiteY6" fmla="*/ 41050 h 351273"/>
                    <a:gd name="connsiteX7" fmla="*/ 71425 w 338018"/>
                    <a:gd name="connsiteY7" fmla="*/ 15349 h 351273"/>
                    <a:gd name="connsiteX8" fmla="*/ 26969 w 338018"/>
                    <a:gd name="connsiteY8" fmla="*/ 8958 h 351273"/>
                    <a:gd name="connsiteX9" fmla="*/ 39750 w 338018"/>
                    <a:gd name="connsiteY9" fmla="*/ 41050 h 351273"/>
                    <a:gd name="connsiteX10" fmla="*/ 26969 w 338018"/>
                    <a:gd name="connsiteY10" fmla="*/ 66750 h 351273"/>
                    <a:gd name="connsiteX11" fmla="*/ 33360 w 338018"/>
                    <a:gd name="connsiteY11" fmla="*/ 92451 h 351273"/>
                    <a:gd name="connsiteX12" fmla="*/ 7936 w 338018"/>
                    <a:gd name="connsiteY12" fmla="*/ 105232 h 351273"/>
                    <a:gd name="connsiteX13" fmla="*/ 1546 w 338018"/>
                    <a:gd name="connsiteY13" fmla="*/ 124404 h 351273"/>
                    <a:gd name="connsiteX14" fmla="*/ 26969 w 338018"/>
                    <a:gd name="connsiteY14" fmla="*/ 201367 h 351273"/>
                    <a:gd name="connsiteX15" fmla="*/ 71425 w 338018"/>
                    <a:gd name="connsiteY15" fmla="*/ 259020 h 351273"/>
                    <a:gd name="connsiteX16" fmla="*/ 90457 w 338018"/>
                    <a:gd name="connsiteY16" fmla="*/ 265411 h 351273"/>
                    <a:gd name="connsiteX17" fmla="*/ 103099 w 338018"/>
                    <a:gd name="connsiteY17" fmla="*/ 278192 h 351273"/>
                    <a:gd name="connsiteX18" fmla="*/ 147554 w 338018"/>
                    <a:gd name="connsiteY18" fmla="*/ 290973 h 351273"/>
                    <a:gd name="connsiteX19" fmla="*/ 153945 w 338018"/>
                    <a:gd name="connsiteY19" fmla="*/ 329455 h 351273"/>
                    <a:gd name="connsiteX20" fmla="*/ 166587 w 338018"/>
                    <a:gd name="connsiteY20" fmla="*/ 342236 h 351273"/>
                    <a:gd name="connsiteX21" fmla="*/ 185619 w 338018"/>
                    <a:gd name="connsiteY21" fmla="*/ 342236 h 351273"/>
                    <a:gd name="connsiteX22" fmla="*/ 204652 w 338018"/>
                    <a:gd name="connsiteY22" fmla="*/ 348626 h 351273"/>
                    <a:gd name="connsiteX23" fmla="*/ 223685 w 338018"/>
                    <a:gd name="connsiteY23" fmla="*/ 342236 h 351273"/>
                    <a:gd name="connsiteX24" fmla="*/ 261750 w 338018"/>
                    <a:gd name="connsiteY24" fmla="*/ 342236 h 351273"/>
                    <a:gd name="connsiteX25" fmla="*/ 287173 w 338018"/>
                    <a:gd name="connsiteY25" fmla="*/ 335845 h 351273"/>
                    <a:gd name="connsiteX26" fmla="*/ 338019 w 338018"/>
                    <a:gd name="connsiteY26" fmla="*/ 303754 h 351273"/>
                    <a:gd name="connsiteX27" fmla="*/ 306205 w 338018"/>
                    <a:gd name="connsiteY27" fmla="*/ 220400 h 351273"/>
                    <a:gd name="connsiteX28" fmla="*/ 306205 w 338018"/>
                    <a:gd name="connsiteY28" fmla="*/ 194699 h 351273"/>
                    <a:gd name="connsiteX29" fmla="*/ 287173 w 338018"/>
                    <a:gd name="connsiteY29" fmla="*/ 168998 h 351273"/>
                    <a:gd name="connsiteX30" fmla="*/ 299815 w 338018"/>
                    <a:gd name="connsiteY30" fmla="*/ 117735 h 351273"/>
                    <a:gd name="connsiteX31" fmla="*/ 280782 w 338018"/>
                    <a:gd name="connsiteY31" fmla="*/ 104954 h 351273"/>
                    <a:gd name="connsiteX32" fmla="*/ 255359 w 338018"/>
                    <a:gd name="connsiteY32" fmla="*/ 92173 h 351273"/>
                    <a:gd name="connsiteX33" fmla="*/ 255637 w 338018"/>
                    <a:gd name="connsiteY33" fmla="*/ 73002 h 35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8018" h="351273">
                      <a:moveTo>
                        <a:pt x="255637" y="73002"/>
                      </a:moveTo>
                      <a:cubicBezTo>
                        <a:pt x="217572" y="47301"/>
                        <a:pt x="179368" y="28130"/>
                        <a:pt x="141303" y="8958"/>
                      </a:cubicBezTo>
                      <a:cubicBezTo>
                        <a:pt x="134912" y="21739"/>
                        <a:pt x="115880" y="34659"/>
                        <a:pt x="103238" y="34659"/>
                      </a:cubicBezTo>
                      <a:cubicBezTo>
                        <a:pt x="103238" y="34659"/>
                        <a:pt x="128661" y="41050"/>
                        <a:pt x="128661" y="47440"/>
                      </a:cubicBezTo>
                      <a:cubicBezTo>
                        <a:pt x="122271" y="53830"/>
                        <a:pt x="109629" y="47440"/>
                        <a:pt x="103238" y="47440"/>
                      </a:cubicBezTo>
                      <a:cubicBezTo>
                        <a:pt x="90596" y="41050"/>
                        <a:pt x="90596" y="47440"/>
                        <a:pt x="77815" y="53830"/>
                      </a:cubicBezTo>
                      <a:cubicBezTo>
                        <a:pt x="77815" y="53830"/>
                        <a:pt x="65034" y="47440"/>
                        <a:pt x="65034" y="41050"/>
                      </a:cubicBezTo>
                      <a:cubicBezTo>
                        <a:pt x="58643" y="34659"/>
                        <a:pt x="65034" y="21878"/>
                        <a:pt x="71425" y="15349"/>
                      </a:cubicBezTo>
                      <a:cubicBezTo>
                        <a:pt x="77815" y="-10352"/>
                        <a:pt x="39611" y="2568"/>
                        <a:pt x="26969" y="8958"/>
                      </a:cubicBezTo>
                      <a:cubicBezTo>
                        <a:pt x="33360" y="15349"/>
                        <a:pt x="46001" y="34659"/>
                        <a:pt x="39750" y="41050"/>
                      </a:cubicBezTo>
                      <a:cubicBezTo>
                        <a:pt x="39750" y="47440"/>
                        <a:pt x="14327" y="66750"/>
                        <a:pt x="26969" y="66750"/>
                      </a:cubicBezTo>
                      <a:cubicBezTo>
                        <a:pt x="46001" y="73141"/>
                        <a:pt x="39750" y="79531"/>
                        <a:pt x="33360" y="92451"/>
                      </a:cubicBezTo>
                      <a:cubicBezTo>
                        <a:pt x="26969" y="92451"/>
                        <a:pt x="14327" y="98841"/>
                        <a:pt x="7936" y="105232"/>
                      </a:cubicBezTo>
                      <a:cubicBezTo>
                        <a:pt x="-4706" y="111623"/>
                        <a:pt x="1546" y="111623"/>
                        <a:pt x="1546" y="124404"/>
                      </a:cubicBezTo>
                      <a:cubicBezTo>
                        <a:pt x="7936" y="156495"/>
                        <a:pt x="20578" y="175666"/>
                        <a:pt x="26969" y="201367"/>
                      </a:cubicBezTo>
                      <a:cubicBezTo>
                        <a:pt x="26969" y="233459"/>
                        <a:pt x="52392" y="246240"/>
                        <a:pt x="71425" y="259020"/>
                      </a:cubicBezTo>
                      <a:cubicBezTo>
                        <a:pt x="77815" y="265411"/>
                        <a:pt x="84067" y="265411"/>
                        <a:pt x="90457" y="265411"/>
                      </a:cubicBezTo>
                      <a:cubicBezTo>
                        <a:pt x="96847" y="265411"/>
                        <a:pt x="96847" y="271801"/>
                        <a:pt x="103099" y="278192"/>
                      </a:cubicBezTo>
                      <a:cubicBezTo>
                        <a:pt x="115880" y="278192"/>
                        <a:pt x="134912" y="278192"/>
                        <a:pt x="147554" y="290973"/>
                      </a:cubicBezTo>
                      <a:cubicBezTo>
                        <a:pt x="153945" y="297363"/>
                        <a:pt x="153945" y="316674"/>
                        <a:pt x="153945" y="329455"/>
                      </a:cubicBezTo>
                      <a:cubicBezTo>
                        <a:pt x="160336" y="335845"/>
                        <a:pt x="153945" y="342236"/>
                        <a:pt x="166587" y="342236"/>
                      </a:cubicBezTo>
                      <a:cubicBezTo>
                        <a:pt x="172978" y="342236"/>
                        <a:pt x="179229" y="342236"/>
                        <a:pt x="185619" y="342236"/>
                      </a:cubicBezTo>
                      <a:cubicBezTo>
                        <a:pt x="192010" y="342236"/>
                        <a:pt x="198262" y="342236"/>
                        <a:pt x="204652" y="348626"/>
                      </a:cubicBezTo>
                      <a:cubicBezTo>
                        <a:pt x="211043" y="355017"/>
                        <a:pt x="217294" y="348626"/>
                        <a:pt x="223685" y="342236"/>
                      </a:cubicBezTo>
                      <a:cubicBezTo>
                        <a:pt x="236326" y="335845"/>
                        <a:pt x="249108" y="361407"/>
                        <a:pt x="261750" y="342236"/>
                      </a:cubicBezTo>
                      <a:cubicBezTo>
                        <a:pt x="261750" y="329455"/>
                        <a:pt x="280782" y="335845"/>
                        <a:pt x="287173" y="335845"/>
                      </a:cubicBezTo>
                      <a:cubicBezTo>
                        <a:pt x="306205" y="329455"/>
                        <a:pt x="318986" y="316674"/>
                        <a:pt x="338019" y="303754"/>
                      </a:cubicBezTo>
                      <a:cubicBezTo>
                        <a:pt x="306205" y="284583"/>
                        <a:pt x="306205" y="258882"/>
                        <a:pt x="306205" y="220400"/>
                      </a:cubicBezTo>
                      <a:cubicBezTo>
                        <a:pt x="299815" y="214009"/>
                        <a:pt x="312596" y="201228"/>
                        <a:pt x="306205" y="194699"/>
                      </a:cubicBezTo>
                      <a:cubicBezTo>
                        <a:pt x="299815" y="188308"/>
                        <a:pt x="287173" y="181918"/>
                        <a:pt x="287173" y="168998"/>
                      </a:cubicBezTo>
                      <a:cubicBezTo>
                        <a:pt x="287173" y="162608"/>
                        <a:pt x="299815" y="117735"/>
                        <a:pt x="299815" y="117735"/>
                      </a:cubicBezTo>
                      <a:cubicBezTo>
                        <a:pt x="293424" y="117735"/>
                        <a:pt x="287173" y="111345"/>
                        <a:pt x="280782" y="104954"/>
                      </a:cubicBezTo>
                      <a:cubicBezTo>
                        <a:pt x="274392" y="98564"/>
                        <a:pt x="268141" y="98564"/>
                        <a:pt x="255359" y="92173"/>
                      </a:cubicBezTo>
                      <a:cubicBezTo>
                        <a:pt x="255637" y="85783"/>
                        <a:pt x="255637" y="79392"/>
                        <a:pt x="255637" y="7300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7" name="Freihandform: Form 396">
                  <a:extLst>
                    <a:ext uri="{FF2B5EF4-FFF2-40B4-BE49-F238E27FC236}">
                      <a16:creationId xmlns:a16="http://schemas.microsoft.com/office/drawing/2014/main" id="{6A93D3BA-6D51-4B0A-B8B0-86554C17365A}"/>
                    </a:ext>
                  </a:extLst>
                </p:cNvPr>
                <p:cNvSpPr/>
                <p:nvPr/>
              </p:nvSpPr>
              <p:spPr>
                <a:xfrm>
                  <a:off x="6366673" y="4460536"/>
                  <a:ext cx="169973" cy="199911"/>
                </a:xfrm>
                <a:custGeom>
                  <a:avLst/>
                  <a:gdLst>
                    <a:gd name="connsiteX0" fmla="*/ 95441 w 169973"/>
                    <a:gd name="connsiteY0" fmla="*/ 186991 h 199911"/>
                    <a:gd name="connsiteX1" fmla="*/ 95441 w 169973"/>
                    <a:gd name="connsiteY1" fmla="*/ 154761 h 199911"/>
                    <a:gd name="connsiteX2" fmla="*/ 108083 w 169973"/>
                    <a:gd name="connsiteY2" fmla="*/ 154761 h 199911"/>
                    <a:gd name="connsiteX3" fmla="*/ 120864 w 169973"/>
                    <a:gd name="connsiteY3" fmla="*/ 135450 h 199911"/>
                    <a:gd name="connsiteX4" fmla="*/ 133506 w 169973"/>
                    <a:gd name="connsiteY4" fmla="*/ 154761 h 199911"/>
                    <a:gd name="connsiteX5" fmla="*/ 152538 w 169973"/>
                    <a:gd name="connsiteY5" fmla="*/ 148370 h 199911"/>
                    <a:gd name="connsiteX6" fmla="*/ 165180 w 169973"/>
                    <a:gd name="connsiteY6" fmla="*/ 154761 h 199911"/>
                    <a:gd name="connsiteX7" fmla="*/ 165180 w 169973"/>
                    <a:gd name="connsiteY7" fmla="*/ 135450 h 199911"/>
                    <a:gd name="connsiteX8" fmla="*/ 165180 w 169973"/>
                    <a:gd name="connsiteY8" fmla="*/ 90300 h 199911"/>
                    <a:gd name="connsiteX9" fmla="*/ 158790 w 169973"/>
                    <a:gd name="connsiteY9" fmla="*/ 70990 h 199911"/>
                    <a:gd name="connsiteX10" fmla="*/ 165180 w 169973"/>
                    <a:gd name="connsiteY10" fmla="*/ 38760 h 199911"/>
                    <a:gd name="connsiteX11" fmla="*/ 133367 w 169973"/>
                    <a:gd name="connsiteY11" fmla="*/ 25840 h 199911"/>
                    <a:gd name="connsiteX12" fmla="*/ 120725 w 169973"/>
                    <a:gd name="connsiteY12" fmla="*/ 0 h 199911"/>
                    <a:gd name="connsiteX13" fmla="*/ 88911 w 169973"/>
                    <a:gd name="connsiteY13" fmla="*/ 0 h 199911"/>
                    <a:gd name="connsiteX14" fmla="*/ 69879 w 169973"/>
                    <a:gd name="connsiteY14" fmla="*/ 45150 h 199911"/>
                    <a:gd name="connsiteX15" fmla="*/ 31814 w 169973"/>
                    <a:gd name="connsiteY15" fmla="*/ 45150 h 199911"/>
                    <a:gd name="connsiteX16" fmla="*/ 25423 w 169973"/>
                    <a:gd name="connsiteY16" fmla="*/ 45150 h 199911"/>
                    <a:gd name="connsiteX17" fmla="*/ 25423 w 169973"/>
                    <a:gd name="connsiteY17" fmla="*/ 64461 h 199911"/>
                    <a:gd name="connsiteX18" fmla="*/ 0 w 169973"/>
                    <a:gd name="connsiteY18" fmla="*/ 103220 h 199911"/>
                    <a:gd name="connsiteX19" fmla="*/ 25423 w 169973"/>
                    <a:gd name="connsiteY19" fmla="*/ 148370 h 199911"/>
                    <a:gd name="connsiteX20" fmla="*/ 57237 w 169973"/>
                    <a:gd name="connsiteY20" fmla="*/ 180601 h 199911"/>
                    <a:gd name="connsiteX21" fmla="*/ 69879 w 169973"/>
                    <a:gd name="connsiteY21" fmla="*/ 199911 h 199911"/>
                    <a:gd name="connsiteX22" fmla="*/ 95441 w 169973"/>
                    <a:gd name="connsiteY22" fmla="*/ 186991 h 199911"/>
                    <a:gd name="connsiteX23" fmla="*/ 95441 w 169973"/>
                    <a:gd name="connsiteY23" fmla="*/ 186991 h 19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9973" h="199911">
                      <a:moveTo>
                        <a:pt x="95441" y="186991"/>
                      </a:moveTo>
                      <a:cubicBezTo>
                        <a:pt x="95441" y="180601"/>
                        <a:pt x="82799" y="154761"/>
                        <a:pt x="95441" y="154761"/>
                      </a:cubicBezTo>
                      <a:lnTo>
                        <a:pt x="108083" y="154761"/>
                      </a:lnTo>
                      <a:cubicBezTo>
                        <a:pt x="114473" y="148370"/>
                        <a:pt x="114473" y="135450"/>
                        <a:pt x="120864" y="135450"/>
                      </a:cubicBezTo>
                      <a:cubicBezTo>
                        <a:pt x="127254" y="141841"/>
                        <a:pt x="133506" y="148370"/>
                        <a:pt x="133506" y="154761"/>
                      </a:cubicBezTo>
                      <a:cubicBezTo>
                        <a:pt x="139896" y="161290"/>
                        <a:pt x="139896" y="148370"/>
                        <a:pt x="152538" y="148370"/>
                      </a:cubicBezTo>
                      <a:cubicBezTo>
                        <a:pt x="152538" y="148370"/>
                        <a:pt x="165180" y="161290"/>
                        <a:pt x="165180" y="154761"/>
                      </a:cubicBezTo>
                      <a:cubicBezTo>
                        <a:pt x="165180" y="148370"/>
                        <a:pt x="165180" y="141841"/>
                        <a:pt x="165180" y="135450"/>
                      </a:cubicBezTo>
                      <a:cubicBezTo>
                        <a:pt x="171571" y="122531"/>
                        <a:pt x="171571" y="103220"/>
                        <a:pt x="165180" y="90300"/>
                      </a:cubicBezTo>
                      <a:cubicBezTo>
                        <a:pt x="158790" y="83910"/>
                        <a:pt x="158790" y="77380"/>
                        <a:pt x="158790" y="70990"/>
                      </a:cubicBezTo>
                      <a:cubicBezTo>
                        <a:pt x="158790" y="58070"/>
                        <a:pt x="171432" y="51541"/>
                        <a:pt x="165180" y="38760"/>
                      </a:cubicBezTo>
                      <a:cubicBezTo>
                        <a:pt x="158790" y="19311"/>
                        <a:pt x="133367" y="45150"/>
                        <a:pt x="133367" y="25840"/>
                      </a:cubicBezTo>
                      <a:cubicBezTo>
                        <a:pt x="133367" y="12920"/>
                        <a:pt x="139757" y="0"/>
                        <a:pt x="120725" y="0"/>
                      </a:cubicBezTo>
                      <a:cubicBezTo>
                        <a:pt x="114334" y="0"/>
                        <a:pt x="101692" y="0"/>
                        <a:pt x="88911" y="0"/>
                      </a:cubicBezTo>
                      <a:cubicBezTo>
                        <a:pt x="63488" y="0"/>
                        <a:pt x="95302" y="45150"/>
                        <a:pt x="69879" y="45150"/>
                      </a:cubicBezTo>
                      <a:cubicBezTo>
                        <a:pt x="57237" y="45150"/>
                        <a:pt x="44456" y="45150"/>
                        <a:pt x="31814" y="45150"/>
                      </a:cubicBezTo>
                      <a:cubicBezTo>
                        <a:pt x="25423" y="45150"/>
                        <a:pt x="25423" y="45150"/>
                        <a:pt x="25423" y="45150"/>
                      </a:cubicBezTo>
                      <a:cubicBezTo>
                        <a:pt x="12642" y="58070"/>
                        <a:pt x="25423" y="58070"/>
                        <a:pt x="25423" y="64461"/>
                      </a:cubicBezTo>
                      <a:cubicBezTo>
                        <a:pt x="25423" y="77380"/>
                        <a:pt x="0" y="90300"/>
                        <a:pt x="0" y="103220"/>
                      </a:cubicBezTo>
                      <a:cubicBezTo>
                        <a:pt x="6391" y="116140"/>
                        <a:pt x="19033" y="135450"/>
                        <a:pt x="25423" y="148370"/>
                      </a:cubicBezTo>
                      <a:cubicBezTo>
                        <a:pt x="38065" y="154761"/>
                        <a:pt x="44456" y="167681"/>
                        <a:pt x="57237" y="180601"/>
                      </a:cubicBezTo>
                      <a:cubicBezTo>
                        <a:pt x="63627" y="186991"/>
                        <a:pt x="69879" y="193521"/>
                        <a:pt x="69879" y="199911"/>
                      </a:cubicBezTo>
                      <a:cubicBezTo>
                        <a:pt x="76408" y="193521"/>
                        <a:pt x="89050" y="193521"/>
                        <a:pt x="95441" y="186991"/>
                      </a:cubicBezTo>
                      <a:cubicBezTo>
                        <a:pt x="95441" y="186991"/>
                        <a:pt x="89050" y="193521"/>
                        <a:pt x="95441" y="186991"/>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8" name="Freihandform: Form 397">
                  <a:extLst>
                    <a:ext uri="{FF2B5EF4-FFF2-40B4-BE49-F238E27FC236}">
                      <a16:creationId xmlns:a16="http://schemas.microsoft.com/office/drawing/2014/main" id="{C6D1BFFA-FEB1-4665-A9C8-8B0C6FDBB19B}"/>
                    </a:ext>
                  </a:extLst>
                </p:cNvPr>
                <p:cNvSpPr/>
                <p:nvPr/>
              </p:nvSpPr>
              <p:spPr>
                <a:xfrm>
                  <a:off x="6385984" y="4460258"/>
                  <a:ext cx="66683" cy="47650"/>
                </a:xfrm>
                <a:custGeom>
                  <a:avLst/>
                  <a:gdLst>
                    <a:gd name="connsiteX0" fmla="*/ 66683 w 66683"/>
                    <a:gd name="connsiteY0" fmla="*/ 47651 h 47650"/>
                    <a:gd name="connsiteX1" fmla="*/ 66683 w 66683"/>
                    <a:gd name="connsiteY1" fmla="*/ 0 h 47650"/>
                    <a:gd name="connsiteX2" fmla="*/ 18199 w 66683"/>
                    <a:gd name="connsiteY2" fmla="*/ 6807 h 47650"/>
                    <a:gd name="connsiteX3" fmla="*/ 0 w 66683"/>
                    <a:gd name="connsiteY3" fmla="*/ 27229 h 47650"/>
                    <a:gd name="connsiteX4" fmla="*/ 12086 w 66683"/>
                    <a:gd name="connsiteY4" fmla="*/ 47651 h 47650"/>
                    <a:gd name="connsiteX5" fmla="*/ 66683 w 66683"/>
                    <a:gd name="connsiteY5" fmla="*/ 47651 h 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83" h="47650">
                      <a:moveTo>
                        <a:pt x="66683" y="47651"/>
                      </a:moveTo>
                      <a:cubicBezTo>
                        <a:pt x="66683" y="34036"/>
                        <a:pt x="66683" y="13615"/>
                        <a:pt x="66683" y="0"/>
                      </a:cubicBezTo>
                      <a:cubicBezTo>
                        <a:pt x="48484" y="0"/>
                        <a:pt x="36398" y="6807"/>
                        <a:pt x="18199" y="6807"/>
                      </a:cubicBezTo>
                      <a:cubicBezTo>
                        <a:pt x="24312" y="13615"/>
                        <a:pt x="6113" y="20422"/>
                        <a:pt x="0" y="27229"/>
                      </a:cubicBezTo>
                      <a:cubicBezTo>
                        <a:pt x="0" y="34036"/>
                        <a:pt x="12086" y="40843"/>
                        <a:pt x="12086" y="47651"/>
                      </a:cubicBezTo>
                      <a:lnTo>
                        <a:pt x="66683" y="47651"/>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399" name="Freihandform: Form 398">
                  <a:extLst>
                    <a:ext uri="{FF2B5EF4-FFF2-40B4-BE49-F238E27FC236}">
                      <a16:creationId xmlns:a16="http://schemas.microsoft.com/office/drawing/2014/main" id="{2C5BF185-4B4D-4DF0-83DF-EC1D4F197E6A}"/>
                    </a:ext>
                  </a:extLst>
                </p:cNvPr>
                <p:cNvSpPr/>
                <p:nvPr/>
              </p:nvSpPr>
              <p:spPr>
                <a:xfrm>
                  <a:off x="6361296" y="4126841"/>
                  <a:ext cx="224737" cy="345718"/>
                </a:xfrm>
                <a:custGeom>
                  <a:avLst/>
                  <a:gdLst>
                    <a:gd name="connsiteX0" fmla="*/ 175280 w 224737"/>
                    <a:gd name="connsiteY0" fmla="*/ 340224 h 345718"/>
                    <a:gd name="connsiteX1" fmla="*/ 224737 w 224737"/>
                    <a:gd name="connsiteY1" fmla="*/ 340224 h 345718"/>
                    <a:gd name="connsiteX2" fmla="*/ 200009 w 224737"/>
                    <a:gd name="connsiteY2" fmla="*/ 296880 h 345718"/>
                    <a:gd name="connsiteX3" fmla="*/ 193896 w 224737"/>
                    <a:gd name="connsiteY3" fmla="*/ 272151 h 345718"/>
                    <a:gd name="connsiteX4" fmla="*/ 181532 w 224737"/>
                    <a:gd name="connsiteY4" fmla="*/ 247423 h 345718"/>
                    <a:gd name="connsiteX5" fmla="*/ 193896 w 224737"/>
                    <a:gd name="connsiteY5" fmla="*/ 197966 h 345718"/>
                    <a:gd name="connsiteX6" fmla="*/ 206260 w 224737"/>
                    <a:gd name="connsiteY6" fmla="*/ 166986 h 345718"/>
                    <a:gd name="connsiteX7" fmla="*/ 187645 w 224737"/>
                    <a:gd name="connsiteY7" fmla="*/ 129894 h 345718"/>
                    <a:gd name="connsiteX8" fmla="*/ 169029 w 224737"/>
                    <a:gd name="connsiteY8" fmla="*/ 98913 h 345718"/>
                    <a:gd name="connsiteX9" fmla="*/ 206121 w 224737"/>
                    <a:gd name="connsiteY9" fmla="*/ 98913 h 345718"/>
                    <a:gd name="connsiteX10" fmla="*/ 193757 w 224737"/>
                    <a:gd name="connsiteY10" fmla="*/ 37093 h 345718"/>
                    <a:gd name="connsiteX11" fmla="*/ 181393 w 224737"/>
                    <a:gd name="connsiteY11" fmla="*/ 12364 h 345718"/>
                    <a:gd name="connsiteX12" fmla="*/ 162777 w 224737"/>
                    <a:gd name="connsiteY12" fmla="*/ 0 h 345718"/>
                    <a:gd name="connsiteX13" fmla="*/ 168890 w 224737"/>
                    <a:gd name="connsiteY13" fmla="*/ 55708 h 345718"/>
                    <a:gd name="connsiteX14" fmla="*/ 137910 w 224737"/>
                    <a:gd name="connsiteY14" fmla="*/ 111417 h 345718"/>
                    <a:gd name="connsiteX15" fmla="*/ 125546 w 224737"/>
                    <a:gd name="connsiteY15" fmla="*/ 136145 h 345718"/>
                    <a:gd name="connsiteX16" fmla="*/ 106930 w 224737"/>
                    <a:gd name="connsiteY16" fmla="*/ 167125 h 345718"/>
                    <a:gd name="connsiteX17" fmla="*/ 88314 w 224737"/>
                    <a:gd name="connsiteY17" fmla="*/ 204218 h 345718"/>
                    <a:gd name="connsiteX18" fmla="*/ 63586 w 224737"/>
                    <a:gd name="connsiteY18" fmla="*/ 191854 h 345718"/>
                    <a:gd name="connsiteX19" fmla="*/ 7878 w 224737"/>
                    <a:gd name="connsiteY19" fmla="*/ 241310 h 345718"/>
                    <a:gd name="connsiteX20" fmla="*/ 1765 w 224737"/>
                    <a:gd name="connsiteY20" fmla="*/ 259926 h 345718"/>
                    <a:gd name="connsiteX21" fmla="*/ 20381 w 224737"/>
                    <a:gd name="connsiteY21" fmla="*/ 278542 h 345718"/>
                    <a:gd name="connsiteX22" fmla="*/ 26493 w 224737"/>
                    <a:gd name="connsiteY22" fmla="*/ 278542 h 345718"/>
                    <a:gd name="connsiteX23" fmla="*/ 38858 w 224737"/>
                    <a:gd name="connsiteY23" fmla="*/ 297157 h 345718"/>
                    <a:gd name="connsiteX24" fmla="*/ 38858 w 224737"/>
                    <a:gd name="connsiteY24" fmla="*/ 340502 h 345718"/>
                    <a:gd name="connsiteX25" fmla="*/ 94566 w 224737"/>
                    <a:gd name="connsiteY25" fmla="*/ 334250 h 345718"/>
                    <a:gd name="connsiteX26" fmla="*/ 175280 w 224737"/>
                    <a:gd name="connsiteY26" fmla="*/ 340224 h 34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4737" h="345718">
                      <a:moveTo>
                        <a:pt x="175280" y="340224"/>
                      </a:moveTo>
                      <a:cubicBezTo>
                        <a:pt x="193896" y="340224"/>
                        <a:pt x="212373" y="352588"/>
                        <a:pt x="224737" y="340224"/>
                      </a:cubicBezTo>
                      <a:cubicBezTo>
                        <a:pt x="224737" y="315496"/>
                        <a:pt x="212373" y="309244"/>
                        <a:pt x="200009" y="296880"/>
                      </a:cubicBezTo>
                      <a:cubicBezTo>
                        <a:pt x="193896" y="290628"/>
                        <a:pt x="193896" y="284515"/>
                        <a:pt x="193896" y="272151"/>
                      </a:cubicBezTo>
                      <a:cubicBezTo>
                        <a:pt x="187645" y="265900"/>
                        <a:pt x="181532" y="259787"/>
                        <a:pt x="181532" y="247423"/>
                      </a:cubicBezTo>
                      <a:cubicBezTo>
                        <a:pt x="175280" y="222695"/>
                        <a:pt x="187645" y="216443"/>
                        <a:pt x="193896" y="197966"/>
                      </a:cubicBezTo>
                      <a:cubicBezTo>
                        <a:pt x="200009" y="185602"/>
                        <a:pt x="206260" y="179350"/>
                        <a:pt x="206260" y="166986"/>
                      </a:cubicBezTo>
                      <a:cubicBezTo>
                        <a:pt x="200009" y="154622"/>
                        <a:pt x="200009" y="142258"/>
                        <a:pt x="187645" y="129894"/>
                      </a:cubicBezTo>
                      <a:cubicBezTo>
                        <a:pt x="187645" y="129894"/>
                        <a:pt x="156665" y="111278"/>
                        <a:pt x="169029" y="98913"/>
                      </a:cubicBezTo>
                      <a:cubicBezTo>
                        <a:pt x="175280" y="92662"/>
                        <a:pt x="193757" y="98913"/>
                        <a:pt x="206121" y="98913"/>
                      </a:cubicBezTo>
                      <a:cubicBezTo>
                        <a:pt x="193757" y="74185"/>
                        <a:pt x="193757" y="61821"/>
                        <a:pt x="193757" y="37093"/>
                      </a:cubicBezTo>
                      <a:cubicBezTo>
                        <a:pt x="193757" y="30841"/>
                        <a:pt x="193757" y="18477"/>
                        <a:pt x="181393" y="12364"/>
                      </a:cubicBezTo>
                      <a:cubicBezTo>
                        <a:pt x="181393" y="6113"/>
                        <a:pt x="162777" y="0"/>
                        <a:pt x="162777" y="0"/>
                      </a:cubicBezTo>
                      <a:cubicBezTo>
                        <a:pt x="162777" y="12364"/>
                        <a:pt x="199870" y="43344"/>
                        <a:pt x="168890" y="55708"/>
                      </a:cubicBezTo>
                      <a:cubicBezTo>
                        <a:pt x="150274" y="68073"/>
                        <a:pt x="144162" y="86688"/>
                        <a:pt x="137910" y="111417"/>
                      </a:cubicBezTo>
                      <a:cubicBezTo>
                        <a:pt x="131659" y="117668"/>
                        <a:pt x="131659" y="136145"/>
                        <a:pt x="125546" y="136145"/>
                      </a:cubicBezTo>
                      <a:cubicBezTo>
                        <a:pt x="113182" y="142397"/>
                        <a:pt x="113182" y="154761"/>
                        <a:pt x="106930" y="167125"/>
                      </a:cubicBezTo>
                      <a:cubicBezTo>
                        <a:pt x="100679" y="179489"/>
                        <a:pt x="94566" y="191854"/>
                        <a:pt x="88314" y="204218"/>
                      </a:cubicBezTo>
                      <a:cubicBezTo>
                        <a:pt x="75950" y="216582"/>
                        <a:pt x="69699" y="191854"/>
                        <a:pt x="63586" y="191854"/>
                      </a:cubicBezTo>
                      <a:cubicBezTo>
                        <a:pt x="32606" y="191854"/>
                        <a:pt x="14129" y="216582"/>
                        <a:pt x="7878" y="241310"/>
                      </a:cubicBezTo>
                      <a:cubicBezTo>
                        <a:pt x="7878" y="247562"/>
                        <a:pt x="-4487" y="253675"/>
                        <a:pt x="1765" y="259926"/>
                      </a:cubicBezTo>
                      <a:cubicBezTo>
                        <a:pt x="7878" y="266178"/>
                        <a:pt x="14129" y="272290"/>
                        <a:pt x="20381" y="278542"/>
                      </a:cubicBezTo>
                      <a:cubicBezTo>
                        <a:pt x="20381" y="284793"/>
                        <a:pt x="26493" y="272290"/>
                        <a:pt x="26493" y="278542"/>
                      </a:cubicBezTo>
                      <a:cubicBezTo>
                        <a:pt x="32745" y="284793"/>
                        <a:pt x="38858" y="290906"/>
                        <a:pt x="38858" y="297157"/>
                      </a:cubicBezTo>
                      <a:cubicBezTo>
                        <a:pt x="44970" y="309522"/>
                        <a:pt x="38858" y="328137"/>
                        <a:pt x="38858" y="340502"/>
                      </a:cubicBezTo>
                      <a:cubicBezTo>
                        <a:pt x="57473" y="334250"/>
                        <a:pt x="75950" y="334250"/>
                        <a:pt x="94566" y="334250"/>
                      </a:cubicBezTo>
                      <a:cubicBezTo>
                        <a:pt x="119711" y="333972"/>
                        <a:pt x="150552" y="340224"/>
                        <a:pt x="175280" y="34022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0" name="Freihandform: Form 399">
                  <a:extLst>
                    <a:ext uri="{FF2B5EF4-FFF2-40B4-BE49-F238E27FC236}">
                      <a16:creationId xmlns:a16="http://schemas.microsoft.com/office/drawing/2014/main" id="{CCE0814B-B004-4971-A4BE-2CC3F28B0B5D}"/>
                    </a:ext>
                  </a:extLst>
                </p:cNvPr>
                <p:cNvSpPr/>
                <p:nvPr/>
              </p:nvSpPr>
              <p:spPr>
                <a:xfrm>
                  <a:off x="6114174" y="4145735"/>
                  <a:ext cx="90653" cy="190603"/>
                </a:xfrm>
                <a:custGeom>
                  <a:avLst/>
                  <a:gdLst>
                    <a:gd name="connsiteX0" fmla="*/ 65231 w 90653"/>
                    <a:gd name="connsiteY0" fmla="*/ 0 h 190603"/>
                    <a:gd name="connsiteX1" fmla="*/ 52589 w 90653"/>
                    <a:gd name="connsiteY1" fmla="*/ 24589 h 190603"/>
                    <a:gd name="connsiteX2" fmla="*/ 20775 w 90653"/>
                    <a:gd name="connsiteY2" fmla="*/ 30702 h 190603"/>
                    <a:gd name="connsiteX3" fmla="*/ 1743 w 90653"/>
                    <a:gd name="connsiteY3" fmla="*/ 49179 h 190603"/>
                    <a:gd name="connsiteX4" fmla="*/ 14385 w 90653"/>
                    <a:gd name="connsiteY4" fmla="*/ 79881 h 190603"/>
                    <a:gd name="connsiteX5" fmla="*/ 33417 w 90653"/>
                    <a:gd name="connsiteY5" fmla="*/ 190603 h 190603"/>
                    <a:gd name="connsiteX6" fmla="*/ 65231 w 90653"/>
                    <a:gd name="connsiteY6" fmla="*/ 184490 h 190603"/>
                    <a:gd name="connsiteX7" fmla="*/ 65231 w 90653"/>
                    <a:gd name="connsiteY7" fmla="*/ 166014 h 190603"/>
                    <a:gd name="connsiteX8" fmla="*/ 65231 w 90653"/>
                    <a:gd name="connsiteY8" fmla="*/ 110722 h 190603"/>
                    <a:gd name="connsiteX9" fmla="*/ 90654 w 90653"/>
                    <a:gd name="connsiteY9" fmla="*/ 55430 h 190603"/>
                    <a:gd name="connsiteX10" fmla="*/ 84263 w 90653"/>
                    <a:gd name="connsiteY10" fmla="*/ 18477 h 190603"/>
                    <a:gd name="connsiteX11" fmla="*/ 65231 w 90653"/>
                    <a:gd name="connsiteY11" fmla="*/ 0 h 190603"/>
                    <a:gd name="connsiteX12" fmla="*/ 65231 w 90653"/>
                    <a:gd name="connsiteY12" fmla="*/ 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653" h="190603">
                      <a:moveTo>
                        <a:pt x="65231" y="0"/>
                      </a:moveTo>
                      <a:cubicBezTo>
                        <a:pt x="52589" y="12364"/>
                        <a:pt x="58840" y="12364"/>
                        <a:pt x="52589" y="24589"/>
                      </a:cubicBezTo>
                      <a:cubicBezTo>
                        <a:pt x="46198" y="36953"/>
                        <a:pt x="33556" y="30702"/>
                        <a:pt x="20775" y="30702"/>
                      </a:cubicBezTo>
                      <a:cubicBezTo>
                        <a:pt x="20775" y="30702"/>
                        <a:pt x="7994" y="43066"/>
                        <a:pt x="1743" y="49179"/>
                      </a:cubicBezTo>
                      <a:cubicBezTo>
                        <a:pt x="-4648" y="55291"/>
                        <a:pt x="8133" y="67656"/>
                        <a:pt x="14385" y="79881"/>
                      </a:cubicBezTo>
                      <a:cubicBezTo>
                        <a:pt x="39808" y="110583"/>
                        <a:pt x="20775" y="153649"/>
                        <a:pt x="33417" y="190603"/>
                      </a:cubicBezTo>
                      <a:cubicBezTo>
                        <a:pt x="39808" y="190603"/>
                        <a:pt x="52450" y="190603"/>
                        <a:pt x="65231" y="184490"/>
                      </a:cubicBezTo>
                      <a:cubicBezTo>
                        <a:pt x="71621" y="184490"/>
                        <a:pt x="71621" y="178378"/>
                        <a:pt x="65231" y="166014"/>
                      </a:cubicBezTo>
                      <a:cubicBezTo>
                        <a:pt x="65231" y="147537"/>
                        <a:pt x="65231" y="129060"/>
                        <a:pt x="65231" y="110722"/>
                      </a:cubicBezTo>
                      <a:cubicBezTo>
                        <a:pt x="65231" y="86133"/>
                        <a:pt x="84263" y="73768"/>
                        <a:pt x="90654" y="55430"/>
                      </a:cubicBezTo>
                      <a:cubicBezTo>
                        <a:pt x="90654" y="36953"/>
                        <a:pt x="90654" y="30841"/>
                        <a:pt x="84263" y="18477"/>
                      </a:cubicBezTo>
                      <a:lnTo>
                        <a:pt x="65231" y="0"/>
                      </a:lnTo>
                      <a:cubicBezTo>
                        <a:pt x="58840" y="6113"/>
                        <a:pt x="65231" y="0"/>
                        <a:pt x="65231" y="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1" name="Freihandform: Form 400">
                  <a:extLst>
                    <a:ext uri="{FF2B5EF4-FFF2-40B4-BE49-F238E27FC236}">
                      <a16:creationId xmlns:a16="http://schemas.microsoft.com/office/drawing/2014/main" id="{B3C49227-E243-4594-B126-ACE60A533B4D}"/>
                    </a:ext>
                  </a:extLst>
                </p:cNvPr>
                <p:cNvSpPr/>
                <p:nvPr/>
              </p:nvSpPr>
              <p:spPr>
                <a:xfrm>
                  <a:off x="6179871" y="4102961"/>
                  <a:ext cx="367958" cy="297563"/>
                </a:xfrm>
                <a:custGeom>
                  <a:avLst/>
                  <a:gdLst>
                    <a:gd name="connsiteX0" fmla="*/ 191664 w 367958"/>
                    <a:gd name="connsiteY0" fmla="*/ 254216 h 297563"/>
                    <a:gd name="connsiteX1" fmla="*/ 229452 w 367958"/>
                    <a:gd name="connsiteY1" fmla="*/ 223375 h 297563"/>
                    <a:gd name="connsiteX2" fmla="*/ 248345 w 367958"/>
                    <a:gd name="connsiteY2" fmla="*/ 217262 h 297563"/>
                    <a:gd name="connsiteX3" fmla="*/ 267239 w 367958"/>
                    <a:gd name="connsiteY3" fmla="*/ 229626 h 297563"/>
                    <a:gd name="connsiteX4" fmla="*/ 292384 w 367958"/>
                    <a:gd name="connsiteY4" fmla="*/ 192673 h 297563"/>
                    <a:gd name="connsiteX5" fmla="*/ 298635 w 367958"/>
                    <a:gd name="connsiteY5" fmla="*/ 167944 h 297563"/>
                    <a:gd name="connsiteX6" fmla="*/ 317529 w 367958"/>
                    <a:gd name="connsiteY6" fmla="*/ 161832 h 297563"/>
                    <a:gd name="connsiteX7" fmla="*/ 349065 w 367958"/>
                    <a:gd name="connsiteY7" fmla="*/ 81673 h 297563"/>
                    <a:gd name="connsiteX8" fmla="*/ 367958 w 367958"/>
                    <a:gd name="connsiteY8" fmla="*/ 63196 h 297563"/>
                    <a:gd name="connsiteX9" fmla="*/ 355316 w 367958"/>
                    <a:gd name="connsiteY9" fmla="*/ 44719 h 297563"/>
                    <a:gd name="connsiteX10" fmla="*/ 349065 w 367958"/>
                    <a:gd name="connsiteY10" fmla="*/ 32355 h 297563"/>
                    <a:gd name="connsiteX11" fmla="*/ 336423 w 367958"/>
                    <a:gd name="connsiteY11" fmla="*/ 1514 h 297563"/>
                    <a:gd name="connsiteX12" fmla="*/ 298635 w 367958"/>
                    <a:gd name="connsiteY12" fmla="*/ 26242 h 297563"/>
                    <a:gd name="connsiteX13" fmla="*/ 248206 w 367958"/>
                    <a:gd name="connsiteY13" fmla="*/ 20130 h 297563"/>
                    <a:gd name="connsiteX14" fmla="*/ 197777 w 367958"/>
                    <a:gd name="connsiteY14" fmla="*/ 32494 h 297563"/>
                    <a:gd name="connsiteX15" fmla="*/ 159990 w 367958"/>
                    <a:gd name="connsiteY15" fmla="*/ 20130 h 297563"/>
                    <a:gd name="connsiteX16" fmla="*/ 115812 w 367958"/>
                    <a:gd name="connsiteY16" fmla="*/ 14017 h 297563"/>
                    <a:gd name="connsiteX17" fmla="*/ 78025 w 367958"/>
                    <a:gd name="connsiteY17" fmla="*/ 1653 h 297563"/>
                    <a:gd name="connsiteX18" fmla="*/ 46489 w 367958"/>
                    <a:gd name="connsiteY18" fmla="*/ 14017 h 297563"/>
                    <a:gd name="connsiteX19" fmla="*/ 40238 w 367958"/>
                    <a:gd name="connsiteY19" fmla="*/ 32494 h 297563"/>
                    <a:gd name="connsiteX20" fmla="*/ 33986 w 367958"/>
                    <a:gd name="connsiteY20" fmla="*/ 57222 h 297563"/>
                    <a:gd name="connsiteX21" fmla="*/ 27734 w 367958"/>
                    <a:gd name="connsiteY21" fmla="*/ 94176 h 297563"/>
                    <a:gd name="connsiteX22" fmla="*/ 2589 w 367958"/>
                    <a:gd name="connsiteY22" fmla="*/ 143494 h 297563"/>
                    <a:gd name="connsiteX23" fmla="*/ 8841 w 367958"/>
                    <a:gd name="connsiteY23" fmla="*/ 229904 h 297563"/>
                    <a:gd name="connsiteX24" fmla="*/ 27734 w 367958"/>
                    <a:gd name="connsiteY24" fmla="*/ 229904 h 297563"/>
                    <a:gd name="connsiteX25" fmla="*/ 52880 w 367958"/>
                    <a:gd name="connsiteY25" fmla="*/ 236017 h 297563"/>
                    <a:gd name="connsiteX26" fmla="*/ 84415 w 367958"/>
                    <a:gd name="connsiteY26" fmla="*/ 260745 h 297563"/>
                    <a:gd name="connsiteX27" fmla="*/ 84415 w 367958"/>
                    <a:gd name="connsiteY27" fmla="*/ 273109 h 297563"/>
                    <a:gd name="connsiteX28" fmla="*/ 97058 w 367958"/>
                    <a:gd name="connsiteY28" fmla="*/ 291586 h 297563"/>
                    <a:gd name="connsiteX29" fmla="*/ 141235 w 367958"/>
                    <a:gd name="connsiteY29" fmla="*/ 285474 h 297563"/>
                    <a:gd name="connsiteX30" fmla="*/ 134984 w 367958"/>
                    <a:gd name="connsiteY30" fmla="*/ 291586 h 297563"/>
                    <a:gd name="connsiteX31" fmla="*/ 166519 w 367958"/>
                    <a:gd name="connsiteY31" fmla="*/ 285474 h 297563"/>
                    <a:gd name="connsiteX32" fmla="*/ 185413 w 367958"/>
                    <a:gd name="connsiteY32" fmla="*/ 285474 h 297563"/>
                    <a:gd name="connsiteX33" fmla="*/ 191664 w 367958"/>
                    <a:gd name="connsiteY33" fmla="*/ 254216 h 297563"/>
                    <a:gd name="connsiteX34" fmla="*/ 191664 w 367958"/>
                    <a:gd name="connsiteY34" fmla="*/ 254216 h 29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7958" h="297563">
                      <a:moveTo>
                        <a:pt x="191664" y="254216"/>
                      </a:moveTo>
                      <a:cubicBezTo>
                        <a:pt x="197916" y="241851"/>
                        <a:pt x="216810" y="223375"/>
                        <a:pt x="229452" y="223375"/>
                      </a:cubicBezTo>
                      <a:cubicBezTo>
                        <a:pt x="235703" y="217262"/>
                        <a:pt x="248345" y="217262"/>
                        <a:pt x="248345" y="217262"/>
                      </a:cubicBezTo>
                      <a:cubicBezTo>
                        <a:pt x="254597" y="223375"/>
                        <a:pt x="260987" y="235739"/>
                        <a:pt x="267239" y="229626"/>
                      </a:cubicBezTo>
                      <a:cubicBezTo>
                        <a:pt x="279881" y="223514"/>
                        <a:pt x="286132" y="204898"/>
                        <a:pt x="292384" y="192673"/>
                      </a:cubicBezTo>
                      <a:cubicBezTo>
                        <a:pt x="292384" y="186560"/>
                        <a:pt x="298635" y="174196"/>
                        <a:pt x="298635" y="167944"/>
                      </a:cubicBezTo>
                      <a:cubicBezTo>
                        <a:pt x="304887" y="161832"/>
                        <a:pt x="311278" y="167944"/>
                        <a:pt x="317529" y="161832"/>
                      </a:cubicBezTo>
                      <a:cubicBezTo>
                        <a:pt x="317529" y="149467"/>
                        <a:pt x="330171" y="81673"/>
                        <a:pt x="349065" y="81673"/>
                      </a:cubicBezTo>
                      <a:cubicBezTo>
                        <a:pt x="361707" y="81673"/>
                        <a:pt x="367958" y="69308"/>
                        <a:pt x="367958" y="63196"/>
                      </a:cubicBezTo>
                      <a:cubicBezTo>
                        <a:pt x="367958" y="50832"/>
                        <a:pt x="355316" y="50832"/>
                        <a:pt x="355316" y="44719"/>
                      </a:cubicBezTo>
                      <a:cubicBezTo>
                        <a:pt x="355316" y="38607"/>
                        <a:pt x="349065" y="38607"/>
                        <a:pt x="349065" y="32355"/>
                      </a:cubicBezTo>
                      <a:cubicBezTo>
                        <a:pt x="342813" y="19991"/>
                        <a:pt x="342813" y="13878"/>
                        <a:pt x="336423" y="1514"/>
                      </a:cubicBezTo>
                      <a:cubicBezTo>
                        <a:pt x="330171" y="7627"/>
                        <a:pt x="311278" y="26242"/>
                        <a:pt x="298635" y="26242"/>
                      </a:cubicBezTo>
                      <a:cubicBezTo>
                        <a:pt x="279742" y="20130"/>
                        <a:pt x="267100" y="20130"/>
                        <a:pt x="248206" y="20130"/>
                      </a:cubicBezTo>
                      <a:cubicBezTo>
                        <a:pt x="229313" y="20130"/>
                        <a:pt x="216671" y="32494"/>
                        <a:pt x="197777" y="32494"/>
                      </a:cubicBezTo>
                      <a:cubicBezTo>
                        <a:pt x="185135" y="32494"/>
                        <a:pt x="172632" y="14017"/>
                        <a:pt x="159990" y="20130"/>
                      </a:cubicBezTo>
                      <a:cubicBezTo>
                        <a:pt x="134845" y="32494"/>
                        <a:pt x="128454" y="26242"/>
                        <a:pt x="115812" y="14017"/>
                      </a:cubicBezTo>
                      <a:cubicBezTo>
                        <a:pt x="109561" y="7904"/>
                        <a:pt x="90667" y="-4460"/>
                        <a:pt x="78025" y="1653"/>
                      </a:cubicBezTo>
                      <a:cubicBezTo>
                        <a:pt x="71773" y="1653"/>
                        <a:pt x="52880" y="7765"/>
                        <a:pt x="46489" y="14017"/>
                      </a:cubicBezTo>
                      <a:cubicBezTo>
                        <a:pt x="40238" y="20130"/>
                        <a:pt x="46489" y="26381"/>
                        <a:pt x="40238" y="32494"/>
                      </a:cubicBezTo>
                      <a:cubicBezTo>
                        <a:pt x="40238" y="38607"/>
                        <a:pt x="33986" y="50971"/>
                        <a:pt x="33986" y="57222"/>
                      </a:cubicBezTo>
                      <a:cubicBezTo>
                        <a:pt x="27734" y="69586"/>
                        <a:pt x="27734" y="81951"/>
                        <a:pt x="27734" y="94176"/>
                      </a:cubicBezTo>
                      <a:cubicBezTo>
                        <a:pt x="27734" y="112653"/>
                        <a:pt x="8841" y="125017"/>
                        <a:pt x="2589" y="143494"/>
                      </a:cubicBezTo>
                      <a:cubicBezTo>
                        <a:pt x="-3662" y="161970"/>
                        <a:pt x="2589" y="205176"/>
                        <a:pt x="8841" y="229904"/>
                      </a:cubicBezTo>
                      <a:cubicBezTo>
                        <a:pt x="8841" y="236017"/>
                        <a:pt x="21483" y="229904"/>
                        <a:pt x="27734" y="229904"/>
                      </a:cubicBezTo>
                      <a:cubicBezTo>
                        <a:pt x="33986" y="229904"/>
                        <a:pt x="46628" y="236017"/>
                        <a:pt x="52880" y="236017"/>
                      </a:cubicBezTo>
                      <a:cubicBezTo>
                        <a:pt x="59131" y="242130"/>
                        <a:pt x="84415" y="254494"/>
                        <a:pt x="84415" y="260745"/>
                      </a:cubicBezTo>
                      <a:cubicBezTo>
                        <a:pt x="84415" y="266997"/>
                        <a:pt x="84415" y="266858"/>
                        <a:pt x="84415" y="273109"/>
                      </a:cubicBezTo>
                      <a:cubicBezTo>
                        <a:pt x="84415" y="279361"/>
                        <a:pt x="90667" y="285474"/>
                        <a:pt x="97058" y="291586"/>
                      </a:cubicBezTo>
                      <a:cubicBezTo>
                        <a:pt x="109699" y="310063"/>
                        <a:pt x="128593" y="279222"/>
                        <a:pt x="141235" y="285474"/>
                      </a:cubicBezTo>
                      <a:lnTo>
                        <a:pt x="134984" y="291586"/>
                      </a:lnTo>
                      <a:cubicBezTo>
                        <a:pt x="134984" y="285474"/>
                        <a:pt x="166519" y="285474"/>
                        <a:pt x="166519" y="285474"/>
                      </a:cubicBezTo>
                      <a:cubicBezTo>
                        <a:pt x="179161" y="285474"/>
                        <a:pt x="179161" y="273109"/>
                        <a:pt x="185413" y="285474"/>
                      </a:cubicBezTo>
                      <a:cubicBezTo>
                        <a:pt x="191664" y="272693"/>
                        <a:pt x="191664" y="266441"/>
                        <a:pt x="191664" y="254216"/>
                      </a:cubicBezTo>
                      <a:cubicBezTo>
                        <a:pt x="197916" y="247964"/>
                        <a:pt x="191664" y="260328"/>
                        <a:pt x="191664" y="25421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2" name="Freihandform: Form 401">
                  <a:extLst>
                    <a:ext uri="{FF2B5EF4-FFF2-40B4-BE49-F238E27FC236}">
                      <a16:creationId xmlns:a16="http://schemas.microsoft.com/office/drawing/2014/main" id="{DC9ADD37-2C7D-49F7-9BF1-49C7F94B9F1E}"/>
                    </a:ext>
                  </a:extLst>
                </p:cNvPr>
                <p:cNvSpPr/>
                <p:nvPr/>
              </p:nvSpPr>
              <p:spPr>
                <a:xfrm>
                  <a:off x="5924490" y="4060158"/>
                  <a:ext cx="246836" cy="181295"/>
                </a:xfrm>
                <a:custGeom>
                  <a:avLst/>
                  <a:gdLst>
                    <a:gd name="connsiteX0" fmla="*/ 208791 w 246836"/>
                    <a:gd name="connsiteY0" fmla="*/ 120586 h 181295"/>
                    <a:gd name="connsiteX1" fmla="*/ 245606 w 246836"/>
                    <a:gd name="connsiteY1" fmla="*/ 102526 h 181295"/>
                    <a:gd name="connsiteX2" fmla="*/ 227268 w 246836"/>
                    <a:gd name="connsiteY2" fmla="*/ 78353 h 181295"/>
                    <a:gd name="connsiteX3" fmla="*/ 196566 w 246836"/>
                    <a:gd name="connsiteY3" fmla="*/ 60293 h 181295"/>
                    <a:gd name="connsiteX4" fmla="*/ 190453 w 246836"/>
                    <a:gd name="connsiteY4" fmla="*/ 42233 h 181295"/>
                    <a:gd name="connsiteX5" fmla="*/ 178228 w 246836"/>
                    <a:gd name="connsiteY5" fmla="*/ 5974 h 181295"/>
                    <a:gd name="connsiteX6" fmla="*/ 153778 w 246836"/>
                    <a:gd name="connsiteY6" fmla="*/ 0 h 181295"/>
                    <a:gd name="connsiteX7" fmla="*/ 129327 w 246836"/>
                    <a:gd name="connsiteY7" fmla="*/ 12086 h 181295"/>
                    <a:gd name="connsiteX8" fmla="*/ 110989 w 246836"/>
                    <a:gd name="connsiteY8" fmla="*/ 24173 h 181295"/>
                    <a:gd name="connsiteX9" fmla="*/ 98764 w 246836"/>
                    <a:gd name="connsiteY9" fmla="*/ 30285 h 181295"/>
                    <a:gd name="connsiteX10" fmla="*/ 61949 w 246836"/>
                    <a:gd name="connsiteY10" fmla="*/ 60432 h 181295"/>
                    <a:gd name="connsiteX11" fmla="*/ 49724 w 246836"/>
                    <a:gd name="connsiteY11" fmla="*/ 60432 h 181295"/>
                    <a:gd name="connsiteX12" fmla="*/ 37499 w 246836"/>
                    <a:gd name="connsiteY12" fmla="*/ 84604 h 181295"/>
                    <a:gd name="connsiteX13" fmla="*/ 25273 w 246836"/>
                    <a:gd name="connsiteY13" fmla="*/ 96691 h 181295"/>
                    <a:gd name="connsiteX14" fmla="*/ 6935 w 246836"/>
                    <a:gd name="connsiteY14" fmla="*/ 108777 h 181295"/>
                    <a:gd name="connsiteX15" fmla="*/ 823 w 246836"/>
                    <a:gd name="connsiteY15" fmla="*/ 145036 h 181295"/>
                    <a:gd name="connsiteX16" fmla="*/ 43750 w 246836"/>
                    <a:gd name="connsiteY16" fmla="*/ 169209 h 181295"/>
                    <a:gd name="connsiteX17" fmla="*/ 92790 w 246836"/>
                    <a:gd name="connsiteY17" fmla="*/ 181295 h 181295"/>
                    <a:gd name="connsiteX18" fmla="*/ 86677 w 246836"/>
                    <a:gd name="connsiteY18" fmla="*/ 132950 h 181295"/>
                    <a:gd name="connsiteX19" fmla="*/ 154055 w 246836"/>
                    <a:gd name="connsiteY19" fmla="*/ 132950 h 181295"/>
                    <a:gd name="connsiteX20" fmla="*/ 208791 w 246836"/>
                    <a:gd name="connsiteY20" fmla="*/ 120586 h 181295"/>
                    <a:gd name="connsiteX21" fmla="*/ 208791 w 246836"/>
                    <a:gd name="connsiteY21" fmla="*/ 120586 h 18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6836" h="181295">
                      <a:moveTo>
                        <a:pt x="208791" y="120586"/>
                      </a:moveTo>
                      <a:cubicBezTo>
                        <a:pt x="221016" y="102526"/>
                        <a:pt x="239493" y="120586"/>
                        <a:pt x="245606" y="102526"/>
                      </a:cubicBezTo>
                      <a:cubicBezTo>
                        <a:pt x="251719" y="96413"/>
                        <a:pt x="233381" y="78353"/>
                        <a:pt x="227268" y="78353"/>
                      </a:cubicBezTo>
                      <a:cubicBezTo>
                        <a:pt x="221156" y="90439"/>
                        <a:pt x="202818" y="66266"/>
                        <a:pt x="196566" y="60293"/>
                      </a:cubicBezTo>
                      <a:cubicBezTo>
                        <a:pt x="196566" y="54319"/>
                        <a:pt x="196566" y="48206"/>
                        <a:pt x="190453" y="42233"/>
                      </a:cubicBezTo>
                      <a:cubicBezTo>
                        <a:pt x="178228" y="30146"/>
                        <a:pt x="178228" y="24173"/>
                        <a:pt x="178228" y="5974"/>
                      </a:cubicBezTo>
                      <a:cubicBezTo>
                        <a:pt x="172115" y="5974"/>
                        <a:pt x="159890" y="0"/>
                        <a:pt x="153778" y="0"/>
                      </a:cubicBezTo>
                      <a:cubicBezTo>
                        <a:pt x="141552" y="5974"/>
                        <a:pt x="135440" y="12086"/>
                        <a:pt x="129327" y="12086"/>
                      </a:cubicBezTo>
                      <a:cubicBezTo>
                        <a:pt x="123214" y="18060"/>
                        <a:pt x="117102" y="24173"/>
                        <a:pt x="110989" y="24173"/>
                      </a:cubicBezTo>
                      <a:cubicBezTo>
                        <a:pt x="104877" y="36259"/>
                        <a:pt x="104877" y="24173"/>
                        <a:pt x="98764" y="30285"/>
                      </a:cubicBezTo>
                      <a:cubicBezTo>
                        <a:pt x="86538" y="36259"/>
                        <a:pt x="74313" y="66544"/>
                        <a:pt x="61949" y="60432"/>
                      </a:cubicBezTo>
                      <a:cubicBezTo>
                        <a:pt x="55836" y="60432"/>
                        <a:pt x="49724" y="48345"/>
                        <a:pt x="49724" y="60432"/>
                      </a:cubicBezTo>
                      <a:cubicBezTo>
                        <a:pt x="43611" y="66544"/>
                        <a:pt x="43611" y="78492"/>
                        <a:pt x="37499" y="84604"/>
                      </a:cubicBezTo>
                      <a:cubicBezTo>
                        <a:pt x="37499" y="90578"/>
                        <a:pt x="37499" y="96691"/>
                        <a:pt x="25273" y="96691"/>
                      </a:cubicBezTo>
                      <a:cubicBezTo>
                        <a:pt x="25273" y="96691"/>
                        <a:pt x="823" y="102803"/>
                        <a:pt x="6935" y="108777"/>
                      </a:cubicBezTo>
                      <a:cubicBezTo>
                        <a:pt x="25273" y="120863"/>
                        <a:pt x="-5290" y="138924"/>
                        <a:pt x="823" y="145036"/>
                      </a:cubicBezTo>
                      <a:cubicBezTo>
                        <a:pt x="13048" y="151010"/>
                        <a:pt x="25273" y="181295"/>
                        <a:pt x="43750" y="169209"/>
                      </a:cubicBezTo>
                      <a:cubicBezTo>
                        <a:pt x="62088" y="157123"/>
                        <a:pt x="74452" y="163235"/>
                        <a:pt x="92790" y="181295"/>
                      </a:cubicBezTo>
                      <a:cubicBezTo>
                        <a:pt x="86677" y="163235"/>
                        <a:pt x="86677" y="145036"/>
                        <a:pt x="86677" y="132950"/>
                      </a:cubicBezTo>
                      <a:cubicBezTo>
                        <a:pt x="111128" y="132950"/>
                        <a:pt x="129605" y="132950"/>
                        <a:pt x="154055" y="132950"/>
                      </a:cubicBezTo>
                      <a:cubicBezTo>
                        <a:pt x="171976" y="132533"/>
                        <a:pt x="202679" y="138646"/>
                        <a:pt x="208791" y="120586"/>
                      </a:cubicBezTo>
                      <a:cubicBezTo>
                        <a:pt x="214904" y="108499"/>
                        <a:pt x="208791" y="120586"/>
                        <a:pt x="208791" y="120586"/>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3" name="Freihandform: Form 402">
                  <a:extLst>
                    <a:ext uri="{FF2B5EF4-FFF2-40B4-BE49-F238E27FC236}">
                      <a16:creationId xmlns:a16="http://schemas.microsoft.com/office/drawing/2014/main" id="{2917ECA6-88C7-49EC-8CBF-7D018C07E50A}"/>
                    </a:ext>
                  </a:extLst>
                </p:cNvPr>
                <p:cNvSpPr/>
                <p:nvPr/>
              </p:nvSpPr>
              <p:spPr>
                <a:xfrm>
                  <a:off x="6096683" y="4193525"/>
                  <a:ext cx="46212" cy="150662"/>
                </a:xfrm>
                <a:custGeom>
                  <a:avLst/>
                  <a:gdLst>
                    <a:gd name="connsiteX0" fmla="*/ 45212 w 46212"/>
                    <a:gd name="connsiteY0" fmla="*/ 63488 h 150662"/>
                    <a:gd name="connsiteX1" fmla="*/ 39516 w 46212"/>
                    <a:gd name="connsiteY1" fmla="*/ 38065 h 150662"/>
                    <a:gd name="connsiteX2" fmla="*/ 22290 w 46212"/>
                    <a:gd name="connsiteY2" fmla="*/ 0 h 150662"/>
                    <a:gd name="connsiteX3" fmla="*/ 5063 w 46212"/>
                    <a:gd name="connsiteY3" fmla="*/ 0 h 150662"/>
                    <a:gd name="connsiteX4" fmla="*/ 5063 w 46212"/>
                    <a:gd name="connsiteY4" fmla="*/ 19032 h 150662"/>
                    <a:gd name="connsiteX5" fmla="*/ 5063 w 46212"/>
                    <a:gd name="connsiteY5" fmla="*/ 57098 h 150662"/>
                    <a:gd name="connsiteX6" fmla="*/ 16455 w 46212"/>
                    <a:gd name="connsiteY6" fmla="*/ 95163 h 150662"/>
                    <a:gd name="connsiteX7" fmla="*/ 16455 w 46212"/>
                    <a:gd name="connsiteY7" fmla="*/ 133228 h 150662"/>
                    <a:gd name="connsiteX8" fmla="*/ 27847 w 46212"/>
                    <a:gd name="connsiteY8" fmla="*/ 145870 h 150662"/>
                    <a:gd name="connsiteX9" fmla="*/ 45073 w 46212"/>
                    <a:gd name="connsiteY9" fmla="*/ 145870 h 150662"/>
                    <a:gd name="connsiteX10" fmla="*/ 45212 w 46212"/>
                    <a:gd name="connsiteY10" fmla="*/ 63488 h 150662"/>
                    <a:gd name="connsiteX11" fmla="*/ 45212 w 46212"/>
                    <a:gd name="connsiteY11" fmla="*/ 63488 h 15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212" h="150662">
                      <a:moveTo>
                        <a:pt x="45212" y="63488"/>
                      </a:moveTo>
                      <a:cubicBezTo>
                        <a:pt x="45212" y="57098"/>
                        <a:pt x="45212" y="44456"/>
                        <a:pt x="39516" y="38065"/>
                      </a:cubicBezTo>
                      <a:cubicBezTo>
                        <a:pt x="33820" y="31675"/>
                        <a:pt x="16594" y="6252"/>
                        <a:pt x="22290" y="0"/>
                      </a:cubicBezTo>
                      <a:cubicBezTo>
                        <a:pt x="16594" y="0"/>
                        <a:pt x="10898" y="0"/>
                        <a:pt x="5063" y="0"/>
                      </a:cubicBezTo>
                      <a:cubicBezTo>
                        <a:pt x="-6329" y="0"/>
                        <a:pt x="5063" y="12642"/>
                        <a:pt x="5063" y="19032"/>
                      </a:cubicBezTo>
                      <a:cubicBezTo>
                        <a:pt x="10759" y="31675"/>
                        <a:pt x="5063" y="44456"/>
                        <a:pt x="5063" y="57098"/>
                      </a:cubicBezTo>
                      <a:cubicBezTo>
                        <a:pt x="-633" y="76130"/>
                        <a:pt x="10759" y="76130"/>
                        <a:pt x="16455" y="95163"/>
                      </a:cubicBezTo>
                      <a:cubicBezTo>
                        <a:pt x="16455" y="107805"/>
                        <a:pt x="10759" y="120586"/>
                        <a:pt x="16455" y="133228"/>
                      </a:cubicBezTo>
                      <a:cubicBezTo>
                        <a:pt x="16455" y="139618"/>
                        <a:pt x="22151" y="145870"/>
                        <a:pt x="27847" y="145870"/>
                      </a:cubicBezTo>
                      <a:cubicBezTo>
                        <a:pt x="33542" y="152260"/>
                        <a:pt x="50769" y="152260"/>
                        <a:pt x="45073" y="145870"/>
                      </a:cubicBezTo>
                      <a:cubicBezTo>
                        <a:pt x="45212" y="120586"/>
                        <a:pt x="45212" y="95163"/>
                        <a:pt x="45212" y="63488"/>
                      </a:cubicBezTo>
                      <a:cubicBezTo>
                        <a:pt x="45212" y="44316"/>
                        <a:pt x="45212" y="82520"/>
                        <a:pt x="45212" y="6348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4" name="Freihandform: Form 403">
                  <a:extLst>
                    <a:ext uri="{FF2B5EF4-FFF2-40B4-BE49-F238E27FC236}">
                      <a16:creationId xmlns:a16="http://schemas.microsoft.com/office/drawing/2014/main" id="{71AEE339-D0DD-48F2-8B6C-A2726402DE60}"/>
                    </a:ext>
                  </a:extLst>
                </p:cNvPr>
                <p:cNvSpPr/>
                <p:nvPr/>
              </p:nvSpPr>
              <p:spPr>
                <a:xfrm>
                  <a:off x="5832042" y="4207373"/>
                  <a:ext cx="183852" cy="186201"/>
                </a:xfrm>
                <a:custGeom>
                  <a:avLst/>
                  <a:gdLst>
                    <a:gd name="connsiteX0" fmla="*/ 154120 w 183852"/>
                    <a:gd name="connsiteY0" fmla="*/ 20188 h 186201"/>
                    <a:gd name="connsiteX1" fmla="*/ 122862 w 183852"/>
                    <a:gd name="connsiteY1" fmla="*/ 26301 h 186201"/>
                    <a:gd name="connsiteX2" fmla="*/ 85353 w 183852"/>
                    <a:gd name="connsiteY2" fmla="*/ 1711 h 186201"/>
                    <a:gd name="connsiteX3" fmla="*/ 72850 w 183852"/>
                    <a:gd name="connsiteY3" fmla="*/ 1711 h 186201"/>
                    <a:gd name="connsiteX4" fmla="*/ 54095 w 183852"/>
                    <a:gd name="connsiteY4" fmla="*/ 7824 h 186201"/>
                    <a:gd name="connsiteX5" fmla="*/ 29089 w 183852"/>
                    <a:gd name="connsiteY5" fmla="*/ 7824 h 186201"/>
                    <a:gd name="connsiteX6" fmla="*/ 16586 w 183852"/>
                    <a:gd name="connsiteY6" fmla="*/ 13937 h 186201"/>
                    <a:gd name="connsiteX7" fmla="*/ 10334 w 183852"/>
                    <a:gd name="connsiteY7" fmla="*/ 32414 h 186201"/>
                    <a:gd name="connsiteX8" fmla="*/ 22837 w 183852"/>
                    <a:gd name="connsiteY8" fmla="*/ 38526 h 186201"/>
                    <a:gd name="connsiteX9" fmla="*/ 10334 w 183852"/>
                    <a:gd name="connsiteY9" fmla="*/ 50891 h 186201"/>
                    <a:gd name="connsiteX10" fmla="*/ 22837 w 183852"/>
                    <a:gd name="connsiteY10" fmla="*/ 69367 h 186201"/>
                    <a:gd name="connsiteX11" fmla="*/ 10334 w 183852"/>
                    <a:gd name="connsiteY11" fmla="*/ 75480 h 186201"/>
                    <a:gd name="connsiteX12" fmla="*/ 4083 w 183852"/>
                    <a:gd name="connsiteY12" fmla="*/ 93957 h 186201"/>
                    <a:gd name="connsiteX13" fmla="*/ 4083 w 183852"/>
                    <a:gd name="connsiteY13" fmla="*/ 112433 h 186201"/>
                    <a:gd name="connsiteX14" fmla="*/ 10334 w 183852"/>
                    <a:gd name="connsiteY14" fmla="*/ 137023 h 186201"/>
                    <a:gd name="connsiteX15" fmla="*/ 35340 w 183852"/>
                    <a:gd name="connsiteY15" fmla="*/ 155500 h 186201"/>
                    <a:gd name="connsiteX16" fmla="*/ 35340 w 183852"/>
                    <a:gd name="connsiteY16" fmla="*/ 186202 h 186201"/>
                    <a:gd name="connsiteX17" fmla="*/ 110359 w 183852"/>
                    <a:gd name="connsiteY17" fmla="*/ 167725 h 186201"/>
                    <a:gd name="connsiteX18" fmla="*/ 154120 w 183852"/>
                    <a:gd name="connsiteY18" fmla="*/ 167725 h 186201"/>
                    <a:gd name="connsiteX19" fmla="*/ 179126 w 183852"/>
                    <a:gd name="connsiteY19" fmla="*/ 155361 h 186201"/>
                    <a:gd name="connsiteX20" fmla="*/ 166623 w 183852"/>
                    <a:gd name="connsiteY20" fmla="*/ 124659 h 186201"/>
                    <a:gd name="connsiteX21" fmla="*/ 179126 w 183852"/>
                    <a:gd name="connsiteY21" fmla="*/ 87705 h 186201"/>
                    <a:gd name="connsiteX22" fmla="*/ 154120 w 183852"/>
                    <a:gd name="connsiteY22" fmla="*/ 20188 h 18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3852" h="186201">
                      <a:moveTo>
                        <a:pt x="154120" y="20188"/>
                      </a:moveTo>
                      <a:cubicBezTo>
                        <a:pt x="141617" y="20188"/>
                        <a:pt x="135365" y="32552"/>
                        <a:pt x="122862" y="26301"/>
                      </a:cubicBezTo>
                      <a:cubicBezTo>
                        <a:pt x="110359" y="26301"/>
                        <a:pt x="97856" y="-4401"/>
                        <a:pt x="85353" y="1711"/>
                      </a:cubicBezTo>
                      <a:cubicBezTo>
                        <a:pt x="79101" y="7824"/>
                        <a:pt x="72850" y="7824"/>
                        <a:pt x="72850" y="1711"/>
                      </a:cubicBezTo>
                      <a:cubicBezTo>
                        <a:pt x="66598" y="-4401"/>
                        <a:pt x="60347" y="7824"/>
                        <a:pt x="54095" y="7824"/>
                      </a:cubicBezTo>
                      <a:cubicBezTo>
                        <a:pt x="41592" y="13937"/>
                        <a:pt x="35340" y="7824"/>
                        <a:pt x="29089" y="7824"/>
                      </a:cubicBezTo>
                      <a:cubicBezTo>
                        <a:pt x="22837" y="1711"/>
                        <a:pt x="22837" y="13937"/>
                        <a:pt x="16586" y="13937"/>
                      </a:cubicBezTo>
                      <a:cubicBezTo>
                        <a:pt x="10334" y="13937"/>
                        <a:pt x="4083" y="26301"/>
                        <a:pt x="10334" y="32414"/>
                      </a:cubicBezTo>
                      <a:cubicBezTo>
                        <a:pt x="10334" y="38526"/>
                        <a:pt x="22837" y="38526"/>
                        <a:pt x="22837" y="38526"/>
                      </a:cubicBezTo>
                      <a:cubicBezTo>
                        <a:pt x="22837" y="44639"/>
                        <a:pt x="10334" y="50891"/>
                        <a:pt x="10334" y="50891"/>
                      </a:cubicBezTo>
                      <a:cubicBezTo>
                        <a:pt x="10334" y="57003"/>
                        <a:pt x="22837" y="63255"/>
                        <a:pt x="22837" y="69367"/>
                      </a:cubicBezTo>
                      <a:cubicBezTo>
                        <a:pt x="22837" y="69367"/>
                        <a:pt x="10334" y="63255"/>
                        <a:pt x="10334" y="75480"/>
                      </a:cubicBezTo>
                      <a:cubicBezTo>
                        <a:pt x="10334" y="81593"/>
                        <a:pt x="16586" y="93957"/>
                        <a:pt x="4083" y="93957"/>
                      </a:cubicBezTo>
                      <a:cubicBezTo>
                        <a:pt x="10334" y="100069"/>
                        <a:pt x="10334" y="106321"/>
                        <a:pt x="4083" y="112433"/>
                      </a:cubicBezTo>
                      <a:cubicBezTo>
                        <a:pt x="4083" y="124798"/>
                        <a:pt x="-8420" y="124798"/>
                        <a:pt x="10334" y="137023"/>
                      </a:cubicBezTo>
                      <a:cubicBezTo>
                        <a:pt x="16586" y="137023"/>
                        <a:pt x="29089" y="143136"/>
                        <a:pt x="35340" y="155500"/>
                      </a:cubicBezTo>
                      <a:cubicBezTo>
                        <a:pt x="41592" y="161613"/>
                        <a:pt x="35340" y="173977"/>
                        <a:pt x="35340" y="186202"/>
                      </a:cubicBezTo>
                      <a:cubicBezTo>
                        <a:pt x="60347" y="180090"/>
                        <a:pt x="79101" y="167725"/>
                        <a:pt x="110359" y="167725"/>
                      </a:cubicBezTo>
                      <a:cubicBezTo>
                        <a:pt x="122862" y="161613"/>
                        <a:pt x="141617" y="167725"/>
                        <a:pt x="154120" y="167725"/>
                      </a:cubicBezTo>
                      <a:cubicBezTo>
                        <a:pt x="166623" y="167725"/>
                        <a:pt x="185378" y="173838"/>
                        <a:pt x="179126" y="155361"/>
                      </a:cubicBezTo>
                      <a:cubicBezTo>
                        <a:pt x="179126" y="142997"/>
                        <a:pt x="172875" y="136884"/>
                        <a:pt x="166623" y="124659"/>
                      </a:cubicBezTo>
                      <a:cubicBezTo>
                        <a:pt x="166623" y="112295"/>
                        <a:pt x="172875" y="100069"/>
                        <a:pt x="179126" y="87705"/>
                      </a:cubicBezTo>
                      <a:cubicBezTo>
                        <a:pt x="185378" y="63255"/>
                        <a:pt x="191629" y="20188"/>
                        <a:pt x="154120" y="2018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5" name="Freihandform: Form 404">
                  <a:extLst>
                    <a:ext uri="{FF2B5EF4-FFF2-40B4-BE49-F238E27FC236}">
                      <a16:creationId xmlns:a16="http://schemas.microsoft.com/office/drawing/2014/main" id="{890CE22D-5ECD-4DB9-9A9C-8B41610E1F55}"/>
                    </a:ext>
                  </a:extLst>
                </p:cNvPr>
                <p:cNvSpPr/>
                <p:nvPr/>
              </p:nvSpPr>
              <p:spPr>
                <a:xfrm>
                  <a:off x="5999807" y="4193525"/>
                  <a:ext cx="128611" cy="190603"/>
                </a:xfrm>
                <a:custGeom>
                  <a:avLst/>
                  <a:gdLst>
                    <a:gd name="connsiteX0" fmla="*/ 105412 w 128611"/>
                    <a:gd name="connsiteY0" fmla="*/ 82520 h 190603"/>
                    <a:gd name="connsiteX1" fmla="*/ 99577 w 128611"/>
                    <a:gd name="connsiteY1" fmla="*/ 38065 h 190603"/>
                    <a:gd name="connsiteX2" fmla="*/ 93742 w 128611"/>
                    <a:gd name="connsiteY2" fmla="*/ 0 h 190603"/>
                    <a:gd name="connsiteX3" fmla="*/ 12472 w 128611"/>
                    <a:gd name="connsiteY3" fmla="*/ 0 h 190603"/>
                    <a:gd name="connsiteX4" fmla="*/ 18307 w 128611"/>
                    <a:gd name="connsiteY4" fmla="*/ 69879 h 190603"/>
                    <a:gd name="connsiteX5" fmla="*/ 941 w 128611"/>
                    <a:gd name="connsiteY5" fmla="*/ 139757 h 190603"/>
                    <a:gd name="connsiteX6" fmla="*/ 12611 w 128611"/>
                    <a:gd name="connsiteY6" fmla="*/ 190603 h 190603"/>
                    <a:gd name="connsiteX7" fmla="*/ 53177 w 128611"/>
                    <a:gd name="connsiteY7" fmla="*/ 184213 h 190603"/>
                    <a:gd name="connsiteX8" fmla="*/ 128612 w 128611"/>
                    <a:gd name="connsiteY8" fmla="*/ 152399 h 190603"/>
                    <a:gd name="connsiteX9" fmla="*/ 111246 w 128611"/>
                    <a:gd name="connsiteY9" fmla="*/ 120586 h 190603"/>
                    <a:gd name="connsiteX10" fmla="*/ 105412 w 128611"/>
                    <a:gd name="connsiteY10" fmla="*/ 82520 h 190603"/>
                    <a:gd name="connsiteX11" fmla="*/ 105412 w 128611"/>
                    <a:gd name="connsiteY11" fmla="*/ 8252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8611" h="190603">
                      <a:moveTo>
                        <a:pt x="105412" y="82520"/>
                      </a:moveTo>
                      <a:cubicBezTo>
                        <a:pt x="93742" y="69740"/>
                        <a:pt x="99577" y="50707"/>
                        <a:pt x="99577" y="38065"/>
                      </a:cubicBezTo>
                      <a:cubicBezTo>
                        <a:pt x="105412" y="25423"/>
                        <a:pt x="87908" y="12642"/>
                        <a:pt x="93742" y="0"/>
                      </a:cubicBezTo>
                      <a:cubicBezTo>
                        <a:pt x="64707" y="0"/>
                        <a:pt x="41507" y="0"/>
                        <a:pt x="12472" y="0"/>
                      </a:cubicBezTo>
                      <a:cubicBezTo>
                        <a:pt x="12472" y="19032"/>
                        <a:pt x="18307" y="44456"/>
                        <a:pt x="18307" y="69879"/>
                      </a:cubicBezTo>
                      <a:cubicBezTo>
                        <a:pt x="18307" y="95302"/>
                        <a:pt x="-4894" y="114334"/>
                        <a:pt x="941" y="139757"/>
                      </a:cubicBezTo>
                      <a:cubicBezTo>
                        <a:pt x="6776" y="158790"/>
                        <a:pt x="18307" y="165180"/>
                        <a:pt x="12611" y="190603"/>
                      </a:cubicBezTo>
                      <a:cubicBezTo>
                        <a:pt x="29976" y="190603"/>
                        <a:pt x="35811" y="190603"/>
                        <a:pt x="53177" y="184213"/>
                      </a:cubicBezTo>
                      <a:cubicBezTo>
                        <a:pt x="82212" y="177822"/>
                        <a:pt x="105412" y="165180"/>
                        <a:pt x="128612" y="152399"/>
                      </a:cubicBezTo>
                      <a:cubicBezTo>
                        <a:pt x="116942" y="146009"/>
                        <a:pt x="111246" y="133367"/>
                        <a:pt x="111246" y="120586"/>
                      </a:cubicBezTo>
                      <a:cubicBezTo>
                        <a:pt x="111246" y="107944"/>
                        <a:pt x="111246" y="95163"/>
                        <a:pt x="105412" y="82520"/>
                      </a:cubicBezTo>
                      <a:cubicBezTo>
                        <a:pt x="93881" y="69740"/>
                        <a:pt x="111246" y="95163"/>
                        <a:pt x="105412" y="8252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6" name="Freihandform: Form 405">
                  <a:extLst>
                    <a:ext uri="{FF2B5EF4-FFF2-40B4-BE49-F238E27FC236}">
                      <a16:creationId xmlns:a16="http://schemas.microsoft.com/office/drawing/2014/main" id="{410BDECA-F0FB-4191-B457-5145B6438390}"/>
                    </a:ext>
                  </a:extLst>
                </p:cNvPr>
                <p:cNvSpPr/>
                <p:nvPr/>
              </p:nvSpPr>
              <p:spPr>
                <a:xfrm>
                  <a:off x="5685373" y="4222416"/>
                  <a:ext cx="87758" cy="99154"/>
                </a:xfrm>
                <a:custGeom>
                  <a:avLst/>
                  <a:gdLst>
                    <a:gd name="connsiteX0" fmla="*/ 71287 w 87758"/>
                    <a:gd name="connsiteY0" fmla="*/ 79053 h 99154"/>
                    <a:gd name="connsiteX1" fmla="*/ 83929 w 87758"/>
                    <a:gd name="connsiteY1" fmla="*/ 28207 h 99154"/>
                    <a:gd name="connsiteX2" fmla="*/ 26693 w 87758"/>
                    <a:gd name="connsiteY2" fmla="*/ 9174 h 99154"/>
                    <a:gd name="connsiteX3" fmla="*/ 1270 w 87758"/>
                    <a:gd name="connsiteY3" fmla="*/ 40988 h 99154"/>
                    <a:gd name="connsiteX4" fmla="*/ 20302 w 87758"/>
                    <a:gd name="connsiteY4" fmla="*/ 66411 h 99154"/>
                    <a:gd name="connsiteX5" fmla="*/ 39335 w 87758"/>
                    <a:gd name="connsiteY5" fmla="*/ 91834 h 99154"/>
                    <a:gd name="connsiteX6" fmla="*/ 58367 w 87758"/>
                    <a:gd name="connsiteY6" fmla="*/ 91834 h 99154"/>
                    <a:gd name="connsiteX7" fmla="*/ 71287 w 87758"/>
                    <a:gd name="connsiteY7" fmla="*/ 79053 h 99154"/>
                    <a:gd name="connsiteX8" fmla="*/ 71287 w 87758"/>
                    <a:gd name="connsiteY8" fmla="*/ 79053 h 9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58" h="99154">
                      <a:moveTo>
                        <a:pt x="71287" y="79053"/>
                      </a:moveTo>
                      <a:cubicBezTo>
                        <a:pt x="90320" y="72662"/>
                        <a:pt x="90320" y="40988"/>
                        <a:pt x="83929" y="28207"/>
                      </a:cubicBezTo>
                      <a:cubicBezTo>
                        <a:pt x="71287" y="2784"/>
                        <a:pt x="45864" y="-9858"/>
                        <a:pt x="26693" y="9174"/>
                      </a:cubicBezTo>
                      <a:cubicBezTo>
                        <a:pt x="14051" y="15565"/>
                        <a:pt x="-5121" y="28207"/>
                        <a:pt x="1270" y="40988"/>
                      </a:cubicBezTo>
                      <a:cubicBezTo>
                        <a:pt x="7660" y="53769"/>
                        <a:pt x="7660" y="60020"/>
                        <a:pt x="20302" y="66411"/>
                      </a:cubicBezTo>
                      <a:cubicBezTo>
                        <a:pt x="26693" y="79053"/>
                        <a:pt x="26693" y="85443"/>
                        <a:pt x="39335" y="91834"/>
                      </a:cubicBezTo>
                      <a:cubicBezTo>
                        <a:pt x="45725" y="98224"/>
                        <a:pt x="51977" y="104476"/>
                        <a:pt x="58367" y="91834"/>
                      </a:cubicBezTo>
                      <a:cubicBezTo>
                        <a:pt x="58645" y="85304"/>
                        <a:pt x="65036" y="85304"/>
                        <a:pt x="71287" y="79053"/>
                      </a:cubicBezTo>
                      <a:cubicBezTo>
                        <a:pt x="84068" y="72662"/>
                        <a:pt x="65036" y="85304"/>
                        <a:pt x="71287" y="7905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7" name="Freihandform: Form 406">
                  <a:extLst>
                    <a:ext uri="{FF2B5EF4-FFF2-40B4-BE49-F238E27FC236}">
                      <a16:creationId xmlns:a16="http://schemas.microsoft.com/office/drawing/2014/main" id="{DD3E7E2B-3AC5-4DF1-AAC8-78DACEF3AE2A}"/>
                    </a:ext>
                  </a:extLst>
                </p:cNvPr>
                <p:cNvSpPr/>
                <p:nvPr/>
              </p:nvSpPr>
              <p:spPr>
                <a:xfrm>
                  <a:off x="5737628" y="4265765"/>
                  <a:ext cx="130109" cy="127670"/>
                </a:xfrm>
                <a:custGeom>
                  <a:avLst/>
                  <a:gdLst>
                    <a:gd name="connsiteX0" fmla="*/ 127393 w 130109"/>
                    <a:gd name="connsiteY0" fmla="*/ 102387 h 127670"/>
                    <a:gd name="connsiteX1" fmla="*/ 115307 w 130109"/>
                    <a:gd name="connsiteY1" fmla="*/ 76964 h 127670"/>
                    <a:gd name="connsiteX2" fmla="*/ 97107 w 130109"/>
                    <a:gd name="connsiteY2" fmla="*/ 64183 h 127670"/>
                    <a:gd name="connsiteX3" fmla="*/ 97107 w 130109"/>
                    <a:gd name="connsiteY3" fmla="*/ 32369 h 127670"/>
                    <a:gd name="connsiteX4" fmla="*/ 78908 w 130109"/>
                    <a:gd name="connsiteY4" fmla="*/ 45011 h 127670"/>
                    <a:gd name="connsiteX5" fmla="*/ 54597 w 130109"/>
                    <a:gd name="connsiteY5" fmla="*/ 556 h 127670"/>
                    <a:gd name="connsiteX6" fmla="*/ 30285 w 130109"/>
                    <a:gd name="connsiteY6" fmla="*/ 19588 h 127670"/>
                    <a:gd name="connsiteX7" fmla="*/ 0 w 130109"/>
                    <a:gd name="connsiteY7" fmla="*/ 51402 h 127670"/>
                    <a:gd name="connsiteX8" fmla="*/ 72796 w 130109"/>
                    <a:gd name="connsiteY8" fmla="*/ 108638 h 127670"/>
                    <a:gd name="connsiteX9" fmla="*/ 115307 w 130109"/>
                    <a:gd name="connsiteY9" fmla="*/ 127671 h 127670"/>
                    <a:gd name="connsiteX10" fmla="*/ 127393 w 130109"/>
                    <a:gd name="connsiteY10" fmla="*/ 102387 h 127670"/>
                    <a:gd name="connsiteX11" fmla="*/ 127393 w 130109"/>
                    <a:gd name="connsiteY11" fmla="*/ 102387 h 12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109" h="127670">
                      <a:moveTo>
                        <a:pt x="127393" y="102387"/>
                      </a:moveTo>
                      <a:cubicBezTo>
                        <a:pt x="133505" y="89745"/>
                        <a:pt x="121280" y="83354"/>
                        <a:pt x="115307" y="76964"/>
                      </a:cubicBezTo>
                      <a:cubicBezTo>
                        <a:pt x="109194" y="76964"/>
                        <a:pt x="85021" y="70573"/>
                        <a:pt x="97107" y="64183"/>
                      </a:cubicBezTo>
                      <a:cubicBezTo>
                        <a:pt x="103220" y="57792"/>
                        <a:pt x="103220" y="38760"/>
                        <a:pt x="97107" y="32369"/>
                      </a:cubicBezTo>
                      <a:cubicBezTo>
                        <a:pt x="90995" y="19727"/>
                        <a:pt x="85021" y="45011"/>
                        <a:pt x="78908" y="45011"/>
                      </a:cubicBezTo>
                      <a:cubicBezTo>
                        <a:pt x="60710" y="45011"/>
                        <a:pt x="66822" y="-5835"/>
                        <a:pt x="54597" y="556"/>
                      </a:cubicBezTo>
                      <a:cubicBezTo>
                        <a:pt x="48484" y="6946"/>
                        <a:pt x="36398" y="13198"/>
                        <a:pt x="30285" y="19588"/>
                      </a:cubicBezTo>
                      <a:cubicBezTo>
                        <a:pt x="24173" y="32230"/>
                        <a:pt x="12086" y="38621"/>
                        <a:pt x="0" y="51402"/>
                      </a:cubicBezTo>
                      <a:cubicBezTo>
                        <a:pt x="30285" y="70434"/>
                        <a:pt x="48484" y="89467"/>
                        <a:pt x="72796" y="108638"/>
                      </a:cubicBezTo>
                      <a:cubicBezTo>
                        <a:pt x="84882" y="121280"/>
                        <a:pt x="97107" y="127671"/>
                        <a:pt x="115307" y="127671"/>
                      </a:cubicBezTo>
                      <a:cubicBezTo>
                        <a:pt x="133505" y="127671"/>
                        <a:pt x="121280" y="115167"/>
                        <a:pt x="127393" y="102387"/>
                      </a:cubicBezTo>
                      <a:cubicBezTo>
                        <a:pt x="133505" y="89745"/>
                        <a:pt x="127393" y="115167"/>
                        <a:pt x="127393" y="10238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8" name="Freihandform: Form 407">
                  <a:extLst>
                    <a:ext uri="{FF2B5EF4-FFF2-40B4-BE49-F238E27FC236}">
                      <a16:creationId xmlns:a16="http://schemas.microsoft.com/office/drawing/2014/main" id="{666694DF-6352-4D82-AC11-3BED9C0B2142}"/>
                    </a:ext>
                  </a:extLst>
                </p:cNvPr>
                <p:cNvSpPr/>
                <p:nvPr/>
              </p:nvSpPr>
              <p:spPr>
                <a:xfrm>
                  <a:off x="5632879" y="4137712"/>
                  <a:ext cx="218943" cy="169048"/>
                </a:xfrm>
                <a:custGeom>
                  <a:avLst/>
                  <a:gdLst>
                    <a:gd name="connsiteX0" fmla="*/ 62516 w 218943"/>
                    <a:gd name="connsiteY0" fmla="*/ 98462 h 169048"/>
                    <a:gd name="connsiteX1" fmla="*/ 125170 w 218943"/>
                    <a:gd name="connsiteY1" fmla="*/ 104714 h 169048"/>
                    <a:gd name="connsiteX2" fmla="*/ 131422 w 218943"/>
                    <a:gd name="connsiteY2" fmla="*/ 142223 h 169048"/>
                    <a:gd name="connsiteX3" fmla="*/ 156428 w 218943"/>
                    <a:gd name="connsiteY3" fmla="*/ 129720 h 169048"/>
                    <a:gd name="connsiteX4" fmla="*/ 181434 w 218943"/>
                    <a:gd name="connsiteY4" fmla="*/ 167229 h 169048"/>
                    <a:gd name="connsiteX5" fmla="*/ 193937 w 218943"/>
                    <a:gd name="connsiteY5" fmla="*/ 160978 h 169048"/>
                    <a:gd name="connsiteX6" fmla="*/ 206441 w 218943"/>
                    <a:gd name="connsiteY6" fmla="*/ 154726 h 169048"/>
                    <a:gd name="connsiteX7" fmla="*/ 206441 w 218943"/>
                    <a:gd name="connsiteY7" fmla="*/ 142223 h 169048"/>
                    <a:gd name="connsiteX8" fmla="*/ 218944 w 218943"/>
                    <a:gd name="connsiteY8" fmla="*/ 135971 h 169048"/>
                    <a:gd name="connsiteX9" fmla="*/ 212692 w 218943"/>
                    <a:gd name="connsiteY9" fmla="*/ 117217 h 169048"/>
                    <a:gd name="connsiteX10" fmla="*/ 206441 w 218943"/>
                    <a:gd name="connsiteY10" fmla="*/ 98462 h 169048"/>
                    <a:gd name="connsiteX11" fmla="*/ 206441 w 218943"/>
                    <a:gd name="connsiteY11" fmla="*/ 73456 h 169048"/>
                    <a:gd name="connsiteX12" fmla="*/ 200189 w 218943"/>
                    <a:gd name="connsiteY12" fmla="*/ 48450 h 169048"/>
                    <a:gd name="connsiteX13" fmla="*/ 162541 w 218943"/>
                    <a:gd name="connsiteY13" fmla="*/ 10940 h 169048"/>
                    <a:gd name="connsiteX14" fmla="*/ 150037 w 218943"/>
                    <a:gd name="connsiteY14" fmla="*/ 17192 h 169048"/>
                    <a:gd name="connsiteX15" fmla="*/ 137534 w 218943"/>
                    <a:gd name="connsiteY15" fmla="*/ 17192 h 169048"/>
                    <a:gd name="connsiteX16" fmla="*/ 118780 w 218943"/>
                    <a:gd name="connsiteY16" fmla="*/ 17192 h 169048"/>
                    <a:gd name="connsiteX17" fmla="*/ 112528 w 218943"/>
                    <a:gd name="connsiteY17" fmla="*/ 17192 h 169048"/>
                    <a:gd name="connsiteX18" fmla="*/ 93773 w 218943"/>
                    <a:gd name="connsiteY18" fmla="*/ 10940 h 169048"/>
                    <a:gd name="connsiteX19" fmla="*/ 62516 w 218943"/>
                    <a:gd name="connsiteY19" fmla="*/ 4689 h 169048"/>
                    <a:gd name="connsiteX20" fmla="*/ 31258 w 218943"/>
                    <a:gd name="connsiteY20" fmla="*/ 4689 h 169048"/>
                    <a:gd name="connsiteX21" fmla="*/ 31258 w 218943"/>
                    <a:gd name="connsiteY21" fmla="*/ 23443 h 169048"/>
                    <a:gd name="connsiteX22" fmla="*/ 18755 w 218943"/>
                    <a:gd name="connsiteY22" fmla="*/ 35946 h 169048"/>
                    <a:gd name="connsiteX23" fmla="*/ 0 w 218943"/>
                    <a:gd name="connsiteY23" fmla="*/ 48450 h 169048"/>
                    <a:gd name="connsiteX24" fmla="*/ 18755 w 218943"/>
                    <a:gd name="connsiteY24" fmla="*/ 79707 h 169048"/>
                    <a:gd name="connsiteX25" fmla="*/ 50012 w 218943"/>
                    <a:gd name="connsiteY25" fmla="*/ 117217 h 169048"/>
                    <a:gd name="connsiteX26" fmla="*/ 62516 w 218943"/>
                    <a:gd name="connsiteY26" fmla="*/ 98462 h 169048"/>
                    <a:gd name="connsiteX27" fmla="*/ 62516 w 218943"/>
                    <a:gd name="connsiteY27" fmla="*/ 98462 h 16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8943" h="169048">
                      <a:moveTo>
                        <a:pt x="62516" y="98462"/>
                      </a:moveTo>
                      <a:cubicBezTo>
                        <a:pt x="87522" y="85959"/>
                        <a:pt x="112667" y="73456"/>
                        <a:pt x="125170" y="104714"/>
                      </a:cubicBezTo>
                      <a:cubicBezTo>
                        <a:pt x="137673" y="117217"/>
                        <a:pt x="131422" y="123468"/>
                        <a:pt x="131422" y="142223"/>
                      </a:cubicBezTo>
                      <a:cubicBezTo>
                        <a:pt x="137673" y="148475"/>
                        <a:pt x="150177" y="129720"/>
                        <a:pt x="156428" y="129720"/>
                      </a:cubicBezTo>
                      <a:cubicBezTo>
                        <a:pt x="168931" y="123468"/>
                        <a:pt x="168931" y="179732"/>
                        <a:pt x="181434" y="167229"/>
                      </a:cubicBezTo>
                      <a:cubicBezTo>
                        <a:pt x="187686" y="167229"/>
                        <a:pt x="187686" y="160978"/>
                        <a:pt x="193937" y="160978"/>
                      </a:cubicBezTo>
                      <a:cubicBezTo>
                        <a:pt x="193937" y="154726"/>
                        <a:pt x="206441" y="160978"/>
                        <a:pt x="206441" y="154726"/>
                      </a:cubicBezTo>
                      <a:cubicBezTo>
                        <a:pt x="212692" y="148475"/>
                        <a:pt x="206441" y="142223"/>
                        <a:pt x="206441" y="142223"/>
                      </a:cubicBezTo>
                      <a:cubicBezTo>
                        <a:pt x="206441" y="129720"/>
                        <a:pt x="218944" y="135971"/>
                        <a:pt x="218944" y="135971"/>
                      </a:cubicBezTo>
                      <a:cubicBezTo>
                        <a:pt x="218944" y="129720"/>
                        <a:pt x="200189" y="123468"/>
                        <a:pt x="212692" y="117217"/>
                      </a:cubicBezTo>
                      <a:cubicBezTo>
                        <a:pt x="218944" y="110965"/>
                        <a:pt x="218944" y="104714"/>
                        <a:pt x="206441" y="98462"/>
                      </a:cubicBezTo>
                      <a:cubicBezTo>
                        <a:pt x="200189" y="92211"/>
                        <a:pt x="212692" y="79707"/>
                        <a:pt x="206441" y="73456"/>
                      </a:cubicBezTo>
                      <a:cubicBezTo>
                        <a:pt x="200189" y="67204"/>
                        <a:pt x="206441" y="60953"/>
                        <a:pt x="200189" y="48450"/>
                      </a:cubicBezTo>
                      <a:cubicBezTo>
                        <a:pt x="193937" y="42198"/>
                        <a:pt x="181434" y="-1563"/>
                        <a:pt x="162541" y="10940"/>
                      </a:cubicBezTo>
                      <a:cubicBezTo>
                        <a:pt x="162541" y="10940"/>
                        <a:pt x="156289" y="17192"/>
                        <a:pt x="150037" y="17192"/>
                      </a:cubicBezTo>
                      <a:cubicBezTo>
                        <a:pt x="143786" y="17192"/>
                        <a:pt x="143786" y="17192"/>
                        <a:pt x="137534" y="17192"/>
                      </a:cubicBezTo>
                      <a:cubicBezTo>
                        <a:pt x="131283" y="23443"/>
                        <a:pt x="125031" y="17192"/>
                        <a:pt x="118780" y="17192"/>
                      </a:cubicBezTo>
                      <a:cubicBezTo>
                        <a:pt x="112528" y="17192"/>
                        <a:pt x="112528" y="23443"/>
                        <a:pt x="112528" y="17192"/>
                      </a:cubicBezTo>
                      <a:cubicBezTo>
                        <a:pt x="100025" y="10940"/>
                        <a:pt x="106277" y="10940"/>
                        <a:pt x="93773" y="10940"/>
                      </a:cubicBezTo>
                      <a:cubicBezTo>
                        <a:pt x="75019" y="17192"/>
                        <a:pt x="75019" y="4689"/>
                        <a:pt x="62516" y="4689"/>
                      </a:cubicBezTo>
                      <a:cubicBezTo>
                        <a:pt x="50012" y="-1563"/>
                        <a:pt x="37509" y="-1563"/>
                        <a:pt x="31258" y="4689"/>
                      </a:cubicBezTo>
                      <a:cubicBezTo>
                        <a:pt x="31258" y="10940"/>
                        <a:pt x="18755" y="17192"/>
                        <a:pt x="31258" y="23443"/>
                      </a:cubicBezTo>
                      <a:cubicBezTo>
                        <a:pt x="37509" y="29695"/>
                        <a:pt x="31258" y="35946"/>
                        <a:pt x="18755" y="35946"/>
                      </a:cubicBezTo>
                      <a:cubicBezTo>
                        <a:pt x="6252" y="35946"/>
                        <a:pt x="0" y="35946"/>
                        <a:pt x="0" y="48450"/>
                      </a:cubicBezTo>
                      <a:cubicBezTo>
                        <a:pt x="6252" y="60953"/>
                        <a:pt x="12503" y="67204"/>
                        <a:pt x="18755" y="79707"/>
                      </a:cubicBezTo>
                      <a:cubicBezTo>
                        <a:pt x="31258" y="92211"/>
                        <a:pt x="37509" y="98462"/>
                        <a:pt x="50012" y="117217"/>
                      </a:cubicBezTo>
                      <a:cubicBezTo>
                        <a:pt x="56264" y="110965"/>
                        <a:pt x="56264" y="104714"/>
                        <a:pt x="62516" y="98462"/>
                      </a:cubicBezTo>
                      <a:cubicBezTo>
                        <a:pt x="68767" y="98462"/>
                        <a:pt x="62516" y="104714"/>
                        <a:pt x="62516" y="98462"/>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09" name="Freihandform: Form 408">
                  <a:extLst>
                    <a:ext uri="{FF2B5EF4-FFF2-40B4-BE49-F238E27FC236}">
                      <a16:creationId xmlns:a16="http://schemas.microsoft.com/office/drawing/2014/main" id="{0C4996D0-F42B-4CD0-8991-FC34D09CE76D}"/>
                    </a:ext>
                  </a:extLst>
                </p:cNvPr>
                <p:cNvSpPr/>
                <p:nvPr/>
              </p:nvSpPr>
              <p:spPr>
                <a:xfrm>
                  <a:off x="5575503" y="4145735"/>
                  <a:ext cx="94872" cy="38064"/>
                </a:xfrm>
                <a:custGeom>
                  <a:avLst/>
                  <a:gdLst>
                    <a:gd name="connsiteX0" fmla="*/ 65572 w 94872"/>
                    <a:gd name="connsiteY0" fmla="*/ 27229 h 38064"/>
                    <a:gd name="connsiteX1" fmla="*/ 91829 w 94872"/>
                    <a:gd name="connsiteY1" fmla="*/ 16393 h 38064"/>
                    <a:gd name="connsiteX2" fmla="*/ 91829 w 94872"/>
                    <a:gd name="connsiteY2" fmla="*/ 0 h 38064"/>
                    <a:gd name="connsiteX3" fmla="*/ 45984 w 94872"/>
                    <a:gd name="connsiteY3" fmla="*/ 0 h 38064"/>
                    <a:gd name="connsiteX4" fmla="*/ 26257 w 94872"/>
                    <a:gd name="connsiteY4" fmla="*/ 0 h 38064"/>
                    <a:gd name="connsiteX5" fmla="*/ 0 w 94872"/>
                    <a:gd name="connsiteY5" fmla="*/ 5418 h 38064"/>
                    <a:gd name="connsiteX6" fmla="*/ 19727 w 94872"/>
                    <a:gd name="connsiteY6" fmla="*/ 16254 h 38064"/>
                    <a:gd name="connsiteX7" fmla="*/ 45984 w 94872"/>
                    <a:gd name="connsiteY7" fmla="*/ 16254 h 38064"/>
                    <a:gd name="connsiteX8" fmla="*/ 59043 w 94872"/>
                    <a:gd name="connsiteY8" fmla="*/ 38065 h 38064"/>
                    <a:gd name="connsiteX9" fmla="*/ 65572 w 94872"/>
                    <a:gd name="connsiteY9" fmla="*/ 27229 h 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872" h="38064">
                      <a:moveTo>
                        <a:pt x="65572" y="27229"/>
                      </a:moveTo>
                      <a:cubicBezTo>
                        <a:pt x="72102" y="27229"/>
                        <a:pt x="104887" y="27229"/>
                        <a:pt x="91829" y="16393"/>
                      </a:cubicBezTo>
                      <a:cubicBezTo>
                        <a:pt x="78770" y="10975"/>
                        <a:pt x="91829" y="5557"/>
                        <a:pt x="91829" y="0"/>
                      </a:cubicBezTo>
                      <a:cubicBezTo>
                        <a:pt x="78770" y="0"/>
                        <a:pt x="59043" y="0"/>
                        <a:pt x="45984" y="0"/>
                      </a:cubicBezTo>
                      <a:cubicBezTo>
                        <a:pt x="32925" y="0"/>
                        <a:pt x="32925" y="5418"/>
                        <a:pt x="26257" y="0"/>
                      </a:cubicBezTo>
                      <a:cubicBezTo>
                        <a:pt x="13198" y="0"/>
                        <a:pt x="13198" y="0"/>
                        <a:pt x="0" y="5418"/>
                      </a:cubicBezTo>
                      <a:cubicBezTo>
                        <a:pt x="6530" y="10836"/>
                        <a:pt x="6530" y="16254"/>
                        <a:pt x="19727" y="16254"/>
                      </a:cubicBezTo>
                      <a:cubicBezTo>
                        <a:pt x="26257" y="16254"/>
                        <a:pt x="45984" y="16254"/>
                        <a:pt x="45984" y="16254"/>
                      </a:cubicBezTo>
                      <a:cubicBezTo>
                        <a:pt x="32925" y="27090"/>
                        <a:pt x="45984" y="32647"/>
                        <a:pt x="59043" y="38065"/>
                      </a:cubicBezTo>
                      <a:cubicBezTo>
                        <a:pt x="59043" y="38065"/>
                        <a:pt x="59043" y="27229"/>
                        <a:pt x="65572" y="27229"/>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0" name="Freihandform: Form 409">
                  <a:extLst>
                    <a:ext uri="{FF2B5EF4-FFF2-40B4-BE49-F238E27FC236}">
                      <a16:creationId xmlns:a16="http://schemas.microsoft.com/office/drawing/2014/main" id="{8DACE5A2-4077-427E-863A-8F8C9DB87DE5}"/>
                    </a:ext>
                  </a:extLst>
                </p:cNvPr>
                <p:cNvSpPr/>
                <p:nvPr/>
              </p:nvSpPr>
              <p:spPr>
                <a:xfrm>
                  <a:off x="5575643" y="4103935"/>
                  <a:ext cx="85715" cy="22906"/>
                </a:xfrm>
                <a:custGeom>
                  <a:avLst/>
                  <a:gdLst>
                    <a:gd name="connsiteX0" fmla="*/ 22783 w 85715"/>
                    <a:gd name="connsiteY0" fmla="*/ 22767 h 22906"/>
                    <a:gd name="connsiteX1" fmla="*/ 51402 w 85715"/>
                    <a:gd name="connsiteY1" fmla="*/ 15682 h 22906"/>
                    <a:gd name="connsiteX2" fmla="*/ 85716 w 85715"/>
                    <a:gd name="connsiteY2" fmla="*/ 8597 h 22906"/>
                    <a:gd name="connsiteX3" fmla="*/ 45706 w 85715"/>
                    <a:gd name="connsiteY3" fmla="*/ 1512 h 22906"/>
                    <a:gd name="connsiteX4" fmla="*/ 0 w 85715"/>
                    <a:gd name="connsiteY4" fmla="*/ 22906 h 22906"/>
                    <a:gd name="connsiteX5" fmla="*/ 22783 w 85715"/>
                    <a:gd name="connsiteY5" fmla="*/ 22767 h 22906"/>
                    <a:gd name="connsiteX6" fmla="*/ 22783 w 85715"/>
                    <a:gd name="connsiteY6" fmla="*/ 22767 h 2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15" h="22906">
                      <a:moveTo>
                        <a:pt x="22783" y="22767"/>
                      </a:moveTo>
                      <a:cubicBezTo>
                        <a:pt x="34175" y="15682"/>
                        <a:pt x="40010" y="8458"/>
                        <a:pt x="51402" y="15682"/>
                      </a:cubicBezTo>
                      <a:cubicBezTo>
                        <a:pt x="57098" y="15682"/>
                        <a:pt x="80020" y="22767"/>
                        <a:pt x="85716" y="8597"/>
                      </a:cubicBezTo>
                      <a:cubicBezTo>
                        <a:pt x="85716" y="15682"/>
                        <a:pt x="51402" y="-5712"/>
                        <a:pt x="45706" y="1512"/>
                      </a:cubicBezTo>
                      <a:cubicBezTo>
                        <a:pt x="28479" y="8597"/>
                        <a:pt x="5696" y="-5573"/>
                        <a:pt x="0" y="22906"/>
                      </a:cubicBezTo>
                      <a:cubicBezTo>
                        <a:pt x="11392" y="22767"/>
                        <a:pt x="17088" y="22767"/>
                        <a:pt x="22783" y="22767"/>
                      </a:cubicBezTo>
                      <a:cubicBezTo>
                        <a:pt x="28479" y="22767"/>
                        <a:pt x="22783" y="22767"/>
                        <a:pt x="22783" y="2276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1" name="Freihandform: Form 410">
                  <a:extLst>
                    <a:ext uri="{FF2B5EF4-FFF2-40B4-BE49-F238E27FC236}">
                      <a16:creationId xmlns:a16="http://schemas.microsoft.com/office/drawing/2014/main" id="{0F07AEA4-690E-4049-9DB5-868BC83F1C8E}"/>
                    </a:ext>
                  </a:extLst>
                </p:cNvPr>
                <p:cNvSpPr/>
                <p:nvPr/>
              </p:nvSpPr>
              <p:spPr>
                <a:xfrm>
                  <a:off x="5560968" y="3659503"/>
                  <a:ext cx="376709" cy="414869"/>
                </a:xfrm>
                <a:custGeom>
                  <a:avLst/>
                  <a:gdLst>
                    <a:gd name="connsiteX0" fmla="*/ 27317 w 376709"/>
                    <a:gd name="connsiteY0" fmla="*/ 359673 h 414869"/>
                    <a:gd name="connsiteX1" fmla="*/ 90805 w 376709"/>
                    <a:gd name="connsiteY1" fmla="*/ 359673 h 414869"/>
                    <a:gd name="connsiteX2" fmla="*/ 109838 w 376709"/>
                    <a:gd name="connsiteY2" fmla="*/ 372315 h 414869"/>
                    <a:gd name="connsiteX3" fmla="*/ 128870 w 376709"/>
                    <a:gd name="connsiteY3" fmla="*/ 397599 h 414869"/>
                    <a:gd name="connsiteX4" fmla="*/ 166935 w 376709"/>
                    <a:gd name="connsiteY4" fmla="*/ 403851 h 414869"/>
                    <a:gd name="connsiteX5" fmla="*/ 198749 w 376709"/>
                    <a:gd name="connsiteY5" fmla="*/ 403851 h 414869"/>
                    <a:gd name="connsiteX6" fmla="*/ 217781 w 376709"/>
                    <a:gd name="connsiteY6" fmla="*/ 391209 h 414869"/>
                    <a:gd name="connsiteX7" fmla="*/ 243204 w 376709"/>
                    <a:gd name="connsiteY7" fmla="*/ 391209 h 414869"/>
                    <a:gd name="connsiteX8" fmla="*/ 275018 w 376709"/>
                    <a:gd name="connsiteY8" fmla="*/ 384957 h 414869"/>
                    <a:gd name="connsiteX9" fmla="*/ 332254 w 376709"/>
                    <a:gd name="connsiteY9" fmla="*/ 384957 h 414869"/>
                    <a:gd name="connsiteX10" fmla="*/ 364068 w 376709"/>
                    <a:gd name="connsiteY10" fmla="*/ 384957 h 414869"/>
                    <a:gd name="connsiteX11" fmla="*/ 364068 w 376709"/>
                    <a:gd name="connsiteY11" fmla="*/ 340779 h 414869"/>
                    <a:gd name="connsiteX12" fmla="*/ 351287 w 376709"/>
                    <a:gd name="connsiteY12" fmla="*/ 239782 h 414869"/>
                    <a:gd name="connsiteX13" fmla="*/ 325864 w 376709"/>
                    <a:gd name="connsiteY13" fmla="*/ 75713 h 414869"/>
                    <a:gd name="connsiteX14" fmla="*/ 376710 w 376709"/>
                    <a:gd name="connsiteY14" fmla="*/ 75713 h 414869"/>
                    <a:gd name="connsiteX15" fmla="*/ 268627 w 376709"/>
                    <a:gd name="connsiteY15" fmla="*/ 0 h 414869"/>
                    <a:gd name="connsiteX16" fmla="*/ 262237 w 376709"/>
                    <a:gd name="connsiteY16" fmla="*/ 44178 h 414869"/>
                    <a:gd name="connsiteX17" fmla="*/ 230423 w 376709"/>
                    <a:gd name="connsiteY17" fmla="*/ 44178 h 414869"/>
                    <a:gd name="connsiteX18" fmla="*/ 179577 w 376709"/>
                    <a:gd name="connsiteY18" fmla="*/ 44178 h 414869"/>
                    <a:gd name="connsiteX19" fmla="*/ 160545 w 376709"/>
                    <a:gd name="connsiteY19" fmla="*/ 44178 h 414869"/>
                    <a:gd name="connsiteX20" fmla="*/ 160545 w 376709"/>
                    <a:gd name="connsiteY20" fmla="*/ 75713 h 414869"/>
                    <a:gd name="connsiteX21" fmla="*/ 160545 w 376709"/>
                    <a:gd name="connsiteY21" fmla="*/ 119891 h 414869"/>
                    <a:gd name="connsiteX22" fmla="*/ 122480 w 376709"/>
                    <a:gd name="connsiteY22" fmla="*/ 157678 h 414869"/>
                    <a:gd name="connsiteX23" fmla="*/ 122480 w 376709"/>
                    <a:gd name="connsiteY23" fmla="*/ 201856 h 414869"/>
                    <a:gd name="connsiteX24" fmla="*/ 97057 w 376709"/>
                    <a:gd name="connsiteY24" fmla="*/ 201856 h 414869"/>
                    <a:gd name="connsiteX25" fmla="*/ 14397 w 376709"/>
                    <a:gd name="connsiteY25" fmla="*/ 201856 h 414869"/>
                    <a:gd name="connsiteX26" fmla="*/ 1755 w 376709"/>
                    <a:gd name="connsiteY26" fmla="*/ 208107 h 414869"/>
                    <a:gd name="connsiteX27" fmla="*/ 20787 w 376709"/>
                    <a:gd name="connsiteY27" fmla="*/ 227001 h 414869"/>
                    <a:gd name="connsiteX28" fmla="*/ 14397 w 376709"/>
                    <a:gd name="connsiteY28" fmla="*/ 258537 h 414869"/>
                    <a:gd name="connsiteX29" fmla="*/ 33430 w 376709"/>
                    <a:gd name="connsiteY29" fmla="*/ 302714 h 414869"/>
                    <a:gd name="connsiteX30" fmla="*/ 14397 w 376709"/>
                    <a:gd name="connsiteY30" fmla="*/ 365786 h 414869"/>
                    <a:gd name="connsiteX31" fmla="*/ 27317 w 376709"/>
                    <a:gd name="connsiteY31" fmla="*/ 359673 h 41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6709" h="414869">
                      <a:moveTo>
                        <a:pt x="27317" y="359673"/>
                      </a:moveTo>
                      <a:cubicBezTo>
                        <a:pt x="40098" y="359673"/>
                        <a:pt x="78163" y="347031"/>
                        <a:pt x="90805" y="359673"/>
                      </a:cubicBezTo>
                      <a:cubicBezTo>
                        <a:pt x="97195" y="365925"/>
                        <a:pt x="103447" y="365925"/>
                        <a:pt x="109838" y="372315"/>
                      </a:cubicBezTo>
                      <a:cubicBezTo>
                        <a:pt x="116228" y="384957"/>
                        <a:pt x="122480" y="391209"/>
                        <a:pt x="128870" y="397599"/>
                      </a:cubicBezTo>
                      <a:cubicBezTo>
                        <a:pt x="135261" y="403851"/>
                        <a:pt x="160684" y="429135"/>
                        <a:pt x="166935" y="403851"/>
                      </a:cubicBezTo>
                      <a:cubicBezTo>
                        <a:pt x="173326" y="366064"/>
                        <a:pt x="185968" y="410102"/>
                        <a:pt x="198749" y="403851"/>
                      </a:cubicBezTo>
                      <a:cubicBezTo>
                        <a:pt x="205139" y="391209"/>
                        <a:pt x="205139" y="391209"/>
                        <a:pt x="217781" y="391209"/>
                      </a:cubicBezTo>
                      <a:cubicBezTo>
                        <a:pt x="230562" y="391209"/>
                        <a:pt x="236814" y="391209"/>
                        <a:pt x="243204" y="391209"/>
                      </a:cubicBezTo>
                      <a:cubicBezTo>
                        <a:pt x="255846" y="384957"/>
                        <a:pt x="268627" y="384957"/>
                        <a:pt x="275018" y="384957"/>
                      </a:cubicBezTo>
                      <a:cubicBezTo>
                        <a:pt x="294050" y="384957"/>
                        <a:pt x="313083" y="384957"/>
                        <a:pt x="332254" y="384957"/>
                      </a:cubicBezTo>
                      <a:cubicBezTo>
                        <a:pt x="338645" y="384957"/>
                        <a:pt x="357677" y="391209"/>
                        <a:pt x="364068" y="384957"/>
                      </a:cubicBezTo>
                      <a:cubicBezTo>
                        <a:pt x="370458" y="384957"/>
                        <a:pt x="364068" y="347170"/>
                        <a:pt x="364068" y="340779"/>
                      </a:cubicBezTo>
                      <a:cubicBezTo>
                        <a:pt x="357677" y="302992"/>
                        <a:pt x="351287" y="271457"/>
                        <a:pt x="351287" y="239782"/>
                      </a:cubicBezTo>
                      <a:cubicBezTo>
                        <a:pt x="344896" y="182962"/>
                        <a:pt x="332254" y="132533"/>
                        <a:pt x="325864" y="75713"/>
                      </a:cubicBezTo>
                      <a:cubicBezTo>
                        <a:pt x="344896" y="75713"/>
                        <a:pt x="363929" y="75713"/>
                        <a:pt x="376710" y="75713"/>
                      </a:cubicBezTo>
                      <a:cubicBezTo>
                        <a:pt x="338645" y="50429"/>
                        <a:pt x="300441" y="25284"/>
                        <a:pt x="268627" y="0"/>
                      </a:cubicBezTo>
                      <a:cubicBezTo>
                        <a:pt x="268627" y="6252"/>
                        <a:pt x="268627" y="44178"/>
                        <a:pt x="262237" y="44178"/>
                      </a:cubicBezTo>
                      <a:cubicBezTo>
                        <a:pt x="255846" y="44178"/>
                        <a:pt x="243204" y="44178"/>
                        <a:pt x="230423" y="44178"/>
                      </a:cubicBezTo>
                      <a:cubicBezTo>
                        <a:pt x="217642" y="44178"/>
                        <a:pt x="198610" y="44178"/>
                        <a:pt x="179577" y="44178"/>
                      </a:cubicBezTo>
                      <a:lnTo>
                        <a:pt x="160545" y="44178"/>
                      </a:lnTo>
                      <a:cubicBezTo>
                        <a:pt x="154154" y="50429"/>
                        <a:pt x="160545" y="69462"/>
                        <a:pt x="160545" y="75713"/>
                      </a:cubicBezTo>
                      <a:cubicBezTo>
                        <a:pt x="160545" y="88355"/>
                        <a:pt x="160545" y="107249"/>
                        <a:pt x="160545" y="119891"/>
                      </a:cubicBezTo>
                      <a:cubicBezTo>
                        <a:pt x="160545" y="138785"/>
                        <a:pt x="122480" y="132533"/>
                        <a:pt x="122480" y="157678"/>
                      </a:cubicBezTo>
                      <a:cubicBezTo>
                        <a:pt x="122480" y="163930"/>
                        <a:pt x="128870" y="195466"/>
                        <a:pt x="122480" y="201856"/>
                      </a:cubicBezTo>
                      <a:cubicBezTo>
                        <a:pt x="122480" y="201856"/>
                        <a:pt x="103447" y="201856"/>
                        <a:pt x="97057" y="201856"/>
                      </a:cubicBezTo>
                      <a:cubicBezTo>
                        <a:pt x="71634" y="201856"/>
                        <a:pt x="39820" y="201856"/>
                        <a:pt x="14397" y="201856"/>
                      </a:cubicBezTo>
                      <a:cubicBezTo>
                        <a:pt x="8007" y="201856"/>
                        <a:pt x="-4635" y="195604"/>
                        <a:pt x="1755" y="208107"/>
                      </a:cubicBezTo>
                      <a:cubicBezTo>
                        <a:pt x="8146" y="214359"/>
                        <a:pt x="14397" y="220750"/>
                        <a:pt x="20787" y="227001"/>
                      </a:cubicBezTo>
                      <a:cubicBezTo>
                        <a:pt x="27178" y="239643"/>
                        <a:pt x="20787" y="252285"/>
                        <a:pt x="14397" y="258537"/>
                      </a:cubicBezTo>
                      <a:cubicBezTo>
                        <a:pt x="14397" y="277430"/>
                        <a:pt x="33430" y="283821"/>
                        <a:pt x="33430" y="302714"/>
                      </a:cubicBezTo>
                      <a:cubicBezTo>
                        <a:pt x="39820" y="321608"/>
                        <a:pt x="20787" y="346892"/>
                        <a:pt x="14397" y="365786"/>
                      </a:cubicBezTo>
                      <a:cubicBezTo>
                        <a:pt x="20926" y="365925"/>
                        <a:pt x="20926" y="359673"/>
                        <a:pt x="27317" y="35967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2" name="Freihandform: Form 411">
                  <a:extLst>
                    <a:ext uri="{FF2B5EF4-FFF2-40B4-BE49-F238E27FC236}">
                      <a16:creationId xmlns:a16="http://schemas.microsoft.com/office/drawing/2014/main" id="{46638AB4-9569-4191-9CC0-54120108EEA5}"/>
                    </a:ext>
                  </a:extLst>
                </p:cNvPr>
                <p:cNvSpPr/>
                <p:nvPr/>
              </p:nvSpPr>
              <p:spPr>
                <a:xfrm>
                  <a:off x="5561428" y="4015703"/>
                  <a:ext cx="176338" cy="135894"/>
                </a:xfrm>
                <a:custGeom>
                  <a:avLst/>
                  <a:gdLst>
                    <a:gd name="connsiteX0" fmla="*/ 45056 w 176338"/>
                    <a:gd name="connsiteY0" fmla="*/ 133367 h 135894"/>
                    <a:gd name="connsiteX1" fmla="*/ 57559 w 176338"/>
                    <a:gd name="connsiteY1" fmla="*/ 127115 h 135894"/>
                    <a:gd name="connsiteX2" fmla="*/ 88817 w 176338"/>
                    <a:gd name="connsiteY2" fmla="*/ 127115 h 135894"/>
                    <a:gd name="connsiteX3" fmla="*/ 138829 w 176338"/>
                    <a:gd name="connsiteY3" fmla="*/ 127115 h 135894"/>
                    <a:gd name="connsiteX4" fmla="*/ 163835 w 176338"/>
                    <a:gd name="connsiteY4" fmla="*/ 133367 h 135894"/>
                    <a:gd name="connsiteX5" fmla="*/ 176338 w 176338"/>
                    <a:gd name="connsiteY5" fmla="*/ 114751 h 135894"/>
                    <a:gd name="connsiteX6" fmla="*/ 151332 w 176338"/>
                    <a:gd name="connsiteY6" fmla="*/ 83632 h 135894"/>
                    <a:gd name="connsiteX7" fmla="*/ 151332 w 176338"/>
                    <a:gd name="connsiteY7" fmla="*/ 58765 h 135894"/>
                    <a:gd name="connsiteX8" fmla="*/ 113823 w 176338"/>
                    <a:gd name="connsiteY8" fmla="*/ 21394 h 135894"/>
                    <a:gd name="connsiteX9" fmla="*/ 51307 w 176338"/>
                    <a:gd name="connsiteY9" fmla="*/ 2778 h 135894"/>
                    <a:gd name="connsiteX10" fmla="*/ 26301 w 176338"/>
                    <a:gd name="connsiteY10" fmla="*/ 2778 h 135894"/>
                    <a:gd name="connsiteX11" fmla="*/ 7546 w 176338"/>
                    <a:gd name="connsiteY11" fmla="*/ 33897 h 135894"/>
                    <a:gd name="connsiteX12" fmla="*/ 1295 w 176338"/>
                    <a:gd name="connsiteY12" fmla="*/ 58765 h 135894"/>
                    <a:gd name="connsiteX13" fmla="*/ 7546 w 176338"/>
                    <a:gd name="connsiteY13" fmla="*/ 71129 h 135894"/>
                    <a:gd name="connsiteX14" fmla="*/ 7546 w 176338"/>
                    <a:gd name="connsiteY14" fmla="*/ 83493 h 135894"/>
                    <a:gd name="connsiteX15" fmla="*/ 20049 w 176338"/>
                    <a:gd name="connsiteY15" fmla="*/ 89745 h 135894"/>
                    <a:gd name="connsiteX16" fmla="*/ 51307 w 176338"/>
                    <a:gd name="connsiteY16" fmla="*/ 89745 h 135894"/>
                    <a:gd name="connsiteX17" fmla="*/ 57559 w 176338"/>
                    <a:gd name="connsiteY17" fmla="*/ 83493 h 135894"/>
                    <a:gd name="connsiteX18" fmla="*/ 101320 w 176338"/>
                    <a:gd name="connsiteY18" fmla="*/ 95996 h 135894"/>
                    <a:gd name="connsiteX19" fmla="*/ 63810 w 176338"/>
                    <a:gd name="connsiteY19" fmla="*/ 102248 h 135894"/>
                    <a:gd name="connsiteX20" fmla="*/ 32553 w 176338"/>
                    <a:gd name="connsiteY20" fmla="*/ 108499 h 135894"/>
                    <a:gd name="connsiteX21" fmla="*/ 13798 w 176338"/>
                    <a:gd name="connsiteY21" fmla="*/ 127115 h 135894"/>
                    <a:gd name="connsiteX22" fmla="*/ 26301 w 176338"/>
                    <a:gd name="connsiteY22" fmla="*/ 127115 h 135894"/>
                    <a:gd name="connsiteX23" fmla="*/ 45056 w 176338"/>
                    <a:gd name="connsiteY23" fmla="*/ 133367 h 13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6338" h="135894">
                      <a:moveTo>
                        <a:pt x="45056" y="133367"/>
                      </a:moveTo>
                      <a:cubicBezTo>
                        <a:pt x="51307" y="133367"/>
                        <a:pt x="51307" y="127115"/>
                        <a:pt x="57559" y="127115"/>
                      </a:cubicBezTo>
                      <a:cubicBezTo>
                        <a:pt x="70062" y="127115"/>
                        <a:pt x="76313" y="127115"/>
                        <a:pt x="88817" y="127115"/>
                      </a:cubicBezTo>
                      <a:cubicBezTo>
                        <a:pt x="101320" y="127115"/>
                        <a:pt x="120074" y="120863"/>
                        <a:pt x="138829" y="127115"/>
                      </a:cubicBezTo>
                      <a:cubicBezTo>
                        <a:pt x="145081" y="133367"/>
                        <a:pt x="151332" y="139479"/>
                        <a:pt x="163835" y="133367"/>
                      </a:cubicBezTo>
                      <a:cubicBezTo>
                        <a:pt x="176338" y="133367"/>
                        <a:pt x="176338" y="127115"/>
                        <a:pt x="176338" y="114751"/>
                      </a:cubicBezTo>
                      <a:cubicBezTo>
                        <a:pt x="176338" y="102387"/>
                        <a:pt x="151332" y="96135"/>
                        <a:pt x="151332" y="83632"/>
                      </a:cubicBezTo>
                      <a:lnTo>
                        <a:pt x="151332" y="58765"/>
                      </a:lnTo>
                      <a:cubicBezTo>
                        <a:pt x="145081" y="58765"/>
                        <a:pt x="120074" y="27646"/>
                        <a:pt x="113823" y="21394"/>
                      </a:cubicBezTo>
                      <a:cubicBezTo>
                        <a:pt x="95068" y="2778"/>
                        <a:pt x="76313" y="-3473"/>
                        <a:pt x="51307" y="2778"/>
                      </a:cubicBezTo>
                      <a:cubicBezTo>
                        <a:pt x="45056" y="2778"/>
                        <a:pt x="26301" y="-3473"/>
                        <a:pt x="26301" y="2778"/>
                      </a:cubicBezTo>
                      <a:cubicBezTo>
                        <a:pt x="20049" y="9030"/>
                        <a:pt x="7546" y="21394"/>
                        <a:pt x="7546" y="33897"/>
                      </a:cubicBezTo>
                      <a:cubicBezTo>
                        <a:pt x="13798" y="46262"/>
                        <a:pt x="13798" y="52513"/>
                        <a:pt x="1295" y="58765"/>
                      </a:cubicBezTo>
                      <a:cubicBezTo>
                        <a:pt x="-4957" y="58765"/>
                        <a:pt x="13798" y="71129"/>
                        <a:pt x="7546" y="71129"/>
                      </a:cubicBezTo>
                      <a:cubicBezTo>
                        <a:pt x="20049" y="77380"/>
                        <a:pt x="7546" y="77380"/>
                        <a:pt x="7546" y="83493"/>
                      </a:cubicBezTo>
                      <a:cubicBezTo>
                        <a:pt x="7546" y="83493"/>
                        <a:pt x="13798" y="89745"/>
                        <a:pt x="20049" y="89745"/>
                      </a:cubicBezTo>
                      <a:cubicBezTo>
                        <a:pt x="20049" y="95996"/>
                        <a:pt x="45056" y="89745"/>
                        <a:pt x="51307" y="89745"/>
                      </a:cubicBezTo>
                      <a:cubicBezTo>
                        <a:pt x="57559" y="89745"/>
                        <a:pt x="57559" y="83493"/>
                        <a:pt x="57559" y="83493"/>
                      </a:cubicBezTo>
                      <a:cubicBezTo>
                        <a:pt x="63810" y="83493"/>
                        <a:pt x="101320" y="102109"/>
                        <a:pt x="101320" y="95996"/>
                      </a:cubicBezTo>
                      <a:cubicBezTo>
                        <a:pt x="95068" y="108360"/>
                        <a:pt x="70062" y="102248"/>
                        <a:pt x="63810" y="102248"/>
                      </a:cubicBezTo>
                      <a:cubicBezTo>
                        <a:pt x="51307" y="95996"/>
                        <a:pt x="45056" y="108499"/>
                        <a:pt x="32553" y="108499"/>
                      </a:cubicBezTo>
                      <a:cubicBezTo>
                        <a:pt x="13798" y="108499"/>
                        <a:pt x="1295" y="108499"/>
                        <a:pt x="13798" y="127115"/>
                      </a:cubicBezTo>
                      <a:cubicBezTo>
                        <a:pt x="13798" y="133367"/>
                        <a:pt x="20049" y="127115"/>
                        <a:pt x="26301" y="127115"/>
                      </a:cubicBezTo>
                      <a:cubicBezTo>
                        <a:pt x="32553" y="127115"/>
                        <a:pt x="38804" y="133367"/>
                        <a:pt x="45056" y="13336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3" name="Freihandform: Form 412">
                  <a:extLst>
                    <a:ext uri="{FF2B5EF4-FFF2-40B4-BE49-F238E27FC236}">
                      <a16:creationId xmlns:a16="http://schemas.microsoft.com/office/drawing/2014/main" id="{95CFA390-2B28-471B-8F82-C6D06F192EC8}"/>
                    </a:ext>
                  </a:extLst>
                </p:cNvPr>
                <p:cNvSpPr/>
                <p:nvPr/>
              </p:nvSpPr>
              <p:spPr>
                <a:xfrm>
                  <a:off x="5718456" y="3739161"/>
                  <a:ext cx="514211" cy="481141"/>
                </a:xfrm>
                <a:custGeom>
                  <a:avLst/>
                  <a:gdLst>
                    <a:gd name="connsiteX0" fmla="*/ 168653 w 514211"/>
                    <a:gd name="connsiteY0" fmla="*/ 2863 h 481141"/>
                    <a:gd name="connsiteX1" fmla="*/ 206162 w 514211"/>
                    <a:gd name="connsiteY1" fmla="*/ 277098 h 481141"/>
                    <a:gd name="connsiteX2" fmla="*/ 199911 w 514211"/>
                    <a:gd name="connsiteY2" fmla="*/ 308217 h 481141"/>
                    <a:gd name="connsiteX3" fmla="*/ 118780 w 514211"/>
                    <a:gd name="connsiteY3" fmla="*/ 308217 h 481141"/>
                    <a:gd name="connsiteX4" fmla="*/ 93773 w 514211"/>
                    <a:gd name="connsiteY4" fmla="*/ 308217 h 481141"/>
                    <a:gd name="connsiteX5" fmla="*/ 75019 w 514211"/>
                    <a:gd name="connsiteY5" fmla="*/ 314468 h 481141"/>
                    <a:gd name="connsiteX6" fmla="*/ 50012 w 514211"/>
                    <a:gd name="connsiteY6" fmla="*/ 314468 h 481141"/>
                    <a:gd name="connsiteX7" fmla="*/ 37509 w 514211"/>
                    <a:gd name="connsiteY7" fmla="*/ 320720 h 481141"/>
                    <a:gd name="connsiteX8" fmla="*/ 18755 w 514211"/>
                    <a:gd name="connsiteY8" fmla="*/ 308217 h 481141"/>
                    <a:gd name="connsiteX9" fmla="*/ 0 w 514211"/>
                    <a:gd name="connsiteY9" fmla="*/ 339335 h 481141"/>
                    <a:gd name="connsiteX10" fmla="*/ 0 w 514211"/>
                    <a:gd name="connsiteY10" fmla="*/ 364203 h 481141"/>
                    <a:gd name="connsiteX11" fmla="*/ 18755 w 514211"/>
                    <a:gd name="connsiteY11" fmla="*/ 389070 h 481141"/>
                    <a:gd name="connsiteX12" fmla="*/ 25006 w 514211"/>
                    <a:gd name="connsiteY12" fmla="*/ 414076 h 481141"/>
                    <a:gd name="connsiteX13" fmla="*/ 43761 w 514211"/>
                    <a:gd name="connsiteY13" fmla="*/ 420328 h 481141"/>
                    <a:gd name="connsiteX14" fmla="*/ 68767 w 514211"/>
                    <a:gd name="connsiteY14" fmla="*/ 420328 h 481141"/>
                    <a:gd name="connsiteX15" fmla="*/ 93773 w 514211"/>
                    <a:gd name="connsiteY15" fmla="*/ 407825 h 481141"/>
                    <a:gd name="connsiteX16" fmla="*/ 125031 w 514211"/>
                    <a:gd name="connsiteY16" fmla="*/ 463950 h 481141"/>
                    <a:gd name="connsiteX17" fmla="*/ 125031 w 514211"/>
                    <a:gd name="connsiteY17" fmla="*/ 476453 h 481141"/>
                    <a:gd name="connsiteX18" fmla="*/ 143786 w 514211"/>
                    <a:gd name="connsiteY18" fmla="*/ 476453 h 481141"/>
                    <a:gd name="connsiteX19" fmla="*/ 168792 w 514211"/>
                    <a:gd name="connsiteY19" fmla="*/ 476453 h 481141"/>
                    <a:gd name="connsiteX20" fmla="*/ 187547 w 514211"/>
                    <a:gd name="connsiteY20" fmla="*/ 476453 h 481141"/>
                    <a:gd name="connsiteX21" fmla="*/ 218805 w 514211"/>
                    <a:gd name="connsiteY21" fmla="*/ 439083 h 481141"/>
                    <a:gd name="connsiteX22" fmla="*/ 218805 w 514211"/>
                    <a:gd name="connsiteY22" fmla="*/ 426579 h 481141"/>
                    <a:gd name="connsiteX23" fmla="*/ 243811 w 514211"/>
                    <a:gd name="connsiteY23" fmla="*/ 414076 h 481141"/>
                    <a:gd name="connsiteX24" fmla="*/ 250062 w 514211"/>
                    <a:gd name="connsiteY24" fmla="*/ 389070 h 481141"/>
                    <a:gd name="connsiteX25" fmla="*/ 262566 w 514211"/>
                    <a:gd name="connsiteY25" fmla="*/ 382819 h 481141"/>
                    <a:gd name="connsiteX26" fmla="*/ 306187 w 514211"/>
                    <a:gd name="connsiteY26" fmla="*/ 351700 h 481141"/>
                    <a:gd name="connsiteX27" fmla="*/ 318691 w 514211"/>
                    <a:gd name="connsiteY27" fmla="*/ 351700 h 481141"/>
                    <a:gd name="connsiteX28" fmla="*/ 324942 w 514211"/>
                    <a:gd name="connsiteY28" fmla="*/ 345448 h 481141"/>
                    <a:gd name="connsiteX29" fmla="*/ 343697 w 514211"/>
                    <a:gd name="connsiteY29" fmla="*/ 332945 h 481141"/>
                    <a:gd name="connsiteX30" fmla="*/ 406074 w 514211"/>
                    <a:gd name="connsiteY30" fmla="*/ 326694 h 481141"/>
                    <a:gd name="connsiteX31" fmla="*/ 437331 w 514211"/>
                    <a:gd name="connsiteY31" fmla="*/ 320442 h 481141"/>
                    <a:gd name="connsiteX32" fmla="*/ 487205 w 514211"/>
                    <a:gd name="connsiteY32" fmla="*/ 314190 h 481141"/>
                    <a:gd name="connsiteX33" fmla="*/ 512211 w 514211"/>
                    <a:gd name="connsiteY33" fmla="*/ 189576 h 481141"/>
                    <a:gd name="connsiteX34" fmla="*/ 480953 w 514211"/>
                    <a:gd name="connsiteY34" fmla="*/ 195827 h 481141"/>
                    <a:gd name="connsiteX35" fmla="*/ 480953 w 514211"/>
                    <a:gd name="connsiteY35" fmla="*/ 170960 h 481141"/>
                    <a:gd name="connsiteX36" fmla="*/ 437192 w 514211"/>
                    <a:gd name="connsiteY36" fmla="*/ 158457 h 481141"/>
                    <a:gd name="connsiteX37" fmla="*/ 412186 w 514211"/>
                    <a:gd name="connsiteY37" fmla="*/ 133590 h 481141"/>
                    <a:gd name="connsiteX38" fmla="*/ 393431 w 514211"/>
                    <a:gd name="connsiteY38" fmla="*/ 121087 h 481141"/>
                    <a:gd name="connsiteX39" fmla="*/ 349810 w 514211"/>
                    <a:gd name="connsiteY39" fmla="*/ 83716 h 481141"/>
                    <a:gd name="connsiteX40" fmla="*/ 243672 w 514211"/>
                    <a:gd name="connsiteY40" fmla="*/ 15088 h 481141"/>
                    <a:gd name="connsiteX41" fmla="*/ 218666 w 514211"/>
                    <a:gd name="connsiteY41" fmla="*/ 2585 h 481141"/>
                    <a:gd name="connsiteX42" fmla="*/ 168653 w 514211"/>
                    <a:gd name="connsiteY42" fmla="*/ 2863 h 48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14211" h="481141">
                      <a:moveTo>
                        <a:pt x="168653" y="2863"/>
                      </a:moveTo>
                      <a:cubicBezTo>
                        <a:pt x="181156" y="96358"/>
                        <a:pt x="193659" y="189854"/>
                        <a:pt x="206162" y="277098"/>
                      </a:cubicBezTo>
                      <a:cubicBezTo>
                        <a:pt x="206162" y="289601"/>
                        <a:pt x="218666" y="308217"/>
                        <a:pt x="199911" y="308217"/>
                      </a:cubicBezTo>
                      <a:cubicBezTo>
                        <a:pt x="174905" y="308217"/>
                        <a:pt x="143786" y="308217"/>
                        <a:pt x="118780" y="308217"/>
                      </a:cubicBezTo>
                      <a:cubicBezTo>
                        <a:pt x="106277" y="308217"/>
                        <a:pt x="100025" y="308217"/>
                        <a:pt x="93773" y="308217"/>
                      </a:cubicBezTo>
                      <a:cubicBezTo>
                        <a:pt x="87522" y="308217"/>
                        <a:pt x="81270" y="314468"/>
                        <a:pt x="75019" y="314468"/>
                      </a:cubicBezTo>
                      <a:cubicBezTo>
                        <a:pt x="68767" y="320720"/>
                        <a:pt x="62516" y="314468"/>
                        <a:pt x="50012" y="314468"/>
                      </a:cubicBezTo>
                      <a:cubicBezTo>
                        <a:pt x="43761" y="314468"/>
                        <a:pt x="43761" y="326971"/>
                        <a:pt x="37509" y="320720"/>
                      </a:cubicBezTo>
                      <a:cubicBezTo>
                        <a:pt x="31258" y="320720"/>
                        <a:pt x="25006" y="308217"/>
                        <a:pt x="18755" y="308217"/>
                      </a:cubicBezTo>
                      <a:cubicBezTo>
                        <a:pt x="12503" y="308217"/>
                        <a:pt x="12503" y="345587"/>
                        <a:pt x="0" y="339335"/>
                      </a:cubicBezTo>
                      <a:cubicBezTo>
                        <a:pt x="0" y="345587"/>
                        <a:pt x="0" y="358090"/>
                        <a:pt x="0" y="364203"/>
                      </a:cubicBezTo>
                      <a:cubicBezTo>
                        <a:pt x="0" y="376706"/>
                        <a:pt x="12503" y="376706"/>
                        <a:pt x="18755" y="389070"/>
                      </a:cubicBezTo>
                      <a:cubicBezTo>
                        <a:pt x="25006" y="395322"/>
                        <a:pt x="18755" y="407825"/>
                        <a:pt x="25006" y="414076"/>
                      </a:cubicBezTo>
                      <a:cubicBezTo>
                        <a:pt x="31258" y="426579"/>
                        <a:pt x="37509" y="414076"/>
                        <a:pt x="43761" y="420328"/>
                      </a:cubicBezTo>
                      <a:cubicBezTo>
                        <a:pt x="43761" y="426579"/>
                        <a:pt x="62516" y="420328"/>
                        <a:pt x="68767" y="420328"/>
                      </a:cubicBezTo>
                      <a:cubicBezTo>
                        <a:pt x="75019" y="420328"/>
                        <a:pt x="87522" y="407825"/>
                        <a:pt x="93773" y="407825"/>
                      </a:cubicBezTo>
                      <a:cubicBezTo>
                        <a:pt x="106277" y="420328"/>
                        <a:pt x="112528" y="451447"/>
                        <a:pt x="125031" y="463950"/>
                      </a:cubicBezTo>
                      <a:cubicBezTo>
                        <a:pt x="125031" y="463950"/>
                        <a:pt x="118780" y="476453"/>
                        <a:pt x="125031" y="476453"/>
                      </a:cubicBezTo>
                      <a:cubicBezTo>
                        <a:pt x="131283" y="482704"/>
                        <a:pt x="137534" y="470201"/>
                        <a:pt x="143786" y="476453"/>
                      </a:cubicBezTo>
                      <a:cubicBezTo>
                        <a:pt x="150037" y="482704"/>
                        <a:pt x="162541" y="482704"/>
                        <a:pt x="168792" y="476453"/>
                      </a:cubicBezTo>
                      <a:cubicBezTo>
                        <a:pt x="181295" y="463950"/>
                        <a:pt x="181295" y="476453"/>
                        <a:pt x="187547" y="476453"/>
                      </a:cubicBezTo>
                      <a:cubicBezTo>
                        <a:pt x="206302" y="476453"/>
                        <a:pt x="218805" y="451586"/>
                        <a:pt x="218805" y="439083"/>
                      </a:cubicBezTo>
                      <a:cubicBezTo>
                        <a:pt x="218805" y="432831"/>
                        <a:pt x="206302" y="432831"/>
                        <a:pt x="218805" y="426579"/>
                      </a:cubicBezTo>
                      <a:cubicBezTo>
                        <a:pt x="225056" y="420328"/>
                        <a:pt x="237559" y="426579"/>
                        <a:pt x="243811" y="414076"/>
                      </a:cubicBezTo>
                      <a:cubicBezTo>
                        <a:pt x="243811" y="407825"/>
                        <a:pt x="250062" y="395322"/>
                        <a:pt x="250062" y="389070"/>
                      </a:cubicBezTo>
                      <a:cubicBezTo>
                        <a:pt x="256314" y="376567"/>
                        <a:pt x="256314" y="370315"/>
                        <a:pt x="262566" y="382819"/>
                      </a:cubicBezTo>
                      <a:cubicBezTo>
                        <a:pt x="281320" y="395322"/>
                        <a:pt x="293823" y="345448"/>
                        <a:pt x="306187" y="351700"/>
                      </a:cubicBezTo>
                      <a:cubicBezTo>
                        <a:pt x="312439" y="351700"/>
                        <a:pt x="312439" y="351700"/>
                        <a:pt x="318691" y="351700"/>
                      </a:cubicBezTo>
                      <a:lnTo>
                        <a:pt x="324942" y="345448"/>
                      </a:lnTo>
                      <a:cubicBezTo>
                        <a:pt x="331194" y="339197"/>
                        <a:pt x="337445" y="339197"/>
                        <a:pt x="343697" y="332945"/>
                      </a:cubicBezTo>
                      <a:cubicBezTo>
                        <a:pt x="362451" y="314190"/>
                        <a:pt x="381206" y="332945"/>
                        <a:pt x="406074" y="326694"/>
                      </a:cubicBezTo>
                      <a:cubicBezTo>
                        <a:pt x="418577" y="326694"/>
                        <a:pt x="424828" y="320442"/>
                        <a:pt x="437331" y="320442"/>
                      </a:cubicBezTo>
                      <a:cubicBezTo>
                        <a:pt x="456086" y="320442"/>
                        <a:pt x="474841" y="320442"/>
                        <a:pt x="487205" y="314190"/>
                      </a:cubicBezTo>
                      <a:cubicBezTo>
                        <a:pt x="524714" y="301687"/>
                        <a:pt x="512211" y="220695"/>
                        <a:pt x="512211" y="189576"/>
                      </a:cubicBezTo>
                      <a:cubicBezTo>
                        <a:pt x="505960" y="195827"/>
                        <a:pt x="487205" y="208330"/>
                        <a:pt x="480953" y="195827"/>
                      </a:cubicBezTo>
                      <a:cubicBezTo>
                        <a:pt x="474702" y="189576"/>
                        <a:pt x="487205" y="177073"/>
                        <a:pt x="480953" y="170960"/>
                      </a:cubicBezTo>
                      <a:cubicBezTo>
                        <a:pt x="474702" y="158457"/>
                        <a:pt x="449696" y="164709"/>
                        <a:pt x="437192" y="158457"/>
                      </a:cubicBezTo>
                      <a:cubicBezTo>
                        <a:pt x="424689" y="158457"/>
                        <a:pt x="418438" y="139702"/>
                        <a:pt x="412186" y="133590"/>
                      </a:cubicBezTo>
                      <a:cubicBezTo>
                        <a:pt x="412186" y="127338"/>
                        <a:pt x="405935" y="121087"/>
                        <a:pt x="393431" y="121087"/>
                      </a:cubicBezTo>
                      <a:cubicBezTo>
                        <a:pt x="380928" y="108584"/>
                        <a:pt x="362174" y="96219"/>
                        <a:pt x="349810" y="83716"/>
                      </a:cubicBezTo>
                      <a:cubicBezTo>
                        <a:pt x="312300" y="64961"/>
                        <a:pt x="274930" y="40094"/>
                        <a:pt x="243672" y="15088"/>
                      </a:cubicBezTo>
                      <a:cubicBezTo>
                        <a:pt x="237420" y="15088"/>
                        <a:pt x="224917" y="2585"/>
                        <a:pt x="218666" y="2585"/>
                      </a:cubicBezTo>
                      <a:cubicBezTo>
                        <a:pt x="206162" y="-3389"/>
                        <a:pt x="187408" y="2863"/>
                        <a:pt x="168653" y="286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4" name="Freihandform: Form 413">
                  <a:extLst>
                    <a:ext uri="{FF2B5EF4-FFF2-40B4-BE49-F238E27FC236}">
                      <a16:creationId xmlns:a16="http://schemas.microsoft.com/office/drawing/2014/main" id="{0D71AD5B-47A9-45BC-8BC6-F2056DCE0E4C}"/>
                    </a:ext>
                  </a:extLst>
                </p:cNvPr>
                <p:cNvSpPr/>
                <p:nvPr/>
              </p:nvSpPr>
              <p:spPr>
                <a:xfrm>
                  <a:off x="6838830" y="3507381"/>
                  <a:ext cx="338461" cy="333277"/>
                </a:xfrm>
                <a:custGeom>
                  <a:avLst/>
                  <a:gdLst>
                    <a:gd name="connsiteX0" fmla="*/ 275946 w 338461"/>
                    <a:gd name="connsiteY0" fmla="*/ 333278 h 333277"/>
                    <a:gd name="connsiteX1" fmla="*/ 294701 w 338461"/>
                    <a:gd name="connsiteY1" fmla="*/ 314801 h 333277"/>
                    <a:gd name="connsiteX2" fmla="*/ 313456 w 338461"/>
                    <a:gd name="connsiteY2" fmla="*/ 296324 h 333277"/>
                    <a:gd name="connsiteX3" fmla="*/ 332210 w 338461"/>
                    <a:gd name="connsiteY3" fmla="*/ 271596 h 333277"/>
                    <a:gd name="connsiteX4" fmla="*/ 338462 w 338461"/>
                    <a:gd name="connsiteY4" fmla="*/ 259231 h 333277"/>
                    <a:gd name="connsiteX5" fmla="*/ 307204 w 338461"/>
                    <a:gd name="connsiteY5" fmla="*/ 222139 h 333277"/>
                    <a:gd name="connsiteX6" fmla="*/ 275946 w 338461"/>
                    <a:gd name="connsiteY6" fmla="*/ 154205 h 333277"/>
                    <a:gd name="connsiteX7" fmla="*/ 244688 w 338461"/>
                    <a:gd name="connsiteY7" fmla="*/ 98636 h 333277"/>
                    <a:gd name="connsiteX8" fmla="*/ 232185 w 338461"/>
                    <a:gd name="connsiteY8" fmla="*/ 49179 h 333277"/>
                    <a:gd name="connsiteX9" fmla="*/ 288310 w 338461"/>
                    <a:gd name="connsiteY9" fmla="*/ 135728 h 333277"/>
                    <a:gd name="connsiteX10" fmla="*/ 300813 w 338461"/>
                    <a:gd name="connsiteY10" fmla="*/ 117252 h 333277"/>
                    <a:gd name="connsiteX11" fmla="*/ 294562 w 338461"/>
                    <a:gd name="connsiteY11" fmla="*/ 86411 h 333277"/>
                    <a:gd name="connsiteX12" fmla="*/ 288310 w 338461"/>
                    <a:gd name="connsiteY12" fmla="*/ 12225 h 333277"/>
                    <a:gd name="connsiteX13" fmla="*/ 232185 w 338461"/>
                    <a:gd name="connsiteY13" fmla="*/ 12225 h 333277"/>
                    <a:gd name="connsiteX14" fmla="*/ 151054 w 338461"/>
                    <a:gd name="connsiteY14" fmla="*/ 18477 h 333277"/>
                    <a:gd name="connsiteX15" fmla="*/ 94929 w 338461"/>
                    <a:gd name="connsiteY15" fmla="*/ 18477 h 333277"/>
                    <a:gd name="connsiteX16" fmla="*/ 20049 w 338461"/>
                    <a:gd name="connsiteY16" fmla="*/ 6113 h 333277"/>
                    <a:gd name="connsiteX17" fmla="*/ 13798 w 338461"/>
                    <a:gd name="connsiteY17" fmla="*/ 0 h 333277"/>
                    <a:gd name="connsiteX18" fmla="*/ 1295 w 338461"/>
                    <a:gd name="connsiteY18" fmla="*/ 18477 h 333277"/>
                    <a:gd name="connsiteX19" fmla="*/ 7546 w 338461"/>
                    <a:gd name="connsiteY19" fmla="*/ 43205 h 333277"/>
                    <a:gd name="connsiteX20" fmla="*/ 1295 w 338461"/>
                    <a:gd name="connsiteY20" fmla="*/ 67934 h 333277"/>
                    <a:gd name="connsiteX21" fmla="*/ 7546 w 338461"/>
                    <a:gd name="connsiteY21" fmla="*/ 80298 h 333277"/>
                    <a:gd name="connsiteX22" fmla="*/ 7546 w 338461"/>
                    <a:gd name="connsiteY22" fmla="*/ 154483 h 333277"/>
                    <a:gd name="connsiteX23" fmla="*/ 7546 w 338461"/>
                    <a:gd name="connsiteY23" fmla="*/ 321330 h 333277"/>
                    <a:gd name="connsiteX24" fmla="*/ 207179 w 338461"/>
                    <a:gd name="connsiteY24" fmla="*/ 321330 h 333277"/>
                    <a:gd name="connsiteX25" fmla="*/ 244549 w 338461"/>
                    <a:gd name="connsiteY25" fmla="*/ 321330 h 333277"/>
                    <a:gd name="connsiteX26" fmla="*/ 275946 w 338461"/>
                    <a:gd name="connsiteY26" fmla="*/ 333278 h 33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8461" h="333277">
                      <a:moveTo>
                        <a:pt x="275946" y="333278"/>
                      </a:moveTo>
                      <a:cubicBezTo>
                        <a:pt x="282198" y="333278"/>
                        <a:pt x="282198" y="314801"/>
                        <a:pt x="294701" y="314801"/>
                      </a:cubicBezTo>
                      <a:cubicBezTo>
                        <a:pt x="313456" y="314801"/>
                        <a:pt x="300952" y="302437"/>
                        <a:pt x="313456" y="296324"/>
                      </a:cubicBezTo>
                      <a:cubicBezTo>
                        <a:pt x="332210" y="290211"/>
                        <a:pt x="332210" y="290211"/>
                        <a:pt x="332210" y="271596"/>
                      </a:cubicBezTo>
                      <a:cubicBezTo>
                        <a:pt x="325959" y="259231"/>
                        <a:pt x="325959" y="259231"/>
                        <a:pt x="338462" y="259231"/>
                      </a:cubicBezTo>
                      <a:cubicBezTo>
                        <a:pt x="332210" y="259231"/>
                        <a:pt x="313456" y="228390"/>
                        <a:pt x="307204" y="222139"/>
                      </a:cubicBezTo>
                      <a:cubicBezTo>
                        <a:pt x="300952" y="197410"/>
                        <a:pt x="288449" y="172682"/>
                        <a:pt x="275946" y="154205"/>
                      </a:cubicBezTo>
                      <a:cubicBezTo>
                        <a:pt x="263443" y="135728"/>
                        <a:pt x="257192" y="111000"/>
                        <a:pt x="244688" y="98636"/>
                      </a:cubicBezTo>
                      <a:cubicBezTo>
                        <a:pt x="238437" y="92523"/>
                        <a:pt x="225934" y="55431"/>
                        <a:pt x="232185" y="49179"/>
                      </a:cubicBezTo>
                      <a:cubicBezTo>
                        <a:pt x="232185" y="49179"/>
                        <a:pt x="282059" y="135728"/>
                        <a:pt x="288310" y="135728"/>
                      </a:cubicBezTo>
                      <a:cubicBezTo>
                        <a:pt x="294562" y="135728"/>
                        <a:pt x="300813" y="117252"/>
                        <a:pt x="300813" y="117252"/>
                      </a:cubicBezTo>
                      <a:cubicBezTo>
                        <a:pt x="300813" y="104887"/>
                        <a:pt x="300813" y="92523"/>
                        <a:pt x="294562" y="86411"/>
                      </a:cubicBezTo>
                      <a:cubicBezTo>
                        <a:pt x="294562" y="61682"/>
                        <a:pt x="288310" y="36954"/>
                        <a:pt x="288310" y="12225"/>
                      </a:cubicBezTo>
                      <a:cubicBezTo>
                        <a:pt x="275807" y="24590"/>
                        <a:pt x="244688" y="24590"/>
                        <a:pt x="232185" y="12225"/>
                      </a:cubicBezTo>
                      <a:cubicBezTo>
                        <a:pt x="207179" y="-139"/>
                        <a:pt x="176060" y="6113"/>
                        <a:pt x="151054" y="18477"/>
                      </a:cubicBezTo>
                      <a:cubicBezTo>
                        <a:pt x="132299" y="30841"/>
                        <a:pt x="113545" y="24590"/>
                        <a:pt x="94929" y="18477"/>
                      </a:cubicBezTo>
                      <a:cubicBezTo>
                        <a:pt x="69923" y="12225"/>
                        <a:pt x="45056" y="12225"/>
                        <a:pt x="20049" y="6113"/>
                      </a:cubicBezTo>
                      <a:lnTo>
                        <a:pt x="13798" y="0"/>
                      </a:lnTo>
                      <a:cubicBezTo>
                        <a:pt x="7546" y="6113"/>
                        <a:pt x="7546" y="12364"/>
                        <a:pt x="1295" y="18477"/>
                      </a:cubicBezTo>
                      <a:cubicBezTo>
                        <a:pt x="-4957" y="24590"/>
                        <a:pt x="13798" y="30841"/>
                        <a:pt x="7546" y="43205"/>
                      </a:cubicBezTo>
                      <a:cubicBezTo>
                        <a:pt x="1295" y="49318"/>
                        <a:pt x="1295" y="55569"/>
                        <a:pt x="1295" y="67934"/>
                      </a:cubicBezTo>
                      <a:cubicBezTo>
                        <a:pt x="7546" y="67934"/>
                        <a:pt x="7546" y="74046"/>
                        <a:pt x="7546" y="80298"/>
                      </a:cubicBezTo>
                      <a:cubicBezTo>
                        <a:pt x="7546" y="105026"/>
                        <a:pt x="7546" y="129755"/>
                        <a:pt x="7546" y="154483"/>
                      </a:cubicBezTo>
                      <a:cubicBezTo>
                        <a:pt x="7546" y="172960"/>
                        <a:pt x="7546" y="321330"/>
                        <a:pt x="7546" y="321330"/>
                      </a:cubicBezTo>
                      <a:cubicBezTo>
                        <a:pt x="76174" y="321330"/>
                        <a:pt x="138551" y="321330"/>
                        <a:pt x="207179" y="321330"/>
                      </a:cubicBezTo>
                      <a:cubicBezTo>
                        <a:pt x="219682" y="321330"/>
                        <a:pt x="232185" y="321330"/>
                        <a:pt x="244549" y="321330"/>
                      </a:cubicBezTo>
                      <a:cubicBezTo>
                        <a:pt x="256914" y="321330"/>
                        <a:pt x="263443" y="333278"/>
                        <a:pt x="275946" y="333278"/>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5" name="Freihandform: Form 414">
                  <a:extLst>
                    <a:ext uri="{FF2B5EF4-FFF2-40B4-BE49-F238E27FC236}">
                      <a16:creationId xmlns:a16="http://schemas.microsoft.com/office/drawing/2014/main" id="{6EAF03AA-0D48-4FB2-A4FD-F480389FE898}"/>
                    </a:ext>
                  </a:extLst>
                </p:cNvPr>
                <p:cNvSpPr/>
                <p:nvPr/>
              </p:nvSpPr>
              <p:spPr>
                <a:xfrm>
                  <a:off x="6330716" y="3316361"/>
                  <a:ext cx="121951" cy="238392"/>
                </a:xfrm>
                <a:custGeom>
                  <a:avLst/>
                  <a:gdLst>
                    <a:gd name="connsiteX0" fmla="*/ 84720 w 121951"/>
                    <a:gd name="connsiteY0" fmla="*/ 207830 h 238392"/>
                    <a:gd name="connsiteX1" fmla="*/ 103336 w 121951"/>
                    <a:gd name="connsiteY1" fmla="*/ 183379 h 238392"/>
                    <a:gd name="connsiteX2" fmla="*/ 121952 w 121951"/>
                    <a:gd name="connsiteY2" fmla="*/ 165041 h 238392"/>
                    <a:gd name="connsiteX3" fmla="*/ 121952 w 121951"/>
                    <a:gd name="connsiteY3" fmla="*/ 146703 h 238392"/>
                    <a:gd name="connsiteX4" fmla="*/ 115700 w 121951"/>
                    <a:gd name="connsiteY4" fmla="*/ 140591 h 238392"/>
                    <a:gd name="connsiteX5" fmla="*/ 103336 w 121951"/>
                    <a:gd name="connsiteY5" fmla="*/ 122253 h 238392"/>
                    <a:gd name="connsiteX6" fmla="*/ 84720 w 121951"/>
                    <a:gd name="connsiteY6" fmla="*/ 122253 h 238392"/>
                    <a:gd name="connsiteX7" fmla="*/ 97084 w 121951"/>
                    <a:gd name="connsiteY7" fmla="*/ 97802 h 238392"/>
                    <a:gd name="connsiteX8" fmla="*/ 103336 w 121951"/>
                    <a:gd name="connsiteY8" fmla="*/ 61126 h 238392"/>
                    <a:gd name="connsiteX9" fmla="*/ 90971 w 121951"/>
                    <a:gd name="connsiteY9" fmla="*/ 36676 h 238392"/>
                    <a:gd name="connsiteX10" fmla="*/ 109587 w 121951"/>
                    <a:gd name="connsiteY10" fmla="*/ 24451 h 238392"/>
                    <a:gd name="connsiteX11" fmla="*/ 109587 w 121951"/>
                    <a:gd name="connsiteY11" fmla="*/ 6113 h 238392"/>
                    <a:gd name="connsiteX12" fmla="*/ 90971 w 121951"/>
                    <a:gd name="connsiteY12" fmla="*/ 18338 h 238392"/>
                    <a:gd name="connsiteX13" fmla="*/ 84720 w 121951"/>
                    <a:gd name="connsiteY13" fmla="*/ 12225 h 238392"/>
                    <a:gd name="connsiteX14" fmla="*/ 66104 w 121951"/>
                    <a:gd name="connsiteY14" fmla="*/ 0 h 238392"/>
                    <a:gd name="connsiteX15" fmla="*/ 28873 w 121951"/>
                    <a:gd name="connsiteY15" fmla="*/ 24451 h 238392"/>
                    <a:gd name="connsiteX16" fmla="*/ 10257 w 121951"/>
                    <a:gd name="connsiteY16" fmla="*/ 103915 h 238392"/>
                    <a:gd name="connsiteX17" fmla="*/ 4005 w 121951"/>
                    <a:gd name="connsiteY17" fmla="*/ 128365 h 238392"/>
                    <a:gd name="connsiteX18" fmla="*/ 22621 w 121951"/>
                    <a:gd name="connsiteY18" fmla="*/ 158929 h 238392"/>
                    <a:gd name="connsiteX19" fmla="*/ 47350 w 121951"/>
                    <a:gd name="connsiteY19" fmla="*/ 183379 h 238392"/>
                    <a:gd name="connsiteX20" fmla="*/ 59714 w 121951"/>
                    <a:gd name="connsiteY20" fmla="*/ 238393 h 238392"/>
                    <a:gd name="connsiteX21" fmla="*/ 84720 w 121951"/>
                    <a:gd name="connsiteY21" fmla="*/ 207830 h 238392"/>
                    <a:gd name="connsiteX22" fmla="*/ 84720 w 121951"/>
                    <a:gd name="connsiteY22" fmla="*/ 207830 h 23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951" h="238392">
                      <a:moveTo>
                        <a:pt x="84720" y="207830"/>
                      </a:moveTo>
                      <a:cubicBezTo>
                        <a:pt x="72356" y="195604"/>
                        <a:pt x="97084" y="183379"/>
                        <a:pt x="103336" y="183379"/>
                      </a:cubicBezTo>
                      <a:cubicBezTo>
                        <a:pt x="115700" y="177266"/>
                        <a:pt x="121952" y="171154"/>
                        <a:pt x="121952" y="165041"/>
                      </a:cubicBezTo>
                      <a:cubicBezTo>
                        <a:pt x="121952" y="158929"/>
                        <a:pt x="121952" y="152816"/>
                        <a:pt x="121952" y="146703"/>
                      </a:cubicBezTo>
                      <a:cubicBezTo>
                        <a:pt x="121952" y="140591"/>
                        <a:pt x="115700" y="140591"/>
                        <a:pt x="115700" y="140591"/>
                      </a:cubicBezTo>
                      <a:cubicBezTo>
                        <a:pt x="109448" y="134478"/>
                        <a:pt x="109448" y="128365"/>
                        <a:pt x="103336" y="122253"/>
                      </a:cubicBezTo>
                      <a:cubicBezTo>
                        <a:pt x="97084" y="122253"/>
                        <a:pt x="90971" y="128365"/>
                        <a:pt x="84720" y="122253"/>
                      </a:cubicBezTo>
                      <a:cubicBezTo>
                        <a:pt x="66104" y="110028"/>
                        <a:pt x="84720" y="103915"/>
                        <a:pt x="97084" y="97802"/>
                      </a:cubicBezTo>
                      <a:cubicBezTo>
                        <a:pt x="109448" y="91690"/>
                        <a:pt x="115700" y="73352"/>
                        <a:pt x="103336" y="61126"/>
                      </a:cubicBezTo>
                      <a:cubicBezTo>
                        <a:pt x="103336" y="55014"/>
                        <a:pt x="84720" y="42789"/>
                        <a:pt x="90971" y="36676"/>
                      </a:cubicBezTo>
                      <a:cubicBezTo>
                        <a:pt x="97223" y="30563"/>
                        <a:pt x="103336" y="30563"/>
                        <a:pt x="109587" y="24451"/>
                      </a:cubicBezTo>
                      <a:lnTo>
                        <a:pt x="109587" y="6113"/>
                      </a:lnTo>
                      <a:cubicBezTo>
                        <a:pt x="103336" y="6113"/>
                        <a:pt x="97223" y="24451"/>
                        <a:pt x="90971" y="18338"/>
                      </a:cubicBezTo>
                      <a:lnTo>
                        <a:pt x="84720" y="12225"/>
                      </a:lnTo>
                      <a:cubicBezTo>
                        <a:pt x="78468" y="6113"/>
                        <a:pt x="72356" y="0"/>
                        <a:pt x="66104" y="0"/>
                      </a:cubicBezTo>
                      <a:cubicBezTo>
                        <a:pt x="53740" y="6113"/>
                        <a:pt x="35124" y="12225"/>
                        <a:pt x="28873" y="24451"/>
                      </a:cubicBezTo>
                      <a:cubicBezTo>
                        <a:pt x="16508" y="48901"/>
                        <a:pt x="28873" y="85577"/>
                        <a:pt x="10257" y="103915"/>
                      </a:cubicBezTo>
                      <a:cubicBezTo>
                        <a:pt x="-2107" y="116140"/>
                        <a:pt x="-2107" y="116140"/>
                        <a:pt x="4005" y="128365"/>
                      </a:cubicBezTo>
                      <a:cubicBezTo>
                        <a:pt x="4005" y="140591"/>
                        <a:pt x="22621" y="146703"/>
                        <a:pt x="22621" y="158929"/>
                      </a:cubicBezTo>
                      <a:cubicBezTo>
                        <a:pt x="28873" y="171154"/>
                        <a:pt x="47350" y="177266"/>
                        <a:pt x="47350" y="183379"/>
                      </a:cubicBezTo>
                      <a:cubicBezTo>
                        <a:pt x="53601" y="201717"/>
                        <a:pt x="59714" y="226168"/>
                        <a:pt x="59714" y="238393"/>
                      </a:cubicBezTo>
                      <a:cubicBezTo>
                        <a:pt x="72356" y="238393"/>
                        <a:pt x="97084" y="226168"/>
                        <a:pt x="84720" y="207830"/>
                      </a:cubicBezTo>
                      <a:cubicBezTo>
                        <a:pt x="78468" y="201717"/>
                        <a:pt x="90971" y="213942"/>
                        <a:pt x="84720" y="207830"/>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6" name="Freihandform: Form 415">
                  <a:extLst>
                    <a:ext uri="{FF2B5EF4-FFF2-40B4-BE49-F238E27FC236}">
                      <a16:creationId xmlns:a16="http://schemas.microsoft.com/office/drawing/2014/main" id="{EB1BB8B7-DEDB-4CE3-9F61-214D5B9170B3}"/>
                    </a:ext>
                  </a:extLst>
                </p:cNvPr>
                <p:cNvSpPr/>
                <p:nvPr/>
              </p:nvSpPr>
              <p:spPr>
                <a:xfrm>
                  <a:off x="6391083" y="3460008"/>
                  <a:ext cx="461823" cy="457058"/>
                </a:xfrm>
                <a:custGeom>
                  <a:avLst/>
                  <a:gdLst>
                    <a:gd name="connsiteX0" fmla="*/ 123822 w 461823"/>
                    <a:gd name="connsiteY0" fmla="*/ 344114 h 457058"/>
                    <a:gd name="connsiteX1" fmla="*/ 148412 w 461823"/>
                    <a:gd name="connsiteY1" fmla="*/ 356617 h 457058"/>
                    <a:gd name="connsiteX2" fmla="*/ 166889 w 461823"/>
                    <a:gd name="connsiteY2" fmla="*/ 344114 h 457058"/>
                    <a:gd name="connsiteX3" fmla="*/ 197591 w 461823"/>
                    <a:gd name="connsiteY3" fmla="*/ 331610 h 457058"/>
                    <a:gd name="connsiteX4" fmla="*/ 265246 w 461823"/>
                    <a:gd name="connsiteY4" fmla="*/ 369259 h 457058"/>
                    <a:gd name="connsiteX5" fmla="*/ 425008 w 461823"/>
                    <a:gd name="connsiteY5" fmla="*/ 457058 h 457058"/>
                    <a:gd name="connsiteX6" fmla="*/ 431121 w 461823"/>
                    <a:gd name="connsiteY6" fmla="*/ 444555 h 457058"/>
                    <a:gd name="connsiteX7" fmla="*/ 455711 w 461823"/>
                    <a:gd name="connsiteY7" fmla="*/ 444555 h 457058"/>
                    <a:gd name="connsiteX8" fmla="*/ 455711 w 461823"/>
                    <a:gd name="connsiteY8" fmla="*/ 413158 h 457058"/>
                    <a:gd name="connsiteX9" fmla="*/ 455711 w 461823"/>
                    <a:gd name="connsiteY9" fmla="*/ 275208 h 457058"/>
                    <a:gd name="connsiteX10" fmla="*/ 455711 w 461823"/>
                    <a:gd name="connsiteY10" fmla="*/ 149899 h 457058"/>
                    <a:gd name="connsiteX11" fmla="*/ 455711 w 461823"/>
                    <a:gd name="connsiteY11" fmla="*/ 124892 h 457058"/>
                    <a:gd name="connsiteX12" fmla="*/ 449598 w 461823"/>
                    <a:gd name="connsiteY12" fmla="*/ 106138 h 457058"/>
                    <a:gd name="connsiteX13" fmla="*/ 461823 w 461823"/>
                    <a:gd name="connsiteY13" fmla="*/ 87383 h 457058"/>
                    <a:gd name="connsiteX14" fmla="*/ 449598 w 461823"/>
                    <a:gd name="connsiteY14" fmla="*/ 68628 h 457058"/>
                    <a:gd name="connsiteX15" fmla="*/ 461823 w 461823"/>
                    <a:gd name="connsiteY15" fmla="*/ 49874 h 457058"/>
                    <a:gd name="connsiteX16" fmla="*/ 406532 w 461823"/>
                    <a:gd name="connsiteY16" fmla="*/ 31119 h 457058"/>
                    <a:gd name="connsiteX17" fmla="*/ 369717 w 461823"/>
                    <a:gd name="connsiteY17" fmla="*/ 12364 h 457058"/>
                    <a:gd name="connsiteX18" fmla="*/ 308313 w 461823"/>
                    <a:gd name="connsiteY18" fmla="*/ 37370 h 457058"/>
                    <a:gd name="connsiteX19" fmla="*/ 308313 w 461823"/>
                    <a:gd name="connsiteY19" fmla="*/ 56125 h 457058"/>
                    <a:gd name="connsiteX20" fmla="*/ 302200 w 461823"/>
                    <a:gd name="connsiteY20" fmla="*/ 87522 h 457058"/>
                    <a:gd name="connsiteX21" fmla="*/ 246909 w 461823"/>
                    <a:gd name="connsiteY21" fmla="*/ 81270 h 457058"/>
                    <a:gd name="connsiteX22" fmla="*/ 216206 w 461823"/>
                    <a:gd name="connsiteY22" fmla="*/ 75019 h 457058"/>
                    <a:gd name="connsiteX23" fmla="*/ 185504 w 461823"/>
                    <a:gd name="connsiteY23" fmla="*/ 62516 h 457058"/>
                    <a:gd name="connsiteX24" fmla="*/ 173140 w 461823"/>
                    <a:gd name="connsiteY24" fmla="*/ 37509 h 457058"/>
                    <a:gd name="connsiteX25" fmla="*/ 136325 w 461823"/>
                    <a:gd name="connsiteY25" fmla="*/ 18755 h 457058"/>
                    <a:gd name="connsiteX26" fmla="*/ 99511 w 461823"/>
                    <a:gd name="connsiteY26" fmla="*/ 12503 h 457058"/>
                    <a:gd name="connsiteX27" fmla="*/ 62696 w 461823"/>
                    <a:gd name="connsiteY27" fmla="*/ 0 h 457058"/>
                    <a:gd name="connsiteX28" fmla="*/ 62696 w 461823"/>
                    <a:gd name="connsiteY28" fmla="*/ 25006 h 457058"/>
                    <a:gd name="connsiteX29" fmla="*/ 50471 w 461823"/>
                    <a:gd name="connsiteY29" fmla="*/ 37509 h 457058"/>
                    <a:gd name="connsiteX30" fmla="*/ 25881 w 461823"/>
                    <a:gd name="connsiteY30" fmla="*/ 50012 h 457058"/>
                    <a:gd name="connsiteX31" fmla="*/ 25881 w 461823"/>
                    <a:gd name="connsiteY31" fmla="*/ 87661 h 457058"/>
                    <a:gd name="connsiteX32" fmla="*/ 1291 w 461823"/>
                    <a:gd name="connsiteY32" fmla="*/ 106415 h 457058"/>
                    <a:gd name="connsiteX33" fmla="*/ 13517 w 461823"/>
                    <a:gd name="connsiteY33" fmla="*/ 131422 h 457058"/>
                    <a:gd name="connsiteX34" fmla="*/ 13517 w 461823"/>
                    <a:gd name="connsiteY34" fmla="*/ 162818 h 457058"/>
                    <a:gd name="connsiteX35" fmla="*/ 13517 w 461823"/>
                    <a:gd name="connsiteY35" fmla="*/ 194215 h 457058"/>
                    <a:gd name="connsiteX36" fmla="*/ 13517 w 461823"/>
                    <a:gd name="connsiteY36" fmla="*/ 212970 h 457058"/>
                    <a:gd name="connsiteX37" fmla="*/ 13517 w 461823"/>
                    <a:gd name="connsiteY37" fmla="*/ 231725 h 457058"/>
                    <a:gd name="connsiteX38" fmla="*/ 1291 w 461823"/>
                    <a:gd name="connsiteY38" fmla="*/ 250479 h 457058"/>
                    <a:gd name="connsiteX39" fmla="*/ 19768 w 461823"/>
                    <a:gd name="connsiteY39" fmla="*/ 288127 h 457058"/>
                    <a:gd name="connsiteX40" fmla="*/ 38245 w 461823"/>
                    <a:gd name="connsiteY40" fmla="*/ 300631 h 457058"/>
                    <a:gd name="connsiteX41" fmla="*/ 62835 w 461823"/>
                    <a:gd name="connsiteY41" fmla="*/ 306882 h 457058"/>
                    <a:gd name="connsiteX42" fmla="*/ 81312 w 461823"/>
                    <a:gd name="connsiteY42" fmla="*/ 331888 h 457058"/>
                    <a:gd name="connsiteX43" fmla="*/ 123822 w 461823"/>
                    <a:gd name="connsiteY43" fmla="*/ 344114 h 457058"/>
                    <a:gd name="connsiteX44" fmla="*/ 123822 w 461823"/>
                    <a:gd name="connsiteY44" fmla="*/ 344114 h 45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61823" h="457058">
                      <a:moveTo>
                        <a:pt x="123822" y="344114"/>
                      </a:moveTo>
                      <a:cubicBezTo>
                        <a:pt x="123822" y="350365"/>
                        <a:pt x="142299" y="362868"/>
                        <a:pt x="148412" y="356617"/>
                      </a:cubicBezTo>
                      <a:cubicBezTo>
                        <a:pt x="154524" y="350365"/>
                        <a:pt x="160776" y="350365"/>
                        <a:pt x="166889" y="344114"/>
                      </a:cubicBezTo>
                      <a:cubicBezTo>
                        <a:pt x="173001" y="344114"/>
                        <a:pt x="191478" y="331610"/>
                        <a:pt x="197591" y="331610"/>
                      </a:cubicBezTo>
                      <a:cubicBezTo>
                        <a:pt x="222180" y="344114"/>
                        <a:pt x="240657" y="356756"/>
                        <a:pt x="265246" y="369259"/>
                      </a:cubicBezTo>
                      <a:cubicBezTo>
                        <a:pt x="320538" y="400655"/>
                        <a:pt x="369717" y="431913"/>
                        <a:pt x="425008" y="457058"/>
                      </a:cubicBezTo>
                      <a:cubicBezTo>
                        <a:pt x="425008" y="444555"/>
                        <a:pt x="418896" y="444555"/>
                        <a:pt x="431121" y="444555"/>
                      </a:cubicBezTo>
                      <a:lnTo>
                        <a:pt x="455711" y="444555"/>
                      </a:lnTo>
                      <a:cubicBezTo>
                        <a:pt x="455711" y="432052"/>
                        <a:pt x="455711" y="425801"/>
                        <a:pt x="455711" y="413158"/>
                      </a:cubicBezTo>
                      <a:cubicBezTo>
                        <a:pt x="455711" y="369259"/>
                        <a:pt x="455711" y="325359"/>
                        <a:pt x="455711" y="275208"/>
                      </a:cubicBezTo>
                      <a:cubicBezTo>
                        <a:pt x="455711" y="231308"/>
                        <a:pt x="455711" y="187408"/>
                        <a:pt x="455711" y="149899"/>
                      </a:cubicBezTo>
                      <a:cubicBezTo>
                        <a:pt x="455711" y="137395"/>
                        <a:pt x="455711" y="131144"/>
                        <a:pt x="455711" y="124892"/>
                      </a:cubicBezTo>
                      <a:cubicBezTo>
                        <a:pt x="449598" y="118641"/>
                        <a:pt x="449598" y="112389"/>
                        <a:pt x="449598" y="106138"/>
                      </a:cubicBezTo>
                      <a:cubicBezTo>
                        <a:pt x="449598" y="99886"/>
                        <a:pt x="461823" y="93635"/>
                        <a:pt x="461823" y="87383"/>
                      </a:cubicBezTo>
                      <a:cubicBezTo>
                        <a:pt x="461823" y="81131"/>
                        <a:pt x="449598" y="74880"/>
                        <a:pt x="449598" y="68628"/>
                      </a:cubicBezTo>
                      <a:cubicBezTo>
                        <a:pt x="449598" y="62377"/>
                        <a:pt x="455711" y="56125"/>
                        <a:pt x="461823" y="49874"/>
                      </a:cubicBezTo>
                      <a:cubicBezTo>
                        <a:pt x="443346" y="37370"/>
                        <a:pt x="425008" y="43622"/>
                        <a:pt x="406532" y="31119"/>
                      </a:cubicBezTo>
                      <a:cubicBezTo>
                        <a:pt x="394306" y="24867"/>
                        <a:pt x="388055" y="12364"/>
                        <a:pt x="369717" y="12364"/>
                      </a:cubicBezTo>
                      <a:cubicBezTo>
                        <a:pt x="345127" y="12364"/>
                        <a:pt x="320538" y="18616"/>
                        <a:pt x="308313" y="37370"/>
                      </a:cubicBezTo>
                      <a:cubicBezTo>
                        <a:pt x="302200" y="43622"/>
                        <a:pt x="302200" y="49874"/>
                        <a:pt x="308313" y="56125"/>
                      </a:cubicBezTo>
                      <a:cubicBezTo>
                        <a:pt x="314425" y="68628"/>
                        <a:pt x="308313" y="74880"/>
                        <a:pt x="302200" y="87522"/>
                      </a:cubicBezTo>
                      <a:cubicBezTo>
                        <a:pt x="289836" y="106277"/>
                        <a:pt x="265385" y="93773"/>
                        <a:pt x="246909" y="81270"/>
                      </a:cubicBezTo>
                      <a:cubicBezTo>
                        <a:pt x="234683" y="81270"/>
                        <a:pt x="228431" y="75019"/>
                        <a:pt x="216206" y="75019"/>
                      </a:cubicBezTo>
                      <a:cubicBezTo>
                        <a:pt x="203842" y="68767"/>
                        <a:pt x="191617" y="75019"/>
                        <a:pt x="185504" y="62516"/>
                      </a:cubicBezTo>
                      <a:cubicBezTo>
                        <a:pt x="179392" y="56264"/>
                        <a:pt x="179392" y="43761"/>
                        <a:pt x="173140" y="37509"/>
                      </a:cubicBezTo>
                      <a:cubicBezTo>
                        <a:pt x="167028" y="25006"/>
                        <a:pt x="148550" y="25006"/>
                        <a:pt x="136325" y="18755"/>
                      </a:cubicBezTo>
                      <a:cubicBezTo>
                        <a:pt x="124100" y="12503"/>
                        <a:pt x="111736" y="12503"/>
                        <a:pt x="99511" y="12503"/>
                      </a:cubicBezTo>
                      <a:cubicBezTo>
                        <a:pt x="87146" y="12503"/>
                        <a:pt x="81034" y="6252"/>
                        <a:pt x="62696" y="0"/>
                      </a:cubicBezTo>
                      <a:cubicBezTo>
                        <a:pt x="62696" y="6252"/>
                        <a:pt x="62696" y="12503"/>
                        <a:pt x="62696" y="25006"/>
                      </a:cubicBezTo>
                      <a:cubicBezTo>
                        <a:pt x="62696" y="31258"/>
                        <a:pt x="62696" y="25006"/>
                        <a:pt x="50471" y="37509"/>
                      </a:cubicBezTo>
                      <a:cubicBezTo>
                        <a:pt x="44358" y="43761"/>
                        <a:pt x="38106" y="43761"/>
                        <a:pt x="25881" y="50012"/>
                      </a:cubicBezTo>
                      <a:cubicBezTo>
                        <a:pt x="13517" y="62516"/>
                        <a:pt x="31994" y="75019"/>
                        <a:pt x="25881" y="87661"/>
                      </a:cubicBezTo>
                      <a:cubicBezTo>
                        <a:pt x="19768" y="100164"/>
                        <a:pt x="1291" y="100164"/>
                        <a:pt x="1291" y="106415"/>
                      </a:cubicBezTo>
                      <a:cubicBezTo>
                        <a:pt x="1291" y="118919"/>
                        <a:pt x="7404" y="125170"/>
                        <a:pt x="13517" y="131422"/>
                      </a:cubicBezTo>
                      <a:cubicBezTo>
                        <a:pt x="13517" y="143925"/>
                        <a:pt x="13517" y="156428"/>
                        <a:pt x="13517" y="162818"/>
                      </a:cubicBezTo>
                      <a:cubicBezTo>
                        <a:pt x="13517" y="175321"/>
                        <a:pt x="19630" y="181573"/>
                        <a:pt x="13517" y="194215"/>
                      </a:cubicBezTo>
                      <a:cubicBezTo>
                        <a:pt x="13517" y="200467"/>
                        <a:pt x="13517" y="206718"/>
                        <a:pt x="13517" y="212970"/>
                      </a:cubicBezTo>
                      <a:cubicBezTo>
                        <a:pt x="13517" y="219221"/>
                        <a:pt x="19630" y="225473"/>
                        <a:pt x="13517" y="231725"/>
                      </a:cubicBezTo>
                      <a:cubicBezTo>
                        <a:pt x="13517" y="237976"/>
                        <a:pt x="-4960" y="237976"/>
                        <a:pt x="1291" y="250479"/>
                      </a:cubicBezTo>
                      <a:cubicBezTo>
                        <a:pt x="13517" y="262982"/>
                        <a:pt x="19768" y="269234"/>
                        <a:pt x="19768" y="288127"/>
                      </a:cubicBezTo>
                      <a:cubicBezTo>
                        <a:pt x="19768" y="300631"/>
                        <a:pt x="31994" y="294379"/>
                        <a:pt x="38245" y="300631"/>
                      </a:cubicBezTo>
                      <a:cubicBezTo>
                        <a:pt x="50609" y="300631"/>
                        <a:pt x="56722" y="300631"/>
                        <a:pt x="62835" y="306882"/>
                      </a:cubicBezTo>
                      <a:cubicBezTo>
                        <a:pt x="68947" y="313134"/>
                        <a:pt x="75199" y="325637"/>
                        <a:pt x="81312" y="331888"/>
                      </a:cubicBezTo>
                      <a:cubicBezTo>
                        <a:pt x="93120" y="337862"/>
                        <a:pt x="111597" y="331610"/>
                        <a:pt x="123822" y="344114"/>
                      </a:cubicBezTo>
                      <a:cubicBezTo>
                        <a:pt x="130074" y="350365"/>
                        <a:pt x="117709" y="337862"/>
                        <a:pt x="123822" y="344114"/>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7" name="Freihandform: Form 416">
                  <a:extLst>
                    <a:ext uri="{FF2B5EF4-FFF2-40B4-BE49-F238E27FC236}">
                      <a16:creationId xmlns:a16="http://schemas.microsoft.com/office/drawing/2014/main" id="{92C36728-4BC9-4512-99C9-ACB85D90DD11}"/>
                    </a:ext>
                  </a:extLst>
                </p:cNvPr>
                <p:cNvSpPr/>
                <p:nvPr/>
              </p:nvSpPr>
              <p:spPr>
                <a:xfrm>
                  <a:off x="5566057" y="3649917"/>
                  <a:ext cx="257286" cy="209774"/>
                </a:xfrm>
                <a:custGeom>
                  <a:avLst/>
                  <a:gdLst>
                    <a:gd name="connsiteX0" fmla="*/ 116418 w 257286"/>
                    <a:gd name="connsiteY0" fmla="*/ 209775 h 209774"/>
                    <a:gd name="connsiteX1" fmla="*/ 122531 w 257286"/>
                    <a:gd name="connsiteY1" fmla="*/ 154205 h 209774"/>
                    <a:gd name="connsiteX2" fmla="*/ 146981 w 257286"/>
                    <a:gd name="connsiteY2" fmla="*/ 135728 h 209774"/>
                    <a:gd name="connsiteX3" fmla="*/ 153094 w 257286"/>
                    <a:gd name="connsiteY3" fmla="*/ 123364 h 209774"/>
                    <a:gd name="connsiteX4" fmla="*/ 153094 w 257286"/>
                    <a:gd name="connsiteY4" fmla="*/ 55569 h 209774"/>
                    <a:gd name="connsiteX5" fmla="*/ 196021 w 257286"/>
                    <a:gd name="connsiteY5" fmla="*/ 55569 h 209774"/>
                    <a:gd name="connsiteX6" fmla="*/ 251174 w 257286"/>
                    <a:gd name="connsiteY6" fmla="*/ 55569 h 209774"/>
                    <a:gd name="connsiteX7" fmla="*/ 257286 w 257286"/>
                    <a:gd name="connsiteY7" fmla="*/ 12364 h 209774"/>
                    <a:gd name="connsiteX8" fmla="*/ 245061 w 257286"/>
                    <a:gd name="connsiteY8" fmla="*/ 0 h 209774"/>
                    <a:gd name="connsiteX9" fmla="*/ 122531 w 257286"/>
                    <a:gd name="connsiteY9" fmla="*/ 0 h 209774"/>
                    <a:gd name="connsiteX10" fmla="*/ 91828 w 257286"/>
                    <a:gd name="connsiteY10" fmla="*/ 36954 h 209774"/>
                    <a:gd name="connsiteX11" fmla="*/ 61126 w 257286"/>
                    <a:gd name="connsiteY11" fmla="*/ 104748 h 209774"/>
                    <a:gd name="connsiteX12" fmla="*/ 48901 w 257286"/>
                    <a:gd name="connsiteY12" fmla="*/ 110861 h 209774"/>
                    <a:gd name="connsiteX13" fmla="*/ 24450 w 257286"/>
                    <a:gd name="connsiteY13" fmla="*/ 154066 h 209774"/>
                    <a:gd name="connsiteX14" fmla="*/ 0 w 257286"/>
                    <a:gd name="connsiteY14" fmla="*/ 209636 h 209774"/>
                    <a:gd name="connsiteX15" fmla="*/ 116418 w 257286"/>
                    <a:gd name="connsiteY15" fmla="*/ 209775 h 20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7286" h="209774">
                      <a:moveTo>
                        <a:pt x="116418" y="209775"/>
                      </a:moveTo>
                      <a:cubicBezTo>
                        <a:pt x="116418" y="191298"/>
                        <a:pt x="110305" y="160457"/>
                        <a:pt x="122531" y="154205"/>
                      </a:cubicBezTo>
                      <a:cubicBezTo>
                        <a:pt x="128643" y="148093"/>
                        <a:pt x="140868" y="141841"/>
                        <a:pt x="146981" y="135728"/>
                      </a:cubicBezTo>
                      <a:cubicBezTo>
                        <a:pt x="153094" y="135728"/>
                        <a:pt x="153094" y="123364"/>
                        <a:pt x="153094" y="123364"/>
                      </a:cubicBezTo>
                      <a:cubicBezTo>
                        <a:pt x="153094" y="98636"/>
                        <a:pt x="153094" y="80159"/>
                        <a:pt x="153094" y="55569"/>
                      </a:cubicBezTo>
                      <a:cubicBezTo>
                        <a:pt x="153094" y="55569"/>
                        <a:pt x="189908" y="55569"/>
                        <a:pt x="196021" y="55569"/>
                      </a:cubicBezTo>
                      <a:cubicBezTo>
                        <a:pt x="214359" y="55569"/>
                        <a:pt x="232836" y="55569"/>
                        <a:pt x="251174" y="55569"/>
                      </a:cubicBezTo>
                      <a:cubicBezTo>
                        <a:pt x="257286" y="55569"/>
                        <a:pt x="257286" y="18616"/>
                        <a:pt x="257286" y="12364"/>
                      </a:cubicBezTo>
                      <a:cubicBezTo>
                        <a:pt x="257286" y="0"/>
                        <a:pt x="257286" y="0"/>
                        <a:pt x="245061" y="0"/>
                      </a:cubicBezTo>
                      <a:cubicBezTo>
                        <a:pt x="202134" y="0"/>
                        <a:pt x="165458" y="0"/>
                        <a:pt x="122531" y="0"/>
                      </a:cubicBezTo>
                      <a:cubicBezTo>
                        <a:pt x="110305" y="12364"/>
                        <a:pt x="104193" y="24728"/>
                        <a:pt x="91828" y="36954"/>
                      </a:cubicBezTo>
                      <a:cubicBezTo>
                        <a:pt x="67378" y="55431"/>
                        <a:pt x="67378" y="73907"/>
                        <a:pt x="61126" y="104748"/>
                      </a:cubicBezTo>
                      <a:cubicBezTo>
                        <a:pt x="61126" y="104748"/>
                        <a:pt x="55014" y="110861"/>
                        <a:pt x="48901" y="110861"/>
                      </a:cubicBezTo>
                      <a:cubicBezTo>
                        <a:pt x="36676" y="123225"/>
                        <a:pt x="30563" y="135590"/>
                        <a:pt x="24450" y="154066"/>
                      </a:cubicBezTo>
                      <a:cubicBezTo>
                        <a:pt x="12225" y="172543"/>
                        <a:pt x="0" y="184907"/>
                        <a:pt x="0" y="209636"/>
                      </a:cubicBezTo>
                      <a:cubicBezTo>
                        <a:pt x="36815" y="209775"/>
                        <a:pt x="79603" y="209775"/>
                        <a:pt x="116418" y="209775"/>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8" name="Freihandform: Form 417">
                  <a:extLst>
                    <a:ext uri="{FF2B5EF4-FFF2-40B4-BE49-F238E27FC236}">
                      <a16:creationId xmlns:a16="http://schemas.microsoft.com/office/drawing/2014/main" id="{5442E20D-A9C8-4E94-9F35-E59CAF2B6C14}"/>
                    </a:ext>
                  </a:extLst>
                </p:cNvPr>
                <p:cNvSpPr/>
                <p:nvPr/>
              </p:nvSpPr>
              <p:spPr>
                <a:xfrm>
                  <a:off x="5690254" y="3370574"/>
                  <a:ext cx="362579" cy="279481"/>
                </a:xfrm>
                <a:custGeom>
                  <a:avLst/>
                  <a:gdLst>
                    <a:gd name="connsiteX0" fmla="*/ 136006 w 362579"/>
                    <a:gd name="connsiteY0" fmla="*/ 279482 h 279481"/>
                    <a:gd name="connsiteX1" fmla="*/ 142258 w 362579"/>
                    <a:gd name="connsiteY1" fmla="*/ 236415 h 279481"/>
                    <a:gd name="connsiteX2" fmla="*/ 179489 w 362579"/>
                    <a:gd name="connsiteY2" fmla="*/ 211826 h 279481"/>
                    <a:gd name="connsiteX3" fmla="*/ 204218 w 362579"/>
                    <a:gd name="connsiteY3" fmla="*/ 211826 h 279481"/>
                    <a:gd name="connsiteX4" fmla="*/ 235198 w 362579"/>
                    <a:gd name="connsiteY4" fmla="*/ 199462 h 279481"/>
                    <a:gd name="connsiteX5" fmla="*/ 247562 w 362579"/>
                    <a:gd name="connsiteY5" fmla="*/ 180985 h 279481"/>
                    <a:gd name="connsiteX6" fmla="*/ 278542 w 362579"/>
                    <a:gd name="connsiteY6" fmla="*/ 174872 h 279481"/>
                    <a:gd name="connsiteX7" fmla="*/ 284793 w 362579"/>
                    <a:gd name="connsiteY7" fmla="*/ 156395 h 279481"/>
                    <a:gd name="connsiteX8" fmla="*/ 309522 w 362579"/>
                    <a:gd name="connsiteY8" fmla="*/ 137919 h 279481"/>
                    <a:gd name="connsiteX9" fmla="*/ 328137 w 362579"/>
                    <a:gd name="connsiteY9" fmla="*/ 125554 h 279481"/>
                    <a:gd name="connsiteX10" fmla="*/ 359117 w 362579"/>
                    <a:gd name="connsiteY10" fmla="*/ 131667 h 279481"/>
                    <a:gd name="connsiteX11" fmla="*/ 346753 w 362579"/>
                    <a:gd name="connsiteY11" fmla="*/ 82349 h 279481"/>
                    <a:gd name="connsiteX12" fmla="*/ 346753 w 362579"/>
                    <a:gd name="connsiteY12" fmla="*/ 45396 h 279481"/>
                    <a:gd name="connsiteX13" fmla="*/ 340502 w 362579"/>
                    <a:gd name="connsiteY13" fmla="*/ 26919 h 279481"/>
                    <a:gd name="connsiteX14" fmla="*/ 315773 w 362579"/>
                    <a:gd name="connsiteY14" fmla="*/ 20806 h 279481"/>
                    <a:gd name="connsiteX15" fmla="*/ 291045 w 362579"/>
                    <a:gd name="connsiteY15" fmla="*/ 20806 h 279481"/>
                    <a:gd name="connsiteX16" fmla="*/ 260065 w 362579"/>
                    <a:gd name="connsiteY16" fmla="*/ 20806 h 279481"/>
                    <a:gd name="connsiteX17" fmla="*/ 216721 w 362579"/>
                    <a:gd name="connsiteY17" fmla="*/ 8442 h 279481"/>
                    <a:gd name="connsiteX18" fmla="*/ 185741 w 362579"/>
                    <a:gd name="connsiteY18" fmla="*/ 63872 h 279481"/>
                    <a:gd name="connsiteX19" fmla="*/ 123781 w 362579"/>
                    <a:gd name="connsiteY19" fmla="*/ 100826 h 279481"/>
                    <a:gd name="connsiteX20" fmla="*/ 99053 w 362579"/>
                    <a:gd name="connsiteY20" fmla="*/ 150144 h 279481"/>
                    <a:gd name="connsiteX21" fmla="*/ 99053 w 362579"/>
                    <a:gd name="connsiteY21" fmla="*/ 199323 h 279481"/>
                    <a:gd name="connsiteX22" fmla="*/ 86688 w 362579"/>
                    <a:gd name="connsiteY22" fmla="*/ 223912 h 279481"/>
                    <a:gd name="connsiteX23" fmla="*/ 55708 w 362579"/>
                    <a:gd name="connsiteY23" fmla="*/ 242389 h 279481"/>
                    <a:gd name="connsiteX24" fmla="*/ 30980 w 362579"/>
                    <a:gd name="connsiteY24" fmla="*/ 260866 h 279481"/>
                    <a:gd name="connsiteX25" fmla="*/ 0 w 362579"/>
                    <a:gd name="connsiteY25" fmla="*/ 279343 h 279481"/>
                    <a:gd name="connsiteX26" fmla="*/ 136006 w 362579"/>
                    <a:gd name="connsiteY26" fmla="*/ 279343 h 27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2579" h="279481">
                      <a:moveTo>
                        <a:pt x="136006" y="279482"/>
                      </a:moveTo>
                      <a:cubicBezTo>
                        <a:pt x="136006" y="261005"/>
                        <a:pt x="129754" y="248641"/>
                        <a:pt x="142258" y="236415"/>
                      </a:cubicBezTo>
                      <a:cubicBezTo>
                        <a:pt x="154622" y="230303"/>
                        <a:pt x="173238" y="224051"/>
                        <a:pt x="179489" y="211826"/>
                      </a:cubicBezTo>
                      <a:cubicBezTo>
                        <a:pt x="185741" y="211826"/>
                        <a:pt x="198105" y="211826"/>
                        <a:pt x="204218" y="211826"/>
                      </a:cubicBezTo>
                      <a:cubicBezTo>
                        <a:pt x="210469" y="205713"/>
                        <a:pt x="222833" y="205713"/>
                        <a:pt x="235198" y="199462"/>
                      </a:cubicBezTo>
                      <a:cubicBezTo>
                        <a:pt x="241449" y="193349"/>
                        <a:pt x="241449" y="187098"/>
                        <a:pt x="247562" y="180985"/>
                      </a:cubicBezTo>
                      <a:cubicBezTo>
                        <a:pt x="253813" y="174872"/>
                        <a:pt x="272290" y="180985"/>
                        <a:pt x="278542" y="174872"/>
                      </a:cubicBezTo>
                      <a:cubicBezTo>
                        <a:pt x="284793" y="168760"/>
                        <a:pt x="284793" y="162508"/>
                        <a:pt x="284793" y="156395"/>
                      </a:cubicBezTo>
                      <a:cubicBezTo>
                        <a:pt x="284793" y="144031"/>
                        <a:pt x="303409" y="144031"/>
                        <a:pt x="309522" y="137919"/>
                      </a:cubicBezTo>
                      <a:cubicBezTo>
                        <a:pt x="315773" y="131806"/>
                        <a:pt x="315773" y="125554"/>
                        <a:pt x="328137" y="125554"/>
                      </a:cubicBezTo>
                      <a:cubicBezTo>
                        <a:pt x="334389" y="125554"/>
                        <a:pt x="352866" y="131667"/>
                        <a:pt x="359117" y="131667"/>
                      </a:cubicBezTo>
                      <a:cubicBezTo>
                        <a:pt x="371482" y="125554"/>
                        <a:pt x="346753" y="88601"/>
                        <a:pt x="346753" y="82349"/>
                      </a:cubicBezTo>
                      <a:cubicBezTo>
                        <a:pt x="346753" y="69985"/>
                        <a:pt x="346753" y="57760"/>
                        <a:pt x="346753" y="45396"/>
                      </a:cubicBezTo>
                      <a:cubicBezTo>
                        <a:pt x="340502" y="39283"/>
                        <a:pt x="340502" y="33031"/>
                        <a:pt x="340502" y="26919"/>
                      </a:cubicBezTo>
                      <a:cubicBezTo>
                        <a:pt x="328137" y="26919"/>
                        <a:pt x="321886" y="20806"/>
                        <a:pt x="315773" y="20806"/>
                      </a:cubicBezTo>
                      <a:cubicBezTo>
                        <a:pt x="309522" y="14693"/>
                        <a:pt x="297157" y="20806"/>
                        <a:pt x="291045" y="20806"/>
                      </a:cubicBezTo>
                      <a:cubicBezTo>
                        <a:pt x="284793" y="14693"/>
                        <a:pt x="272429" y="20806"/>
                        <a:pt x="260065" y="20806"/>
                      </a:cubicBezTo>
                      <a:cubicBezTo>
                        <a:pt x="247701" y="20806"/>
                        <a:pt x="222833" y="-16148"/>
                        <a:pt x="216721" y="8442"/>
                      </a:cubicBezTo>
                      <a:cubicBezTo>
                        <a:pt x="210469" y="26919"/>
                        <a:pt x="204357" y="45396"/>
                        <a:pt x="185741" y="63872"/>
                      </a:cubicBezTo>
                      <a:cubicBezTo>
                        <a:pt x="167125" y="82349"/>
                        <a:pt x="142397" y="82349"/>
                        <a:pt x="123781" y="100826"/>
                      </a:cubicBezTo>
                      <a:cubicBezTo>
                        <a:pt x="111417" y="113190"/>
                        <a:pt x="105165" y="131667"/>
                        <a:pt x="99053" y="150144"/>
                      </a:cubicBezTo>
                      <a:cubicBezTo>
                        <a:pt x="99053" y="162508"/>
                        <a:pt x="105304" y="180985"/>
                        <a:pt x="99053" y="199323"/>
                      </a:cubicBezTo>
                      <a:cubicBezTo>
                        <a:pt x="92801" y="205435"/>
                        <a:pt x="86688" y="217800"/>
                        <a:pt x="86688" y="223912"/>
                      </a:cubicBezTo>
                      <a:cubicBezTo>
                        <a:pt x="80437" y="236276"/>
                        <a:pt x="68073" y="236276"/>
                        <a:pt x="55708" y="242389"/>
                      </a:cubicBezTo>
                      <a:cubicBezTo>
                        <a:pt x="49457" y="248502"/>
                        <a:pt x="43344" y="254753"/>
                        <a:pt x="30980" y="260866"/>
                      </a:cubicBezTo>
                      <a:cubicBezTo>
                        <a:pt x="24728" y="266979"/>
                        <a:pt x="12364" y="266979"/>
                        <a:pt x="0" y="279343"/>
                      </a:cubicBezTo>
                      <a:lnTo>
                        <a:pt x="136006" y="279343"/>
                      </a:ln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19" name="Freihandform: Form 418">
                  <a:extLst>
                    <a:ext uri="{FF2B5EF4-FFF2-40B4-BE49-F238E27FC236}">
                      <a16:creationId xmlns:a16="http://schemas.microsoft.com/office/drawing/2014/main" id="{9ACD4EEC-8526-424D-B8E5-B746B67CF918}"/>
                    </a:ext>
                  </a:extLst>
                </p:cNvPr>
                <p:cNvSpPr/>
                <p:nvPr/>
              </p:nvSpPr>
              <p:spPr>
                <a:xfrm>
                  <a:off x="5827893" y="3316361"/>
                  <a:ext cx="643528" cy="619182"/>
                </a:xfrm>
                <a:custGeom>
                  <a:avLst/>
                  <a:gdLst>
                    <a:gd name="connsiteX0" fmla="*/ 213699 w 643528"/>
                    <a:gd name="connsiteY0" fmla="*/ 137673 h 619182"/>
                    <a:gd name="connsiteX1" fmla="*/ 219951 w 643528"/>
                    <a:gd name="connsiteY1" fmla="*/ 181434 h 619182"/>
                    <a:gd name="connsiteX2" fmla="*/ 188832 w 643528"/>
                    <a:gd name="connsiteY2" fmla="*/ 175183 h 619182"/>
                    <a:gd name="connsiteX3" fmla="*/ 176329 w 643528"/>
                    <a:gd name="connsiteY3" fmla="*/ 187686 h 619182"/>
                    <a:gd name="connsiteX4" fmla="*/ 157574 w 643528"/>
                    <a:gd name="connsiteY4" fmla="*/ 193937 h 619182"/>
                    <a:gd name="connsiteX5" fmla="*/ 145071 w 643528"/>
                    <a:gd name="connsiteY5" fmla="*/ 218943 h 619182"/>
                    <a:gd name="connsiteX6" fmla="*/ 120204 w 643528"/>
                    <a:gd name="connsiteY6" fmla="*/ 231447 h 619182"/>
                    <a:gd name="connsiteX7" fmla="*/ 101449 w 643528"/>
                    <a:gd name="connsiteY7" fmla="*/ 250201 h 619182"/>
                    <a:gd name="connsiteX8" fmla="*/ 64078 w 643528"/>
                    <a:gd name="connsiteY8" fmla="*/ 262704 h 619182"/>
                    <a:gd name="connsiteX9" fmla="*/ 45324 w 643528"/>
                    <a:gd name="connsiteY9" fmla="*/ 268956 h 619182"/>
                    <a:gd name="connsiteX10" fmla="*/ 20318 w 643528"/>
                    <a:gd name="connsiteY10" fmla="*/ 281459 h 619182"/>
                    <a:gd name="connsiteX11" fmla="*/ 1563 w 643528"/>
                    <a:gd name="connsiteY11" fmla="*/ 325220 h 619182"/>
                    <a:gd name="connsiteX12" fmla="*/ 7814 w 643528"/>
                    <a:gd name="connsiteY12" fmla="*/ 350226 h 619182"/>
                    <a:gd name="connsiteX13" fmla="*/ 32682 w 643528"/>
                    <a:gd name="connsiteY13" fmla="*/ 368981 h 619182"/>
                    <a:gd name="connsiteX14" fmla="*/ 225924 w 643528"/>
                    <a:gd name="connsiteY14" fmla="*/ 494151 h 619182"/>
                    <a:gd name="connsiteX15" fmla="*/ 294553 w 643528"/>
                    <a:gd name="connsiteY15" fmla="*/ 537912 h 619182"/>
                    <a:gd name="connsiteX16" fmla="*/ 300804 w 643528"/>
                    <a:gd name="connsiteY16" fmla="*/ 544164 h 619182"/>
                    <a:gd name="connsiteX17" fmla="*/ 356929 w 643528"/>
                    <a:gd name="connsiteY17" fmla="*/ 581673 h 619182"/>
                    <a:gd name="connsiteX18" fmla="*/ 375684 w 643528"/>
                    <a:gd name="connsiteY18" fmla="*/ 619182 h 619182"/>
                    <a:gd name="connsiteX19" fmla="*/ 413054 w 643528"/>
                    <a:gd name="connsiteY19" fmla="*/ 606679 h 619182"/>
                    <a:gd name="connsiteX20" fmla="*/ 444174 w 643528"/>
                    <a:gd name="connsiteY20" fmla="*/ 600428 h 619182"/>
                    <a:gd name="connsiteX21" fmla="*/ 525166 w 643528"/>
                    <a:gd name="connsiteY21" fmla="*/ 544164 h 619182"/>
                    <a:gd name="connsiteX22" fmla="*/ 618661 w 643528"/>
                    <a:gd name="connsiteY22" fmla="*/ 481648 h 619182"/>
                    <a:gd name="connsiteX23" fmla="*/ 643529 w 643528"/>
                    <a:gd name="connsiteY23" fmla="*/ 469145 h 619182"/>
                    <a:gd name="connsiteX24" fmla="*/ 599907 w 643528"/>
                    <a:gd name="connsiteY24" fmla="*/ 431636 h 619182"/>
                    <a:gd name="connsiteX25" fmla="*/ 581152 w 643528"/>
                    <a:gd name="connsiteY25" fmla="*/ 431636 h 619182"/>
                    <a:gd name="connsiteX26" fmla="*/ 568649 w 643528"/>
                    <a:gd name="connsiteY26" fmla="*/ 394126 h 619182"/>
                    <a:gd name="connsiteX27" fmla="*/ 568649 w 643528"/>
                    <a:gd name="connsiteY27" fmla="*/ 375372 h 619182"/>
                    <a:gd name="connsiteX28" fmla="*/ 574900 w 643528"/>
                    <a:gd name="connsiteY28" fmla="*/ 344114 h 619182"/>
                    <a:gd name="connsiteX29" fmla="*/ 574900 w 643528"/>
                    <a:gd name="connsiteY29" fmla="*/ 312856 h 619182"/>
                    <a:gd name="connsiteX30" fmla="*/ 574900 w 643528"/>
                    <a:gd name="connsiteY30" fmla="*/ 287850 h 619182"/>
                    <a:gd name="connsiteX31" fmla="*/ 568649 w 643528"/>
                    <a:gd name="connsiteY31" fmla="*/ 262843 h 619182"/>
                    <a:gd name="connsiteX32" fmla="*/ 562397 w 643528"/>
                    <a:gd name="connsiteY32" fmla="*/ 231586 h 619182"/>
                    <a:gd name="connsiteX33" fmla="*/ 537530 w 643528"/>
                    <a:gd name="connsiteY33" fmla="*/ 168931 h 619182"/>
                    <a:gd name="connsiteX34" fmla="*/ 506411 w 643528"/>
                    <a:gd name="connsiteY34" fmla="*/ 125170 h 619182"/>
                    <a:gd name="connsiteX35" fmla="*/ 525166 w 643528"/>
                    <a:gd name="connsiteY35" fmla="*/ 81409 h 619182"/>
                    <a:gd name="connsiteX36" fmla="*/ 531418 w 643528"/>
                    <a:gd name="connsiteY36" fmla="*/ 12503 h 619182"/>
                    <a:gd name="connsiteX37" fmla="*/ 518914 w 643528"/>
                    <a:gd name="connsiteY37" fmla="*/ 6252 h 619182"/>
                    <a:gd name="connsiteX38" fmla="*/ 500160 w 643528"/>
                    <a:gd name="connsiteY38" fmla="*/ 0 h 619182"/>
                    <a:gd name="connsiteX39" fmla="*/ 487657 w 643528"/>
                    <a:gd name="connsiteY39" fmla="*/ 6252 h 619182"/>
                    <a:gd name="connsiteX40" fmla="*/ 462789 w 643528"/>
                    <a:gd name="connsiteY40" fmla="*/ 0 h 619182"/>
                    <a:gd name="connsiteX41" fmla="*/ 444034 w 643528"/>
                    <a:gd name="connsiteY41" fmla="*/ 12503 h 619182"/>
                    <a:gd name="connsiteX42" fmla="*/ 419167 w 643528"/>
                    <a:gd name="connsiteY42" fmla="*/ 6252 h 619182"/>
                    <a:gd name="connsiteX43" fmla="*/ 375545 w 643528"/>
                    <a:gd name="connsiteY43" fmla="*/ 12503 h 619182"/>
                    <a:gd name="connsiteX44" fmla="*/ 282050 w 643528"/>
                    <a:gd name="connsiteY44" fmla="*/ 31258 h 619182"/>
                    <a:gd name="connsiteX45" fmla="*/ 263295 w 643528"/>
                    <a:gd name="connsiteY45" fmla="*/ 43761 h 619182"/>
                    <a:gd name="connsiteX46" fmla="*/ 238428 w 643528"/>
                    <a:gd name="connsiteY46" fmla="*/ 50012 h 619182"/>
                    <a:gd name="connsiteX47" fmla="*/ 207309 w 643528"/>
                    <a:gd name="connsiteY47" fmla="*/ 75019 h 619182"/>
                    <a:gd name="connsiteX48" fmla="*/ 213699 w 643528"/>
                    <a:gd name="connsiteY48" fmla="*/ 137673 h 619182"/>
                    <a:gd name="connsiteX49" fmla="*/ 213699 w 643528"/>
                    <a:gd name="connsiteY49" fmla="*/ 137673 h 61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43528" h="619182">
                      <a:moveTo>
                        <a:pt x="213699" y="137673"/>
                      </a:moveTo>
                      <a:cubicBezTo>
                        <a:pt x="219951" y="143925"/>
                        <a:pt x="244818" y="181434"/>
                        <a:pt x="219951" y="181434"/>
                      </a:cubicBezTo>
                      <a:cubicBezTo>
                        <a:pt x="213699" y="175183"/>
                        <a:pt x="194944" y="168931"/>
                        <a:pt x="188832" y="175183"/>
                      </a:cubicBezTo>
                      <a:cubicBezTo>
                        <a:pt x="182580" y="181434"/>
                        <a:pt x="182580" y="181434"/>
                        <a:pt x="176329" y="187686"/>
                      </a:cubicBezTo>
                      <a:cubicBezTo>
                        <a:pt x="170077" y="193937"/>
                        <a:pt x="163826" y="193937"/>
                        <a:pt x="157574" y="193937"/>
                      </a:cubicBezTo>
                      <a:cubicBezTo>
                        <a:pt x="145071" y="200189"/>
                        <a:pt x="151323" y="212692"/>
                        <a:pt x="145071" y="218943"/>
                      </a:cubicBezTo>
                      <a:cubicBezTo>
                        <a:pt x="145071" y="231447"/>
                        <a:pt x="126316" y="225195"/>
                        <a:pt x="120204" y="231447"/>
                      </a:cubicBezTo>
                      <a:cubicBezTo>
                        <a:pt x="107701" y="231447"/>
                        <a:pt x="107701" y="243950"/>
                        <a:pt x="101449" y="250201"/>
                      </a:cubicBezTo>
                      <a:cubicBezTo>
                        <a:pt x="88946" y="262704"/>
                        <a:pt x="76582" y="256453"/>
                        <a:pt x="64078" y="262704"/>
                      </a:cubicBezTo>
                      <a:cubicBezTo>
                        <a:pt x="57827" y="262704"/>
                        <a:pt x="51575" y="262704"/>
                        <a:pt x="45324" y="268956"/>
                      </a:cubicBezTo>
                      <a:cubicBezTo>
                        <a:pt x="39072" y="268956"/>
                        <a:pt x="26569" y="275208"/>
                        <a:pt x="20318" y="281459"/>
                      </a:cubicBezTo>
                      <a:cubicBezTo>
                        <a:pt x="-4550" y="293962"/>
                        <a:pt x="1563" y="300214"/>
                        <a:pt x="1563" y="325220"/>
                      </a:cubicBezTo>
                      <a:cubicBezTo>
                        <a:pt x="1563" y="343975"/>
                        <a:pt x="-4689" y="343975"/>
                        <a:pt x="7814" y="350226"/>
                      </a:cubicBezTo>
                      <a:cubicBezTo>
                        <a:pt x="14066" y="356478"/>
                        <a:pt x="26569" y="362729"/>
                        <a:pt x="32682" y="368981"/>
                      </a:cubicBezTo>
                      <a:cubicBezTo>
                        <a:pt x="95059" y="412742"/>
                        <a:pt x="157296" y="450390"/>
                        <a:pt x="225924" y="494151"/>
                      </a:cubicBezTo>
                      <a:cubicBezTo>
                        <a:pt x="244679" y="506654"/>
                        <a:pt x="269547" y="525409"/>
                        <a:pt x="294553" y="537912"/>
                      </a:cubicBezTo>
                      <a:cubicBezTo>
                        <a:pt x="294553" y="544164"/>
                        <a:pt x="300804" y="544164"/>
                        <a:pt x="300804" y="544164"/>
                      </a:cubicBezTo>
                      <a:cubicBezTo>
                        <a:pt x="319559" y="575421"/>
                        <a:pt x="331923" y="575421"/>
                        <a:pt x="356929" y="581673"/>
                      </a:cubicBezTo>
                      <a:cubicBezTo>
                        <a:pt x="375684" y="587925"/>
                        <a:pt x="356929" y="612931"/>
                        <a:pt x="375684" y="619182"/>
                      </a:cubicBezTo>
                      <a:cubicBezTo>
                        <a:pt x="381936" y="619182"/>
                        <a:pt x="400551" y="612931"/>
                        <a:pt x="413054" y="606679"/>
                      </a:cubicBezTo>
                      <a:cubicBezTo>
                        <a:pt x="419306" y="606679"/>
                        <a:pt x="437922" y="606679"/>
                        <a:pt x="444174" y="600428"/>
                      </a:cubicBezTo>
                      <a:cubicBezTo>
                        <a:pt x="469041" y="581673"/>
                        <a:pt x="494047" y="562918"/>
                        <a:pt x="525166" y="544164"/>
                      </a:cubicBezTo>
                      <a:cubicBezTo>
                        <a:pt x="556285" y="525409"/>
                        <a:pt x="587543" y="500403"/>
                        <a:pt x="618661" y="481648"/>
                      </a:cubicBezTo>
                      <a:cubicBezTo>
                        <a:pt x="624913" y="481648"/>
                        <a:pt x="631164" y="475396"/>
                        <a:pt x="643529" y="469145"/>
                      </a:cubicBezTo>
                      <a:cubicBezTo>
                        <a:pt x="631026" y="444139"/>
                        <a:pt x="624774" y="437887"/>
                        <a:pt x="599907" y="431636"/>
                      </a:cubicBezTo>
                      <a:cubicBezTo>
                        <a:pt x="593655" y="431636"/>
                        <a:pt x="581152" y="431636"/>
                        <a:pt x="581152" y="431636"/>
                      </a:cubicBezTo>
                      <a:cubicBezTo>
                        <a:pt x="581152" y="412881"/>
                        <a:pt x="581152" y="406629"/>
                        <a:pt x="568649" y="394126"/>
                      </a:cubicBezTo>
                      <a:cubicBezTo>
                        <a:pt x="562397" y="381623"/>
                        <a:pt x="562397" y="381623"/>
                        <a:pt x="568649" y="375372"/>
                      </a:cubicBezTo>
                      <a:cubicBezTo>
                        <a:pt x="581152" y="362868"/>
                        <a:pt x="574900" y="356617"/>
                        <a:pt x="574900" y="344114"/>
                      </a:cubicBezTo>
                      <a:cubicBezTo>
                        <a:pt x="574900" y="331611"/>
                        <a:pt x="581152" y="325359"/>
                        <a:pt x="574900" y="312856"/>
                      </a:cubicBezTo>
                      <a:cubicBezTo>
                        <a:pt x="574900" y="306604"/>
                        <a:pt x="574900" y="300353"/>
                        <a:pt x="574900" y="287850"/>
                      </a:cubicBezTo>
                      <a:cubicBezTo>
                        <a:pt x="574900" y="281598"/>
                        <a:pt x="574900" y="269095"/>
                        <a:pt x="568649" y="262843"/>
                      </a:cubicBezTo>
                      <a:cubicBezTo>
                        <a:pt x="562397" y="256592"/>
                        <a:pt x="562397" y="244089"/>
                        <a:pt x="562397" y="231586"/>
                      </a:cubicBezTo>
                      <a:cubicBezTo>
                        <a:pt x="562397" y="212831"/>
                        <a:pt x="556146" y="187825"/>
                        <a:pt x="537530" y="168931"/>
                      </a:cubicBezTo>
                      <a:cubicBezTo>
                        <a:pt x="525027" y="156428"/>
                        <a:pt x="512524" y="143925"/>
                        <a:pt x="506411" y="125170"/>
                      </a:cubicBezTo>
                      <a:cubicBezTo>
                        <a:pt x="493908" y="100164"/>
                        <a:pt x="518914" y="106415"/>
                        <a:pt x="525166" y="81409"/>
                      </a:cubicBezTo>
                      <a:cubicBezTo>
                        <a:pt x="525166" y="56403"/>
                        <a:pt x="525166" y="37648"/>
                        <a:pt x="531418" y="12503"/>
                      </a:cubicBezTo>
                      <a:cubicBezTo>
                        <a:pt x="525166" y="12503"/>
                        <a:pt x="525166" y="6252"/>
                        <a:pt x="518914" y="6252"/>
                      </a:cubicBezTo>
                      <a:cubicBezTo>
                        <a:pt x="506411" y="12503"/>
                        <a:pt x="506411" y="0"/>
                        <a:pt x="500160" y="0"/>
                      </a:cubicBezTo>
                      <a:cubicBezTo>
                        <a:pt x="493908" y="0"/>
                        <a:pt x="493908" y="6252"/>
                        <a:pt x="487657" y="6252"/>
                      </a:cubicBezTo>
                      <a:cubicBezTo>
                        <a:pt x="475154" y="6252"/>
                        <a:pt x="475154" y="0"/>
                        <a:pt x="462789" y="0"/>
                      </a:cubicBezTo>
                      <a:cubicBezTo>
                        <a:pt x="456538" y="6252"/>
                        <a:pt x="450286" y="6252"/>
                        <a:pt x="444034" y="12503"/>
                      </a:cubicBezTo>
                      <a:cubicBezTo>
                        <a:pt x="431531" y="18755"/>
                        <a:pt x="431531" y="12503"/>
                        <a:pt x="419167" y="6252"/>
                      </a:cubicBezTo>
                      <a:cubicBezTo>
                        <a:pt x="406664" y="6252"/>
                        <a:pt x="388048" y="6252"/>
                        <a:pt x="375545" y="12503"/>
                      </a:cubicBezTo>
                      <a:cubicBezTo>
                        <a:pt x="344426" y="18755"/>
                        <a:pt x="313169" y="18755"/>
                        <a:pt x="282050" y="31258"/>
                      </a:cubicBezTo>
                      <a:cubicBezTo>
                        <a:pt x="275798" y="37509"/>
                        <a:pt x="269547" y="43761"/>
                        <a:pt x="263295" y="43761"/>
                      </a:cubicBezTo>
                      <a:cubicBezTo>
                        <a:pt x="257044" y="50012"/>
                        <a:pt x="244540" y="50012"/>
                        <a:pt x="238428" y="50012"/>
                      </a:cubicBezTo>
                      <a:cubicBezTo>
                        <a:pt x="225924" y="56264"/>
                        <a:pt x="225924" y="75019"/>
                        <a:pt x="207309" y="75019"/>
                      </a:cubicBezTo>
                      <a:cubicBezTo>
                        <a:pt x="213699" y="93912"/>
                        <a:pt x="213699" y="112667"/>
                        <a:pt x="213699" y="137673"/>
                      </a:cubicBezTo>
                      <a:cubicBezTo>
                        <a:pt x="219951" y="143925"/>
                        <a:pt x="213699" y="125170"/>
                        <a:pt x="213699" y="137673"/>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0" name="Freihandform: Form 419">
                  <a:extLst>
                    <a:ext uri="{FF2B5EF4-FFF2-40B4-BE49-F238E27FC236}">
                      <a16:creationId xmlns:a16="http://schemas.microsoft.com/office/drawing/2014/main" id="{AAB8876A-D2E1-4FA8-B6C6-4BF390E5956C}"/>
                    </a:ext>
                  </a:extLst>
                </p:cNvPr>
                <p:cNvSpPr/>
                <p:nvPr/>
              </p:nvSpPr>
              <p:spPr>
                <a:xfrm>
                  <a:off x="3821593" y="980918"/>
                  <a:ext cx="1892174" cy="1419242"/>
                </a:xfrm>
                <a:custGeom>
                  <a:avLst/>
                  <a:gdLst>
                    <a:gd name="connsiteX0" fmla="*/ 198939 w 1892174"/>
                    <a:gd name="connsiteY0" fmla="*/ 231447 h 1419242"/>
                    <a:gd name="connsiteX1" fmla="*/ 167820 w 1892174"/>
                    <a:gd name="connsiteY1" fmla="*/ 256453 h 1419242"/>
                    <a:gd name="connsiteX2" fmla="*/ 198939 w 1892174"/>
                    <a:gd name="connsiteY2" fmla="*/ 268956 h 1419242"/>
                    <a:gd name="connsiteX3" fmla="*/ 242422 w 1892174"/>
                    <a:gd name="connsiteY3" fmla="*/ 268956 h 1419242"/>
                    <a:gd name="connsiteX4" fmla="*/ 279792 w 1892174"/>
                    <a:gd name="connsiteY4" fmla="*/ 262704 h 1419242"/>
                    <a:gd name="connsiteX5" fmla="*/ 254925 w 1892174"/>
                    <a:gd name="connsiteY5" fmla="*/ 275208 h 1419242"/>
                    <a:gd name="connsiteX6" fmla="*/ 248673 w 1892174"/>
                    <a:gd name="connsiteY6" fmla="*/ 300214 h 1419242"/>
                    <a:gd name="connsiteX7" fmla="*/ 205190 w 1892174"/>
                    <a:gd name="connsiteY7" fmla="*/ 337723 h 1419242"/>
                    <a:gd name="connsiteX8" fmla="*/ 174071 w 1892174"/>
                    <a:gd name="connsiteY8" fmla="*/ 337723 h 1419242"/>
                    <a:gd name="connsiteX9" fmla="*/ 149204 w 1892174"/>
                    <a:gd name="connsiteY9" fmla="*/ 337723 h 1419242"/>
                    <a:gd name="connsiteX10" fmla="*/ 124337 w 1892174"/>
                    <a:gd name="connsiteY10" fmla="*/ 350226 h 1419242"/>
                    <a:gd name="connsiteX11" fmla="*/ 99469 w 1892174"/>
                    <a:gd name="connsiteY11" fmla="*/ 356478 h 1419242"/>
                    <a:gd name="connsiteX12" fmla="*/ 43483 w 1892174"/>
                    <a:gd name="connsiteY12" fmla="*/ 368981 h 1419242"/>
                    <a:gd name="connsiteX13" fmla="*/ 24868 w 1892174"/>
                    <a:gd name="connsiteY13" fmla="*/ 368981 h 1419242"/>
                    <a:gd name="connsiteX14" fmla="*/ 0 w 1892174"/>
                    <a:gd name="connsiteY14" fmla="*/ 387736 h 1419242"/>
                    <a:gd name="connsiteX15" fmla="*/ 6252 w 1892174"/>
                    <a:gd name="connsiteY15" fmla="*/ 393987 h 1419242"/>
                    <a:gd name="connsiteX16" fmla="*/ 0 w 1892174"/>
                    <a:gd name="connsiteY16" fmla="*/ 400239 h 1419242"/>
                    <a:gd name="connsiteX17" fmla="*/ 18616 w 1892174"/>
                    <a:gd name="connsiteY17" fmla="*/ 425245 h 1419242"/>
                    <a:gd name="connsiteX18" fmla="*/ 24868 w 1892174"/>
                    <a:gd name="connsiteY18" fmla="*/ 418993 h 1419242"/>
                    <a:gd name="connsiteX19" fmla="*/ 43483 w 1892174"/>
                    <a:gd name="connsiteY19" fmla="*/ 425245 h 1419242"/>
                    <a:gd name="connsiteX20" fmla="*/ 80854 w 1892174"/>
                    <a:gd name="connsiteY20" fmla="*/ 418993 h 1419242"/>
                    <a:gd name="connsiteX21" fmla="*/ 80854 w 1892174"/>
                    <a:gd name="connsiteY21" fmla="*/ 431497 h 1419242"/>
                    <a:gd name="connsiteX22" fmla="*/ 99469 w 1892174"/>
                    <a:gd name="connsiteY22" fmla="*/ 444000 h 1419242"/>
                    <a:gd name="connsiteX23" fmla="*/ 118085 w 1892174"/>
                    <a:gd name="connsiteY23" fmla="*/ 450251 h 1419242"/>
                    <a:gd name="connsiteX24" fmla="*/ 136701 w 1892174"/>
                    <a:gd name="connsiteY24" fmla="*/ 444000 h 1419242"/>
                    <a:gd name="connsiteX25" fmla="*/ 174071 w 1892174"/>
                    <a:gd name="connsiteY25" fmla="*/ 444000 h 1419242"/>
                    <a:gd name="connsiteX26" fmla="*/ 186574 w 1892174"/>
                    <a:gd name="connsiteY26" fmla="*/ 431497 h 1419242"/>
                    <a:gd name="connsiteX27" fmla="*/ 211442 w 1892174"/>
                    <a:gd name="connsiteY27" fmla="*/ 450251 h 1419242"/>
                    <a:gd name="connsiteX28" fmla="*/ 136840 w 1892174"/>
                    <a:gd name="connsiteY28" fmla="*/ 456503 h 1419242"/>
                    <a:gd name="connsiteX29" fmla="*/ 149343 w 1892174"/>
                    <a:gd name="connsiteY29" fmla="*/ 462754 h 1419242"/>
                    <a:gd name="connsiteX30" fmla="*/ 180462 w 1892174"/>
                    <a:gd name="connsiteY30" fmla="*/ 469006 h 1419242"/>
                    <a:gd name="connsiteX31" fmla="*/ 149343 w 1892174"/>
                    <a:gd name="connsiteY31" fmla="*/ 469006 h 1419242"/>
                    <a:gd name="connsiteX32" fmla="*/ 93357 w 1892174"/>
                    <a:gd name="connsiteY32" fmla="*/ 462754 h 1419242"/>
                    <a:gd name="connsiteX33" fmla="*/ 55986 w 1892174"/>
                    <a:gd name="connsiteY33" fmla="*/ 475257 h 1419242"/>
                    <a:gd name="connsiteX34" fmla="*/ 74602 w 1892174"/>
                    <a:gd name="connsiteY34" fmla="*/ 487761 h 1419242"/>
                    <a:gd name="connsiteX35" fmla="*/ 93218 w 1892174"/>
                    <a:gd name="connsiteY35" fmla="*/ 481509 h 1419242"/>
                    <a:gd name="connsiteX36" fmla="*/ 93218 w 1892174"/>
                    <a:gd name="connsiteY36" fmla="*/ 494012 h 1419242"/>
                    <a:gd name="connsiteX37" fmla="*/ 118085 w 1892174"/>
                    <a:gd name="connsiteY37" fmla="*/ 500264 h 1419242"/>
                    <a:gd name="connsiteX38" fmla="*/ 155456 w 1892174"/>
                    <a:gd name="connsiteY38" fmla="*/ 500264 h 1419242"/>
                    <a:gd name="connsiteX39" fmla="*/ 124337 w 1892174"/>
                    <a:gd name="connsiteY39" fmla="*/ 506515 h 1419242"/>
                    <a:gd name="connsiteX40" fmla="*/ 130588 w 1892174"/>
                    <a:gd name="connsiteY40" fmla="*/ 531522 h 1419242"/>
                    <a:gd name="connsiteX41" fmla="*/ 167959 w 1892174"/>
                    <a:gd name="connsiteY41" fmla="*/ 544025 h 1419242"/>
                    <a:gd name="connsiteX42" fmla="*/ 192826 w 1892174"/>
                    <a:gd name="connsiteY42" fmla="*/ 544025 h 1419242"/>
                    <a:gd name="connsiteX43" fmla="*/ 180323 w 1892174"/>
                    <a:gd name="connsiteY43" fmla="*/ 531522 h 1419242"/>
                    <a:gd name="connsiteX44" fmla="*/ 192826 w 1892174"/>
                    <a:gd name="connsiteY44" fmla="*/ 531522 h 1419242"/>
                    <a:gd name="connsiteX45" fmla="*/ 211442 w 1892174"/>
                    <a:gd name="connsiteY45" fmla="*/ 525270 h 1419242"/>
                    <a:gd name="connsiteX46" fmla="*/ 223945 w 1892174"/>
                    <a:gd name="connsiteY46" fmla="*/ 519018 h 1419242"/>
                    <a:gd name="connsiteX47" fmla="*/ 223945 w 1892174"/>
                    <a:gd name="connsiteY47" fmla="*/ 537773 h 1419242"/>
                    <a:gd name="connsiteX48" fmla="*/ 255064 w 1892174"/>
                    <a:gd name="connsiteY48" fmla="*/ 531522 h 1419242"/>
                    <a:gd name="connsiteX49" fmla="*/ 273679 w 1892174"/>
                    <a:gd name="connsiteY49" fmla="*/ 531522 h 1419242"/>
                    <a:gd name="connsiteX50" fmla="*/ 292295 w 1892174"/>
                    <a:gd name="connsiteY50" fmla="*/ 525270 h 1419242"/>
                    <a:gd name="connsiteX51" fmla="*/ 317163 w 1892174"/>
                    <a:gd name="connsiteY51" fmla="*/ 525270 h 1419242"/>
                    <a:gd name="connsiteX52" fmla="*/ 379400 w 1892174"/>
                    <a:gd name="connsiteY52" fmla="*/ 537773 h 1419242"/>
                    <a:gd name="connsiteX53" fmla="*/ 416771 w 1892174"/>
                    <a:gd name="connsiteY53" fmla="*/ 550276 h 1419242"/>
                    <a:gd name="connsiteX54" fmla="*/ 447890 w 1892174"/>
                    <a:gd name="connsiteY54" fmla="*/ 562779 h 1419242"/>
                    <a:gd name="connsiteX55" fmla="*/ 454141 w 1892174"/>
                    <a:gd name="connsiteY55" fmla="*/ 581534 h 1419242"/>
                    <a:gd name="connsiteX56" fmla="*/ 472757 w 1892174"/>
                    <a:gd name="connsiteY56" fmla="*/ 600289 h 1419242"/>
                    <a:gd name="connsiteX57" fmla="*/ 497625 w 1892174"/>
                    <a:gd name="connsiteY57" fmla="*/ 606540 h 1419242"/>
                    <a:gd name="connsiteX58" fmla="*/ 516240 w 1892174"/>
                    <a:gd name="connsiteY58" fmla="*/ 631546 h 1419242"/>
                    <a:gd name="connsiteX59" fmla="*/ 522492 w 1892174"/>
                    <a:gd name="connsiteY59" fmla="*/ 656553 h 1419242"/>
                    <a:gd name="connsiteX60" fmla="*/ 534995 w 1892174"/>
                    <a:gd name="connsiteY60" fmla="*/ 681559 h 1419242"/>
                    <a:gd name="connsiteX61" fmla="*/ 534995 w 1892174"/>
                    <a:gd name="connsiteY61" fmla="*/ 694062 h 1419242"/>
                    <a:gd name="connsiteX62" fmla="*/ 541246 w 1892174"/>
                    <a:gd name="connsiteY62" fmla="*/ 700314 h 1419242"/>
                    <a:gd name="connsiteX63" fmla="*/ 541246 w 1892174"/>
                    <a:gd name="connsiteY63" fmla="*/ 700314 h 1419242"/>
                    <a:gd name="connsiteX64" fmla="*/ 553750 w 1892174"/>
                    <a:gd name="connsiteY64" fmla="*/ 712817 h 1419242"/>
                    <a:gd name="connsiteX65" fmla="*/ 547498 w 1892174"/>
                    <a:gd name="connsiteY65" fmla="*/ 731571 h 1419242"/>
                    <a:gd name="connsiteX66" fmla="*/ 566114 w 1892174"/>
                    <a:gd name="connsiteY66" fmla="*/ 731571 h 1419242"/>
                    <a:gd name="connsiteX67" fmla="*/ 566114 w 1892174"/>
                    <a:gd name="connsiteY67" fmla="*/ 744074 h 1419242"/>
                    <a:gd name="connsiteX68" fmla="*/ 566114 w 1892174"/>
                    <a:gd name="connsiteY68" fmla="*/ 750326 h 1419242"/>
                    <a:gd name="connsiteX69" fmla="*/ 578617 w 1892174"/>
                    <a:gd name="connsiteY69" fmla="*/ 756578 h 1419242"/>
                    <a:gd name="connsiteX70" fmla="*/ 560001 w 1892174"/>
                    <a:gd name="connsiteY70" fmla="*/ 762829 h 1419242"/>
                    <a:gd name="connsiteX71" fmla="*/ 547498 w 1892174"/>
                    <a:gd name="connsiteY71" fmla="*/ 762829 h 1419242"/>
                    <a:gd name="connsiteX72" fmla="*/ 553750 w 1892174"/>
                    <a:gd name="connsiteY72" fmla="*/ 762829 h 1419242"/>
                    <a:gd name="connsiteX73" fmla="*/ 541246 w 1892174"/>
                    <a:gd name="connsiteY73" fmla="*/ 775332 h 1419242"/>
                    <a:gd name="connsiteX74" fmla="*/ 553750 w 1892174"/>
                    <a:gd name="connsiteY74" fmla="*/ 781584 h 1419242"/>
                    <a:gd name="connsiteX75" fmla="*/ 572365 w 1892174"/>
                    <a:gd name="connsiteY75" fmla="*/ 787835 h 1419242"/>
                    <a:gd name="connsiteX76" fmla="*/ 547498 w 1892174"/>
                    <a:gd name="connsiteY76" fmla="*/ 794087 h 1419242"/>
                    <a:gd name="connsiteX77" fmla="*/ 535134 w 1892174"/>
                    <a:gd name="connsiteY77" fmla="*/ 806590 h 1419242"/>
                    <a:gd name="connsiteX78" fmla="*/ 541385 w 1892174"/>
                    <a:gd name="connsiteY78" fmla="*/ 812842 h 1419242"/>
                    <a:gd name="connsiteX79" fmla="*/ 553889 w 1892174"/>
                    <a:gd name="connsiteY79" fmla="*/ 819093 h 1419242"/>
                    <a:gd name="connsiteX80" fmla="*/ 591259 w 1892174"/>
                    <a:gd name="connsiteY80" fmla="*/ 819093 h 1419242"/>
                    <a:gd name="connsiteX81" fmla="*/ 609875 w 1892174"/>
                    <a:gd name="connsiteY81" fmla="*/ 800339 h 1419242"/>
                    <a:gd name="connsiteX82" fmla="*/ 597371 w 1892174"/>
                    <a:gd name="connsiteY82" fmla="*/ 762829 h 1419242"/>
                    <a:gd name="connsiteX83" fmla="*/ 609875 w 1892174"/>
                    <a:gd name="connsiteY83" fmla="*/ 787835 h 1419242"/>
                    <a:gd name="connsiteX84" fmla="*/ 628490 w 1892174"/>
                    <a:gd name="connsiteY84" fmla="*/ 787835 h 1419242"/>
                    <a:gd name="connsiteX85" fmla="*/ 609875 w 1892174"/>
                    <a:gd name="connsiteY85" fmla="*/ 812842 h 1419242"/>
                    <a:gd name="connsiteX86" fmla="*/ 634742 w 1892174"/>
                    <a:gd name="connsiteY86" fmla="*/ 806590 h 1419242"/>
                    <a:gd name="connsiteX87" fmla="*/ 647245 w 1892174"/>
                    <a:gd name="connsiteY87" fmla="*/ 806590 h 1419242"/>
                    <a:gd name="connsiteX88" fmla="*/ 665861 w 1892174"/>
                    <a:gd name="connsiteY88" fmla="*/ 800339 h 1419242"/>
                    <a:gd name="connsiteX89" fmla="*/ 653358 w 1892174"/>
                    <a:gd name="connsiteY89" fmla="*/ 812842 h 1419242"/>
                    <a:gd name="connsiteX90" fmla="*/ 628490 w 1892174"/>
                    <a:gd name="connsiteY90" fmla="*/ 819093 h 1419242"/>
                    <a:gd name="connsiteX91" fmla="*/ 640994 w 1892174"/>
                    <a:gd name="connsiteY91" fmla="*/ 819093 h 1419242"/>
                    <a:gd name="connsiteX92" fmla="*/ 678364 w 1892174"/>
                    <a:gd name="connsiteY92" fmla="*/ 819093 h 1419242"/>
                    <a:gd name="connsiteX93" fmla="*/ 647245 w 1892174"/>
                    <a:gd name="connsiteY93" fmla="*/ 825345 h 1419242"/>
                    <a:gd name="connsiteX94" fmla="*/ 659748 w 1892174"/>
                    <a:gd name="connsiteY94" fmla="*/ 837848 h 1419242"/>
                    <a:gd name="connsiteX95" fmla="*/ 659748 w 1892174"/>
                    <a:gd name="connsiteY95" fmla="*/ 844099 h 1419242"/>
                    <a:gd name="connsiteX96" fmla="*/ 659748 w 1892174"/>
                    <a:gd name="connsiteY96" fmla="*/ 856603 h 1419242"/>
                    <a:gd name="connsiteX97" fmla="*/ 678364 w 1892174"/>
                    <a:gd name="connsiteY97" fmla="*/ 850351 h 1419242"/>
                    <a:gd name="connsiteX98" fmla="*/ 684615 w 1892174"/>
                    <a:gd name="connsiteY98" fmla="*/ 856603 h 1419242"/>
                    <a:gd name="connsiteX99" fmla="*/ 696980 w 1892174"/>
                    <a:gd name="connsiteY99" fmla="*/ 875357 h 1419242"/>
                    <a:gd name="connsiteX100" fmla="*/ 678364 w 1892174"/>
                    <a:gd name="connsiteY100" fmla="*/ 881609 h 1419242"/>
                    <a:gd name="connsiteX101" fmla="*/ 591259 w 1892174"/>
                    <a:gd name="connsiteY101" fmla="*/ 856603 h 1419242"/>
                    <a:gd name="connsiteX102" fmla="*/ 609875 w 1892174"/>
                    <a:gd name="connsiteY102" fmla="*/ 875357 h 1419242"/>
                    <a:gd name="connsiteX103" fmla="*/ 659609 w 1892174"/>
                    <a:gd name="connsiteY103" fmla="*/ 900363 h 1419242"/>
                    <a:gd name="connsiteX104" fmla="*/ 684477 w 1892174"/>
                    <a:gd name="connsiteY104" fmla="*/ 894112 h 1419242"/>
                    <a:gd name="connsiteX105" fmla="*/ 703092 w 1892174"/>
                    <a:gd name="connsiteY105" fmla="*/ 900363 h 1419242"/>
                    <a:gd name="connsiteX106" fmla="*/ 703092 w 1892174"/>
                    <a:gd name="connsiteY106" fmla="*/ 912867 h 1419242"/>
                    <a:gd name="connsiteX107" fmla="*/ 703092 w 1892174"/>
                    <a:gd name="connsiteY107" fmla="*/ 931621 h 1419242"/>
                    <a:gd name="connsiteX108" fmla="*/ 690589 w 1892174"/>
                    <a:gd name="connsiteY108" fmla="*/ 944124 h 1419242"/>
                    <a:gd name="connsiteX109" fmla="*/ 703092 w 1892174"/>
                    <a:gd name="connsiteY109" fmla="*/ 950376 h 1419242"/>
                    <a:gd name="connsiteX110" fmla="*/ 684477 w 1892174"/>
                    <a:gd name="connsiteY110" fmla="*/ 950376 h 1419242"/>
                    <a:gd name="connsiteX111" fmla="*/ 678225 w 1892174"/>
                    <a:gd name="connsiteY111" fmla="*/ 969131 h 1419242"/>
                    <a:gd name="connsiteX112" fmla="*/ 690728 w 1892174"/>
                    <a:gd name="connsiteY112" fmla="*/ 969131 h 1419242"/>
                    <a:gd name="connsiteX113" fmla="*/ 672112 w 1892174"/>
                    <a:gd name="connsiteY113" fmla="*/ 981634 h 1419242"/>
                    <a:gd name="connsiteX114" fmla="*/ 653497 w 1892174"/>
                    <a:gd name="connsiteY114" fmla="*/ 981634 h 1419242"/>
                    <a:gd name="connsiteX115" fmla="*/ 634881 w 1892174"/>
                    <a:gd name="connsiteY115" fmla="*/ 981634 h 1419242"/>
                    <a:gd name="connsiteX116" fmla="*/ 622378 w 1892174"/>
                    <a:gd name="connsiteY116" fmla="*/ 987885 h 1419242"/>
                    <a:gd name="connsiteX117" fmla="*/ 647245 w 1892174"/>
                    <a:gd name="connsiteY117" fmla="*/ 1006640 h 1419242"/>
                    <a:gd name="connsiteX118" fmla="*/ 640994 w 1892174"/>
                    <a:gd name="connsiteY118" fmla="*/ 1000388 h 1419242"/>
                    <a:gd name="connsiteX119" fmla="*/ 659609 w 1892174"/>
                    <a:gd name="connsiteY119" fmla="*/ 1000388 h 1419242"/>
                    <a:gd name="connsiteX120" fmla="*/ 690728 w 1892174"/>
                    <a:gd name="connsiteY120" fmla="*/ 994137 h 1419242"/>
                    <a:gd name="connsiteX121" fmla="*/ 672112 w 1892174"/>
                    <a:gd name="connsiteY121" fmla="*/ 1000388 h 1419242"/>
                    <a:gd name="connsiteX122" fmla="*/ 684615 w 1892174"/>
                    <a:gd name="connsiteY122" fmla="*/ 1006640 h 1419242"/>
                    <a:gd name="connsiteX123" fmla="*/ 715735 w 1892174"/>
                    <a:gd name="connsiteY123" fmla="*/ 1012892 h 1419242"/>
                    <a:gd name="connsiteX124" fmla="*/ 697119 w 1892174"/>
                    <a:gd name="connsiteY124" fmla="*/ 1012892 h 1419242"/>
                    <a:gd name="connsiteX125" fmla="*/ 721986 w 1892174"/>
                    <a:gd name="connsiteY125" fmla="*/ 1031646 h 1419242"/>
                    <a:gd name="connsiteX126" fmla="*/ 672251 w 1892174"/>
                    <a:gd name="connsiteY126" fmla="*/ 1006640 h 1419242"/>
                    <a:gd name="connsiteX127" fmla="*/ 622517 w 1892174"/>
                    <a:gd name="connsiteY127" fmla="*/ 1012892 h 1419242"/>
                    <a:gd name="connsiteX128" fmla="*/ 610014 w 1892174"/>
                    <a:gd name="connsiteY128" fmla="*/ 1025395 h 1419242"/>
                    <a:gd name="connsiteX129" fmla="*/ 610014 w 1892174"/>
                    <a:gd name="connsiteY129" fmla="*/ 1031646 h 1419242"/>
                    <a:gd name="connsiteX130" fmla="*/ 641132 w 1892174"/>
                    <a:gd name="connsiteY130" fmla="*/ 1012892 h 1419242"/>
                    <a:gd name="connsiteX131" fmla="*/ 653635 w 1892174"/>
                    <a:gd name="connsiteY131" fmla="*/ 1019143 h 1419242"/>
                    <a:gd name="connsiteX132" fmla="*/ 672251 w 1892174"/>
                    <a:gd name="connsiteY132" fmla="*/ 1019143 h 1419242"/>
                    <a:gd name="connsiteX133" fmla="*/ 684755 w 1892174"/>
                    <a:gd name="connsiteY133" fmla="*/ 1025395 h 1419242"/>
                    <a:gd name="connsiteX134" fmla="*/ 703370 w 1892174"/>
                    <a:gd name="connsiteY134" fmla="*/ 1031646 h 1419242"/>
                    <a:gd name="connsiteX135" fmla="*/ 697119 w 1892174"/>
                    <a:gd name="connsiteY135" fmla="*/ 1031646 h 1419242"/>
                    <a:gd name="connsiteX136" fmla="*/ 709622 w 1892174"/>
                    <a:gd name="connsiteY136" fmla="*/ 1037898 h 1419242"/>
                    <a:gd name="connsiteX137" fmla="*/ 684755 w 1892174"/>
                    <a:gd name="connsiteY137" fmla="*/ 1031646 h 1419242"/>
                    <a:gd name="connsiteX138" fmla="*/ 678503 w 1892174"/>
                    <a:gd name="connsiteY138" fmla="*/ 1037898 h 1419242"/>
                    <a:gd name="connsiteX139" fmla="*/ 635020 w 1892174"/>
                    <a:gd name="connsiteY139" fmla="*/ 1025395 h 1419242"/>
                    <a:gd name="connsiteX140" fmla="*/ 597650 w 1892174"/>
                    <a:gd name="connsiteY140" fmla="*/ 1050401 h 1419242"/>
                    <a:gd name="connsiteX141" fmla="*/ 647384 w 1892174"/>
                    <a:gd name="connsiteY141" fmla="*/ 1044149 h 1419242"/>
                    <a:gd name="connsiteX142" fmla="*/ 672251 w 1892174"/>
                    <a:gd name="connsiteY142" fmla="*/ 1050401 h 1419242"/>
                    <a:gd name="connsiteX143" fmla="*/ 697119 w 1892174"/>
                    <a:gd name="connsiteY143" fmla="*/ 1056652 h 1419242"/>
                    <a:gd name="connsiteX144" fmla="*/ 666000 w 1892174"/>
                    <a:gd name="connsiteY144" fmla="*/ 1050401 h 1419242"/>
                    <a:gd name="connsiteX145" fmla="*/ 622517 w 1892174"/>
                    <a:gd name="connsiteY145" fmla="*/ 1050401 h 1419242"/>
                    <a:gd name="connsiteX146" fmla="*/ 641132 w 1892174"/>
                    <a:gd name="connsiteY146" fmla="*/ 1069156 h 1419242"/>
                    <a:gd name="connsiteX147" fmla="*/ 616265 w 1892174"/>
                    <a:gd name="connsiteY147" fmla="*/ 1081659 h 1419242"/>
                    <a:gd name="connsiteX148" fmla="*/ 628629 w 1892174"/>
                    <a:gd name="connsiteY148" fmla="*/ 1094162 h 1419242"/>
                    <a:gd name="connsiteX149" fmla="*/ 603762 w 1892174"/>
                    <a:gd name="connsiteY149" fmla="*/ 1100413 h 1419242"/>
                    <a:gd name="connsiteX150" fmla="*/ 628629 w 1892174"/>
                    <a:gd name="connsiteY150" fmla="*/ 1100413 h 1419242"/>
                    <a:gd name="connsiteX151" fmla="*/ 666000 w 1892174"/>
                    <a:gd name="connsiteY151" fmla="*/ 1075407 h 1419242"/>
                    <a:gd name="connsiteX152" fmla="*/ 709483 w 1892174"/>
                    <a:gd name="connsiteY152" fmla="*/ 1069156 h 1419242"/>
                    <a:gd name="connsiteX153" fmla="*/ 690867 w 1892174"/>
                    <a:gd name="connsiteY153" fmla="*/ 1069156 h 1419242"/>
                    <a:gd name="connsiteX154" fmla="*/ 709483 w 1892174"/>
                    <a:gd name="connsiteY154" fmla="*/ 1075407 h 1419242"/>
                    <a:gd name="connsiteX155" fmla="*/ 616126 w 1892174"/>
                    <a:gd name="connsiteY155" fmla="*/ 1119168 h 1419242"/>
                    <a:gd name="connsiteX156" fmla="*/ 659609 w 1892174"/>
                    <a:gd name="connsiteY156" fmla="*/ 1112917 h 1419242"/>
                    <a:gd name="connsiteX157" fmla="*/ 628490 w 1892174"/>
                    <a:gd name="connsiteY157" fmla="*/ 1125420 h 1419242"/>
                    <a:gd name="connsiteX158" fmla="*/ 647106 w 1892174"/>
                    <a:gd name="connsiteY158" fmla="*/ 1144174 h 1419242"/>
                    <a:gd name="connsiteX159" fmla="*/ 665722 w 1892174"/>
                    <a:gd name="connsiteY159" fmla="*/ 1125420 h 1419242"/>
                    <a:gd name="connsiteX160" fmla="*/ 696841 w 1892174"/>
                    <a:gd name="connsiteY160" fmla="*/ 1131671 h 1419242"/>
                    <a:gd name="connsiteX161" fmla="*/ 671974 w 1892174"/>
                    <a:gd name="connsiteY161" fmla="*/ 1131671 h 1419242"/>
                    <a:gd name="connsiteX162" fmla="*/ 647106 w 1892174"/>
                    <a:gd name="connsiteY162" fmla="*/ 1144174 h 1419242"/>
                    <a:gd name="connsiteX163" fmla="*/ 647106 w 1892174"/>
                    <a:gd name="connsiteY163" fmla="*/ 1162929 h 1419242"/>
                    <a:gd name="connsiteX164" fmla="*/ 665722 w 1892174"/>
                    <a:gd name="connsiteY164" fmla="*/ 1169181 h 1419242"/>
                    <a:gd name="connsiteX165" fmla="*/ 659470 w 1892174"/>
                    <a:gd name="connsiteY165" fmla="*/ 1206690 h 1419242"/>
                    <a:gd name="connsiteX166" fmla="*/ 684338 w 1892174"/>
                    <a:gd name="connsiteY166" fmla="*/ 1181684 h 1419242"/>
                    <a:gd name="connsiteX167" fmla="*/ 684338 w 1892174"/>
                    <a:gd name="connsiteY167" fmla="*/ 1200438 h 1419242"/>
                    <a:gd name="connsiteX168" fmla="*/ 696702 w 1892174"/>
                    <a:gd name="connsiteY168" fmla="*/ 1194187 h 1419242"/>
                    <a:gd name="connsiteX169" fmla="*/ 684338 w 1892174"/>
                    <a:gd name="connsiteY169" fmla="*/ 1162929 h 1419242"/>
                    <a:gd name="connsiteX170" fmla="*/ 702953 w 1892174"/>
                    <a:gd name="connsiteY170" fmla="*/ 1181684 h 1419242"/>
                    <a:gd name="connsiteX171" fmla="*/ 715456 w 1892174"/>
                    <a:gd name="connsiteY171" fmla="*/ 1175432 h 1419242"/>
                    <a:gd name="connsiteX172" fmla="*/ 721708 w 1892174"/>
                    <a:gd name="connsiteY172" fmla="*/ 1200438 h 1419242"/>
                    <a:gd name="connsiteX173" fmla="*/ 709205 w 1892174"/>
                    <a:gd name="connsiteY173" fmla="*/ 1194187 h 1419242"/>
                    <a:gd name="connsiteX174" fmla="*/ 709205 w 1892174"/>
                    <a:gd name="connsiteY174" fmla="*/ 1225445 h 1419242"/>
                    <a:gd name="connsiteX175" fmla="*/ 709205 w 1892174"/>
                    <a:gd name="connsiteY175" fmla="*/ 1206690 h 1419242"/>
                    <a:gd name="connsiteX176" fmla="*/ 690589 w 1892174"/>
                    <a:gd name="connsiteY176" fmla="*/ 1212941 h 1419242"/>
                    <a:gd name="connsiteX177" fmla="*/ 678086 w 1892174"/>
                    <a:gd name="connsiteY177" fmla="*/ 1231696 h 1419242"/>
                    <a:gd name="connsiteX178" fmla="*/ 690589 w 1892174"/>
                    <a:gd name="connsiteY178" fmla="*/ 1237948 h 1419242"/>
                    <a:gd name="connsiteX179" fmla="*/ 684338 w 1892174"/>
                    <a:gd name="connsiteY179" fmla="*/ 1250451 h 1419242"/>
                    <a:gd name="connsiteX180" fmla="*/ 702953 w 1892174"/>
                    <a:gd name="connsiteY180" fmla="*/ 1256702 h 1419242"/>
                    <a:gd name="connsiteX181" fmla="*/ 715456 w 1892174"/>
                    <a:gd name="connsiteY181" fmla="*/ 1281709 h 1419242"/>
                    <a:gd name="connsiteX182" fmla="*/ 727960 w 1892174"/>
                    <a:gd name="connsiteY182" fmla="*/ 1306715 h 1419242"/>
                    <a:gd name="connsiteX183" fmla="*/ 746576 w 1892174"/>
                    <a:gd name="connsiteY183" fmla="*/ 1312966 h 1419242"/>
                    <a:gd name="connsiteX184" fmla="*/ 759079 w 1892174"/>
                    <a:gd name="connsiteY184" fmla="*/ 1344224 h 1419242"/>
                    <a:gd name="connsiteX185" fmla="*/ 765330 w 1892174"/>
                    <a:gd name="connsiteY185" fmla="*/ 1344224 h 1419242"/>
                    <a:gd name="connsiteX186" fmla="*/ 783946 w 1892174"/>
                    <a:gd name="connsiteY186" fmla="*/ 1362979 h 1419242"/>
                    <a:gd name="connsiteX187" fmla="*/ 821316 w 1892174"/>
                    <a:gd name="connsiteY187" fmla="*/ 1369230 h 1419242"/>
                    <a:gd name="connsiteX188" fmla="*/ 846184 w 1892174"/>
                    <a:gd name="connsiteY188" fmla="*/ 1362979 h 1419242"/>
                    <a:gd name="connsiteX189" fmla="*/ 846184 w 1892174"/>
                    <a:gd name="connsiteY189" fmla="*/ 1381734 h 1419242"/>
                    <a:gd name="connsiteX190" fmla="*/ 858687 w 1892174"/>
                    <a:gd name="connsiteY190" fmla="*/ 1362979 h 1419242"/>
                    <a:gd name="connsiteX191" fmla="*/ 858687 w 1892174"/>
                    <a:gd name="connsiteY191" fmla="*/ 1369230 h 1419242"/>
                    <a:gd name="connsiteX192" fmla="*/ 864938 w 1892174"/>
                    <a:gd name="connsiteY192" fmla="*/ 1375482 h 1419242"/>
                    <a:gd name="connsiteX193" fmla="*/ 852435 w 1892174"/>
                    <a:gd name="connsiteY193" fmla="*/ 1387985 h 1419242"/>
                    <a:gd name="connsiteX194" fmla="*/ 864938 w 1892174"/>
                    <a:gd name="connsiteY194" fmla="*/ 1381734 h 1419242"/>
                    <a:gd name="connsiteX195" fmla="*/ 864938 w 1892174"/>
                    <a:gd name="connsiteY195" fmla="*/ 1394237 h 1419242"/>
                    <a:gd name="connsiteX196" fmla="*/ 883554 w 1892174"/>
                    <a:gd name="connsiteY196" fmla="*/ 1387985 h 1419242"/>
                    <a:gd name="connsiteX197" fmla="*/ 871051 w 1892174"/>
                    <a:gd name="connsiteY197" fmla="*/ 1406740 h 1419242"/>
                    <a:gd name="connsiteX198" fmla="*/ 883554 w 1892174"/>
                    <a:gd name="connsiteY198" fmla="*/ 1406740 h 1419242"/>
                    <a:gd name="connsiteX199" fmla="*/ 883554 w 1892174"/>
                    <a:gd name="connsiteY199" fmla="*/ 1400488 h 1419242"/>
                    <a:gd name="connsiteX200" fmla="*/ 902170 w 1892174"/>
                    <a:gd name="connsiteY200" fmla="*/ 1394237 h 1419242"/>
                    <a:gd name="connsiteX201" fmla="*/ 902170 w 1892174"/>
                    <a:gd name="connsiteY201" fmla="*/ 1419243 h 1419242"/>
                    <a:gd name="connsiteX202" fmla="*/ 914673 w 1892174"/>
                    <a:gd name="connsiteY202" fmla="*/ 1387985 h 1419242"/>
                    <a:gd name="connsiteX203" fmla="*/ 933289 w 1892174"/>
                    <a:gd name="connsiteY203" fmla="*/ 1381734 h 1419242"/>
                    <a:gd name="connsiteX204" fmla="*/ 945792 w 1892174"/>
                    <a:gd name="connsiteY204" fmla="*/ 1362979 h 1419242"/>
                    <a:gd name="connsiteX205" fmla="*/ 927176 w 1892174"/>
                    <a:gd name="connsiteY205" fmla="*/ 1362979 h 1419242"/>
                    <a:gd name="connsiteX206" fmla="*/ 945792 w 1892174"/>
                    <a:gd name="connsiteY206" fmla="*/ 1350476 h 1419242"/>
                    <a:gd name="connsiteX207" fmla="*/ 939540 w 1892174"/>
                    <a:gd name="connsiteY207" fmla="*/ 1337973 h 1419242"/>
                    <a:gd name="connsiteX208" fmla="*/ 958156 w 1892174"/>
                    <a:gd name="connsiteY208" fmla="*/ 1325470 h 1419242"/>
                    <a:gd name="connsiteX209" fmla="*/ 951905 w 1892174"/>
                    <a:gd name="connsiteY209" fmla="*/ 1300463 h 1419242"/>
                    <a:gd name="connsiteX210" fmla="*/ 951905 w 1892174"/>
                    <a:gd name="connsiteY210" fmla="*/ 1287960 h 1419242"/>
                    <a:gd name="connsiteX211" fmla="*/ 939401 w 1892174"/>
                    <a:gd name="connsiteY211" fmla="*/ 1281709 h 1419242"/>
                    <a:gd name="connsiteX212" fmla="*/ 970520 w 1892174"/>
                    <a:gd name="connsiteY212" fmla="*/ 1275457 h 1419242"/>
                    <a:gd name="connsiteX213" fmla="*/ 964269 w 1892174"/>
                    <a:gd name="connsiteY213" fmla="*/ 1262954 h 1419242"/>
                    <a:gd name="connsiteX214" fmla="*/ 995387 w 1892174"/>
                    <a:gd name="connsiteY214" fmla="*/ 1262954 h 1419242"/>
                    <a:gd name="connsiteX215" fmla="*/ 970520 w 1892174"/>
                    <a:gd name="connsiteY215" fmla="*/ 1250451 h 1419242"/>
                    <a:gd name="connsiteX216" fmla="*/ 995387 w 1892174"/>
                    <a:gd name="connsiteY216" fmla="*/ 1250451 h 1419242"/>
                    <a:gd name="connsiteX217" fmla="*/ 995387 w 1892174"/>
                    <a:gd name="connsiteY217" fmla="*/ 1244199 h 1419242"/>
                    <a:gd name="connsiteX218" fmla="*/ 1001639 w 1892174"/>
                    <a:gd name="connsiteY218" fmla="*/ 1244199 h 1419242"/>
                    <a:gd name="connsiteX219" fmla="*/ 983023 w 1892174"/>
                    <a:gd name="connsiteY219" fmla="*/ 1231696 h 1419242"/>
                    <a:gd name="connsiteX220" fmla="*/ 1007891 w 1892174"/>
                    <a:gd name="connsiteY220" fmla="*/ 1225445 h 1419242"/>
                    <a:gd name="connsiteX221" fmla="*/ 1001639 w 1892174"/>
                    <a:gd name="connsiteY221" fmla="*/ 1212941 h 1419242"/>
                    <a:gd name="connsiteX222" fmla="*/ 983023 w 1892174"/>
                    <a:gd name="connsiteY222" fmla="*/ 1206690 h 1419242"/>
                    <a:gd name="connsiteX223" fmla="*/ 1014142 w 1892174"/>
                    <a:gd name="connsiteY223" fmla="*/ 1200438 h 1419242"/>
                    <a:gd name="connsiteX224" fmla="*/ 1007891 w 1892174"/>
                    <a:gd name="connsiteY224" fmla="*/ 1181684 h 1419242"/>
                    <a:gd name="connsiteX225" fmla="*/ 1001639 w 1892174"/>
                    <a:gd name="connsiteY225" fmla="*/ 1162929 h 1419242"/>
                    <a:gd name="connsiteX226" fmla="*/ 1039010 w 1892174"/>
                    <a:gd name="connsiteY226" fmla="*/ 1156677 h 1419242"/>
                    <a:gd name="connsiteX227" fmla="*/ 1026506 w 1892174"/>
                    <a:gd name="connsiteY227" fmla="*/ 1144174 h 1419242"/>
                    <a:gd name="connsiteX228" fmla="*/ 1039010 w 1892174"/>
                    <a:gd name="connsiteY228" fmla="*/ 1137923 h 1419242"/>
                    <a:gd name="connsiteX229" fmla="*/ 1070128 w 1892174"/>
                    <a:gd name="connsiteY229" fmla="*/ 1137923 h 1419242"/>
                    <a:gd name="connsiteX230" fmla="*/ 1082632 w 1892174"/>
                    <a:gd name="connsiteY230" fmla="*/ 1137923 h 1419242"/>
                    <a:gd name="connsiteX231" fmla="*/ 1076380 w 1892174"/>
                    <a:gd name="connsiteY231" fmla="*/ 1119168 h 1419242"/>
                    <a:gd name="connsiteX232" fmla="*/ 1113751 w 1892174"/>
                    <a:gd name="connsiteY232" fmla="*/ 1100413 h 1419242"/>
                    <a:gd name="connsiteX233" fmla="*/ 1095135 w 1892174"/>
                    <a:gd name="connsiteY233" fmla="*/ 1131671 h 1419242"/>
                    <a:gd name="connsiteX234" fmla="*/ 1126254 w 1892174"/>
                    <a:gd name="connsiteY234" fmla="*/ 1119168 h 1419242"/>
                    <a:gd name="connsiteX235" fmla="*/ 1138757 w 1892174"/>
                    <a:gd name="connsiteY235" fmla="*/ 1125420 h 1419242"/>
                    <a:gd name="connsiteX236" fmla="*/ 1138757 w 1892174"/>
                    <a:gd name="connsiteY236" fmla="*/ 1112917 h 1419242"/>
                    <a:gd name="connsiteX237" fmla="*/ 1163624 w 1892174"/>
                    <a:gd name="connsiteY237" fmla="*/ 1106665 h 1419242"/>
                    <a:gd name="connsiteX238" fmla="*/ 1182240 w 1892174"/>
                    <a:gd name="connsiteY238" fmla="*/ 1100413 h 1419242"/>
                    <a:gd name="connsiteX239" fmla="*/ 1200856 w 1892174"/>
                    <a:gd name="connsiteY239" fmla="*/ 1081659 h 1419242"/>
                    <a:gd name="connsiteX240" fmla="*/ 1225723 w 1892174"/>
                    <a:gd name="connsiteY240" fmla="*/ 1050401 h 1419242"/>
                    <a:gd name="connsiteX241" fmla="*/ 1250590 w 1892174"/>
                    <a:gd name="connsiteY241" fmla="*/ 1031646 h 1419242"/>
                    <a:gd name="connsiteX242" fmla="*/ 1275458 w 1892174"/>
                    <a:gd name="connsiteY242" fmla="*/ 1012892 h 1419242"/>
                    <a:gd name="connsiteX243" fmla="*/ 1262954 w 1892174"/>
                    <a:gd name="connsiteY243" fmla="*/ 981634 h 1419242"/>
                    <a:gd name="connsiteX244" fmla="*/ 1294073 w 1892174"/>
                    <a:gd name="connsiteY244" fmla="*/ 1000388 h 1419242"/>
                    <a:gd name="connsiteX245" fmla="*/ 1312689 w 1892174"/>
                    <a:gd name="connsiteY245" fmla="*/ 1006640 h 1419242"/>
                    <a:gd name="connsiteX246" fmla="*/ 1325192 w 1892174"/>
                    <a:gd name="connsiteY246" fmla="*/ 1000388 h 1419242"/>
                    <a:gd name="connsiteX247" fmla="*/ 1343808 w 1892174"/>
                    <a:gd name="connsiteY247" fmla="*/ 1000388 h 1419242"/>
                    <a:gd name="connsiteX248" fmla="*/ 1350059 w 1892174"/>
                    <a:gd name="connsiteY248" fmla="*/ 994137 h 1419242"/>
                    <a:gd name="connsiteX249" fmla="*/ 1387430 w 1892174"/>
                    <a:gd name="connsiteY249" fmla="*/ 987885 h 1419242"/>
                    <a:gd name="connsiteX250" fmla="*/ 1474535 w 1892174"/>
                    <a:gd name="connsiteY250" fmla="*/ 962879 h 1419242"/>
                    <a:gd name="connsiteX251" fmla="*/ 1586507 w 1892174"/>
                    <a:gd name="connsiteY251" fmla="*/ 894112 h 1419242"/>
                    <a:gd name="connsiteX252" fmla="*/ 1530521 w 1892174"/>
                    <a:gd name="connsiteY252" fmla="*/ 894112 h 1419242"/>
                    <a:gd name="connsiteX253" fmla="*/ 1493151 w 1892174"/>
                    <a:gd name="connsiteY253" fmla="*/ 881609 h 1419242"/>
                    <a:gd name="connsiteX254" fmla="*/ 1462032 w 1892174"/>
                    <a:gd name="connsiteY254" fmla="*/ 887860 h 1419242"/>
                    <a:gd name="connsiteX255" fmla="*/ 1443416 w 1892174"/>
                    <a:gd name="connsiteY255" fmla="*/ 887860 h 1419242"/>
                    <a:gd name="connsiteX256" fmla="*/ 1424800 w 1892174"/>
                    <a:gd name="connsiteY256" fmla="*/ 900363 h 1419242"/>
                    <a:gd name="connsiteX257" fmla="*/ 1449668 w 1892174"/>
                    <a:gd name="connsiteY257" fmla="*/ 881609 h 1419242"/>
                    <a:gd name="connsiteX258" fmla="*/ 1418549 w 1892174"/>
                    <a:gd name="connsiteY258" fmla="*/ 881609 h 1419242"/>
                    <a:gd name="connsiteX259" fmla="*/ 1375066 w 1892174"/>
                    <a:gd name="connsiteY259" fmla="*/ 875357 h 1419242"/>
                    <a:gd name="connsiteX260" fmla="*/ 1406185 w 1892174"/>
                    <a:gd name="connsiteY260" fmla="*/ 856603 h 1419242"/>
                    <a:gd name="connsiteX261" fmla="*/ 1424800 w 1892174"/>
                    <a:gd name="connsiteY261" fmla="*/ 850351 h 1419242"/>
                    <a:gd name="connsiteX262" fmla="*/ 1493151 w 1892174"/>
                    <a:gd name="connsiteY262" fmla="*/ 831596 h 1419242"/>
                    <a:gd name="connsiteX263" fmla="*/ 1455780 w 1892174"/>
                    <a:gd name="connsiteY263" fmla="*/ 812842 h 1419242"/>
                    <a:gd name="connsiteX264" fmla="*/ 1493151 w 1892174"/>
                    <a:gd name="connsiteY264" fmla="*/ 825345 h 1419242"/>
                    <a:gd name="connsiteX265" fmla="*/ 1524270 w 1892174"/>
                    <a:gd name="connsiteY265" fmla="*/ 844099 h 1419242"/>
                    <a:gd name="connsiteX266" fmla="*/ 1542885 w 1892174"/>
                    <a:gd name="connsiteY266" fmla="*/ 869106 h 1419242"/>
                    <a:gd name="connsiteX267" fmla="*/ 1574004 w 1892174"/>
                    <a:gd name="connsiteY267" fmla="*/ 862854 h 1419242"/>
                    <a:gd name="connsiteX268" fmla="*/ 1580256 w 1892174"/>
                    <a:gd name="connsiteY268" fmla="*/ 875357 h 1419242"/>
                    <a:gd name="connsiteX269" fmla="*/ 1598872 w 1892174"/>
                    <a:gd name="connsiteY269" fmla="*/ 837848 h 1419242"/>
                    <a:gd name="connsiteX270" fmla="*/ 1586369 w 1892174"/>
                    <a:gd name="connsiteY270" fmla="*/ 812842 h 1419242"/>
                    <a:gd name="connsiteX271" fmla="*/ 1573865 w 1892174"/>
                    <a:gd name="connsiteY271" fmla="*/ 806590 h 1419242"/>
                    <a:gd name="connsiteX272" fmla="*/ 1524131 w 1892174"/>
                    <a:gd name="connsiteY272" fmla="*/ 775332 h 1419242"/>
                    <a:gd name="connsiteX273" fmla="*/ 1505515 w 1892174"/>
                    <a:gd name="connsiteY273" fmla="*/ 762829 h 1419242"/>
                    <a:gd name="connsiteX274" fmla="*/ 1480648 w 1892174"/>
                    <a:gd name="connsiteY274" fmla="*/ 775332 h 1419242"/>
                    <a:gd name="connsiteX275" fmla="*/ 1480648 w 1892174"/>
                    <a:gd name="connsiteY275" fmla="*/ 769081 h 1419242"/>
                    <a:gd name="connsiteX276" fmla="*/ 1474396 w 1892174"/>
                    <a:gd name="connsiteY276" fmla="*/ 762829 h 1419242"/>
                    <a:gd name="connsiteX277" fmla="*/ 1499264 w 1892174"/>
                    <a:gd name="connsiteY277" fmla="*/ 756578 h 1419242"/>
                    <a:gd name="connsiteX278" fmla="*/ 1480648 w 1892174"/>
                    <a:gd name="connsiteY278" fmla="*/ 737823 h 1419242"/>
                    <a:gd name="connsiteX279" fmla="*/ 1449529 w 1892174"/>
                    <a:gd name="connsiteY279" fmla="*/ 744074 h 1419242"/>
                    <a:gd name="connsiteX280" fmla="*/ 1424661 w 1892174"/>
                    <a:gd name="connsiteY280" fmla="*/ 737823 h 1419242"/>
                    <a:gd name="connsiteX281" fmla="*/ 1455780 w 1892174"/>
                    <a:gd name="connsiteY281" fmla="*/ 744074 h 1419242"/>
                    <a:gd name="connsiteX282" fmla="*/ 1493151 w 1892174"/>
                    <a:gd name="connsiteY282" fmla="*/ 731571 h 1419242"/>
                    <a:gd name="connsiteX283" fmla="*/ 1462032 w 1892174"/>
                    <a:gd name="connsiteY283" fmla="*/ 719068 h 1419242"/>
                    <a:gd name="connsiteX284" fmla="*/ 1418549 w 1892174"/>
                    <a:gd name="connsiteY284" fmla="*/ 725320 h 1419242"/>
                    <a:gd name="connsiteX285" fmla="*/ 1449668 w 1892174"/>
                    <a:gd name="connsiteY285" fmla="*/ 712817 h 1419242"/>
                    <a:gd name="connsiteX286" fmla="*/ 1424800 w 1892174"/>
                    <a:gd name="connsiteY286" fmla="*/ 700314 h 1419242"/>
                    <a:gd name="connsiteX287" fmla="*/ 1480787 w 1892174"/>
                    <a:gd name="connsiteY287" fmla="*/ 706565 h 1419242"/>
                    <a:gd name="connsiteX288" fmla="*/ 1499402 w 1892174"/>
                    <a:gd name="connsiteY288" fmla="*/ 694062 h 1419242"/>
                    <a:gd name="connsiteX289" fmla="*/ 1480787 w 1892174"/>
                    <a:gd name="connsiteY289" fmla="*/ 675307 h 1419242"/>
                    <a:gd name="connsiteX290" fmla="*/ 1505654 w 1892174"/>
                    <a:gd name="connsiteY290" fmla="*/ 687811 h 1419242"/>
                    <a:gd name="connsiteX291" fmla="*/ 1524270 w 1892174"/>
                    <a:gd name="connsiteY291" fmla="*/ 681559 h 1419242"/>
                    <a:gd name="connsiteX292" fmla="*/ 1580256 w 1892174"/>
                    <a:gd name="connsiteY292" fmla="*/ 694062 h 1419242"/>
                    <a:gd name="connsiteX293" fmla="*/ 1530521 w 1892174"/>
                    <a:gd name="connsiteY293" fmla="*/ 687811 h 1419242"/>
                    <a:gd name="connsiteX294" fmla="*/ 1598872 w 1892174"/>
                    <a:gd name="connsiteY294" fmla="*/ 706565 h 1419242"/>
                    <a:gd name="connsiteX295" fmla="*/ 1629990 w 1892174"/>
                    <a:gd name="connsiteY295" fmla="*/ 700314 h 1419242"/>
                    <a:gd name="connsiteX296" fmla="*/ 1629990 w 1892174"/>
                    <a:gd name="connsiteY296" fmla="*/ 675307 h 1419242"/>
                    <a:gd name="connsiteX297" fmla="*/ 1598872 w 1892174"/>
                    <a:gd name="connsiteY297" fmla="*/ 662804 h 1419242"/>
                    <a:gd name="connsiteX298" fmla="*/ 1598872 w 1892174"/>
                    <a:gd name="connsiteY298" fmla="*/ 687811 h 1419242"/>
                    <a:gd name="connsiteX299" fmla="*/ 1586369 w 1892174"/>
                    <a:gd name="connsiteY299" fmla="*/ 669056 h 1419242"/>
                    <a:gd name="connsiteX300" fmla="*/ 1573865 w 1892174"/>
                    <a:gd name="connsiteY300" fmla="*/ 662804 h 1419242"/>
                    <a:gd name="connsiteX301" fmla="*/ 1592481 w 1892174"/>
                    <a:gd name="connsiteY301" fmla="*/ 625295 h 1419242"/>
                    <a:gd name="connsiteX302" fmla="*/ 1598733 w 1892174"/>
                    <a:gd name="connsiteY302" fmla="*/ 644050 h 1419242"/>
                    <a:gd name="connsiteX303" fmla="*/ 1604984 w 1892174"/>
                    <a:gd name="connsiteY303" fmla="*/ 662804 h 1419242"/>
                    <a:gd name="connsiteX304" fmla="*/ 1648467 w 1892174"/>
                    <a:gd name="connsiteY304" fmla="*/ 656553 h 1419242"/>
                    <a:gd name="connsiteX305" fmla="*/ 1679586 w 1892174"/>
                    <a:gd name="connsiteY305" fmla="*/ 631546 h 1419242"/>
                    <a:gd name="connsiteX306" fmla="*/ 1654719 w 1892174"/>
                    <a:gd name="connsiteY306" fmla="*/ 631546 h 1419242"/>
                    <a:gd name="connsiteX307" fmla="*/ 1654719 w 1892174"/>
                    <a:gd name="connsiteY307" fmla="*/ 619043 h 1419242"/>
                    <a:gd name="connsiteX308" fmla="*/ 1648467 w 1892174"/>
                    <a:gd name="connsiteY308" fmla="*/ 606540 h 1419242"/>
                    <a:gd name="connsiteX309" fmla="*/ 1623600 w 1892174"/>
                    <a:gd name="connsiteY309" fmla="*/ 600289 h 1419242"/>
                    <a:gd name="connsiteX310" fmla="*/ 1592481 w 1892174"/>
                    <a:gd name="connsiteY310" fmla="*/ 600289 h 1419242"/>
                    <a:gd name="connsiteX311" fmla="*/ 1654719 w 1892174"/>
                    <a:gd name="connsiteY311" fmla="*/ 594037 h 1419242"/>
                    <a:gd name="connsiteX312" fmla="*/ 1673334 w 1892174"/>
                    <a:gd name="connsiteY312" fmla="*/ 575282 h 1419242"/>
                    <a:gd name="connsiteX313" fmla="*/ 1654719 w 1892174"/>
                    <a:gd name="connsiteY313" fmla="*/ 550276 h 1419242"/>
                    <a:gd name="connsiteX314" fmla="*/ 1673334 w 1892174"/>
                    <a:gd name="connsiteY314" fmla="*/ 569031 h 1419242"/>
                    <a:gd name="connsiteX315" fmla="*/ 1679586 w 1892174"/>
                    <a:gd name="connsiteY315" fmla="*/ 550276 h 1419242"/>
                    <a:gd name="connsiteX316" fmla="*/ 1654719 w 1892174"/>
                    <a:gd name="connsiteY316" fmla="*/ 525270 h 1419242"/>
                    <a:gd name="connsiteX317" fmla="*/ 1611236 w 1892174"/>
                    <a:gd name="connsiteY317" fmla="*/ 525270 h 1419242"/>
                    <a:gd name="connsiteX318" fmla="*/ 1592620 w 1892174"/>
                    <a:gd name="connsiteY318" fmla="*/ 506515 h 1419242"/>
                    <a:gd name="connsiteX319" fmla="*/ 1574004 w 1892174"/>
                    <a:gd name="connsiteY319" fmla="*/ 500264 h 1419242"/>
                    <a:gd name="connsiteX320" fmla="*/ 1592620 w 1892174"/>
                    <a:gd name="connsiteY320" fmla="*/ 494012 h 1419242"/>
                    <a:gd name="connsiteX321" fmla="*/ 1629990 w 1892174"/>
                    <a:gd name="connsiteY321" fmla="*/ 481509 h 1419242"/>
                    <a:gd name="connsiteX322" fmla="*/ 1704592 w 1892174"/>
                    <a:gd name="connsiteY322" fmla="*/ 487761 h 1419242"/>
                    <a:gd name="connsiteX323" fmla="*/ 1692089 w 1892174"/>
                    <a:gd name="connsiteY323" fmla="*/ 456503 h 1419242"/>
                    <a:gd name="connsiteX324" fmla="*/ 1673474 w 1892174"/>
                    <a:gd name="connsiteY324" fmla="*/ 456503 h 1419242"/>
                    <a:gd name="connsiteX325" fmla="*/ 1636103 w 1892174"/>
                    <a:gd name="connsiteY325" fmla="*/ 437748 h 1419242"/>
                    <a:gd name="connsiteX326" fmla="*/ 1685838 w 1892174"/>
                    <a:gd name="connsiteY326" fmla="*/ 437748 h 1419242"/>
                    <a:gd name="connsiteX327" fmla="*/ 1636103 w 1892174"/>
                    <a:gd name="connsiteY327" fmla="*/ 412742 h 1419242"/>
                    <a:gd name="connsiteX328" fmla="*/ 1611236 w 1892174"/>
                    <a:gd name="connsiteY328" fmla="*/ 425245 h 1419242"/>
                    <a:gd name="connsiteX329" fmla="*/ 1592620 w 1892174"/>
                    <a:gd name="connsiteY329" fmla="*/ 431497 h 1419242"/>
                    <a:gd name="connsiteX330" fmla="*/ 1604984 w 1892174"/>
                    <a:gd name="connsiteY330" fmla="*/ 400239 h 1419242"/>
                    <a:gd name="connsiteX331" fmla="*/ 1617487 w 1892174"/>
                    <a:gd name="connsiteY331" fmla="*/ 375233 h 1419242"/>
                    <a:gd name="connsiteX332" fmla="*/ 1623739 w 1892174"/>
                    <a:gd name="connsiteY332" fmla="*/ 356478 h 1419242"/>
                    <a:gd name="connsiteX333" fmla="*/ 1648606 w 1892174"/>
                    <a:gd name="connsiteY333" fmla="*/ 350226 h 1419242"/>
                    <a:gd name="connsiteX334" fmla="*/ 1679725 w 1892174"/>
                    <a:gd name="connsiteY334" fmla="*/ 325220 h 1419242"/>
                    <a:gd name="connsiteX335" fmla="*/ 1667222 w 1892174"/>
                    <a:gd name="connsiteY335" fmla="*/ 318968 h 1419242"/>
                    <a:gd name="connsiteX336" fmla="*/ 1667222 w 1892174"/>
                    <a:gd name="connsiteY336" fmla="*/ 300214 h 1419242"/>
                    <a:gd name="connsiteX337" fmla="*/ 1685838 w 1892174"/>
                    <a:gd name="connsiteY337" fmla="*/ 287711 h 1419242"/>
                    <a:gd name="connsiteX338" fmla="*/ 1716957 w 1892174"/>
                    <a:gd name="connsiteY338" fmla="*/ 268956 h 1419242"/>
                    <a:gd name="connsiteX339" fmla="*/ 1654719 w 1892174"/>
                    <a:gd name="connsiteY339" fmla="*/ 275208 h 1419242"/>
                    <a:gd name="connsiteX340" fmla="*/ 1636103 w 1892174"/>
                    <a:gd name="connsiteY340" fmla="*/ 287711 h 1419242"/>
                    <a:gd name="connsiteX341" fmla="*/ 1642355 w 1892174"/>
                    <a:gd name="connsiteY341" fmla="*/ 262704 h 1419242"/>
                    <a:gd name="connsiteX342" fmla="*/ 1698341 w 1892174"/>
                    <a:gd name="connsiteY342" fmla="*/ 256453 h 1419242"/>
                    <a:gd name="connsiteX343" fmla="*/ 1760579 w 1892174"/>
                    <a:gd name="connsiteY343" fmla="*/ 237698 h 1419242"/>
                    <a:gd name="connsiteX344" fmla="*/ 1741963 w 1892174"/>
                    <a:gd name="connsiteY344" fmla="*/ 231447 h 1419242"/>
                    <a:gd name="connsiteX345" fmla="*/ 1704592 w 1892174"/>
                    <a:gd name="connsiteY345" fmla="*/ 231447 h 1419242"/>
                    <a:gd name="connsiteX346" fmla="*/ 1673474 w 1892174"/>
                    <a:gd name="connsiteY346" fmla="*/ 225195 h 1419242"/>
                    <a:gd name="connsiteX347" fmla="*/ 1648606 w 1892174"/>
                    <a:gd name="connsiteY347" fmla="*/ 225195 h 1419242"/>
                    <a:gd name="connsiteX348" fmla="*/ 1685977 w 1892174"/>
                    <a:gd name="connsiteY348" fmla="*/ 225195 h 1419242"/>
                    <a:gd name="connsiteX349" fmla="*/ 1735711 w 1892174"/>
                    <a:gd name="connsiteY349" fmla="*/ 218944 h 1419242"/>
                    <a:gd name="connsiteX350" fmla="*/ 1791698 w 1892174"/>
                    <a:gd name="connsiteY350" fmla="*/ 212692 h 1419242"/>
                    <a:gd name="connsiteX351" fmla="*/ 1810313 w 1892174"/>
                    <a:gd name="connsiteY351" fmla="*/ 206440 h 1419242"/>
                    <a:gd name="connsiteX352" fmla="*/ 1804062 w 1892174"/>
                    <a:gd name="connsiteY352" fmla="*/ 193937 h 1419242"/>
                    <a:gd name="connsiteX353" fmla="*/ 1891167 w 1892174"/>
                    <a:gd name="connsiteY353" fmla="*/ 162679 h 1419242"/>
                    <a:gd name="connsiteX354" fmla="*/ 1872551 w 1892174"/>
                    <a:gd name="connsiteY354" fmla="*/ 150176 h 1419242"/>
                    <a:gd name="connsiteX355" fmla="*/ 1822816 w 1892174"/>
                    <a:gd name="connsiteY355" fmla="*/ 137673 h 1419242"/>
                    <a:gd name="connsiteX356" fmla="*/ 1723347 w 1892174"/>
                    <a:gd name="connsiteY356" fmla="*/ 156428 h 1419242"/>
                    <a:gd name="connsiteX357" fmla="*/ 1673613 w 1892174"/>
                    <a:gd name="connsiteY357" fmla="*/ 162679 h 1419242"/>
                    <a:gd name="connsiteX358" fmla="*/ 1648745 w 1892174"/>
                    <a:gd name="connsiteY358" fmla="*/ 162679 h 1419242"/>
                    <a:gd name="connsiteX359" fmla="*/ 1611375 w 1892174"/>
                    <a:gd name="connsiteY359" fmla="*/ 175183 h 1419242"/>
                    <a:gd name="connsiteX360" fmla="*/ 1574004 w 1892174"/>
                    <a:gd name="connsiteY360" fmla="*/ 193937 h 1419242"/>
                    <a:gd name="connsiteX361" fmla="*/ 1518018 w 1892174"/>
                    <a:gd name="connsiteY361" fmla="*/ 231447 h 1419242"/>
                    <a:gd name="connsiteX362" fmla="*/ 1561501 w 1892174"/>
                    <a:gd name="connsiteY362" fmla="*/ 118780 h 1419242"/>
                    <a:gd name="connsiteX363" fmla="*/ 1511767 w 1892174"/>
                    <a:gd name="connsiteY363" fmla="*/ 150037 h 1419242"/>
                    <a:gd name="connsiteX364" fmla="*/ 1462032 w 1892174"/>
                    <a:gd name="connsiteY364" fmla="*/ 162541 h 1419242"/>
                    <a:gd name="connsiteX365" fmla="*/ 1418549 w 1892174"/>
                    <a:gd name="connsiteY365" fmla="*/ 175044 h 1419242"/>
                    <a:gd name="connsiteX366" fmla="*/ 1462032 w 1892174"/>
                    <a:gd name="connsiteY366" fmla="*/ 150037 h 1419242"/>
                    <a:gd name="connsiteX367" fmla="*/ 1480648 w 1892174"/>
                    <a:gd name="connsiteY367" fmla="*/ 131283 h 1419242"/>
                    <a:gd name="connsiteX368" fmla="*/ 1424661 w 1892174"/>
                    <a:gd name="connsiteY368" fmla="*/ 125031 h 1419242"/>
                    <a:gd name="connsiteX369" fmla="*/ 1275318 w 1892174"/>
                    <a:gd name="connsiteY369" fmla="*/ 143786 h 1419242"/>
                    <a:gd name="connsiteX370" fmla="*/ 1250451 w 1892174"/>
                    <a:gd name="connsiteY370" fmla="*/ 150037 h 1419242"/>
                    <a:gd name="connsiteX371" fmla="*/ 1256703 w 1892174"/>
                    <a:gd name="connsiteY371" fmla="*/ 137534 h 1419242"/>
                    <a:gd name="connsiteX372" fmla="*/ 1331305 w 1892174"/>
                    <a:gd name="connsiteY372" fmla="*/ 112528 h 1419242"/>
                    <a:gd name="connsiteX373" fmla="*/ 1474396 w 1892174"/>
                    <a:gd name="connsiteY373" fmla="*/ 112528 h 1419242"/>
                    <a:gd name="connsiteX374" fmla="*/ 1511767 w 1892174"/>
                    <a:gd name="connsiteY374" fmla="*/ 112528 h 1419242"/>
                    <a:gd name="connsiteX375" fmla="*/ 1592620 w 1892174"/>
                    <a:gd name="connsiteY375" fmla="*/ 87522 h 1419242"/>
                    <a:gd name="connsiteX376" fmla="*/ 1592620 w 1892174"/>
                    <a:gd name="connsiteY376" fmla="*/ 75019 h 1419242"/>
                    <a:gd name="connsiteX377" fmla="*/ 1542885 w 1892174"/>
                    <a:gd name="connsiteY377" fmla="*/ 68767 h 1419242"/>
                    <a:gd name="connsiteX378" fmla="*/ 1518018 w 1892174"/>
                    <a:gd name="connsiteY378" fmla="*/ 56264 h 1419242"/>
                    <a:gd name="connsiteX379" fmla="*/ 1480648 w 1892174"/>
                    <a:gd name="connsiteY379" fmla="*/ 68767 h 1419242"/>
                    <a:gd name="connsiteX380" fmla="*/ 1499264 w 1892174"/>
                    <a:gd name="connsiteY380" fmla="*/ 50012 h 1419242"/>
                    <a:gd name="connsiteX381" fmla="*/ 1474396 w 1892174"/>
                    <a:gd name="connsiteY381" fmla="*/ 37509 h 1419242"/>
                    <a:gd name="connsiteX382" fmla="*/ 1368675 w 1892174"/>
                    <a:gd name="connsiteY382" fmla="*/ 37509 h 1419242"/>
                    <a:gd name="connsiteX383" fmla="*/ 1281570 w 1892174"/>
                    <a:gd name="connsiteY383" fmla="*/ 50012 h 1419242"/>
                    <a:gd name="connsiteX384" fmla="*/ 1238087 w 1892174"/>
                    <a:gd name="connsiteY384" fmla="*/ 50012 h 1419242"/>
                    <a:gd name="connsiteX385" fmla="*/ 1200717 w 1892174"/>
                    <a:gd name="connsiteY385" fmla="*/ 56264 h 1419242"/>
                    <a:gd name="connsiteX386" fmla="*/ 1256703 w 1892174"/>
                    <a:gd name="connsiteY386" fmla="*/ 43761 h 1419242"/>
                    <a:gd name="connsiteX387" fmla="*/ 1337556 w 1892174"/>
                    <a:gd name="connsiteY387" fmla="*/ 37509 h 1419242"/>
                    <a:gd name="connsiteX388" fmla="*/ 1474396 w 1892174"/>
                    <a:gd name="connsiteY388" fmla="*/ 25006 h 1419242"/>
                    <a:gd name="connsiteX389" fmla="*/ 1443277 w 1892174"/>
                    <a:gd name="connsiteY389" fmla="*/ 12503 h 1419242"/>
                    <a:gd name="connsiteX390" fmla="*/ 1393543 w 1892174"/>
                    <a:gd name="connsiteY390" fmla="*/ 12503 h 1419242"/>
                    <a:gd name="connsiteX391" fmla="*/ 1325192 w 1892174"/>
                    <a:gd name="connsiteY391" fmla="*/ 0 h 1419242"/>
                    <a:gd name="connsiteX392" fmla="*/ 1206968 w 1892174"/>
                    <a:gd name="connsiteY392" fmla="*/ 0 h 1419242"/>
                    <a:gd name="connsiteX393" fmla="*/ 1150982 w 1892174"/>
                    <a:gd name="connsiteY393" fmla="*/ 6252 h 1419242"/>
                    <a:gd name="connsiteX394" fmla="*/ 1138479 w 1892174"/>
                    <a:gd name="connsiteY394" fmla="*/ 18755 h 1419242"/>
                    <a:gd name="connsiteX395" fmla="*/ 1101108 w 1892174"/>
                    <a:gd name="connsiteY395" fmla="*/ 12503 h 1419242"/>
                    <a:gd name="connsiteX396" fmla="*/ 1076241 w 1892174"/>
                    <a:gd name="connsiteY396" fmla="*/ 18755 h 1419242"/>
                    <a:gd name="connsiteX397" fmla="*/ 1076241 w 1892174"/>
                    <a:gd name="connsiteY397" fmla="*/ 25006 h 1419242"/>
                    <a:gd name="connsiteX398" fmla="*/ 1125976 w 1892174"/>
                    <a:gd name="connsiteY398" fmla="*/ 37509 h 1419242"/>
                    <a:gd name="connsiteX399" fmla="*/ 1076241 w 1892174"/>
                    <a:gd name="connsiteY399" fmla="*/ 50012 h 1419242"/>
                    <a:gd name="connsiteX400" fmla="*/ 1057625 w 1892174"/>
                    <a:gd name="connsiteY400" fmla="*/ 50012 h 1419242"/>
                    <a:gd name="connsiteX401" fmla="*/ 1070128 w 1892174"/>
                    <a:gd name="connsiteY401" fmla="*/ 62516 h 1419242"/>
                    <a:gd name="connsiteX402" fmla="*/ 1045261 w 1892174"/>
                    <a:gd name="connsiteY402" fmla="*/ 50012 h 1419242"/>
                    <a:gd name="connsiteX403" fmla="*/ 1014142 w 1892174"/>
                    <a:gd name="connsiteY403" fmla="*/ 50012 h 1419242"/>
                    <a:gd name="connsiteX404" fmla="*/ 958156 w 1892174"/>
                    <a:gd name="connsiteY404" fmla="*/ 31258 h 1419242"/>
                    <a:gd name="connsiteX405" fmla="*/ 914673 w 1892174"/>
                    <a:gd name="connsiteY405" fmla="*/ 37509 h 1419242"/>
                    <a:gd name="connsiteX406" fmla="*/ 871190 w 1892174"/>
                    <a:gd name="connsiteY406" fmla="*/ 43761 h 1419242"/>
                    <a:gd name="connsiteX407" fmla="*/ 964546 w 1892174"/>
                    <a:gd name="connsiteY407" fmla="*/ 62516 h 1419242"/>
                    <a:gd name="connsiteX408" fmla="*/ 1014281 w 1892174"/>
                    <a:gd name="connsiteY408" fmla="*/ 68767 h 1419242"/>
                    <a:gd name="connsiteX409" fmla="*/ 1032897 w 1892174"/>
                    <a:gd name="connsiteY409" fmla="*/ 75019 h 1419242"/>
                    <a:gd name="connsiteX410" fmla="*/ 1032897 w 1892174"/>
                    <a:gd name="connsiteY410" fmla="*/ 93773 h 1419242"/>
                    <a:gd name="connsiteX411" fmla="*/ 1026645 w 1892174"/>
                    <a:gd name="connsiteY411" fmla="*/ 81270 h 1419242"/>
                    <a:gd name="connsiteX412" fmla="*/ 995526 w 1892174"/>
                    <a:gd name="connsiteY412" fmla="*/ 68767 h 1419242"/>
                    <a:gd name="connsiteX413" fmla="*/ 976911 w 1892174"/>
                    <a:gd name="connsiteY413" fmla="*/ 68767 h 1419242"/>
                    <a:gd name="connsiteX414" fmla="*/ 983162 w 1892174"/>
                    <a:gd name="connsiteY414" fmla="*/ 87522 h 1419242"/>
                    <a:gd name="connsiteX415" fmla="*/ 958295 w 1892174"/>
                    <a:gd name="connsiteY415" fmla="*/ 68767 h 1419242"/>
                    <a:gd name="connsiteX416" fmla="*/ 920925 w 1892174"/>
                    <a:gd name="connsiteY416" fmla="*/ 62516 h 1419242"/>
                    <a:gd name="connsiteX417" fmla="*/ 864938 w 1892174"/>
                    <a:gd name="connsiteY417" fmla="*/ 62516 h 1419242"/>
                    <a:gd name="connsiteX418" fmla="*/ 939540 w 1892174"/>
                    <a:gd name="connsiteY418" fmla="*/ 106277 h 1419242"/>
                    <a:gd name="connsiteX419" fmla="*/ 908421 w 1892174"/>
                    <a:gd name="connsiteY419" fmla="*/ 106277 h 1419242"/>
                    <a:gd name="connsiteX420" fmla="*/ 889806 w 1892174"/>
                    <a:gd name="connsiteY420" fmla="*/ 118780 h 1419242"/>
                    <a:gd name="connsiteX421" fmla="*/ 871190 w 1892174"/>
                    <a:gd name="connsiteY421" fmla="*/ 106277 h 1419242"/>
                    <a:gd name="connsiteX422" fmla="*/ 889806 w 1892174"/>
                    <a:gd name="connsiteY422" fmla="*/ 100025 h 1419242"/>
                    <a:gd name="connsiteX423" fmla="*/ 871190 w 1892174"/>
                    <a:gd name="connsiteY423" fmla="*/ 87522 h 1419242"/>
                    <a:gd name="connsiteX424" fmla="*/ 827707 w 1892174"/>
                    <a:gd name="connsiteY424" fmla="*/ 75019 h 1419242"/>
                    <a:gd name="connsiteX425" fmla="*/ 802840 w 1892174"/>
                    <a:gd name="connsiteY425" fmla="*/ 75019 h 1419242"/>
                    <a:gd name="connsiteX426" fmla="*/ 815343 w 1892174"/>
                    <a:gd name="connsiteY426" fmla="*/ 93773 h 1419242"/>
                    <a:gd name="connsiteX427" fmla="*/ 883693 w 1892174"/>
                    <a:gd name="connsiteY427" fmla="*/ 125031 h 1419242"/>
                    <a:gd name="connsiteX428" fmla="*/ 889945 w 1892174"/>
                    <a:gd name="connsiteY428" fmla="*/ 137534 h 1419242"/>
                    <a:gd name="connsiteX429" fmla="*/ 852574 w 1892174"/>
                    <a:gd name="connsiteY429" fmla="*/ 131283 h 1419242"/>
                    <a:gd name="connsiteX430" fmla="*/ 746853 w 1892174"/>
                    <a:gd name="connsiteY430" fmla="*/ 93773 h 1419242"/>
                    <a:gd name="connsiteX431" fmla="*/ 690867 w 1892174"/>
                    <a:gd name="connsiteY431" fmla="*/ 87522 h 1419242"/>
                    <a:gd name="connsiteX432" fmla="*/ 703370 w 1892174"/>
                    <a:gd name="connsiteY432" fmla="*/ 112528 h 1419242"/>
                    <a:gd name="connsiteX433" fmla="*/ 728238 w 1892174"/>
                    <a:gd name="connsiteY433" fmla="*/ 131283 h 1419242"/>
                    <a:gd name="connsiteX434" fmla="*/ 690867 w 1892174"/>
                    <a:gd name="connsiteY434" fmla="*/ 131283 h 1419242"/>
                    <a:gd name="connsiteX435" fmla="*/ 715735 w 1892174"/>
                    <a:gd name="connsiteY435" fmla="*/ 150037 h 1419242"/>
                    <a:gd name="connsiteX436" fmla="*/ 684615 w 1892174"/>
                    <a:gd name="connsiteY436" fmla="*/ 137534 h 1419242"/>
                    <a:gd name="connsiteX437" fmla="*/ 641132 w 1892174"/>
                    <a:gd name="connsiteY437" fmla="*/ 125031 h 1419242"/>
                    <a:gd name="connsiteX438" fmla="*/ 628629 w 1892174"/>
                    <a:gd name="connsiteY438" fmla="*/ 137534 h 1419242"/>
                    <a:gd name="connsiteX439" fmla="*/ 610014 w 1892174"/>
                    <a:gd name="connsiteY439" fmla="*/ 143786 h 1419242"/>
                    <a:gd name="connsiteX440" fmla="*/ 603762 w 1892174"/>
                    <a:gd name="connsiteY440" fmla="*/ 162541 h 1419242"/>
                    <a:gd name="connsiteX441" fmla="*/ 603762 w 1892174"/>
                    <a:gd name="connsiteY441" fmla="*/ 143786 h 1419242"/>
                    <a:gd name="connsiteX442" fmla="*/ 610014 w 1892174"/>
                    <a:gd name="connsiteY442" fmla="*/ 125031 h 1419242"/>
                    <a:gd name="connsiteX443" fmla="*/ 560279 w 1892174"/>
                    <a:gd name="connsiteY443" fmla="*/ 100025 h 1419242"/>
                    <a:gd name="connsiteX444" fmla="*/ 485677 w 1892174"/>
                    <a:gd name="connsiteY444" fmla="*/ 112528 h 1419242"/>
                    <a:gd name="connsiteX445" fmla="*/ 460810 w 1892174"/>
                    <a:gd name="connsiteY445" fmla="*/ 118780 h 1419242"/>
                    <a:gd name="connsiteX446" fmla="*/ 429691 w 1892174"/>
                    <a:gd name="connsiteY446" fmla="*/ 125031 h 1419242"/>
                    <a:gd name="connsiteX447" fmla="*/ 454558 w 1892174"/>
                    <a:gd name="connsiteY447" fmla="*/ 131283 h 1419242"/>
                    <a:gd name="connsiteX448" fmla="*/ 479425 w 1892174"/>
                    <a:gd name="connsiteY448" fmla="*/ 150037 h 1419242"/>
                    <a:gd name="connsiteX449" fmla="*/ 503737 w 1892174"/>
                    <a:gd name="connsiteY449" fmla="*/ 168792 h 1419242"/>
                    <a:gd name="connsiteX450" fmla="*/ 466367 w 1892174"/>
                    <a:gd name="connsiteY450" fmla="*/ 156289 h 1419242"/>
                    <a:gd name="connsiteX451" fmla="*/ 435248 w 1892174"/>
                    <a:gd name="connsiteY451" fmla="*/ 137534 h 1419242"/>
                    <a:gd name="connsiteX452" fmla="*/ 379261 w 1892174"/>
                    <a:gd name="connsiteY452" fmla="*/ 137534 h 1419242"/>
                    <a:gd name="connsiteX453" fmla="*/ 373010 w 1892174"/>
                    <a:gd name="connsiteY453" fmla="*/ 156289 h 1419242"/>
                    <a:gd name="connsiteX454" fmla="*/ 373010 w 1892174"/>
                    <a:gd name="connsiteY454" fmla="*/ 187547 h 1419242"/>
                    <a:gd name="connsiteX455" fmla="*/ 341891 w 1892174"/>
                    <a:gd name="connsiteY455" fmla="*/ 187547 h 1419242"/>
                    <a:gd name="connsiteX456" fmla="*/ 310772 w 1892174"/>
                    <a:gd name="connsiteY456" fmla="*/ 187547 h 1419242"/>
                    <a:gd name="connsiteX457" fmla="*/ 310772 w 1892174"/>
                    <a:gd name="connsiteY457" fmla="*/ 212553 h 1419242"/>
                    <a:gd name="connsiteX458" fmla="*/ 292156 w 1892174"/>
                    <a:gd name="connsiteY458" fmla="*/ 200050 h 1419242"/>
                    <a:gd name="connsiteX459" fmla="*/ 261038 w 1892174"/>
                    <a:gd name="connsiteY459" fmla="*/ 200050 h 1419242"/>
                    <a:gd name="connsiteX460" fmla="*/ 198939 w 1892174"/>
                    <a:gd name="connsiteY460" fmla="*/ 231447 h 1419242"/>
                    <a:gd name="connsiteX461" fmla="*/ 198939 w 1892174"/>
                    <a:gd name="connsiteY461" fmla="*/ 231447 h 141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Lst>
                  <a:rect l="l" t="t" r="r" b="b"/>
                  <a:pathLst>
                    <a:path w="1892174" h="1419242">
                      <a:moveTo>
                        <a:pt x="198939" y="231447"/>
                      </a:moveTo>
                      <a:cubicBezTo>
                        <a:pt x="192687" y="237698"/>
                        <a:pt x="161568" y="250201"/>
                        <a:pt x="167820" y="256453"/>
                      </a:cubicBezTo>
                      <a:cubicBezTo>
                        <a:pt x="174071" y="262704"/>
                        <a:pt x="186436" y="262704"/>
                        <a:pt x="198939" y="268956"/>
                      </a:cubicBezTo>
                      <a:cubicBezTo>
                        <a:pt x="211442" y="268956"/>
                        <a:pt x="223806" y="268956"/>
                        <a:pt x="242422" y="268956"/>
                      </a:cubicBezTo>
                      <a:cubicBezTo>
                        <a:pt x="242422" y="268956"/>
                        <a:pt x="273541" y="262704"/>
                        <a:pt x="279792" y="262704"/>
                      </a:cubicBezTo>
                      <a:cubicBezTo>
                        <a:pt x="273541" y="262704"/>
                        <a:pt x="261176" y="268956"/>
                        <a:pt x="254925" y="275208"/>
                      </a:cubicBezTo>
                      <a:cubicBezTo>
                        <a:pt x="248673" y="281459"/>
                        <a:pt x="242422" y="287711"/>
                        <a:pt x="248673" y="300214"/>
                      </a:cubicBezTo>
                      <a:cubicBezTo>
                        <a:pt x="261176" y="312717"/>
                        <a:pt x="223806" y="343975"/>
                        <a:pt x="205190" y="337723"/>
                      </a:cubicBezTo>
                      <a:cubicBezTo>
                        <a:pt x="198939" y="331472"/>
                        <a:pt x="186574" y="337723"/>
                        <a:pt x="174071" y="337723"/>
                      </a:cubicBezTo>
                      <a:cubicBezTo>
                        <a:pt x="167820" y="331472"/>
                        <a:pt x="155456" y="337723"/>
                        <a:pt x="149204" y="337723"/>
                      </a:cubicBezTo>
                      <a:cubicBezTo>
                        <a:pt x="142953" y="337723"/>
                        <a:pt x="130588" y="337723"/>
                        <a:pt x="124337" y="350226"/>
                      </a:cubicBezTo>
                      <a:cubicBezTo>
                        <a:pt x="118085" y="356478"/>
                        <a:pt x="111833" y="356478"/>
                        <a:pt x="99469" y="356478"/>
                      </a:cubicBezTo>
                      <a:cubicBezTo>
                        <a:pt x="80854" y="362729"/>
                        <a:pt x="62099" y="368981"/>
                        <a:pt x="43483" y="368981"/>
                      </a:cubicBezTo>
                      <a:cubicBezTo>
                        <a:pt x="37232" y="368981"/>
                        <a:pt x="24868" y="362729"/>
                        <a:pt x="24868" y="368981"/>
                      </a:cubicBezTo>
                      <a:cubicBezTo>
                        <a:pt x="18616" y="375233"/>
                        <a:pt x="0" y="375233"/>
                        <a:pt x="0" y="387736"/>
                      </a:cubicBezTo>
                      <a:cubicBezTo>
                        <a:pt x="0" y="393987"/>
                        <a:pt x="6252" y="387736"/>
                        <a:pt x="6252" y="393987"/>
                      </a:cubicBezTo>
                      <a:lnTo>
                        <a:pt x="0" y="400239"/>
                      </a:lnTo>
                      <a:cubicBezTo>
                        <a:pt x="0" y="406490"/>
                        <a:pt x="12503" y="418993"/>
                        <a:pt x="18616" y="425245"/>
                      </a:cubicBezTo>
                      <a:lnTo>
                        <a:pt x="24868" y="418993"/>
                      </a:lnTo>
                      <a:cubicBezTo>
                        <a:pt x="31119" y="412742"/>
                        <a:pt x="37371" y="418993"/>
                        <a:pt x="43483" y="425245"/>
                      </a:cubicBezTo>
                      <a:cubicBezTo>
                        <a:pt x="49735" y="425245"/>
                        <a:pt x="80854" y="431497"/>
                        <a:pt x="80854" y="418993"/>
                      </a:cubicBezTo>
                      <a:cubicBezTo>
                        <a:pt x="80854" y="425245"/>
                        <a:pt x="74602" y="425245"/>
                        <a:pt x="80854" y="431497"/>
                      </a:cubicBezTo>
                      <a:cubicBezTo>
                        <a:pt x="80854" y="437748"/>
                        <a:pt x="93357" y="444000"/>
                        <a:pt x="99469" y="444000"/>
                      </a:cubicBezTo>
                      <a:cubicBezTo>
                        <a:pt x="105721" y="450251"/>
                        <a:pt x="111973" y="450251"/>
                        <a:pt x="118085" y="450251"/>
                      </a:cubicBezTo>
                      <a:cubicBezTo>
                        <a:pt x="130588" y="450251"/>
                        <a:pt x="130588" y="437748"/>
                        <a:pt x="136701" y="444000"/>
                      </a:cubicBezTo>
                      <a:cubicBezTo>
                        <a:pt x="149204" y="444000"/>
                        <a:pt x="167820" y="444000"/>
                        <a:pt x="174071" y="444000"/>
                      </a:cubicBezTo>
                      <a:cubicBezTo>
                        <a:pt x="180323" y="444000"/>
                        <a:pt x="180323" y="437748"/>
                        <a:pt x="186574" y="431497"/>
                      </a:cubicBezTo>
                      <a:cubicBezTo>
                        <a:pt x="192826" y="431497"/>
                        <a:pt x="211442" y="444000"/>
                        <a:pt x="211442" y="450251"/>
                      </a:cubicBezTo>
                      <a:cubicBezTo>
                        <a:pt x="211442" y="456503"/>
                        <a:pt x="149204" y="450251"/>
                        <a:pt x="136840" y="456503"/>
                      </a:cubicBezTo>
                      <a:cubicBezTo>
                        <a:pt x="124337" y="456503"/>
                        <a:pt x="143091" y="462754"/>
                        <a:pt x="149343" y="462754"/>
                      </a:cubicBezTo>
                      <a:cubicBezTo>
                        <a:pt x="161846" y="469006"/>
                        <a:pt x="167959" y="462754"/>
                        <a:pt x="180462" y="469006"/>
                      </a:cubicBezTo>
                      <a:cubicBezTo>
                        <a:pt x="174210" y="462754"/>
                        <a:pt x="161846" y="469006"/>
                        <a:pt x="149343" y="469006"/>
                      </a:cubicBezTo>
                      <a:cubicBezTo>
                        <a:pt x="130727" y="469006"/>
                        <a:pt x="111973" y="462754"/>
                        <a:pt x="93357" y="462754"/>
                      </a:cubicBezTo>
                      <a:cubicBezTo>
                        <a:pt x="80854" y="462754"/>
                        <a:pt x="55986" y="462754"/>
                        <a:pt x="55986" y="475257"/>
                      </a:cubicBezTo>
                      <a:cubicBezTo>
                        <a:pt x="49735" y="481509"/>
                        <a:pt x="68489" y="487761"/>
                        <a:pt x="74602" y="487761"/>
                      </a:cubicBezTo>
                      <a:cubicBezTo>
                        <a:pt x="80854" y="487761"/>
                        <a:pt x="93218" y="481509"/>
                        <a:pt x="93218" y="481509"/>
                      </a:cubicBezTo>
                      <a:cubicBezTo>
                        <a:pt x="99469" y="487761"/>
                        <a:pt x="93218" y="487761"/>
                        <a:pt x="93218" y="494012"/>
                      </a:cubicBezTo>
                      <a:cubicBezTo>
                        <a:pt x="99469" y="500264"/>
                        <a:pt x="111833" y="500264"/>
                        <a:pt x="118085" y="500264"/>
                      </a:cubicBezTo>
                      <a:cubicBezTo>
                        <a:pt x="130588" y="500264"/>
                        <a:pt x="142953" y="500264"/>
                        <a:pt x="155456" y="500264"/>
                      </a:cubicBezTo>
                      <a:cubicBezTo>
                        <a:pt x="155456" y="500264"/>
                        <a:pt x="130588" y="506515"/>
                        <a:pt x="124337" y="506515"/>
                      </a:cubicBezTo>
                      <a:cubicBezTo>
                        <a:pt x="99469" y="512767"/>
                        <a:pt x="118085" y="525270"/>
                        <a:pt x="130588" y="531522"/>
                      </a:cubicBezTo>
                      <a:cubicBezTo>
                        <a:pt x="143091" y="537773"/>
                        <a:pt x="155456" y="537773"/>
                        <a:pt x="167959" y="544025"/>
                      </a:cubicBezTo>
                      <a:lnTo>
                        <a:pt x="192826" y="544025"/>
                      </a:lnTo>
                      <a:cubicBezTo>
                        <a:pt x="192826" y="544025"/>
                        <a:pt x="180323" y="537773"/>
                        <a:pt x="180323" y="531522"/>
                      </a:cubicBezTo>
                      <a:cubicBezTo>
                        <a:pt x="180323" y="525270"/>
                        <a:pt x="192826" y="531522"/>
                        <a:pt x="192826" y="531522"/>
                      </a:cubicBezTo>
                      <a:cubicBezTo>
                        <a:pt x="199078" y="537773"/>
                        <a:pt x="205329" y="531522"/>
                        <a:pt x="211442" y="525270"/>
                      </a:cubicBezTo>
                      <a:cubicBezTo>
                        <a:pt x="211442" y="525270"/>
                        <a:pt x="217694" y="519018"/>
                        <a:pt x="223945" y="519018"/>
                      </a:cubicBezTo>
                      <a:cubicBezTo>
                        <a:pt x="230197" y="525270"/>
                        <a:pt x="223945" y="537773"/>
                        <a:pt x="223945" y="537773"/>
                      </a:cubicBezTo>
                      <a:cubicBezTo>
                        <a:pt x="230197" y="544025"/>
                        <a:pt x="248812" y="531522"/>
                        <a:pt x="255064" y="531522"/>
                      </a:cubicBezTo>
                      <a:cubicBezTo>
                        <a:pt x="267567" y="525270"/>
                        <a:pt x="267567" y="525270"/>
                        <a:pt x="273679" y="531522"/>
                      </a:cubicBezTo>
                      <a:cubicBezTo>
                        <a:pt x="279931" y="537773"/>
                        <a:pt x="286183" y="525270"/>
                        <a:pt x="292295" y="525270"/>
                      </a:cubicBezTo>
                      <a:cubicBezTo>
                        <a:pt x="298547" y="519018"/>
                        <a:pt x="310911" y="525270"/>
                        <a:pt x="317163" y="525270"/>
                      </a:cubicBezTo>
                      <a:cubicBezTo>
                        <a:pt x="335779" y="525270"/>
                        <a:pt x="360646" y="531522"/>
                        <a:pt x="379400" y="537773"/>
                      </a:cubicBezTo>
                      <a:cubicBezTo>
                        <a:pt x="391904" y="537773"/>
                        <a:pt x="404268" y="550276"/>
                        <a:pt x="416771" y="550276"/>
                      </a:cubicBezTo>
                      <a:cubicBezTo>
                        <a:pt x="429274" y="550276"/>
                        <a:pt x="441638" y="556528"/>
                        <a:pt x="447890" y="562779"/>
                      </a:cubicBezTo>
                      <a:cubicBezTo>
                        <a:pt x="460393" y="569031"/>
                        <a:pt x="454141" y="575282"/>
                        <a:pt x="454141" y="581534"/>
                      </a:cubicBezTo>
                      <a:cubicBezTo>
                        <a:pt x="454141" y="587786"/>
                        <a:pt x="466505" y="600289"/>
                        <a:pt x="472757" y="600289"/>
                      </a:cubicBezTo>
                      <a:cubicBezTo>
                        <a:pt x="479009" y="606540"/>
                        <a:pt x="491373" y="600289"/>
                        <a:pt x="497625" y="606540"/>
                      </a:cubicBezTo>
                      <a:cubicBezTo>
                        <a:pt x="497625" y="619043"/>
                        <a:pt x="510128" y="625295"/>
                        <a:pt x="516240" y="631546"/>
                      </a:cubicBezTo>
                      <a:cubicBezTo>
                        <a:pt x="522492" y="637798"/>
                        <a:pt x="516240" y="650301"/>
                        <a:pt x="522492" y="656553"/>
                      </a:cubicBezTo>
                      <a:cubicBezTo>
                        <a:pt x="522492" y="662804"/>
                        <a:pt x="534995" y="669056"/>
                        <a:pt x="534995" y="681559"/>
                      </a:cubicBezTo>
                      <a:cubicBezTo>
                        <a:pt x="534995" y="687811"/>
                        <a:pt x="528743" y="687811"/>
                        <a:pt x="534995" y="694062"/>
                      </a:cubicBezTo>
                      <a:lnTo>
                        <a:pt x="541246" y="700314"/>
                      </a:lnTo>
                      <a:lnTo>
                        <a:pt x="541246" y="700314"/>
                      </a:lnTo>
                      <a:cubicBezTo>
                        <a:pt x="547498" y="694062"/>
                        <a:pt x="559862" y="706565"/>
                        <a:pt x="553750" y="712817"/>
                      </a:cubicBezTo>
                      <a:cubicBezTo>
                        <a:pt x="547498" y="719068"/>
                        <a:pt x="547498" y="719068"/>
                        <a:pt x="547498" y="731571"/>
                      </a:cubicBezTo>
                      <a:cubicBezTo>
                        <a:pt x="547498" y="725320"/>
                        <a:pt x="560001" y="719068"/>
                        <a:pt x="566114" y="731571"/>
                      </a:cubicBezTo>
                      <a:cubicBezTo>
                        <a:pt x="566114" y="737823"/>
                        <a:pt x="566114" y="737823"/>
                        <a:pt x="566114" y="744074"/>
                      </a:cubicBezTo>
                      <a:cubicBezTo>
                        <a:pt x="566114" y="744074"/>
                        <a:pt x="566114" y="756578"/>
                        <a:pt x="566114" y="750326"/>
                      </a:cubicBezTo>
                      <a:cubicBezTo>
                        <a:pt x="566114" y="756578"/>
                        <a:pt x="578617" y="756578"/>
                        <a:pt x="578617" y="756578"/>
                      </a:cubicBezTo>
                      <a:cubicBezTo>
                        <a:pt x="572365" y="750326"/>
                        <a:pt x="553750" y="787835"/>
                        <a:pt x="560001" y="762829"/>
                      </a:cubicBezTo>
                      <a:cubicBezTo>
                        <a:pt x="560001" y="762829"/>
                        <a:pt x="547498" y="756578"/>
                        <a:pt x="547498" y="762829"/>
                      </a:cubicBezTo>
                      <a:lnTo>
                        <a:pt x="553750" y="762829"/>
                      </a:lnTo>
                      <a:cubicBezTo>
                        <a:pt x="553750" y="769081"/>
                        <a:pt x="535134" y="769081"/>
                        <a:pt x="541246" y="775332"/>
                      </a:cubicBezTo>
                      <a:cubicBezTo>
                        <a:pt x="541246" y="775332"/>
                        <a:pt x="559862" y="781584"/>
                        <a:pt x="553750" y="781584"/>
                      </a:cubicBezTo>
                      <a:cubicBezTo>
                        <a:pt x="541246" y="794087"/>
                        <a:pt x="566253" y="794087"/>
                        <a:pt x="572365" y="787835"/>
                      </a:cubicBezTo>
                      <a:cubicBezTo>
                        <a:pt x="566114" y="794087"/>
                        <a:pt x="559862" y="794087"/>
                        <a:pt x="547498" y="794087"/>
                      </a:cubicBezTo>
                      <a:lnTo>
                        <a:pt x="535134" y="806590"/>
                      </a:lnTo>
                      <a:lnTo>
                        <a:pt x="541385" y="812842"/>
                      </a:lnTo>
                      <a:cubicBezTo>
                        <a:pt x="553889" y="819093"/>
                        <a:pt x="547637" y="819093"/>
                        <a:pt x="553889" y="819093"/>
                      </a:cubicBezTo>
                      <a:cubicBezTo>
                        <a:pt x="560140" y="819093"/>
                        <a:pt x="585007" y="831596"/>
                        <a:pt x="591259" y="819093"/>
                      </a:cubicBezTo>
                      <a:cubicBezTo>
                        <a:pt x="591259" y="800339"/>
                        <a:pt x="603762" y="806590"/>
                        <a:pt x="609875" y="800339"/>
                      </a:cubicBezTo>
                      <a:lnTo>
                        <a:pt x="597371" y="762829"/>
                      </a:lnTo>
                      <a:cubicBezTo>
                        <a:pt x="597371" y="769081"/>
                        <a:pt x="609875" y="787835"/>
                        <a:pt x="609875" y="787835"/>
                      </a:cubicBezTo>
                      <a:cubicBezTo>
                        <a:pt x="616126" y="800339"/>
                        <a:pt x="622378" y="787835"/>
                        <a:pt x="628490" y="787835"/>
                      </a:cubicBezTo>
                      <a:lnTo>
                        <a:pt x="609875" y="812842"/>
                      </a:lnTo>
                      <a:lnTo>
                        <a:pt x="634742" y="806590"/>
                      </a:lnTo>
                      <a:cubicBezTo>
                        <a:pt x="640994" y="806590"/>
                        <a:pt x="647245" y="806590"/>
                        <a:pt x="647245" y="806590"/>
                      </a:cubicBezTo>
                      <a:cubicBezTo>
                        <a:pt x="653497" y="806590"/>
                        <a:pt x="659748" y="800339"/>
                        <a:pt x="665861" y="800339"/>
                      </a:cubicBezTo>
                      <a:cubicBezTo>
                        <a:pt x="665861" y="806590"/>
                        <a:pt x="659609" y="812842"/>
                        <a:pt x="653358" y="812842"/>
                      </a:cubicBezTo>
                      <a:cubicBezTo>
                        <a:pt x="647106" y="812842"/>
                        <a:pt x="634742" y="812842"/>
                        <a:pt x="628490" y="819093"/>
                      </a:cubicBezTo>
                      <a:cubicBezTo>
                        <a:pt x="622239" y="825345"/>
                        <a:pt x="640994" y="819093"/>
                        <a:pt x="640994" y="819093"/>
                      </a:cubicBezTo>
                      <a:cubicBezTo>
                        <a:pt x="653497" y="819093"/>
                        <a:pt x="665861" y="819093"/>
                        <a:pt x="678364" y="819093"/>
                      </a:cubicBezTo>
                      <a:cubicBezTo>
                        <a:pt x="672112" y="819093"/>
                        <a:pt x="647245" y="819093"/>
                        <a:pt x="647245" y="825345"/>
                      </a:cubicBezTo>
                      <a:cubicBezTo>
                        <a:pt x="647245" y="825345"/>
                        <a:pt x="659748" y="831596"/>
                        <a:pt x="659748" y="837848"/>
                      </a:cubicBezTo>
                      <a:lnTo>
                        <a:pt x="659748" y="844099"/>
                      </a:lnTo>
                      <a:cubicBezTo>
                        <a:pt x="659748" y="850351"/>
                        <a:pt x="653497" y="850351"/>
                        <a:pt x="659748" y="856603"/>
                      </a:cubicBezTo>
                      <a:cubicBezTo>
                        <a:pt x="659748" y="856603"/>
                        <a:pt x="672251" y="850351"/>
                        <a:pt x="678364" y="850351"/>
                      </a:cubicBezTo>
                      <a:cubicBezTo>
                        <a:pt x="684615" y="850351"/>
                        <a:pt x="678364" y="850351"/>
                        <a:pt x="684615" y="856603"/>
                      </a:cubicBezTo>
                      <a:cubicBezTo>
                        <a:pt x="690867" y="862854"/>
                        <a:pt x="690867" y="869106"/>
                        <a:pt x="696980" y="875357"/>
                      </a:cubicBezTo>
                      <a:cubicBezTo>
                        <a:pt x="696980" y="881609"/>
                        <a:pt x="678364" y="881609"/>
                        <a:pt x="678364" y="881609"/>
                      </a:cubicBezTo>
                      <a:cubicBezTo>
                        <a:pt x="653497" y="862854"/>
                        <a:pt x="616126" y="850351"/>
                        <a:pt x="591259" y="856603"/>
                      </a:cubicBezTo>
                      <a:cubicBezTo>
                        <a:pt x="566392" y="856603"/>
                        <a:pt x="597510" y="875357"/>
                        <a:pt x="609875" y="875357"/>
                      </a:cubicBezTo>
                      <a:cubicBezTo>
                        <a:pt x="628490" y="881609"/>
                        <a:pt x="640994" y="900363"/>
                        <a:pt x="659609" y="900363"/>
                      </a:cubicBezTo>
                      <a:cubicBezTo>
                        <a:pt x="665861" y="900363"/>
                        <a:pt x="672112" y="894112"/>
                        <a:pt x="684477" y="894112"/>
                      </a:cubicBezTo>
                      <a:cubicBezTo>
                        <a:pt x="684477" y="900363"/>
                        <a:pt x="703092" y="900363"/>
                        <a:pt x="703092" y="900363"/>
                      </a:cubicBezTo>
                      <a:cubicBezTo>
                        <a:pt x="709344" y="906615"/>
                        <a:pt x="703092" y="912867"/>
                        <a:pt x="703092" y="912867"/>
                      </a:cubicBezTo>
                      <a:cubicBezTo>
                        <a:pt x="684477" y="919118"/>
                        <a:pt x="709344" y="925370"/>
                        <a:pt x="703092" y="931621"/>
                      </a:cubicBezTo>
                      <a:cubicBezTo>
                        <a:pt x="703092" y="937873"/>
                        <a:pt x="690589" y="931621"/>
                        <a:pt x="690589" y="944124"/>
                      </a:cubicBezTo>
                      <a:cubicBezTo>
                        <a:pt x="690589" y="950376"/>
                        <a:pt x="703092" y="950376"/>
                        <a:pt x="703092" y="950376"/>
                      </a:cubicBezTo>
                      <a:cubicBezTo>
                        <a:pt x="696841" y="956628"/>
                        <a:pt x="684477" y="944124"/>
                        <a:pt x="684477" y="950376"/>
                      </a:cubicBezTo>
                      <a:cubicBezTo>
                        <a:pt x="678225" y="956628"/>
                        <a:pt x="678225" y="962879"/>
                        <a:pt x="678225" y="969131"/>
                      </a:cubicBezTo>
                      <a:lnTo>
                        <a:pt x="690728" y="969131"/>
                      </a:lnTo>
                      <a:cubicBezTo>
                        <a:pt x="690728" y="975382"/>
                        <a:pt x="678225" y="981634"/>
                        <a:pt x="672112" y="981634"/>
                      </a:cubicBezTo>
                      <a:cubicBezTo>
                        <a:pt x="665861" y="981634"/>
                        <a:pt x="659609" y="981634"/>
                        <a:pt x="653497" y="981634"/>
                      </a:cubicBezTo>
                      <a:cubicBezTo>
                        <a:pt x="647245" y="975382"/>
                        <a:pt x="640994" y="975382"/>
                        <a:pt x="634881" y="981634"/>
                      </a:cubicBezTo>
                      <a:cubicBezTo>
                        <a:pt x="628629" y="987885"/>
                        <a:pt x="628629" y="981634"/>
                        <a:pt x="622378" y="987885"/>
                      </a:cubicBezTo>
                      <a:cubicBezTo>
                        <a:pt x="622378" y="987885"/>
                        <a:pt x="640994" y="1006640"/>
                        <a:pt x="647245" y="1006640"/>
                      </a:cubicBezTo>
                      <a:cubicBezTo>
                        <a:pt x="647245" y="1000388"/>
                        <a:pt x="647245" y="1000388"/>
                        <a:pt x="640994" y="1000388"/>
                      </a:cubicBezTo>
                      <a:lnTo>
                        <a:pt x="659609" y="1000388"/>
                      </a:lnTo>
                      <a:cubicBezTo>
                        <a:pt x="659609" y="1000388"/>
                        <a:pt x="690728" y="987885"/>
                        <a:pt x="690728" y="994137"/>
                      </a:cubicBezTo>
                      <a:cubicBezTo>
                        <a:pt x="684477" y="994137"/>
                        <a:pt x="678225" y="994137"/>
                        <a:pt x="672112" y="1000388"/>
                      </a:cubicBezTo>
                      <a:cubicBezTo>
                        <a:pt x="678364" y="994137"/>
                        <a:pt x="690728" y="1006640"/>
                        <a:pt x="684615" y="1006640"/>
                      </a:cubicBezTo>
                      <a:cubicBezTo>
                        <a:pt x="690867" y="1006640"/>
                        <a:pt x="709483" y="1012892"/>
                        <a:pt x="715735" y="1012892"/>
                      </a:cubicBezTo>
                      <a:cubicBezTo>
                        <a:pt x="709483" y="1012892"/>
                        <a:pt x="697119" y="1012892"/>
                        <a:pt x="697119" y="1012892"/>
                      </a:cubicBezTo>
                      <a:lnTo>
                        <a:pt x="721986" y="1031646"/>
                      </a:lnTo>
                      <a:cubicBezTo>
                        <a:pt x="703370" y="1031646"/>
                        <a:pt x="690867" y="1006640"/>
                        <a:pt x="672251" y="1006640"/>
                      </a:cubicBezTo>
                      <a:cubicBezTo>
                        <a:pt x="659748" y="1006640"/>
                        <a:pt x="628768" y="1000388"/>
                        <a:pt x="622517" y="1012892"/>
                      </a:cubicBezTo>
                      <a:cubicBezTo>
                        <a:pt x="622517" y="1019143"/>
                        <a:pt x="616265" y="1019143"/>
                        <a:pt x="610014" y="1025395"/>
                      </a:cubicBezTo>
                      <a:cubicBezTo>
                        <a:pt x="603762" y="1025395"/>
                        <a:pt x="603762" y="1037898"/>
                        <a:pt x="610014" y="1031646"/>
                      </a:cubicBezTo>
                      <a:cubicBezTo>
                        <a:pt x="622517" y="1031646"/>
                        <a:pt x="634881" y="1025395"/>
                        <a:pt x="641132" y="1012892"/>
                      </a:cubicBezTo>
                      <a:cubicBezTo>
                        <a:pt x="641132" y="1019143"/>
                        <a:pt x="653635" y="1019143"/>
                        <a:pt x="653635" y="1019143"/>
                      </a:cubicBezTo>
                      <a:cubicBezTo>
                        <a:pt x="659887" y="1019143"/>
                        <a:pt x="672251" y="1037898"/>
                        <a:pt x="672251" y="1019143"/>
                      </a:cubicBezTo>
                      <a:cubicBezTo>
                        <a:pt x="672251" y="1012892"/>
                        <a:pt x="684755" y="1025395"/>
                        <a:pt x="684755" y="1025395"/>
                      </a:cubicBezTo>
                      <a:cubicBezTo>
                        <a:pt x="684755" y="1025395"/>
                        <a:pt x="709622" y="1025395"/>
                        <a:pt x="703370" y="1031646"/>
                      </a:cubicBezTo>
                      <a:lnTo>
                        <a:pt x="697119" y="1031646"/>
                      </a:lnTo>
                      <a:lnTo>
                        <a:pt x="709622" y="1037898"/>
                      </a:lnTo>
                      <a:cubicBezTo>
                        <a:pt x="703370" y="1037898"/>
                        <a:pt x="691006" y="1037898"/>
                        <a:pt x="684755" y="1031646"/>
                      </a:cubicBezTo>
                      <a:cubicBezTo>
                        <a:pt x="678503" y="1025395"/>
                        <a:pt x="678503" y="1031646"/>
                        <a:pt x="678503" y="1037898"/>
                      </a:cubicBezTo>
                      <a:cubicBezTo>
                        <a:pt x="678503" y="1031646"/>
                        <a:pt x="641132" y="1025395"/>
                        <a:pt x="635020" y="1025395"/>
                      </a:cubicBezTo>
                      <a:cubicBezTo>
                        <a:pt x="628768" y="1025395"/>
                        <a:pt x="591537" y="1037898"/>
                        <a:pt x="597650" y="1050401"/>
                      </a:cubicBezTo>
                      <a:cubicBezTo>
                        <a:pt x="603901" y="1056652"/>
                        <a:pt x="641132" y="1044149"/>
                        <a:pt x="647384" y="1044149"/>
                      </a:cubicBezTo>
                      <a:cubicBezTo>
                        <a:pt x="653635" y="1044149"/>
                        <a:pt x="666000" y="1044149"/>
                        <a:pt x="672251" y="1050401"/>
                      </a:cubicBezTo>
                      <a:lnTo>
                        <a:pt x="697119" y="1056652"/>
                      </a:lnTo>
                      <a:cubicBezTo>
                        <a:pt x="697119" y="1062904"/>
                        <a:pt x="666000" y="1050401"/>
                        <a:pt x="666000" y="1050401"/>
                      </a:cubicBezTo>
                      <a:cubicBezTo>
                        <a:pt x="653497" y="1044149"/>
                        <a:pt x="634881" y="1050401"/>
                        <a:pt x="622517" y="1050401"/>
                      </a:cubicBezTo>
                      <a:cubicBezTo>
                        <a:pt x="579034" y="1062904"/>
                        <a:pt x="628768" y="1075407"/>
                        <a:pt x="641132" y="1069156"/>
                      </a:cubicBezTo>
                      <a:cubicBezTo>
                        <a:pt x="634881" y="1075407"/>
                        <a:pt x="628629" y="1081659"/>
                        <a:pt x="616265" y="1081659"/>
                      </a:cubicBezTo>
                      <a:cubicBezTo>
                        <a:pt x="597650" y="1087910"/>
                        <a:pt x="628629" y="1094162"/>
                        <a:pt x="628629" y="1094162"/>
                      </a:cubicBezTo>
                      <a:cubicBezTo>
                        <a:pt x="628629" y="1094162"/>
                        <a:pt x="603762" y="1087910"/>
                        <a:pt x="603762" y="1100413"/>
                      </a:cubicBezTo>
                      <a:cubicBezTo>
                        <a:pt x="603762" y="1119168"/>
                        <a:pt x="616265" y="1106665"/>
                        <a:pt x="628629" y="1100413"/>
                      </a:cubicBezTo>
                      <a:cubicBezTo>
                        <a:pt x="641132" y="1094162"/>
                        <a:pt x="653497" y="1081659"/>
                        <a:pt x="666000" y="1075407"/>
                      </a:cubicBezTo>
                      <a:cubicBezTo>
                        <a:pt x="672251" y="1075407"/>
                        <a:pt x="709483" y="1056652"/>
                        <a:pt x="709483" y="1069156"/>
                      </a:cubicBezTo>
                      <a:lnTo>
                        <a:pt x="690867" y="1069156"/>
                      </a:lnTo>
                      <a:cubicBezTo>
                        <a:pt x="690867" y="1069156"/>
                        <a:pt x="703370" y="1069156"/>
                        <a:pt x="709483" y="1075407"/>
                      </a:cubicBezTo>
                      <a:cubicBezTo>
                        <a:pt x="690867" y="1062904"/>
                        <a:pt x="610014" y="1112917"/>
                        <a:pt x="616126" y="1119168"/>
                      </a:cubicBezTo>
                      <a:cubicBezTo>
                        <a:pt x="616126" y="1125420"/>
                        <a:pt x="653497" y="1112917"/>
                        <a:pt x="659609" y="1112917"/>
                      </a:cubicBezTo>
                      <a:cubicBezTo>
                        <a:pt x="659609" y="1112917"/>
                        <a:pt x="634742" y="1119168"/>
                        <a:pt x="628490" y="1125420"/>
                      </a:cubicBezTo>
                      <a:cubicBezTo>
                        <a:pt x="628490" y="1125420"/>
                        <a:pt x="640994" y="1150426"/>
                        <a:pt x="647106" y="1144174"/>
                      </a:cubicBezTo>
                      <a:cubicBezTo>
                        <a:pt x="653358" y="1137923"/>
                        <a:pt x="659609" y="1125420"/>
                        <a:pt x="665722" y="1125420"/>
                      </a:cubicBezTo>
                      <a:cubicBezTo>
                        <a:pt x="671974" y="1125420"/>
                        <a:pt x="696841" y="1131671"/>
                        <a:pt x="696841" y="1131671"/>
                      </a:cubicBezTo>
                      <a:lnTo>
                        <a:pt x="671974" y="1131671"/>
                      </a:lnTo>
                      <a:cubicBezTo>
                        <a:pt x="659470" y="1131671"/>
                        <a:pt x="653358" y="1137923"/>
                        <a:pt x="647106" y="1144174"/>
                      </a:cubicBezTo>
                      <a:cubicBezTo>
                        <a:pt x="647106" y="1150426"/>
                        <a:pt x="647106" y="1156677"/>
                        <a:pt x="647106" y="1162929"/>
                      </a:cubicBezTo>
                      <a:cubicBezTo>
                        <a:pt x="653358" y="1181684"/>
                        <a:pt x="653358" y="1175432"/>
                        <a:pt x="665722" y="1169181"/>
                      </a:cubicBezTo>
                      <a:cubicBezTo>
                        <a:pt x="659470" y="1175432"/>
                        <a:pt x="653219" y="1200438"/>
                        <a:pt x="659470" y="1206690"/>
                      </a:cubicBezTo>
                      <a:cubicBezTo>
                        <a:pt x="659470" y="1206690"/>
                        <a:pt x="678086" y="1181684"/>
                        <a:pt x="684338" y="1181684"/>
                      </a:cubicBezTo>
                      <a:cubicBezTo>
                        <a:pt x="684338" y="1187935"/>
                        <a:pt x="678086" y="1194187"/>
                        <a:pt x="684338" y="1200438"/>
                      </a:cubicBezTo>
                      <a:cubicBezTo>
                        <a:pt x="684338" y="1206690"/>
                        <a:pt x="690589" y="1194187"/>
                        <a:pt x="696702" y="1194187"/>
                      </a:cubicBezTo>
                      <a:cubicBezTo>
                        <a:pt x="709205" y="1181684"/>
                        <a:pt x="684338" y="1169181"/>
                        <a:pt x="684338" y="1162929"/>
                      </a:cubicBezTo>
                      <a:cubicBezTo>
                        <a:pt x="684338" y="1162929"/>
                        <a:pt x="696702" y="1181684"/>
                        <a:pt x="702953" y="1181684"/>
                      </a:cubicBezTo>
                      <a:cubicBezTo>
                        <a:pt x="709205" y="1187935"/>
                        <a:pt x="709205" y="1181684"/>
                        <a:pt x="715456" y="1175432"/>
                      </a:cubicBezTo>
                      <a:cubicBezTo>
                        <a:pt x="709205" y="1175432"/>
                        <a:pt x="727960" y="1194187"/>
                        <a:pt x="721708" y="1200438"/>
                      </a:cubicBezTo>
                      <a:cubicBezTo>
                        <a:pt x="727960" y="1194187"/>
                        <a:pt x="709205" y="1181684"/>
                        <a:pt x="709205" y="1194187"/>
                      </a:cubicBezTo>
                      <a:cubicBezTo>
                        <a:pt x="709205" y="1206690"/>
                        <a:pt x="721708" y="1219193"/>
                        <a:pt x="709205" y="1225445"/>
                      </a:cubicBezTo>
                      <a:lnTo>
                        <a:pt x="709205" y="1206690"/>
                      </a:lnTo>
                      <a:cubicBezTo>
                        <a:pt x="709205" y="1200438"/>
                        <a:pt x="696702" y="1212941"/>
                        <a:pt x="690589" y="1212941"/>
                      </a:cubicBezTo>
                      <a:cubicBezTo>
                        <a:pt x="684477" y="1212941"/>
                        <a:pt x="678086" y="1225445"/>
                        <a:pt x="678086" y="1231696"/>
                      </a:cubicBezTo>
                      <a:cubicBezTo>
                        <a:pt x="671835" y="1244199"/>
                        <a:pt x="690589" y="1231696"/>
                        <a:pt x="690589" y="1237948"/>
                      </a:cubicBezTo>
                      <a:cubicBezTo>
                        <a:pt x="696841" y="1244199"/>
                        <a:pt x="684338" y="1250451"/>
                        <a:pt x="684338" y="1250451"/>
                      </a:cubicBezTo>
                      <a:cubicBezTo>
                        <a:pt x="684338" y="1250451"/>
                        <a:pt x="696702" y="1244199"/>
                        <a:pt x="702953" y="1256702"/>
                      </a:cubicBezTo>
                      <a:cubicBezTo>
                        <a:pt x="702953" y="1269206"/>
                        <a:pt x="715456" y="1275457"/>
                        <a:pt x="715456" y="1281709"/>
                      </a:cubicBezTo>
                      <a:cubicBezTo>
                        <a:pt x="709205" y="1294212"/>
                        <a:pt x="715456" y="1294212"/>
                        <a:pt x="727960" y="1306715"/>
                      </a:cubicBezTo>
                      <a:cubicBezTo>
                        <a:pt x="734211" y="1312966"/>
                        <a:pt x="740463" y="1325470"/>
                        <a:pt x="746576" y="1312966"/>
                      </a:cubicBezTo>
                      <a:cubicBezTo>
                        <a:pt x="746576" y="1312966"/>
                        <a:pt x="752827" y="1344224"/>
                        <a:pt x="759079" y="1344224"/>
                      </a:cubicBezTo>
                      <a:cubicBezTo>
                        <a:pt x="765330" y="1350476"/>
                        <a:pt x="759079" y="1344224"/>
                        <a:pt x="765330" y="1344224"/>
                      </a:cubicBezTo>
                      <a:cubicBezTo>
                        <a:pt x="771582" y="1350476"/>
                        <a:pt x="777694" y="1356727"/>
                        <a:pt x="783946" y="1362979"/>
                      </a:cubicBezTo>
                      <a:cubicBezTo>
                        <a:pt x="796449" y="1369230"/>
                        <a:pt x="808813" y="1375482"/>
                        <a:pt x="821316" y="1369230"/>
                      </a:cubicBezTo>
                      <a:cubicBezTo>
                        <a:pt x="827568" y="1369230"/>
                        <a:pt x="846184" y="1369230"/>
                        <a:pt x="846184" y="1362979"/>
                      </a:cubicBezTo>
                      <a:lnTo>
                        <a:pt x="846184" y="1381734"/>
                      </a:lnTo>
                      <a:cubicBezTo>
                        <a:pt x="846184" y="1381734"/>
                        <a:pt x="858687" y="1356727"/>
                        <a:pt x="858687" y="1362979"/>
                      </a:cubicBezTo>
                      <a:cubicBezTo>
                        <a:pt x="864938" y="1362979"/>
                        <a:pt x="858687" y="1369230"/>
                        <a:pt x="858687" y="1369230"/>
                      </a:cubicBezTo>
                      <a:cubicBezTo>
                        <a:pt x="858687" y="1375482"/>
                        <a:pt x="864938" y="1375482"/>
                        <a:pt x="864938" y="1375482"/>
                      </a:cubicBezTo>
                      <a:cubicBezTo>
                        <a:pt x="864938" y="1375482"/>
                        <a:pt x="846323" y="1381734"/>
                        <a:pt x="852435" y="1387985"/>
                      </a:cubicBezTo>
                      <a:cubicBezTo>
                        <a:pt x="858687" y="1387985"/>
                        <a:pt x="858687" y="1387985"/>
                        <a:pt x="864938" y="1381734"/>
                      </a:cubicBezTo>
                      <a:cubicBezTo>
                        <a:pt x="871190" y="1387985"/>
                        <a:pt x="864938" y="1394237"/>
                        <a:pt x="864938" y="1394237"/>
                      </a:cubicBezTo>
                      <a:cubicBezTo>
                        <a:pt x="864938" y="1400488"/>
                        <a:pt x="883554" y="1381734"/>
                        <a:pt x="883554" y="1387985"/>
                      </a:cubicBezTo>
                      <a:cubicBezTo>
                        <a:pt x="883554" y="1394237"/>
                        <a:pt x="871051" y="1400488"/>
                        <a:pt x="871051" y="1406740"/>
                      </a:cubicBezTo>
                      <a:cubicBezTo>
                        <a:pt x="871051" y="1400488"/>
                        <a:pt x="889667" y="1394237"/>
                        <a:pt x="883554" y="1406740"/>
                      </a:cubicBezTo>
                      <a:cubicBezTo>
                        <a:pt x="883554" y="1406740"/>
                        <a:pt x="883554" y="1406740"/>
                        <a:pt x="883554" y="1400488"/>
                      </a:cubicBezTo>
                      <a:cubicBezTo>
                        <a:pt x="883554" y="1412991"/>
                        <a:pt x="902170" y="1394237"/>
                        <a:pt x="902170" y="1394237"/>
                      </a:cubicBezTo>
                      <a:cubicBezTo>
                        <a:pt x="908421" y="1400488"/>
                        <a:pt x="902170" y="1412991"/>
                        <a:pt x="902170" y="1419243"/>
                      </a:cubicBezTo>
                      <a:cubicBezTo>
                        <a:pt x="895918" y="1406740"/>
                        <a:pt x="951905" y="1406740"/>
                        <a:pt x="914673" y="1387985"/>
                      </a:cubicBezTo>
                      <a:cubicBezTo>
                        <a:pt x="920925" y="1387985"/>
                        <a:pt x="952043" y="1387985"/>
                        <a:pt x="933289" y="1381734"/>
                      </a:cubicBezTo>
                      <a:cubicBezTo>
                        <a:pt x="914673" y="1369230"/>
                        <a:pt x="939540" y="1375482"/>
                        <a:pt x="945792" y="1362979"/>
                      </a:cubicBezTo>
                      <a:lnTo>
                        <a:pt x="927176" y="1362979"/>
                      </a:lnTo>
                      <a:cubicBezTo>
                        <a:pt x="933428" y="1356727"/>
                        <a:pt x="939679" y="1350476"/>
                        <a:pt x="945792" y="1350476"/>
                      </a:cubicBezTo>
                      <a:cubicBezTo>
                        <a:pt x="958295" y="1337973"/>
                        <a:pt x="939540" y="1344224"/>
                        <a:pt x="939540" y="1337973"/>
                      </a:cubicBezTo>
                      <a:cubicBezTo>
                        <a:pt x="939540" y="1337973"/>
                        <a:pt x="958156" y="1331721"/>
                        <a:pt x="958156" y="1325470"/>
                      </a:cubicBezTo>
                      <a:cubicBezTo>
                        <a:pt x="958156" y="1319218"/>
                        <a:pt x="958156" y="1306715"/>
                        <a:pt x="951905" y="1300463"/>
                      </a:cubicBezTo>
                      <a:cubicBezTo>
                        <a:pt x="945653" y="1300463"/>
                        <a:pt x="958156" y="1294212"/>
                        <a:pt x="951905" y="1287960"/>
                      </a:cubicBezTo>
                      <a:lnTo>
                        <a:pt x="939401" y="1281709"/>
                      </a:lnTo>
                      <a:cubicBezTo>
                        <a:pt x="939401" y="1281709"/>
                        <a:pt x="964269" y="1275457"/>
                        <a:pt x="970520" y="1275457"/>
                      </a:cubicBezTo>
                      <a:cubicBezTo>
                        <a:pt x="989136" y="1275457"/>
                        <a:pt x="970520" y="1269206"/>
                        <a:pt x="964269" y="1262954"/>
                      </a:cubicBezTo>
                      <a:lnTo>
                        <a:pt x="995387" y="1262954"/>
                      </a:lnTo>
                      <a:cubicBezTo>
                        <a:pt x="989136" y="1256702"/>
                        <a:pt x="976772" y="1256702"/>
                        <a:pt x="970520" y="1250451"/>
                      </a:cubicBezTo>
                      <a:cubicBezTo>
                        <a:pt x="970520" y="1250451"/>
                        <a:pt x="995387" y="1256702"/>
                        <a:pt x="995387" y="1250451"/>
                      </a:cubicBezTo>
                      <a:cubicBezTo>
                        <a:pt x="1001639" y="1250451"/>
                        <a:pt x="995387" y="1250451"/>
                        <a:pt x="995387" y="1244199"/>
                      </a:cubicBezTo>
                      <a:cubicBezTo>
                        <a:pt x="1001639" y="1244199"/>
                        <a:pt x="1001639" y="1244199"/>
                        <a:pt x="1001639" y="1244199"/>
                      </a:cubicBezTo>
                      <a:cubicBezTo>
                        <a:pt x="1007891" y="1237948"/>
                        <a:pt x="983023" y="1231696"/>
                        <a:pt x="983023" y="1231696"/>
                      </a:cubicBezTo>
                      <a:cubicBezTo>
                        <a:pt x="983023" y="1231696"/>
                        <a:pt x="1014142" y="1231696"/>
                        <a:pt x="1007891" y="1225445"/>
                      </a:cubicBezTo>
                      <a:cubicBezTo>
                        <a:pt x="1007891" y="1219193"/>
                        <a:pt x="1014142" y="1219193"/>
                        <a:pt x="1001639" y="1212941"/>
                      </a:cubicBezTo>
                      <a:cubicBezTo>
                        <a:pt x="1001639" y="1212941"/>
                        <a:pt x="983023" y="1212941"/>
                        <a:pt x="983023" y="1206690"/>
                      </a:cubicBezTo>
                      <a:lnTo>
                        <a:pt x="1014142" y="1200438"/>
                      </a:lnTo>
                      <a:cubicBezTo>
                        <a:pt x="1026645" y="1200438"/>
                        <a:pt x="1020394" y="1181684"/>
                        <a:pt x="1007891" y="1181684"/>
                      </a:cubicBezTo>
                      <a:cubicBezTo>
                        <a:pt x="1001639" y="1175432"/>
                        <a:pt x="983023" y="1169181"/>
                        <a:pt x="1001639" y="1162929"/>
                      </a:cubicBezTo>
                      <a:cubicBezTo>
                        <a:pt x="1014142" y="1162929"/>
                        <a:pt x="1032758" y="1169181"/>
                        <a:pt x="1039010" y="1156677"/>
                      </a:cubicBezTo>
                      <a:lnTo>
                        <a:pt x="1026506" y="1144174"/>
                      </a:lnTo>
                      <a:cubicBezTo>
                        <a:pt x="1026506" y="1137923"/>
                        <a:pt x="1039010" y="1137923"/>
                        <a:pt x="1039010" y="1137923"/>
                      </a:cubicBezTo>
                      <a:cubicBezTo>
                        <a:pt x="1045261" y="1131671"/>
                        <a:pt x="1057625" y="1131671"/>
                        <a:pt x="1070128" y="1137923"/>
                      </a:cubicBezTo>
                      <a:lnTo>
                        <a:pt x="1082632" y="1137923"/>
                      </a:lnTo>
                      <a:cubicBezTo>
                        <a:pt x="1088883" y="1131671"/>
                        <a:pt x="1076380" y="1125420"/>
                        <a:pt x="1076380" y="1119168"/>
                      </a:cubicBezTo>
                      <a:cubicBezTo>
                        <a:pt x="1082632" y="1112917"/>
                        <a:pt x="1101247" y="1087910"/>
                        <a:pt x="1113751" y="1100413"/>
                      </a:cubicBezTo>
                      <a:cubicBezTo>
                        <a:pt x="1107499" y="1094162"/>
                        <a:pt x="1088883" y="1131671"/>
                        <a:pt x="1095135" y="1131671"/>
                      </a:cubicBezTo>
                      <a:cubicBezTo>
                        <a:pt x="1101386" y="1137923"/>
                        <a:pt x="1113751" y="1119168"/>
                        <a:pt x="1126254" y="1119168"/>
                      </a:cubicBezTo>
                      <a:lnTo>
                        <a:pt x="1138757" y="1125420"/>
                      </a:lnTo>
                      <a:lnTo>
                        <a:pt x="1138757" y="1112917"/>
                      </a:lnTo>
                      <a:cubicBezTo>
                        <a:pt x="1157372" y="1119168"/>
                        <a:pt x="1157372" y="1112917"/>
                        <a:pt x="1163624" y="1106665"/>
                      </a:cubicBezTo>
                      <a:cubicBezTo>
                        <a:pt x="1169876" y="1100413"/>
                        <a:pt x="1176127" y="1100413"/>
                        <a:pt x="1182240" y="1100413"/>
                      </a:cubicBezTo>
                      <a:cubicBezTo>
                        <a:pt x="1194743" y="1094162"/>
                        <a:pt x="1194743" y="1087910"/>
                        <a:pt x="1200856" y="1081659"/>
                      </a:cubicBezTo>
                      <a:cubicBezTo>
                        <a:pt x="1207107" y="1075407"/>
                        <a:pt x="1219471" y="1062904"/>
                        <a:pt x="1225723" y="1050401"/>
                      </a:cubicBezTo>
                      <a:cubicBezTo>
                        <a:pt x="1238226" y="1037898"/>
                        <a:pt x="1238226" y="1031646"/>
                        <a:pt x="1250590" y="1031646"/>
                      </a:cubicBezTo>
                      <a:cubicBezTo>
                        <a:pt x="1256842" y="1025395"/>
                        <a:pt x="1275458" y="1025395"/>
                        <a:pt x="1275458" y="1012892"/>
                      </a:cubicBezTo>
                      <a:cubicBezTo>
                        <a:pt x="1269206" y="1012892"/>
                        <a:pt x="1262954" y="981634"/>
                        <a:pt x="1262954" y="981634"/>
                      </a:cubicBezTo>
                      <a:cubicBezTo>
                        <a:pt x="1269206" y="981634"/>
                        <a:pt x="1287822" y="1000388"/>
                        <a:pt x="1294073" y="1000388"/>
                      </a:cubicBezTo>
                      <a:cubicBezTo>
                        <a:pt x="1300325" y="1006640"/>
                        <a:pt x="1306438" y="1006640"/>
                        <a:pt x="1312689" y="1006640"/>
                      </a:cubicBezTo>
                      <a:lnTo>
                        <a:pt x="1325192" y="1000388"/>
                      </a:lnTo>
                      <a:cubicBezTo>
                        <a:pt x="1331444" y="1000388"/>
                        <a:pt x="1337695" y="1006640"/>
                        <a:pt x="1343808" y="1000388"/>
                      </a:cubicBezTo>
                      <a:cubicBezTo>
                        <a:pt x="1343808" y="1000388"/>
                        <a:pt x="1331305" y="987885"/>
                        <a:pt x="1350059" y="994137"/>
                      </a:cubicBezTo>
                      <a:cubicBezTo>
                        <a:pt x="1362563" y="994137"/>
                        <a:pt x="1374927" y="994137"/>
                        <a:pt x="1387430" y="987885"/>
                      </a:cubicBezTo>
                      <a:cubicBezTo>
                        <a:pt x="1418549" y="981634"/>
                        <a:pt x="1443416" y="975382"/>
                        <a:pt x="1474535" y="962879"/>
                      </a:cubicBezTo>
                      <a:cubicBezTo>
                        <a:pt x="1480787" y="956628"/>
                        <a:pt x="1580256" y="894112"/>
                        <a:pt x="1586507" y="894112"/>
                      </a:cubicBezTo>
                      <a:cubicBezTo>
                        <a:pt x="1580256" y="894112"/>
                        <a:pt x="1536773" y="894112"/>
                        <a:pt x="1530521" y="894112"/>
                      </a:cubicBezTo>
                      <a:cubicBezTo>
                        <a:pt x="1518018" y="887860"/>
                        <a:pt x="1505654" y="881609"/>
                        <a:pt x="1493151" y="881609"/>
                      </a:cubicBezTo>
                      <a:cubicBezTo>
                        <a:pt x="1480648" y="881609"/>
                        <a:pt x="1468283" y="887860"/>
                        <a:pt x="1462032" y="887860"/>
                      </a:cubicBezTo>
                      <a:cubicBezTo>
                        <a:pt x="1449529" y="894112"/>
                        <a:pt x="1449529" y="881609"/>
                        <a:pt x="1443416" y="887860"/>
                      </a:cubicBezTo>
                      <a:cubicBezTo>
                        <a:pt x="1437164" y="887860"/>
                        <a:pt x="1430913" y="900363"/>
                        <a:pt x="1424800" y="900363"/>
                      </a:cubicBezTo>
                      <a:cubicBezTo>
                        <a:pt x="1399933" y="900363"/>
                        <a:pt x="1443416" y="875357"/>
                        <a:pt x="1449668" y="881609"/>
                      </a:cubicBezTo>
                      <a:cubicBezTo>
                        <a:pt x="1443416" y="875357"/>
                        <a:pt x="1424800" y="881609"/>
                        <a:pt x="1418549" y="881609"/>
                      </a:cubicBezTo>
                      <a:cubicBezTo>
                        <a:pt x="1399933" y="881609"/>
                        <a:pt x="1387430" y="875357"/>
                        <a:pt x="1375066" y="875357"/>
                      </a:cubicBezTo>
                      <a:cubicBezTo>
                        <a:pt x="1381317" y="875357"/>
                        <a:pt x="1399933" y="862854"/>
                        <a:pt x="1406185" y="856603"/>
                      </a:cubicBezTo>
                      <a:cubicBezTo>
                        <a:pt x="1406185" y="837848"/>
                        <a:pt x="1418688" y="844099"/>
                        <a:pt x="1424800" y="850351"/>
                      </a:cubicBezTo>
                      <a:cubicBezTo>
                        <a:pt x="1437303" y="850351"/>
                        <a:pt x="1487038" y="837848"/>
                        <a:pt x="1493151" y="831596"/>
                      </a:cubicBezTo>
                      <a:cubicBezTo>
                        <a:pt x="1493151" y="825345"/>
                        <a:pt x="1462032" y="819093"/>
                        <a:pt x="1455780" y="812842"/>
                      </a:cubicBezTo>
                      <a:cubicBezTo>
                        <a:pt x="1462032" y="819093"/>
                        <a:pt x="1486899" y="825345"/>
                        <a:pt x="1493151" y="825345"/>
                      </a:cubicBezTo>
                      <a:cubicBezTo>
                        <a:pt x="1499402" y="831596"/>
                        <a:pt x="1524270" y="831596"/>
                        <a:pt x="1524270" y="844099"/>
                      </a:cubicBezTo>
                      <a:cubicBezTo>
                        <a:pt x="1518018" y="862854"/>
                        <a:pt x="1530521" y="869106"/>
                        <a:pt x="1542885" y="869106"/>
                      </a:cubicBezTo>
                      <a:cubicBezTo>
                        <a:pt x="1542885" y="869106"/>
                        <a:pt x="1580256" y="869106"/>
                        <a:pt x="1574004" y="862854"/>
                      </a:cubicBezTo>
                      <a:cubicBezTo>
                        <a:pt x="1574004" y="862854"/>
                        <a:pt x="1574004" y="875357"/>
                        <a:pt x="1580256" y="875357"/>
                      </a:cubicBezTo>
                      <a:cubicBezTo>
                        <a:pt x="1592759" y="869106"/>
                        <a:pt x="1598872" y="850351"/>
                        <a:pt x="1598872" y="837848"/>
                      </a:cubicBezTo>
                      <a:cubicBezTo>
                        <a:pt x="1598872" y="831596"/>
                        <a:pt x="1598872" y="806590"/>
                        <a:pt x="1586369" y="812842"/>
                      </a:cubicBezTo>
                      <a:cubicBezTo>
                        <a:pt x="1573865" y="825345"/>
                        <a:pt x="1580117" y="812842"/>
                        <a:pt x="1573865" y="806590"/>
                      </a:cubicBezTo>
                      <a:cubicBezTo>
                        <a:pt x="1561362" y="794087"/>
                        <a:pt x="1542746" y="787835"/>
                        <a:pt x="1524131" y="775332"/>
                      </a:cubicBezTo>
                      <a:cubicBezTo>
                        <a:pt x="1517879" y="769081"/>
                        <a:pt x="1511628" y="769081"/>
                        <a:pt x="1505515" y="762829"/>
                      </a:cubicBezTo>
                      <a:cubicBezTo>
                        <a:pt x="1505515" y="762829"/>
                        <a:pt x="1480648" y="769081"/>
                        <a:pt x="1480648" y="775332"/>
                      </a:cubicBezTo>
                      <a:cubicBezTo>
                        <a:pt x="1480648" y="775332"/>
                        <a:pt x="1486899" y="769081"/>
                        <a:pt x="1480648" y="769081"/>
                      </a:cubicBezTo>
                      <a:lnTo>
                        <a:pt x="1474396" y="762829"/>
                      </a:lnTo>
                      <a:cubicBezTo>
                        <a:pt x="1474396" y="756578"/>
                        <a:pt x="1499264" y="762829"/>
                        <a:pt x="1499264" y="756578"/>
                      </a:cubicBezTo>
                      <a:cubicBezTo>
                        <a:pt x="1499264" y="744074"/>
                        <a:pt x="1499264" y="737823"/>
                        <a:pt x="1480648" y="737823"/>
                      </a:cubicBezTo>
                      <a:cubicBezTo>
                        <a:pt x="1468144" y="744074"/>
                        <a:pt x="1462032" y="756578"/>
                        <a:pt x="1449529" y="744074"/>
                      </a:cubicBezTo>
                      <a:cubicBezTo>
                        <a:pt x="1449529" y="744074"/>
                        <a:pt x="1424661" y="744074"/>
                        <a:pt x="1424661" y="737823"/>
                      </a:cubicBezTo>
                      <a:cubicBezTo>
                        <a:pt x="1424661" y="725320"/>
                        <a:pt x="1455780" y="744074"/>
                        <a:pt x="1455780" y="744074"/>
                      </a:cubicBezTo>
                      <a:cubicBezTo>
                        <a:pt x="1462032" y="744074"/>
                        <a:pt x="1493151" y="737823"/>
                        <a:pt x="1493151" y="731571"/>
                      </a:cubicBezTo>
                      <a:cubicBezTo>
                        <a:pt x="1499402" y="731571"/>
                        <a:pt x="1468283" y="719068"/>
                        <a:pt x="1462032" y="719068"/>
                      </a:cubicBezTo>
                      <a:cubicBezTo>
                        <a:pt x="1449529" y="719068"/>
                        <a:pt x="1430913" y="719068"/>
                        <a:pt x="1418549" y="725320"/>
                      </a:cubicBezTo>
                      <a:cubicBezTo>
                        <a:pt x="1424800" y="725320"/>
                        <a:pt x="1449668" y="706565"/>
                        <a:pt x="1449668" y="712817"/>
                      </a:cubicBezTo>
                      <a:cubicBezTo>
                        <a:pt x="1449668" y="706565"/>
                        <a:pt x="1424800" y="706565"/>
                        <a:pt x="1424800" y="700314"/>
                      </a:cubicBezTo>
                      <a:cubicBezTo>
                        <a:pt x="1443416" y="706565"/>
                        <a:pt x="1462171" y="719068"/>
                        <a:pt x="1480787" y="706565"/>
                      </a:cubicBezTo>
                      <a:cubicBezTo>
                        <a:pt x="1480787" y="706565"/>
                        <a:pt x="1499402" y="700314"/>
                        <a:pt x="1499402" y="694062"/>
                      </a:cubicBezTo>
                      <a:cubicBezTo>
                        <a:pt x="1493151" y="687811"/>
                        <a:pt x="1480787" y="681559"/>
                        <a:pt x="1480787" y="675307"/>
                      </a:cubicBezTo>
                      <a:cubicBezTo>
                        <a:pt x="1480787" y="681559"/>
                        <a:pt x="1499402" y="687811"/>
                        <a:pt x="1505654" y="687811"/>
                      </a:cubicBezTo>
                      <a:cubicBezTo>
                        <a:pt x="1518157" y="694062"/>
                        <a:pt x="1511905" y="681559"/>
                        <a:pt x="1524270" y="681559"/>
                      </a:cubicBezTo>
                      <a:cubicBezTo>
                        <a:pt x="1530521" y="681559"/>
                        <a:pt x="1580256" y="694062"/>
                        <a:pt x="1580256" y="694062"/>
                      </a:cubicBezTo>
                      <a:cubicBezTo>
                        <a:pt x="1574004" y="694062"/>
                        <a:pt x="1530521" y="687811"/>
                        <a:pt x="1530521" y="687811"/>
                      </a:cubicBezTo>
                      <a:cubicBezTo>
                        <a:pt x="1543024" y="712817"/>
                        <a:pt x="1580256" y="706565"/>
                        <a:pt x="1598872" y="706565"/>
                      </a:cubicBezTo>
                      <a:cubicBezTo>
                        <a:pt x="1605123" y="700314"/>
                        <a:pt x="1623739" y="706565"/>
                        <a:pt x="1629990" y="700314"/>
                      </a:cubicBezTo>
                      <a:cubicBezTo>
                        <a:pt x="1648606" y="694062"/>
                        <a:pt x="1642494" y="681559"/>
                        <a:pt x="1629990" y="675307"/>
                      </a:cubicBezTo>
                      <a:cubicBezTo>
                        <a:pt x="1623739" y="669056"/>
                        <a:pt x="1605123" y="662804"/>
                        <a:pt x="1598872" y="662804"/>
                      </a:cubicBezTo>
                      <a:cubicBezTo>
                        <a:pt x="1592620" y="662804"/>
                        <a:pt x="1598872" y="681559"/>
                        <a:pt x="1598872" y="687811"/>
                      </a:cubicBezTo>
                      <a:cubicBezTo>
                        <a:pt x="1592620" y="681559"/>
                        <a:pt x="1592620" y="675307"/>
                        <a:pt x="1586369" y="669056"/>
                      </a:cubicBezTo>
                      <a:cubicBezTo>
                        <a:pt x="1586369" y="662804"/>
                        <a:pt x="1580117" y="669056"/>
                        <a:pt x="1573865" y="662804"/>
                      </a:cubicBezTo>
                      <a:cubicBezTo>
                        <a:pt x="1580117" y="669056"/>
                        <a:pt x="1592481" y="631546"/>
                        <a:pt x="1592481" y="625295"/>
                      </a:cubicBezTo>
                      <a:lnTo>
                        <a:pt x="1598733" y="644050"/>
                      </a:lnTo>
                      <a:cubicBezTo>
                        <a:pt x="1598733" y="656553"/>
                        <a:pt x="1598733" y="662804"/>
                        <a:pt x="1604984" y="662804"/>
                      </a:cubicBezTo>
                      <a:cubicBezTo>
                        <a:pt x="1623600" y="662804"/>
                        <a:pt x="1636103" y="656553"/>
                        <a:pt x="1648467" y="656553"/>
                      </a:cubicBezTo>
                      <a:cubicBezTo>
                        <a:pt x="1654719" y="656553"/>
                        <a:pt x="1691950" y="644050"/>
                        <a:pt x="1679586" y="631546"/>
                      </a:cubicBezTo>
                      <a:cubicBezTo>
                        <a:pt x="1667083" y="625295"/>
                        <a:pt x="1660970" y="637798"/>
                        <a:pt x="1654719" y="631546"/>
                      </a:cubicBezTo>
                      <a:cubicBezTo>
                        <a:pt x="1654719" y="625295"/>
                        <a:pt x="1654719" y="625295"/>
                        <a:pt x="1654719" y="619043"/>
                      </a:cubicBezTo>
                      <a:cubicBezTo>
                        <a:pt x="1660970" y="612792"/>
                        <a:pt x="1654719" y="606540"/>
                        <a:pt x="1648467" y="606540"/>
                      </a:cubicBezTo>
                      <a:cubicBezTo>
                        <a:pt x="1648467" y="600289"/>
                        <a:pt x="1629852" y="600289"/>
                        <a:pt x="1623600" y="600289"/>
                      </a:cubicBezTo>
                      <a:cubicBezTo>
                        <a:pt x="1611097" y="600289"/>
                        <a:pt x="1604984" y="612792"/>
                        <a:pt x="1592481" y="600289"/>
                      </a:cubicBezTo>
                      <a:cubicBezTo>
                        <a:pt x="1617349" y="619043"/>
                        <a:pt x="1629852" y="569031"/>
                        <a:pt x="1654719" y="594037"/>
                      </a:cubicBezTo>
                      <a:cubicBezTo>
                        <a:pt x="1660970" y="606540"/>
                        <a:pt x="1673334" y="587786"/>
                        <a:pt x="1673334" y="575282"/>
                      </a:cubicBezTo>
                      <a:cubicBezTo>
                        <a:pt x="1673334" y="569031"/>
                        <a:pt x="1654719" y="550276"/>
                        <a:pt x="1654719" y="550276"/>
                      </a:cubicBezTo>
                      <a:cubicBezTo>
                        <a:pt x="1654719" y="544025"/>
                        <a:pt x="1673334" y="562779"/>
                        <a:pt x="1673334" y="569031"/>
                      </a:cubicBezTo>
                      <a:cubicBezTo>
                        <a:pt x="1673334" y="575282"/>
                        <a:pt x="1685699" y="562779"/>
                        <a:pt x="1679586" y="550276"/>
                      </a:cubicBezTo>
                      <a:cubicBezTo>
                        <a:pt x="1673334" y="544025"/>
                        <a:pt x="1660970" y="531522"/>
                        <a:pt x="1654719" y="525270"/>
                      </a:cubicBezTo>
                      <a:cubicBezTo>
                        <a:pt x="1642216" y="525270"/>
                        <a:pt x="1623600" y="531522"/>
                        <a:pt x="1611236" y="525270"/>
                      </a:cubicBezTo>
                      <a:cubicBezTo>
                        <a:pt x="1604984" y="519018"/>
                        <a:pt x="1604984" y="506515"/>
                        <a:pt x="1592620" y="506515"/>
                      </a:cubicBezTo>
                      <a:cubicBezTo>
                        <a:pt x="1592620" y="500264"/>
                        <a:pt x="1567753" y="506515"/>
                        <a:pt x="1574004" y="500264"/>
                      </a:cubicBezTo>
                      <a:cubicBezTo>
                        <a:pt x="1580256" y="487761"/>
                        <a:pt x="1580256" y="481509"/>
                        <a:pt x="1592620" y="494012"/>
                      </a:cubicBezTo>
                      <a:cubicBezTo>
                        <a:pt x="1604984" y="506515"/>
                        <a:pt x="1617487" y="487761"/>
                        <a:pt x="1629990" y="481509"/>
                      </a:cubicBezTo>
                      <a:cubicBezTo>
                        <a:pt x="1648606" y="469006"/>
                        <a:pt x="1685977" y="506515"/>
                        <a:pt x="1704592" y="487761"/>
                      </a:cubicBezTo>
                      <a:cubicBezTo>
                        <a:pt x="1710844" y="481509"/>
                        <a:pt x="1710844" y="450251"/>
                        <a:pt x="1692089" y="456503"/>
                      </a:cubicBezTo>
                      <a:cubicBezTo>
                        <a:pt x="1685838" y="456503"/>
                        <a:pt x="1679586" y="462754"/>
                        <a:pt x="1673474" y="456503"/>
                      </a:cubicBezTo>
                      <a:cubicBezTo>
                        <a:pt x="1660970" y="456503"/>
                        <a:pt x="1648606" y="450251"/>
                        <a:pt x="1636103" y="437748"/>
                      </a:cubicBezTo>
                      <a:cubicBezTo>
                        <a:pt x="1617487" y="425245"/>
                        <a:pt x="1685838" y="444000"/>
                        <a:pt x="1685838" y="437748"/>
                      </a:cubicBezTo>
                      <a:cubicBezTo>
                        <a:pt x="1679586" y="425245"/>
                        <a:pt x="1648467" y="418993"/>
                        <a:pt x="1636103" y="412742"/>
                      </a:cubicBezTo>
                      <a:cubicBezTo>
                        <a:pt x="1617487" y="406490"/>
                        <a:pt x="1617487" y="412742"/>
                        <a:pt x="1611236" y="425245"/>
                      </a:cubicBezTo>
                      <a:cubicBezTo>
                        <a:pt x="1611236" y="431497"/>
                        <a:pt x="1598733" y="437748"/>
                        <a:pt x="1592620" y="431497"/>
                      </a:cubicBezTo>
                      <a:cubicBezTo>
                        <a:pt x="1586369" y="431497"/>
                        <a:pt x="1604984" y="406490"/>
                        <a:pt x="1604984" y="400239"/>
                      </a:cubicBezTo>
                      <a:cubicBezTo>
                        <a:pt x="1604984" y="393987"/>
                        <a:pt x="1611236" y="381484"/>
                        <a:pt x="1617487" y="375233"/>
                      </a:cubicBezTo>
                      <a:cubicBezTo>
                        <a:pt x="1617487" y="368981"/>
                        <a:pt x="1617487" y="356478"/>
                        <a:pt x="1623739" y="356478"/>
                      </a:cubicBezTo>
                      <a:cubicBezTo>
                        <a:pt x="1629990" y="356478"/>
                        <a:pt x="1642355" y="356478"/>
                        <a:pt x="1648606" y="350226"/>
                      </a:cubicBezTo>
                      <a:cubicBezTo>
                        <a:pt x="1648606" y="350226"/>
                        <a:pt x="1679725" y="318968"/>
                        <a:pt x="1679725" y="325220"/>
                      </a:cubicBezTo>
                      <a:lnTo>
                        <a:pt x="1667222" y="318968"/>
                      </a:lnTo>
                      <a:cubicBezTo>
                        <a:pt x="1667222" y="312717"/>
                        <a:pt x="1667222" y="306465"/>
                        <a:pt x="1667222" y="300214"/>
                      </a:cubicBezTo>
                      <a:cubicBezTo>
                        <a:pt x="1667222" y="287711"/>
                        <a:pt x="1673474" y="287711"/>
                        <a:pt x="1685838" y="287711"/>
                      </a:cubicBezTo>
                      <a:cubicBezTo>
                        <a:pt x="1698341" y="287711"/>
                        <a:pt x="1748075" y="268956"/>
                        <a:pt x="1716957" y="268956"/>
                      </a:cubicBezTo>
                      <a:cubicBezTo>
                        <a:pt x="1698341" y="268956"/>
                        <a:pt x="1667222" y="262704"/>
                        <a:pt x="1654719" y="275208"/>
                      </a:cubicBezTo>
                      <a:cubicBezTo>
                        <a:pt x="1648467" y="281459"/>
                        <a:pt x="1648467" y="293962"/>
                        <a:pt x="1636103" y="287711"/>
                      </a:cubicBezTo>
                      <a:cubicBezTo>
                        <a:pt x="1623600" y="281459"/>
                        <a:pt x="1636103" y="268956"/>
                        <a:pt x="1642355" y="262704"/>
                      </a:cubicBezTo>
                      <a:cubicBezTo>
                        <a:pt x="1654858" y="243950"/>
                        <a:pt x="1679725" y="256453"/>
                        <a:pt x="1698341" y="256453"/>
                      </a:cubicBezTo>
                      <a:cubicBezTo>
                        <a:pt x="1723208" y="256453"/>
                        <a:pt x="1748075" y="262704"/>
                        <a:pt x="1760579" y="237698"/>
                      </a:cubicBezTo>
                      <a:cubicBezTo>
                        <a:pt x="1766830" y="237698"/>
                        <a:pt x="1741963" y="231447"/>
                        <a:pt x="1741963" y="231447"/>
                      </a:cubicBezTo>
                      <a:cubicBezTo>
                        <a:pt x="1729460" y="225195"/>
                        <a:pt x="1717095" y="231447"/>
                        <a:pt x="1704592" y="231447"/>
                      </a:cubicBezTo>
                      <a:cubicBezTo>
                        <a:pt x="1692089" y="231447"/>
                        <a:pt x="1685977" y="225195"/>
                        <a:pt x="1673474" y="225195"/>
                      </a:cubicBezTo>
                      <a:cubicBezTo>
                        <a:pt x="1667222" y="225195"/>
                        <a:pt x="1654858" y="225195"/>
                        <a:pt x="1648606" y="225195"/>
                      </a:cubicBezTo>
                      <a:cubicBezTo>
                        <a:pt x="1654858" y="231447"/>
                        <a:pt x="1673474" y="225195"/>
                        <a:pt x="1685977" y="225195"/>
                      </a:cubicBezTo>
                      <a:cubicBezTo>
                        <a:pt x="1704592" y="225195"/>
                        <a:pt x="1717095" y="218944"/>
                        <a:pt x="1735711" y="218944"/>
                      </a:cubicBezTo>
                      <a:cubicBezTo>
                        <a:pt x="1760579" y="225195"/>
                        <a:pt x="1773082" y="212692"/>
                        <a:pt x="1791698" y="212692"/>
                      </a:cubicBezTo>
                      <a:cubicBezTo>
                        <a:pt x="1797949" y="212692"/>
                        <a:pt x="1810313" y="212692"/>
                        <a:pt x="1810313" y="206440"/>
                      </a:cubicBezTo>
                      <a:cubicBezTo>
                        <a:pt x="1810313" y="206440"/>
                        <a:pt x="1797810" y="193937"/>
                        <a:pt x="1804062" y="193937"/>
                      </a:cubicBezTo>
                      <a:cubicBezTo>
                        <a:pt x="1835180" y="187686"/>
                        <a:pt x="1866300" y="181434"/>
                        <a:pt x="1891167" y="162679"/>
                      </a:cubicBezTo>
                      <a:cubicBezTo>
                        <a:pt x="1897418" y="156428"/>
                        <a:pt x="1872551" y="150176"/>
                        <a:pt x="1872551" y="150176"/>
                      </a:cubicBezTo>
                      <a:cubicBezTo>
                        <a:pt x="1853935" y="143925"/>
                        <a:pt x="1835180" y="137673"/>
                        <a:pt x="1822816" y="137673"/>
                      </a:cubicBezTo>
                      <a:cubicBezTo>
                        <a:pt x="1785446" y="131422"/>
                        <a:pt x="1754466" y="125170"/>
                        <a:pt x="1723347" y="156428"/>
                      </a:cubicBezTo>
                      <a:cubicBezTo>
                        <a:pt x="1710844" y="175183"/>
                        <a:pt x="1698480" y="162679"/>
                        <a:pt x="1673613" y="162679"/>
                      </a:cubicBezTo>
                      <a:cubicBezTo>
                        <a:pt x="1667361" y="162679"/>
                        <a:pt x="1642494" y="181434"/>
                        <a:pt x="1648745" y="162679"/>
                      </a:cubicBezTo>
                      <a:cubicBezTo>
                        <a:pt x="1648745" y="150176"/>
                        <a:pt x="1617626" y="168931"/>
                        <a:pt x="1611375" y="175183"/>
                      </a:cubicBezTo>
                      <a:cubicBezTo>
                        <a:pt x="1598872" y="181434"/>
                        <a:pt x="1586507" y="187686"/>
                        <a:pt x="1574004" y="193937"/>
                      </a:cubicBezTo>
                      <a:cubicBezTo>
                        <a:pt x="1567753" y="193937"/>
                        <a:pt x="1518018" y="231447"/>
                        <a:pt x="1518018" y="231447"/>
                      </a:cubicBezTo>
                      <a:cubicBezTo>
                        <a:pt x="1505515" y="218944"/>
                        <a:pt x="1642355" y="137534"/>
                        <a:pt x="1561501" y="118780"/>
                      </a:cubicBezTo>
                      <a:cubicBezTo>
                        <a:pt x="1530382" y="118780"/>
                        <a:pt x="1536634" y="137534"/>
                        <a:pt x="1511767" y="150037"/>
                      </a:cubicBezTo>
                      <a:cubicBezTo>
                        <a:pt x="1493151" y="156289"/>
                        <a:pt x="1480648" y="156289"/>
                        <a:pt x="1462032" y="162541"/>
                      </a:cubicBezTo>
                      <a:cubicBezTo>
                        <a:pt x="1455780" y="162541"/>
                        <a:pt x="1424661" y="175044"/>
                        <a:pt x="1418549" y="175044"/>
                      </a:cubicBezTo>
                      <a:cubicBezTo>
                        <a:pt x="1406046" y="156289"/>
                        <a:pt x="1449668" y="150037"/>
                        <a:pt x="1462032" y="150037"/>
                      </a:cubicBezTo>
                      <a:cubicBezTo>
                        <a:pt x="1462032" y="143786"/>
                        <a:pt x="1499402" y="137534"/>
                        <a:pt x="1480648" y="131283"/>
                      </a:cubicBezTo>
                      <a:cubicBezTo>
                        <a:pt x="1462032" y="125031"/>
                        <a:pt x="1443277" y="125031"/>
                        <a:pt x="1424661" y="125031"/>
                      </a:cubicBezTo>
                      <a:cubicBezTo>
                        <a:pt x="1374927" y="125031"/>
                        <a:pt x="1325192" y="131283"/>
                        <a:pt x="1275318" y="143786"/>
                      </a:cubicBezTo>
                      <a:cubicBezTo>
                        <a:pt x="1275318" y="143786"/>
                        <a:pt x="1256703" y="156289"/>
                        <a:pt x="1250451" y="150037"/>
                      </a:cubicBezTo>
                      <a:cubicBezTo>
                        <a:pt x="1250451" y="137534"/>
                        <a:pt x="1244200" y="137534"/>
                        <a:pt x="1256703" y="137534"/>
                      </a:cubicBezTo>
                      <a:cubicBezTo>
                        <a:pt x="1281570" y="125031"/>
                        <a:pt x="1306438" y="118780"/>
                        <a:pt x="1331305" y="112528"/>
                      </a:cubicBezTo>
                      <a:cubicBezTo>
                        <a:pt x="1374788" y="106277"/>
                        <a:pt x="1424661" y="112528"/>
                        <a:pt x="1474396" y="112528"/>
                      </a:cubicBezTo>
                      <a:cubicBezTo>
                        <a:pt x="1486899" y="112528"/>
                        <a:pt x="1499264" y="112528"/>
                        <a:pt x="1511767" y="112528"/>
                      </a:cubicBezTo>
                      <a:cubicBezTo>
                        <a:pt x="1536634" y="100025"/>
                        <a:pt x="1567753" y="100025"/>
                        <a:pt x="1592620" y="87522"/>
                      </a:cubicBezTo>
                      <a:cubicBezTo>
                        <a:pt x="1604984" y="87522"/>
                        <a:pt x="1611236" y="81270"/>
                        <a:pt x="1592620" y="75019"/>
                      </a:cubicBezTo>
                      <a:cubicBezTo>
                        <a:pt x="1580117" y="68767"/>
                        <a:pt x="1555249" y="62516"/>
                        <a:pt x="1542885" y="68767"/>
                      </a:cubicBezTo>
                      <a:cubicBezTo>
                        <a:pt x="1530382" y="68767"/>
                        <a:pt x="1530382" y="62516"/>
                        <a:pt x="1518018" y="56264"/>
                      </a:cubicBezTo>
                      <a:cubicBezTo>
                        <a:pt x="1505515" y="56264"/>
                        <a:pt x="1493151" y="68767"/>
                        <a:pt x="1480648" y="68767"/>
                      </a:cubicBezTo>
                      <a:cubicBezTo>
                        <a:pt x="1480648" y="68767"/>
                        <a:pt x="1493151" y="50012"/>
                        <a:pt x="1499264" y="50012"/>
                      </a:cubicBezTo>
                      <a:cubicBezTo>
                        <a:pt x="1505515" y="37509"/>
                        <a:pt x="1480648" y="37509"/>
                        <a:pt x="1474396" y="37509"/>
                      </a:cubicBezTo>
                      <a:cubicBezTo>
                        <a:pt x="1437026" y="43761"/>
                        <a:pt x="1406046" y="43761"/>
                        <a:pt x="1368675" y="37509"/>
                      </a:cubicBezTo>
                      <a:cubicBezTo>
                        <a:pt x="1337556" y="37509"/>
                        <a:pt x="1312689" y="50012"/>
                        <a:pt x="1281570" y="50012"/>
                      </a:cubicBezTo>
                      <a:cubicBezTo>
                        <a:pt x="1269067" y="50012"/>
                        <a:pt x="1250451" y="50012"/>
                        <a:pt x="1238087" y="50012"/>
                      </a:cubicBezTo>
                      <a:cubicBezTo>
                        <a:pt x="1225584" y="56264"/>
                        <a:pt x="1206968" y="50012"/>
                        <a:pt x="1200717" y="56264"/>
                      </a:cubicBezTo>
                      <a:cubicBezTo>
                        <a:pt x="1219333" y="50012"/>
                        <a:pt x="1238087" y="50012"/>
                        <a:pt x="1256703" y="43761"/>
                      </a:cubicBezTo>
                      <a:cubicBezTo>
                        <a:pt x="1287822" y="43761"/>
                        <a:pt x="1312689" y="37509"/>
                        <a:pt x="1337556" y="37509"/>
                      </a:cubicBezTo>
                      <a:cubicBezTo>
                        <a:pt x="1350059" y="37509"/>
                        <a:pt x="1474396" y="37509"/>
                        <a:pt x="1474396" y="25006"/>
                      </a:cubicBezTo>
                      <a:cubicBezTo>
                        <a:pt x="1468144" y="25006"/>
                        <a:pt x="1449529" y="18755"/>
                        <a:pt x="1443277" y="12503"/>
                      </a:cubicBezTo>
                      <a:cubicBezTo>
                        <a:pt x="1424661" y="12503"/>
                        <a:pt x="1412158" y="12503"/>
                        <a:pt x="1393543" y="12503"/>
                      </a:cubicBezTo>
                      <a:cubicBezTo>
                        <a:pt x="1368675" y="12503"/>
                        <a:pt x="1343808" y="6252"/>
                        <a:pt x="1325192" y="0"/>
                      </a:cubicBezTo>
                      <a:cubicBezTo>
                        <a:pt x="1281709" y="0"/>
                        <a:pt x="1244339" y="0"/>
                        <a:pt x="1206968" y="0"/>
                      </a:cubicBezTo>
                      <a:cubicBezTo>
                        <a:pt x="1188352" y="6252"/>
                        <a:pt x="1169598" y="6252"/>
                        <a:pt x="1150982" y="6252"/>
                      </a:cubicBezTo>
                      <a:cubicBezTo>
                        <a:pt x="1144730" y="6252"/>
                        <a:pt x="1138479" y="18755"/>
                        <a:pt x="1138479" y="18755"/>
                      </a:cubicBezTo>
                      <a:cubicBezTo>
                        <a:pt x="1125976" y="18755"/>
                        <a:pt x="1113612" y="12503"/>
                        <a:pt x="1101108" y="12503"/>
                      </a:cubicBezTo>
                      <a:cubicBezTo>
                        <a:pt x="1094857" y="12503"/>
                        <a:pt x="1088605" y="18755"/>
                        <a:pt x="1076241" y="18755"/>
                      </a:cubicBezTo>
                      <a:cubicBezTo>
                        <a:pt x="1063877" y="18755"/>
                        <a:pt x="1063877" y="25006"/>
                        <a:pt x="1076241" y="25006"/>
                      </a:cubicBezTo>
                      <a:cubicBezTo>
                        <a:pt x="1094857" y="31258"/>
                        <a:pt x="1113612" y="31258"/>
                        <a:pt x="1125976" y="37509"/>
                      </a:cubicBezTo>
                      <a:cubicBezTo>
                        <a:pt x="1119724" y="31258"/>
                        <a:pt x="1082493" y="43761"/>
                        <a:pt x="1076241" y="50012"/>
                      </a:cubicBezTo>
                      <a:lnTo>
                        <a:pt x="1057625" y="50012"/>
                      </a:lnTo>
                      <a:lnTo>
                        <a:pt x="1070128" y="62516"/>
                      </a:lnTo>
                      <a:cubicBezTo>
                        <a:pt x="1063877" y="62516"/>
                        <a:pt x="1051513" y="56264"/>
                        <a:pt x="1045261" y="50012"/>
                      </a:cubicBezTo>
                      <a:cubicBezTo>
                        <a:pt x="1039010" y="43761"/>
                        <a:pt x="1020394" y="50012"/>
                        <a:pt x="1014142" y="50012"/>
                      </a:cubicBezTo>
                      <a:cubicBezTo>
                        <a:pt x="995526" y="43761"/>
                        <a:pt x="976772" y="37509"/>
                        <a:pt x="958156" y="31258"/>
                      </a:cubicBezTo>
                      <a:cubicBezTo>
                        <a:pt x="945653" y="25006"/>
                        <a:pt x="933289" y="37509"/>
                        <a:pt x="914673" y="37509"/>
                      </a:cubicBezTo>
                      <a:cubicBezTo>
                        <a:pt x="908421" y="37509"/>
                        <a:pt x="871190" y="31258"/>
                        <a:pt x="871190" y="43761"/>
                      </a:cubicBezTo>
                      <a:cubicBezTo>
                        <a:pt x="864938" y="43761"/>
                        <a:pt x="952043" y="56264"/>
                        <a:pt x="964546" y="62516"/>
                      </a:cubicBezTo>
                      <a:cubicBezTo>
                        <a:pt x="983162" y="62516"/>
                        <a:pt x="1001917" y="62516"/>
                        <a:pt x="1014281" y="68767"/>
                      </a:cubicBezTo>
                      <a:cubicBezTo>
                        <a:pt x="1020533" y="68767"/>
                        <a:pt x="1026784" y="68767"/>
                        <a:pt x="1032897" y="75019"/>
                      </a:cubicBezTo>
                      <a:lnTo>
                        <a:pt x="1032897" y="93773"/>
                      </a:lnTo>
                      <a:cubicBezTo>
                        <a:pt x="1032897" y="100025"/>
                        <a:pt x="1026645" y="87522"/>
                        <a:pt x="1026645" y="81270"/>
                      </a:cubicBezTo>
                      <a:cubicBezTo>
                        <a:pt x="1020394" y="75019"/>
                        <a:pt x="1001778" y="75019"/>
                        <a:pt x="995526" y="68767"/>
                      </a:cubicBezTo>
                      <a:lnTo>
                        <a:pt x="976911" y="68767"/>
                      </a:lnTo>
                      <a:cubicBezTo>
                        <a:pt x="976911" y="75019"/>
                        <a:pt x="983162" y="87522"/>
                        <a:pt x="983162" y="87522"/>
                      </a:cubicBezTo>
                      <a:cubicBezTo>
                        <a:pt x="970659" y="87522"/>
                        <a:pt x="964546" y="68767"/>
                        <a:pt x="958295" y="68767"/>
                      </a:cubicBezTo>
                      <a:cubicBezTo>
                        <a:pt x="945792" y="68767"/>
                        <a:pt x="933428" y="68767"/>
                        <a:pt x="920925" y="62516"/>
                      </a:cubicBezTo>
                      <a:cubicBezTo>
                        <a:pt x="914673" y="62516"/>
                        <a:pt x="864938" y="62516"/>
                        <a:pt x="864938" y="62516"/>
                      </a:cubicBezTo>
                      <a:cubicBezTo>
                        <a:pt x="858687" y="75019"/>
                        <a:pt x="939540" y="106277"/>
                        <a:pt x="939540" y="106277"/>
                      </a:cubicBezTo>
                      <a:cubicBezTo>
                        <a:pt x="939540" y="112528"/>
                        <a:pt x="908421" y="106277"/>
                        <a:pt x="908421" y="106277"/>
                      </a:cubicBezTo>
                      <a:cubicBezTo>
                        <a:pt x="889806" y="106277"/>
                        <a:pt x="883554" y="100025"/>
                        <a:pt x="889806" y="118780"/>
                      </a:cubicBezTo>
                      <a:cubicBezTo>
                        <a:pt x="883554" y="118780"/>
                        <a:pt x="877302" y="112528"/>
                        <a:pt x="871190" y="106277"/>
                      </a:cubicBezTo>
                      <a:cubicBezTo>
                        <a:pt x="871190" y="100025"/>
                        <a:pt x="883693" y="106277"/>
                        <a:pt x="889806" y="100025"/>
                      </a:cubicBezTo>
                      <a:cubicBezTo>
                        <a:pt x="889806" y="100025"/>
                        <a:pt x="877302" y="87522"/>
                        <a:pt x="871190" y="87522"/>
                      </a:cubicBezTo>
                      <a:cubicBezTo>
                        <a:pt x="858687" y="81270"/>
                        <a:pt x="846323" y="75019"/>
                        <a:pt x="827707" y="75019"/>
                      </a:cubicBezTo>
                      <a:cubicBezTo>
                        <a:pt x="821455" y="75019"/>
                        <a:pt x="809091" y="68767"/>
                        <a:pt x="802840" y="75019"/>
                      </a:cubicBezTo>
                      <a:cubicBezTo>
                        <a:pt x="796588" y="75019"/>
                        <a:pt x="815343" y="93773"/>
                        <a:pt x="815343" y="93773"/>
                      </a:cubicBezTo>
                      <a:cubicBezTo>
                        <a:pt x="833958" y="106277"/>
                        <a:pt x="858826" y="106277"/>
                        <a:pt x="883693" y="125031"/>
                      </a:cubicBezTo>
                      <a:cubicBezTo>
                        <a:pt x="889945" y="125031"/>
                        <a:pt x="896196" y="131283"/>
                        <a:pt x="889945" y="137534"/>
                      </a:cubicBezTo>
                      <a:cubicBezTo>
                        <a:pt x="877441" y="150037"/>
                        <a:pt x="865077" y="137534"/>
                        <a:pt x="852574" y="131283"/>
                      </a:cubicBezTo>
                      <a:cubicBezTo>
                        <a:pt x="821455" y="112528"/>
                        <a:pt x="784224" y="100025"/>
                        <a:pt x="746853" y="93773"/>
                      </a:cubicBezTo>
                      <a:cubicBezTo>
                        <a:pt x="728238" y="87522"/>
                        <a:pt x="709483" y="81270"/>
                        <a:pt x="690867" y="87522"/>
                      </a:cubicBezTo>
                      <a:cubicBezTo>
                        <a:pt x="684615" y="87522"/>
                        <a:pt x="703370" y="106277"/>
                        <a:pt x="703370" y="112528"/>
                      </a:cubicBezTo>
                      <a:lnTo>
                        <a:pt x="728238" y="131283"/>
                      </a:lnTo>
                      <a:cubicBezTo>
                        <a:pt x="728238" y="137534"/>
                        <a:pt x="690867" y="131283"/>
                        <a:pt x="690867" y="131283"/>
                      </a:cubicBezTo>
                      <a:cubicBezTo>
                        <a:pt x="690867" y="143786"/>
                        <a:pt x="715735" y="137534"/>
                        <a:pt x="715735" y="150037"/>
                      </a:cubicBezTo>
                      <a:cubicBezTo>
                        <a:pt x="715735" y="150037"/>
                        <a:pt x="690867" y="143786"/>
                        <a:pt x="684615" y="137534"/>
                      </a:cubicBezTo>
                      <a:cubicBezTo>
                        <a:pt x="672112" y="131283"/>
                        <a:pt x="659748" y="131283"/>
                        <a:pt x="641132" y="125031"/>
                      </a:cubicBezTo>
                      <a:cubicBezTo>
                        <a:pt x="628629" y="118780"/>
                        <a:pt x="628629" y="125031"/>
                        <a:pt x="628629" y="137534"/>
                      </a:cubicBezTo>
                      <a:cubicBezTo>
                        <a:pt x="622378" y="143786"/>
                        <a:pt x="616265" y="143786"/>
                        <a:pt x="610014" y="143786"/>
                      </a:cubicBezTo>
                      <a:cubicBezTo>
                        <a:pt x="610014" y="150037"/>
                        <a:pt x="610014" y="162541"/>
                        <a:pt x="603762" y="162541"/>
                      </a:cubicBezTo>
                      <a:cubicBezTo>
                        <a:pt x="603762" y="168792"/>
                        <a:pt x="603762" y="150037"/>
                        <a:pt x="603762" y="143786"/>
                      </a:cubicBezTo>
                      <a:cubicBezTo>
                        <a:pt x="603762" y="137534"/>
                        <a:pt x="610014" y="131283"/>
                        <a:pt x="610014" y="125031"/>
                      </a:cubicBezTo>
                      <a:cubicBezTo>
                        <a:pt x="603762" y="100025"/>
                        <a:pt x="578895" y="100025"/>
                        <a:pt x="560279" y="100025"/>
                      </a:cubicBezTo>
                      <a:cubicBezTo>
                        <a:pt x="535412" y="106277"/>
                        <a:pt x="510544" y="112528"/>
                        <a:pt x="485677" y="112528"/>
                      </a:cubicBezTo>
                      <a:cubicBezTo>
                        <a:pt x="479425" y="118780"/>
                        <a:pt x="467061" y="118780"/>
                        <a:pt x="460810" y="118780"/>
                      </a:cubicBezTo>
                      <a:lnTo>
                        <a:pt x="429691" y="125031"/>
                      </a:lnTo>
                      <a:cubicBezTo>
                        <a:pt x="435942" y="131283"/>
                        <a:pt x="448307" y="131283"/>
                        <a:pt x="454558" y="131283"/>
                      </a:cubicBezTo>
                      <a:cubicBezTo>
                        <a:pt x="460810" y="137534"/>
                        <a:pt x="466922" y="143786"/>
                        <a:pt x="479425" y="150037"/>
                      </a:cubicBezTo>
                      <a:lnTo>
                        <a:pt x="503737" y="168792"/>
                      </a:lnTo>
                      <a:cubicBezTo>
                        <a:pt x="497485" y="168792"/>
                        <a:pt x="472618" y="156289"/>
                        <a:pt x="466367" y="156289"/>
                      </a:cubicBezTo>
                      <a:cubicBezTo>
                        <a:pt x="454002" y="150037"/>
                        <a:pt x="447751" y="137534"/>
                        <a:pt x="435248" y="137534"/>
                      </a:cubicBezTo>
                      <a:cubicBezTo>
                        <a:pt x="416632" y="131283"/>
                        <a:pt x="397877" y="137534"/>
                        <a:pt x="379261" y="137534"/>
                      </a:cubicBezTo>
                      <a:cubicBezTo>
                        <a:pt x="360646" y="143786"/>
                        <a:pt x="360646" y="137534"/>
                        <a:pt x="373010" y="156289"/>
                      </a:cubicBezTo>
                      <a:cubicBezTo>
                        <a:pt x="373010" y="162541"/>
                        <a:pt x="373010" y="181295"/>
                        <a:pt x="373010" y="187547"/>
                      </a:cubicBezTo>
                      <a:cubicBezTo>
                        <a:pt x="373010" y="200050"/>
                        <a:pt x="348143" y="187547"/>
                        <a:pt x="341891" y="187547"/>
                      </a:cubicBezTo>
                      <a:cubicBezTo>
                        <a:pt x="335639" y="187547"/>
                        <a:pt x="317024" y="175044"/>
                        <a:pt x="310772" y="187547"/>
                      </a:cubicBezTo>
                      <a:cubicBezTo>
                        <a:pt x="304521" y="193798"/>
                        <a:pt x="310772" y="212553"/>
                        <a:pt x="310772" y="212553"/>
                      </a:cubicBezTo>
                      <a:cubicBezTo>
                        <a:pt x="304521" y="218805"/>
                        <a:pt x="298269" y="206301"/>
                        <a:pt x="292156" y="200050"/>
                      </a:cubicBezTo>
                      <a:cubicBezTo>
                        <a:pt x="279653" y="193798"/>
                        <a:pt x="267289" y="193798"/>
                        <a:pt x="261038" y="200050"/>
                      </a:cubicBezTo>
                      <a:cubicBezTo>
                        <a:pt x="242561" y="212692"/>
                        <a:pt x="223806" y="225195"/>
                        <a:pt x="198939" y="231447"/>
                      </a:cubicBezTo>
                      <a:cubicBezTo>
                        <a:pt x="192826" y="237698"/>
                        <a:pt x="211442" y="231447"/>
                        <a:pt x="198939" y="231447"/>
                      </a:cubicBezTo>
                      <a:close/>
                    </a:path>
                  </a:pathLst>
                </a:custGeom>
                <a:solidFill>
                  <a:schemeClr val="bg1"/>
                </a:solidFill>
                <a:ln w="9526" cap="flat">
                  <a:solidFill>
                    <a:srgbClr val="FF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1" name="Freihandform: Form 420">
                  <a:extLst>
                    <a:ext uri="{FF2B5EF4-FFF2-40B4-BE49-F238E27FC236}">
                      <a16:creationId xmlns:a16="http://schemas.microsoft.com/office/drawing/2014/main" id="{A3004C82-0A11-486D-B3D8-A1FD80B99BA0}"/>
                    </a:ext>
                  </a:extLst>
                </p:cNvPr>
                <p:cNvSpPr/>
                <p:nvPr/>
              </p:nvSpPr>
              <p:spPr>
                <a:xfrm>
                  <a:off x="11190100" y="5413690"/>
                  <a:ext cx="172126" cy="341474"/>
                </a:xfrm>
                <a:custGeom>
                  <a:avLst/>
                  <a:gdLst>
                    <a:gd name="connsiteX0" fmla="*/ 87800 w 172126"/>
                    <a:gd name="connsiteY0" fmla="*/ 27090 h 341474"/>
                    <a:gd name="connsiteX1" fmla="*/ 91134 w 172126"/>
                    <a:gd name="connsiteY1" fmla="*/ 27090 h 341474"/>
                    <a:gd name="connsiteX2" fmla="*/ 91134 w 172126"/>
                    <a:gd name="connsiteY2" fmla="*/ 16254 h 341474"/>
                    <a:gd name="connsiteX3" fmla="*/ 87800 w 172126"/>
                    <a:gd name="connsiteY3" fmla="*/ 5418 h 341474"/>
                    <a:gd name="connsiteX4" fmla="*/ 87800 w 172126"/>
                    <a:gd name="connsiteY4" fmla="*/ 0 h 341474"/>
                    <a:gd name="connsiteX5" fmla="*/ 91134 w 172126"/>
                    <a:gd name="connsiteY5" fmla="*/ 0 h 341474"/>
                    <a:gd name="connsiteX6" fmla="*/ 91134 w 172126"/>
                    <a:gd name="connsiteY6" fmla="*/ 5418 h 341474"/>
                    <a:gd name="connsiteX7" fmla="*/ 94468 w 172126"/>
                    <a:gd name="connsiteY7" fmla="*/ 16254 h 341474"/>
                    <a:gd name="connsiteX8" fmla="*/ 94468 w 172126"/>
                    <a:gd name="connsiteY8" fmla="*/ 21672 h 341474"/>
                    <a:gd name="connsiteX9" fmla="*/ 97941 w 172126"/>
                    <a:gd name="connsiteY9" fmla="*/ 27090 h 341474"/>
                    <a:gd name="connsiteX10" fmla="*/ 97941 w 172126"/>
                    <a:gd name="connsiteY10" fmla="*/ 21672 h 341474"/>
                    <a:gd name="connsiteX11" fmla="*/ 101275 w 172126"/>
                    <a:gd name="connsiteY11" fmla="*/ 27090 h 341474"/>
                    <a:gd name="connsiteX12" fmla="*/ 101275 w 172126"/>
                    <a:gd name="connsiteY12" fmla="*/ 27090 h 341474"/>
                    <a:gd name="connsiteX13" fmla="*/ 104610 w 172126"/>
                    <a:gd name="connsiteY13" fmla="*/ 27090 h 341474"/>
                    <a:gd name="connsiteX14" fmla="*/ 107944 w 172126"/>
                    <a:gd name="connsiteY14" fmla="*/ 32508 h 341474"/>
                    <a:gd name="connsiteX15" fmla="*/ 107944 w 172126"/>
                    <a:gd name="connsiteY15" fmla="*/ 43344 h 341474"/>
                    <a:gd name="connsiteX16" fmla="*/ 111417 w 172126"/>
                    <a:gd name="connsiteY16" fmla="*/ 48762 h 341474"/>
                    <a:gd name="connsiteX17" fmla="*/ 114751 w 172126"/>
                    <a:gd name="connsiteY17" fmla="*/ 59598 h 341474"/>
                    <a:gd name="connsiteX18" fmla="*/ 111417 w 172126"/>
                    <a:gd name="connsiteY18" fmla="*/ 65016 h 341474"/>
                    <a:gd name="connsiteX19" fmla="*/ 111417 w 172126"/>
                    <a:gd name="connsiteY19" fmla="*/ 70434 h 341474"/>
                    <a:gd name="connsiteX20" fmla="*/ 107944 w 172126"/>
                    <a:gd name="connsiteY20" fmla="*/ 65016 h 341474"/>
                    <a:gd name="connsiteX21" fmla="*/ 107944 w 172126"/>
                    <a:gd name="connsiteY21" fmla="*/ 65016 h 341474"/>
                    <a:gd name="connsiteX22" fmla="*/ 104610 w 172126"/>
                    <a:gd name="connsiteY22" fmla="*/ 70434 h 341474"/>
                    <a:gd name="connsiteX23" fmla="*/ 107944 w 172126"/>
                    <a:gd name="connsiteY23" fmla="*/ 70434 h 341474"/>
                    <a:gd name="connsiteX24" fmla="*/ 107944 w 172126"/>
                    <a:gd name="connsiteY24" fmla="*/ 81270 h 341474"/>
                    <a:gd name="connsiteX25" fmla="*/ 107944 w 172126"/>
                    <a:gd name="connsiteY25" fmla="*/ 92106 h 341474"/>
                    <a:gd name="connsiteX26" fmla="*/ 107944 w 172126"/>
                    <a:gd name="connsiteY26" fmla="*/ 97524 h 341474"/>
                    <a:gd name="connsiteX27" fmla="*/ 104610 w 172126"/>
                    <a:gd name="connsiteY27" fmla="*/ 102942 h 341474"/>
                    <a:gd name="connsiteX28" fmla="*/ 104610 w 172126"/>
                    <a:gd name="connsiteY28" fmla="*/ 108360 h 341474"/>
                    <a:gd name="connsiteX29" fmla="*/ 101275 w 172126"/>
                    <a:gd name="connsiteY29" fmla="*/ 119196 h 341474"/>
                    <a:gd name="connsiteX30" fmla="*/ 101275 w 172126"/>
                    <a:gd name="connsiteY30" fmla="*/ 119196 h 341474"/>
                    <a:gd name="connsiteX31" fmla="*/ 94468 w 172126"/>
                    <a:gd name="connsiteY31" fmla="*/ 119196 h 341474"/>
                    <a:gd name="connsiteX32" fmla="*/ 97941 w 172126"/>
                    <a:gd name="connsiteY32" fmla="*/ 124614 h 341474"/>
                    <a:gd name="connsiteX33" fmla="*/ 101275 w 172126"/>
                    <a:gd name="connsiteY33" fmla="*/ 124614 h 341474"/>
                    <a:gd name="connsiteX34" fmla="*/ 104610 w 172126"/>
                    <a:gd name="connsiteY34" fmla="*/ 124614 h 341474"/>
                    <a:gd name="connsiteX35" fmla="*/ 107944 w 172126"/>
                    <a:gd name="connsiteY35" fmla="*/ 130032 h 341474"/>
                    <a:gd name="connsiteX36" fmla="*/ 107944 w 172126"/>
                    <a:gd name="connsiteY36" fmla="*/ 135450 h 341474"/>
                    <a:gd name="connsiteX37" fmla="*/ 111417 w 172126"/>
                    <a:gd name="connsiteY37" fmla="*/ 140868 h 341474"/>
                    <a:gd name="connsiteX38" fmla="*/ 114751 w 172126"/>
                    <a:gd name="connsiteY38" fmla="*/ 135450 h 341474"/>
                    <a:gd name="connsiteX39" fmla="*/ 114751 w 172126"/>
                    <a:gd name="connsiteY39" fmla="*/ 130032 h 341474"/>
                    <a:gd name="connsiteX40" fmla="*/ 114751 w 172126"/>
                    <a:gd name="connsiteY40" fmla="*/ 124614 h 341474"/>
                    <a:gd name="connsiteX41" fmla="*/ 114751 w 172126"/>
                    <a:gd name="connsiteY41" fmla="*/ 119196 h 341474"/>
                    <a:gd name="connsiteX42" fmla="*/ 114751 w 172126"/>
                    <a:gd name="connsiteY42" fmla="*/ 113778 h 341474"/>
                    <a:gd name="connsiteX43" fmla="*/ 118085 w 172126"/>
                    <a:gd name="connsiteY43" fmla="*/ 113778 h 341474"/>
                    <a:gd name="connsiteX44" fmla="*/ 118085 w 172126"/>
                    <a:gd name="connsiteY44" fmla="*/ 119196 h 341474"/>
                    <a:gd name="connsiteX45" fmla="*/ 121558 w 172126"/>
                    <a:gd name="connsiteY45" fmla="*/ 119196 h 341474"/>
                    <a:gd name="connsiteX46" fmla="*/ 118085 w 172126"/>
                    <a:gd name="connsiteY46" fmla="*/ 124614 h 341474"/>
                    <a:gd name="connsiteX47" fmla="*/ 121558 w 172126"/>
                    <a:gd name="connsiteY47" fmla="*/ 135450 h 341474"/>
                    <a:gd name="connsiteX48" fmla="*/ 118085 w 172126"/>
                    <a:gd name="connsiteY48" fmla="*/ 140868 h 341474"/>
                    <a:gd name="connsiteX49" fmla="*/ 118085 w 172126"/>
                    <a:gd name="connsiteY49" fmla="*/ 151704 h 341474"/>
                    <a:gd name="connsiteX50" fmla="*/ 121558 w 172126"/>
                    <a:gd name="connsiteY50" fmla="*/ 162541 h 341474"/>
                    <a:gd name="connsiteX51" fmla="*/ 131561 w 172126"/>
                    <a:gd name="connsiteY51" fmla="*/ 167958 h 341474"/>
                    <a:gd name="connsiteX52" fmla="*/ 141702 w 172126"/>
                    <a:gd name="connsiteY52" fmla="*/ 167958 h 341474"/>
                    <a:gd name="connsiteX53" fmla="*/ 148509 w 172126"/>
                    <a:gd name="connsiteY53" fmla="*/ 162541 h 341474"/>
                    <a:gd name="connsiteX54" fmla="*/ 155317 w 172126"/>
                    <a:gd name="connsiteY54" fmla="*/ 162541 h 341474"/>
                    <a:gd name="connsiteX55" fmla="*/ 161985 w 172126"/>
                    <a:gd name="connsiteY55" fmla="*/ 157122 h 341474"/>
                    <a:gd name="connsiteX56" fmla="*/ 168792 w 172126"/>
                    <a:gd name="connsiteY56" fmla="*/ 157122 h 341474"/>
                    <a:gd name="connsiteX57" fmla="*/ 168792 w 172126"/>
                    <a:gd name="connsiteY57" fmla="*/ 162541 h 341474"/>
                    <a:gd name="connsiteX58" fmla="*/ 172126 w 172126"/>
                    <a:gd name="connsiteY58" fmla="*/ 167958 h 341474"/>
                    <a:gd name="connsiteX59" fmla="*/ 168792 w 172126"/>
                    <a:gd name="connsiteY59" fmla="*/ 167958 h 341474"/>
                    <a:gd name="connsiteX60" fmla="*/ 165319 w 172126"/>
                    <a:gd name="connsiteY60" fmla="*/ 173377 h 341474"/>
                    <a:gd name="connsiteX61" fmla="*/ 161985 w 172126"/>
                    <a:gd name="connsiteY61" fmla="*/ 184212 h 341474"/>
                    <a:gd name="connsiteX62" fmla="*/ 161985 w 172126"/>
                    <a:gd name="connsiteY62" fmla="*/ 189631 h 341474"/>
                    <a:gd name="connsiteX63" fmla="*/ 158651 w 172126"/>
                    <a:gd name="connsiteY63" fmla="*/ 200467 h 341474"/>
                    <a:gd name="connsiteX64" fmla="*/ 148509 w 172126"/>
                    <a:gd name="connsiteY64" fmla="*/ 205885 h 341474"/>
                    <a:gd name="connsiteX65" fmla="*/ 145175 w 172126"/>
                    <a:gd name="connsiteY65" fmla="*/ 205885 h 341474"/>
                    <a:gd name="connsiteX66" fmla="*/ 145175 w 172126"/>
                    <a:gd name="connsiteY66" fmla="*/ 205885 h 341474"/>
                    <a:gd name="connsiteX67" fmla="*/ 145175 w 172126"/>
                    <a:gd name="connsiteY67" fmla="*/ 211303 h 341474"/>
                    <a:gd name="connsiteX68" fmla="*/ 138368 w 172126"/>
                    <a:gd name="connsiteY68" fmla="*/ 227696 h 341474"/>
                    <a:gd name="connsiteX69" fmla="*/ 135034 w 172126"/>
                    <a:gd name="connsiteY69" fmla="*/ 233114 h 341474"/>
                    <a:gd name="connsiteX70" fmla="*/ 138368 w 172126"/>
                    <a:gd name="connsiteY70" fmla="*/ 233114 h 341474"/>
                    <a:gd name="connsiteX71" fmla="*/ 135034 w 172126"/>
                    <a:gd name="connsiteY71" fmla="*/ 243950 h 341474"/>
                    <a:gd name="connsiteX72" fmla="*/ 131561 w 172126"/>
                    <a:gd name="connsiteY72" fmla="*/ 238532 h 341474"/>
                    <a:gd name="connsiteX73" fmla="*/ 135034 w 172126"/>
                    <a:gd name="connsiteY73" fmla="*/ 233114 h 341474"/>
                    <a:gd name="connsiteX74" fmla="*/ 131561 w 172126"/>
                    <a:gd name="connsiteY74" fmla="*/ 233114 h 341474"/>
                    <a:gd name="connsiteX75" fmla="*/ 118085 w 172126"/>
                    <a:gd name="connsiteY75" fmla="*/ 233114 h 341474"/>
                    <a:gd name="connsiteX76" fmla="*/ 97941 w 172126"/>
                    <a:gd name="connsiteY76" fmla="*/ 238532 h 341474"/>
                    <a:gd name="connsiteX77" fmla="*/ 97941 w 172126"/>
                    <a:gd name="connsiteY77" fmla="*/ 249368 h 341474"/>
                    <a:gd name="connsiteX78" fmla="*/ 91134 w 172126"/>
                    <a:gd name="connsiteY78" fmla="*/ 260204 h 341474"/>
                    <a:gd name="connsiteX79" fmla="*/ 91134 w 172126"/>
                    <a:gd name="connsiteY79" fmla="*/ 265622 h 341474"/>
                    <a:gd name="connsiteX80" fmla="*/ 87800 w 172126"/>
                    <a:gd name="connsiteY80" fmla="*/ 271040 h 341474"/>
                    <a:gd name="connsiteX81" fmla="*/ 84327 w 172126"/>
                    <a:gd name="connsiteY81" fmla="*/ 276458 h 341474"/>
                    <a:gd name="connsiteX82" fmla="*/ 77658 w 172126"/>
                    <a:gd name="connsiteY82" fmla="*/ 281876 h 341474"/>
                    <a:gd name="connsiteX83" fmla="*/ 74185 w 172126"/>
                    <a:gd name="connsiteY83" fmla="*/ 287294 h 341474"/>
                    <a:gd name="connsiteX84" fmla="*/ 70851 w 172126"/>
                    <a:gd name="connsiteY84" fmla="*/ 287294 h 341474"/>
                    <a:gd name="connsiteX85" fmla="*/ 67517 w 172126"/>
                    <a:gd name="connsiteY85" fmla="*/ 292712 h 341474"/>
                    <a:gd name="connsiteX86" fmla="*/ 64183 w 172126"/>
                    <a:gd name="connsiteY86" fmla="*/ 298130 h 341474"/>
                    <a:gd name="connsiteX87" fmla="*/ 57376 w 172126"/>
                    <a:gd name="connsiteY87" fmla="*/ 303548 h 341474"/>
                    <a:gd name="connsiteX88" fmla="*/ 50568 w 172126"/>
                    <a:gd name="connsiteY88" fmla="*/ 308966 h 341474"/>
                    <a:gd name="connsiteX89" fmla="*/ 43900 w 172126"/>
                    <a:gd name="connsiteY89" fmla="*/ 319802 h 341474"/>
                    <a:gd name="connsiteX90" fmla="*/ 40566 w 172126"/>
                    <a:gd name="connsiteY90" fmla="*/ 325220 h 341474"/>
                    <a:gd name="connsiteX91" fmla="*/ 30424 w 172126"/>
                    <a:gd name="connsiteY91" fmla="*/ 336056 h 341474"/>
                    <a:gd name="connsiteX92" fmla="*/ 23617 w 172126"/>
                    <a:gd name="connsiteY92" fmla="*/ 341474 h 341474"/>
                    <a:gd name="connsiteX93" fmla="*/ 16810 w 172126"/>
                    <a:gd name="connsiteY93" fmla="*/ 341474 h 341474"/>
                    <a:gd name="connsiteX94" fmla="*/ 16810 w 172126"/>
                    <a:gd name="connsiteY94" fmla="*/ 336056 h 341474"/>
                    <a:gd name="connsiteX95" fmla="*/ 13476 w 172126"/>
                    <a:gd name="connsiteY95" fmla="*/ 336056 h 341474"/>
                    <a:gd name="connsiteX96" fmla="*/ 10142 w 172126"/>
                    <a:gd name="connsiteY96" fmla="*/ 336056 h 341474"/>
                    <a:gd name="connsiteX97" fmla="*/ 10142 w 172126"/>
                    <a:gd name="connsiteY97" fmla="*/ 330638 h 341474"/>
                    <a:gd name="connsiteX98" fmla="*/ 10142 w 172126"/>
                    <a:gd name="connsiteY98" fmla="*/ 325220 h 341474"/>
                    <a:gd name="connsiteX99" fmla="*/ 6807 w 172126"/>
                    <a:gd name="connsiteY99" fmla="*/ 325220 h 341474"/>
                    <a:gd name="connsiteX100" fmla="*/ 6807 w 172126"/>
                    <a:gd name="connsiteY100" fmla="*/ 330638 h 341474"/>
                    <a:gd name="connsiteX101" fmla="*/ 3334 w 172126"/>
                    <a:gd name="connsiteY101" fmla="*/ 330638 h 341474"/>
                    <a:gd name="connsiteX102" fmla="*/ 0 w 172126"/>
                    <a:gd name="connsiteY102" fmla="*/ 325220 h 341474"/>
                    <a:gd name="connsiteX103" fmla="*/ 3334 w 172126"/>
                    <a:gd name="connsiteY103" fmla="*/ 325220 h 341474"/>
                    <a:gd name="connsiteX104" fmla="*/ 10142 w 172126"/>
                    <a:gd name="connsiteY104" fmla="*/ 319802 h 341474"/>
                    <a:gd name="connsiteX105" fmla="*/ 13476 w 172126"/>
                    <a:gd name="connsiteY105" fmla="*/ 314384 h 341474"/>
                    <a:gd name="connsiteX106" fmla="*/ 16810 w 172126"/>
                    <a:gd name="connsiteY106" fmla="*/ 303548 h 341474"/>
                    <a:gd name="connsiteX107" fmla="*/ 26951 w 172126"/>
                    <a:gd name="connsiteY107" fmla="*/ 281737 h 341474"/>
                    <a:gd name="connsiteX108" fmla="*/ 23617 w 172126"/>
                    <a:gd name="connsiteY108" fmla="*/ 270901 h 341474"/>
                    <a:gd name="connsiteX109" fmla="*/ 20283 w 172126"/>
                    <a:gd name="connsiteY109" fmla="*/ 270901 h 341474"/>
                    <a:gd name="connsiteX110" fmla="*/ 16810 w 172126"/>
                    <a:gd name="connsiteY110" fmla="*/ 265483 h 341474"/>
                    <a:gd name="connsiteX111" fmla="*/ 13476 w 172126"/>
                    <a:gd name="connsiteY111" fmla="*/ 260065 h 341474"/>
                    <a:gd name="connsiteX112" fmla="*/ 10142 w 172126"/>
                    <a:gd name="connsiteY112" fmla="*/ 249229 h 341474"/>
                    <a:gd name="connsiteX113" fmla="*/ 16810 w 172126"/>
                    <a:gd name="connsiteY113" fmla="*/ 238393 h 341474"/>
                    <a:gd name="connsiteX114" fmla="*/ 30286 w 172126"/>
                    <a:gd name="connsiteY114" fmla="*/ 227557 h 341474"/>
                    <a:gd name="connsiteX115" fmla="*/ 36954 w 172126"/>
                    <a:gd name="connsiteY115" fmla="*/ 222139 h 341474"/>
                    <a:gd name="connsiteX116" fmla="*/ 43761 w 172126"/>
                    <a:gd name="connsiteY116" fmla="*/ 216721 h 341474"/>
                    <a:gd name="connsiteX117" fmla="*/ 53903 w 172126"/>
                    <a:gd name="connsiteY117" fmla="*/ 200328 h 341474"/>
                    <a:gd name="connsiteX118" fmla="*/ 57237 w 172126"/>
                    <a:gd name="connsiteY118" fmla="*/ 194910 h 341474"/>
                    <a:gd name="connsiteX119" fmla="*/ 64044 w 172126"/>
                    <a:gd name="connsiteY119" fmla="*/ 178517 h 341474"/>
                    <a:gd name="connsiteX120" fmla="*/ 67378 w 172126"/>
                    <a:gd name="connsiteY120" fmla="*/ 167681 h 341474"/>
                    <a:gd name="connsiteX121" fmla="*/ 70712 w 172126"/>
                    <a:gd name="connsiteY121" fmla="*/ 167681 h 341474"/>
                    <a:gd name="connsiteX122" fmla="*/ 70712 w 172126"/>
                    <a:gd name="connsiteY122" fmla="*/ 173099 h 341474"/>
                    <a:gd name="connsiteX123" fmla="*/ 74047 w 172126"/>
                    <a:gd name="connsiteY123" fmla="*/ 173099 h 341474"/>
                    <a:gd name="connsiteX124" fmla="*/ 70712 w 172126"/>
                    <a:gd name="connsiteY124" fmla="*/ 167681 h 341474"/>
                    <a:gd name="connsiteX125" fmla="*/ 74047 w 172126"/>
                    <a:gd name="connsiteY125" fmla="*/ 167681 h 341474"/>
                    <a:gd name="connsiteX126" fmla="*/ 77520 w 172126"/>
                    <a:gd name="connsiteY126" fmla="*/ 162263 h 341474"/>
                    <a:gd name="connsiteX127" fmla="*/ 84188 w 172126"/>
                    <a:gd name="connsiteY127" fmla="*/ 145870 h 341474"/>
                    <a:gd name="connsiteX128" fmla="*/ 87661 w 172126"/>
                    <a:gd name="connsiteY128" fmla="*/ 135034 h 341474"/>
                    <a:gd name="connsiteX129" fmla="*/ 87661 w 172126"/>
                    <a:gd name="connsiteY129" fmla="*/ 135034 h 341474"/>
                    <a:gd name="connsiteX130" fmla="*/ 90995 w 172126"/>
                    <a:gd name="connsiteY130" fmla="*/ 135034 h 341474"/>
                    <a:gd name="connsiteX131" fmla="*/ 97802 w 172126"/>
                    <a:gd name="connsiteY131" fmla="*/ 135034 h 341474"/>
                    <a:gd name="connsiteX132" fmla="*/ 94329 w 172126"/>
                    <a:gd name="connsiteY132" fmla="*/ 129616 h 341474"/>
                    <a:gd name="connsiteX133" fmla="*/ 90995 w 172126"/>
                    <a:gd name="connsiteY133" fmla="*/ 129616 h 341474"/>
                    <a:gd name="connsiteX134" fmla="*/ 87661 w 172126"/>
                    <a:gd name="connsiteY134" fmla="*/ 129616 h 341474"/>
                    <a:gd name="connsiteX135" fmla="*/ 87661 w 172126"/>
                    <a:gd name="connsiteY135" fmla="*/ 124198 h 341474"/>
                    <a:gd name="connsiteX136" fmla="*/ 90995 w 172126"/>
                    <a:gd name="connsiteY136" fmla="*/ 118780 h 341474"/>
                    <a:gd name="connsiteX137" fmla="*/ 90995 w 172126"/>
                    <a:gd name="connsiteY137" fmla="*/ 96969 h 341474"/>
                    <a:gd name="connsiteX138" fmla="*/ 90995 w 172126"/>
                    <a:gd name="connsiteY138" fmla="*/ 91550 h 341474"/>
                    <a:gd name="connsiteX139" fmla="*/ 94329 w 172126"/>
                    <a:gd name="connsiteY139" fmla="*/ 96969 h 341474"/>
                    <a:gd name="connsiteX140" fmla="*/ 94329 w 172126"/>
                    <a:gd name="connsiteY140" fmla="*/ 102387 h 341474"/>
                    <a:gd name="connsiteX141" fmla="*/ 97802 w 172126"/>
                    <a:gd name="connsiteY141" fmla="*/ 96969 h 341474"/>
                    <a:gd name="connsiteX142" fmla="*/ 97802 w 172126"/>
                    <a:gd name="connsiteY142" fmla="*/ 91550 h 341474"/>
                    <a:gd name="connsiteX143" fmla="*/ 94329 w 172126"/>
                    <a:gd name="connsiteY143" fmla="*/ 86133 h 341474"/>
                    <a:gd name="connsiteX144" fmla="*/ 97802 w 172126"/>
                    <a:gd name="connsiteY144" fmla="*/ 86133 h 341474"/>
                    <a:gd name="connsiteX145" fmla="*/ 94329 w 172126"/>
                    <a:gd name="connsiteY145" fmla="*/ 80714 h 341474"/>
                    <a:gd name="connsiteX146" fmla="*/ 94329 w 172126"/>
                    <a:gd name="connsiteY146" fmla="*/ 80714 h 341474"/>
                    <a:gd name="connsiteX147" fmla="*/ 90995 w 172126"/>
                    <a:gd name="connsiteY147" fmla="*/ 91550 h 341474"/>
                    <a:gd name="connsiteX148" fmla="*/ 90995 w 172126"/>
                    <a:gd name="connsiteY148" fmla="*/ 80714 h 341474"/>
                    <a:gd name="connsiteX149" fmla="*/ 90995 w 172126"/>
                    <a:gd name="connsiteY149" fmla="*/ 58903 h 341474"/>
                    <a:gd name="connsiteX150" fmla="*/ 87661 w 172126"/>
                    <a:gd name="connsiteY150" fmla="*/ 48067 h 341474"/>
                    <a:gd name="connsiteX151" fmla="*/ 90995 w 172126"/>
                    <a:gd name="connsiteY151" fmla="*/ 42649 h 341474"/>
                    <a:gd name="connsiteX152" fmla="*/ 97802 w 172126"/>
                    <a:gd name="connsiteY152" fmla="*/ 37232 h 341474"/>
                    <a:gd name="connsiteX153" fmla="*/ 90995 w 172126"/>
                    <a:gd name="connsiteY153" fmla="*/ 37232 h 341474"/>
                    <a:gd name="connsiteX154" fmla="*/ 87661 w 172126"/>
                    <a:gd name="connsiteY154" fmla="*/ 42649 h 341474"/>
                    <a:gd name="connsiteX155" fmla="*/ 87661 w 172126"/>
                    <a:gd name="connsiteY155" fmla="*/ 37232 h 341474"/>
                    <a:gd name="connsiteX156" fmla="*/ 87800 w 172126"/>
                    <a:gd name="connsiteY156" fmla="*/ 27090 h 34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172126" h="341474">
                      <a:moveTo>
                        <a:pt x="87800" y="27090"/>
                      </a:moveTo>
                      <a:cubicBezTo>
                        <a:pt x="87800" y="27090"/>
                        <a:pt x="91134" y="32508"/>
                        <a:pt x="91134" y="27090"/>
                      </a:cubicBezTo>
                      <a:cubicBezTo>
                        <a:pt x="91134" y="21672"/>
                        <a:pt x="91134" y="21672"/>
                        <a:pt x="91134" y="16254"/>
                      </a:cubicBezTo>
                      <a:cubicBezTo>
                        <a:pt x="91134" y="10836"/>
                        <a:pt x="87800" y="5418"/>
                        <a:pt x="87800" y="5418"/>
                      </a:cubicBezTo>
                      <a:cubicBezTo>
                        <a:pt x="87800" y="0"/>
                        <a:pt x="87800" y="0"/>
                        <a:pt x="87800" y="0"/>
                      </a:cubicBezTo>
                      <a:cubicBezTo>
                        <a:pt x="87800" y="0"/>
                        <a:pt x="91134" y="5418"/>
                        <a:pt x="91134" y="0"/>
                      </a:cubicBezTo>
                      <a:lnTo>
                        <a:pt x="91134" y="5418"/>
                      </a:lnTo>
                      <a:cubicBezTo>
                        <a:pt x="94468" y="5418"/>
                        <a:pt x="94468" y="10836"/>
                        <a:pt x="94468" y="16254"/>
                      </a:cubicBezTo>
                      <a:cubicBezTo>
                        <a:pt x="97941" y="16254"/>
                        <a:pt x="94468" y="16254"/>
                        <a:pt x="94468" y="21672"/>
                      </a:cubicBezTo>
                      <a:cubicBezTo>
                        <a:pt x="97941" y="21672"/>
                        <a:pt x="94468" y="21672"/>
                        <a:pt x="97941" y="27090"/>
                      </a:cubicBezTo>
                      <a:lnTo>
                        <a:pt x="97941" y="21672"/>
                      </a:lnTo>
                      <a:cubicBezTo>
                        <a:pt x="101275" y="21672"/>
                        <a:pt x="101275" y="27090"/>
                        <a:pt x="101275" y="27090"/>
                      </a:cubicBezTo>
                      <a:cubicBezTo>
                        <a:pt x="101275" y="27090"/>
                        <a:pt x="97941" y="27090"/>
                        <a:pt x="101275" y="27090"/>
                      </a:cubicBezTo>
                      <a:cubicBezTo>
                        <a:pt x="101275" y="32508"/>
                        <a:pt x="101275" y="27090"/>
                        <a:pt x="104610" y="27090"/>
                      </a:cubicBezTo>
                      <a:cubicBezTo>
                        <a:pt x="107944" y="32508"/>
                        <a:pt x="101275" y="32508"/>
                        <a:pt x="107944" y="32508"/>
                      </a:cubicBezTo>
                      <a:cubicBezTo>
                        <a:pt x="111417" y="37926"/>
                        <a:pt x="107944" y="37926"/>
                        <a:pt x="107944" y="43344"/>
                      </a:cubicBezTo>
                      <a:cubicBezTo>
                        <a:pt x="114751" y="43344"/>
                        <a:pt x="111417" y="48762"/>
                        <a:pt x="111417" y="48762"/>
                      </a:cubicBezTo>
                      <a:cubicBezTo>
                        <a:pt x="114751" y="54180"/>
                        <a:pt x="114751" y="59598"/>
                        <a:pt x="114751" y="59598"/>
                      </a:cubicBezTo>
                      <a:cubicBezTo>
                        <a:pt x="111417" y="65016"/>
                        <a:pt x="111417" y="65016"/>
                        <a:pt x="111417" y="65016"/>
                      </a:cubicBezTo>
                      <a:cubicBezTo>
                        <a:pt x="111417" y="70434"/>
                        <a:pt x="111417" y="70434"/>
                        <a:pt x="111417" y="70434"/>
                      </a:cubicBezTo>
                      <a:cubicBezTo>
                        <a:pt x="107944" y="70434"/>
                        <a:pt x="107944" y="70434"/>
                        <a:pt x="107944" y="65016"/>
                      </a:cubicBezTo>
                      <a:lnTo>
                        <a:pt x="107944" y="65016"/>
                      </a:lnTo>
                      <a:cubicBezTo>
                        <a:pt x="104610" y="59598"/>
                        <a:pt x="104610" y="65016"/>
                        <a:pt x="104610" y="70434"/>
                      </a:cubicBezTo>
                      <a:cubicBezTo>
                        <a:pt x="104610" y="70434"/>
                        <a:pt x="107944" y="65016"/>
                        <a:pt x="107944" y="70434"/>
                      </a:cubicBezTo>
                      <a:cubicBezTo>
                        <a:pt x="107944" y="75852"/>
                        <a:pt x="104610" y="81270"/>
                        <a:pt x="107944" y="81270"/>
                      </a:cubicBezTo>
                      <a:cubicBezTo>
                        <a:pt x="107944" y="81270"/>
                        <a:pt x="104610" y="86688"/>
                        <a:pt x="107944" y="92106"/>
                      </a:cubicBezTo>
                      <a:cubicBezTo>
                        <a:pt x="111417" y="92106"/>
                        <a:pt x="107944" y="92106"/>
                        <a:pt x="107944" y="97524"/>
                      </a:cubicBezTo>
                      <a:cubicBezTo>
                        <a:pt x="104610" y="97524"/>
                        <a:pt x="104610" y="102942"/>
                        <a:pt x="104610" y="102942"/>
                      </a:cubicBezTo>
                      <a:cubicBezTo>
                        <a:pt x="101275" y="102942"/>
                        <a:pt x="104610" y="102942"/>
                        <a:pt x="104610" y="108360"/>
                      </a:cubicBezTo>
                      <a:cubicBezTo>
                        <a:pt x="104610" y="113778"/>
                        <a:pt x="101275" y="113778"/>
                        <a:pt x="101275" y="119196"/>
                      </a:cubicBezTo>
                      <a:cubicBezTo>
                        <a:pt x="101275" y="124614"/>
                        <a:pt x="97941" y="119196"/>
                        <a:pt x="101275" y="119196"/>
                      </a:cubicBezTo>
                      <a:cubicBezTo>
                        <a:pt x="101275" y="119196"/>
                        <a:pt x="97941" y="119196"/>
                        <a:pt x="94468" y="119196"/>
                      </a:cubicBezTo>
                      <a:cubicBezTo>
                        <a:pt x="91134" y="119196"/>
                        <a:pt x="101275" y="119196"/>
                        <a:pt x="97941" y="124614"/>
                      </a:cubicBezTo>
                      <a:cubicBezTo>
                        <a:pt x="94468" y="124614"/>
                        <a:pt x="101275" y="119196"/>
                        <a:pt x="101275" y="124614"/>
                      </a:cubicBezTo>
                      <a:cubicBezTo>
                        <a:pt x="101275" y="130032"/>
                        <a:pt x="104610" y="119196"/>
                        <a:pt x="104610" y="124614"/>
                      </a:cubicBezTo>
                      <a:cubicBezTo>
                        <a:pt x="107944" y="130032"/>
                        <a:pt x="107944" y="124614"/>
                        <a:pt x="107944" y="130032"/>
                      </a:cubicBezTo>
                      <a:cubicBezTo>
                        <a:pt x="107944" y="130032"/>
                        <a:pt x="111417" y="130032"/>
                        <a:pt x="107944" y="135450"/>
                      </a:cubicBezTo>
                      <a:cubicBezTo>
                        <a:pt x="107944" y="140868"/>
                        <a:pt x="107944" y="140868"/>
                        <a:pt x="111417" y="140868"/>
                      </a:cubicBezTo>
                      <a:cubicBezTo>
                        <a:pt x="114751" y="140868"/>
                        <a:pt x="114751" y="135450"/>
                        <a:pt x="114751" y="135450"/>
                      </a:cubicBezTo>
                      <a:cubicBezTo>
                        <a:pt x="111417" y="130032"/>
                        <a:pt x="114751" y="130032"/>
                        <a:pt x="114751" y="130032"/>
                      </a:cubicBezTo>
                      <a:cubicBezTo>
                        <a:pt x="114751" y="124614"/>
                        <a:pt x="111417" y="124614"/>
                        <a:pt x="114751" y="124614"/>
                      </a:cubicBezTo>
                      <a:cubicBezTo>
                        <a:pt x="114751" y="119196"/>
                        <a:pt x="114751" y="119196"/>
                        <a:pt x="114751" y="119196"/>
                      </a:cubicBezTo>
                      <a:cubicBezTo>
                        <a:pt x="114751" y="113778"/>
                        <a:pt x="114751" y="113778"/>
                        <a:pt x="114751" y="113778"/>
                      </a:cubicBezTo>
                      <a:cubicBezTo>
                        <a:pt x="118085" y="113778"/>
                        <a:pt x="118085" y="113778"/>
                        <a:pt x="118085" y="113778"/>
                      </a:cubicBezTo>
                      <a:cubicBezTo>
                        <a:pt x="118085" y="119196"/>
                        <a:pt x="118085" y="119196"/>
                        <a:pt x="118085" y="119196"/>
                      </a:cubicBezTo>
                      <a:cubicBezTo>
                        <a:pt x="121558" y="119196"/>
                        <a:pt x="124892" y="119196"/>
                        <a:pt x="121558" y="119196"/>
                      </a:cubicBezTo>
                      <a:cubicBezTo>
                        <a:pt x="118085" y="124614"/>
                        <a:pt x="118085" y="124614"/>
                        <a:pt x="118085" y="124614"/>
                      </a:cubicBezTo>
                      <a:cubicBezTo>
                        <a:pt x="121558" y="124614"/>
                        <a:pt x="121558" y="130032"/>
                        <a:pt x="121558" y="135450"/>
                      </a:cubicBezTo>
                      <a:cubicBezTo>
                        <a:pt x="118085" y="135450"/>
                        <a:pt x="121558" y="140868"/>
                        <a:pt x="118085" y="140868"/>
                      </a:cubicBezTo>
                      <a:cubicBezTo>
                        <a:pt x="118085" y="146287"/>
                        <a:pt x="118085" y="146287"/>
                        <a:pt x="118085" y="151704"/>
                      </a:cubicBezTo>
                      <a:cubicBezTo>
                        <a:pt x="121558" y="157122"/>
                        <a:pt x="118085" y="162541"/>
                        <a:pt x="121558" y="162541"/>
                      </a:cubicBezTo>
                      <a:cubicBezTo>
                        <a:pt x="124892" y="162541"/>
                        <a:pt x="128227" y="162541"/>
                        <a:pt x="131561" y="167958"/>
                      </a:cubicBezTo>
                      <a:cubicBezTo>
                        <a:pt x="131561" y="167958"/>
                        <a:pt x="135034" y="167958"/>
                        <a:pt x="141702" y="167958"/>
                      </a:cubicBezTo>
                      <a:cubicBezTo>
                        <a:pt x="145175" y="167958"/>
                        <a:pt x="148509" y="167958"/>
                        <a:pt x="148509" y="162541"/>
                      </a:cubicBezTo>
                      <a:cubicBezTo>
                        <a:pt x="151844" y="162541"/>
                        <a:pt x="155317" y="162541"/>
                        <a:pt x="155317" y="162541"/>
                      </a:cubicBezTo>
                      <a:cubicBezTo>
                        <a:pt x="155317" y="157122"/>
                        <a:pt x="158651" y="157122"/>
                        <a:pt x="161985" y="157122"/>
                      </a:cubicBezTo>
                      <a:cubicBezTo>
                        <a:pt x="161985" y="157122"/>
                        <a:pt x="165319" y="157122"/>
                        <a:pt x="168792" y="157122"/>
                      </a:cubicBezTo>
                      <a:cubicBezTo>
                        <a:pt x="168792" y="162541"/>
                        <a:pt x="168792" y="162541"/>
                        <a:pt x="168792" y="162541"/>
                      </a:cubicBezTo>
                      <a:cubicBezTo>
                        <a:pt x="172126" y="162541"/>
                        <a:pt x="172126" y="162541"/>
                        <a:pt x="172126" y="167958"/>
                      </a:cubicBezTo>
                      <a:lnTo>
                        <a:pt x="168792" y="167958"/>
                      </a:lnTo>
                      <a:cubicBezTo>
                        <a:pt x="168792" y="167958"/>
                        <a:pt x="168792" y="173377"/>
                        <a:pt x="165319" y="173377"/>
                      </a:cubicBezTo>
                      <a:cubicBezTo>
                        <a:pt x="165319" y="173377"/>
                        <a:pt x="165319" y="178795"/>
                        <a:pt x="161985" y="184212"/>
                      </a:cubicBezTo>
                      <a:cubicBezTo>
                        <a:pt x="161985" y="184212"/>
                        <a:pt x="165319" y="189631"/>
                        <a:pt x="161985" y="189631"/>
                      </a:cubicBezTo>
                      <a:cubicBezTo>
                        <a:pt x="158651" y="195049"/>
                        <a:pt x="158651" y="200467"/>
                        <a:pt x="158651" y="200467"/>
                      </a:cubicBezTo>
                      <a:cubicBezTo>
                        <a:pt x="155317" y="200467"/>
                        <a:pt x="151844" y="200467"/>
                        <a:pt x="148509" y="205885"/>
                      </a:cubicBezTo>
                      <a:lnTo>
                        <a:pt x="145175" y="205885"/>
                      </a:lnTo>
                      <a:cubicBezTo>
                        <a:pt x="145175" y="200467"/>
                        <a:pt x="145175" y="211303"/>
                        <a:pt x="145175" y="205885"/>
                      </a:cubicBezTo>
                      <a:cubicBezTo>
                        <a:pt x="145175" y="205885"/>
                        <a:pt x="145175" y="205885"/>
                        <a:pt x="145175" y="211303"/>
                      </a:cubicBezTo>
                      <a:cubicBezTo>
                        <a:pt x="141702" y="216721"/>
                        <a:pt x="141702" y="222139"/>
                        <a:pt x="138368" y="227696"/>
                      </a:cubicBezTo>
                      <a:lnTo>
                        <a:pt x="135034" y="233114"/>
                      </a:lnTo>
                      <a:cubicBezTo>
                        <a:pt x="138368" y="233114"/>
                        <a:pt x="141702" y="233114"/>
                        <a:pt x="138368" y="233114"/>
                      </a:cubicBezTo>
                      <a:cubicBezTo>
                        <a:pt x="135034" y="238532"/>
                        <a:pt x="135034" y="238532"/>
                        <a:pt x="135034" y="243950"/>
                      </a:cubicBezTo>
                      <a:cubicBezTo>
                        <a:pt x="131561" y="243950"/>
                        <a:pt x="131561" y="238532"/>
                        <a:pt x="131561" y="238532"/>
                      </a:cubicBezTo>
                      <a:cubicBezTo>
                        <a:pt x="131561" y="238532"/>
                        <a:pt x="131561" y="238532"/>
                        <a:pt x="135034" y="233114"/>
                      </a:cubicBezTo>
                      <a:cubicBezTo>
                        <a:pt x="135034" y="233114"/>
                        <a:pt x="135034" y="233114"/>
                        <a:pt x="131561" y="233114"/>
                      </a:cubicBezTo>
                      <a:cubicBezTo>
                        <a:pt x="131561" y="233114"/>
                        <a:pt x="121558" y="233114"/>
                        <a:pt x="118085" y="233114"/>
                      </a:cubicBezTo>
                      <a:cubicBezTo>
                        <a:pt x="114751" y="233114"/>
                        <a:pt x="104610" y="238532"/>
                        <a:pt x="97941" y="238532"/>
                      </a:cubicBezTo>
                      <a:cubicBezTo>
                        <a:pt x="94468" y="243950"/>
                        <a:pt x="97941" y="243950"/>
                        <a:pt x="97941" y="249368"/>
                      </a:cubicBezTo>
                      <a:cubicBezTo>
                        <a:pt x="94468" y="254786"/>
                        <a:pt x="87800" y="254786"/>
                        <a:pt x="91134" y="260204"/>
                      </a:cubicBezTo>
                      <a:cubicBezTo>
                        <a:pt x="91134" y="260204"/>
                        <a:pt x="87800" y="265622"/>
                        <a:pt x="91134" y="265622"/>
                      </a:cubicBezTo>
                      <a:cubicBezTo>
                        <a:pt x="94468" y="271040"/>
                        <a:pt x="91134" y="271040"/>
                        <a:pt x="87800" y="271040"/>
                      </a:cubicBezTo>
                      <a:cubicBezTo>
                        <a:pt x="87800" y="271040"/>
                        <a:pt x="80993" y="271040"/>
                        <a:pt x="84327" y="276458"/>
                      </a:cubicBezTo>
                      <a:cubicBezTo>
                        <a:pt x="84327" y="276458"/>
                        <a:pt x="77658" y="276458"/>
                        <a:pt x="77658" y="281876"/>
                      </a:cubicBezTo>
                      <a:cubicBezTo>
                        <a:pt x="77658" y="287294"/>
                        <a:pt x="74185" y="287294"/>
                        <a:pt x="74185" y="287294"/>
                      </a:cubicBezTo>
                      <a:cubicBezTo>
                        <a:pt x="70851" y="287294"/>
                        <a:pt x="74185" y="287294"/>
                        <a:pt x="70851" y="287294"/>
                      </a:cubicBezTo>
                      <a:cubicBezTo>
                        <a:pt x="67517" y="287294"/>
                        <a:pt x="70851" y="287294"/>
                        <a:pt x="67517" y="292712"/>
                      </a:cubicBezTo>
                      <a:cubicBezTo>
                        <a:pt x="67517" y="298130"/>
                        <a:pt x="67517" y="298130"/>
                        <a:pt x="64183" y="298130"/>
                      </a:cubicBezTo>
                      <a:cubicBezTo>
                        <a:pt x="60710" y="298130"/>
                        <a:pt x="60710" y="298130"/>
                        <a:pt x="57376" y="303548"/>
                      </a:cubicBezTo>
                      <a:cubicBezTo>
                        <a:pt x="54041" y="308966"/>
                        <a:pt x="54041" y="303548"/>
                        <a:pt x="50568" y="308966"/>
                      </a:cubicBezTo>
                      <a:cubicBezTo>
                        <a:pt x="47234" y="314384"/>
                        <a:pt x="47234" y="314384"/>
                        <a:pt x="43900" y="319802"/>
                      </a:cubicBezTo>
                      <a:cubicBezTo>
                        <a:pt x="40566" y="319802"/>
                        <a:pt x="43900" y="325220"/>
                        <a:pt x="40566" y="325220"/>
                      </a:cubicBezTo>
                      <a:cubicBezTo>
                        <a:pt x="37093" y="330638"/>
                        <a:pt x="37093" y="330638"/>
                        <a:pt x="30424" y="336056"/>
                      </a:cubicBezTo>
                      <a:cubicBezTo>
                        <a:pt x="26951" y="336056"/>
                        <a:pt x="23617" y="336056"/>
                        <a:pt x="23617" y="341474"/>
                      </a:cubicBezTo>
                      <a:cubicBezTo>
                        <a:pt x="20283" y="341474"/>
                        <a:pt x="20283" y="341474"/>
                        <a:pt x="16810" y="341474"/>
                      </a:cubicBezTo>
                      <a:lnTo>
                        <a:pt x="16810" y="336056"/>
                      </a:lnTo>
                      <a:cubicBezTo>
                        <a:pt x="16810" y="336056"/>
                        <a:pt x="16810" y="336056"/>
                        <a:pt x="13476" y="336056"/>
                      </a:cubicBezTo>
                      <a:cubicBezTo>
                        <a:pt x="10142" y="336056"/>
                        <a:pt x="10142" y="336056"/>
                        <a:pt x="10142" y="336056"/>
                      </a:cubicBezTo>
                      <a:cubicBezTo>
                        <a:pt x="6807" y="336056"/>
                        <a:pt x="10142" y="336056"/>
                        <a:pt x="10142" y="330638"/>
                      </a:cubicBezTo>
                      <a:cubicBezTo>
                        <a:pt x="10142" y="330638"/>
                        <a:pt x="13476" y="330638"/>
                        <a:pt x="10142" y="325220"/>
                      </a:cubicBezTo>
                      <a:lnTo>
                        <a:pt x="6807" y="325220"/>
                      </a:lnTo>
                      <a:cubicBezTo>
                        <a:pt x="6807" y="330638"/>
                        <a:pt x="6807" y="325220"/>
                        <a:pt x="6807" y="330638"/>
                      </a:cubicBezTo>
                      <a:cubicBezTo>
                        <a:pt x="6807" y="330638"/>
                        <a:pt x="3334" y="336056"/>
                        <a:pt x="3334" y="330638"/>
                      </a:cubicBezTo>
                      <a:cubicBezTo>
                        <a:pt x="0" y="330638"/>
                        <a:pt x="0" y="330638"/>
                        <a:pt x="0" y="325220"/>
                      </a:cubicBezTo>
                      <a:lnTo>
                        <a:pt x="3334" y="325220"/>
                      </a:lnTo>
                      <a:cubicBezTo>
                        <a:pt x="6807" y="319802"/>
                        <a:pt x="10142" y="314384"/>
                        <a:pt x="10142" y="319802"/>
                      </a:cubicBezTo>
                      <a:cubicBezTo>
                        <a:pt x="10142" y="319802"/>
                        <a:pt x="10142" y="314384"/>
                        <a:pt x="13476" y="314384"/>
                      </a:cubicBezTo>
                      <a:cubicBezTo>
                        <a:pt x="16810" y="308966"/>
                        <a:pt x="13476" y="308966"/>
                        <a:pt x="16810" y="303548"/>
                      </a:cubicBezTo>
                      <a:cubicBezTo>
                        <a:pt x="23617" y="298130"/>
                        <a:pt x="23617" y="287155"/>
                        <a:pt x="26951" y="281737"/>
                      </a:cubicBezTo>
                      <a:lnTo>
                        <a:pt x="23617" y="270901"/>
                      </a:lnTo>
                      <a:cubicBezTo>
                        <a:pt x="20283" y="270901"/>
                        <a:pt x="20283" y="270901"/>
                        <a:pt x="20283" y="270901"/>
                      </a:cubicBezTo>
                      <a:cubicBezTo>
                        <a:pt x="16810" y="265483"/>
                        <a:pt x="16810" y="270901"/>
                        <a:pt x="16810" y="265483"/>
                      </a:cubicBezTo>
                      <a:cubicBezTo>
                        <a:pt x="16810" y="260065"/>
                        <a:pt x="13476" y="265483"/>
                        <a:pt x="13476" y="260065"/>
                      </a:cubicBezTo>
                      <a:cubicBezTo>
                        <a:pt x="13476" y="260065"/>
                        <a:pt x="10142" y="254647"/>
                        <a:pt x="10142" y="249229"/>
                      </a:cubicBezTo>
                      <a:cubicBezTo>
                        <a:pt x="10142" y="243811"/>
                        <a:pt x="13476" y="238393"/>
                        <a:pt x="16810" y="238393"/>
                      </a:cubicBezTo>
                      <a:cubicBezTo>
                        <a:pt x="20283" y="232975"/>
                        <a:pt x="23617" y="227557"/>
                        <a:pt x="30286" y="227557"/>
                      </a:cubicBezTo>
                      <a:cubicBezTo>
                        <a:pt x="33620" y="222139"/>
                        <a:pt x="33620" y="227557"/>
                        <a:pt x="36954" y="222139"/>
                      </a:cubicBezTo>
                      <a:cubicBezTo>
                        <a:pt x="40427" y="216721"/>
                        <a:pt x="40427" y="216721"/>
                        <a:pt x="43761" y="216721"/>
                      </a:cubicBezTo>
                      <a:cubicBezTo>
                        <a:pt x="47095" y="211303"/>
                        <a:pt x="50430" y="205885"/>
                        <a:pt x="53903" y="200328"/>
                      </a:cubicBezTo>
                      <a:cubicBezTo>
                        <a:pt x="57237" y="194910"/>
                        <a:pt x="57237" y="200328"/>
                        <a:pt x="57237" y="194910"/>
                      </a:cubicBezTo>
                      <a:cubicBezTo>
                        <a:pt x="60571" y="189492"/>
                        <a:pt x="60571" y="189492"/>
                        <a:pt x="64044" y="178517"/>
                      </a:cubicBezTo>
                      <a:cubicBezTo>
                        <a:pt x="67378" y="173099"/>
                        <a:pt x="67378" y="173099"/>
                        <a:pt x="67378" y="167681"/>
                      </a:cubicBezTo>
                      <a:cubicBezTo>
                        <a:pt x="67378" y="167681"/>
                        <a:pt x="67378" y="167681"/>
                        <a:pt x="70712" y="167681"/>
                      </a:cubicBezTo>
                      <a:cubicBezTo>
                        <a:pt x="70712" y="167681"/>
                        <a:pt x="67378" y="173099"/>
                        <a:pt x="70712" y="173099"/>
                      </a:cubicBezTo>
                      <a:cubicBezTo>
                        <a:pt x="74047" y="173099"/>
                        <a:pt x="77520" y="173099"/>
                        <a:pt x="74047" y="173099"/>
                      </a:cubicBezTo>
                      <a:cubicBezTo>
                        <a:pt x="70712" y="173099"/>
                        <a:pt x="70712" y="167681"/>
                        <a:pt x="70712" y="167681"/>
                      </a:cubicBezTo>
                      <a:cubicBezTo>
                        <a:pt x="74047" y="167681"/>
                        <a:pt x="77520" y="167681"/>
                        <a:pt x="74047" y="167681"/>
                      </a:cubicBezTo>
                      <a:cubicBezTo>
                        <a:pt x="70712" y="162263"/>
                        <a:pt x="77520" y="162263"/>
                        <a:pt x="77520" y="162263"/>
                      </a:cubicBezTo>
                      <a:cubicBezTo>
                        <a:pt x="80854" y="156845"/>
                        <a:pt x="80854" y="145870"/>
                        <a:pt x="84188" y="145870"/>
                      </a:cubicBezTo>
                      <a:lnTo>
                        <a:pt x="87661" y="135034"/>
                      </a:lnTo>
                      <a:cubicBezTo>
                        <a:pt x="87661" y="129616"/>
                        <a:pt x="87661" y="135034"/>
                        <a:pt x="87661" y="135034"/>
                      </a:cubicBezTo>
                      <a:cubicBezTo>
                        <a:pt x="90995" y="135034"/>
                        <a:pt x="87661" y="140452"/>
                        <a:pt x="90995" y="135034"/>
                      </a:cubicBezTo>
                      <a:cubicBezTo>
                        <a:pt x="94329" y="135034"/>
                        <a:pt x="101137" y="135034"/>
                        <a:pt x="97802" y="135034"/>
                      </a:cubicBezTo>
                      <a:cubicBezTo>
                        <a:pt x="94329" y="135034"/>
                        <a:pt x="94329" y="135034"/>
                        <a:pt x="94329" y="129616"/>
                      </a:cubicBezTo>
                      <a:cubicBezTo>
                        <a:pt x="94329" y="129616"/>
                        <a:pt x="90995" y="124198"/>
                        <a:pt x="90995" y="129616"/>
                      </a:cubicBezTo>
                      <a:cubicBezTo>
                        <a:pt x="87661" y="129616"/>
                        <a:pt x="90995" y="129616"/>
                        <a:pt x="87661" y="129616"/>
                      </a:cubicBezTo>
                      <a:cubicBezTo>
                        <a:pt x="87661" y="129616"/>
                        <a:pt x="84188" y="129616"/>
                        <a:pt x="87661" y="124198"/>
                      </a:cubicBezTo>
                      <a:cubicBezTo>
                        <a:pt x="87661" y="124198"/>
                        <a:pt x="90995" y="124198"/>
                        <a:pt x="90995" y="118780"/>
                      </a:cubicBezTo>
                      <a:cubicBezTo>
                        <a:pt x="87661" y="113361"/>
                        <a:pt x="90995" y="102387"/>
                        <a:pt x="90995" y="96969"/>
                      </a:cubicBezTo>
                      <a:cubicBezTo>
                        <a:pt x="90995" y="91550"/>
                        <a:pt x="90995" y="91550"/>
                        <a:pt x="90995" y="91550"/>
                      </a:cubicBezTo>
                      <a:cubicBezTo>
                        <a:pt x="94329" y="91550"/>
                        <a:pt x="94329" y="91550"/>
                        <a:pt x="94329" y="96969"/>
                      </a:cubicBezTo>
                      <a:cubicBezTo>
                        <a:pt x="94329" y="96969"/>
                        <a:pt x="90995" y="102387"/>
                        <a:pt x="94329" y="102387"/>
                      </a:cubicBezTo>
                      <a:cubicBezTo>
                        <a:pt x="94329" y="96969"/>
                        <a:pt x="97802" y="102387"/>
                        <a:pt x="97802" y="96969"/>
                      </a:cubicBezTo>
                      <a:cubicBezTo>
                        <a:pt x="97802" y="91550"/>
                        <a:pt x="101137" y="91550"/>
                        <a:pt x="97802" y="91550"/>
                      </a:cubicBezTo>
                      <a:cubicBezTo>
                        <a:pt x="94329" y="91550"/>
                        <a:pt x="94329" y="86133"/>
                        <a:pt x="94329" y="86133"/>
                      </a:cubicBezTo>
                      <a:cubicBezTo>
                        <a:pt x="97802" y="86133"/>
                        <a:pt x="101137" y="86133"/>
                        <a:pt x="97802" y="86133"/>
                      </a:cubicBezTo>
                      <a:cubicBezTo>
                        <a:pt x="94329" y="86133"/>
                        <a:pt x="94329" y="75296"/>
                        <a:pt x="94329" y="80714"/>
                      </a:cubicBezTo>
                      <a:cubicBezTo>
                        <a:pt x="94329" y="86133"/>
                        <a:pt x="94329" y="80714"/>
                        <a:pt x="94329" y="80714"/>
                      </a:cubicBezTo>
                      <a:cubicBezTo>
                        <a:pt x="94329" y="86133"/>
                        <a:pt x="94329" y="91550"/>
                        <a:pt x="90995" y="91550"/>
                      </a:cubicBezTo>
                      <a:cubicBezTo>
                        <a:pt x="90995" y="86133"/>
                        <a:pt x="87661" y="86133"/>
                        <a:pt x="90995" y="80714"/>
                      </a:cubicBezTo>
                      <a:cubicBezTo>
                        <a:pt x="90995" y="75296"/>
                        <a:pt x="90995" y="69879"/>
                        <a:pt x="90995" y="58903"/>
                      </a:cubicBezTo>
                      <a:cubicBezTo>
                        <a:pt x="90995" y="53486"/>
                        <a:pt x="87661" y="48067"/>
                        <a:pt x="87661" y="48067"/>
                      </a:cubicBezTo>
                      <a:cubicBezTo>
                        <a:pt x="90995" y="48067"/>
                        <a:pt x="90995" y="42649"/>
                        <a:pt x="90995" y="42649"/>
                      </a:cubicBezTo>
                      <a:cubicBezTo>
                        <a:pt x="94329" y="42649"/>
                        <a:pt x="97802" y="42649"/>
                        <a:pt x="97802" y="37232"/>
                      </a:cubicBezTo>
                      <a:cubicBezTo>
                        <a:pt x="94329" y="42649"/>
                        <a:pt x="94329" y="37232"/>
                        <a:pt x="90995" y="37232"/>
                      </a:cubicBezTo>
                      <a:cubicBezTo>
                        <a:pt x="90995" y="42649"/>
                        <a:pt x="87661" y="42649"/>
                        <a:pt x="87661" y="42649"/>
                      </a:cubicBezTo>
                      <a:lnTo>
                        <a:pt x="87661" y="37232"/>
                      </a:lnTo>
                      <a:cubicBezTo>
                        <a:pt x="87800" y="32647"/>
                        <a:pt x="87800" y="27090"/>
                        <a:pt x="87800" y="27090"/>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2" name="Freihandform: Form 421">
                  <a:extLst>
                    <a:ext uri="{FF2B5EF4-FFF2-40B4-BE49-F238E27FC236}">
                      <a16:creationId xmlns:a16="http://schemas.microsoft.com/office/drawing/2014/main" id="{8FFE180B-1D18-443E-AD43-B4AB6964C09E}"/>
                    </a:ext>
                  </a:extLst>
                </p:cNvPr>
                <p:cNvSpPr/>
                <p:nvPr/>
              </p:nvSpPr>
              <p:spPr>
                <a:xfrm>
                  <a:off x="10847563" y="5719183"/>
                  <a:ext cx="326054" cy="287417"/>
                </a:xfrm>
                <a:custGeom>
                  <a:avLst/>
                  <a:gdLst>
                    <a:gd name="connsiteX0" fmla="*/ 213199 w 326054"/>
                    <a:gd name="connsiteY0" fmla="*/ 147815 h 287417"/>
                    <a:gd name="connsiteX1" fmla="*/ 220145 w 326054"/>
                    <a:gd name="connsiteY1" fmla="*/ 147815 h 287417"/>
                    <a:gd name="connsiteX2" fmla="*/ 223618 w 326054"/>
                    <a:gd name="connsiteY2" fmla="*/ 147815 h 287417"/>
                    <a:gd name="connsiteX3" fmla="*/ 223618 w 326054"/>
                    <a:gd name="connsiteY3" fmla="*/ 153094 h 287417"/>
                    <a:gd name="connsiteX4" fmla="*/ 227091 w 326054"/>
                    <a:gd name="connsiteY4" fmla="*/ 153094 h 287417"/>
                    <a:gd name="connsiteX5" fmla="*/ 230564 w 326054"/>
                    <a:gd name="connsiteY5" fmla="*/ 158373 h 287417"/>
                    <a:gd name="connsiteX6" fmla="*/ 234037 w 326054"/>
                    <a:gd name="connsiteY6" fmla="*/ 153094 h 287417"/>
                    <a:gd name="connsiteX7" fmla="*/ 234037 w 326054"/>
                    <a:gd name="connsiteY7" fmla="*/ 153094 h 287417"/>
                    <a:gd name="connsiteX8" fmla="*/ 234037 w 326054"/>
                    <a:gd name="connsiteY8" fmla="*/ 147815 h 287417"/>
                    <a:gd name="connsiteX9" fmla="*/ 230564 w 326054"/>
                    <a:gd name="connsiteY9" fmla="*/ 147815 h 287417"/>
                    <a:gd name="connsiteX10" fmla="*/ 234037 w 326054"/>
                    <a:gd name="connsiteY10" fmla="*/ 147815 h 287417"/>
                    <a:gd name="connsiteX11" fmla="*/ 234037 w 326054"/>
                    <a:gd name="connsiteY11" fmla="*/ 147815 h 287417"/>
                    <a:gd name="connsiteX12" fmla="*/ 237510 w 326054"/>
                    <a:gd name="connsiteY12" fmla="*/ 153094 h 287417"/>
                    <a:gd name="connsiteX13" fmla="*/ 237510 w 326054"/>
                    <a:gd name="connsiteY13" fmla="*/ 153094 h 287417"/>
                    <a:gd name="connsiteX14" fmla="*/ 237510 w 326054"/>
                    <a:gd name="connsiteY14" fmla="*/ 147815 h 287417"/>
                    <a:gd name="connsiteX15" fmla="*/ 237510 w 326054"/>
                    <a:gd name="connsiteY15" fmla="*/ 142536 h 287417"/>
                    <a:gd name="connsiteX16" fmla="*/ 237510 w 326054"/>
                    <a:gd name="connsiteY16" fmla="*/ 142536 h 287417"/>
                    <a:gd name="connsiteX17" fmla="*/ 234037 w 326054"/>
                    <a:gd name="connsiteY17" fmla="*/ 137257 h 287417"/>
                    <a:gd name="connsiteX18" fmla="*/ 230564 w 326054"/>
                    <a:gd name="connsiteY18" fmla="*/ 137257 h 287417"/>
                    <a:gd name="connsiteX19" fmla="*/ 234037 w 326054"/>
                    <a:gd name="connsiteY19" fmla="*/ 137257 h 287417"/>
                    <a:gd name="connsiteX20" fmla="*/ 234037 w 326054"/>
                    <a:gd name="connsiteY20" fmla="*/ 126698 h 287417"/>
                    <a:gd name="connsiteX21" fmla="*/ 240983 w 326054"/>
                    <a:gd name="connsiteY21" fmla="*/ 121419 h 287417"/>
                    <a:gd name="connsiteX22" fmla="*/ 255015 w 326054"/>
                    <a:gd name="connsiteY22" fmla="*/ 116140 h 287417"/>
                    <a:gd name="connsiteX23" fmla="*/ 261961 w 326054"/>
                    <a:gd name="connsiteY23" fmla="*/ 110861 h 287417"/>
                    <a:gd name="connsiteX24" fmla="*/ 265434 w 326054"/>
                    <a:gd name="connsiteY24" fmla="*/ 110861 h 287417"/>
                    <a:gd name="connsiteX25" fmla="*/ 265434 w 326054"/>
                    <a:gd name="connsiteY25" fmla="*/ 105582 h 287417"/>
                    <a:gd name="connsiteX26" fmla="*/ 279327 w 326054"/>
                    <a:gd name="connsiteY26" fmla="*/ 89745 h 287417"/>
                    <a:gd name="connsiteX27" fmla="*/ 279327 w 326054"/>
                    <a:gd name="connsiteY27" fmla="*/ 84466 h 287417"/>
                    <a:gd name="connsiteX28" fmla="*/ 286412 w 326054"/>
                    <a:gd name="connsiteY28" fmla="*/ 84466 h 287417"/>
                    <a:gd name="connsiteX29" fmla="*/ 286412 w 326054"/>
                    <a:gd name="connsiteY29" fmla="*/ 84466 h 287417"/>
                    <a:gd name="connsiteX30" fmla="*/ 289885 w 326054"/>
                    <a:gd name="connsiteY30" fmla="*/ 79186 h 287417"/>
                    <a:gd name="connsiteX31" fmla="*/ 296831 w 326054"/>
                    <a:gd name="connsiteY31" fmla="*/ 73907 h 287417"/>
                    <a:gd name="connsiteX32" fmla="*/ 303777 w 326054"/>
                    <a:gd name="connsiteY32" fmla="*/ 63349 h 287417"/>
                    <a:gd name="connsiteX33" fmla="*/ 314196 w 326054"/>
                    <a:gd name="connsiteY33" fmla="*/ 52791 h 287417"/>
                    <a:gd name="connsiteX34" fmla="*/ 317670 w 326054"/>
                    <a:gd name="connsiteY34" fmla="*/ 42233 h 287417"/>
                    <a:gd name="connsiteX35" fmla="*/ 317670 w 326054"/>
                    <a:gd name="connsiteY35" fmla="*/ 42233 h 287417"/>
                    <a:gd name="connsiteX36" fmla="*/ 317670 w 326054"/>
                    <a:gd name="connsiteY36" fmla="*/ 36954 h 287417"/>
                    <a:gd name="connsiteX37" fmla="*/ 317670 w 326054"/>
                    <a:gd name="connsiteY37" fmla="*/ 31675 h 287417"/>
                    <a:gd name="connsiteX38" fmla="*/ 321143 w 326054"/>
                    <a:gd name="connsiteY38" fmla="*/ 31675 h 287417"/>
                    <a:gd name="connsiteX39" fmla="*/ 321143 w 326054"/>
                    <a:gd name="connsiteY39" fmla="*/ 26395 h 287417"/>
                    <a:gd name="connsiteX40" fmla="*/ 324616 w 326054"/>
                    <a:gd name="connsiteY40" fmla="*/ 26395 h 287417"/>
                    <a:gd name="connsiteX41" fmla="*/ 317670 w 326054"/>
                    <a:gd name="connsiteY41" fmla="*/ 26395 h 287417"/>
                    <a:gd name="connsiteX42" fmla="*/ 314196 w 326054"/>
                    <a:gd name="connsiteY42" fmla="*/ 26395 h 287417"/>
                    <a:gd name="connsiteX43" fmla="*/ 321143 w 326054"/>
                    <a:gd name="connsiteY43" fmla="*/ 26395 h 287417"/>
                    <a:gd name="connsiteX44" fmla="*/ 321143 w 326054"/>
                    <a:gd name="connsiteY44" fmla="*/ 21116 h 287417"/>
                    <a:gd name="connsiteX45" fmla="*/ 324616 w 326054"/>
                    <a:gd name="connsiteY45" fmla="*/ 21116 h 287417"/>
                    <a:gd name="connsiteX46" fmla="*/ 321143 w 326054"/>
                    <a:gd name="connsiteY46" fmla="*/ 21116 h 287417"/>
                    <a:gd name="connsiteX47" fmla="*/ 317670 w 326054"/>
                    <a:gd name="connsiteY47" fmla="*/ 15837 h 287417"/>
                    <a:gd name="connsiteX48" fmla="*/ 314196 w 326054"/>
                    <a:gd name="connsiteY48" fmla="*/ 15837 h 287417"/>
                    <a:gd name="connsiteX49" fmla="*/ 317670 w 326054"/>
                    <a:gd name="connsiteY49" fmla="*/ 10558 h 287417"/>
                    <a:gd name="connsiteX50" fmla="*/ 310584 w 326054"/>
                    <a:gd name="connsiteY50" fmla="*/ 15837 h 287417"/>
                    <a:gd name="connsiteX51" fmla="*/ 310584 w 326054"/>
                    <a:gd name="connsiteY51" fmla="*/ 21116 h 287417"/>
                    <a:gd name="connsiteX52" fmla="*/ 307111 w 326054"/>
                    <a:gd name="connsiteY52" fmla="*/ 15837 h 287417"/>
                    <a:gd name="connsiteX53" fmla="*/ 300165 w 326054"/>
                    <a:gd name="connsiteY53" fmla="*/ 21116 h 287417"/>
                    <a:gd name="connsiteX54" fmla="*/ 296692 w 326054"/>
                    <a:gd name="connsiteY54" fmla="*/ 26395 h 287417"/>
                    <a:gd name="connsiteX55" fmla="*/ 296692 w 326054"/>
                    <a:gd name="connsiteY55" fmla="*/ 21116 h 287417"/>
                    <a:gd name="connsiteX56" fmla="*/ 300165 w 326054"/>
                    <a:gd name="connsiteY56" fmla="*/ 15837 h 287417"/>
                    <a:gd name="connsiteX57" fmla="*/ 296692 w 326054"/>
                    <a:gd name="connsiteY57" fmla="*/ 10558 h 287417"/>
                    <a:gd name="connsiteX58" fmla="*/ 296692 w 326054"/>
                    <a:gd name="connsiteY58" fmla="*/ 10558 h 287417"/>
                    <a:gd name="connsiteX59" fmla="*/ 300165 w 326054"/>
                    <a:gd name="connsiteY59" fmla="*/ 5279 h 287417"/>
                    <a:gd name="connsiteX60" fmla="*/ 307111 w 326054"/>
                    <a:gd name="connsiteY60" fmla="*/ 5279 h 287417"/>
                    <a:gd name="connsiteX61" fmla="*/ 300165 w 326054"/>
                    <a:gd name="connsiteY61" fmla="*/ 0 h 287417"/>
                    <a:gd name="connsiteX62" fmla="*/ 293219 w 326054"/>
                    <a:gd name="connsiteY62" fmla="*/ 5279 h 287417"/>
                    <a:gd name="connsiteX63" fmla="*/ 289746 w 326054"/>
                    <a:gd name="connsiteY63" fmla="*/ 5279 h 287417"/>
                    <a:gd name="connsiteX64" fmla="*/ 279327 w 326054"/>
                    <a:gd name="connsiteY64" fmla="*/ 15837 h 287417"/>
                    <a:gd name="connsiteX65" fmla="*/ 275853 w 326054"/>
                    <a:gd name="connsiteY65" fmla="*/ 31675 h 287417"/>
                    <a:gd name="connsiteX66" fmla="*/ 268907 w 326054"/>
                    <a:gd name="connsiteY66" fmla="*/ 36954 h 287417"/>
                    <a:gd name="connsiteX67" fmla="*/ 261961 w 326054"/>
                    <a:gd name="connsiteY67" fmla="*/ 42233 h 287417"/>
                    <a:gd name="connsiteX68" fmla="*/ 251542 w 326054"/>
                    <a:gd name="connsiteY68" fmla="*/ 47512 h 287417"/>
                    <a:gd name="connsiteX69" fmla="*/ 244596 w 326054"/>
                    <a:gd name="connsiteY69" fmla="*/ 47512 h 287417"/>
                    <a:gd name="connsiteX70" fmla="*/ 244596 w 326054"/>
                    <a:gd name="connsiteY70" fmla="*/ 52791 h 287417"/>
                    <a:gd name="connsiteX71" fmla="*/ 237649 w 326054"/>
                    <a:gd name="connsiteY71" fmla="*/ 63349 h 287417"/>
                    <a:gd name="connsiteX72" fmla="*/ 230703 w 326054"/>
                    <a:gd name="connsiteY72" fmla="*/ 68628 h 287417"/>
                    <a:gd name="connsiteX73" fmla="*/ 223757 w 326054"/>
                    <a:gd name="connsiteY73" fmla="*/ 79186 h 287417"/>
                    <a:gd name="connsiteX74" fmla="*/ 220284 w 326054"/>
                    <a:gd name="connsiteY74" fmla="*/ 84466 h 287417"/>
                    <a:gd name="connsiteX75" fmla="*/ 209865 w 326054"/>
                    <a:gd name="connsiteY75" fmla="*/ 89745 h 287417"/>
                    <a:gd name="connsiteX76" fmla="*/ 195972 w 326054"/>
                    <a:gd name="connsiteY76" fmla="*/ 100303 h 287417"/>
                    <a:gd name="connsiteX77" fmla="*/ 185553 w 326054"/>
                    <a:gd name="connsiteY77" fmla="*/ 105582 h 287417"/>
                    <a:gd name="connsiteX78" fmla="*/ 168188 w 326054"/>
                    <a:gd name="connsiteY78" fmla="*/ 121419 h 287417"/>
                    <a:gd name="connsiteX79" fmla="*/ 150683 w 326054"/>
                    <a:gd name="connsiteY79" fmla="*/ 137257 h 287417"/>
                    <a:gd name="connsiteX80" fmla="*/ 143737 w 326054"/>
                    <a:gd name="connsiteY80" fmla="*/ 137257 h 287417"/>
                    <a:gd name="connsiteX81" fmla="*/ 119287 w 326054"/>
                    <a:gd name="connsiteY81" fmla="*/ 158373 h 287417"/>
                    <a:gd name="connsiteX82" fmla="*/ 101782 w 326054"/>
                    <a:gd name="connsiteY82" fmla="*/ 163652 h 287417"/>
                    <a:gd name="connsiteX83" fmla="*/ 94836 w 326054"/>
                    <a:gd name="connsiteY83" fmla="*/ 168931 h 287417"/>
                    <a:gd name="connsiteX84" fmla="*/ 80944 w 326054"/>
                    <a:gd name="connsiteY84" fmla="*/ 179489 h 287417"/>
                    <a:gd name="connsiteX85" fmla="*/ 66912 w 326054"/>
                    <a:gd name="connsiteY85" fmla="*/ 195327 h 287417"/>
                    <a:gd name="connsiteX86" fmla="*/ 39128 w 326054"/>
                    <a:gd name="connsiteY86" fmla="*/ 205885 h 287417"/>
                    <a:gd name="connsiteX87" fmla="*/ 28709 w 326054"/>
                    <a:gd name="connsiteY87" fmla="*/ 216443 h 287417"/>
                    <a:gd name="connsiteX88" fmla="*/ 18289 w 326054"/>
                    <a:gd name="connsiteY88" fmla="*/ 227001 h 287417"/>
                    <a:gd name="connsiteX89" fmla="*/ 7870 w 326054"/>
                    <a:gd name="connsiteY89" fmla="*/ 237559 h 287417"/>
                    <a:gd name="connsiteX90" fmla="*/ 4397 w 326054"/>
                    <a:gd name="connsiteY90" fmla="*/ 242838 h 287417"/>
                    <a:gd name="connsiteX91" fmla="*/ 7870 w 326054"/>
                    <a:gd name="connsiteY91" fmla="*/ 248118 h 287417"/>
                    <a:gd name="connsiteX92" fmla="*/ 11343 w 326054"/>
                    <a:gd name="connsiteY92" fmla="*/ 253397 h 287417"/>
                    <a:gd name="connsiteX93" fmla="*/ 924 w 326054"/>
                    <a:gd name="connsiteY93" fmla="*/ 258676 h 287417"/>
                    <a:gd name="connsiteX94" fmla="*/ 11343 w 326054"/>
                    <a:gd name="connsiteY94" fmla="*/ 269234 h 287417"/>
                    <a:gd name="connsiteX95" fmla="*/ 21762 w 326054"/>
                    <a:gd name="connsiteY95" fmla="*/ 269234 h 287417"/>
                    <a:gd name="connsiteX96" fmla="*/ 25235 w 326054"/>
                    <a:gd name="connsiteY96" fmla="*/ 269234 h 287417"/>
                    <a:gd name="connsiteX97" fmla="*/ 35655 w 326054"/>
                    <a:gd name="connsiteY97" fmla="*/ 274513 h 287417"/>
                    <a:gd name="connsiteX98" fmla="*/ 35655 w 326054"/>
                    <a:gd name="connsiteY98" fmla="*/ 279792 h 287417"/>
                    <a:gd name="connsiteX99" fmla="*/ 42601 w 326054"/>
                    <a:gd name="connsiteY99" fmla="*/ 285071 h 287417"/>
                    <a:gd name="connsiteX100" fmla="*/ 60105 w 326054"/>
                    <a:gd name="connsiteY100" fmla="*/ 285071 h 287417"/>
                    <a:gd name="connsiteX101" fmla="*/ 70525 w 326054"/>
                    <a:gd name="connsiteY101" fmla="*/ 285071 h 287417"/>
                    <a:gd name="connsiteX102" fmla="*/ 84417 w 326054"/>
                    <a:gd name="connsiteY102" fmla="*/ 279792 h 287417"/>
                    <a:gd name="connsiteX103" fmla="*/ 98309 w 326054"/>
                    <a:gd name="connsiteY103" fmla="*/ 274513 h 287417"/>
                    <a:gd name="connsiteX104" fmla="*/ 108729 w 326054"/>
                    <a:gd name="connsiteY104" fmla="*/ 258676 h 287417"/>
                    <a:gd name="connsiteX105" fmla="*/ 119148 w 326054"/>
                    <a:gd name="connsiteY105" fmla="*/ 248118 h 287417"/>
                    <a:gd name="connsiteX106" fmla="*/ 133040 w 326054"/>
                    <a:gd name="connsiteY106" fmla="*/ 232280 h 287417"/>
                    <a:gd name="connsiteX107" fmla="*/ 153879 w 326054"/>
                    <a:gd name="connsiteY107" fmla="*/ 211025 h 287417"/>
                    <a:gd name="connsiteX108" fmla="*/ 167910 w 326054"/>
                    <a:gd name="connsiteY108" fmla="*/ 189908 h 287417"/>
                    <a:gd name="connsiteX109" fmla="*/ 178329 w 326054"/>
                    <a:gd name="connsiteY109" fmla="*/ 168792 h 287417"/>
                    <a:gd name="connsiteX110" fmla="*/ 195833 w 326054"/>
                    <a:gd name="connsiteY110" fmla="*/ 158234 h 287417"/>
                    <a:gd name="connsiteX111" fmla="*/ 213199 w 326054"/>
                    <a:gd name="connsiteY111" fmla="*/ 147815 h 28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26054" h="287417">
                      <a:moveTo>
                        <a:pt x="213199" y="147815"/>
                      </a:moveTo>
                      <a:cubicBezTo>
                        <a:pt x="216672" y="147815"/>
                        <a:pt x="216672" y="147815"/>
                        <a:pt x="220145" y="147815"/>
                      </a:cubicBezTo>
                      <a:cubicBezTo>
                        <a:pt x="223618" y="147815"/>
                        <a:pt x="223618" y="142536"/>
                        <a:pt x="223618" y="147815"/>
                      </a:cubicBezTo>
                      <a:cubicBezTo>
                        <a:pt x="220145" y="147815"/>
                        <a:pt x="223618" y="153094"/>
                        <a:pt x="223618" y="153094"/>
                      </a:cubicBezTo>
                      <a:cubicBezTo>
                        <a:pt x="223618" y="153094"/>
                        <a:pt x="223618" y="153094"/>
                        <a:pt x="227091" y="153094"/>
                      </a:cubicBezTo>
                      <a:cubicBezTo>
                        <a:pt x="227091" y="153094"/>
                        <a:pt x="227091" y="158373"/>
                        <a:pt x="230564" y="158373"/>
                      </a:cubicBezTo>
                      <a:cubicBezTo>
                        <a:pt x="230564" y="153094"/>
                        <a:pt x="234037" y="153094"/>
                        <a:pt x="234037" y="153094"/>
                      </a:cubicBezTo>
                      <a:cubicBezTo>
                        <a:pt x="234037" y="158373"/>
                        <a:pt x="237510" y="153094"/>
                        <a:pt x="234037" y="153094"/>
                      </a:cubicBezTo>
                      <a:cubicBezTo>
                        <a:pt x="234037" y="153094"/>
                        <a:pt x="234037" y="153094"/>
                        <a:pt x="234037" y="147815"/>
                      </a:cubicBezTo>
                      <a:lnTo>
                        <a:pt x="230564" y="147815"/>
                      </a:lnTo>
                      <a:cubicBezTo>
                        <a:pt x="234037" y="142536"/>
                        <a:pt x="234037" y="142536"/>
                        <a:pt x="234037" y="147815"/>
                      </a:cubicBezTo>
                      <a:lnTo>
                        <a:pt x="234037" y="147815"/>
                      </a:lnTo>
                      <a:cubicBezTo>
                        <a:pt x="234037" y="153094"/>
                        <a:pt x="237510" y="153094"/>
                        <a:pt x="237510" y="153094"/>
                      </a:cubicBezTo>
                      <a:lnTo>
                        <a:pt x="237510" y="153094"/>
                      </a:lnTo>
                      <a:cubicBezTo>
                        <a:pt x="237510" y="147815"/>
                        <a:pt x="240983" y="147815"/>
                        <a:pt x="237510" y="147815"/>
                      </a:cubicBezTo>
                      <a:cubicBezTo>
                        <a:pt x="237510" y="147815"/>
                        <a:pt x="240983" y="142536"/>
                        <a:pt x="237510" y="142536"/>
                      </a:cubicBezTo>
                      <a:lnTo>
                        <a:pt x="237510" y="142536"/>
                      </a:lnTo>
                      <a:cubicBezTo>
                        <a:pt x="234037" y="142536"/>
                        <a:pt x="234037" y="137257"/>
                        <a:pt x="234037" y="137257"/>
                      </a:cubicBezTo>
                      <a:cubicBezTo>
                        <a:pt x="234037" y="137257"/>
                        <a:pt x="230564" y="142536"/>
                        <a:pt x="230564" y="137257"/>
                      </a:cubicBezTo>
                      <a:cubicBezTo>
                        <a:pt x="227091" y="137257"/>
                        <a:pt x="234037" y="137257"/>
                        <a:pt x="234037" y="137257"/>
                      </a:cubicBezTo>
                      <a:cubicBezTo>
                        <a:pt x="230564" y="131977"/>
                        <a:pt x="234037" y="131977"/>
                        <a:pt x="234037" y="126698"/>
                      </a:cubicBezTo>
                      <a:cubicBezTo>
                        <a:pt x="234037" y="126698"/>
                        <a:pt x="237510" y="121419"/>
                        <a:pt x="240983" y="121419"/>
                      </a:cubicBezTo>
                      <a:cubicBezTo>
                        <a:pt x="240983" y="116140"/>
                        <a:pt x="255015" y="121419"/>
                        <a:pt x="255015" y="116140"/>
                      </a:cubicBezTo>
                      <a:cubicBezTo>
                        <a:pt x="255015" y="116140"/>
                        <a:pt x="261961" y="116140"/>
                        <a:pt x="261961" y="110861"/>
                      </a:cubicBezTo>
                      <a:lnTo>
                        <a:pt x="265434" y="110861"/>
                      </a:lnTo>
                      <a:cubicBezTo>
                        <a:pt x="265434" y="105582"/>
                        <a:pt x="265434" y="105582"/>
                        <a:pt x="265434" y="105582"/>
                      </a:cubicBezTo>
                      <a:cubicBezTo>
                        <a:pt x="268907" y="105582"/>
                        <a:pt x="275853" y="89745"/>
                        <a:pt x="279327" y="89745"/>
                      </a:cubicBezTo>
                      <a:cubicBezTo>
                        <a:pt x="279327" y="89745"/>
                        <a:pt x="275853" y="89745"/>
                        <a:pt x="279327" y="84466"/>
                      </a:cubicBezTo>
                      <a:cubicBezTo>
                        <a:pt x="282800" y="84466"/>
                        <a:pt x="282800" y="79186"/>
                        <a:pt x="286412" y="84466"/>
                      </a:cubicBezTo>
                      <a:lnTo>
                        <a:pt x="286412" y="84466"/>
                      </a:lnTo>
                      <a:cubicBezTo>
                        <a:pt x="286412" y="79186"/>
                        <a:pt x="286412" y="79186"/>
                        <a:pt x="289885" y="79186"/>
                      </a:cubicBezTo>
                      <a:cubicBezTo>
                        <a:pt x="293358" y="73907"/>
                        <a:pt x="293358" y="73907"/>
                        <a:pt x="296831" y="73907"/>
                      </a:cubicBezTo>
                      <a:cubicBezTo>
                        <a:pt x="300304" y="68628"/>
                        <a:pt x="296831" y="68628"/>
                        <a:pt x="303777" y="63349"/>
                      </a:cubicBezTo>
                      <a:cubicBezTo>
                        <a:pt x="307250" y="58070"/>
                        <a:pt x="310723" y="58070"/>
                        <a:pt x="314196" y="52791"/>
                      </a:cubicBezTo>
                      <a:cubicBezTo>
                        <a:pt x="317670" y="47512"/>
                        <a:pt x="317670" y="47512"/>
                        <a:pt x="317670" y="42233"/>
                      </a:cubicBezTo>
                      <a:cubicBezTo>
                        <a:pt x="321143" y="42233"/>
                        <a:pt x="317670" y="42233"/>
                        <a:pt x="317670" y="42233"/>
                      </a:cubicBezTo>
                      <a:lnTo>
                        <a:pt x="317670" y="36954"/>
                      </a:lnTo>
                      <a:cubicBezTo>
                        <a:pt x="314196" y="31675"/>
                        <a:pt x="314196" y="36954"/>
                        <a:pt x="317670" y="31675"/>
                      </a:cubicBezTo>
                      <a:cubicBezTo>
                        <a:pt x="321143" y="31675"/>
                        <a:pt x="317670" y="31675"/>
                        <a:pt x="321143" y="31675"/>
                      </a:cubicBezTo>
                      <a:cubicBezTo>
                        <a:pt x="321143" y="31675"/>
                        <a:pt x="321143" y="31675"/>
                        <a:pt x="321143" y="26395"/>
                      </a:cubicBezTo>
                      <a:cubicBezTo>
                        <a:pt x="324616" y="26395"/>
                        <a:pt x="328089" y="21116"/>
                        <a:pt x="324616" y="26395"/>
                      </a:cubicBezTo>
                      <a:cubicBezTo>
                        <a:pt x="321143" y="26395"/>
                        <a:pt x="321143" y="26395"/>
                        <a:pt x="317670" y="26395"/>
                      </a:cubicBezTo>
                      <a:cubicBezTo>
                        <a:pt x="314196" y="26395"/>
                        <a:pt x="310584" y="31675"/>
                        <a:pt x="314196" y="26395"/>
                      </a:cubicBezTo>
                      <a:cubicBezTo>
                        <a:pt x="317670" y="26395"/>
                        <a:pt x="321143" y="26395"/>
                        <a:pt x="321143" y="26395"/>
                      </a:cubicBezTo>
                      <a:cubicBezTo>
                        <a:pt x="321143" y="21116"/>
                        <a:pt x="317670" y="21116"/>
                        <a:pt x="321143" y="21116"/>
                      </a:cubicBezTo>
                      <a:cubicBezTo>
                        <a:pt x="321143" y="21116"/>
                        <a:pt x="321143" y="26395"/>
                        <a:pt x="324616" y="21116"/>
                      </a:cubicBezTo>
                      <a:cubicBezTo>
                        <a:pt x="324616" y="15837"/>
                        <a:pt x="324616" y="21116"/>
                        <a:pt x="321143" y="21116"/>
                      </a:cubicBezTo>
                      <a:cubicBezTo>
                        <a:pt x="317670" y="21116"/>
                        <a:pt x="321143" y="15837"/>
                        <a:pt x="317670" y="15837"/>
                      </a:cubicBezTo>
                      <a:cubicBezTo>
                        <a:pt x="314196" y="21116"/>
                        <a:pt x="317670" y="10558"/>
                        <a:pt x="314196" y="15837"/>
                      </a:cubicBezTo>
                      <a:cubicBezTo>
                        <a:pt x="310723" y="15837"/>
                        <a:pt x="321143" y="10558"/>
                        <a:pt x="317670" y="10558"/>
                      </a:cubicBezTo>
                      <a:cubicBezTo>
                        <a:pt x="314196" y="5279"/>
                        <a:pt x="317670" y="10558"/>
                        <a:pt x="310584" y="15837"/>
                      </a:cubicBezTo>
                      <a:cubicBezTo>
                        <a:pt x="307111" y="15837"/>
                        <a:pt x="307111" y="15837"/>
                        <a:pt x="310584" y="21116"/>
                      </a:cubicBezTo>
                      <a:lnTo>
                        <a:pt x="307111" y="15837"/>
                      </a:lnTo>
                      <a:cubicBezTo>
                        <a:pt x="303638" y="21116"/>
                        <a:pt x="303638" y="21116"/>
                        <a:pt x="300165" y="21116"/>
                      </a:cubicBezTo>
                      <a:cubicBezTo>
                        <a:pt x="300165" y="21116"/>
                        <a:pt x="300165" y="26395"/>
                        <a:pt x="296692" y="26395"/>
                      </a:cubicBezTo>
                      <a:cubicBezTo>
                        <a:pt x="296692" y="21116"/>
                        <a:pt x="296692" y="21116"/>
                        <a:pt x="296692" y="21116"/>
                      </a:cubicBezTo>
                      <a:cubicBezTo>
                        <a:pt x="296692" y="15837"/>
                        <a:pt x="300165" y="21116"/>
                        <a:pt x="300165" y="15837"/>
                      </a:cubicBezTo>
                      <a:cubicBezTo>
                        <a:pt x="300165" y="10558"/>
                        <a:pt x="300165" y="10558"/>
                        <a:pt x="296692" y="10558"/>
                      </a:cubicBezTo>
                      <a:cubicBezTo>
                        <a:pt x="296692" y="10558"/>
                        <a:pt x="293219" y="10558"/>
                        <a:pt x="296692" y="10558"/>
                      </a:cubicBezTo>
                      <a:cubicBezTo>
                        <a:pt x="296692" y="5279"/>
                        <a:pt x="296692" y="5279"/>
                        <a:pt x="300165" y="5279"/>
                      </a:cubicBezTo>
                      <a:cubicBezTo>
                        <a:pt x="303638" y="5279"/>
                        <a:pt x="307111" y="5279"/>
                        <a:pt x="307111" y="5279"/>
                      </a:cubicBezTo>
                      <a:cubicBezTo>
                        <a:pt x="307111" y="5279"/>
                        <a:pt x="303638" y="0"/>
                        <a:pt x="300165" y="0"/>
                      </a:cubicBezTo>
                      <a:cubicBezTo>
                        <a:pt x="296692" y="0"/>
                        <a:pt x="289746" y="5279"/>
                        <a:pt x="293219" y="5279"/>
                      </a:cubicBezTo>
                      <a:lnTo>
                        <a:pt x="289746" y="5279"/>
                      </a:lnTo>
                      <a:cubicBezTo>
                        <a:pt x="286273" y="10558"/>
                        <a:pt x="279327" y="15837"/>
                        <a:pt x="279327" y="15837"/>
                      </a:cubicBezTo>
                      <a:cubicBezTo>
                        <a:pt x="279327" y="15837"/>
                        <a:pt x="279327" y="21116"/>
                        <a:pt x="275853" y="31675"/>
                      </a:cubicBezTo>
                      <a:cubicBezTo>
                        <a:pt x="272380" y="31675"/>
                        <a:pt x="268907" y="31675"/>
                        <a:pt x="268907" y="36954"/>
                      </a:cubicBezTo>
                      <a:cubicBezTo>
                        <a:pt x="265434" y="36954"/>
                        <a:pt x="265434" y="36954"/>
                        <a:pt x="261961" y="42233"/>
                      </a:cubicBezTo>
                      <a:cubicBezTo>
                        <a:pt x="261961" y="42233"/>
                        <a:pt x="258488" y="47512"/>
                        <a:pt x="251542" y="47512"/>
                      </a:cubicBezTo>
                      <a:cubicBezTo>
                        <a:pt x="248069" y="47512"/>
                        <a:pt x="248069" y="47512"/>
                        <a:pt x="244596" y="47512"/>
                      </a:cubicBezTo>
                      <a:cubicBezTo>
                        <a:pt x="244596" y="47512"/>
                        <a:pt x="244596" y="47512"/>
                        <a:pt x="244596" y="52791"/>
                      </a:cubicBezTo>
                      <a:cubicBezTo>
                        <a:pt x="241123" y="52791"/>
                        <a:pt x="237649" y="58070"/>
                        <a:pt x="237649" y="63349"/>
                      </a:cubicBezTo>
                      <a:cubicBezTo>
                        <a:pt x="234176" y="63349"/>
                        <a:pt x="234176" y="63349"/>
                        <a:pt x="230703" y="68628"/>
                      </a:cubicBezTo>
                      <a:cubicBezTo>
                        <a:pt x="227230" y="73907"/>
                        <a:pt x="227230" y="79186"/>
                        <a:pt x="223757" y="79186"/>
                      </a:cubicBezTo>
                      <a:cubicBezTo>
                        <a:pt x="223757" y="79186"/>
                        <a:pt x="223757" y="79186"/>
                        <a:pt x="220284" y="84466"/>
                      </a:cubicBezTo>
                      <a:cubicBezTo>
                        <a:pt x="216811" y="84466"/>
                        <a:pt x="216811" y="89745"/>
                        <a:pt x="209865" y="89745"/>
                      </a:cubicBezTo>
                      <a:cubicBezTo>
                        <a:pt x="202919" y="95024"/>
                        <a:pt x="199445" y="100303"/>
                        <a:pt x="195972" y="100303"/>
                      </a:cubicBezTo>
                      <a:cubicBezTo>
                        <a:pt x="195972" y="100303"/>
                        <a:pt x="189026" y="100303"/>
                        <a:pt x="185553" y="105582"/>
                      </a:cubicBezTo>
                      <a:cubicBezTo>
                        <a:pt x="182080" y="116140"/>
                        <a:pt x="175134" y="116140"/>
                        <a:pt x="168188" y="121419"/>
                      </a:cubicBezTo>
                      <a:cubicBezTo>
                        <a:pt x="164715" y="131977"/>
                        <a:pt x="154156" y="131977"/>
                        <a:pt x="150683" y="137257"/>
                      </a:cubicBezTo>
                      <a:cubicBezTo>
                        <a:pt x="147210" y="142536"/>
                        <a:pt x="147210" y="131977"/>
                        <a:pt x="143737" y="137257"/>
                      </a:cubicBezTo>
                      <a:cubicBezTo>
                        <a:pt x="136791" y="142536"/>
                        <a:pt x="122760" y="147815"/>
                        <a:pt x="119287" y="158373"/>
                      </a:cubicBezTo>
                      <a:cubicBezTo>
                        <a:pt x="112341" y="168931"/>
                        <a:pt x="105256" y="163652"/>
                        <a:pt x="101782" y="163652"/>
                      </a:cubicBezTo>
                      <a:cubicBezTo>
                        <a:pt x="101782" y="163652"/>
                        <a:pt x="98309" y="163652"/>
                        <a:pt x="94836" y="168931"/>
                      </a:cubicBezTo>
                      <a:cubicBezTo>
                        <a:pt x="91363" y="174210"/>
                        <a:pt x="84417" y="179489"/>
                        <a:pt x="80944" y="179489"/>
                      </a:cubicBezTo>
                      <a:cubicBezTo>
                        <a:pt x="80944" y="184768"/>
                        <a:pt x="73859" y="179489"/>
                        <a:pt x="66912" y="195327"/>
                      </a:cubicBezTo>
                      <a:cubicBezTo>
                        <a:pt x="63439" y="200606"/>
                        <a:pt x="53020" y="195327"/>
                        <a:pt x="39128" y="205885"/>
                      </a:cubicBezTo>
                      <a:cubicBezTo>
                        <a:pt x="28709" y="216443"/>
                        <a:pt x="25235" y="216443"/>
                        <a:pt x="28709" y="216443"/>
                      </a:cubicBezTo>
                      <a:cubicBezTo>
                        <a:pt x="28709" y="216443"/>
                        <a:pt x="14816" y="221722"/>
                        <a:pt x="18289" y="227001"/>
                      </a:cubicBezTo>
                      <a:cubicBezTo>
                        <a:pt x="14816" y="227001"/>
                        <a:pt x="7870" y="237559"/>
                        <a:pt x="7870" y="237559"/>
                      </a:cubicBezTo>
                      <a:cubicBezTo>
                        <a:pt x="4397" y="237559"/>
                        <a:pt x="-2549" y="242838"/>
                        <a:pt x="4397" y="242838"/>
                      </a:cubicBezTo>
                      <a:cubicBezTo>
                        <a:pt x="7870" y="242838"/>
                        <a:pt x="7870" y="248118"/>
                        <a:pt x="7870" y="248118"/>
                      </a:cubicBezTo>
                      <a:cubicBezTo>
                        <a:pt x="4397" y="253397"/>
                        <a:pt x="14816" y="253397"/>
                        <a:pt x="11343" y="253397"/>
                      </a:cubicBezTo>
                      <a:cubicBezTo>
                        <a:pt x="4397" y="258676"/>
                        <a:pt x="-2549" y="253397"/>
                        <a:pt x="924" y="258676"/>
                      </a:cubicBezTo>
                      <a:cubicBezTo>
                        <a:pt x="4397" y="263955"/>
                        <a:pt x="4397" y="269234"/>
                        <a:pt x="11343" y="269234"/>
                      </a:cubicBezTo>
                      <a:cubicBezTo>
                        <a:pt x="18428" y="269234"/>
                        <a:pt x="18428" y="274513"/>
                        <a:pt x="21762" y="269234"/>
                      </a:cubicBezTo>
                      <a:cubicBezTo>
                        <a:pt x="21762" y="269234"/>
                        <a:pt x="25235" y="263955"/>
                        <a:pt x="25235" y="269234"/>
                      </a:cubicBezTo>
                      <a:cubicBezTo>
                        <a:pt x="28709" y="274513"/>
                        <a:pt x="28709" y="274513"/>
                        <a:pt x="35655" y="274513"/>
                      </a:cubicBezTo>
                      <a:cubicBezTo>
                        <a:pt x="39128" y="269234"/>
                        <a:pt x="39128" y="274513"/>
                        <a:pt x="35655" y="279792"/>
                      </a:cubicBezTo>
                      <a:cubicBezTo>
                        <a:pt x="35655" y="279792"/>
                        <a:pt x="35655" y="285071"/>
                        <a:pt x="42601" y="285071"/>
                      </a:cubicBezTo>
                      <a:cubicBezTo>
                        <a:pt x="49686" y="279792"/>
                        <a:pt x="56632" y="279792"/>
                        <a:pt x="60105" y="285071"/>
                      </a:cubicBezTo>
                      <a:cubicBezTo>
                        <a:pt x="63578" y="285071"/>
                        <a:pt x="67052" y="290350"/>
                        <a:pt x="70525" y="285071"/>
                      </a:cubicBezTo>
                      <a:cubicBezTo>
                        <a:pt x="77471" y="279792"/>
                        <a:pt x="80944" y="285071"/>
                        <a:pt x="84417" y="279792"/>
                      </a:cubicBezTo>
                      <a:cubicBezTo>
                        <a:pt x="87890" y="274513"/>
                        <a:pt x="94836" y="279792"/>
                        <a:pt x="98309" y="274513"/>
                      </a:cubicBezTo>
                      <a:cubicBezTo>
                        <a:pt x="98309" y="269234"/>
                        <a:pt x="108729" y="263955"/>
                        <a:pt x="108729" y="258676"/>
                      </a:cubicBezTo>
                      <a:cubicBezTo>
                        <a:pt x="108729" y="253397"/>
                        <a:pt x="108729" y="248118"/>
                        <a:pt x="119148" y="248118"/>
                      </a:cubicBezTo>
                      <a:cubicBezTo>
                        <a:pt x="126094" y="248118"/>
                        <a:pt x="122621" y="237559"/>
                        <a:pt x="133040" y="232280"/>
                      </a:cubicBezTo>
                      <a:cubicBezTo>
                        <a:pt x="146933" y="227001"/>
                        <a:pt x="136513" y="216443"/>
                        <a:pt x="153879" y="211025"/>
                      </a:cubicBezTo>
                      <a:cubicBezTo>
                        <a:pt x="167910" y="205746"/>
                        <a:pt x="160825" y="195188"/>
                        <a:pt x="167910" y="189908"/>
                      </a:cubicBezTo>
                      <a:cubicBezTo>
                        <a:pt x="171383" y="184630"/>
                        <a:pt x="171383" y="174071"/>
                        <a:pt x="178329" y="168792"/>
                      </a:cubicBezTo>
                      <a:cubicBezTo>
                        <a:pt x="185276" y="168792"/>
                        <a:pt x="185276" y="163513"/>
                        <a:pt x="195833" y="158234"/>
                      </a:cubicBezTo>
                      <a:cubicBezTo>
                        <a:pt x="206253" y="153094"/>
                        <a:pt x="209726" y="147815"/>
                        <a:pt x="213199" y="147815"/>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3" name="Freihandform: Form 422">
                  <a:extLst>
                    <a:ext uri="{FF2B5EF4-FFF2-40B4-BE49-F238E27FC236}">
                      <a16:creationId xmlns:a16="http://schemas.microsoft.com/office/drawing/2014/main" id="{AAE9261F-987E-4B62-B39F-1D13887B96EF}"/>
                    </a:ext>
                  </a:extLst>
                </p:cNvPr>
                <p:cNvSpPr/>
                <p:nvPr/>
              </p:nvSpPr>
              <p:spPr>
                <a:xfrm>
                  <a:off x="3850212" y="3945616"/>
                  <a:ext cx="99087" cy="76940"/>
                </a:xfrm>
                <a:custGeom>
                  <a:avLst/>
                  <a:gdLst>
                    <a:gd name="connsiteX0" fmla="*/ 86549 w 99087"/>
                    <a:gd name="connsiteY0" fmla="*/ 75088 h 76940"/>
                    <a:gd name="connsiteX1" fmla="*/ 77936 w 99087"/>
                    <a:gd name="connsiteY1" fmla="*/ 70921 h 76940"/>
                    <a:gd name="connsiteX2" fmla="*/ 51957 w 99087"/>
                    <a:gd name="connsiteY2" fmla="*/ 75088 h 76940"/>
                    <a:gd name="connsiteX3" fmla="*/ 34592 w 99087"/>
                    <a:gd name="connsiteY3" fmla="*/ 70921 h 76940"/>
                    <a:gd name="connsiteX4" fmla="*/ 21533 w 99087"/>
                    <a:gd name="connsiteY4" fmla="*/ 75088 h 76940"/>
                    <a:gd name="connsiteX5" fmla="*/ 12920 w 99087"/>
                    <a:gd name="connsiteY5" fmla="*/ 75088 h 76940"/>
                    <a:gd name="connsiteX6" fmla="*/ 4307 w 99087"/>
                    <a:gd name="connsiteY6" fmla="*/ 70921 h 76940"/>
                    <a:gd name="connsiteX7" fmla="*/ 0 w 99087"/>
                    <a:gd name="connsiteY7" fmla="*/ 58139 h 76940"/>
                    <a:gd name="connsiteX8" fmla="*/ 13059 w 99087"/>
                    <a:gd name="connsiteY8" fmla="*/ 53972 h 76940"/>
                    <a:gd name="connsiteX9" fmla="*/ 30424 w 99087"/>
                    <a:gd name="connsiteY9" fmla="*/ 58139 h 76940"/>
                    <a:gd name="connsiteX10" fmla="*/ 39038 w 99087"/>
                    <a:gd name="connsiteY10" fmla="*/ 58139 h 76940"/>
                    <a:gd name="connsiteX11" fmla="*/ 56403 w 99087"/>
                    <a:gd name="connsiteY11" fmla="*/ 53972 h 76940"/>
                    <a:gd name="connsiteX12" fmla="*/ 69462 w 99087"/>
                    <a:gd name="connsiteY12" fmla="*/ 53972 h 76940"/>
                    <a:gd name="connsiteX13" fmla="*/ 60849 w 99087"/>
                    <a:gd name="connsiteY13" fmla="*/ 45497 h 76940"/>
                    <a:gd name="connsiteX14" fmla="*/ 52235 w 99087"/>
                    <a:gd name="connsiteY14" fmla="*/ 37023 h 76940"/>
                    <a:gd name="connsiteX15" fmla="*/ 52235 w 99087"/>
                    <a:gd name="connsiteY15" fmla="*/ 24381 h 76940"/>
                    <a:gd name="connsiteX16" fmla="*/ 52235 w 99087"/>
                    <a:gd name="connsiteY16" fmla="*/ 20074 h 76940"/>
                    <a:gd name="connsiteX17" fmla="*/ 43622 w 99087"/>
                    <a:gd name="connsiteY17" fmla="*/ 11600 h 76940"/>
                    <a:gd name="connsiteX18" fmla="*/ 39315 w 99087"/>
                    <a:gd name="connsiteY18" fmla="*/ 3126 h 76940"/>
                    <a:gd name="connsiteX19" fmla="*/ 52374 w 99087"/>
                    <a:gd name="connsiteY19" fmla="*/ 3126 h 76940"/>
                    <a:gd name="connsiteX20" fmla="*/ 65433 w 99087"/>
                    <a:gd name="connsiteY20" fmla="*/ 3126 h 76940"/>
                    <a:gd name="connsiteX21" fmla="*/ 78492 w 99087"/>
                    <a:gd name="connsiteY21" fmla="*/ 7432 h 76940"/>
                    <a:gd name="connsiteX22" fmla="*/ 82799 w 99087"/>
                    <a:gd name="connsiteY22" fmla="*/ 3126 h 76940"/>
                    <a:gd name="connsiteX23" fmla="*/ 95857 w 99087"/>
                    <a:gd name="connsiteY23" fmla="*/ 7432 h 76940"/>
                    <a:gd name="connsiteX24" fmla="*/ 95857 w 99087"/>
                    <a:gd name="connsiteY24" fmla="*/ 20074 h 76940"/>
                    <a:gd name="connsiteX25" fmla="*/ 95857 w 99087"/>
                    <a:gd name="connsiteY25" fmla="*/ 32717 h 76940"/>
                    <a:gd name="connsiteX26" fmla="*/ 87244 w 99087"/>
                    <a:gd name="connsiteY26" fmla="*/ 58139 h 76940"/>
                    <a:gd name="connsiteX27" fmla="*/ 86549 w 99087"/>
                    <a:gd name="connsiteY27" fmla="*/ 75088 h 7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9087" h="76940">
                      <a:moveTo>
                        <a:pt x="86549" y="75088"/>
                      </a:moveTo>
                      <a:cubicBezTo>
                        <a:pt x="86549" y="75088"/>
                        <a:pt x="82243" y="75088"/>
                        <a:pt x="77936" y="70921"/>
                      </a:cubicBezTo>
                      <a:cubicBezTo>
                        <a:pt x="69323" y="70921"/>
                        <a:pt x="60571" y="70921"/>
                        <a:pt x="51957" y="75088"/>
                      </a:cubicBezTo>
                      <a:cubicBezTo>
                        <a:pt x="43344" y="75088"/>
                        <a:pt x="38899" y="70921"/>
                        <a:pt x="34592" y="70921"/>
                      </a:cubicBezTo>
                      <a:cubicBezTo>
                        <a:pt x="25979" y="70921"/>
                        <a:pt x="21533" y="70921"/>
                        <a:pt x="21533" y="75088"/>
                      </a:cubicBezTo>
                      <a:cubicBezTo>
                        <a:pt x="17226" y="79256"/>
                        <a:pt x="17226" y="75088"/>
                        <a:pt x="12920" y="75088"/>
                      </a:cubicBezTo>
                      <a:cubicBezTo>
                        <a:pt x="12920" y="70921"/>
                        <a:pt x="8613" y="70921"/>
                        <a:pt x="4307" y="70921"/>
                      </a:cubicBezTo>
                      <a:cubicBezTo>
                        <a:pt x="-4307" y="66614"/>
                        <a:pt x="4307" y="66614"/>
                        <a:pt x="0" y="58139"/>
                      </a:cubicBezTo>
                      <a:cubicBezTo>
                        <a:pt x="0" y="53972"/>
                        <a:pt x="13059" y="53972"/>
                        <a:pt x="13059" y="53972"/>
                      </a:cubicBezTo>
                      <a:cubicBezTo>
                        <a:pt x="17365" y="58139"/>
                        <a:pt x="26118" y="53972"/>
                        <a:pt x="30424" y="58139"/>
                      </a:cubicBezTo>
                      <a:cubicBezTo>
                        <a:pt x="30424" y="58139"/>
                        <a:pt x="34731" y="53972"/>
                        <a:pt x="39038" y="58139"/>
                      </a:cubicBezTo>
                      <a:cubicBezTo>
                        <a:pt x="47651" y="58139"/>
                        <a:pt x="52096" y="53972"/>
                        <a:pt x="56403" y="53972"/>
                      </a:cubicBezTo>
                      <a:cubicBezTo>
                        <a:pt x="60710" y="49665"/>
                        <a:pt x="69462" y="53972"/>
                        <a:pt x="69462" y="53972"/>
                      </a:cubicBezTo>
                      <a:cubicBezTo>
                        <a:pt x="69462" y="53972"/>
                        <a:pt x="65155" y="49665"/>
                        <a:pt x="60849" y="45497"/>
                      </a:cubicBezTo>
                      <a:cubicBezTo>
                        <a:pt x="52235" y="41191"/>
                        <a:pt x="60849" y="41191"/>
                        <a:pt x="52235" y="37023"/>
                      </a:cubicBezTo>
                      <a:cubicBezTo>
                        <a:pt x="47929" y="28549"/>
                        <a:pt x="56542" y="28549"/>
                        <a:pt x="52235" y="24381"/>
                      </a:cubicBezTo>
                      <a:cubicBezTo>
                        <a:pt x="52235" y="24381"/>
                        <a:pt x="52235" y="24381"/>
                        <a:pt x="52235" y="20074"/>
                      </a:cubicBezTo>
                      <a:cubicBezTo>
                        <a:pt x="56542" y="15907"/>
                        <a:pt x="52235" y="11600"/>
                        <a:pt x="43622" y="11600"/>
                      </a:cubicBezTo>
                      <a:cubicBezTo>
                        <a:pt x="35009" y="11600"/>
                        <a:pt x="39315" y="7432"/>
                        <a:pt x="39315" y="3126"/>
                      </a:cubicBezTo>
                      <a:cubicBezTo>
                        <a:pt x="39315" y="-1042"/>
                        <a:pt x="52374" y="-1042"/>
                        <a:pt x="52374" y="3126"/>
                      </a:cubicBezTo>
                      <a:cubicBezTo>
                        <a:pt x="60987" y="7432"/>
                        <a:pt x="60987" y="3126"/>
                        <a:pt x="65433" y="3126"/>
                      </a:cubicBezTo>
                      <a:cubicBezTo>
                        <a:pt x="69740" y="3126"/>
                        <a:pt x="74046" y="3126"/>
                        <a:pt x="78492" y="7432"/>
                      </a:cubicBezTo>
                      <a:cubicBezTo>
                        <a:pt x="78492" y="7432"/>
                        <a:pt x="78492" y="7432"/>
                        <a:pt x="82799" y="3126"/>
                      </a:cubicBezTo>
                      <a:cubicBezTo>
                        <a:pt x="87105" y="3126"/>
                        <a:pt x="91412" y="7432"/>
                        <a:pt x="95857" y="7432"/>
                      </a:cubicBezTo>
                      <a:cubicBezTo>
                        <a:pt x="100164" y="11600"/>
                        <a:pt x="100164" y="15907"/>
                        <a:pt x="95857" y="20074"/>
                      </a:cubicBezTo>
                      <a:cubicBezTo>
                        <a:pt x="91551" y="24381"/>
                        <a:pt x="104470" y="28549"/>
                        <a:pt x="95857" y="32717"/>
                      </a:cubicBezTo>
                      <a:cubicBezTo>
                        <a:pt x="87244" y="41191"/>
                        <a:pt x="108916" y="49665"/>
                        <a:pt x="87244" y="58139"/>
                      </a:cubicBezTo>
                      <a:cubicBezTo>
                        <a:pt x="77936" y="62446"/>
                        <a:pt x="90995" y="62446"/>
                        <a:pt x="86549" y="75088"/>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4" name="Freihandform: Form 423">
                  <a:extLst>
                    <a:ext uri="{FF2B5EF4-FFF2-40B4-BE49-F238E27FC236}">
                      <a16:creationId xmlns:a16="http://schemas.microsoft.com/office/drawing/2014/main" id="{3EE1ED29-8E35-4F9E-BB51-23ED9DA2E880}"/>
                    </a:ext>
                  </a:extLst>
                </p:cNvPr>
                <p:cNvSpPr/>
                <p:nvPr/>
              </p:nvSpPr>
              <p:spPr>
                <a:xfrm>
                  <a:off x="3935856" y="3945824"/>
                  <a:ext cx="125829" cy="94884"/>
                </a:xfrm>
                <a:custGeom>
                  <a:avLst/>
                  <a:gdLst>
                    <a:gd name="connsiteX0" fmla="*/ 2990 w 125829"/>
                    <a:gd name="connsiteY0" fmla="*/ 77658 h 94884"/>
                    <a:gd name="connsiteX1" fmla="*/ 7157 w 125829"/>
                    <a:gd name="connsiteY1" fmla="*/ 86272 h 94884"/>
                    <a:gd name="connsiteX2" fmla="*/ 2990 w 125829"/>
                    <a:gd name="connsiteY2" fmla="*/ 94885 h 94884"/>
                    <a:gd name="connsiteX3" fmla="*/ 15354 w 125829"/>
                    <a:gd name="connsiteY3" fmla="*/ 94885 h 94884"/>
                    <a:gd name="connsiteX4" fmla="*/ 23550 w 125829"/>
                    <a:gd name="connsiteY4" fmla="*/ 90578 h 94884"/>
                    <a:gd name="connsiteX5" fmla="*/ 31747 w 125829"/>
                    <a:gd name="connsiteY5" fmla="*/ 81965 h 94884"/>
                    <a:gd name="connsiteX6" fmla="*/ 35914 w 125829"/>
                    <a:gd name="connsiteY6" fmla="*/ 73352 h 94884"/>
                    <a:gd name="connsiteX7" fmla="*/ 44111 w 125829"/>
                    <a:gd name="connsiteY7" fmla="*/ 69045 h 94884"/>
                    <a:gd name="connsiteX8" fmla="*/ 52307 w 125829"/>
                    <a:gd name="connsiteY8" fmla="*/ 73352 h 94884"/>
                    <a:gd name="connsiteX9" fmla="*/ 64671 w 125829"/>
                    <a:gd name="connsiteY9" fmla="*/ 69045 h 94884"/>
                    <a:gd name="connsiteX10" fmla="*/ 72868 w 125829"/>
                    <a:gd name="connsiteY10" fmla="*/ 69045 h 94884"/>
                    <a:gd name="connsiteX11" fmla="*/ 89400 w 125829"/>
                    <a:gd name="connsiteY11" fmla="*/ 64739 h 94884"/>
                    <a:gd name="connsiteX12" fmla="*/ 101764 w 125829"/>
                    <a:gd name="connsiteY12" fmla="*/ 77797 h 94884"/>
                    <a:gd name="connsiteX13" fmla="*/ 109961 w 125829"/>
                    <a:gd name="connsiteY13" fmla="*/ 73491 h 94884"/>
                    <a:gd name="connsiteX14" fmla="*/ 118157 w 125829"/>
                    <a:gd name="connsiteY14" fmla="*/ 69184 h 94884"/>
                    <a:gd name="connsiteX15" fmla="*/ 122325 w 125829"/>
                    <a:gd name="connsiteY15" fmla="*/ 56125 h 94884"/>
                    <a:gd name="connsiteX16" fmla="*/ 105793 w 125829"/>
                    <a:gd name="connsiteY16" fmla="*/ 38760 h 94884"/>
                    <a:gd name="connsiteX17" fmla="*/ 81064 w 125829"/>
                    <a:gd name="connsiteY17" fmla="*/ 34453 h 94884"/>
                    <a:gd name="connsiteX18" fmla="*/ 72868 w 125829"/>
                    <a:gd name="connsiteY18" fmla="*/ 30146 h 94884"/>
                    <a:gd name="connsiteX19" fmla="*/ 85232 w 125829"/>
                    <a:gd name="connsiteY19" fmla="*/ 30146 h 94884"/>
                    <a:gd name="connsiteX20" fmla="*/ 89400 w 125829"/>
                    <a:gd name="connsiteY20" fmla="*/ 21533 h 94884"/>
                    <a:gd name="connsiteX21" fmla="*/ 72868 w 125829"/>
                    <a:gd name="connsiteY21" fmla="*/ 21533 h 94884"/>
                    <a:gd name="connsiteX22" fmla="*/ 68700 w 125829"/>
                    <a:gd name="connsiteY22" fmla="*/ 12920 h 94884"/>
                    <a:gd name="connsiteX23" fmla="*/ 56336 w 125829"/>
                    <a:gd name="connsiteY23" fmla="*/ 12920 h 94884"/>
                    <a:gd name="connsiteX24" fmla="*/ 48140 w 125829"/>
                    <a:gd name="connsiteY24" fmla="*/ 4307 h 94884"/>
                    <a:gd name="connsiteX25" fmla="*/ 35775 w 125829"/>
                    <a:gd name="connsiteY25" fmla="*/ 0 h 94884"/>
                    <a:gd name="connsiteX26" fmla="*/ 15076 w 125829"/>
                    <a:gd name="connsiteY26" fmla="*/ 4307 h 94884"/>
                    <a:gd name="connsiteX27" fmla="*/ 10908 w 125829"/>
                    <a:gd name="connsiteY27" fmla="*/ 8613 h 94884"/>
                    <a:gd name="connsiteX28" fmla="*/ 10908 w 125829"/>
                    <a:gd name="connsiteY28" fmla="*/ 21672 h 94884"/>
                    <a:gd name="connsiteX29" fmla="*/ 10908 w 125829"/>
                    <a:gd name="connsiteY29" fmla="*/ 34731 h 94884"/>
                    <a:gd name="connsiteX30" fmla="*/ 2712 w 125829"/>
                    <a:gd name="connsiteY30" fmla="*/ 60710 h 94884"/>
                    <a:gd name="connsiteX31" fmla="*/ 2990 w 125829"/>
                    <a:gd name="connsiteY31" fmla="*/ 77658 h 9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5829" h="94884">
                      <a:moveTo>
                        <a:pt x="2990" y="77658"/>
                      </a:moveTo>
                      <a:cubicBezTo>
                        <a:pt x="7157" y="81965"/>
                        <a:pt x="7157" y="81965"/>
                        <a:pt x="7157" y="86272"/>
                      </a:cubicBezTo>
                      <a:cubicBezTo>
                        <a:pt x="7157" y="86272"/>
                        <a:pt x="-1039" y="94885"/>
                        <a:pt x="2990" y="94885"/>
                      </a:cubicBezTo>
                      <a:cubicBezTo>
                        <a:pt x="7157" y="90578"/>
                        <a:pt x="15354" y="90578"/>
                        <a:pt x="15354" y="94885"/>
                      </a:cubicBezTo>
                      <a:cubicBezTo>
                        <a:pt x="15354" y="94885"/>
                        <a:pt x="19521" y="94885"/>
                        <a:pt x="23550" y="90578"/>
                      </a:cubicBezTo>
                      <a:cubicBezTo>
                        <a:pt x="27718" y="86272"/>
                        <a:pt x="27718" y="81965"/>
                        <a:pt x="31747" y="81965"/>
                      </a:cubicBezTo>
                      <a:cubicBezTo>
                        <a:pt x="39943" y="81965"/>
                        <a:pt x="44111" y="77658"/>
                        <a:pt x="35914" y="73352"/>
                      </a:cubicBezTo>
                      <a:cubicBezTo>
                        <a:pt x="31747" y="73352"/>
                        <a:pt x="44111" y="73352"/>
                        <a:pt x="44111" y="69045"/>
                      </a:cubicBezTo>
                      <a:cubicBezTo>
                        <a:pt x="44111" y="64739"/>
                        <a:pt x="48278" y="73352"/>
                        <a:pt x="52307" y="73352"/>
                      </a:cubicBezTo>
                      <a:cubicBezTo>
                        <a:pt x="56475" y="73352"/>
                        <a:pt x="60504" y="73352"/>
                        <a:pt x="64671" y="69045"/>
                      </a:cubicBezTo>
                      <a:cubicBezTo>
                        <a:pt x="64671" y="60432"/>
                        <a:pt x="68839" y="69045"/>
                        <a:pt x="72868" y="69045"/>
                      </a:cubicBezTo>
                      <a:cubicBezTo>
                        <a:pt x="81064" y="69045"/>
                        <a:pt x="85232" y="64739"/>
                        <a:pt x="89400" y="64739"/>
                      </a:cubicBezTo>
                      <a:cubicBezTo>
                        <a:pt x="93568" y="64739"/>
                        <a:pt x="97596" y="73352"/>
                        <a:pt x="101764" y="77797"/>
                      </a:cubicBezTo>
                      <a:cubicBezTo>
                        <a:pt x="105932" y="82104"/>
                        <a:pt x="105932" y="77797"/>
                        <a:pt x="109961" y="73491"/>
                      </a:cubicBezTo>
                      <a:cubicBezTo>
                        <a:pt x="114128" y="69184"/>
                        <a:pt x="109961" y="69184"/>
                        <a:pt x="118157" y="69184"/>
                      </a:cubicBezTo>
                      <a:cubicBezTo>
                        <a:pt x="122325" y="69184"/>
                        <a:pt x="130521" y="56125"/>
                        <a:pt x="122325" y="56125"/>
                      </a:cubicBezTo>
                      <a:cubicBezTo>
                        <a:pt x="118157" y="51819"/>
                        <a:pt x="109961" y="43066"/>
                        <a:pt x="105793" y="38760"/>
                      </a:cubicBezTo>
                      <a:cubicBezTo>
                        <a:pt x="101625" y="34453"/>
                        <a:pt x="89261" y="34453"/>
                        <a:pt x="81064" y="34453"/>
                      </a:cubicBezTo>
                      <a:cubicBezTo>
                        <a:pt x="76897" y="34453"/>
                        <a:pt x="76897" y="30146"/>
                        <a:pt x="72868" y="30146"/>
                      </a:cubicBezTo>
                      <a:cubicBezTo>
                        <a:pt x="77036" y="25840"/>
                        <a:pt x="81064" y="25840"/>
                        <a:pt x="85232" y="30146"/>
                      </a:cubicBezTo>
                      <a:cubicBezTo>
                        <a:pt x="89400" y="30146"/>
                        <a:pt x="97596" y="25840"/>
                        <a:pt x="89400" y="21533"/>
                      </a:cubicBezTo>
                      <a:cubicBezTo>
                        <a:pt x="85232" y="21533"/>
                        <a:pt x="72868" y="21533"/>
                        <a:pt x="72868" y="21533"/>
                      </a:cubicBezTo>
                      <a:cubicBezTo>
                        <a:pt x="72868" y="21533"/>
                        <a:pt x="77036" y="12920"/>
                        <a:pt x="68700" y="12920"/>
                      </a:cubicBezTo>
                      <a:cubicBezTo>
                        <a:pt x="64533" y="8613"/>
                        <a:pt x="64533" y="12920"/>
                        <a:pt x="56336" y="12920"/>
                      </a:cubicBezTo>
                      <a:cubicBezTo>
                        <a:pt x="52168" y="8613"/>
                        <a:pt x="52168" y="4307"/>
                        <a:pt x="48140" y="4307"/>
                      </a:cubicBezTo>
                      <a:cubicBezTo>
                        <a:pt x="43972" y="4307"/>
                        <a:pt x="39943" y="0"/>
                        <a:pt x="35775" y="0"/>
                      </a:cubicBezTo>
                      <a:cubicBezTo>
                        <a:pt x="27579" y="4307"/>
                        <a:pt x="23411" y="0"/>
                        <a:pt x="15076" y="4307"/>
                      </a:cubicBezTo>
                      <a:cubicBezTo>
                        <a:pt x="15076" y="4307"/>
                        <a:pt x="10908" y="4307"/>
                        <a:pt x="10908" y="8613"/>
                      </a:cubicBezTo>
                      <a:cubicBezTo>
                        <a:pt x="15076" y="12920"/>
                        <a:pt x="15076" y="17227"/>
                        <a:pt x="10908" y="21672"/>
                      </a:cubicBezTo>
                      <a:cubicBezTo>
                        <a:pt x="6740" y="25979"/>
                        <a:pt x="19104" y="30285"/>
                        <a:pt x="10908" y="34731"/>
                      </a:cubicBezTo>
                      <a:cubicBezTo>
                        <a:pt x="2712" y="43344"/>
                        <a:pt x="23272" y="52096"/>
                        <a:pt x="2712" y="60710"/>
                      </a:cubicBezTo>
                      <a:cubicBezTo>
                        <a:pt x="-5207" y="64739"/>
                        <a:pt x="7157" y="64739"/>
                        <a:pt x="2990" y="77658"/>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5" name="Freihandform: Form 424">
                  <a:extLst>
                    <a:ext uri="{FF2B5EF4-FFF2-40B4-BE49-F238E27FC236}">
                      <a16:creationId xmlns:a16="http://schemas.microsoft.com/office/drawing/2014/main" id="{EE03F8A5-D913-48A9-90A0-37B92667EA3F}"/>
                    </a:ext>
                  </a:extLst>
                </p:cNvPr>
                <p:cNvSpPr/>
                <p:nvPr/>
              </p:nvSpPr>
              <p:spPr>
                <a:xfrm>
                  <a:off x="3487899" y="3793363"/>
                  <a:ext cx="403781" cy="173299"/>
                </a:xfrm>
                <a:custGeom>
                  <a:avLst/>
                  <a:gdLst>
                    <a:gd name="connsiteX0" fmla="*/ 0 w 403781"/>
                    <a:gd name="connsiteY0" fmla="*/ 64383 h 173299"/>
                    <a:gd name="connsiteX1" fmla="*/ 9586 w 403781"/>
                    <a:gd name="connsiteY1" fmla="*/ 69524 h 173299"/>
                    <a:gd name="connsiteX2" fmla="*/ 19172 w 403781"/>
                    <a:gd name="connsiteY2" fmla="*/ 64383 h 173299"/>
                    <a:gd name="connsiteX3" fmla="*/ 23895 w 403781"/>
                    <a:gd name="connsiteY3" fmla="*/ 69524 h 173299"/>
                    <a:gd name="connsiteX4" fmla="*/ 33481 w 403781"/>
                    <a:gd name="connsiteY4" fmla="*/ 64383 h 173299"/>
                    <a:gd name="connsiteX5" fmla="*/ 38204 w 403781"/>
                    <a:gd name="connsiteY5" fmla="*/ 59243 h 173299"/>
                    <a:gd name="connsiteX6" fmla="*/ 47790 w 403781"/>
                    <a:gd name="connsiteY6" fmla="*/ 48824 h 173299"/>
                    <a:gd name="connsiteX7" fmla="*/ 62099 w 403781"/>
                    <a:gd name="connsiteY7" fmla="*/ 48824 h 173299"/>
                    <a:gd name="connsiteX8" fmla="*/ 76408 w 403781"/>
                    <a:gd name="connsiteY8" fmla="*/ 38405 h 173299"/>
                    <a:gd name="connsiteX9" fmla="*/ 81131 w 403781"/>
                    <a:gd name="connsiteY9" fmla="*/ 33264 h 173299"/>
                    <a:gd name="connsiteX10" fmla="*/ 128782 w 403781"/>
                    <a:gd name="connsiteY10" fmla="*/ 33264 h 173299"/>
                    <a:gd name="connsiteX11" fmla="*/ 128782 w 403781"/>
                    <a:gd name="connsiteY11" fmla="*/ 43684 h 173299"/>
                    <a:gd name="connsiteX12" fmla="*/ 119196 w 403781"/>
                    <a:gd name="connsiteY12" fmla="*/ 43684 h 173299"/>
                    <a:gd name="connsiteX13" fmla="*/ 104887 w 403781"/>
                    <a:gd name="connsiteY13" fmla="*/ 43684 h 173299"/>
                    <a:gd name="connsiteX14" fmla="*/ 109611 w 403781"/>
                    <a:gd name="connsiteY14" fmla="*/ 48824 h 173299"/>
                    <a:gd name="connsiteX15" fmla="*/ 128643 w 403781"/>
                    <a:gd name="connsiteY15" fmla="*/ 59243 h 173299"/>
                    <a:gd name="connsiteX16" fmla="*/ 161985 w 403781"/>
                    <a:gd name="connsiteY16" fmla="*/ 59243 h 173299"/>
                    <a:gd name="connsiteX17" fmla="*/ 171571 w 403781"/>
                    <a:gd name="connsiteY17" fmla="*/ 59243 h 173299"/>
                    <a:gd name="connsiteX18" fmla="*/ 176294 w 403781"/>
                    <a:gd name="connsiteY18" fmla="*/ 64383 h 173299"/>
                    <a:gd name="connsiteX19" fmla="*/ 190603 w 403781"/>
                    <a:gd name="connsiteY19" fmla="*/ 74803 h 173299"/>
                    <a:gd name="connsiteX20" fmla="*/ 214498 w 403781"/>
                    <a:gd name="connsiteY20" fmla="*/ 85222 h 173299"/>
                    <a:gd name="connsiteX21" fmla="*/ 228807 w 403781"/>
                    <a:gd name="connsiteY21" fmla="*/ 90362 h 173299"/>
                    <a:gd name="connsiteX22" fmla="*/ 233531 w 403781"/>
                    <a:gd name="connsiteY22" fmla="*/ 90362 h 173299"/>
                    <a:gd name="connsiteX23" fmla="*/ 238254 w 403781"/>
                    <a:gd name="connsiteY23" fmla="*/ 95502 h 173299"/>
                    <a:gd name="connsiteX24" fmla="*/ 242978 w 403781"/>
                    <a:gd name="connsiteY24" fmla="*/ 116341 h 173299"/>
                    <a:gd name="connsiteX25" fmla="*/ 247701 w 403781"/>
                    <a:gd name="connsiteY25" fmla="*/ 126760 h 173299"/>
                    <a:gd name="connsiteX26" fmla="*/ 262010 w 403781"/>
                    <a:gd name="connsiteY26" fmla="*/ 131900 h 173299"/>
                    <a:gd name="connsiteX27" fmla="*/ 271596 w 403781"/>
                    <a:gd name="connsiteY27" fmla="*/ 131900 h 173299"/>
                    <a:gd name="connsiteX28" fmla="*/ 281182 w 403781"/>
                    <a:gd name="connsiteY28" fmla="*/ 137041 h 173299"/>
                    <a:gd name="connsiteX29" fmla="*/ 285905 w 403781"/>
                    <a:gd name="connsiteY29" fmla="*/ 142181 h 173299"/>
                    <a:gd name="connsiteX30" fmla="*/ 285905 w 403781"/>
                    <a:gd name="connsiteY30" fmla="*/ 152600 h 173299"/>
                    <a:gd name="connsiteX31" fmla="*/ 276319 w 403781"/>
                    <a:gd name="connsiteY31" fmla="*/ 157740 h 173299"/>
                    <a:gd name="connsiteX32" fmla="*/ 262010 w 403781"/>
                    <a:gd name="connsiteY32" fmla="*/ 168159 h 173299"/>
                    <a:gd name="connsiteX33" fmla="*/ 266733 w 403781"/>
                    <a:gd name="connsiteY33" fmla="*/ 173299 h 173299"/>
                    <a:gd name="connsiteX34" fmla="*/ 285766 w 403781"/>
                    <a:gd name="connsiteY34" fmla="*/ 173299 h 173299"/>
                    <a:gd name="connsiteX35" fmla="*/ 309661 w 403781"/>
                    <a:gd name="connsiteY35" fmla="*/ 168159 h 173299"/>
                    <a:gd name="connsiteX36" fmla="*/ 328693 w 403781"/>
                    <a:gd name="connsiteY36" fmla="*/ 168159 h 173299"/>
                    <a:gd name="connsiteX37" fmla="*/ 352588 w 403781"/>
                    <a:gd name="connsiteY37" fmla="*/ 168159 h 173299"/>
                    <a:gd name="connsiteX38" fmla="*/ 362174 w 403781"/>
                    <a:gd name="connsiteY38" fmla="*/ 168159 h 173299"/>
                    <a:gd name="connsiteX39" fmla="*/ 381206 w 403781"/>
                    <a:gd name="connsiteY39" fmla="*/ 157740 h 173299"/>
                    <a:gd name="connsiteX40" fmla="*/ 400239 w 403781"/>
                    <a:gd name="connsiteY40" fmla="*/ 157740 h 173299"/>
                    <a:gd name="connsiteX41" fmla="*/ 400239 w 403781"/>
                    <a:gd name="connsiteY41" fmla="*/ 147321 h 173299"/>
                    <a:gd name="connsiteX42" fmla="*/ 385930 w 403781"/>
                    <a:gd name="connsiteY42" fmla="*/ 142181 h 173299"/>
                    <a:gd name="connsiteX43" fmla="*/ 381206 w 403781"/>
                    <a:gd name="connsiteY43" fmla="*/ 137041 h 173299"/>
                    <a:gd name="connsiteX44" fmla="*/ 366897 w 403781"/>
                    <a:gd name="connsiteY44" fmla="*/ 131900 h 173299"/>
                    <a:gd name="connsiteX45" fmla="*/ 357311 w 403781"/>
                    <a:gd name="connsiteY45" fmla="*/ 131900 h 173299"/>
                    <a:gd name="connsiteX46" fmla="*/ 347726 w 403781"/>
                    <a:gd name="connsiteY46" fmla="*/ 126760 h 173299"/>
                    <a:gd name="connsiteX47" fmla="*/ 343003 w 403781"/>
                    <a:gd name="connsiteY47" fmla="*/ 126760 h 173299"/>
                    <a:gd name="connsiteX48" fmla="*/ 347726 w 403781"/>
                    <a:gd name="connsiteY48" fmla="*/ 116341 h 173299"/>
                    <a:gd name="connsiteX49" fmla="*/ 352449 w 403781"/>
                    <a:gd name="connsiteY49" fmla="*/ 105921 h 173299"/>
                    <a:gd name="connsiteX50" fmla="*/ 333417 w 403781"/>
                    <a:gd name="connsiteY50" fmla="*/ 100781 h 173299"/>
                    <a:gd name="connsiteX51" fmla="*/ 323831 w 403781"/>
                    <a:gd name="connsiteY51" fmla="*/ 100781 h 173299"/>
                    <a:gd name="connsiteX52" fmla="*/ 309522 w 403781"/>
                    <a:gd name="connsiteY52" fmla="*/ 95641 h 173299"/>
                    <a:gd name="connsiteX53" fmla="*/ 280903 w 403781"/>
                    <a:gd name="connsiteY53" fmla="*/ 74803 h 173299"/>
                    <a:gd name="connsiteX54" fmla="*/ 271318 w 403781"/>
                    <a:gd name="connsiteY54" fmla="*/ 79943 h 173299"/>
                    <a:gd name="connsiteX55" fmla="*/ 271318 w 403781"/>
                    <a:gd name="connsiteY55" fmla="*/ 74803 h 173299"/>
                    <a:gd name="connsiteX56" fmla="*/ 261732 w 403781"/>
                    <a:gd name="connsiteY56" fmla="*/ 64383 h 173299"/>
                    <a:gd name="connsiteX57" fmla="*/ 257009 w 403781"/>
                    <a:gd name="connsiteY57" fmla="*/ 64383 h 173299"/>
                    <a:gd name="connsiteX58" fmla="*/ 242699 w 403781"/>
                    <a:gd name="connsiteY58" fmla="*/ 59243 h 173299"/>
                    <a:gd name="connsiteX59" fmla="*/ 228391 w 403781"/>
                    <a:gd name="connsiteY59" fmla="*/ 43684 h 173299"/>
                    <a:gd name="connsiteX60" fmla="*/ 209358 w 403781"/>
                    <a:gd name="connsiteY60" fmla="*/ 33264 h 173299"/>
                    <a:gd name="connsiteX61" fmla="*/ 195049 w 403781"/>
                    <a:gd name="connsiteY61" fmla="*/ 22845 h 173299"/>
                    <a:gd name="connsiteX62" fmla="*/ 185463 w 403781"/>
                    <a:gd name="connsiteY62" fmla="*/ 17705 h 173299"/>
                    <a:gd name="connsiteX63" fmla="*/ 166431 w 403781"/>
                    <a:gd name="connsiteY63" fmla="*/ 12565 h 173299"/>
                    <a:gd name="connsiteX64" fmla="*/ 156845 w 403781"/>
                    <a:gd name="connsiteY64" fmla="*/ 7425 h 173299"/>
                    <a:gd name="connsiteX65" fmla="*/ 137812 w 403781"/>
                    <a:gd name="connsiteY65" fmla="*/ 2284 h 173299"/>
                    <a:gd name="connsiteX66" fmla="*/ 104471 w 403781"/>
                    <a:gd name="connsiteY66" fmla="*/ 2284 h 173299"/>
                    <a:gd name="connsiteX67" fmla="*/ 80576 w 403781"/>
                    <a:gd name="connsiteY67" fmla="*/ 2284 h 173299"/>
                    <a:gd name="connsiteX68" fmla="*/ 61543 w 403781"/>
                    <a:gd name="connsiteY68" fmla="*/ 12704 h 173299"/>
                    <a:gd name="connsiteX69" fmla="*/ 32925 w 403781"/>
                    <a:gd name="connsiteY69" fmla="*/ 23123 h 173299"/>
                    <a:gd name="connsiteX70" fmla="*/ 28202 w 403781"/>
                    <a:gd name="connsiteY70" fmla="*/ 28263 h 173299"/>
                    <a:gd name="connsiteX71" fmla="*/ 18616 w 403781"/>
                    <a:gd name="connsiteY71" fmla="*/ 43823 h 173299"/>
                    <a:gd name="connsiteX72" fmla="*/ 23339 w 403781"/>
                    <a:gd name="connsiteY72" fmla="*/ 54242 h 173299"/>
                    <a:gd name="connsiteX73" fmla="*/ 13753 w 403781"/>
                    <a:gd name="connsiteY73" fmla="*/ 59382 h 173299"/>
                    <a:gd name="connsiteX74" fmla="*/ 0 w 403781"/>
                    <a:gd name="connsiteY74" fmla="*/ 64383 h 17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03781" h="173299">
                      <a:moveTo>
                        <a:pt x="0" y="64383"/>
                      </a:moveTo>
                      <a:cubicBezTo>
                        <a:pt x="0" y="69524"/>
                        <a:pt x="4723" y="74803"/>
                        <a:pt x="9586" y="69524"/>
                      </a:cubicBezTo>
                      <a:cubicBezTo>
                        <a:pt x="14309" y="64383"/>
                        <a:pt x="23895" y="59104"/>
                        <a:pt x="19172" y="64383"/>
                      </a:cubicBezTo>
                      <a:cubicBezTo>
                        <a:pt x="14448" y="69524"/>
                        <a:pt x="19172" y="69524"/>
                        <a:pt x="23895" y="69524"/>
                      </a:cubicBezTo>
                      <a:cubicBezTo>
                        <a:pt x="28618" y="64383"/>
                        <a:pt x="28618" y="64383"/>
                        <a:pt x="33481" y="64383"/>
                      </a:cubicBezTo>
                      <a:cubicBezTo>
                        <a:pt x="38204" y="64383"/>
                        <a:pt x="43066" y="59243"/>
                        <a:pt x="38204" y="59243"/>
                      </a:cubicBezTo>
                      <a:cubicBezTo>
                        <a:pt x="33481" y="54103"/>
                        <a:pt x="38204" y="48824"/>
                        <a:pt x="47790" y="48824"/>
                      </a:cubicBezTo>
                      <a:cubicBezTo>
                        <a:pt x="52513" y="48824"/>
                        <a:pt x="57376" y="48824"/>
                        <a:pt x="62099" y="48824"/>
                      </a:cubicBezTo>
                      <a:cubicBezTo>
                        <a:pt x="71685" y="43684"/>
                        <a:pt x="71685" y="43684"/>
                        <a:pt x="76408" y="38405"/>
                      </a:cubicBezTo>
                      <a:cubicBezTo>
                        <a:pt x="81131" y="33264"/>
                        <a:pt x="76408" y="33264"/>
                        <a:pt x="81131" y="33264"/>
                      </a:cubicBezTo>
                      <a:cubicBezTo>
                        <a:pt x="90717" y="28124"/>
                        <a:pt x="124059" y="33264"/>
                        <a:pt x="128782" y="33264"/>
                      </a:cubicBezTo>
                      <a:cubicBezTo>
                        <a:pt x="133506" y="38405"/>
                        <a:pt x="138368" y="43684"/>
                        <a:pt x="128782" y="43684"/>
                      </a:cubicBezTo>
                      <a:cubicBezTo>
                        <a:pt x="124059" y="43684"/>
                        <a:pt x="124059" y="43684"/>
                        <a:pt x="119196" y="43684"/>
                      </a:cubicBezTo>
                      <a:cubicBezTo>
                        <a:pt x="114473" y="43684"/>
                        <a:pt x="104887" y="43684"/>
                        <a:pt x="104887" y="43684"/>
                      </a:cubicBezTo>
                      <a:cubicBezTo>
                        <a:pt x="104887" y="48824"/>
                        <a:pt x="109611" y="48824"/>
                        <a:pt x="109611" y="48824"/>
                      </a:cubicBezTo>
                      <a:cubicBezTo>
                        <a:pt x="114334" y="53964"/>
                        <a:pt x="123920" y="59243"/>
                        <a:pt x="128643" y="59243"/>
                      </a:cubicBezTo>
                      <a:cubicBezTo>
                        <a:pt x="133367" y="54103"/>
                        <a:pt x="152538" y="59243"/>
                        <a:pt x="161985" y="59243"/>
                      </a:cubicBezTo>
                      <a:cubicBezTo>
                        <a:pt x="161985" y="54103"/>
                        <a:pt x="166708" y="59243"/>
                        <a:pt x="171571" y="59243"/>
                      </a:cubicBezTo>
                      <a:cubicBezTo>
                        <a:pt x="176294" y="54103"/>
                        <a:pt x="166847" y="64383"/>
                        <a:pt x="176294" y="64383"/>
                      </a:cubicBezTo>
                      <a:cubicBezTo>
                        <a:pt x="185880" y="69524"/>
                        <a:pt x="181017" y="69524"/>
                        <a:pt x="190603" y="74803"/>
                      </a:cubicBezTo>
                      <a:cubicBezTo>
                        <a:pt x="200189" y="79943"/>
                        <a:pt x="209636" y="85222"/>
                        <a:pt x="214498" y="85222"/>
                      </a:cubicBezTo>
                      <a:cubicBezTo>
                        <a:pt x="219221" y="85222"/>
                        <a:pt x="228807" y="90362"/>
                        <a:pt x="228807" y="90362"/>
                      </a:cubicBezTo>
                      <a:cubicBezTo>
                        <a:pt x="228807" y="85222"/>
                        <a:pt x="233531" y="85222"/>
                        <a:pt x="233531" y="90362"/>
                      </a:cubicBezTo>
                      <a:cubicBezTo>
                        <a:pt x="233531" y="90362"/>
                        <a:pt x="238254" y="90362"/>
                        <a:pt x="238254" y="95502"/>
                      </a:cubicBezTo>
                      <a:cubicBezTo>
                        <a:pt x="238254" y="105921"/>
                        <a:pt x="242978" y="111062"/>
                        <a:pt x="242978" y="116341"/>
                      </a:cubicBezTo>
                      <a:cubicBezTo>
                        <a:pt x="238254" y="121481"/>
                        <a:pt x="242978" y="116341"/>
                        <a:pt x="247701" y="126760"/>
                      </a:cubicBezTo>
                      <a:cubicBezTo>
                        <a:pt x="252424" y="131900"/>
                        <a:pt x="257286" y="131900"/>
                        <a:pt x="262010" y="131900"/>
                      </a:cubicBezTo>
                      <a:cubicBezTo>
                        <a:pt x="266733" y="131900"/>
                        <a:pt x="266733" y="137041"/>
                        <a:pt x="271596" y="131900"/>
                      </a:cubicBezTo>
                      <a:cubicBezTo>
                        <a:pt x="276319" y="131900"/>
                        <a:pt x="285905" y="131900"/>
                        <a:pt x="281182" y="137041"/>
                      </a:cubicBezTo>
                      <a:cubicBezTo>
                        <a:pt x="281182" y="137041"/>
                        <a:pt x="281182" y="142181"/>
                        <a:pt x="285905" y="142181"/>
                      </a:cubicBezTo>
                      <a:cubicBezTo>
                        <a:pt x="290628" y="147321"/>
                        <a:pt x="290628" y="142181"/>
                        <a:pt x="285905" y="152600"/>
                      </a:cubicBezTo>
                      <a:cubicBezTo>
                        <a:pt x="281182" y="157740"/>
                        <a:pt x="281182" y="152600"/>
                        <a:pt x="276319" y="157740"/>
                      </a:cubicBezTo>
                      <a:cubicBezTo>
                        <a:pt x="266733" y="162880"/>
                        <a:pt x="266733" y="162880"/>
                        <a:pt x="262010" y="168159"/>
                      </a:cubicBezTo>
                      <a:cubicBezTo>
                        <a:pt x="257286" y="173438"/>
                        <a:pt x="252424" y="173299"/>
                        <a:pt x="266733" y="173299"/>
                      </a:cubicBezTo>
                      <a:cubicBezTo>
                        <a:pt x="285766" y="173299"/>
                        <a:pt x="281042" y="168159"/>
                        <a:pt x="285766" y="173299"/>
                      </a:cubicBezTo>
                      <a:cubicBezTo>
                        <a:pt x="295352" y="173299"/>
                        <a:pt x="300075" y="168159"/>
                        <a:pt x="309661" y="168159"/>
                      </a:cubicBezTo>
                      <a:cubicBezTo>
                        <a:pt x="328693" y="168159"/>
                        <a:pt x="319246" y="163019"/>
                        <a:pt x="328693" y="168159"/>
                      </a:cubicBezTo>
                      <a:cubicBezTo>
                        <a:pt x="343003" y="168159"/>
                        <a:pt x="347726" y="173299"/>
                        <a:pt x="352588" y="168159"/>
                      </a:cubicBezTo>
                      <a:cubicBezTo>
                        <a:pt x="357311" y="163019"/>
                        <a:pt x="352588" y="168159"/>
                        <a:pt x="362174" y="168159"/>
                      </a:cubicBezTo>
                      <a:cubicBezTo>
                        <a:pt x="371760" y="163019"/>
                        <a:pt x="371760" y="157740"/>
                        <a:pt x="381206" y="157740"/>
                      </a:cubicBezTo>
                      <a:cubicBezTo>
                        <a:pt x="385930" y="157740"/>
                        <a:pt x="390792" y="157740"/>
                        <a:pt x="400239" y="157740"/>
                      </a:cubicBezTo>
                      <a:cubicBezTo>
                        <a:pt x="404962" y="152600"/>
                        <a:pt x="404962" y="152600"/>
                        <a:pt x="400239" y="147321"/>
                      </a:cubicBezTo>
                      <a:cubicBezTo>
                        <a:pt x="395515" y="142181"/>
                        <a:pt x="390653" y="147321"/>
                        <a:pt x="385930" y="142181"/>
                      </a:cubicBezTo>
                      <a:cubicBezTo>
                        <a:pt x="381206" y="131761"/>
                        <a:pt x="381206" y="137041"/>
                        <a:pt x="381206" y="137041"/>
                      </a:cubicBezTo>
                      <a:cubicBezTo>
                        <a:pt x="376483" y="131900"/>
                        <a:pt x="371621" y="137041"/>
                        <a:pt x="366897" y="131900"/>
                      </a:cubicBezTo>
                      <a:cubicBezTo>
                        <a:pt x="362174" y="126760"/>
                        <a:pt x="357311" y="131900"/>
                        <a:pt x="357311" y="131900"/>
                      </a:cubicBezTo>
                      <a:cubicBezTo>
                        <a:pt x="357311" y="126760"/>
                        <a:pt x="347726" y="131900"/>
                        <a:pt x="347726" y="126760"/>
                      </a:cubicBezTo>
                      <a:cubicBezTo>
                        <a:pt x="347726" y="126760"/>
                        <a:pt x="333417" y="126760"/>
                        <a:pt x="343003" y="126760"/>
                      </a:cubicBezTo>
                      <a:cubicBezTo>
                        <a:pt x="347726" y="121620"/>
                        <a:pt x="352588" y="121620"/>
                        <a:pt x="347726" y="116341"/>
                      </a:cubicBezTo>
                      <a:cubicBezTo>
                        <a:pt x="343003" y="111201"/>
                        <a:pt x="357311" y="111201"/>
                        <a:pt x="352449" y="105921"/>
                      </a:cubicBezTo>
                      <a:cubicBezTo>
                        <a:pt x="347726" y="100781"/>
                        <a:pt x="342863" y="105921"/>
                        <a:pt x="333417" y="100781"/>
                      </a:cubicBezTo>
                      <a:cubicBezTo>
                        <a:pt x="328693" y="100781"/>
                        <a:pt x="333417" y="105921"/>
                        <a:pt x="323831" y="100781"/>
                      </a:cubicBezTo>
                      <a:cubicBezTo>
                        <a:pt x="319107" y="100781"/>
                        <a:pt x="314245" y="95641"/>
                        <a:pt x="309522" y="95641"/>
                      </a:cubicBezTo>
                      <a:cubicBezTo>
                        <a:pt x="299936" y="95641"/>
                        <a:pt x="285627" y="74803"/>
                        <a:pt x="280903" y="74803"/>
                      </a:cubicBezTo>
                      <a:cubicBezTo>
                        <a:pt x="271318" y="74803"/>
                        <a:pt x="280903" y="79943"/>
                        <a:pt x="271318" y="79943"/>
                      </a:cubicBezTo>
                      <a:cubicBezTo>
                        <a:pt x="266595" y="74803"/>
                        <a:pt x="280903" y="79943"/>
                        <a:pt x="271318" y="74803"/>
                      </a:cubicBezTo>
                      <a:cubicBezTo>
                        <a:pt x="266595" y="69663"/>
                        <a:pt x="266595" y="64383"/>
                        <a:pt x="261732" y="64383"/>
                      </a:cubicBezTo>
                      <a:cubicBezTo>
                        <a:pt x="257009" y="59243"/>
                        <a:pt x="261732" y="69524"/>
                        <a:pt x="257009" y="64383"/>
                      </a:cubicBezTo>
                      <a:cubicBezTo>
                        <a:pt x="257009" y="64383"/>
                        <a:pt x="252285" y="64383"/>
                        <a:pt x="242699" y="59243"/>
                      </a:cubicBezTo>
                      <a:cubicBezTo>
                        <a:pt x="228391" y="48824"/>
                        <a:pt x="233114" y="48824"/>
                        <a:pt x="228391" y="43684"/>
                      </a:cubicBezTo>
                      <a:cubicBezTo>
                        <a:pt x="218805" y="38544"/>
                        <a:pt x="218805" y="33264"/>
                        <a:pt x="209358" y="33264"/>
                      </a:cubicBezTo>
                      <a:cubicBezTo>
                        <a:pt x="199911" y="33264"/>
                        <a:pt x="195049" y="28124"/>
                        <a:pt x="195049" y="22845"/>
                      </a:cubicBezTo>
                      <a:cubicBezTo>
                        <a:pt x="195049" y="17705"/>
                        <a:pt x="190325" y="17705"/>
                        <a:pt x="185463" y="17705"/>
                      </a:cubicBezTo>
                      <a:cubicBezTo>
                        <a:pt x="175877" y="12565"/>
                        <a:pt x="175877" y="12565"/>
                        <a:pt x="166431" y="12565"/>
                      </a:cubicBezTo>
                      <a:cubicBezTo>
                        <a:pt x="156984" y="12565"/>
                        <a:pt x="161707" y="7425"/>
                        <a:pt x="156845" y="7425"/>
                      </a:cubicBezTo>
                      <a:cubicBezTo>
                        <a:pt x="152121" y="12565"/>
                        <a:pt x="156845" y="7425"/>
                        <a:pt x="137812" y="2284"/>
                      </a:cubicBezTo>
                      <a:cubicBezTo>
                        <a:pt x="113917" y="2284"/>
                        <a:pt x="109194" y="-2856"/>
                        <a:pt x="104471" y="2284"/>
                      </a:cubicBezTo>
                      <a:cubicBezTo>
                        <a:pt x="99747" y="7425"/>
                        <a:pt x="104471" y="-2856"/>
                        <a:pt x="80576" y="2284"/>
                      </a:cubicBezTo>
                      <a:cubicBezTo>
                        <a:pt x="56681" y="7425"/>
                        <a:pt x="66267" y="12704"/>
                        <a:pt x="61543" y="12704"/>
                      </a:cubicBezTo>
                      <a:cubicBezTo>
                        <a:pt x="56820" y="12704"/>
                        <a:pt x="32925" y="17844"/>
                        <a:pt x="32925" y="23123"/>
                      </a:cubicBezTo>
                      <a:cubicBezTo>
                        <a:pt x="32925" y="28263"/>
                        <a:pt x="32925" y="23123"/>
                        <a:pt x="28202" y="28263"/>
                      </a:cubicBezTo>
                      <a:cubicBezTo>
                        <a:pt x="18616" y="33403"/>
                        <a:pt x="13892" y="33403"/>
                        <a:pt x="18616" y="43823"/>
                      </a:cubicBezTo>
                      <a:cubicBezTo>
                        <a:pt x="18616" y="48963"/>
                        <a:pt x="28202" y="48963"/>
                        <a:pt x="23339" y="54242"/>
                      </a:cubicBezTo>
                      <a:cubicBezTo>
                        <a:pt x="18616" y="59382"/>
                        <a:pt x="18616" y="54242"/>
                        <a:pt x="13753" y="59382"/>
                      </a:cubicBezTo>
                      <a:cubicBezTo>
                        <a:pt x="9586" y="64383"/>
                        <a:pt x="4723" y="64383"/>
                        <a:pt x="0" y="64383"/>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6" name="Freihandform: Form 425">
                  <a:extLst>
                    <a:ext uri="{FF2B5EF4-FFF2-40B4-BE49-F238E27FC236}">
                      <a16:creationId xmlns:a16="http://schemas.microsoft.com/office/drawing/2014/main" id="{A3298BAA-77B3-4ED6-9968-8F6736ABF83B}"/>
                    </a:ext>
                  </a:extLst>
                </p:cNvPr>
                <p:cNvSpPr/>
                <p:nvPr/>
              </p:nvSpPr>
              <p:spPr>
                <a:xfrm>
                  <a:off x="3697540" y="4002922"/>
                  <a:ext cx="87655" cy="49698"/>
                </a:xfrm>
                <a:custGeom>
                  <a:avLst/>
                  <a:gdLst>
                    <a:gd name="connsiteX0" fmla="*/ 42506 w 87655"/>
                    <a:gd name="connsiteY0" fmla="*/ 47512 h 49698"/>
                    <a:gd name="connsiteX1" fmla="*/ 28891 w 87655"/>
                    <a:gd name="connsiteY1" fmla="*/ 36953 h 49698"/>
                    <a:gd name="connsiteX2" fmla="*/ 19861 w 87655"/>
                    <a:gd name="connsiteY2" fmla="*/ 26395 h 49698"/>
                    <a:gd name="connsiteX3" fmla="*/ 10831 w 87655"/>
                    <a:gd name="connsiteY3" fmla="*/ 15837 h 49698"/>
                    <a:gd name="connsiteX4" fmla="*/ 1801 w 87655"/>
                    <a:gd name="connsiteY4" fmla="*/ 5279 h 49698"/>
                    <a:gd name="connsiteX5" fmla="*/ 24307 w 87655"/>
                    <a:gd name="connsiteY5" fmla="*/ 0 h 49698"/>
                    <a:gd name="connsiteX6" fmla="*/ 37921 w 87655"/>
                    <a:gd name="connsiteY6" fmla="*/ 5279 h 49698"/>
                    <a:gd name="connsiteX7" fmla="*/ 55981 w 87655"/>
                    <a:gd name="connsiteY7" fmla="*/ 10558 h 49698"/>
                    <a:gd name="connsiteX8" fmla="*/ 74041 w 87655"/>
                    <a:gd name="connsiteY8" fmla="*/ 21116 h 49698"/>
                    <a:gd name="connsiteX9" fmla="*/ 87656 w 87655"/>
                    <a:gd name="connsiteY9" fmla="*/ 31675 h 49698"/>
                    <a:gd name="connsiteX10" fmla="*/ 74041 w 87655"/>
                    <a:gd name="connsiteY10" fmla="*/ 36953 h 49698"/>
                    <a:gd name="connsiteX11" fmla="*/ 60427 w 87655"/>
                    <a:gd name="connsiteY11" fmla="*/ 36953 h 49698"/>
                    <a:gd name="connsiteX12" fmla="*/ 51397 w 87655"/>
                    <a:gd name="connsiteY12" fmla="*/ 36953 h 49698"/>
                    <a:gd name="connsiteX13" fmla="*/ 46951 w 87655"/>
                    <a:gd name="connsiteY13" fmla="*/ 42233 h 49698"/>
                    <a:gd name="connsiteX14" fmla="*/ 42367 w 87655"/>
                    <a:gd name="connsiteY14" fmla="*/ 42233 h 49698"/>
                    <a:gd name="connsiteX15" fmla="*/ 42506 w 87655"/>
                    <a:gd name="connsiteY15" fmla="*/ 47512 h 4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655" h="49698">
                      <a:moveTo>
                        <a:pt x="42506" y="47512"/>
                      </a:moveTo>
                      <a:cubicBezTo>
                        <a:pt x="37921" y="42233"/>
                        <a:pt x="33476" y="36953"/>
                        <a:pt x="28891" y="36953"/>
                      </a:cubicBezTo>
                      <a:cubicBezTo>
                        <a:pt x="24307" y="36953"/>
                        <a:pt x="24307" y="31675"/>
                        <a:pt x="19861" y="26395"/>
                      </a:cubicBezTo>
                      <a:cubicBezTo>
                        <a:pt x="15277" y="21116"/>
                        <a:pt x="15277" y="15837"/>
                        <a:pt x="10831" y="15837"/>
                      </a:cubicBezTo>
                      <a:cubicBezTo>
                        <a:pt x="1801" y="15837"/>
                        <a:pt x="-2783" y="10558"/>
                        <a:pt x="1801" y="5279"/>
                      </a:cubicBezTo>
                      <a:cubicBezTo>
                        <a:pt x="15416" y="0"/>
                        <a:pt x="19861" y="5279"/>
                        <a:pt x="24307" y="0"/>
                      </a:cubicBezTo>
                      <a:cubicBezTo>
                        <a:pt x="24307" y="0"/>
                        <a:pt x="28891" y="0"/>
                        <a:pt x="37921" y="5279"/>
                      </a:cubicBezTo>
                      <a:cubicBezTo>
                        <a:pt x="46951" y="5279"/>
                        <a:pt x="51536" y="5279"/>
                        <a:pt x="55981" y="10558"/>
                      </a:cubicBezTo>
                      <a:cubicBezTo>
                        <a:pt x="60566" y="10558"/>
                        <a:pt x="65011" y="21116"/>
                        <a:pt x="74041" y="21116"/>
                      </a:cubicBezTo>
                      <a:cubicBezTo>
                        <a:pt x="83071" y="21116"/>
                        <a:pt x="83071" y="26395"/>
                        <a:pt x="87656" y="31675"/>
                      </a:cubicBezTo>
                      <a:cubicBezTo>
                        <a:pt x="87656" y="36953"/>
                        <a:pt x="83071" y="36953"/>
                        <a:pt x="74041" y="36953"/>
                      </a:cubicBezTo>
                      <a:cubicBezTo>
                        <a:pt x="69457" y="42233"/>
                        <a:pt x="65011" y="42233"/>
                        <a:pt x="60427" y="36953"/>
                      </a:cubicBezTo>
                      <a:cubicBezTo>
                        <a:pt x="55843" y="36953"/>
                        <a:pt x="51397" y="31675"/>
                        <a:pt x="51397" y="36953"/>
                      </a:cubicBezTo>
                      <a:cubicBezTo>
                        <a:pt x="55981" y="42233"/>
                        <a:pt x="46951" y="47512"/>
                        <a:pt x="46951" y="42233"/>
                      </a:cubicBezTo>
                      <a:cubicBezTo>
                        <a:pt x="42367" y="36953"/>
                        <a:pt x="42367" y="42233"/>
                        <a:pt x="42367" y="42233"/>
                      </a:cubicBezTo>
                      <a:cubicBezTo>
                        <a:pt x="42506" y="47512"/>
                        <a:pt x="46951" y="52791"/>
                        <a:pt x="42506" y="47512"/>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7" name="Freihandform: Form 426">
                  <a:extLst>
                    <a:ext uri="{FF2B5EF4-FFF2-40B4-BE49-F238E27FC236}">
                      <a16:creationId xmlns:a16="http://schemas.microsoft.com/office/drawing/2014/main" id="{13F07D37-0614-45A0-8C42-C1EDF03EBC94}"/>
                    </a:ext>
                  </a:extLst>
                </p:cNvPr>
                <p:cNvSpPr/>
                <p:nvPr/>
              </p:nvSpPr>
              <p:spPr>
                <a:xfrm>
                  <a:off x="4098057" y="4012090"/>
                  <a:ext cx="59110" cy="21270"/>
                </a:xfrm>
                <a:custGeom>
                  <a:avLst/>
                  <a:gdLst>
                    <a:gd name="connsiteX0" fmla="*/ 9997 w 59110"/>
                    <a:gd name="connsiteY0" fmla="*/ 139 h 21270"/>
                    <a:gd name="connsiteX1" fmla="*/ 1245 w 59110"/>
                    <a:gd name="connsiteY1" fmla="*/ 4862 h 21270"/>
                    <a:gd name="connsiteX2" fmla="*/ 5690 w 59110"/>
                    <a:gd name="connsiteY2" fmla="*/ 9586 h 21270"/>
                    <a:gd name="connsiteX3" fmla="*/ 5690 w 59110"/>
                    <a:gd name="connsiteY3" fmla="*/ 19172 h 21270"/>
                    <a:gd name="connsiteX4" fmla="*/ 14442 w 59110"/>
                    <a:gd name="connsiteY4" fmla="*/ 19172 h 21270"/>
                    <a:gd name="connsiteX5" fmla="*/ 32086 w 59110"/>
                    <a:gd name="connsiteY5" fmla="*/ 19172 h 21270"/>
                    <a:gd name="connsiteX6" fmla="*/ 45283 w 59110"/>
                    <a:gd name="connsiteY6" fmla="*/ 19172 h 21270"/>
                    <a:gd name="connsiteX7" fmla="*/ 54036 w 59110"/>
                    <a:gd name="connsiteY7" fmla="*/ 9586 h 21270"/>
                    <a:gd name="connsiteX8" fmla="*/ 54036 w 59110"/>
                    <a:gd name="connsiteY8" fmla="*/ 0 h 21270"/>
                    <a:gd name="connsiteX9" fmla="*/ 40838 w 59110"/>
                    <a:gd name="connsiteY9" fmla="*/ 0 h 21270"/>
                    <a:gd name="connsiteX10" fmla="*/ 9997 w 59110"/>
                    <a:gd name="connsiteY10" fmla="*/ 139 h 2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110" h="21270">
                      <a:moveTo>
                        <a:pt x="9997" y="139"/>
                      </a:moveTo>
                      <a:cubicBezTo>
                        <a:pt x="1245" y="139"/>
                        <a:pt x="9997" y="4862"/>
                        <a:pt x="1245" y="4862"/>
                      </a:cubicBezTo>
                      <a:cubicBezTo>
                        <a:pt x="-3201" y="4862"/>
                        <a:pt x="5690" y="4862"/>
                        <a:pt x="5690" y="9586"/>
                      </a:cubicBezTo>
                      <a:cubicBezTo>
                        <a:pt x="5690" y="14309"/>
                        <a:pt x="1245" y="19172"/>
                        <a:pt x="5690" y="19172"/>
                      </a:cubicBezTo>
                      <a:cubicBezTo>
                        <a:pt x="10136" y="23895"/>
                        <a:pt x="14442" y="19172"/>
                        <a:pt x="14442" y="19172"/>
                      </a:cubicBezTo>
                      <a:cubicBezTo>
                        <a:pt x="18888" y="23895"/>
                        <a:pt x="27640" y="19172"/>
                        <a:pt x="32086" y="19172"/>
                      </a:cubicBezTo>
                      <a:cubicBezTo>
                        <a:pt x="40838" y="19172"/>
                        <a:pt x="40838" y="23895"/>
                        <a:pt x="45283" y="19172"/>
                      </a:cubicBezTo>
                      <a:cubicBezTo>
                        <a:pt x="54036" y="14448"/>
                        <a:pt x="49729" y="14448"/>
                        <a:pt x="54036" y="9586"/>
                      </a:cubicBezTo>
                      <a:cubicBezTo>
                        <a:pt x="62788" y="9586"/>
                        <a:pt x="58481" y="4862"/>
                        <a:pt x="54036" y="0"/>
                      </a:cubicBezTo>
                      <a:cubicBezTo>
                        <a:pt x="49590" y="0"/>
                        <a:pt x="49590" y="4724"/>
                        <a:pt x="40838" y="0"/>
                      </a:cubicBezTo>
                      <a:cubicBezTo>
                        <a:pt x="27640" y="139"/>
                        <a:pt x="36392" y="139"/>
                        <a:pt x="9997" y="139"/>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8" name="Freihandform: Form 427">
                  <a:extLst>
                    <a:ext uri="{FF2B5EF4-FFF2-40B4-BE49-F238E27FC236}">
                      <a16:creationId xmlns:a16="http://schemas.microsoft.com/office/drawing/2014/main" id="{CE507C28-1CA5-4722-B59E-E2A2A5F33724}"/>
                    </a:ext>
                  </a:extLst>
                </p:cNvPr>
                <p:cNvSpPr/>
                <p:nvPr/>
              </p:nvSpPr>
              <p:spPr>
                <a:xfrm>
                  <a:off x="3630851" y="3793008"/>
                  <a:ext cx="28618" cy="18893"/>
                </a:xfrm>
                <a:custGeom>
                  <a:avLst/>
                  <a:gdLst>
                    <a:gd name="connsiteX0" fmla="*/ 14309 w 28618"/>
                    <a:gd name="connsiteY0" fmla="*/ 0 h 18893"/>
                    <a:gd name="connsiteX1" fmla="*/ 4723 w 28618"/>
                    <a:gd name="connsiteY1" fmla="*/ 3751 h 18893"/>
                    <a:gd name="connsiteX2" fmla="*/ 9447 w 28618"/>
                    <a:gd name="connsiteY2" fmla="*/ 7502 h 18893"/>
                    <a:gd name="connsiteX3" fmla="*/ 9447 w 28618"/>
                    <a:gd name="connsiteY3" fmla="*/ 11253 h 18893"/>
                    <a:gd name="connsiteX4" fmla="*/ 9447 w 28618"/>
                    <a:gd name="connsiteY4" fmla="*/ 11253 h 18893"/>
                    <a:gd name="connsiteX5" fmla="*/ 4723 w 28618"/>
                    <a:gd name="connsiteY5" fmla="*/ 11253 h 18893"/>
                    <a:gd name="connsiteX6" fmla="*/ 0 w 28618"/>
                    <a:gd name="connsiteY6" fmla="*/ 11253 h 18893"/>
                    <a:gd name="connsiteX7" fmla="*/ 0 w 28618"/>
                    <a:gd name="connsiteY7" fmla="*/ 11253 h 18893"/>
                    <a:gd name="connsiteX8" fmla="*/ 14309 w 28618"/>
                    <a:gd name="connsiteY8" fmla="*/ 18894 h 18893"/>
                    <a:gd name="connsiteX9" fmla="*/ 23895 w 28618"/>
                    <a:gd name="connsiteY9" fmla="*/ 15143 h 18893"/>
                    <a:gd name="connsiteX10" fmla="*/ 23895 w 28618"/>
                    <a:gd name="connsiteY10" fmla="*/ 11392 h 18893"/>
                    <a:gd name="connsiteX11" fmla="*/ 28618 w 28618"/>
                    <a:gd name="connsiteY11" fmla="*/ 7641 h 18893"/>
                    <a:gd name="connsiteX12" fmla="*/ 23895 w 28618"/>
                    <a:gd name="connsiteY12" fmla="*/ 7641 h 18893"/>
                    <a:gd name="connsiteX13" fmla="*/ 23895 w 28618"/>
                    <a:gd name="connsiteY13" fmla="*/ 3890 h 18893"/>
                    <a:gd name="connsiteX14" fmla="*/ 23895 w 28618"/>
                    <a:gd name="connsiteY14" fmla="*/ 3890 h 18893"/>
                    <a:gd name="connsiteX15" fmla="*/ 14309 w 28618"/>
                    <a:gd name="connsiteY15" fmla="*/ 0 h 1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618" h="18893">
                      <a:moveTo>
                        <a:pt x="14309" y="0"/>
                      </a:moveTo>
                      <a:cubicBezTo>
                        <a:pt x="9586" y="0"/>
                        <a:pt x="9586" y="3751"/>
                        <a:pt x="4723" y="3751"/>
                      </a:cubicBezTo>
                      <a:cubicBezTo>
                        <a:pt x="4723" y="7502"/>
                        <a:pt x="9447" y="7502"/>
                        <a:pt x="9447" y="7502"/>
                      </a:cubicBezTo>
                      <a:lnTo>
                        <a:pt x="9447" y="11253"/>
                      </a:lnTo>
                      <a:lnTo>
                        <a:pt x="9447" y="11253"/>
                      </a:lnTo>
                      <a:lnTo>
                        <a:pt x="4723" y="11253"/>
                      </a:lnTo>
                      <a:cubicBezTo>
                        <a:pt x="4723" y="11253"/>
                        <a:pt x="4723" y="11253"/>
                        <a:pt x="0" y="11253"/>
                      </a:cubicBezTo>
                      <a:lnTo>
                        <a:pt x="0" y="11253"/>
                      </a:lnTo>
                      <a:cubicBezTo>
                        <a:pt x="0" y="15004"/>
                        <a:pt x="9586" y="15004"/>
                        <a:pt x="14309" y="18894"/>
                      </a:cubicBezTo>
                      <a:cubicBezTo>
                        <a:pt x="19033" y="18894"/>
                        <a:pt x="19033" y="15143"/>
                        <a:pt x="23895" y="15143"/>
                      </a:cubicBezTo>
                      <a:cubicBezTo>
                        <a:pt x="28757" y="15143"/>
                        <a:pt x="28618" y="11392"/>
                        <a:pt x="23895" y="11392"/>
                      </a:cubicBezTo>
                      <a:lnTo>
                        <a:pt x="28618" y="7641"/>
                      </a:lnTo>
                      <a:cubicBezTo>
                        <a:pt x="23895" y="7641"/>
                        <a:pt x="23895" y="7641"/>
                        <a:pt x="23895" y="7641"/>
                      </a:cubicBezTo>
                      <a:cubicBezTo>
                        <a:pt x="23895" y="3890"/>
                        <a:pt x="23895" y="3890"/>
                        <a:pt x="23895" y="3890"/>
                      </a:cubicBezTo>
                      <a:lnTo>
                        <a:pt x="23895" y="3890"/>
                      </a:lnTo>
                      <a:cubicBezTo>
                        <a:pt x="19172" y="3751"/>
                        <a:pt x="19172" y="0"/>
                        <a:pt x="14309" y="0"/>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29" name="Freihandform: Form 428">
                  <a:extLst>
                    <a:ext uri="{FF2B5EF4-FFF2-40B4-BE49-F238E27FC236}">
                      <a16:creationId xmlns:a16="http://schemas.microsoft.com/office/drawing/2014/main" id="{EEAE76A1-697A-4C53-895B-68FCB0DFEAB1}"/>
                    </a:ext>
                  </a:extLst>
                </p:cNvPr>
                <p:cNvSpPr/>
                <p:nvPr/>
              </p:nvSpPr>
              <p:spPr>
                <a:xfrm>
                  <a:off x="8541714" y="4198869"/>
                  <a:ext cx="88988" cy="167885"/>
                </a:xfrm>
                <a:custGeom>
                  <a:avLst/>
                  <a:gdLst>
                    <a:gd name="connsiteX0" fmla="*/ 31760 w 88988"/>
                    <a:gd name="connsiteY0" fmla="*/ 1325 h 167885"/>
                    <a:gd name="connsiteX1" fmla="*/ 48848 w 88988"/>
                    <a:gd name="connsiteY1" fmla="*/ 5492 h 167885"/>
                    <a:gd name="connsiteX2" fmla="*/ 63991 w 88988"/>
                    <a:gd name="connsiteY2" fmla="*/ 36333 h 167885"/>
                    <a:gd name="connsiteX3" fmla="*/ 86774 w 88988"/>
                    <a:gd name="connsiteY3" fmla="*/ 91625 h 167885"/>
                    <a:gd name="connsiteX4" fmla="*/ 65936 w 88988"/>
                    <a:gd name="connsiteY4" fmla="*/ 158864 h 167885"/>
                    <a:gd name="connsiteX5" fmla="*/ 27592 w 88988"/>
                    <a:gd name="connsiteY5" fmla="*/ 167616 h 167885"/>
                    <a:gd name="connsiteX6" fmla="*/ 2725 w 88988"/>
                    <a:gd name="connsiteY6" fmla="*/ 120938 h 167885"/>
                    <a:gd name="connsiteX7" fmla="*/ 9811 w 88988"/>
                    <a:gd name="connsiteY7" fmla="*/ 73009 h 167885"/>
                    <a:gd name="connsiteX8" fmla="*/ 12033 w 88988"/>
                    <a:gd name="connsiteY8" fmla="*/ 82595 h 167885"/>
                    <a:gd name="connsiteX9" fmla="*/ 16201 w 88988"/>
                    <a:gd name="connsiteY9" fmla="*/ 65507 h 167885"/>
                    <a:gd name="connsiteX10" fmla="*/ 21341 w 88988"/>
                    <a:gd name="connsiteY10" fmla="*/ 44113 h 167885"/>
                    <a:gd name="connsiteX11" fmla="*/ 29815 w 88988"/>
                    <a:gd name="connsiteY11" fmla="*/ 28137 h 167885"/>
                    <a:gd name="connsiteX12" fmla="*/ 37178 w 88988"/>
                    <a:gd name="connsiteY12" fmla="*/ 16328 h 167885"/>
                    <a:gd name="connsiteX13" fmla="*/ 38151 w 88988"/>
                    <a:gd name="connsiteY13" fmla="*/ 12022 h 167885"/>
                    <a:gd name="connsiteX14" fmla="*/ 39124 w 88988"/>
                    <a:gd name="connsiteY14" fmla="*/ 7715 h 167885"/>
                    <a:gd name="connsiteX15" fmla="*/ 26342 w 88988"/>
                    <a:gd name="connsiteY15" fmla="*/ 4659 h 167885"/>
                    <a:gd name="connsiteX16" fmla="*/ 31760 w 88988"/>
                    <a:gd name="connsiteY16" fmla="*/ 1325 h 16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988" h="167885">
                      <a:moveTo>
                        <a:pt x="31760" y="1325"/>
                      </a:moveTo>
                      <a:cubicBezTo>
                        <a:pt x="37040" y="-1871"/>
                        <a:pt x="49820" y="1186"/>
                        <a:pt x="48848" y="5492"/>
                      </a:cubicBezTo>
                      <a:cubicBezTo>
                        <a:pt x="47875" y="9799"/>
                        <a:pt x="53154" y="6465"/>
                        <a:pt x="63991" y="36333"/>
                      </a:cubicBezTo>
                      <a:cubicBezTo>
                        <a:pt x="73854" y="70370"/>
                        <a:pt x="77049" y="75649"/>
                        <a:pt x="86774" y="91625"/>
                      </a:cubicBezTo>
                      <a:cubicBezTo>
                        <a:pt x="93304" y="102183"/>
                        <a:pt x="85107" y="154557"/>
                        <a:pt x="65936" y="158864"/>
                      </a:cubicBezTo>
                      <a:cubicBezTo>
                        <a:pt x="47875" y="159003"/>
                        <a:pt x="36206" y="169700"/>
                        <a:pt x="27592" y="167616"/>
                      </a:cubicBezTo>
                      <a:cubicBezTo>
                        <a:pt x="14812" y="164560"/>
                        <a:pt x="-7833" y="127328"/>
                        <a:pt x="2725" y="120938"/>
                      </a:cubicBezTo>
                      <a:cubicBezTo>
                        <a:pt x="8004" y="117743"/>
                        <a:pt x="4531" y="76204"/>
                        <a:pt x="9811" y="73009"/>
                      </a:cubicBezTo>
                      <a:lnTo>
                        <a:pt x="12033" y="82595"/>
                      </a:lnTo>
                      <a:cubicBezTo>
                        <a:pt x="12033" y="82595"/>
                        <a:pt x="10922" y="68703"/>
                        <a:pt x="16201" y="65507"/>
                      </a:cubicBezTo>
                      <a:cubicBezTo>
                        <a:pt x="25787" y="63284"/>
                        <a:pt x="10783" y="50642"/>
                        <a:pt x="21341" y="44113"/>
                      </a:cubicBezTo>
                      <a:cubicBezTo>
                        <a:pt x="30927" y="41890"/>
                        <a:pt x="23425" y="35639"/>
                        <a:pt x="29815" y="28137"/>
                      </a:cubicBezTo>
                      <a:cubicBezTo>
                        <a:pt x="39401" y="25914"/>
                        <a:pt x="31899" y="19662"/>
                        <a:pt x="37178" y="16328"/>
                      </a:cubicBezTo>
                      <a:cubicBezTo>
                        <a:pt x="38151" y="12022"/>
                        <a:pt x="33983" y="11049"/>
                        <a:pt x="38151" y="12022"/>
                      </a:cubicBezTo>
                      <a:cubicBezTo>
                        <a:pt x="46625" y="14106"/>
                        <a:pt x="47736" y="9799"/>
                        <a:pt x="39124" y="7715"/>
                      </a:cubicBezTo>
                      <a:cubicBezTo>
                        <a:pt x="30649" y="5631"/>
                        <a:pt x="29537" y="9938"/>
                        <a:pt x="26342" y="4659"/>
                      </a:cubicBezTo>
                      <a:cubicBezTo>
                        <a:pt x="22175" y="3547"/>
                        <a:pt x="26481" y="4520"/>
                        <a:pt x="31760" y="1325"/>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430" name="Freihandform: Form 429">
                  <a:extLst>
                    <a:ext uri="{FF2B5EF4-FFF2-40B4-BE49-F238E27FC236}">
                      <a16:creationId xmlns:a16="http://schemas.microsoft.com/office/drawing/2014/main" id="{13690680-B320-46D7-88FF-15FD641F2FE6}"/>
                    </a:ext>
                  </a:extLst>
                </p:cNvPr>
                <p:cNvSpPr/>
                <p:nvPr/>
              </p:nvSpPr>
              <p:spPr>
                <a:xfrm>
                  <a:off x="6490610" y="3297205"/>
                  <a:ext cx="76769" cy="50604"/>
                </a:xfrm>
                <a:custGeom>
                  <a:avLst/>
                  <a:gdLst>
                    <a:gd name="connsiteX0" fmla="*/ 75836 w 76769"/>
                    <a:gd name="connsiteY0" fmla="*/ 1791 h 50604"/>
                    <a:gd name="connsiteX1" fmla="*/ 72501 w 76769"/>
                    <a:gd name="connsiteY1" fmla="*/ 1791 h 50604"/>
                    <a:gd name="connsiteX2" fmla="*/ 62499 w 76769"/>
                    <a:gd name="connsiteY2" fmla="*/ 1791 h 50604"/>
                    <a:gd name="connsiteX3" fmla="*/ 49302 w 76769"/>
                    <a:gd name="connsiteY3" fmla="*/ 5819 h 50604"/>
                    <a:gd name="connsiteX4" fmla="*/ 35965 w 76769"/>
                    <a:gd name="connsiteY4" fmla="*/ 9848 h 50604"/>
                    <a:gd name="connsiteX5" fmla="*/ 25962 w 76769"/>
                    <a:gd name="connsiteY5" fmla="*/ 5819 h 50604"/>
                    <a:gd name="connsiteX6" fmla="*/ 12765 w 76769"/>
                    <a:gd name="connsiteY6" fmla="*/ 5819 h 50604"/>
                    <a:gd name="connsiteX7" fmla="*/ 2762 w 76769"/>
                    <a:gd name="connsiteY7" fmla="*/ 13738 h 50604"/>
                    <a:gd name="connsiteX8" fmla="*/ 9430 w 76769"/>
                    <a:gd name="connsiteY8" fmla="*/ 21657 h 50604"/>
                    <a:gd name="connsiteX9" fmla="*/ 22628 w 76769"/>
                    <a:gd name="connsiteY9" fmla="*/ 29575 h 50604"/>
                    <a:gd name="connsiteX10" fmla="*/ 35826 w 76769"/>
                    <a:gd name="connsiteY10" fmla="*/ 41523 h 50604"/>
                    <a:gd name="connsiteX11" fmla="*/ 49162 w 76769"/>
                    <a:gd name="connsiteY11" fmla="*/ 49441 h 50604"/>
                    <a:gd name="connsiteX12" fmla="*/ 62360 w 76769"/>
                    <a:gd name="connsiteY12" fmla="*/ 49441 h 50604"/>
                    <a:gd name="connsiteX13" fmla="*/ 69028 w 76769"/>
                    <a:gd name="connsiteY13" fmla="*/ 41523 h 50604"/>
                    <a:gd name="connsiteX14" fmla="*/ 69028 w 76769"/>
                    <a:gd name="connsiteY14" fmla="*/ 29575 h 50604"/>
                    <a:gd name="connsiteX15" fmla="*/ 69028 w 76769"/>
                    <a:gd name="connsiteY15" fmla="*/ 17628 h 50604"/>
                    <a:gd name="connsiteX16" fmla="*/ 75836 w 76769"/>
                    <a:gd name="connsiteY16" fmla="*/ 1791 h 5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769" h="50604">
                      <a:moveTo>
                        <a:pt x="75836" y="1791"/>
                      </a:moveTo>
                      <a:cubicBezTo>
                        <a:pt x="79170" y="-2238"/>
                        <a:pt x="72501" y="1791"/>
                        <a:pt x="72501" y="1791"/>
                      </a:cubicBezTo>
                      <a:cubicBezTo>
                        <a:pt x="69167" y="-2238"/>
                        <a:pt x="65833" y="5819"/>
                        <a:pt x="62499" y="1791"/>
                      </a:cubicBezTo>
                      <a:cubicBezTo>
                        <a:pt x="55831" y="-2238"/>
                        <a:pt x="52497" y="9709"/>
                        <a:pt x="49302" y="5819"/>
                      </a:cubicBezTo>
                      <a:cubicBezTo>
                        <a:pt x="45967" y="5819"/>
                        <a:pt x="39299" y="13738"/>
                        <a:pt x="35965" y="9848"/>
                      </a:cubicBezTo>
                      <a:cubicBezTo>
                        <a:pt x="32631" y="5819"/>
                        <a:pt x="32631" y="9848"/>
                        <a:pt x="25962" y="5819"/>
                      </a:cubicBezTo>
                      <a:cubicBezTo>
                        <a:pt x="22628" y="1791"/>
                        <a:pt x="19294" y="9848"/>
                        <a:pt x="12765" y="5819"/>
                      </a:cubicBezTo>
                      <a:cubicBezTo>
                        <a:pt x="9430" y="1791"/>
                        <a:pt x="6096" y="5819"/>
                        <a:pt x="2762" y="13738"/>
                      </a:cubicBezTo>
                      <a:cubicBezTo>
                        <a:pt x="-3906" y="17767"/>
                        <a:pt x="2762" y="21657"/>
                        <a:pt x="9430" y="21657"/>
                      </a:cubicBezTo>
                      <a:cubicBezTo>
                        <a:pt x="12765" y="21657"/>
                        <a:pt x="16099" y="29575"/>
                        <a:pt x="22628" y="29575"/>
                      </a:cubicBezTo>
                      <a:cubicBezTo>
                        <a:pt x="25962" y="33604"/>
                        <a:pt x="25962" y="41523"/>
                        <a:pt x="35826" y="41523"/>
                      </a:cubicBezTo>
                      <a:cubicBezTo>
                        <a:pt x="45828" y="37494"/>
                        <a:pt x="49162" y="45552"/>
                        <a:pt x="49162" y="49441"/>
                      </a:cubicBezTo>
                      <a:cubicBezTo>
                        <a:pt x="52497" y="53470"/>
                        <a:pt x="55831" y="45413"/>
                        <a:pt x="62360" y="49441"/>
                      </a:cubicBezTo>
                      <a:cubicBezTo>
                        <a:pt x="65694" y="53470"/>
                        <a:pt x="62360" y="45413"/>
                        <a:pt x="69028" y="41523"/>
                      </a:cubicBezTo>
                      <a:cubicBezTo>
                        <a:pt x="72363" y="37494"/>
                        <a:pt x="65694" y="33604"/>
                        <a:pt x="69028" y="29575"/>
                      </a:cubicBezTo>
                      <a:cubicBezTo>
                        <a:pt x="72363" y="25546"/>
                        <a:pt x="65694" y="21657"/>
                        <a:pt x="69028" y="17628"/>
                      </a:cubicBezTo>
                      <a:cubicBezTo>
                        <a:pt x="75836" y="13738"/>
                        <a:pt x="75836" y="9848"/>
                        <a:pt x="75836" y="1791"/>
                      </a:cubicBezTo>
                      <a:close/>
                    </a:path>
                  </a:pathLst>
                </a:custGeom>
                <a:solidFill>
                  <a:schemeClr val="bg1"/>
                </a:solidFill>
                <a:ln w="9526"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grpSp>
            <p:nvGrpSpPr>
              <p:cNvPr id="58" name="Locations">
                <a:extLst>
                  <a:ext uri="{FF2B5EF4-FFF2-40B4-BE49-F238E27FC236}">
                    <a16:creationId xmlns:a16="http://schemas.microsoft.com/office/drawing/2014/main" id="{1E459B36-2168-4401-97CD-CDBFEF2FC2D6}"/>
                  </a:ext>
                </a:extLst>
              </p:cNvPr>
              <p:cNvGrpSpPr/>
              <p:nvPr/>
            </p:nvGrpSpPr>
            <p:grpSpPr>
              <a:xfrm>
                <a:off x="2459448" y="2297913"/>
                <a:ext cx="8632154" cy="3575058"/>
                <a:chOff x="2459448" y="2297913"/>
                <a:chExt cx="8632154" cy="3575058"/>
              </a:xfrm>
            </p:grpSpPr>
            <p:sp>
              <p:nvSpPr>
                <p:cNvPr id="59" name="Freihandform: Form 58">
                  <a:extLst>
                    <a:ext uri="{FF2B5EF4-FFF2-40B4-BE49-F238E27FC236}">
                      <a16:creationId xmlns:a16="http://schemas.microsoft.com/office/drawing/2014/main" id="{EEAB5C1E-F864-48FE-9DE1-5526B8915950}"/>
                    </a:ext>
                  </a:extLst>
                </p:cNvPr>
                <p:cNvSpPr/>
                <p:nvPr/>
              </p:nvSpPr>
              <p:spPr>
                <a:xfrm>
                  <a:off x="5819731" y="3460842"/>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1"/>
                      </a:cubicBezTo>
                      <a:cubicBezTo>
                        <a:pt x="66961" y="15004"/>
                        <a:pt x="51958"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0" name="Freihandform: Form 59">
                  <a:extLst>
                    <a:ext uri="{FF2B5EF4-FFF2-40B4-BE49-F238E27FC236}">
                      <a16:creationId xmlns:a16="http://schemas.microsoft.com/office/drawing/2014/main" id="{B06F97B6-8D4B-40B7-A693-68460DB9B264}"/>
                    </a:ext>
                  </a:extLst>
                </p:cNvPr>
                <p:cNvSpPr/>
                <p:nvPr/>
              </p:nvSpPr>
              <p:spPr>
                <a:xfrm>
                  <a:off x="3937039" y="5105280"/>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0"/>
                      </a:cubicBezTo>
                      <a:cubicBezTo>
                        <a:pt x="66961" y="15004"/>
                        <a:pt x="51957" y="0"/>
                        <a:pt x="33481" y="0"/>
                      </a:cubicBezTo>
                      <a:cubicBezTo>
                        <a:pt x="15004" y="0"/>
                        <a:pt x="0" y="15004"/>
                        <a:pt x="0" y="33480"/>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1" name="Freihandform: Form 60">
                  <a:extLst>
                    <a:ext uri="{FF2B5EF4-FFF2-40B4-BE49-F238E27FC236}">
                      <a16:creationId xmlns:a16="http://schemas.microsoft.com/office/drawing/2014/main" id="{CAC1637F-BF01-4663-A329-9416CC37602E}"/>
                    </a:ext>
                  </a:extLst>
                </p:cNvPr>
                <p:cNvSpPr/>
                <p:nvPr/>
              </p:nvSpPr>
              <p:spPr>
                <a:xfrm>
                  <a:off x="4547191" y="502901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8"/>
                        <a:pt x="66961" y="33481"/>
                      </a:cubicBezTo>
                      <a:cubicBezTo>
                        <a:pt x="66961" y="15004"/>
                        <a:pt x="51958" y="0"/>
                        <a:pt x="33481" y="0"/>
                      </a:cubicBezTo>
                      <a:cubicBezTo>
                        <a:pt x="15004" y="0"/>
                        <a:pt x="0" y="15004"/>
                        <a:pt x="0" y="33481"/>
                      </a:cubicBezTo>
                      <a:cubicBezTo>
                        <a:pt x="0" y="51958"/>
                        <a:pt x="14865"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2" name="Freihandform: Form 61">
                  <a:extLst>
                    <a:ext uri="{FF2B5EF4-FFF2-40B4-BE49-F238E27FC236}">
                      <a16:creationId xmlns:a16="http://schemas.microsoft.com/office/drawing/2014/main" id="{2ADEC1B5-7DB7-425F-A4A6-DDFB2F307ED0}"/>
                    </a:ext>
                  </a:extLst>
                </p:cNvPr>
                <p:cNvSpPr/>
                <p:nvPr/>
              </p:nvSpPr>
              <p:spPr>
                <a:xfrm>
                  <a:off x="6386956" y="2335978"/>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3" name="Freihandform: Form 62">
                  <a:extLst>
                    <a:ext uri="{FF2B5EF4-FFF2-40B4-BE49-F238E27FC236}">
                      <a16:creationId xmlns:a16="http://schemas.microsoft.com/office/drawing/2014/main" id="{593A22B9-6580-40B0-8058-8F81E17AFF64}"/>
                    </a:ext>
                  </a:extLst>
                </p:cNvPr>
                <p:cNvSpPr/>
                <p:nvPr/>
              </p:nvSpPr>
              <p:spPr>
                <a:xfrm>
                  <a:off x="6992246" y="2650640"/>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0151" y="66961"/>
                        <a:pt x="66961" y="50290"/>
                        <a:pt x="66961" y="33481"/>
                      </a:cubicBezTo>
                      <a:cubicBezTo>
                        <a:pt x="66961" y="12503"/>
                        <a:pt x="50290" y="0"/>
                        <a:pt x="33480" y="0"/>
                      </a:cubicBezTo>
                      <a:cubicBezTo>
                        <a:pt x="12503" y="0"/>
                        <a:pt x="0" y="12503"/>
                        <a:pt x="0" y="33481"/>
                      </a:cubicBezTo>
                      <a:cubicBezTo>
                        <a:pt x="0" y="50151"/>
                        <a:pt x="12642"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4" name="Freihandform: Form 63">
                  <a:extLst>
                    <a:ext uri="{FF2B5EF4-FFF2-40B4-BE49-F238E27FC236}">
                      <a16:creationId xmlns:a16="http://schemas.microsoft.com/office/drawing/2014/main" id="{30C81094-F4C1-4AB3-8EFB-5C0C0054AD5B}"/>
                    </a:ext>
                  </a:extLst>
                </p:cNvPr>
                <p:cNvSpPr/>
                <p:nvPr/>
              </p:nvSpPr>
              <p:spPr>
                <a:xfrm>
                  <a:off x="7535715" y="3174937"/>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5" name="Freihandform: Form 64">
                  <a:extLst>
                    <a:ext uri="{FF2B5EF4-FFF2-40B4-BE49-F238E27FC236}">
                      <a16:creationId xmlns:a16="http://schemas.microsoft.com/office/drawing/2014/main" id="{A260B853-4C69-4045-91C1-BD6991E390C9}"/>
                    </a:ext>
                  </a:extLst>
                </p:cNvPr>
                <p:cNvSpPr/>
                <p:nvPr/>
              </p:nvSpPr>
              <p:spPr>
                <a:xfrm>
                  <a:off x="10257228" y="5519967"/>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2" y="66961"/>
                        <a:pt x="66961" y="54458"/>
                        <a:pt x="66961" y="33480"/>
                      </a:cubicBezTo>
                      <a:cubicBezTo>
                        <a:pt x="66961" y="16810"/>
                        <a:pt x="50291" y="0"/>
                        <a:pt x="33481" y="0"/>
                      </a:cubicBezTo>
                      <a:cubicBezTo>
                        <a:pt x="12503" y="0"/>
                        <a:pt x="0" y="16671"/>
                        <a:pt x="0" y="33480"/>
                      </a:cubicBezTo>
                      <a:cubicBezTo>
                        <a:pt x="139" y="54458"/>
                        <a:pt x="12642"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6" name="Freihandform: Form 65">
                  <a:extLst>
                    <a:ext uri="{FF2B5EF4-FFF2-40B4-BE49-F238E27FC236}">
                      <a16:creationId xmlns:a16="http://schemas.microsoft.com/office/drawing/2014/main" id="{424E4F7C-3F31-4DBE-AE0C-A49DA5795936}"/>
                    </a:ext>
                  </a:extLst>
                </p:cNvPr>
                <p:cNvSpPr/>
                <p:nvPr/>
              </p:nvSpPr>
              <p:spPr>
                <a:xfrm>
                  <a:off x="11024641" y="580601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8"/>
                        <a:pt x="66961" y="33481"/>
                      </a:cubicBezTo>
                      <a:cubicBezTo>
                        <a:pt x="66961" y="15004"/>
                        <a:pt x="51958" y="0"/>
                        <a:pt x="33481" y="0"/>
                      </a:cubicBezTo>
                      <a:cubicBezTo>
                        <a:pt x="15004" y="0"/>
                        <a:pt x="0" y="15004"/>
                        <a:pt x="0" y="33481"/>
                      </a:cubicBezTo>
                      <a:cubicBezTo>
                        <a:pt x="0" y="51958"/>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7" name="Freihandform: Form 66">
                  <a:extLst>
                    <a:ext uri="{FF2B5EF4-FFF2-40B4-BE49-F238E27FC236}">
                      <a16:creationId xmlns:a16="http://schemas.microsoft.com/office/drawing/2014/main" id="{0FEF3B73-FC75-4AB7-9289-0A46F146115F}"/>
                    </a:ext>
                  </a:extLst>
                </p:cNvPr>
                <p:cNvSpPr/>
                <p:nvPr/>
              </p:nvSpPr>
              <p:spPr>
                <a:xfrm>
                  <a:off x="9752102" y="4051962"/>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0"/>
                      </a:cubicBezTo>
                      <a:cubicBezTo>
                        <a:pt x="66961" y="15003"/>
                        <a:pt x="51958" y="0"/>
                        <a:pt x="33481" y="0"/>
                      </a:cubicBezTo>
                      <a:cubicBezTo>
                        <a:pt x="15004" y="0"/>
                        <a:pt x="0" y="15003"/>
                        <a:pt x="0" y="33480"/>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69" name="Freihandform: Form 68">
                  <a:extLst>
                    <a:ext uri="{FF2B5EF4-FFF2-40B4-BE49-F238E27FC236}">
                      <a16:creationId xmlns:a16="http://schemas.microsoft.com/office/drawing/2014/main" id="{E1BC4AC6-6BEB-45DA-9EFA-9BD6DC25B645}"/>
                    </a:ext>
                  </a:extLst>
                </p:cNvPr>
                <p:cNvSpPr/>
                <p:nvPr/>
              </p:nvSpPr>
              <p:spPr>
                <a:xfrm>
                  <a:off x="2673946" y="330358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0" name="Freihandform: Form 69">
                  <a:extLst>
                    <a:ext uri="{FF2B5EF4-FFF2-40B4-BE49-F238E27FC236}">
                      <a16:creationId xmlns:a16="http://schemas.microsoft.com/office/drawing/2014/main" id="{5A28BB8D-CF76-4B8E-ADA5-99C859EB243A}"/>
                    </a:ext>
                  </a:extLst>
                </p:cNvPr>
                <p:cNvSpPr/>
                <p:nvPr/>
              </p:nvSpPr>
              <p:spPr>
                <a:xfrm>
                  <a:off x="9156200" y="4391180"/>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8"/>
                        <a:pt x="66961" y="33481"/>
                      </a:cubicBezTo>
                      <a:cubicBezTo>
                        <a:pt x="66961" y="15004"/>
                        <a:pt x="51957" y="0"/>
                        <a:pt x="33481" y="0"/>
                      </a:cubicBezTo>
                      <a:cubicBezTo>
                        <a:pt x="15003" y="0"/>
                        <a:pt x="0" y="15004"/>
                        <a:pt x="0" y="33481"/>
                      </a:cubicBezTo>
                      <a:cubicBezTo>
                        <a:pt x="0" y="51958"/>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1" name="Freihandform: Form 70">
                  <a:extLst>
                    <a:ext uri="{FF2B5EF4-FFF2-40B4-BE49-F238E27FC236}">
                      <a16:creationId xmlns:a16="http://schemas.microsoft.com/office/drawing/2014/main" id="{B679C2BE-F353-4761-98BA-8188F44B180F}"/>
                    </a:ext>
                  </a:extLst>
                </p:cNvPr>
                <p:cNvSpPr/>
                <p:nvPr/>
              </p:nvSpPr>
              <p:spPr>
                <a:xfrm>
                  <a:off x="6301101" y="4204361"/>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0"/>
                      </a:cubicBezTo>
                      <a:cubicBezTo>
                        <a:pt x="66961" y="15004"/>
                        <a:pt x="51958" y="0"/>
                        <a:pt x="33481" y="0"/>
                      </a:cubicBezTo>
                      <a:cubicBezTo>
                        <a:pt x="15004" y="0"/>
                        <a:pt x="0" y="15004"/>
                        <a:pt x="0" y="33480"/>
                      </a:cubicBezTo>
                      <a:cubicBezTo>
                        <a:pt x="139"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7" name="Freihandform: Form 76">
                  <a:extLst>
                    <a:ext uri="{FF2B5EF4-FFF2-40B4-BE49-F238E27FC236}">
                      <a16:creationId xmlns:a16="http://schemas.microsoft.com/office/drawing/2014/main" id="{C5F83F33-5D4D-43EC-93B8-6989441E2456}"/>
                    </a:ext>
                  </a:extLst>
                </p:cNvPr>
                <p:cNvSpPr/>
                <p:nvPr/>
              </p:nvSpPr>
              <p:spPr>
                <a:xfrm>
                  <a:off x="9594701" y="3718267"/>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8" name="Freihandform: Form 77">
                  <a:extLst>
                    <a:ext uri="{FF2B5EF4-FFF2-40B4-BE49-F238E27FC236}">
                      <a16:creationId xmlns:a16="http://schemas.microsoft.com/office/drawing/2014/main" id="{9ADBEFB0-23B4-493C-82B6-996ADC8CD2A4}"/>
                    </a:ext>
                  </a:extLst>
                </p:cNvPr>
                <p:cNvSpPr/>
                <p:nvPr/>
              </p:nvSpPr>
              <p:spPr>
                <a:xfrm>
                  <a:off x="10462279" y="4738244"/>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4458" y="66961"/>
                        <a:pt x="66961" y="50290"/>
                        <a:pt x="66961" y="33480"/>
                      </a:cubicBezTo>
                      <a:cubicBezTo>
                        <a:pt x="66961" y="12503"/>
                        <a:pt x="54458" y="0"/>
                        <a:pt x="33481" y="0"/>
                      </a:cubicBezTo>
                      <a:cubicBezTo>
                        <a:pt x="16810" y="0"/>
                        <a:pt x="0" y="12503"/>
                        <a:pt x="0" y="33480"/>
                      </a:cubicBezTo>
                      <a:cubicBezTo>
                        <a:pt x="0" y="50290"/>
                        <a:pt x="16671"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9" name="Freihandform: Form 78">
                  <a:extLst>
                    <a:ext uri="{FF2B5EF4-FFF2-40B4-BE49-F238E27FC236}">
                      <a16:creationId xmlns:a16="http://schemas.microsoft.com/office/drawing/2014/main" id="{553844CA-E3FB-4F85-8F1D-5A62C4C42B03}"/>
                    </a:ext>
                  </a:extLst>
                </p:cNvPr>
                <p:cNvSpPr/>
                <p:nvPr/>
              </p:nvSpPr>
              <p:spPr>
                <a:xfrm>
                  <a:off x="3828916" y="5629577"/>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8"/>
                        <a:pt x="66961" y="33481"/>
                      </a:cubicBezTo>
                      <a:cubicBezTo>
                        <a:pt x="66961" y="15004"/>
                        <a:pt x="51957" y="0"/>
                        <a:pt x="33480" y="0"/>
                      </a:cubicBezTo>
                      <a:cubicBezTo>
                        <a:pt x="15003" y="0"/>
                        <a:pt x="0" y="15004"/>
                        <a:pt x="0" y="33481"/>
                      </a:cubicBezTo>
                      <a:cubicBezTo>
                        <a:pt x="139" y="51958"/>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0" name="Freihandform: Form 79">
                  <a:extLst>
                    <a:ext uri="{FF2B5EF4-FFF2-40B4-BE49-F238E27FC236}">
                      <a16:creationId xmlns:a16="http://schemas.microsoft.com/office/drawing/2014/main" id="{3342BFAE-DBD4-45FE-B239-684D4B09DDD9}"/>
                    </a:ext>
                  </a:extLst>
                </p:cNvPr>
                <p:cNvSpPr/>
                <p:nvPr/>
              </p:nvSpPr>
              <p:spPr>
                <a:xfrm>
                  <a:off x="2459448" y="3322613"/>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1" y="66961"/>
                        <a:pt x="66961" y="50290"/>
                        <a:pt x="66961" y="33481"/>
                      </a:cubicBezTo>
                      <a:cubicBezTo>
                        <a:pt x="66961" y="12503"/>
                        <a:pt x="50290" y="0"/>
                        <a:pt x="33481" y="0"/>
                      </a:cubicBezTo>
                      <a:cubicBezTo>
                        <a:pt x="12503" y="0"/>
                        <a:pt x="0" y="12503"/>
                        <a:pt x="0" y="33481"/>
                      </a:cubicBezTo>
                      <a:cubicBezTo>
                        <a:pt x="0" y="50290"/>
                        <a:pt x="125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1" name="Freihandform: Form 80">
                  <a:extLst>
                    <a:ext uri="{FF2B5EF4-FFF2-40B4-BE49-F238E27FC236}">
                      <a16:creationId xmlns:a16="http://schemas.microsoft.com/office/drawing/2014/main" id="{6076A091-42CB-48F7-9E33-BF257DCD57CC}"/>
                    </a:ext>
                  </a:extLst>
                </p:cNvPr>
                <p:cNvSpPr/>
                <p:nvPr/>
              </p:nvSpPr>
              <p:spPr>
                <a:xfrm>
                  <a:off x="3612930" y="3251206"/>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2" name="Freihandform: Form 81">
                  <a:extLst>
                    <a:ext uri="{FF2B5EF4-FFF2-40B4-BE49-F238E27FC236}">
                      <a16:creationId xmlns:a16="http://schemas.microsoft.com/office/drawing/2014/main" id="{FBCDD03F-0F29-4F10-B298-88FC0974886D}"/>
                    </a:ext>
                  </a:extLst>
                </p:cNvPr>
                <p:cNvSpPr/>
                <p:nvPr/>
              </p:nvSpPr>
              <p:spPr>
                <a:xfrm>
                  <a:off x="5792626" y="3216197"/>
                  <a:ext cx="66961" cy="66961"/>
                </a:xfrm>
                <a:custGeom>
                  <a:avLst/>
                  <a:gdLst>
                    <a:gd name="connsiteX0" fmla="*/ 35426 w 66961"/>
                    <a:gd name="connsiteY0" fmla="*/ 66961 h 66961"/>
                    <a:gd name="connsiteX1" fmla="*/ 66961 w 66961"/>
                    <a:gd name="connsiteY1" fmla="*/ 33481 h 66961"/>
                    <a:gd name="connsiteX2" fmla="*/ 35426 w 66961"/>
                    <a:gd name="connsiteY2" fmla="*/ 0 h 66961"/>
                    <a:gd name="connsiteX3" fmla="*/ 0 w 66961"/>
                    <a:gd name="connsiteY3" fmla="*/ 33481 h 66961"/>
                    <a:gd name="connsiteX4" fmla="*/ 35426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5426" y="66961"/>
                      </a:moveTo>
                      <a:cubicBezTo>
                        <a:pt x="51124" y="66961"/>
                        <a:pt x="66961" y="54458"/>
                        <a:pt x="66961" y="33481"/>
                      </a:cubicBezTo>
                      <a:cubicBezTo>
                        <a:pt x="66961" y="16810"/>
                        <a:pt x="51263" y="0"/>
                        <a:pt x="35426" y="0"/>
                      </a:cubicBezTo>
                      <a:cubicBezTo>
                        <a:pt x="15698" y="0"/>
                        <a:pt x="0" y="16671"/>
                        <a:pt x="0" y="33481"/>
                      </a:cubicBezTo>
                      <a:cubicBezTo>
                        <a:pt x="0" y="54319"/>
                        <a:pt x="15698" y="66961"/>
                        <a:pt x="35426"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3" name="Freihandform: Form 82">
                  <a:extLst>
                    <a:ext uri="{FF2B5EF4-FFF2-40B4-BE49-F238E27FC236}">
                      <a16:creationId xmlns:a16="http://schemas.microsoft.com/office/drawing/2014/main" id="{7393AA47-017E-4F0D-A667-7681FF9CDE58}"/>
                    </a:ext>
                  </a:extLst>
                </p:cNvPr>
                <p:cNvSpPr/>
                <p:nvPr/>
              </p:nvSpPr>
              <p:spPr>
                <a:xfrm>
                  <a:off x="7569057" y="2507549"/>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4" name="Freihandform: Form 83">
                  <a:extLst>
                    <a:ext uri="{FF2B5EF4-FFF2-40B4-BE49-F238E27FC236}">
                      <a16:creationId xmlns:a16="http://schemas.microsoft.com/office/drawing/2014/main" id="{4BACBF71-8A4F-476D-94FA-034A0BF66E8C}"/>
                    </a:ext>
                  </a:extLst>
                </p:cNvPr>
                <p:cNvSpPr/>
                <p:nvPr/>
              </p:nvSpPr>
              <p:spPr>
                <a:xfrm>
                  <a:off x="6930286" y="5338810"/>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8"/>
                        <a:pt x="66961" y="33481"/>
                      </a:cubicBezTo>
                      <a:cubicBezTo>
                        <a:pt x="66961" y="15004"/>
                        <a:pt x="51957" y="0"/>
                        <a:pt x="33481" y="0"/>
                      </a:cubicBezTo>
                      <a:cubicBezTo>
                        <a:pt x="15003" y="0"/>
                        <a:pt x="0" y="15004"/>
                        <a:pt x="0" y="33481"/>
                      </a:cubicBezTo>
                      <a:cubicBezTo>
                        <a:pt x="0" y="51958"/>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5" name="Freihandform: Form 84">
                  <a:extLst>
                    <a:ext uri="{FF2B5EF4-FFF2-40B4-BE49-F238E27FC236}">
                      <a16:creationId xmlns:a16="http://schemas.microsoft.com/office/drawing/2014/main" id="{FBDC9230-05EE-4C6D-87E0-1B33B7AEFC3E}"/>
                    </a:ext>
                  </a:extLst>
                </p:cNvPr>
                <p:cNvSpPr/>
                <p:nvPr/>
              </p:nvSpPr>
              <p:spPr>
                <a:xfrm>
                  <a:off x="6749269" y="3279686"/>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1"/>
                      </a:cubicBezTo>
                      <a:cubicBezTo>
                        <a:pt x="66961" y="15004"/>
                        <a:pt x="51958" y="0"/>
                        <a:pt x="33481" y="0"/>
                      </a:cubicBezTo>
                      <a:cubicBezTo>
                        <a:pt x="15004" y="0"/>
                        <a:pt x="0" y="15004"/>
                        <a:pt x="0" y="33481"/>
                      </a:cubicBezTo>
                      <a:cubicBezTo>
                        <a:pt x="0"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6" name="Freihandform: Form 85">
                  <a:extLst>
                    <a:ext uri="{FF2B5EF4-FFF2-40B4-BE49-F238E27FC236}">
                      <a16:creationId xmlns:a16="http://schemas.microsoft.com/office/drawing/2014/main" id="{240F1A97-4B8F-4078-9D45-D61E0E0883B8}"/>
                    </a:ext>
                  </a:extLst>
                </p:cNvPr>
                <p:cNvSpPr/>
                <p:nvPr/>
              </p:nvSpPr>
              <p:spPr>
                <a:xfrm>
                  <a:off x="3684337" y="2926959"/>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139"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7" name="Freihandform: Form 86">
                  <a:extLst>
                    <a:ext uri="{FF2B5EF4-FFF2-40B4-BE49-F238E27FC236}">
                      <a16:creationId xmlns:a16="http://schemas.microsoft.com/office/drawing/2014/main" id="{06482F14-543C-4B8F-BA35-94D3713D30FE}"/>
                    </a:ext>
                  </a:extLst>
                </p:cNvPr>
                <p:cNvSpPr/>
                <p:nvPr/>
              </p:nvSpPr>
              <p:spPr>
                <a:xfrm>
                  <a:off x="3722541" y="3098668"/>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8" name="Freihandform: Form 87">
                  <a:extLst>
                    <a:ext uri="{FF2B5EF4-FFF2-40B4-BE49-F238E27FC236}">
                      <a16:creationId xmlns:a16="http://schemas.microsoft.com/office/drawing/2014/main" id="{1AC47E0E-1FAD-4D8B-B7F3-6F16AF124617}"/>
                    </a:ext>
                  </a:extLst>
                </p:cNvPr>
                <p:cNvSpPr/>
                <p:nvPr/>
              </p:nvSpPr>
              <p:spPr>
                <a:xfrm>
                  <a:off x="2855102" y="3727853"/>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89" name="Freihandform: Form 88">
                  <a:extLst>
                    <a:ext uri="{FF2B5EF4-FFF2-40B4-BE49-F238E27FC236}">
                      <a16:creationId xmlns:a16="http://schemas.microsoft.com/office/drawing/2014/main" id="{E99B1535-E694-4A04-BE3E-2FEA6EBA0896}"/>
                    </a:ext>
                  </a:extLst>
                </p:cNvPr>
                <p:cNvSpPr/>
                <p:nvPr/>
              </p:nvSpPr>
              <p:spPr>
                <a:xfrm>
                  <a:off x="3398432" y="411392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1" y="66961"/>
                        <a:pt x="66961" y="50290"/>
                        <a:pt x="66961" y="33481"/>
                      </a:cubicBezTo>
                      <a:cubicBezTo>
                        <a:pt x="66961" y="12503"/>
                        <a:pt x="50290" y="0"/>
                        <a:pt x="33481" y="0"/>
                      </a:cubicBezTo>
                      <a:cubicBezTo>
                        <a:pt x="12503" y="0"/>
                        <a:pt x="0" y="12503"/>
                        <a:pt x="0" y="33481"/>
                      </a:cubicBezTo>
                      <a:cubicBezTo>
                        <a:pt x="0" y="50152"/>
                        <a:pt x="125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0" name="Freihandform: Form 89">
                  <a:extLst>
                    <a:ext uri="{FF2B5EF4-FFF2-40B4-BE49-F238E27FC236}">
                      <a16:creationId xmlns:a16="http://schemas.microsoft.com/office/drawing/2014/main" id="{DE62D5CA-F4DF-4C72-BDD9-49E53F53306D}"/>
                    </a:ext>
                  </a:extLst>
                </p:cNvPr>
                <p:cNvSpPr/>
                <p:nvPr/>
              </p:nvSpPr>
              <p:spPr>
                <a:xfrm>
                  <a:off x="9351724" y="4695317"/>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8"/>
                        <a:pt x="66961" y="33481"/>
                      </a:cubicBezTo>
                      <a:cubicBezTo>
                        <a:pt x="66961" y="15004"/>
                        <a:pt x="51957" y="0"/>
                        <a:pt x="33481" y="0"/>
                      </a:cubicBezTo>
                      <a:cubicBezTo>
                        <a:pt x="15003" y="0"/>
                        <a:pt x="0" y="15004"/>
                        <a:pt x="0" y="33481"/>
                      </a:cubicBezTo>
                      <a:cubicBezTo>
                        <a:pt x="0" y="51958"/>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1" name="Freihandform: Form 90">
                  <a:extLst>
                    <a:ext uri="{FF2B5EF4-FFF2-40B4-BE49-F238E27FC236}">
                      <a16:creationId xmlns:a16="http://schemas.microsoft.com/office/drawing/2014/main" id="{5D0E16D7-86C7-4C8E-BD2C-F1123EB112AB}"/>
                    </a:ext>
                  </a:extLst>
                </p:cNvPr>
                <p:cNvSpPr/>
                <p:nvPr/>
              </p:nvSpPr>
              <p:spPr>
                <a:xfrm>
                  <a:off x="9323106" y="4137678"/>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4458" y="66961"/>
                        <a:pt x="66961" y="50290"/>
                        <a:pt x="66961" y="33480"/>
                      </a:cubicBezTo>
                      <a:cubicBezTo>
                        <a:pt x="66961" y="12503"/>
                        <a:pt x="54458" y="0"/>
                        <a:pt x="33481" y="0"/>
                      </a:cubicBezTo>
                      <a:cubicBezTo>
                        <a:pt x="16810" y="0"/>
                        <a:pt x="0" y="12503"/>
                        <a:pt x="0" y="33480"/>
                      </a:cubicBezTo>
                      <a:cubicBezTo>
                        <a:pt x="0" y="50290"/>
                        <a:pt x="16671"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2" name="Freihandform: Form 91">
                  <a:extLst>
                    <a:ext uri="{FF2B5EF4-FFF2-40B4-BE49-F238E27FC236}">
                      <a16:creationId xmlns:a16="http://schemas.microsoft.com/office/drawing/2014/main" id="{A235838A-86FC-437E-A48B-D3F4E2931308}"/>
                    </a:ext>
                  </a:extLst>
                </p:cNvPr>
                <p:cNvSpPr/>
                <p:nvPr/>
              </p:nvSpPr>
              <p:spPr>
                <a:xfrm>
                  <a:off x="9966600" y="3327336"/>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1957" y="66961"/>
                        <a:pt x="66961" y="51957"/>
                        <a:pt x="66961" y="33481"/>
                      </a:cubicBezTo>
                      <a:cubicBezTo>
                        <a:pt x="66961" y="15004"/>
                        <a:pt x="51957" y="0"/>
                        <a:pt x="33480" y="0"/>
                      </a:cubicBezTo>
                      <a:cubicBezTo>
                        <a:pt x="15003" y="0"/>
                        <a:pt x="0" y="15004"/>
                        <a:pt x="0" y="33481"/>
                      </a:cubicBezTo>
                      <a:cubicBezTo>
                        <a:pt x="0" y="52096"/>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3" name="Freihandform: Form 92">
                  <a:extLst>
                    <a:ext uri="{FF2B5EF4-FFF2-40B4-BE49-F238E27FC236}">
                      <a16:creationId xmlns:a16="http://schemas.microsoft.com/office/drawing/2014/main" id="{5F2E8E4C-C86E-41FD-BB5B-71C82AA8235D}"/>
                    </a:ext>
                  </a:extLst>
                </p:cNvPr>
                <p:cNvSpPr/>
                <p:nvPr/>
              </p:nvSpPr>
              <p:spPr>
                <a:xfrm>
                  <a:off x="7406933" y="3865943"/>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1957" y="66961"/>
                        <a:pt x="66961" y="51958"/>
                        <a:pt x="66961" y="33481"/>
                      </a:cubicBezTo>
                      <a:cubicBezTo>
                        <a:pt x="66961" y="15004"/>
                        <a:pt x="51957" y="0"/>
                        <a:pt x="33480" y="0"/>
                      </a:cubicBezTo>
                      <a:cubicBezTo>
                        <a:pt x="15003" y="0"/>
                        <a:pt x="0" y="15004"/>
                        <a:pt x="0" y="33481"/>
                      </a:cubicBezTo>
                      <a:cubicBezTo>
                        <a:pt x="0" y="52096"/>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4" name="Freihandform: Form 93">
                  <a:extLst>
                    <a:ext uri="{FF2B5EF4-FFF2-40B4-BE49-F238E27FC236}">
                      <a16:creationId xmlns:a16="http://schemas.microsoft.com/office/drawing/2014/main" id="{D7090659-FBE3-47E4-9B39-04770719EAAB}"/>
                    </a:ext>
                  </a:extLst>
                </p:cNvPr>
                <p:cNvSpPr/>
                <p:nvPr/>
              </p:nvSpPr>
              <p:spPr>
                <a:xfrm>
                  <a:off x="7659635" y="3770641"/>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5" name="Freihandform: Form 94">
                  <a:extLst>
                    <a:ext uri="{FF2B5EF4-FFF2-40B4-BE49-F238E27FC236}">
                      <a16:creationId xmlns:a16="http://schemas.microsoft.com/office/drawing/2014/main" id="{6DD8A3F5-8488-461A-A881-F82159ED2635}"/>
                    </a:ext>
                  </a:extLst>
                </p:cNvPr>
                <p:cNvSpPr/>
                <p:nvPr/>
              </p:nvSpPr>
              <p:spPr>
                <a:xfrm>
                  <a:off x="8855906" y="3751609"/>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6" name="Freihandform: Form 95">
                  <a:extLst>
                    <a:ext uri="{FF2B5EF4-FFF2-40B4-BE49-F238E27FC236}">
                      <a16:creationId xmlns:a16="http://schemas.microsoft.com/office/drawing/2014/main" id="{2927AA2A-F4F7-4D07-A8CE-1FDD4090A0A7}"/>
                    </a:ext>
                  </a:extLst>
                </p:cNvPr>
                <p:cNvSpPr/>
                <p:nvPr/>
              </p:nvSpPr>
              <p:spPr>
                <a:xfrm>
                  <a:off x="6167735" y="2826934"/>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2" y="66961"/>
                        <a:pt x="66961" y="50290"/>
                        <a:pt x="66961" y="33481"/>
                      </a:cubicBezTo>
                      <a:cubicBezTo>
                        <a:pt x="66961" y="12503"/>
                        <a:pt x="50290" y="0"/>
                        <a:pt x="33481" y="0"/>
                      </a:cubicBezTo>
                      <a:cubicBezTo>
                        <a:pt x="12503" y="0"/>
                        <a:pt x="0" y="12503"/>
                        <a:pt x="0" y="33481"/>
                      </a:cubicBezTo>
                      <a:cubicBezTo>
                        <a:pt x="0" y="50290"/>
                        <a:pt x="125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7" name="Freihandform: Form 96">
                  <a:extLst>
                    <a:ext uri="{FF2B5EF4-FFF2-40B4-BE49-F238E27FC236}">
                      <a16:creationId xmlns:a16="http://schemas.microsoft.com/office/drawing/2014/main" id="{4E619FD2-A0E6-45E9-8137-32C359A3994B}"/>
                    </a:ext>
                  </a:extLst>
                </p:cNvPr>
                <p:cNvSpPr/>
                <p:nvPr/>
              </p:nvSpPr>
              <p:spPr>
                <a:xfrm>
                  <a:off x="6415575" y="2679119"/>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8" name="Freihandform: Form 97">
                  <a:extLst>
                    <a:ext uri="{FF2B5EF4-FFF2-40B4-BE49-F238E27FC236}">
                      <a16:creationId xmlns:a16="http://schemas.microsoft.com/office/drawing/2014/main" id="{093588F7-B7DD-43CE-BA8B-B1D2652746C8}"/>
                    </a:ext>
                  </a:extLst>
                </p:cNvPr>
                <p:cNvSpPr/>
                <p:nvPr/>
              </p:nvSpPr>
              <p:spPr>
                <a:xfrm>
                  <a:off x="6315411" y="2965163"/>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99" name="Freihandform: Form 98">
                  <a:extLst>
                    <a:ext uri="{FF2B5EF4-FFF2-40B4-BE49-F238E27FC236}">
                      <a16:creationId xmlns:a16="http://schemas.microsoft.com/office/drawing/2014/main" id="{50BF2349-5E50-4381-9967-65C073A3B87B}"/>
                    </a:ext>
                  </a:extLst>
                </p:cNvPr>
                <p:cNvSpPr/>
                <p:nvPr/>
              </p:nvSpPr>
              <p:spPr>
                <a:xfrm>
                  <a:off x="5915073" y="3160521"/>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0" name="Freihandform: Form 99">
                  <a:extLst>
                    <a:ext uri="{FF2B5EF4-FFF2-40B4-BE49-F238E27FC236}">
                      <a16:creationId xmlns:a16="http://schemas.microsoft.com/office/drawing/2014/main" id="{B65FF9C8-557A-4427-B53A-052310F7B262}"/>
                    </a:ext>
                  </a:extLst>
                </p:cNvPr>
                <p:cNvSpPr/>
                <p:nvPr/>
              </p:nvSpPr>
              <p:spPr>
                <a:xfrm>
                  <a:off x="6019920" y="4290216"/>
                  <a:ext cx="66961" cy="66961"/>
                </a:xfrm>
                <a:custGeom>
                  <a:avLst/>
                  <a:gdLst>
                    <a:gd name="connsiteX0" fmla="*/ 33480 w 66961"/>
                    <a:gd name="connsiteY0" fmla="*/ 66961 h 66961"/>
                    <a:gd name="connsiteX1" fmla="*/ 66961 w 66961"/>
                    <a:gd name="connsiteY1" fmla="*/ 33480 h 66961"/>
                    <a:gd name="connsiteX2" fmla="*/ 33480 w 66961"/>
                    <a:gd name="connsiteY2" fmla="*/ 0 h 66961"/>
                    <a:gd name="connsiteX3" fmla="*/ 0 w 66961"/>
                    <a:gd name="connsiteY3" fmla="*/ 33480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0"/>
                      </a:cubicBezTo>
                      <a:cubicBezTo>
                        <a:pt x="66961" y="15003"/>
                        <a:pt x="51957" y="0"/>
                        <a:pt x="33480" y="0"/>
                      </a:cubicBezTo>
                      <a:cubicBezTo>
                        <a:pt x="15004" y="0"/>
                        <a:pt x="0" y="15003"/>
                        <a:pt x="0" y="33480"/>
                      </a:cubicBezTo>
                      <a:cubicBezTo>
                        <a:pt x="0" y="51957"/>
                        <a:pt x="15004"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1" name="Freihandform: Form 100">
                  <a:extLst>
                    <a:ext uri="{FF2B5EF4-FFF2-40B4-BE49-F238E27FC236}">
                      <a16:creationId xmlns:a16="http://schemas.microsoft.com/office/drawing/2014/main" id="{51ABB98D-0371-457D-8009-8BCCAFCCFAD0}"/>
                    </a:ext>
                  </a:extLst>
                </p:cNvPr>
                <p:cNvSpPr/>
                <p:nvPr/>
              </p:nvSpPr>
              <p:spPr>
                <a:xfrm>
                  <a:off x="6047366" y="2719199"/>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4" y="0"/>
                        <a:pt x="0" y="15004"/>
                        <a:pt x="0" y="33481"/>
                      </a:cubicBezTo>
                      <a:cubicBezTo>
                        <a:pt x="0" y="51957"/>
                        <a:pt x="15004"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2" name="Freihandform: Form 101">
                  <a:extLst>
                    <a:ext uri="{FF2B5EF4-FFF2-40B4-BE49-F238E27FC236}">
                      <a16:creationId xmlns:a16="http://schemas.microsoft.com/office/drawing/2014/main" id="{FCA23ED5-3C36-446C-A35F-9ABE761F71A0}"/>
                    </a:ext>
                  </a:extLst>
                </p:cNvPr>
                <p:cNvSpPr/>
                <p:nvPr/>
              </p:nvSpPr>
              <p:spPr>
                <a:xfrm>
                  <a:off x="6248727" y="274594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3" name="Freihandform: Form 102">
                  <a:extLst>
                    <a:ext uri="{FF2B5EF4-FFF2-40B4-BE49-F238E27FC236}">
                      <a16:creationId xmlns:a16="http://schemas.microsoft.com/office/drawing/2014/main" id="{176EC564-61F6-4B98-9828-928AD4FB3B8E}"/>
                    </a:ext>
                  </a:extLst>
                </p:cNvPr>
                <p:cNvSpPr/>
                <p:nvPr/>
              </p:nvSpPr>
              <p:spPr>
                <a:xfrm>
                  <a:off x="6534771" y="2831657"/>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2" y="66961"/>
                        <a:pt x="66961" y="50290"/>
                        <a:pt x="66961" y="33481"/>
                      </a:cubicBezTo>
                      <a:cubicBezTo>
                        <a:pt x="66961" y="12503"/>
                        <a:pt x="50291" y="0"/>
                        <a:pt x="33481" y="0"/>
                      </a:cubicBezTo>
                      <a:cubicBezTo>
                        <a:pt x="12503" y="0"/>
                        <a:pt x="0" y="12503"/>
                        <a:pt x="0" y="33481"/>
                      </a:cubicBezTo>
                      <a:cubicBezTo>
                        <a:pt x="0" y="50290"/>
                        <a:pt x="125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4" name="Freihandform: Form 103">
                  <a:extLst>
                    <a:ext uri="{FF2B5EF4-FFF2-40B4-BE49-F238E27FC236}">
                      <a16:creationId xmlns:a16="http://schemas.microsoft.com/office/drawing/2014/main" id="{1509F50C-B6E2-4A70-AC3E-CBE34A61E852}"/>
                    </a:ext>
                  </a:extLst>
                </p:cNvPr>
                <p:cNvSpPr/>
                <p:nvPr/>
              </p:nvSpPr>
              <p:spPr>
                <a:xfrm>
                  <a:off x="6201076" y="2960439"/>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1"/>
                      </a:cubicBezTo>
                      <a:cubicBezTo>
                        <a:pt x="66961" y="15004"/>
                        <a:pt x="51958"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5" name="Freihandform: Form 104">
                  <a:extLst>
                    <a:ext uri="{FF2B5EF4-FFF2-40B4-BE49-F238E27FC236}">
                      <a16:creationId xmlns:a16="http://schemas.microsoft.com/office/drawing/2014/main" id="{A374F8E3-3188-45F9-BF44-661BD35C9AC9}"/>
                    </a:ext>
                  </a:extLst>
                </p:cNvPr>
                <p:cNvSpPr/>
                <p:nvPr/>
              </p:nvSpPr>
              <p:spPr>
                <a:xfrm>
                  <a:off x="6615764" y="2755388"/>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6" name="Freihandform: Form 105">
                  <a:extLst>
                    <a:ext uri="{FF2B5EF4-FFF2-40B4-BE49-F238E27FC236}">
                      <a16:creationId xmlns:a16="http://schemas.microsoft.com/office/drawing/2014/main" id="{D4EA6CD5-B134-489B-8593-B018B7150060}"/>
                    </a:ext>
                  </a:extLst>
                </p:cNvPr>
                <p:cNvSpPr/>
                <p:nvPr/>
              </p:nvSpPr>
              <p:spPr>
                <a:xfrm>
                  <a:off x="6525185" y="2445589"/>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7" name="Freihandform: Form 106">
                  <a:extLst>
                    <a:ext uri="{FF2B5EF4-FFF2-40B4-BE49-F238E27FC236}">
                      <a16:creationId xmlns:a16="http://schemas.microsoft.com/office/drawing/2014/main" id="{A34B0496-9641-4132-AA42-9E9AAC65791B}"/>
                    </a:ext>
                  </a:extLst>
                </p:cNvPr>
                <p:cNvSpPr/>
                <p:nvPr/>
              </p:nvSpPr>
              <p:spPr>
                <a:xfrm>
                  <a:off x="6839708" y="240266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139"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8" name="Freihandform: Form 107">
                  <a:extLst>
                    <a:ext uri="{FF2B5EF4-FFF2-40B4-BE49-F238E27FC236}">
                      <a16:creationId xmlns:a16="http://schemas.microsoft.com/office/drawing/2014/main" id="{1587A2E0-0A28-413C-AA87-86F4AF7FD3A1}"/>
                    </a:ext>
                  </a:extLst>
                </p:cNvPr>
                <p:cNvSpPr/>
                <p:nvPr/>
              </p:nvSpPr>
              <p:spPr>
                <a:xfrm>
                  <a:off x="7168679" y="3441809"/>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09" name="Freihandform: Form 108">
                  <a:extLst>
                    <a:ext uri="{FF2B5EF4-FFF2-40B4-BE49-F238E27FC236}">
                      <a16:creationId xmlns:a16="http://schemas.microsoft.com/office/drawing/2014/main" id="{48FCD610-B6A8-4076-A0AC-DC0DCE3818A0}"/>
                    </a:ext>
                  </a:extLst>
                </p:cNvPr>
                <p:cNvSpPr/>
                <p:nvPr/>
              </p:nvSpPr>
              <p:spPr>
                <a:xfrm>
                  <a:off x="6882635" y="271260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2" y="66961"/>
                        <a:pt x="66961" y="50290"/>
                        <a:pt x="66961" y="33481"/>
                      </a:cubicBezTo>
                      <a:cubicBezTo>
                        <a:pt x="66961" y="12503"/>
                        <a:pt x="50291" y="0"/>
                        <a:pt x="33481" y="0"/>
                      </a:cubicBezTo>
                      <a:cubicBezTo>
                        <a:pt x="12503" y="0"/>
                        <a:pt x="0" y="12503"/>
                        <a:pt x="0" y="33481"/>
                      </a:cubicBezTo>
                      <a:cubicBezTo>
                        <a:pt x="0" y="50151"/>
                        <a:pt x="12642"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0" name="Freihandform: Form 109">
                  <a:extLst>
                    <a:ext uri="{FF2B5EF4-FFF2-40B4-BE49-F238E27FC236}">
                      <a16:creationId xmlns:a16="http://schemas.microsoft.com/office/drawing/2014/main" id="{275A3E11-E7FB-4626-8C32-C26E312DC8D2}"/>
                    </a:ext>
                  </a:extLst>
                </p:cNvPr>
                <p:cNvSpPr/>
                <p:nvPr/>
              </p:nvSpPr>
              <p:spPr>
                <a:xfrm>
                  <a:off x="4327831" y="5567618"/>
                  <a:ext cx="66961" cy="66961"/>
                </a:xfrm>
                <a:custGeom>
                  <a:avLst/>
                  <a:gdLst>
                    <a:gd name="connsiteX0" fmla="*/ 33480 w 66961"/>
                    <a:gd name="connsiteY0" fmla="*/ 66961 h 66961"/>
                    <a:gd name="connsiteX1" fmla="*/ 66961 w 66961"/>
                    <a:gd name="connsiteY1" fmla="*/ 33480 h 66961"/>
                    <a:gd name="connsiteX2" fmla="*/ 33480 w 66961"/>
                    <a:gd name="connsiteY2" fmla="*/ 0 h 66961"/>
                    <a:gd name="connsiteX3" fmla="*/ 0 w 66961"/>
                    <a:gd name="connsiteY3" fmla="*/ 33480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0"/>
                      </a:cubicBezTo>
                      <a:cubicBezTo>
                        <a:pt x="66961" y="15003"/>
                        <a:pt x="51957" y="0"/>
                        <a:pt x="33480" y="0"/>
                      </a:cubicBezTo>
                      <a:cubicBezTo>
                        <a:pt x="15004" y="0"/>
                        <a:pt x="0" y="15003"/>
                        <a:pt x="0" y="33480"/>
                      </a:cubicBezTo>
                      <a:cubicBezTo>
                        <a:pt x="0" y="51957"/>
                        <a:pt x="15004"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1" name="Freihandform: Form 110">
                  <a:extLst>
                    <a:ext uri="{FF2B5EF4-FFF2-40B4-BE49-F238E27FC236}">
                      <a16:creationId xmlns:a16="http://schemas.microsoft.com/office/drawing/2014/main" id="{B641CC05-2D2F-4089-82A0-F75481AD5039}"/>
                    </a:ext>
                  </a:extLst>
                </p:cNvPr>
                <p:cNvSpPr/>
                <p:nvPr/>
              </p:nvSpPr>
              <p:spPr>
                <a:xfrm>
                  <a:off x="6863603" y="3003228"/>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2096"/>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2" name="Freihandform: Form 111">
                  <a:extLst>
                    <a:ext uri="{FF2B5EF4-FFF2-40B4-BE49-F238E27FC236}">
                      <a16:creationId xmlns:a16="http://schemas.microsoft.com/office/drawing/2014/main" id="{ED98C833-EA18-4D4F-85EE-C2050112AE1D}"/>
                    </a:ext>
                  </a:extLst>
                </p:cNvPr>
                <p:cNvSpPr/>
                <p:nvPr/>
              </p:nvSpPr>
              <p:spPr>
                <a:xfrm>
                  <a:off x="6639519" y="289848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1"/>
                      </a:cubicBezTo>
                      <a:cubicBezTo>
                        <a:pt x="66961" y="15004"/>
                        <a:pt x="51958" y="0"/>
                        <a:pt x="33481" y="0"/>
                      </a:cubicBezTo>
                      <a:cubicBezTo>
                        <a:pt x="15004" y="0"/>
                        <a:pt x="0" y="15004"/>
                        <a:pt x="0" y="33481"/>
                      </a:cubicBezTo>
                      <a:cubicBezTo>
                        <a:pt x="139"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3" name="Freihandform: Form 112">
                  <a:extLst>
                    <a:ext uri="{FF2B5EF4-FFF2-40B4-BE49-F238E27FC236}">
                      <a16:creationId xmlns:a16="http://schemas.microsoft.com/office/drawing/2014/main" id="{818986C3-BF32-4E63-9252-F36D509E99B9}"/>
                    </a:ext>
                  </a:extLst>
                </p:cNvPr>
                <p:cNvSpPr/>
                <p:nvPr/>
              </p:nvSpPr>
              <p:spPr>
                <a:xfrm>
                  <a:off x="6930286" y="2903203"/>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4" name="Freihandform: Form 113">
                  <a:extLst>
                    <a:ext uri="{FF2B5EF4-FFF2-40B4-BE49-F238E27FC236}">
                      <a16:creationId xmlns:a16="http://schemas.microsoft.com/office/drawing/2014/main" id="{E2BC90DE-AD14-48E4-98DA-BE38B33797E9}"/>
                    </a:ext>
                  </a:extLst>
                </p:cNvPr>
                <p:cNvSpPr/>
                <p:nvPr/>
              </p:nvSpPr>
              <p:spPr>
                <a:xfrm>
                  <a:off x="6611040" y="258854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4458" y="66961"/>
                        <a:pt x="66961" y="54458"/>
                        <a:pt x="66961" y="33481"/>
                      </a:cubicBezTo>
                      <a:cubicBezTo>
                        <a:pt x="66961" y="16810"/>
                        <a:pt x="54458" y="0"/>
                        <a:pt x="33481" y="0"/>
                      </a:cubicBezTo>
                      <a:cubicBezTo>
                        <a:pt x="16810" y="0"/>
                        <a:pt x="0" y="16671"/>
                        <a:pt x="0" y="33481"/>
                      </a:cubicBezTo>
                      <a:cubicBezTo>
                        <a:pt x="0" y="54458"/>
                        <a:pt x="16671"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5" name="Freihandform: Form 114">
                  <a:extLst>
                    <a:ext uri="{FF2B5EF4-FFF2-40B4-BE49-F238E27FC236}">
                      <a16:creationId xmlns:a16="http://schemas.microsoft.com/office/drawing/2014/main" id="{D327E0BB-74C0-46B0-9834-6FBA5217BF87}"/>
                    </a:ext>
                  </a:extLst>
                </p:cNvPr>
                <p:cNvSpPr/>
                <p:nvPr/>
              </p:nvSpPr>
              <p:spPr>
                <a:xfrm>
                  <a:off x="6792057" y="2297913"/>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6" name="Freihandform: Form 115">
                  <a:extLst>
                    <a:ext uri="{FF2B5EF4-FFF2-40B4-BE49-F238E27FC236}">
                      <a16:creationId xmlns:a16="http://schemas.microsoft.com/office/drawing/2014/main" id="{7C2D3B7F-43A7-433D-981B-28EDCAF309F9}"/>
                    </a:ext>
                  </a:extLst>
                </p:cNvPr>
                <p:cNvSpPr/>
                <p:nvPr/>
              </p:nvSpPr>
              <p:spPr>
                <a:xfrm>
                  <a:off x="3760606" y="437607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8"/>
                        <a:pt x="66961" y="33481"/>
                      </a:cubicBezTo>
                      <a:cubicBezTo>
                        <a:pt x="66961" y="15004"/>
                        <a:pt x="51957" y="0"/>
                        <a:pt x="33481" y="0"/>
                      </a:cubicBezTo>
                      <a:cubicBezTo>
                        <a:pt x="15004" y="0"/>
                        <a:pt x="0" y="15004"/>
                        <a:pt x="0" y="33481"/>
                      </a:cubicBezTo>
                      <a:cubicBezTo>
                        <a:pt x="0" y="51958"/>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7" name="Freihandform: Form 116">
                  <a:extLst>
                    <a:ext uri="{FF2B5EF4-FFF2-40B4-BE49-F238E27FC236}">
                      <a16:creationId xmlns:a16="http://schemas.microsoft.com/office/drawing/2014/main" id="{185B737D-A135-410D-B6E0-7F4D66790F23}"/>
                    </a:ext>
                  </a:extLst>
                </p:cNvPr>
                <p:cNvSpPr/>
                <p:nvPr/>
              </p:nvSpPr>
              <p:spPr>
                <a:xfrm>
                  <a:off x="6801643" y="288417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0152" y="66961"/>
                        <a:pt x="66961" y="50290"/>
                        <a:pt x="66961" y="33481"/>
                      </a:cubicBezTo>
                      <a:cubicBezTo>
                        <a:pt x="66961" y="12503"/>
                        <a:pt x="50291" y="0"/>
                        <a:pt x="33481" y="0"/>
                      </a:cubicBezTo>
                      <a:cubicBezTo>
                        <a:pt x="12503" y="0"/>
                        <a:pt x="0" y="12503"/>
                        <a:pt x="0" y="33481"/>
                      </a:cubicBezTo>
                      <a:cubicBezTo>
                        <a:pt x="0" y="50151"/>
                        <a:pt x="125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8" name="Freihandform: Form 117">
                  <a:extLst>
                    <a:ext uri="{FF2B5EF4-FFF2-40B4-BE49-F238E27FC236}">
                      <a16:creationId xmlns:a16="http://schemas.microsoft.com/office/drawing/2014/main" id="{3D61A5EB-6ADE-48DC-B7C1-F65CF536CDE2}"/>
                    </a:ext>
                  </a:extLst>
                </p:cNvPr>
                <p:cNvSpPr/>
                <p:nvPr/>
              </p:nvSpPr>
              <p:spPr>
                <a:xfrm>
                  <a:off x="6696756" y="3046155"/>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19" name="Freihandform: Form 118">
                  <a:extLst>
                    <a:ext uri="{FF2B5EF4-FFF2-40B4-BE49-F238E27FC236}">
                      <a16:creationId xmlns:a16="http://schemas.microsoft.com/office/drawing/2014/main" id="{9B9E4DDB-DDEC-49E4-BC84-D16360A2887C}"/>
                    </a:ext>
                  </a:extLst>
                </p:cNvPr>
                <p:cNvSpPr/>
                <p:nvPr/>
              </p:nvSpPr>
              <p:spPr>
                <a:xfrm>
                  <a:off x="7554748" y="3713544"/>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0" name="Freihandform: Form 119">
                  <a:extLst>
                    <a:ext uri="{FF2B5EF4-FFF2-40B4-BE49-F238E27FC236}">
                      <a16:creationId xmlns:a16="http://schemas.microsoft.com/office/drawing/2014/main" id="{E47DAFF6-DF98-48FC-AEF5-A3D93D67011E}"/>
                    </a:ext>
                  </a:extLst>
                </p:cNvPr>
                <p:cNvSpPr/>
                <p:nvPr/>
              </p:nvSpPr>
              <p:spPr>
                <a:xfrm>
                  <a:off x="6801643" y="2517134"/>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1" name="Freihandform: Form 120">
                  <a:extLst>
                    <a:ext uri="{FF2B5EF4-FFF2-40B4-BE49-F238E27FC236}">
                      <a16:creationId xmlns:a16="http://schemas.microsoft.com/office/drawing/2014/main" id="{9C2438F9-FE3C-4FEF-85E1-75DD53A1E4D1}"/>
                    </a:ext>
                  </a:extLst>
                </p:cNvPr>
                <p:cNvSpPr/>
                <p:nvPr/>
              </p:nvSpPr>
              <p:spPr>
                <a:xfrm>
                  <a:off x="6930286" y="3174937"/>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2" name="Freihandform: Form 121">
                  <a:extLst>
                    <a:ext uri="{FF2B5EF4-FFF2-40B4-BE49-F238E27FC236}">
                      <a16:creationId xmlns:a16="http://schemas.microsoft.com/office/drawing/2014/main" id="{E7331035-2679-436B-B21F-E0ABB051130E}"/>
                    </a:ext>
                  </a:extLst>
                </p:cNvPr>
                <p:cNvSpPr/>
                <p:nvPr/>
              </p:nvSpPr>
              <p:spPr>
                <a:xfrm>
                  <a:off x="6596731" y="2979472"/>
                  <a:ext cx="66961" cy="66961"/>
                </a:xfrm>
                <a:custGeom>
                  <a:avLst/>
                  <a:gdLst>
                    <a:gd name="connsiteX0" fmla="*/ 31536 w 66961"/>
                    <a:gd name="connsiteY0" fmla="*/ 66961 h 66961"/>
                    <a:gd name="connsiteX1" fmla="*/ 66961 w 66961"/>
                    <a:gd name="connsiteY1" fmla="*/ 33481 h 66961"/>
                    <a:gd name="connsiteX2" fmla="*/ 31536 w 66961"/>
                    <a:gd name="connsiteY2" fmla="*/ 0 h 66961"/>
                    <a:gd name="connsiteX3" fmla="*/ 0 w 66961"/>
                    <a:gd name="connsiteY3" fmla="*/ 33481 h 66961"/>
                    <a:gd name="connsiteX4" fmla="*/ 31536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1536" y="66961"/>
                      </a:moveTo>
                      <a:cubicBezTo>
                        <a:pt x="51263" y="66961"/>
                        <a:pt x="66961" y="50290"/>
                        <a:pt x="66961" y="33481"/>
                      </a:cubicBezTo>
                      <a:cubicBezTo>
                        <a:pt x="66961" y="12503"/>
                        <a:pt x="51263" y="0"/>
                        <a:pt x="31536" y="0"/>
                      </a:cubicBezTo>
                      <a:cubicBezTo>
                        <a:pt x="15837" y="0"/>
                        <a:pt x="0" y="12503"/>
                        <a:pt x="0" y="33481"/>
                      </a:cubicBezTo>
                      <a:cubicBezTo>
                        <a:pt x="0" y="50151"/>
                        <a:pt x="15698" y="66961"/>
                        <a:pt x="31536"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3" name="Freihandform: Form 122">
                  <a:extLst>
                    <a:ext uri="{FF2B5EF4-FFF2-40B4-BE49-F238E27FC236}">
                      <a16:creationId xmlns:a16="http://schemas.microsoft.com/office/drawing/2014/main" id="{6E331187-9070-4B3A-B309-A7D9773BA7E5}"/>
                    </a:ext>
                  </a:extLst>
                </p:cNvPr>
                <p:cNvSpPr/>
                <p:nvPr/>
              </p:nvSpPr>
              <p:spPr>
                <a:xfrm>
                  <a:off x="7082824" y="3518079"/>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4" name="Freihandform: Form 123">
                  <a:extLst>
                    <a:ext uri="{FF2B5EF4-FFF2-40B4-BE49-F238E27FC236}">
                      <a16:creationId xmlns:a16="http://schemas.microsoft.com/office/drawing/2014/main" id="{9212D970-63B9-4FBA-A594-B3ECEBCA9819}"/>
                    </a:ext>
                  </a:extLst>
                </p:cNvPr>
                <p:cNvSpPr/>
                <p:nvPr/>
              </p:nvSpPr>
              <p:spPr>
                <a:xfrm>
                  <a:off x="4246839" y="5686814"/>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4458" y="66961"/>
                        <a:pt x="66961" y="54458"/>
                        <a:pt x="66961" y="33481"/>
                      </a:cubicBezTo>
                      <a:cubicBezTo>
                        <a:pt x="66961" y="16810"/>
                        <a:pt x="54458" y="0"/>
                        <a:pt x="33481" y="0"/>
                      </a:cubicBezTo>
                      <a:cubicBezTo>
                        <a:pt x="16810" y="0"/>
                        <a:pt x="0" y="16671"/>
                        <a:pt x="0" y="33481"/>
                      </a:cubicBezTo>
                      <a:cubicBezTo>
                        <a:pt x="0" y="54319"/>
                        <a:pt x="16810"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5" name="Freihandform: Form 124">
                  <a:extLst>
                    <a:ext uri="{FF2B5EF4-FFF2-40B4-BE49-F238E27FC236}">
                      <a16:creationId xmlns:a16="http://schemas.microsoft.com/office/drawing/2014/main" id="{5EF519A7-B37D-4BDB-B560-074E4522B286}"/>
                    </a:ext>
                  </a:extLst>
                </p:cNvPr>
                <p:cNvSpPr/>
                <p:nvPr/>
              </p:nvSpPr>
              <p:spPr>
                <a:xfrm>
                  <a:off x="6949458" y="3546697"/>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6" name="Freihandform: Form 125">
                  <a:extLst>
                    <a:ext uri="{FF2B5EF4-FFF2-40B4-BE49-F238E27FC236}">
                      <a16:creationId xmlns:a16="http://schemas.microsoft.com/office/drawing/2014/main" id="{408AB0DD-9A1A-48F5-9E6D-22ABF2EFC8AA}"/>
                    </a:ext>
                  </a:extLst>
                </p:cNvPr>
                <p:cNvSpPr/>
                <p:nvPr/>
              </p:nvSpPr>
              <p:spPr>
                <a:xfrm>
                  <a:off x="6529908" y="2712600"/>
                  <a:ext cx="66961" cy="66961"/>
                </a:xfrm>
                <a:custGeom>
                  <a:avLst/>
                  <a:gdLst>
                    <a:gd name="connsiteX0" fmla="*/ 35426 w 66961"/>
                    <a:gd name="connsiteY0" fmla="*/ 66961 h 66961"/>
                    <a:gd name="connsiteX1" fmla="*/ 66961 w 66961"/>
                    <a:gd name="connsiteY1" fmla="*/ 33481 h 66961"/>
                    <a:gd name="connsiteX2" fmla="*/ 35426 w 66961"/>
                    <a:gd name="connsiteY2" fmla="*/ 0 h 66961"/>
                    <a:gd name="connsiteX3" fmla="*/ 0 w 66961"/>
                    <a:gd name="connsiteY3" fmla="*/ 33481 h 66961"/>
                    <a:gd name="connsiteX4" fmla="*/ 35426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5426" y="66961"/>
                      </a:moveTo>
                      <a:cubicBezTo>
                        <a:pt x="51124" y="66961"/>
                        <a:pt x="66961" y="50290"/>
                        <a:pt x="66961" y="33481"/>
                      </a:cubicBezTo>
                      <a:cubicBezTo>
                        <a:pt x="66961" y="12503"/>
                        <a:pt x="51263" y="0"/>
                        <a:pt x="35426" y="0"/>
                      </a:cubicBezTo>
                      <a:cubicBezTo>
                        <a:pt x="15698" y="0"/>
                        <a:pt x="0" y="12503"/>
                        <a:pt x="0" y="33481"/>
                      </a:cubicBezTo>
                      <a:cubicBezTo>
                        <a:pt x="0" y="50151"/>
                        <a:pt x="15837" y="66961"/>
                        <a:pt x="35426"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7" name="Freihandform: Form 126">
                  <a:extLst>
                    <a:ext uri="{FF2B5EF4-FFF2-40B4-BE49-F238E27FC236}">
                      <a16:creationId xmlns:a16="http://schemas.microsoft.com/office/drawing/2014/main" id="{E57329FF-A0C2-4D71-8028-CCACBDC27F02}"/>
                    </a:ext>
                  </a:extLst>
                </p:cNvPr>
                <p:cNvSpPr/>
                <p:nvPr/>
              </p:nvSpPr>
              <p:spPr>
                <a:xfrm>
                  <a:off x="6730097" y="272677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3" y="0"/>
                        <a:pt x="0" y="15004"/>
                        <a:pt x="0" y="33481"/>
                      </a:cubicBezTo>
                      <a:cubicBezTo>
                        <a:pt x="0" y="52096"/>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8" name="Freihandform: Form 127">
                  <a:extLst>
                    <a:ext uri="{FF2B5EF4-FFF2-40B4-BE49-F238E27FC236}">
                      <a16:creationId xmlns:a16="http://schemas.microsoft.com/office/drawing/2014/main" id="{42C8653F-01B2-4B12-B4A6-B10BAC2FA052}"/>
                    </a:ext>
                  </a:extLst>
                </p:cNvPr>
                <p:cNvSpPr/>
                <p:nvPr/>
              </p:nvSpPr>
              <p:spPr>
                <a:xfrm>
                  <a:off x="6482258" y="2784007"/>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3" y="0"/>
                        <a:pt x="0" y="15004"/>
                        <a:pt x="0" y="33481"/>
                      </a:cubicBezTo>
                      <a:cubicBezTo>
                        <a:pt x="0" y="51957"/>
                        <a:pt x="15003"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29" name="Freihandform: Form 128">
                  <a:extLst>
                    <a:ext uri="{FF2B5EF4-FFF2-40B4-BE49-F238E27FC236}">
                      <a16:creationId xmlns:a16="http://schemas.microsoft.com/office/drawing/2014/main" id="{A4F02168-2AD3-411D-9F71-8D77B7FDF6D5}"/>
                    </a:ext>
                  </a:extLst>
                </p:cNvPr>
                <p:cNvSpPr/>
                <p:nvPr/>
              </p:nvSpPr>
              <p:spPr>
                <a:xfrm>
                  <a:off x="6143840" y="3346508"/>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0" name="Freihandform: Form 129">
                  <a:extLst>
                    <a:ext uri="{FF2B5EF4-FFF2-40B4-BE49-F238E27FC236}">
                      <a16:creationId xmlns:a16="http://schemas.microsoft.com/office/drawing/2014/main" id="{EED93467-B512-4D78-A074-D577E901D8D1}"/>
                    </a:ext>
                  </a:extLst>
                </p:cNvPr>
                <p:cNvSpPr/>
                <p:nvPr/>
              </p:nvSpPr>
              <p:spPr>
                <a:xfrm>
                  <a:off x="9766411" y="3732576"/>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7"/>
                        <a:pt x="66961" y="33481"/>
                      </a:cubicBezTo>
                      <a:cubicBezTo>
                        <a:pt x="66961" y="15004"/>
                        <a:pt x="51957" y="0"/>
                        <a:pt x="33481" y="0"/>
                      </a:cubicBezTo>
                      <a:cubicBezTo>
                        <a:pt x="15003" y="0"/>
                        <a:pt x="0" y="15004"/>
                        <a:pt x="0" y="33481"/>
                      </a:cubicBezTo>
                      <a:cubicBezTo>
                        <a:pt x="0" y="51957"/>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1" name="Freihandform: Form 130">
                  <a:extLst>
                    <a:ext uri="{FF2B5EF4-FFF2-40B4-BE49-F238E27FC236}">
                      <a16:creationId xmlns:a16="http://schemas.microsoft.com/office/drawing/2014/main" id="{82A51FF0-4751-4257-9E21-58BCAFBCBD1E}"/>
                    </a:ext>
                  </a:extLst>
                </p:cNvPr>
                <p:cNvSpPr/>
                <p:nvPr/>
              </p:nvSpPr>
              <p:spPr>
                <a:xfrm>
                  <a:off x="10352246" y="3343772"/>
                  <a:ext cx="66822" cy="66961"/>
                </a:xfrm>
                <a:custGeom>
                  <a:avLst/>
                  <a:gdLst>
                    <a:gd name="connsiteX0" fmla="*/ 35426 w 66822"/>
                    <a:gd name="connsiteY0" fmla="*/ 66961 h 66961"/>
                    <a:gd name="connsiteX1" fmla="*/ 66822 w 66822"/>
                    <a:gd name="connsiteY1" fmla="*/ 33481 h 66961"/>
                    <a:gd name="connsiteX2" fmla="*/ 35426 w 66822"/>
                    <a:gd name="connsiteY2" fmla="*/ 0 h 66961"/>
                    <a:gd name="connsiteX3" fmla="*/ 0 w 66822"/>
                    <a:gd name="connsiteY3" fmla="*/ 33481 h 66961"/>
                    <a:gd name="connsiteX4" fmla="*/ 35426 w 66822"/>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22" h="66961">
                      <a:moveTo>
                        <a:pt x="35426" y="66961"/>
                      </a:moveTo>
                      <a:cubicBezTo>
                        <a:pt x="51124" y="66961"/>
                        <a:pt x="66822" y="50290"/>
                        <a:pt x="66822" y="33481"/>
                      </a:cubicBezTo>
                      <a:cubicBezTo>
                        <a:pt x="66822" y="12503"/>
                        <a:pt x="51124" y="0"/>
                        <a:pt x="35426" y="0"/>
                      </a:cubicBezTo>
                      <a:cubicBezTo>
                        <a:pt x="15699" y="0"/>
                        <a:pt x="0" y="12503"/>
                        <a:pt x="0" y="33481"/>
                      </a:cubicBezTo>
                      <a:cubicBezTo>
                        <a:pt x="0" y="50151"/>
                        <a:pt x="15699" y="66961"/>
                        <a:pt x="35426"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2" name="Freihandform: Form 131">
                  <a:extLst>
                    <a:ext uri="{FF2B5EF4-FFF2-40B4-BE49-F238E27FC236}">
                      <a16:creationId xmlns:a16="http://schemas.microsoft.com/office/drawing/2014/main" id="{D57FF943-19C0-492E-9842-2405BB027BDA}"/>
                    </a:ext>
                  </a:extLst>
                </p:cNvPr>
                <p:cNvSpPr/>
                <p:nvPr/>
              </p:nvSpPr>
              <p:spPr>
                <a:xfrm>
                  <a:off x="8398430" y="3694372"/>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3" name="Freihandform: Form 132">
                  <a:extLst>
                    <a:ext uri="{FF2B5EF4-FFF2-40B4-BE49-F238E27FC236}">
                      <a16:creationId xmlns:a16="http://schemas.microsoft.com/office/drawing/2014/main" id="{E11F7817-F88F-4C53-932B-DE1FB09CC28E}"/>
                    </a:ext>
                  </a:extLst>
                </p:cNvPr>
                <p:cNvSpPr/>
                <p:nvPr/>
              </p:nvSpPr>
              <p:spPr>
                <a:xfrm>
                  <a:off x="6105775" y="2888894"/>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4458" y="66961"/>
                        <a:pt x="66961" y="54458"/>
                        <a:pt x="66961" y="33481"/>
                      </a:cubicBezTo>
                      <a:cubicBezTo>
                        <a:pt x="66961" y="16810"/>
                        <a:pt x="54458" y="0"/>
                        <a:pt x="33480" y="0"/>
                      </a:cubicBezTo>
                      <a:cubicBezTo>
                        <a:pt x="16810" y="0"/>
                        <a:pt x="0" y="16671"/>
                        <a:pt x="0" y="33481"/>
                      </a:cubicBezTo>
                      <a:cubicBezTo>
                        <a:pt x="0" y="54458"/>
                        <a:pt x="16671"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4" name="Freihandform: Form 133">
                  <a:extLst>
                    <a:ext uri="{FF2B5EF4-FFF2-40B4-BE49-F238E27FC236}">
                      <a16:creationId xmlns:a16="http://schemas.microsoft.com/office/drawing/2014/main" id="{6189B323-5695-42FF-9590-2D58A6E562EA}"/>
                    </a:ext>
                  </a:extLst>
                </p:cNvPr>
                <p:cNvSpPr/>
                <p:nvPr/>
              </p:nvSpPr>
              <p:spPr>
                <a:xfrm>
                  <a:off x="8965656" y="3856496"/>
                  <a:ext cx="66960" cy="66961"/>
                </a:xfrm>
                <a:custGeom>
                  <a:avLst/>
                  <a:gdLst>
                    <a:gd name="connsiteX0" fmla="*/ 33480 w 66960"/>
                    <a:gd name="connsiteY0" fmla="*/ 66961 h 66961"/>
                    <a:gd name="connsiteX1" fmla="*/ 66961 w 66960"/>
                    <a:gd name="connsiteY1" fmla="*/ 33481 h 66961"/>
                    <a:gd name="connsiteX2" fmla="*/ 33480 w 66960"/>
                    <a:gd name="connsiteY2" fmla="*/ 0 h 66961"/>
                    <a:gd name="connsiteX3" fmla="*/ 0 w 66960"/>
                    <a:gd name="connsiteY3" fmla="*/ 33481 h 66961"/>
                    <a:gd name="connsiteX4" fmla="*/ 33480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0" y="66961"/>
                      </a:moveTo>
                      <a:cubicBezTo>
                        <a:pt x="54458" y="66961"/>
                        <a:pt x="66961" y="50291"/>
                        <a:pt x="66961" y="33481"/>
                      </a:cubicBezTo>
                      <a:cubicBezTo>
                        <a:pt x="66961" y="12503"/>
                        <a:pt x="54458" y="0"/>
                        <a:pt x="33480" y="0"/>
                      </a:cubicBezTo>
                      <a:cubicBezTo>
                        <a:pt x="16809" y="0"/>
                        <a:pt x="0" y="12503"/>
                        <a:pt x="0" y="33481"/>
                      </a:cubicBezTo>
                      <a:cubicBezTo>
                        <a:pt x="0" y="50152"/>
                        <a:pt x="16671"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5" name="Freihandform: Form 134">
                  <a:extLst>
                    <a:ext uri="{FF2B5EF4-FFF2-40B4-BE49-F238E27FC236}">
                      <a16:creationId xmlns:a16="http://schemas.microsoft.com/office/drawing/2014/main" id="{BDAAC55F-F27F-4E72-A538-66253F76ED79}"/>
                    </a:ext>
                  </a:extLst>
                </p:cNvPr>
                <p:cNvSpPr/>
                <p:nvPr userDrawn="1"/>
              </p:nvSpPr>
              <p:spPr>
                <a:xfrm>
                  <a:off x="3000519" y="3923030"/>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1"/>
                      </a:cubicBezTo>
                      <a:cubicBezTo>
                        <a:pt x="66961" y="15004"/>
                        <a:pt x="51957" y="0"/>
                        <a:pt x="33481" y="0"/>
                      </a:cubicBezTo>
                      <a:cubicBezTo>
                        <a:pt x="15004" y="0"/>
                        <a:pt x="0" y="15004"/>
                        <a:pt x="0" y="33481"/>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6" name="Freihandform: Form 135">
                  <a:extLst>
                    <a:ext uri="{FF2B5EF4-FFF2-40B4-BE49-F238E27FC236}">
                      <a16:creationId xmlns:a16="http://schemas.microsoft.com/office/drawing/2014/main" id="{A8CD68C0-828F-4424-B1AD-1299A8768CE6}"/>
                    </a:ext>
                  </a:extLst>
                </p:cNvPr>
                <p:cNvSpPr/>
                <p:nvPr userDrawn="1"/>
              </p:nvSpPr>
              <p:spPr>
                <a:xfrm>
                  <a:off x="3651453" y="4849157"/>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7"/>
                        <a:pt x="66961" y="33480"/>
                      </a:cubicBezTo>
                      <a:cubicBezTo>
                        <a:pt x="66961" y="15004"/>
                        <a:pt x="51957" y="0"/>
                        <a:pt x="33481" y="0"/>
                      </a:cubicBezTo>
                      <a:cubicBezTo>
                        <a:pt x="15004" y="0"/>
                        <a:pt x="0" y="15004"/>
                        <a:pt x="0" y="33480"/>
                      </a:cubicBezTo>
                      <a:cubicBezTo>
                        <a:pt x="0" y="51957"/>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7" name="Freihandform: Form 136">
                  <a:extLst>
                    <a:ext uri="{FF2B5EF4-FFF2-40B4-BE49-F238E27FC236}">
                      <a16:creationId xmlns:a16="http://schemas.microsoft.com/office/drawing/2014/main" id="{41DD996B-19C4-441E-9C6C-759C7F869BA0}"/>
                    </a:ext>
                  </a:extLst>
                </p:cNvPr>
                <p:cNvSpPr/>
                <p:nvPr userDrawn="1"/>
              </p:nvSpPr>
              <p:spPr>
                <a:xfrm>
                  <a:off x="5840778" y="2670391"/>
                  <a:ext cx="66961" cy="66961"/>
                </a:xfrm>
                <a:custGeom>
                  <a:avLst/>
                  <a:gdLst>
                    <a:gd name="connsiteX0" fmla="*/ 33480 w 66961"/>
                    <a:gd name="connsiteY0" fmla="*/ 66961 h 66961"/>
                    <a:gd name="connsiteX1" fmla="*/ 66961 w 66961"/>
                    <a:gd name="connsiteY1" fmla="*/ 33481 h 66961"/>
                    <a:gd name="connsiteX2" fmla="*/ 33480 w 66961"/>
                    <a:gd name="connsiteY2" fmla="*/ 0 h 66961"/>
                    <a:gd name="connsiteX3" fmla="*/ 0 w 66961"/>
                    <a:gd name="connsiteY3" fmla="*/ 33481 h 66961"/>
                    <a:gd name="connsiteX4" fmla="*/ 33480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0" y="66961"/>
                      </a:moveTo>
                      <a:cubicBezTo>
                        <a:pt x="51957" y="66961"/>
                        <a:pt x="66961" y="51957"/>
                        <a:pt x="66961" y="33481"/>
                      </a:cubicBezTo>
                      <a:cubicBezTo>
                        <a:pt x="66961" y="15004"/>
                        <a:pt x="51957" y="0"/>
                        <a:pt x="33480" y="0"/>
                      </a:cubicBezTo>
                      <a:cubicBezTo>
                        <a:pt x="15004" y="0"/>
                        <a:pt x="0" y="15004"/>
                        <a:pt x="0" y="33481"/>
                      </a:cubicBezTo>
                      <a:cubicBezTo>
                        <a:pt x="0" y="51957"/>
                        <a:pt x="15004" y="66961"/>
                        <a:pt x="33480"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8" name="Freihandform: Form 137">
                  <a:extLst>
                    <a:ext uri="{FF2B5EF4-FFF2-40B4-BE49-F238E27FC236}">
                      <a16:creationId xmlns:a16="http://schemas.microsoft.com/office/drawing/2014/main" id="{F5B0036B-3B17-4940-B8AF-0261131BAA4C}"/>
                    </a:ext>
                  </a:extLst>
                </p:cNvPr>
                <p:cNvSpPr/>
                <p:nvPr userDrawn="1"/>
              </p:nvSpPr>
              <p:spPr>
                <a:xfrm>
                  <a:off x="4189750" y="4015315"/>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7" y="66961"/>
                        <a:pt x="66961" y="51958"/>
                        <a:pt x="66961" y="33481"/>
                      </a:cubicBezTo>
                      <a:cubicBezTo>
                        <a:pt x="66961" y="15004"/>
                        <a:pt x="51957" y="0"/>
                        <a:pt x="33481" y="0"/>
                      </a:cubicBezTo>
                      <a:cubicBezTo>
                        <a:pt x="15004" y="0"/>
                        <a:pt x="0" y="15004"/>
                        <a:pt x="0" y="33481"/>
                      </a:cubicBezTo>
                      <a:cubicBezTo>
                        <a:pt x="0" y="51958"/>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39" name="Freihandform: Form 138">
                  <a:extLst>
                    <a:ext uri="{FF2B5EF4-FFF2-40B4-BE49-F238E27FC236}">
                      <a16:creationId xmlns:a16="http://schemas.microsoft.com/office/drawing/2014/main" id="{77AEAB59-12A9-4E5D-A189-636AB7F66B77}"/>
                    </a:ext>
                  </a:extLst>
                </p:cNvPr>
                <p:cNvSpPr/>
                <p:nvPr userDrawn="1"/>
              </p:nvSpPr>
              <p:spPr>
                <a:xfrm>
                  <a:off x="6141956" y="4302745"/>
                  <a:ext cx="66961" cy="66961"/>
                </a:xfrm>
                <a:custGeom>
                  <a:avLst/>
                  <a:gdLst>
                    <a:gd name="connsiteX0" fmla="*/ 33481 w 66961"/>
                    <a:gd name="connsiteY0" fmla="*/ 66961 h 66961"/>
                    <a:gd name="connsiteX1" fmla="*/ 66961 w 66961"/>
                    <a:gd name="connsiteY1" fmla="*/ 33480 h 66961"/>
                    <a:gd name="connsiteX2" fmla="*/ 33481 w 66961"/>
                    <a:gd name="connsiteY2" fmla="*/ 0 h 66961"/>
                    <a:gd name="connsiteX3" fmla="*/ 0 w 66961"/>
                    <a:gd name="connsiteY3" fmla="*/ 33480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0"/>
                      </a:cubicBezTo>
                      <a:cubicBezTo>
                        <a:pt x="66961" y="15004"/>
                        <a:pt x="51958" y="0"/>
                        <a:pt x="33481" y="0"/>
                      </a:cubicBezTo>
                      <a:cubicBezTo>
                        <a:pt x="15004" y="0"/>
                        <a:pt x="0" y="15004"/>
                        <a:pt x="0" y="33480"/>
                      </a:cubicBezTo>
                      <a:cubicBezTo>
                        <a:pt x="139"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0" name="Freihandform: Form 139">
                  <a:extLst>
                    <a:ext uri="{FF2B5EF4-FFF2-40B4-BE49-F238E27FC236}">
                      <a16:creationId xmlns:a16="http://schemas.microsoft.com/office/drawing/2014/main" id="{D8D06E88-89F9-4C3A-B6EF-5361AED004A4}"/>
                    </a:ext>
                  </a:extLst>
                </p:cNvPr>
                <p:cNvSpPr/>
                <p:nvPr userDrawn="1"/>
              </p:nvSpPr>
              <p:spPr>
                <a:xfrm>
                  <a:off x="7184760" y="4530410"/>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8"/>
                        <a:pt x="66961" y="33481"/>
                      </a:cubicBezTo>
                      <a:cubicBezTo>
                        <a:pt x="66961" y="15004"/>
                        <a:pt x="51957" y="0"/>
                        <a:pt x="33481" y="0"/>
                      </a:cubicBezTo>
                      <a:cubicBezTo>
                        <a:pt x="15003" y="0"/>
                        <a:pt x="0" y="15004"/>
                        <a:pt x="0" y="33481"/>
                      </a:cubicBezTo>
                      <a:cubicBezTo>
                        <a:pt x="0" y="51958"/>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1" name="Freihandform: Form 140">
                  <a:extLst>
                    <a:ext uri="{FF2B5EF4-FFF2-40B4-BE49-F238E27FC236}">
                      <a16:creationId xmlns:a16="http://schemas.microsoft.com/office/drawing/2014/main" id="{6CEB96D5-0B5E-40B7-B0FC-AE8871AE5803}"/>
                    </a:ext>
                  </a:extLst>
                </p:cNvPr>
                <p:cNvSpPr/>
                <p:nvPr userDrawn="1"/>
              </p:nvSpPr>
              <p:spPr>
                <a:xfrm>
                  <a:off x="6518033" y="3362951"/>
                  <a:ext cx="66961" cy="66961"/>
                </a:xfrm>
                <a:custGeom>
                  <a:avLst/>
                  <a:gdLst>
                    <a:gd name="connsiteX0" fmla="*/ 33481 w 66961"/>
                    <a:gd name="connsiteY0" fmla="*/ 66961 h 66961"/>
                    <a:gd name="connsiteX1" fmla="*/ 66961 w 66961"/>
                    <a:gd name="connsiteY1" fmla="*/ 33481 h 66961"/>
                    <a:gd name="connsiteX2" fmla="*/ 33481 w 66961"/>
                    <a:gd name="connsiteY2" fmla="*/ 0 h 66961"/>
                    <a:gd name="connsiteX3" fmla="*/ 0 w 66961"/>
                    <a:gd name="connsiteY3" fmla="*/ 33481 h 66961"/>
                    <a:gd name="connsiteX4" fmla="*/ 33481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3481" y="66961"/>
                      </a:moveTo>
                      <a:cubicBezTo>
                        <a:pt x="51958" y="66961"/>
                        <a:pt x="66961" y="51957"/>
                        <a:pt x="66961" y="33481"/>
                      </a:cubicBezTo>
                      <a:cubicBezTo>
                        <a:pt x="66961" y="15004"/>
                        <a:pt x="51958" y="0"/>
                        <a:pt x="33481" y="0"/>
                      </a:cubicBezTo>
                      <a:cubicBezTo>
                        <a:pt x="15004" y="0"/>
                        <a:pt x="0" y="15004"/>
                        <a:pt x="0" y="33481"/>
                      </a:cubicBezTo>
                      <a:cubicBezTo>
                        <a:pt x="0" y="52096"/>
                        <a:pt x="15004"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2" name="Freihandform: Form 141">
                  <a:extLst>
                    <a:ext uri="{FF2B5EF4-FFF2-40B4-BE49-F238E27FC236}">
                      <a16:creationId xmlns:a16="http://schemas.microsoft.com/office/drawing/2014/main" id="{E6FAF0FD-8600-471B-AA90-BB4FB7DAB8BA}"/>
                    </a:ext>
                  </a:extLst>
                </p:cNvPr>
                <p:cNvSpPr/>
                <p:nvPr userDrawn="1"/>
              </p:nvSpPr>
              <p:spPr>
                <a:xfrm>
                  <a:off x="6492113" y="2923904"/>
                  <a:ext cx="66961" cy="66961"/>
                </a:xfrm>
                <a:custGeom>
                  <a:avLst/>
                  <a:gdLst>
                    <a:gd name="connsiteX0" fmla="*/ 31536 w 66961"/>
                    <a:gd name="connsiteY0" fmla="*/ 66961 h 66961"/>
                    <a:gd name="connsiteX1" fmla="*/ 66961 w 66961"/>
                    <a:gd name="connsiteY1" fmla="*/ 33481 h 66961"/>
                    <a:gd name="connsiteX2" fmla="*/ 31536 w 66961"/>
                    <a:gd name="connsiteY2" fmla="*/ 0 h 66961"/>
                    <a:gd name="connsiteX3" fmla="*/ 0 w 66961"/>
                    <a:gd name="connsiteY3" fmla="*/ 33481 h 66961"/>
                    <a:gd name="connsiteX4" fmla="*/ 31536 w 66961"/>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1" h="66961">
                      <a:moveTo>
                        <a:pt x="31536" y="66961"/>
                      </a:moveTo>
                      <a:cubicBezTo>
                        <a:pt x="51263" y="66961"/>
                        <a:pt x="66961" y="50290"/>
                        <a:pt x="66961" y="33481"/>
                      </a:cubicBezTo>
                      <a:cubicBezTo>
                        <a:pt x="66961" y="12503"/>
                        <a:pt x="51263" y="0"/>
                        <a:pt x="31536" y="0"/>
                      </a:cubicBezTo>
                      <a:cubicBezTo>
                        <a:pt x="15837" y="0"/>
                        <a:pt x="0" y="12503"/>
                        <a:pt x="0" y="33481"/>
                      </a:cubicBezTo>
                      <a:cubicBezTo>
                        <a:pt x="0" y="50151"/>
                        <a:pt x="15698" y="66961"/>
                        <a:pt x="31536"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43" name="Freihandform: Form 142">
                  <a:extLst>
                    <a:ext uri="{FF2B5EF4-FFF2-40B4-BE49-F238E27FC236}">
                      <a16:creationId xmlns:a16="http://schemas.microsoft.com/office/drawing/2014/main" id="{029B191F-4766-44BE-8FC5-9C54C8257E38}"/>
                    </a:ext>
                  </a:extLst>
                </p:cNvPr>
                <p:cNvSpPr/>
                <p:nvPr userDrawn="1"/>
              </p:nvSpPr>
              <p:spPr>
                <a:xfrm>
                  <a:off x="9246320" y="4456924"/>
                  <a:ext cx="66960" cy="66961"/>
                </a:xfrm>
                <a:custGeom>
                  <a:avLst/>
                  <a:gdLst>
                    <a:gd name="connsiteX0" fmla="*/ 33481 w 66960"/>
                    <a:gd name="connsiteY0" fmla="*/ 66961 h 66961"/>
                    <a:gd name="connsiteX1" fmla="*/ 66961 w 66960"/>
                    <a:gd name="connsiteY1" fmla="*/ 33481 h 66961"/>
                    <a:gd name="connsiteX2" fmla="*/ 33481 w 66960"/>
                    <a:gd name="connsiteY2" fmla="*/ 0 h 66961"/>
                    <a:gd name="connsiteX3" fmla="*/ 0 w 66960"/>
                    <a:gd name="connsiteY3" fmla="*/ 33481 h 66961"/>
                    <a:gd name="connsiteX4" fmla="*/ 33481 w 66960"/>
                    <a:gd name="connsiteY4" fmla="*/ 66961 h 66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60" h="66961">
                      <a:moveTo>
                        <a:pt x="33481" y="66961"/>
                      </a:moveTo>
                      <a:cubicBezTo>
                        <a:pt x="51957" y="66961"/>
                        <a:pt x="66961" y="51958"/>
                        <a:pt x="66961" y="33481"/>
                      </a:cubicBezTo>
                      <a:cubicBezTo>
                        <a:pt x="66961" y="15004"/>
                        <a:pt x="51957" y="0"/>
                        <a:pt x="33481" y="0"/>
                      </a:cubicBezTo>
                      <a:cubicBezTo>
                        <a:pt x="15003" y="0"/>
                        <a:pt x="0" y="15004"/>
                        <a:pt x="0" y="33481"/>
                      </a:cubicBezTo>
                      <a:cubicBezTo>
                        <a:pt x="0" y="51958"/>
                        <a:pt x="15003" y="66961"/>
                        <a:pt x="33481" y="66961"/>
                      </a:cubicBezTo>
                    </a:path>
                  </a:pathLst>
                </a:custGeom>
                <a:solidFill>
                  <a:srgbClr val="8A9CA4"/>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grpSp>
        </p:grpSp>
      </p:grpSp>
      <p:sp>
        <p:nvSpPr>
          <p:cNvPr id="790" name="Rechteck 55">
            <a:extLst>
              <a:ext uri="{FF2B5EF4-FFF2-40B4-BE49-F238E27FC236}">
                <a16:creationId xmlns:a16="http://schemas.microsoft.com/office/drawing/2014/main" id="{3CB623FB-404A-5D20-9213-9AA8CE6B3AB6}"/>
              </a:ext>
            </a:extLst>
          </p:cNvPr>
          <p:cNvSpPr/>
          <p:nvPr/>
        </p:nvSpPr>
        <p:spPr>
          <a:xfrm>
            <a:off x="0" y="5761307"/>
            <a:ext cx="12192161" cy="813118"/>
          </a:xfrm>
          <a:prstGeom prst="rect">
            <a:avLst/>
          </a:pr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Roboto"/>
              <a:ea typeface="+mn-ea"/>
              <a:cs typeface="+mn-cs"/>
            </a:endParaRPr>
          </a:p>
        </p:txBody>
      </p:sp>
      <p:sp>
        <p:nvSpPr>
          <p:cNvPr id="2" name="Titel 1">
            <a:extLst>
              <a:ext uri="{FF2B5EF4-FFF2-40B4-BE49-F238E27FC236}">
                <a16:creationId xmlns:a16="http://schemas.microsoft.com/office/drawing/2014/main" id="{04F0A66B-24E7-4788-95AC-21776AA9DC46}"/>
              </a:ext>
            </a:extLst>
          </p:cNvPr>
          <p:cNvSpPr>
            <a:spLocks noGrp="1"/>
          </p:cNvSpPr>
          <p:nvPr>
            <p:ph type="title"/>
          </p:nvPr>
        </p:nvSpPr>
        <p:spPr/>
        <p:txBody>
          <a:bodyPr/>
          <a:lstStyle/>
          <a:p>
            <a:r>
              <a:rPr lang="en-AU" dirty="0"/>
              <a:t>Utimaco</a:t>
            </a:r>
          </a:p>
        </p:txBody>
      </p:sp>
      <p:cxnSp>
        <p:nvCxnSpPr>
          <p:cNvPr id="18" name="Gerade Verbindung mit Pfeil 17">
            <a:extLst>
              <a:ext uri="{FF2B5EF4-FFF2-40B4-BE49-F238E27FC236}">
                <a16:creationId xmlns:a16="http://schemas.microsoft.com/office/drawing/2014/main" id="{2D89A877-CC6A-48D0-BF34-289041235C81}"/>
              </a:ext>
            </a:extLst>
          </p:cNvPr>
          <p:cNvCxnSpPr>
            <a:cxnSpLocks/>
          </p:cNvCxnSpPr>
          <p:nvPr/>
        </p:nvCxnSpPr>
        <p:spPr>
          <a:xfrm flipV="1">
            <a:off x="2344484" y="3294516"/>
            <a:ext cx="0" cy="1021443"/>
          </a:xfrm>
          <a:prstGeom prst="straightConnector1">
            <a:avLst/>
          </a:prstGeom>
          <a:ln w="12700">
            <a:headEnd type="none"/>
            <a:tailEnd type="diamond" w="lg" len="lg"/>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273360DE-D812-4E1C-9066-56DEC0A733C9}"/>
              </a:ext>
            </a:extLst>
          </p:cNvPr>
          <p:cNvSpPr txBox="1"/>
          <p:nvPr/>
        </p:nvSpPr>
        <p:spPr>
          <a:xfrm>
            <a:off x="361361" y="2965758"/>
            <a:ext cx="1172754"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noProof="0" err="1">
                <a:ln>
                  <a:noFill/>
                </a:ln>
                <a:solidFill>
                  <a:srgbClr val="0068B4"/>
                </a:solidFill>
                <a:effectLst/>
                <a:uLnTx/>
                <a:uFillTx/>
                <a:latin typeface="Roboto"/>
                <a:ea typeface="+mn-ea"/>
                <a:cs typeface="+mn-cs"/>
              </a:rPr>
              <a:t>Americas</a:t>
            </a:r>
            <a:r>
              <a:rPr kumimoji="0" lang="de-DE" sz="1400" b="1" i="0" u="none" strike="noStrike" kern="1200" cap="none" spc="0" normalizeH="0" baseline="0" noProof="0">
                <a:ln>
                  <a:noFill/>
                </a:ln>
                <a:solidFill>
                  <a:srgbClr val="0068B4"/>
                </a:solidFill>
                <a:effectLst/>
                <a:uLnTx/>
                <a:uFillTx/>
                <a:latin typeface="Roboto"/>
                <a:ea typeface="+mn-ea"/>
                <a:cs typeface="+mn-cs"/>
              </a:rPr>
              <a:t> HQ</a:t>
            </a:r>
            <a:br>
              <a:rPr kumimoji="0" lang="de-DE" sz="1400" b="0" i="0" u="none" strike="noStrike" kern="1200" cap="none" spc="0" normalizeH="0" baseline="0" noProof="0">
                <a:ln>
                  <a:noFill/>
                </a:ln>
                <a:solidFill>
                  <a:srgbClr val="414042"/>
                </a:solidFill>
                <a:effectLst/>
                <a:uLnTx/>
                <a:uFillTx/>
                <a:latin typeface="Roboto"/>
                <a:ea typeface="+mn-ea"/>
                <a:cs typeface="+mn-cs"/>
              </a:rPr>
            </a:br>
            <a:r>
              <a:rPr kumimoji="0" lang="de-DE" sz="1400" b="0" i="0" u="none" strike="noStrike" kern="1200" cap="none" spc="0" normalizeH="0" baseline="0" noProof="0">
                <a:ln>
                  <a:noFill/>
                </a:ln>
                <a:solidFill>
                  <a:srgbClr val="414042"/>
                </a:solidFill>
                <a:effectLst/>
                <a:uLnTx/>
                <a:uFillTx/>
                <a:latin typeface="Roboto"/>
                <a:ea typeface="+mn-ea"/>
                <a:cs typeface="+mn-cs"/>
              </a:rPr>
              <a:t>Campbell, USA</a:t>
            </a:r>
          </a:p>
        </p:txBody>
      </p:sp>
      <p:cxnSp>
        <p:nvCxnSpPr>
          <p:cNvPr id="26" name="Gerade Verbindung mit Pfeil 25">
            <a:extLst>
              <a:ext uri="{FF2B5EF4-FFF2-40B4-BE49-F238E27FC236}">
                <a16:creationId xmlns:a16="http://schemas.microsoft.com/office/drawing/2014/main" id="{5595620E-6E9C-4093-809F-5F44B3EBF052}"/>
              </a:ext>
            </a:extLst>
          </p:cNvPr>
          <p:cNvCxnSpPr>
            <a:cxnSpLocks/>
          </p:cNvCxnSpPr>
          <p:nvPr/>
        </p:nvCxnSpPr>
        <p:spPr>
          <a:xfrm>
            <a:off x="6070526" y="1953384"/>
            <a:ext cx="0" cy="775654"/>
          </a:xfrm>
          <a:prstGeom prst="straightConnector1">
            <a:avLst/>
          </a:prstGeom>
          <a:ln w="12700">
            <a:headEnd type="none"/>
            <a:tailEnd type="diamond" w="med" len="med"/>
          </a:ln>
        </p:spPr>
        <p:style>
          <a:lnRef idx="1">
            <a:schemeClr val="accent1"/>
          </a:lnRef>
          <a:fillRef idx="0">
            <a:schemeClr val="accent1"/>
          </a:fillRef>
          <a:effectRef idx="0">
            <a:schemeClr val="accent1"/>
          </a:effectRef>
          <a:fontRef idx="minor">
            <a:schemeClr val="tx1"/>
          </a:fontRef>
        </p:style>
      </p:cxnSp>
      <p:pic>
        <p:nvPicPr>
          <p:cNvPr id="4" name="Grafik 3">
            <a:extLst>
              <a:ext uri="{FF2B5EF4-FFF2-40B4-BE49-F238E27FC236}">
                <a16:creationId xmlns:a16="http://schemas.microsoft.com/office/drawing/2014/main" id="{CC6F9991-9FB7-4FE2-9C87-A4590A5E83C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05068" y="1069494"/>
            <a:ext cx="1393220" cy="1398090"/>
          </a:xfrm>
          <a:prstGeom prst="rect">
            <a:avLst/>
          </a:prstGeom>
          <a:effectLst>
            <a:outerShdw blurRad="152400" dist="76200" dir="5400000" sx="102000" sy="102000" algn="ctr" rotWithShape="0">
              <a:prstClr val="black">
                <a:alpha val="20000"/>
              </a:prstClr>
            </a:outerShdw>
          </a:effectLst>
        </p:spPr>
      </p:pic>
      <p:cxnSp>
        <p:nvCxnSpPr>
          <p:cNvPr id="30" name="Gerade Verbindung mit Pfeil 29">
            <a:extLst>
              <a:ext uri="{FF2B5EF4-FFF2-40B4-BE49-F238E27FC236}">
                <a16:creationId xmlns:a16="http://schemas.microsoft.com/office/drawing/2014/main" id="{9F5D27AC-F31E-4CD4-972E-E1B2F6D6067D}"/>
              </a:ext>
            </a:extLst>
          </p:cNvPr>
          <p:cNvCxnSpPr>
            <a:cxnSpLocks/>
          </p:cNvCxnSpPr>
          <p:nvPr/>
        </p:nvCxnSpPr>
        <p:spPr>
          <a:xfrm flipH="1">
            <a:off x="6394680" y="2807562"/>
            <a:ext cx="1415820" cy="0"/>
          </a:xfrm>
          <a:prstGeom prst="straightConnector1">
            <a:avLst/>
          </a:prstGeom>
          <a:ln w="12700">
            <a:headEnd type="none"/>
            <a:tailEnd type="diamond" w="lg" len="lg"/>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A0389E7B-A465-4493-A3B3-35FB6B26BB59}"/>
              </a:ext>
            </a:extLst>
          </p:cNvPr>
          <p:cNvSpPr txBox="1"/>
          <p:nvPr/>
        </p:nvSpPr>
        <p:spPr>
          <a:xfrm>
            <a:off x="6615812" y="1611468"/>
            <a:ext cx="1172754"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10" normalizeH="0" baseline="0" noProof="0">
                <a:ln>
                  <a:noFill/>
                </a:ln>
                <a:solidFill>
                  <a:srgbClr val="0068B4"/>
                </a:solidFill>
                <a:effectLst/>
                <a:uLnTx/>
                <a:uFillTx/>
                <a:latin typeface="Roboto"/>
                <a:ea typeface="Roboto" panose="02000000000000000000" pitchFamily="2" charset="0"/>
                <a:cs typeface="Roboto Light"/>
              </a:rPr>
              <a:t>EMEA HQ</a:t>
            </a:r>
            <a:br>
              <a:rPr kumimoji="0" lang="en-US" sz="1400" b="1"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br>
            <a: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Aachen,</a:t>
            </a:r>
            <a:b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br>
            <a: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Germany</a:t>
            </a:r>
          </a:p>
        </p:txBody>
      </p:sp>
      <p:sp>
        <p:nvSpPr>
          <p:cNvPr id="34" name="Textfeld 33">
            <a:extLst>
              <a:ext uri="{FF2B5EF4-FFF2-40B4-BE49-F238E27FC236}">
                <a16:creationId xmlns:a16="http://schemas.microsoft.com/office/drawing/2014/main" id="{85E58CF9-F38F-43FE-8030-56ACBF4E1C5D}"/>
              </a:ext>
            </a:extLst>
          </p:cNvPr>
          <p:cNvSpPr txBox="1"/>
          <p:nvPr/>
        </p:nvSpPr>
        <p:spPr>
          <a:xfrm>
            <a:off x="10242498" y="4027520"/>
            <a:ext cx="1172754"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Singapore</a:t>
            </a:r>
          </a:p>
        </p:txBody>
      </p:sp>
      <p:cxnSp>
        <p:nvCxnSpPr>
          <p:cNvPr id="35" name="Gerade Verbindung mit Pfeil 34">
            <a:extLst>
              <a:ext uri="{FF2B5EF4-FFF2-40B4-BE49-F238E27FC236}">
                <a16:creationId xmlns:a16="http://schemas.microsoft.com/office/drawing/2014/main" id="{F505E2EF-3CD6-4CE7-8ABE-C54BB91BF328}"/>
              </a:ext>
            </a:extLst>
          </p:cNvPr>
          <p:cNvCxnSpPr>
            <a:cxnSpLocks/>
          </p:cNvCxnSpPr>
          <p:nvPr/>
        </p:nvCxnSpPr>
        <p:spPr>
          <a:xfrm flipV="1">
            <a:off x="9254515" y="4483486"/>
            <a:ext cx="0" cy="310764"/>
          </a:xfrm>
          <a:prstGeom prst="straightConnector1">
            <a:avLst/>
          </a:prstGeom>
          <a:ln w="12700">
            <a:headEnd type="none"/>
            <a:tailEnd type="diamond" w="med" len="med"/>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66D93B16-E4D5-46BA-8957-A6299A92D9F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54138" y="3941092"/>
            <a:ext cx="1674738" cy="1673555"/>
          </a:xfrm>
          <a:prstGeom prst="rect">
            <a:avLst/>
          </a:prstGeom>
          <a:effectLst>
            <a:outerShdw blurRad="152400" dist="76200" dir="5400000" sx="102000" sy="102000" algn="ctr" rotWithShape="0">
              <a:prstClr val="black">
                <a:alpha val="20000"/>
              </a:prstClr>
            </a:outerShdw>
          </a:effectLst>
        </p:spPr>
      </p:pic>
      <p:sp>
        <p:nvSpPr>
          <p:cNvPr id="37" name="Textfeld 36">
            <a:extLst>
              <a:ext uri="{FF2B5EF4-FFF2-40B4-BE49-F238E27FC236}">
                <a16:creationId xmlns:a16="http://schemas.microsoft.com/office/drawing/2014/main" id="{02CFFC3A-4537-4D4D-935F-ACF3D9788977}"/>
              </a:ext>
            </a:extLst>
          </p:cNvPr>
          <p:cNvSpPr txBox="1"/>
          <p:nvPr/>
        </p:nvSpPr>
        <p:spPr>
          <a:xfrm>
            <a:off x="4401232" y="2506860"/>
            <a:ext cx="1172754"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noProof="0">
                <a:ln>
                  <a:noFill/>
                </a:ln>
                <a:solidFill>
                  <a:srgbClr val="414042"/>
                </a:solidFill>
                <a:effectLst/>
                <a:uLnTx/>
                <a:uFillTx/>
                <a:latin typeface="Roboto"/>
                <a:ea typeface="+mn-ea"/>
                <a:cs typeface="+mn-cs"/>
              </a:rPr>
              <a:t>UTIMACO TS UK Ltd.</a:t>
            </a:r>
            <a:br>
              <a:rPr kumimoji="0" lang="de-DE" sz="1400" b="1" i="0" u="none" strike="noStrike" kern="1200" cap="none" spc="0" normalizeH="0" baseline="0" noProof="0">
                <a:ln>
                  <a:noFill/>
                </a:ln>
                <a:solidFill>
                  <a:srgbClr val="414042"/>
                </a:solidFill>
                <a:effectLst/>
                <a:uLnTx/>
                <a:uFillTx/>
                <a:latin typeface="Roboto"/>
                <a:ea typeface="+mn-ea"/>
                <a:cs typeface="+mn-cs"/>
              </a:rPr>
            </a:br>
            <a:r>
              <a:rPr kumimoji="0" lang="de-DE" sz="1400" b="0" i="0" u="none" strike="noStrike" kern="1200" cap="none" spc="0" normalizeH="0" baseline="0" noProof="0">
                <a:ln>
                  <a:noFill/>
                </a:ln>
                <a:solidFill>
                  <a:srgbClr val="414042"/>
                </a:solidFill>
                <a:effectLst/>
                <a:uLnTx/>
                <a:uFillTx/>
                <a:latin typeface="Roboto"/>
                <a:ea typeface="+mn-ea"/>
                <a:cs typeface="+mn-cs"/>
              </a:rPr>
              <a:t>Farnborough, UK</a:t>
            </a:r>
          </a:p>
        </p:txBody>
      </p:sp>
      <p:grpSp>
        <p:nvGrpSpPr>
          <p:cNvPr id="74" name="Gruppieren 73">
            <a:extLst>
              <a:ext uri="{FF2B5EF4-FFF2-40B4-BE49-F238E27FC236}">
                <a16:creationId xmlns:a16="http://schemas.microsoft.com/office/drawing/2014/main" id="{FCC4A569-1144-4A69-B808-25E0C9F027F6}"/>
              </a:ext>
            </a:extLst>
          </p:cNvPr>
          <p:cNvGrpSpPr/>
          <p:nvPr/>
        </p:nvGrpSpPr>
        <p:grpSpPr>
          <a:xfrm>
            <a:off x="3406755" y="5803524"/>
            <a:ext cx="2330873" cy="588523"/>
            <a:chOff x="3406755" y="5652161"/>
            <a:chExt cx="2330873" cy="588523"/>
          </a:xfrm>
        </p:grpSpPr>
        <p:pic>
          <p:nvPicPr>
            <p:cNvPr id="42" name="Grafik 41">
              <a:extLst>
                <a:ext uri="{FF2B5EF4-FFF2-40B4-BE49-F238E27FC236}">
                  <a16:creationId xmlns:a16="http://schemas.microsoft.com/office/drawing/2014/main" id="{4A10AF14-218B-4FDB-9A28-0B431BDB1EB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06755" y="5652161"/>
              <a:ext cx="563296" cy="563296"/>
            </a:xfrm>
            <a:prstGeom prst="rect">
              <a:avLst/>
            </a:prstGeom>
          </p:spPr>
        </p:pic>
        <p:sp>
          <p:nvSpPr>
            <p:cNvPr id="41" name="Rectangle 40">
              <a:extLst>
                <a:ext uri="{FF2B5EF4-FFF2-40B4-BE49-F238E27FC236}">
                  <a16:creationId xmlns:a16="http://schemas.microsoft.com/office/drawing/2014/main" id="{B5422E13-D388-45C0-9143-4D8D6F0ADD04}"/>
                </a:ext>
              </a:extLst>
            </p:cNvPr>
            <p:cNvSpPr/>
            <p:nvPr/>
          </p:nvSpPr>
          <p:spPr>
            <a:xfrm>
              <a:off x="4084733" y="5728046"/>
              <a:ext cx="1652895" cy="512638"/>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Roboto"/>
                  <a:ea typeface="Roboto" panose="02000000000000000000" pitchFamily="2" charset="0"/>
                  <a:cs typeface="+mn-cs"/>
                </a:rPr>
                <a:t>40 </a:t>
              </a:r>
              <a:r>
                <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rPr>
                <a:t>years in IT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endParaRPr>
            </a:p>
          </p:txBody>
        </p:sp>
      </p:grpSp>
      <p:grpSp>
        <p:nvGrpSpPr>
          <p:cNvPr id="75" name="Gruppieren 74">
            <a:extLst>
              <a:ext uri="{FF2B5EF4-FFF2-40B4-BE49-F238E27FC236}">
                <a16:creationId xmlns:a16="http://schemas.microsoft.com/office/drawing/2014/main" id="{B43707FB-7C6E-4857-A23B-42D81380C16D}"/>
              </a:ext>
            </a:extLst>
          </p:cNvPr>
          <p:cNvGrpSpPr/>
          <p:nvPr/>
        </p:nvGrpSpPr>
        <p:grpSpPr>
          <a:xfrm>
            <a:off x="919205" y="5800872"/>
            <a:ext cx="1973820" cy="519556"/>
            <a:chOff x="919205" y="5649509"/>
            <a:chExt cx="1973820" cy="519556"/>
          </a:xfrm>
        </p:grpSpPr>
        <p:grpSp>
          <p:nvGrpSpPr>
            <p:cNvPr id="68" name="Gruppieren 67">
              <a:extLst>
                <a:ext uri="{FF2B5EF4-FFF2-40B4-BE49-F238E27FC236}">
                  <a16:creationId xmlns:a16="http://schemas.microsoft.com/office/drawing/2014/main" id="{FC96CC2D-1AC3-47B7-AADD-F2737ADDD34B}"/>
                </a:ext>
              </a:extLst>
            </p:cNvPr>
            <p:cNvGrpSpPr/>
            <p:nvPr/>
          </p:nvGrpSpPr>
          <p:grpSpPr>
            <a:xfrm>
              <a:off x="1546775" y="5691133"/>
              <a:ext cx="1346250" cy="477932"/>
              <a:chOff x="1546775" y="5769506"/>
              <a:chExt cx="1346250" cy="477932"/>
            </a:xfrm>
          </p:grpSpPr>
          <p:sp>
            <p:nvSpPr>
              <p:cNvPr id="45" name="Textfeld 44">
                <a:extLst>
                  <a:ext uri="{FF2B5EF4-FFF2-40B4-BE49-F238E27FC236}">
                    <a16:creationId xmlns:a16="http://schemas.microsoft.com/office/drawing/2014/main" id="{9C8DA301-903E-48B1-9314-113F8D74AED6}"/>
                  </a:ext>
                </a:extLst>
              </p:cNvPr>
              <p:cNvSpPr txBox="1"/>
              <p:nvPr/>
            </p:nvSpPr>
            <p:spPr>
              <a:xfrm>
                <a:off x="1546775" y="6005507"/>
                <a:ext cx="1346250" cy="241931"/>
              </a:xfrm>
              <a:prstGeom prst="rect">
                <a:avLst/>
              </a:prstGeom>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rPr>
                  <a:t>Private company </a:t>
                </a:r>
              </a:p>
            </p:txBody>
          </p:sp>
          <p:sp>
            <p:nvSpPr>
              <p:cNvPr id="46" name="Textfeld 45">
                <a:extLst>
                  <a:ext uri="{FF2B5EF4-FFF2-40B4-BE49-F238E27FC236}">
                    <a16:creationId xmlns:a16="http://schemas.microsoft.com/office/drawing/2014/main" id="{B4030308-D4E2-4DEC-B5DC-C94DC2AF3248}"/>
                  </a:ext>
                </a:extLst>
              </p:cNvPr>
              <p:cNvSpPr txBox="1"/>
              <p:nvPr/>
            </p:nvSpPr>
            <p:spPr>
              <a:xfrm>
                <a:off x="1546775" y="5769506"/>
                <a:ext cx="1183361" cy="266124"/>
              </a:xfrm>
              <a:prstGeom prst="rect">
                <a:avLst/>
              </a:prstGeom>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rPr>
                  <a:t>Founded </a:t>
                </a:r>
                <a:r>
                  <a:rPr kumimoji="0" lang="en-US" sz="1400" b="1" i="0" u="none" strike="noStrike" kern="1200" cap="none" spc="0" normalizeH="0" baseline="0" noProof="0">
                    <a:ln>
                      <a:noFill/>
                    </a:ln>
                    <a:solidFill>
                      <a:prstClr val="white"/>
                    </a:solidFill>
                    <a:effectLst/>
                    <a:uLnTx/>
                    <a:uFillTx/>
                    <a:latin typeface="Roboto"/>
                    <a:ea typeface="Roboto" panose="02000000000000000000" pitchFamily="2" charset="0"/>
                    <a:cs typeface="+mn-cs"/>
                  </a:rPr>
                  <a:t>1964</a:t>
                </a:r>
              </a:p>
            </p:txBody>
          </p:sp>
        </p:grpSp>
        <p:pic>
          <p:nvPicPr>
            <p:cNvPr id="47" name="Grafik 46">
              <a:extLst>
                <a:ext uri="{FF2B5EF4-FFF2-40B4-BE49-F238E27FC236}">
                  <a16:creationId xmlns:a16="http://schemas.microsoft.com/office/drawing/2014/main" id="{6E50EDAA-1C43-4707-8C40-21A3F9ADE5F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9205" y="5649509"/>
              <a:ext cx="512088" cy="512087"/>
            </a:xfrm>
            <a:prstGeom prst="rect">
              <a:avLst/>
            </a:prstGeom>
          </p:spPr>
        </p:pic>
      </p:grpSp>
      <p:grpSp>
        <p:nvGrpSpPr>
          <p:cNvPr id="73" name="Gruppieren 72">
            <a:extLst>
              <a:ext uri="{FF2B5EF4-FFF2-40B4-BE49-F238E27FC236}">
                <a16:creationId xmlns:a16="http://schemas.microsoft.com/office/drawing/2014/main" id="{EEEB0227-2B36-4494-9FCC-716EF1D091FD}"/>
              </a:ext>
            </a:extLst>
          </p:cNvPr>
          <p:cNvGrpSpPr/>
          <p:nvPr/>
        </p:nvGrpSpPr>
        <p:grpSpPr>
          <a:xfrm>
            <a:off x="6516230" y="5795552"/>
            <a:ext cx="2086125" cy="547369"/>
            <a:chOff x="6516230" y="5644189"/>
            <a:chExt cx="2086125" cy="547369"/>
          </a:xfrm>
        </p:grpSpPr>
        <p:sp>
          <p:nvSpPr>
            <p:cNvPr id="50" name="Rectangle 40">
              <a:extLst>
                <a:ext uri="{FF2B5EF4-FFF2-40B4-BE49-F238E27FC236}">
                  <a16:creationId xmlns:a16="http://schemas.microsoft.com/office/drawing/2014/main" id="{9AA12EE6-3F66-4F90-8BE8-E77B2165C035}"/>
                </a:ext>
              </a:extLst>
            </p:cNvPr>
            <p:cNvSpPr/>
            <p:nvPr/>
          </p:nvSpPr>
          <p:spPr>
            <a:xfrm>
              <a:off x="7202189" y="5727407"/>
              <a:ext cx="1400166" cy="381363"/>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Roboto"/>
                  <a:ea typeface="Roboto" panose="02000000000000000000" pitchFamily="2" charset="0"/>
                  <a:cs typeface="+mn-cs"/>
                </a:rPr>
                <a:t>600 </a:t>
              </a:r>
              <a:r>
                <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rPr>
                <a:t>highly skilled experts</a:t>
              </a:r>
            </a:p>
          </p:txBody>
        </p:sp>
        <p:pic>
          <p:nvPicPr>
            <p:cNvPr id="51" name="Grafik 50">
              <a:extLst>
                <a:ext uri="{FF2B5EF4-FFF2-40B4-BE49-F238E27FC236}">
                  <a16:creationId xmlns:a16="http://schemas.microsoft.com/office/drawing/2014/main" id="{F9B491C1-3C5E-496B-A917-6F2965E825D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16230" y="5644189"/>
              <a:ext cx="547369" cy="547369"/>
            </a:xfrm>
            <a:prstGeom prst="rect">
              <a:avLst/>
            </a:prstGeom>
          </p:spPr>
        </p:pic>
      </p:grpSp>
      <p:grpSp>
        <p:nvGrpSpPr>
          <p:cNvPr id="72" name="Gruppieren 71">
            <a:extLst>
              <a:ext uri="{FF2B5EF4-FFF2-40B4-BE49-F238E27FC236}">
                <a16:creationId xmlns:a16="http://schemas.microsoft.com/office/drawing/2014/main" id="{08AA197F-F349-4C6B-9959-D0930BF7A890}"/>
              </a:ext>
            </a:extLst>
          </p:cNvPr>
          <p:cNvGrpSpPr/>
          <p:nvPr/>
        </p:nvGrpSpPr>
        <p:grpSpPr>
          <a:xfrm>
            <a:off x="9116086" y="5795552"/>
            <a:ext cx="2156709" cy="547369"/>
            <a:chOff x="9116086" y="5644189"/>
            <a:chExt cx="2156709" cy="547369"/>
          </a:xfrm>
        </p:grpSpPr>
        <p:sp>
          <p:nvSpPr>
            <p:cNvPr id="54" name="Textfeld 53">
              <a:extLst>
                <a:ext uri="{FF2B5EF4-FFF2-40B4-BE49-F238E27FC236}">
                  <a16:creationId xmlns:a16="http://schemas.microsoft.com/office/drawing/2014/main" id="{4484EDD8-DD47-4A29-909A-B1826DC2E806}"/>
                </a:ext>
              </a:extLst>
            </p:cNvPr>
            <p:cNvSpPr txBox="1"/>
            <p:nvPr/>
          </p:nvSpPr>
          <p:spPr>
            <a:xfrm>
              <a:off x="9796470" y="5818766"/>
              <a:ext cx="1476325" cy="241931"/>
            </a:xfrm>
            <a:prstGeom prst="rect">
              <a:avLst/>
            </a:prstGeom>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white"/>
                  </a:solidFill>
                  <a:latin typeface="Roboto"/>
                  <a:ea typeface="Roboto" panose="02000000000000000000" pitchFamily="2" charset="0"/>
                </a:rPr>
                <a:t>130</a:t>
              </a:r>
              <a:r>
                <a:rPr kumimoji="0" lang="en-US" sz="1400" b="1" i="0" u="none" strike="noStrike" kern="1200" cap="none" spc="0" normalizeH="0" baseline="0" noProof="0">
                  <a:ln>
                    <a:noFill/>
                  </a:ln>
                  <a:solidFill>
                    <a:prstClr val="white"/>
                  </a:solidFill>
                  <a:effectLst/>
                  <a:uLnTx/>
                  <a:uFillTx/>
                  <a:latin typeface="Roboto"/>
                  <a:ea typeface="Roboto" panose="02000000000000000000" pitchFamily="2" charset="0"/>
                  <a:cs typeface="+mn-cs"/>
                </a:rPr>
                <a:t> million Eur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Roboto"/>
                  <a:ea typeface="Roboto" panose="02000000000000000000" pitchFamily="2" charset="0"/>
                  <a:cs typeface="+mn-cs"/>
                </a:rPr>
                <a:t>revenue in FY 22/23</a:t>
              </a:r>
            </a:p>
          </p:txBody>
        </p:sp>
        <p:pic>
          <p:nvPicPr>
            <p:cNvPr id="55" name="Grafik 54">
              <a:extLst>
                <a:ext uri="{FF2B5EF4-FFF2-40B4-BE49-F238E27FC236}">
                  <a16:creationId xmlns:a16="http://schemas.microsoft.com/office/drawing/2014/main" id="{0833E69A-BBD2-4CCF-AF98-83B76A3A1EE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16086" y="5644189"/>
              <a:ext cx="547369" cy="547369"/>
            </a:xfrm>
            <a:prstGeom prst="rect">
              <a:avLst/>
            </a:prstGeom>
          </p:spPr>
        </p:pic>
      </p:grpSp>
      <p:sp>
        <p:nvSpPr>
          <p:cNvPr id="76" name="Rechteck 75">
            <a:extLst>
              <a:ext uri="{FF2B5EF4-FFF2-40B4-BE49-F238E27FC236}">
                <a16:creationId xmlns:a16="http://schemas.microsoft.com/office/drawing/2014/main" id="{9173EF12-924C-4621-9FB2-09016D4F0709}"/>
              </a:ext>
            </a:extLst>
          </p:cNvPr>
          <p:cNvSpPr/>
          <p:nvPr/>
        </p:nvSpPr>
        <p:spPr>
          <a:xfrm>
            <a:off x="947738" y="1024251"/>
            <a:ext cx="10909299" cy="431116"/>
          </a:xfrm>
          <a:prstGeom prst="rect">
            <a:avLst/>
          </a:prstGeom>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68B4"/>
                </a:solidFill>
                <a:effectLst/>
                <a:uLnTx/>
                <a:uFillTx/>
                <a:latin typeface="Roboto"/>
                <a:ea typeface="Roboto" panose="02000000000000000000" pitchFamily="2" charset="0"/>
                <a:cs typeface="+mn-cs"/>
              </a:rPr>
              <a:t>Diversity and internationality </a:t>
            </a:r>
            <a:br>
              <a:rPr kumimoji="0" lang="en-US" sz="2000" b="1" i="0" u="none" strike="noStrike" kern="1200" cap="none" spc="0" normalizeH="0" baseline="0" noProof="0">
                <a:ln>
                  <a:noFill/>
                </a:ln>
                <a:solidFill>
                  <a:srgbClr val="0068B4"/>
                </a:solidFill>
                <a:effectLst/>
                <a:uLnTx/>
                <a:uFillTx/>
                <a:latin typeface="Roboto"/>
                <a:ea typeface="Roboto" panose="02000000000000000000" pitchFamily="2" charset="0"/>
                <a:cs typeface="+mn-cs"/>
              </a:rPr>
            </a:br>
            <a:r>
              <a:rPr kumimoji="0" lang="en-US" sz="2000" b="0" i="0" u="none" strike="noStrike" kern="1200" cap="none" spc="0" normalizeH="0" baseline="0" noProof="0">
                <a:ln>
                  <a:noFill/>
                </a:ln>
                <a:solidFill>
                  <a:srgbClr val="414042"/>
                </a:solidFill>
                <a:effectLst/>
                <a:uLnTx/>
                <a:uFillTx/>
                <a:latin typeface="Roboto"/>
                <a:ea typeface="Roboto" panose="02000000000000000000" pitchFamily="2" charset="0"/>
                <a:cs typeface="+mn-cs"/>
              </a:rPr>
              <a:t>are the key to our success</a:t>
            </a:r>
          </a:p>
        </p:txBody>
      </p:sp>
      <p:pic>
        <p:nvPicPr>
          <p:cNvPr id="17" name="Grafik 16">
            <a:extLst>
              <a:ext uri="{FF2B5EF4-FFF2-40B4-BE49-F238E27FC236}">
                <a16:creationId xmlns:a16="http://schemas.microsoft.com/office/drawing/2014/main" id="{0E29ADDC-3CE8-4410-A93E-33AC7924D90D}"/>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sharpenSoften amount="25000"/>
                    </a14:imgEffect>
                  </a14:imgLayer>
                </a14:imgProps>
              </a:ext>
              <a:ext uri="{28A0092B-C50C-407E-A947-70E740481C1C}">
                <a14:useLocalDpi xmlns:a14="http://schemas.microsoft.com/office/drawing/2010/main"/>
              </a:ext>
            </a:extLst>
          </a:blip>
          <a:srcRect/>
          <a:stretch/>
        </p:blipFill>
        <p:spPr>
          <a:xfrm>
            <a:off x="7063599" y="1629882"/>
            <a:ext cx="2346491" cy="2346491"/>
          </a:xfrm>
          <a:prstGeom prst="diamond">
            <a:avLst/>
          </a:prstGeom>
          <a:effectLst>
            <a:outerShdw blurRad="152400" dist="76200" dir="5400000" sx="102000" sy="102000" algn="t" rotWithShape="0">
              <a:prstClr val="black">
                <a:alpha val="20000"/>
              </a:prstClr>
            </a:outerShdw>
          </a:effectLst>
        </p:spPr>
      </p:pic>
      <p:pic>
        <p:nvPicPr>
          <p:cNvPr id="48" name="Grafik 47">
            <a:extLst>
              <a:ext uri="{FF2B5EF4-FFF2-40B4-BE49-F238E27FC236}">
                <a16:creationId xmlns:a16="http://schemas.microsoft.com/office/drawing/2014/main" id="{4D366E8F-1826-46F1-81E9-A4401B598ACE}"/>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723975" y="3220719"/>
            <a:ext cx="2149216" cy="2149216"/>
          </a:xfrm>
          <a:prstGeom prst="diamond">
            <a:avLst/>
          </a:prstGeom>
          <a:effectLst>
            <a:outerShdw blurRad="152400" dist="76200" dir="5400000" sx="102000" sy="102000" algn="t" rotWithShape="0">
              <a:prstClr val="black">
                <a:alpha val="20000"/>
              </a:prstClr>
            </a:outerShdw>
          </a:effectLst>
        </p:spPr>
      </p:pic>
      <p:sp>
        <p:nvSpPr>
          <p:cNvPr id="507" name="Raute 506">
            <a:extLst>
              <a:ext uri="{FF2B5EF4-FFF2-40B4-BE49-F238E27FC236}">
                <a16:creationId xmlns:a16="http://schemas.microsoft.com/office/drawing/2014/main" id="{1FEF6FBF-1DA8-4370-864C-981641CED266}"/>
              </a:ext>
            </a:extLst>
          </p:cNvPr>
          <p:cNvSpPr/>
          <p:nvPr/>
        </p:nvSpPr>
        <p:spPr>
          <a:xfrm>
            <a:off x="9182515" y="4402188"/>
            <a:ext cx="144000" cy="144000"/>
          </a:xfrm>
          <a:prstGeom prst="diamond">
            <a:avLst/>
          </a:prstGeom>
          <a:solidFill>
            <a:schemeClr val="accent2"/>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508" name="Raute 507">
            <a:extLst>
              <a:ext uri="{FF2B5EF4-FFF2-40B4-BE49-F238E27FC236}">
                <a16:creationId xmlns:a16="http://schemas.microsoft.com/office/drawing/2014/main" id="{134614A5-892F-4A90-8859-C7B46093CCDD}"/>
              </a:ext>
            </a:extLst>
          </p:cNvPr>
          <p:cNvSpPr/>
          <p:nvPr/>
        </p:nvSpPr>
        <p:spPr>
          <a:xfrm>
            <a:off x="5998526" y="2633830"/>
            <a:ext cx="144000" cy="144000"/>
          </a:xfrm>
          <a:prstGeom prst="diamond">
            <a:avLst/>
          </a:prstGeom>
          <a:solidFill>
            <a:schemeClr val="accent2"/>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511" name="Raute 510">
            <a:extLst>
              <a:ext uri="{FF2B5EF4-FFF2-40B4-BE49-F238E27FC236}">
                <a16:creationId xmlns:a16="http://schemas.microsoft.com/office/drawing/2014/main" id="{8426B233-0B1D-4377-B6A0-BE1F341E3DE7}"/>
              </a:ext>
            </a:extLst>
          </p:cNvPr>
          <p:cNvSpPr/>
          <p:nvPr/>
        </p:nvSpPr>
        <p:spPr>
          <a:xfrm>
            <a:off x="2190133" y="3150660"/>
            <a:ext cx="309600" cy="309600"/>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sp>
        <p:nvSpPr>
          <p:cNvPr id="512" name="Raute 511">
            <a:extLst>
              <a:ext uri="{FF2B5EF4-FFF2-40B4-BE49-F238E27FC236}">
                <a16:creationId xmlns:a16="http://schemas.microsoft.com/office/drawing/2014/main" id="{A35D1A59-AF49-4871-8EC7-075DA11E8CDA}"/>
              </a:ext>
            </a:extLst>
          </p:cNvPr>
          <p:cNvSpPr/>
          <p:nvPr/>
        </p:nvSpPr>
        <p:spPr>
          <a:xfrm>
            <a:off x="6204305" y="2657128"/>
            <a:ext cx="308414" cy="308412"/>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nvGrpSpPr>
          <p:cNvPr id="29" name="Gruppieren 28">
            <a:extLst>
              <a:ext uri="{FF2B5EF4-FFF2-40B4-BE49-F238E27FC236}">
                <a16:creationId xmlns:a16="http://schemas.microsoft.com/office/drawing/2014/main" id="{C240EB57-7BDC-4908-BF6F-F443CBEC6C62}"/>
              </a:ext>
            </a:extLst>
          </p:cNvPr>
          <p:cNvGrpSpPr/>
          <p:nvPr/>
        </p:nvGrpSpPr>
        <p:grpSpPr>
          <a:xfrm>
            <a:off x="9618046" y="1149393"/>
            <a:ext cx="2421659" cy="962242"/>
            <a:chOff x="9435378" y="1072996"/>
            <a:chExt cx="2421659" cy="962242"/>
          </a:xfrm>
        </p:grpSpPr>
        <p:sp>
          <p:nvSpPr>
            <p:cNvPr id="514" name="Text Presence">
              <a:extLst>
                <a:ext uri="{FF2B5EF4-FFF2-40B4-BE49-F238E27FC236}">
                  <a16:creationId xmlns:a16="http://schemas.microsoft.com/office/drawing/2014/main" id="{0A44E47E-6266-4101-B41C-7350AA990559}"/>
                </a:ext>
              </a:extLst>
            </p:cNvPr>
            <p:cNvSpPr txBox="1"/>
            <p:nvPr/>
          </p:nvSpPr>
          <p:spPr>
            <a:xfrm>
              <a:off x="9435378" y="1105492"/>
              <a:ext cx="2421659" cy="929746"/>
            </a:xfrm>
            <a:prstGeom prst="rect">
              <a:avLst/>
            </a:prstGeom>
            <a:noFill/>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400"/>
                </a:spcAft>
                <a:buClrTx/>
                <a:buSzTx/>
                <a:buFontTx/>
                <a:buNone/>
                <a:tabLst>
                  <a:tab pos="327025" algn="l"/>
                </a:tabLst>
                <a:defRPr/>
              </a:pPr>
              <a:r>
                <a:rPr kumimoji="0" lang="en-US" sz="1200" b="1" i="0" u="none" strike="noStrike" kern="1200" cap="none" spc="10" normalizeH="0" baseline="0" noProof="0">
                  <a:ln>
                    <a:noFill/>
                  </a:ln>
                  <a:solidFill>
                    <a:srgbClr val="0068B4"/>
                  </a:solidFill>
                  <a:effectLst/>
                  <a:uLnTx/>
                  <a:uFillTx/>
                  <a:latin typeface="Roboto"/>
                  <a:ea typeface="Roboto" panose="02000000000000000000" pitchFamily="2" charset="0"/>
                  <a:cs typeface="Roboto Light"/>
                </a:rPr>
                <a:t>	Headquarters</a:t>
              </a:r>
            </a:p>
            <a:p>
              <a:pPr marL="0" marR="0" lvl="0" indent="0" algn="l" defTabSz="914400" rtl="0" eaLnBrk="1" fontAlgn="auto" latinLnBrk="0" hangingPunct="1">
                <a:lnSpc>
                  <a:spcPct val="100000"/>
                </a:lnSpc>
                <a:spcBef>
                  <a:spcPts val="600"/>
                </a:spcBef>
                <a:spcAft>
                  <a:spcPts val="400"/>
                </a:spcAft>
                <a:buClrTx/>
                <a:buSzTx/>
                <a:buFontTx/>
                <a:buNone/>
                <a:tabLst>
                  <a:tab pos="327025" algn="l"/>
                </a:tabLst>
                <a:defRPr/>
              </a:pPr>
              <a:r>
                <a:rPr kumimoji="0" lang="en-US" sz="1200" b="1"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	Subsidiaries</a:t>
              </a:r>
            </a:p>
            <a:p>
              <a:pPr marL="0" marR="0" lvl="0" indent="0" algn="l" defTabSz="914400" rtl="0" eaLnBrk="1" fontAlgn="auto" latinLnBrk="0" hangingPunct="1">
                <a:lnSpc>
                  <a:spcPct val="100000"/>
                </a:lnSpc>
                <a:spcBef>
                  <a:spcPts val="600"/>
                </a:spcBef>
                <a:spcAft>
                  <a:spcPts val="400"/>
                </a:spcAft>
                <a:buClrTx/>
                <a:buSzTx/>
                <a:buFontTx/>
                <a:buNone/>
                <a:tabLst>
                  <a:tab pos="327025" algn="l"/>
                </a:tabLst>
                <a:defRPr/>
              </a:pPr>
              <a:r>
                <a:rPr kumimoji="0" lang="en-US" sz="1100" b="1"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	Customer and partner network </a:t>
              </a:r>
            </a:p>
          </p:txBody>
        </p:sp>
        <p:sp>
          <p:nvSpPr>
            <p:cNvPr id="515" name="Freihandform: Form 660">
              <a:extLst>
                <a:ext uri="{FF2B5EF4-FFF2-40B4-BE49-F238E27FC236}">
                  <a16:creationId xmlns:a16="http://schemas.microsoft.com/office/drawing/2014/main" id="{E56F3D1D-6549-42BF-916C-46B725111B22}"/>
                </a:ext>
              </a:extLst>
            </p:cNvPr>
            <p:cNvSpPr/>
            <p:nvPr/>
          </p:nvSpPr>
          <p:spPr>
            <a:xfrm>
              <a:off x="9486906" y="1456299"/>
              <a:ext cx="144000" cy="144000"/>
            </a:xfrm>
            <a:prstGeom prst="diamond">
              <a:avLst/>
            </a:prstGeom>
            <a:solidFill>
              <a:schemeClr val="accent2"/>
            </a:solidFill>
            <a:ln w="4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srgbClr val="414042"/>
                </a:solidFill>
                <a:effectLst/>
                <a:uLnTx/>
                <a:uFillTx/>
                <a:latin typeface="Roboto"/>
                <a:ea typeface="Roboto" panose="02000000000000000000" pitchFamily="2" charset="0"/>
                <a:cs typeface="+mn-cs"/>
              </a:endParaRPr>
            </a:p>
          </p:txBody>
        </p:sp>
        <p:sp>
          <p:nvSpPr>
            <p:cNvPr id="516" name="Freihandform: Form 660">
              <a:extLst>
                <a:ext uri="{FF2B5EF4-FFF2-40B4-BE49-F238E27FC236}">
                  <a16:creationId xmlns:a16="http://schemas.microsoft.com/office/drawing/2014/main" id="{D41703DD-A0AC-410D-AF5C-F46B168EA0D6}"/>
                </a:ext>
              </a:extLst>
            </p:cNvPr>
            <p:cNvSpPr/>
            <p:nvPr/>
          </p:nvSpPr>
          <p:spPr>
            <a:xfrm>
              <a:off x="9436430" y="1072996"/>
              <a:ext cx="244952" cy="244952"/>
            </a:xfrm>
            <a:prstGeom prst="diamond">
              <a:avLst/>
            </a:prstGeom>
            <a:solidFill>
              <a:schemeClr val="accent1"/>
            </a:solidFill>
            <a:ln w="4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srgbClr val="414042"/>
                </a:solidFill>
                <a:effectLst/>
                <a:uLnTx/>
                <a:uFillTx/>
                <a:latin typeface="Roboto"/>
                <a:ea typeface="Roboto" panose="02000000000000000000" pitchFamily="2" charset="0"/>
                <a:cs typeface="+mn-cs"/>
              </a:endParaRPr>
            </a:p>
          </p:txBody>
        </p:sp>
        <p:sp>
          <p:nvSpPr>
            <p:cNvPr id="517" name="Freihandform: Form 660">
              <a:extLst>
                <a:ext uri="{FF2B5EF4-FFF2-40B4-BE49-F238E27FC236}">
                  <a16:creationId xmlns:a16="http://schemas.microsoft.com/office/drawing/2014/main" id="{95EDBB57-4FC6-4BA2-88E5-9096AF73BFEC}"/>
                </a:ext>
              </a:extLst>
            </p:cNvPr>
            <p:cNvSpPr/>
            <p:nvPr/>
          </p:nvSpPr>
          <p:spPr>
            <a:xfrm>
              <a:off x="9522906" y="1768915"/>
              <a:ext cx="72000" cy="72000"/>
            </a:xfrm>
            <a:prstGeom prst="ellipse">
              <a:avLst/>
            </a:prstGeom>
            <a:solidFill>
              <a:schemeClr val="tx2"/>
            </a:solidFill>
            <a:ln w="47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sng" strike="noStrike" kern="1200" cap="none" spc="0" normalizeH="0" baseline="0" noProof="0">
                <a:ln>
                  <a:noFill/>
                </a:ln>
                <a:solidFill>
                  <a:srgbClr val="414042"/>
                </a:solidFill>
                <a:effectLst/>
                <a:uLnTx/>
                <a:uFillTx/>
                <a:latin typeface="Roboto"/>
                <a:ea typeface="Roboto" panose="02000000000000000000" pitchFamily="2" charset="0"/>
                <a:cs typeface="+mn-cs"/>
              </a:endParaRPr>
            </a:p>
          </p:txBody>
        </p:sp>
      </p:grpSp>
      <p:cxnSp>
        <p:nvCxnSpPr>
          <p:cNvPr id="432" name="Gerade Verbindung mit Pfeil 25">
            <a:extLst>
              <a:ext uri="{FF2B5EF4-FFF2-40B4-BE49-F238E27FC236}">
                <a16:creationId xmlns:a16="http://schemas.microsoft.com/office/drawing/2014/main" id="{ADF50362-7A0D-4CAD-B910-0C8AA9ECFF61}"/>
              </a:ext>
            </a:extLst>
          </p:cNvPr>
          <p:cNvCxnSpPr>
            <a:cxnSpLocks/>
          </p:cNvCxnSpPr>
          <p:nvPr/>
        </p:nvCxnSpPr>
        <p:spPr>
          <a:xfrm flipV="1">
            <a:off x="6426517" y="3067790"/>
            <a:ext cx="0" cy="972920"/>
          </a:xfrm>
          <a:prstGeom prst="straightConnector1">
            <a:avLst/>
          </a:prstGeom>
          <a:ln w="12700">
            <a:headEnd type="none"/>
            <a:tailEnd type="diamond" w="med" len="med"/>
          </a:ln>
        </p:spPr>
        <p:style>
          <a:lnRef idx="1">
            <a:schemeClr val="accent1"/>
          </a:lnRef>
          <a:fillRef idx="0">
            <a:schemeClr val="accent1"/>
          </a:fillRef>
          <a:effectRef idx="0">
            <a:schemeClr val="accent1"/>
          </a:effectRef>
          <a:fontRef idx="minor">
            <a:schemeClr val="tx1"/>
          </a:fontRef>
        </p:style>
      </p:cxnSp>
      <p:sp>
        <p:nvSpPr>
          <p:cNvPr id="434" name="Textfeld 36">
            <a:extLst>
              <a:ext uri="{FF2B5EF4-FFF2-40B4-BE49-F238E27FC236}">
                <a16:creationId xmlns:a16="http://schemas.microsoft.com/office/drawing/2014/main" id="{25F56E7A-A38F-455D-8C70-FF6565B68ACF}"/>
              </a:ext>
            </a:extLst>
          </p:cNvPr>
          <p:cNvSpPr txBox="1"/>
          <p:nvPr/>
        </p:nvSpPr>
        <p:spPr>
          <a:xfrm>
            <a:off x="4283043" y="3223193"/>
            <a:ext cx="1172754"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noProof="0">
                <a:ln>
                  <a:noFill/>
                </a:ln>
                <a:solidFill>
                  <a:srgbClr val="414042"/>
                </a:solidFill>
                <a:effectLst/>
                <a:uLnTx/>
                <a:uFillTx/>
                <a:latin typeface="Roboto"/>
                <a:ea typeface="+mn-ea"/>
                <a:cs typeface="+mn-cs"/>
              </a:rPr>
              <a:t>UTIMACO TS S.R.L.</a:t>
            </a:r>
            <a:br>
              <a:rPr kumimoji="0" lang="de-DE" sz="1400" b="1" i="0" u="none" strike="noStrike" kern="1200" cap="none" spc="0" normalizeH="0" baseline="0" noProof="0">
                <a:ln>
                  <a:noFill/>
                </a:ln>
                <a:solidFill>
                  <a:srgbClr val="414042"/>
                </a:solidFill>
                <a:effectLst/>
                <a:uLnTx/>
                <a:uFillTx/>
                <a:latin typeface="Roboto"/>
                <a:ea typeface="+mn-ea"/>
                <a:cs typeface="+mn-cs"/>
              </a:rPr>
            </a:br>
            <a:r>
              <a:rPr lang="de-DE" sz="1400">
                <a:solidFill>
                  <a:srgbClr val="414042"/>
                </a:solidFill>
                <a:latin typeface="Roboto"/>
              </a:rPr>
              <a:t>Milano</a:t>
            </a:r>
            <a:r>
              <a:rPr kumimoji="0" lang="de-DE" sz="1400" b="0" i="0" u="none" strike="noStrike" kern="1200" cap="none" spc="0" normalizeH="0" baseline="0" noProof="0">
                <a:ln>
                  <a:noFill/>
                </a:ln>
                <a:solidFill>
                  <a:srgbClr val="414042"/>
                </a:solidFill>
                <a:effectLst/>
                <a:uLnTx/>
                <a:uFillTx/>
                <a:latin typeface="Roboto"/>
                <a:ea typeface="+mn-ea"/>
                <a:cs typeface="+mn-cs"/>
              </a:rPr>
              <a:t>, </a:t>
            </a:r>
            <a:r>
              <a:rPr kumimoji="0" lang="de-DE" sz="1400" b="0" i="0" u="none" strike="noStrike" kern="1200" cap="none" spc="0" normalizeH="0" baseline="0" noProof="0" err="1">
                <a:ln>
                  <a:noFill/>
                </a:ln>
                <a:solidFill>
                  <a:srgbClr val="414042"/>
                </a:solidFill>
                <a:effectLst/>
                <a:uLnTx/>
                <a:uFillTx/>
                <a:latin typeface="Roboto"/>
                <a:ea typeface="+mn-ea"/>
                <a:cs typeface="+mn-cs"/>
              </a:rPr>
              <a:t>Italy</a:t>
            </a:r>
            <a:endParaRPr kumimoji="0" lang="de-DE" sz="1400" b="0" i="0" u="none" strike="noStrike" kern="1200" cap="none" spc="0" normalizeH="0" baseline="0" noProof="0">
              <a:ln>
                <a:noFill/>
              </a:ln>
              <a:solidFill>
                <a:srgbClr val="414042"/>
              </a:solidFill>
              <a:effectLst/>
              <a:uLnTx/>
              <a:uFillTx/>
              <a:latin typeface="Roboto"/>
              <a:ea typeface="+mn-ea"/>
              <a:cs typeface="+mn-cs"/>
            </a:endParaRPr>
          </a:p>
        </p:txBody>
      </p:sp>
      <p:pic>
        <p:nvPicPr>
          <p:cNvPr id="5" name="Picture 4" descr="A picture containing outdoor, building, farm building, barn&#10;&#10;Description automatically generated">
            <a:extLst>
              <a:ext uri="{FF2B5EF4-FFF2-40B4-BE49-F238E27FC236}">
                <a16:creationId xmlns:a16="http://schemas.microsoft.com/office/drawing/2014/main" id="{57F3F3D7-1A2F-4BC3-87F7-032AE2828D10}"/>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273099" y="3109401"/>
            <a:ext cx="1401289" cy="1392692"/>
          </a:xfrm>
          <a:prstGeom prst="rect">
            <a:avLst/>
          </a:prstGeom>
        </p:spPr>
      </p:pic>
      <p:sp>
        <p:nvSpPr>
          <p:cNvPr id="431" name="Raute 507">
            <a:extLst>
              <a:ext uri="{FF2B5EF4-FFF2-40B4-BE49-F238E27FC236}">
                <a16:creationId xmlns:a16="http://schemas.microsoft.com/office/drawing/2014/main" id="{719124E5-DB82-4712-9170-F625AF31BBD8}"/>
              </a:ext>
            </a:extLst>
          </p:cNvPr>
          <p:cNvSpPr/>
          <p:nvPr/>
        </p:nvSpPr>
        <p:spPr>
          <a:xfrm rot="10800000">
            <a:off x="6356200" y="2991503"/>
            <a:ext cx="144000" cy="144000"/>
          </a:xfrm>
          <a:prstGeom prst="diamond">
            <a:avLst/>
          </a:prstGeom>
          <a:solidFill>
            <a:schemeClr val="accent2"/>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793" name="Raute 506">
            <a:extLst>
              <a:ext uri="{FF2B5EF4-FFF2-40B4-BE49-F238E27FC236}">
                <a16:creationId xmlns:a16="http://schemas.microsoft.com/office/drawing/2014/main" id="{AF1FEA14-FDC4-DCE9-8694-FAEC5FDC26AE}"/>
              </a:ext>
            </a:extLst>
          </p:cNvPr>
          <p:cNvSpPr/>
          <p:nvPr/>
        </p:nvSpPr>
        <p:spPr>
          <a:xfrm>
            <a:off x="8418859" y="4047015"/>
            <a:ext cx="144000" cy="144000"/>
          </a:xfrm>
          <a:prstGeom prst="diamond">
            <a:avLst/>
          </a:prstGeom>
          <a:solidFill>
            <a:schemeClr val="accent2"/>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sp>
        <p:nvSpPr>
          <p:cNvPr id="1540" name="Textfeld 33">
            <a:extLst>
              <a:ext uri="{FF2B5EF4-FFF2-40B4-BE49-F238E27FC236}">
                <a16:creationId xmlns:a16="http://schemas.microsoft.com/office/drawing/2014/main" id="{95EA3166-D19B-76C8-840E-C1F569BF2AA8}"/>
              </a:ext>
            </a:extLst>
          </p:cNvPr>
          <p:cNvSpPr txBox="1"/>
          <p:nvPr/>
        </p:nvSpPr>
        <p:spPr>
          <a:xfrm>
            <a:off x="5993528" y="5204970"/>
            <a:ext cx="2008287"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400" b="1">
                <a:solidFill>
                  <a:srgbClr val="414042"/>
                </a:solidFill>
                <a:latin typeface="Roboto"/>
              </a:rPr>
              <a:t>Utimaco Tech. Pvt. Ltd</a:t>
            </a:r>
            <a: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a:t>
            </a:r>
          </a:p>
          <a:p>
            <a:pPr marL="0" marR="0" lvl="0" indent="0" algn="ctr" defTabSz="914400" rtl="0" eaLnBrk="1" fontAlgn="auto" latinLnBrk="0" hangingPunct="1">
              <a:lnSpc>
                <a:spcPct val="100000"/>
              </a:lnSpc>
              <a:spcAft>
                <a:spcPts val="0"/>
              </a:spcAft>
              <a:buClrTx/>
              <a:buSzTx/>
              <a:buFontTx/>
              <a:buNone/>
              <a:tabLst/>
              <a:defRPr/>
            </a:pPr>
            <a:r>
              <a:rPr lang="en-US" sz="1400">
                <a:solidFill>
                  <a:srgbClr val="414042"/>
                </a:solidFill>
                <a:latin typeface="Roboto"/>
              </a:rPr>
              <a:t>Mumbai, India</a:t>
            </a:r>
          </a:p>
        </p:txBody>
      </p:sp>
      <p:cxnSp>
        <p:nvCxnSpPr>
          <p:cNvPr id="1542" name="Straight Connector 1541">
            <a:extLst>
              <a:ext uri="{FF2B5EF4-FFF2-40B4-BE49-F238E27FC236}">
                <a16:creationId xmlns:a16="http://schemas.microsoft.com/office/drawing/2014/main" id="{8E9F44F3-27F4-28B2-2BCC-E12CA1D3D3EA}"/>
              </a:ext>
            </a:extLst>
          </p:cNvPr>
          <p:cNvCxnSpPr>
            <a:cxnSpLocks/>
          </p:cNvCxnSpPr>
          <p:nvPr/>
        </p:nvCxnSpPr>
        <p:spPr>
          <a:xfrm>
            <a:off x="8490859" y="4186151"/>
            <a:ext cx="3317" cy="295026"/>
          </a:xfrm>
          <a:prstGeom prst="line">
            <a:avLst/>
          </a:prstGeom>
          <a:ln w="12700"/>
        </p:spPr>
        <p:style>
          <a:lnRef idx="3">
            <a:schemeClr val="accent2"/>
          </a:lnRef>
          <a:fillRef idx="0">
            <a:schemeClr val="accent2"/>
          </a:fillRef>
          <a:effectRef idx="2">
            <a:schemeClr val="accent2"/>
          </a:effectRef>
          <a:fontRef idx="minor">
            <a:schemeClr val="tx1"/>
          </a:fontRef>
        </p:style>
      </p:cxnSp>
      <p:pic>
        <p:nvPicPr>
          <p:cNvPr id="792" name="Picture 791" descr="A picture containing outdoor, place of worship, mosque&#10;&#10;Description automatically generated">
            <a:extLst>
              <a:ext uri="{FF2B5EF4-FFF2-40B4-BE49-F238E27FC236}">
                <a16:creationId xmlns:a16="http://schemas.microsoft.com/office/drawing/2014/main" id="{AF81ECE0-0E02-5715-970A-420AA915EA8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686552" y="4303142"/>
            <a:ext cx="1323302" cy="1323302"/>
          </a:xfrm>
          <a:prstGeom prst="rect">
            <a:avLst/>
          </a:prstGeom>
        </p:spPr>
      </p:pic>
      <p:sp>
        <p:nvSpPr>
          <p:cNvPr id="1549" name="Raute 506">
            <a:extLst>
              <a:ext uri="{FF2B5EF4-FFF2-40B4-BE49-F238E27FC236}">
                <a16:creationId xmlns:a16="http://schemas.microsoft.com/office/drawing/2014/main" id="{BB1911D7-0E3C-A703-BE82-702D5119B4B1}"/>
              </a:ext>
            </a:extLst>
          </p:cNvPr>
          <p:cNvSpPr/>
          <p:nvPr/>
        </p:nvSpPr>
        <p:spPr>
          <a:xfrm>
            <a:off x="7131440" y="3398181"/>
            <a:ext cx="144000" cy="144000"/>
          </a:xfrm>
          <a:prstGeom prst="diamond">
            <a:avLst/>
          </a:prstGeom>
          <a:solidFill>
            <a:schemeClr val="accent2"/>
          </a:solidFill>
          <a:ln w="13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4042"/>
              </a:solidFill>
              <a:effectLst/>
              <a:uLnTx/>
              <a:uFillTx/>
              <a:latin typeface="Roboto"/>
              <a:ea typeface="+mn-ea"/>
              <a:cs typeface="+mn-cs"/>
            </a:endParaRPr>
          </a:p>
        </p:txBody>
      </p:sp>
      <p:cxnSp>
        <p:nvCxnSpPr>
          <p:cNvPr id="1550" name="Straight Connector 1549">
            <a:extLst>
              <a:ext uri="{FF2B5EF4-FFF2-40B4-BE49-F238E27FC236}">
                <a16:creationId xmlns:a16="http://schemas.microsoft.com/office/drawing/2014/main" id="{E19CB67C-0D80-3C72-93B1-5D002EC86DEC}"/>
              </a:ext>
            </a:extLst>
          </p:cNvPr>
          <p:cNvCxnSpPr>
            <a:cxnSpLocks/>
          </p:cNvCxnSpPr>
          <p:nvPr/>
        </p:nvCxnSpPr>
        <p:spPr>
          <a:xfrm>
            <a:off x="7203440" y="3537317"/>
            <a:ext cx="3317" cy="295026"/>
          </a:xfrm>
          <a:prstGeom prst="line">
            <a:avLst/>
          </a:prstGeom>
          <a:ln w="12700"/>
        </p:spPr>
        <p:style>
          <a:lnRef idx="3">
            <a:schemeClr val="accent2"/>
          </a:lnRef>
          <a:fillRef idx="0">
            <a:schemeClr val="accent2"/>
          </a:fillRef>
          <a:effectRef idx="2">
            <a:schemeClr val="accent2"/>
          </a:effectRef>
          <a:fontRef idx="minor">
            <a:schemeClr val="tx1"/>
          </a:fontRef>
        </p:style>
      </p:cxnSp>
      <p:sp>
        <p:nvSpPr>
          <p:cNvPr id="1552" name="Textfeld 33">
            <a:extLst>
              <a:ext uri="{FF2B5EF4-FFF2-40B4-BE49-F238E27FC236}">
                <a16:creationId xmlns:a16="http://schemas.microsoft.com/office/drawing/2014/main" id="{B350C455-5297-4519-8250-D941695E5B72}"/>
              </a:ext>
            </a:extLst>
          </p:cNvPr>
          <p:cNvSpPr txBox="1"/>
          <p:nvPr/>
        </p:nvSpPr>
        <p:spPr>
          <a:xfrm>
            <a:off x="4969160" y="4634072"/>
            <a:ext cx="2008287" cy="297283"/>
          </a:xfrm>
          <a:prstGeom prst="rect">
            <a:avLst/>
          </a:prstGeom>
          <a:effectLst/>
        </p:spPr>
        <p:txBody>
          <a:bodyPr vert="horz" wrap="non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1400" b="1">
                <a:solidFill>
                  <a:srgbClr val="414042"/>
                </a:solidFill>
                <a:latin typeface="Roboto"/>
              </a:rPr>
              <a:t>Utimaco Tech. Ltd</a:t>
            </a:r>
            <a:r>
              <a:rPr kumimoji="0" lang="en-US" sz="1400" b="0" i="0" u="none" strike="noStrike" kern="1200" cap="none" spc="10" normalizeH="0" baseline="0" noProof="0">
                <a:ln>
                  <a:noFill/>
                </a:ln>
                <a:solidFill>
                  <a:srgbClr val="414042"/>
                </a:solidFill>
                <a:effectLst/>
                <a:uLnTx/>
                <a:uFillTx/>
                <a:latin typeface="Roboto"/>
                <a:ea typeface="Roboto" panose="02000000000000000000" pitchFamily="2" charset="0"/>
                <a:cs typeface="Roboto Light"/>
              </a:rPr>
              <a:t>.</a:t>
            </a:r>
          </a:p>
          <a:p>
            <a:pPr marL="0" marR="0" lvl="0" indent="0" algn="ctr" defTabSz="914400" rtl="0" eaLnBrk="1" fontAlgn="auto" latinLnBrk="0" hangingPunct="1">
              <a:lnSpc>
                <a:spcPct val="100000"/>
              </a:lnSpc>
              <a:spcAft>
                <a:spcPts val="0"/>
              </a:spcAft>
              <a:buClrTx/>
              <a:buSzTx/>
              <a:buFontTx/>
              <a:buNone/>
              <a:tabLst/>
              <a:defRPr/>
            </a:pPr>
            <a:r>
              <a:rPr lang="en-US" sz="1400">
                <a:solidFill>
                  <a:srgbClr val="414042"/>
                </a:solidFill>
                <a:latin typeface="Roboto"/>
              </a:rPr>
              <a:t>Herzliya, Israel</a:t>
            </a:r>
          </a:p>
        </p:txBody>
      </p:sp>
      <p:pic>
        <p:nvPicPr>
          <p:cNvPr id="1554" name="Picture 1553" descr="A picture containing text&#10;&#10;Description automatically generated">
            <a:extLst>
              <a:ext uri="{FF2B5EF4-FFF2-40B4-BE49-F238E27FC236}">
                <a16:creationId xmlns:a16="http://schemas.microsoft.com/office/drawing/2014/main" id="{AA25E2F7-62D4-8F9B-F4D7-AE8D3C8834F0}"/>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480275" y="3722114"/>
            <a:ext cx="1278770" cy="1278770"/>
          </a:xfrm>
          <a:prstGeom prst="rect">
            <a:avLst/>
          </a:prstGeom>
        </p:spPr>
      </p:pic>
      <p:sp>
        <p:nvSpPr>
          <p:cNvPr id="3" name="Rectangle 2">
            <a:extLst>
              <a:ext uri="{FF2B5EF4-FFF2-40B4-BE49-F238E27FC236}">
                <a16:creationId xmlns:a16="http://schemas.microsoft.com/office/drawing/2014/main" id="{2E2E30EB-1688-34BC-1AE4-D2A2B5CF6855}"/>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067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D68DA5-67C0-D66A-CA6C-E798DBA8E762}"/>
              </a:ext>
            </a:extLst>
          </p:cNvPr>
          <p:cNvSpPr/>
          <p:nvPr/>
        </p:nvSpPr>
        <p:spPr>
          <a:xfrm>
            <a:off x="0" y="734523"/>
            <a:ext cx="12192000" cy="587275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Object 1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Roboto" panose="02000000000000000000" pitchFamily="2" charset="0"/>
              <a:ea typeface="+mj-ea"/>
              <a:cs typeface="Arial" panose="020B0604020202020204" pitchFamily="34" charset="0"/>
              <a:sym typeface="Roboto" panose="02000000000000000000" pitchFamily="2" charset="0"/>
            </a:endParaRPr>
          </a:p>
        </p:txBody>
      </p:sp>
      <p:sp>
        <p:nvSpPr>
          <p:cNvPr id="3" name="Title 2"/>
          <p:cNvSpPr>
            <a:spLocks noGrp="1"/>
          </p:cNvSpPr>
          <p:nvPr>
            <p:ph type="title"/>
          </p:nvPr>
        </p:nvSpPr>
        <p:spPr/>
        <p:txBody>
          <a:bodyPr/>
          <a:lstStyle/>
          <a:p>
            <a:r>
              <a:rPr lang="en-US" dirty="0"/>
              <a:t>85 CBE/CBC implementations worldwide</a:t>
            </a:r>
          </a:p>
        </p:txBody>
      </p:sp>
      <p:sp>
        <p:nvSpPr>
          <p:cNvPr id="37" name="Textfeld 36">
            <a:extLst>
              <a:ext uri="{FF2B5EF4-FFF2-40B4-BE49-F238E27FC236}">
                <a16:creationId xmlns:a16="http://schemas.microsoft.com/office/drawing/2014/main" id="{450CDF99-8D4C-A44A-9A3D-78D442C996BF}"/>
              </a:ext>
            </a:extLst>
          </p:cNvPr>
          <p:cNvSpPr txBox="1"/>
          <p:nvPr/>
        </p:nvSpPr>
        <p:spPr>
          <a:xfrm>
            <a:off x="11355421" y="350196"/>
            <a:ext cx="0" cy="0"/>
          </a:xfrm>
          <a:prstGeom prst="rect">
            <a:avLst/>
          </a:prstGeom>
          <a:effectLst/>
        </p:spPr>
        <p:txBody>
          <a:bodyPr vert="horz" wrap="none" lIns="0" tIns="0" rIns="0" bIns="0" rtlCol="0">
            <a:noAutofit/>
          </a:bodyPr>
          <a:lstStyle/>
          <a:p>
            <a:pPr algn="l">
              <a:lnSpc>
                <a:spcPct val="100000"/>
              </a:lnSpc>
              <a:spcBef>
                <a:spcPts val="0"/>
              </a:spcBef>
              <a:spcAft>
                <a:spcPts val="600"/>
              </a:spcAft>
            </a:pPr>
            <a:endParaRPr lang="en-US" sz="1400"/>
          </a:p>
        </p:txBody>
      </p:sp>
      <p:grpSp>
        <p:nvGrpSpPr>
          <p:cNvPr id="1161" name="Group 1160">
            <a:extLst>
              <a:ext uri="{FF2B5EF4-FFF2-40B4-BE49-F238E27FC236}">
                <a16:creationId xmlns:a16="http://schemas.microsoft.com/office/drawing/2014/main" id="{F8886E85-453F-5CE1-65DF-4533D866E732}"/>
              </a:ext>
            </a:extLst>
          </p:cNvPr>
          <p:cNvGrpSpPr/>
          <p:nvPr/>
        </p:nvGrpSpPr>
        <p:grpSpPr>
          <a:xfrm>
            <a:off x="1568292" y="1001480"/>
            <a:ext cx="9055416" cy="5323624"/>
            <a:chOff x="1568292" y="1001480"/>
            <a:chExt cx="9055416" cy="5323624"/>
          </a:xfrm>
        </p:grpSpPr>
        <p:grpSp>
          <p:nvGrpSpPr>
            <p:cNvPr id="547" name="Map">
              <a:extLst>
                <a:ext uri="{FF2B5EF4-FFF2-40B4-BE49-F238E27FC236}">
                  <a16:creationId xmlns:a16="http://schemas.microsoft.com/office/drawing/2014/main" id="{9D925E78-DABD-CCC2-C03F-66DF4EF04205}"/>
                </a:ext>
              </a:extLst>
            </p:cNvPr>
            <p:cNvGrpSpPr/>
            <p:nvPr/>
          </p:nvGrpSpPr>
          <p:grpSpPr>
            <a:xfrm>
              <a:off x="1568292" y="1377534"/>
              <a:ext cx="9055416" cy="4813466"/>
              <a:chOff x="85660" y="1555992"/>
              <a:chExt cx="7850377" cy="4172920"/>
            </a:xfrm>
          </p:grpSpPr>
          <p:sp>
            <p:nvSpPr>
              <p:cNvPr id="548" name="Freihandform: Form 264">
                <a:extLst>
                  <a:ext uri="{FF2B5EF4-FFF2-40B4-BE49-F238E27FC236}">
                    <a16:creationId xmlns:a16="http://schemas.microsoft.com/office/drawing/2014/main" id="{196C1357-4152-116D-6E93-CB4087C6FF1D}"/>
                  </a:ext>
                </a:extLst>
              </p:cNvPr>
              <p:cNvSpPr/>
              <p:nvPr/>
            </p:nvSpPr>
            <p:spPr>
              <a:xfrm>
                <a:off x="4219609" y="1687343"/>
                <a:ext cx="3716428" cy="1528729"/>
              </a:xfrm>
              <a:custGeom>
                <a:avLst/>
                <a:gdLst>
                  <a:gd name="connsiteX0" fmla="*/ 609559 w 3716428"/>
                  <a:gd name="connsiteY0" fmla="*/ 47778 h 1528729"/>
                  <a:gd name="connsiteX1" fmla="*/ 614859 w 3716428"/>
                  <a:gd name="connsiteY1" fmla="*/ 46695 h 1528729"/>
                  <a:gd name="connsiteX2" fmla="*/ 638569 w 3716428"/>
                  <a:gd name="connsiteY2" fmla="*/ 35752 h 1528729"/>
                  <a:gd name="connsiteX3" fmla="*/ 664559 w 3716428"/>
                  <a:gd name="connsiteY3" fmla="*/ 28229 h 1528729"/>
                  <a:gd name="connsiteX4" fmla="*/ 669004 w 3716428"/>
                  <a:gd name="connsiteY4" fmla="*/ 28628 h 1528729"/>
                  <a:gd name="connsiteX5" fmla="*/ 669688 w 3716428"/>
                  <a:gd name="connsiteY5" fmla="*/ 41110 h 1528729"/>
                  <a:gd name="connsiteX6" fmla="*/ 655439 w 3716428"/>
                  <a:gd name="connsiteY6" fmla="*/ 44359 h 1528729"/>
                  <a:gd name="connsiteX7" fmla="*/ 639823 w 3716428"/>
                  <a:gd name="connsiteY7" fmla="*/ 48120 h 1528729"/>
                  <a:gd name="connsiteX8" fmla="*/ 634693 w 3716428"/>
                  <a:gd name="connsiteY8" fmla="*/ 58379 h 1528729"/>
                  <a:gd name="connsiteX9" fmla="*/ 625004 w 3716428"/>
                  <a:gd name="connsiteY9" fmla="*/ 62369 h 1528729"/>
                  <a:gd name="connsiteX10" fmla="*/ 608362 w 3716428"/>
                  <a:gd name="connsiteY10" fmla="*/ 71089 h 1528729"/>
                  <a:gd name="connsiteX11" fmla="*/ 580605 w 3716428"/>
                  <a:gd name="connsiteY11" fmla="*/ 69550 h 1528729"/>
                  <a:gd name="connsiteX12" fmla="*/ 583398 w 3716428"/>
                  <a:gd name="connsiteY12" fmla="*/ 60089 h 1528729"/>
                  <a:gd name="connsiteX13" fmla="*/ 594797 w 3716428"/>
                  <a:gd name="connsiteY13" fmla="*/ 55245 h 1528729"/>
                  <a:gd name="connsiteX14" fmla="*/ 606652 w 3716428"/>
                  <a:gd name="connsiteY14" fmla="*/ 51825 h 1528729"/>
                  <a:gd name="connsiteX15" fmla="*/ 609559 w 3716428"/>
                  <a:gd name="connsiteY15" fmla="*/ 47778 h 1528729"/>
                  <a:gd name="connsiteX16" fmla="*/ 720641 w 3716428"/>
                  <a:gd name="connsiteY16" fmla="*/ 65960 h 1528729"/>
                  <a:gd name="connsiteX17" fmla="*/ 719843 w 3716428"/>
                  <a:gd name="connsiteY17" fmla="*/ 56498 h 1528729"/>
                  <a:gd name="connsiteX18" fmla="*/ 718647 w 3716428"/>
                  <a:gd name="connsiteY18" fmla="*/ 53706 h 1528729"/>
                  <a:gd name="connsiteX19" fmla="*/ 716139 w 3716428"/>
                  <a:gd name="connsiteY19" fmla="*/ 52851 h 1528729"/>
                  <a:gd name="connsiteX20" fmla="*/ 699895 w 3716428"/>
                  <a:gd name="connsiteY20" fmla="*/ 53535 h 1528729"/>
                  <a:gd name="connsiteX21" fmla="*/ 697330 w 3716428"/>
                  <a:gd name="connsiteY21" fmla="*/ 60317 h 1528729"/>
                  <a:gd name="connsiteX22" fmla="*/ 702403 w 3716428"/>
                  <a:gd name="connsiteY22" fmla="*/ 67555 h 1528729"/>
                  <a:gd name="connsiteX23" fmla="*/ 716538 w 3716428"/>
                  <a:gd name="connsiteY23" fmla="*/ 70234 h 1528729"/>
                  <a:gd name="connsiteX24" fmla="*/ 720015 w 3716428"/>
                  <a:gd name="connsiteY24" fmla="*/ 68695 h 1528729"/>
                  <a:gd name="connsiteX25" fmla="*/ 720641 w 3716428"/>
                  <a:gd name="connsiteY25" fmla="*/ 65960 h 1528729"/>
                  <a:gd name="connsiteX26" fmla="*/ 782823 w 3716428"/>
                  <a:gd name="connsiteY26" fmla="*/ 22815 h 1528729"/>
                  <a:gd name="connsiteX27" fmla="*/ 777123 w 3716428"/>
                  <a:gd name="connsiteY27" fmla="*/ 21960 h 1528729"/>
                  <a:gd name="connsiteX28" fmla="*/ 772792 w 3716428"/>
                  <a:gd name="connsiteY28" fmla="*/ 16260 h 1528729"/>
                  <a:gd name="connsiteX29" fmla="*/ 766636 w 3716428"/>
                  <a:gd name="connsiteY29" fmla="*/ 13524 h 1528729"/>
                  <a:gd name="connsiteX30" fmla="*/ 763901 w 3716428"/>
                  <a:gd name="connsiteY30" fmla="*/ 15690 h 1528729"/>
                  <a:gd name="connsiteX31" fmla="*/ 760025 w 3716428"/>
                  <a:gd name="connsiteY31" fmla="*/ 15690 h 1528729"/>
                  <a:gd name="connsiteX32" fmla="*/ 754325 w 3716428"/>
                  <a:gd name="connsiteY32" fmla="*/ 26063 h 1528729"/>
                  <a:gd name="connsiteX33" fmla="*/ 746631 w 3716428"/>
                  <a:gd name="connsiteY33" fmla="*/ 28856 h 1528729"/>
                  <a:gd name="connsiteX34" fmla="*/ 738766 w 3716428"/>
                  <a:gd name="connsiteY34" fmla="*/ 31307 h 1528729"/>
                  <a:gd name="connsiteX35" fmla="*/ 739906 w 3716428"/>
                  <a:gd name="connsiteY35" fmla="*/ 37975 h 1528729"/>
                  <a:gd name="connsiteX36" fmla="*/ 788066 w 3716428"/>
                  <a:gd name="connsiteY36" fmla="*/ 42820 h 1528729"/>
                  <a:gd name="connsiteX37" fmla="*/ 799750 w 3716428"/>
                  <a:gd name="connsiteY37" fmla="*/ 38488 h 1528729"/>
                  <a:gd name="connsiteX38" fmla="*/ 802486 w 3716428"/>
                  <a:gd name="connsiteY38" fmla="*/ 35239 h 1528729"/>
                  <a:gd name="connsiteX39" fmla="*/ 809382 w 3716428"/>
                  <a:gd name="connsiteY39" fmla="*/ 32789 h 1528729"/>
                  <a:gd name="connsiteX40" fmla="*/ 814113 w 3716428"/>
                  <a:gd name="connsiteY40" fmla="*/ 27830 h 1528729"/>
                  <a:gd name="connsiteX41" fmla="*/ 809553 w 3716428"/>
                  <a:gd name="connsiteY41" fmla="*/ 23043 h 1528729"/>
                  <a:gd name="connsiteX42" fmla="*/ 803854 w 3716428"/>
                  <a:gd name="connsiteY42" fmla="*/ 21960 h 1528729"/>
                  <a:gd name="connsiteX43" fmla="*/ 784988 w 3716428"/>
                  <a:gd name="connsiteY43" fmla="*/ 15234 h 1528729"/>
                  <a:gd name="connsiteX44" fmla="*/ 802087 w 3716428"/>
                  <a:gd name="connsiteY44" fmla="*/ 15234 h 1528729"/>
                  <a:gd name="connsiteX45" fmla="*/ 811206 w 3716428"/>
                  <a:gd name="connsiteY45" fmla="*/ 13923 h 1528729"/>
                  <a:gd name="connsiteX46" fmla="*/ 816906 w 3716428"/>
                  <a:gd name="connsiteY46" fmla="*/ 11473 h 1528729"/>
                  <a:gd name="connsiteX47" fmla="*/ 820952 w 3716428"/>
                  <a:gd name="connsiteY47" fmla="*/ 7426 h 1528729"/>
                  <a:gd name="connsiteX48" fmla="*/ 813999 w 3716428"/>
                  <a:gd name="connsiteY48" fmla="*/ 245 h 1528729"/>
                  <a:gd name="connsiteX49" fmla="*/ 804082 w 3716428"/>
                  <a:gd name="connsiteY49" fmla="*/ 1328 h 1528729"/>
                  <a:gd name="connsiteX50" fmla="*/ 791201 w 3716428"/>
                  <a:gd name="connsiteY50" fmla="*/ 5146 h 1528729"/>
                  <a:gd name="connsiteX51" fmla="*/ 786527 w 3716428"/>
                  <a:gd name="connsiteY51" fmla="*/ 7198 h 1528729"/>
                  <a:gd name="connsiteX52" fmla="*/ 784761 w 3716428"/>
                  <a:gd name="connsiteY52" fmla="*/ 15234 h 1528729"/>
                  <a:gd name="connsiteX53" fmla="*/ 820097 w 3716428"/>
                  <a:gd name="connsiteY53" fmla="*/ 66530 h 1528729"/>
                  <a:gd name="connsiteX54" fmla="*/ 827108 w 3716428"/>
                  <a:gd name="connsiteY54" fmla="*/ 65846 h 1528729"/>
                  <a:gd name="connsiteX55" fmla="*/ 839931 w 3716428"/>
                  <a:gd name="connsiteY55" fmla="*/ 64022 h 1528729"/>
                  <a:gd name="connsiteX56" fmla="*/ 845631 w 3716428"/>
                  <a:gd name="connsiteY56" fmla="*/ 58322 h 1528729"/>
                  <a:gd name="connsiteX57" fmla="*/ 839589 w 3716428"/>
                  <a:gd name="connsiteY57" fmla="*/ 52623 h 1528729"/>
                  <a:gd name="connsiteX58" fmla="*/ 818730 w 3716428"/>
                  <a:gd name="connsiteY58" fmla="*/ 48177 h 1528729"/>
                  <a:gd name="connsiteX59" fmla="*/ 815196 w 3716428"/>
                  <a:gd name="connsiteY59" fmla="*/ 48519 h 1528729"/>
                  <a:gd name="connsiteX60" fmla="*/ 809496 w 3716428"/>
                  <a:gd name="connsiteY60" fmla="*/ 55416 h 1528729"/>
                  <a:gd name="connsiteX61" fmla="*/ 796958 w 3716428"/>
                  <a:gd name="connsiteY61" fmla="*/ 57980 h 1528729"/>
                  <a:gd name="connsiteX62" fmla="*/ 779517 w 3716428"/>
                  <a:gd name="connsiteY62" fmla="*/ 63680 h 1528729"/>
                  <a:gd name="connsiteX63" fmla="*/ 775243 w 3716428"/>
                  <a:gd name="connsiteY63" fmla="*/ 73540 h 1528729"/>
                  <a:gd name="connsiteX64" fmla="*/ 783450 w 3716428"/>
                  <a:gd name="connsiteY64" fmla="*/ 76333 h 1528729"/>
                  <a:gd name="connsiteX65" fmla="*/ 801517 w 3716428"/>
                  <a:gd name="connsiteY65" fmla="*/ 76333 h 1528729"/>
                  <a:gd name="connsiteX66" fmla="*/ 816792 w 3716428"/>
                  <a:gd name="connsiteY66" fmla="*/ 71602 h 1528729"/>
                  <a:gd name="connsiteX67" fmla="*/ 820097 w 3716428"/>
                  <a:gd name="connsiteY67" fmla="*/ 66587 h 1528729"/>
                  <a:gd name="connsiteX68" fmla="*/ 902170 w 3716428"/>
                  <a:gd name="connsiteY68" fmla="*/ 30623 h 1528729"/>
                  <a:gd name="connsiteX69" fmla="*/ 894989 w 3716428"/>
                  <a:gd name="connsiteY69" fmla="*/ 24923 h 1528729"/>
                  <a:gd name="connsiteX70" fmla="*/ 889688 w 3716428"/>
                  <a:gd name="connsiteY70" fmla="*/ 24638 h 1528729"/>
                  <a:gd name="connsiteX71" fmla="*/ 874812 w 3716428"/>
                  <a:gd name="connsiteY71" fmla="*/ 25436 h 1528729"/>
                  <a:gd name="connsiteX72" fmla="*/ 871393 w 3716428"/>
                  <a:gd name="connsiteY72" fmla="*/ 26063 h 1528729"/>
                  <a:gd name="connsiteX73" fmla="*/ 867346 w 3716428"/>
                  <a:gd name="connsiteY73" fmla="*/ 32789 h 1528729"/>
                  <a:gd name="connsiteX74" fmla="*/ 852356 w 3716428"/>
                  <a:gd name="connsiteY74" fmla="*/ 41680 h 1528729"/>
                  <a:gd name="connsiteX75" fmla="*/ 858398 w 3716428"/>
                  <a:gd name="connsiteY75" fmla="*/ 50799 h 1528729"/>
                  <a:gd name="connsiteX76" fmla="*/ 869797 w 3716428"/>
                  <a:gd name="connsiteY76" fmla="*/ 53364 h 1528729"/>
                  <a:gd name="connsiteX77" fmla="*/ 887579 w 3716428"/>
                  <a:gd name="connsiteY77" fmla="*/ 50001 h 1528729"/>
                  <a:gd name="connsiteX78" fmla="*/ 894647 w 3716428"/>
                  <a:gd name="connsiteY78" fmla="*/ 44302 h 1528729"/>
                  <a:gd name="connsiteX79" fmla="*/ 898351 w 3716428"/>
                  <a:gd name="connsiteY79" fmla="*/ 43561 h 1528729"/>
                  <a:gd name="connsiteX80" fmla="*/ 906330 w 3716428"/>
                  <a:gd name="connsiteY80" fmla="*/ 41566 h 1528729"/>
                  <a:gd name="connsiteX81" fmla="*/ 912657 w 3716428"/>
                  <a:gd name="connsiteY81" fmla="*/ 36436 h 1528729"/>
                  <a:gd name="connsiteX82" fmla="*/ 904621 w 3716428"/>
                  <a:gd name="connsiteY82" fmla="*/ 33872 h 1528729"/>
                  <a:gd name="connsiteX83" fmla="*/ 902170 w 3716428"/>
                  <a:gd name="connsiteY83" fmla="*/ 30680 h 1528729"/>
                  <a:gd name="connsiteX84" fmla="*/ 956144 w 3716428"/>
                  <a:gd name="connsiteY84" fmla="*/ 20991 h 1528729"/>
                  <a:gd name="connsiteX85" fmla="*/ 952097 w 3716428"/>
                  <a:gd name="connsiteY85" fmla="*/ 21789 h 1528729"/>
                  <a:gd name="connsiteX86" fmla="*/ 928387 w 3716428"/>
                  <a:gd name="connsiteY86" fmla="*/ 31535 h 1528729"/>
                  <a:gd name="connsiteX87" fmla="*/ 930029 w 3716428"/>
                  <a:gd name="connsiteY87" fmla="*/ 38518 h 1528729"/>
                  <a:gd name="connsiteX88" fmla="*/ 930268 w 3716428"/>
                  <a:gd name="connsiteY88" fmla="*/ 38659 h 1528729"/>
                  <a:gd name="connsiteX89" fmla="*/ 939558 w 3716428"/>
                  <a:gd name="connsiteY89" fmla="*/ 37747 h 1528729"/>
                  <a:gd name="connsiteX90" fmla="*/ 946113 w 3716428"/>
                  <a:gd name="connsiteY90" fmla="*/ 37291 h 1528729"/>
                  <a:gd name="connsiteX91" fmla="*/ 967543 w 3716428"/>
                  <a:gd name="connsiteY91" fmla="*/ 37291 h 1528729"/>
                  <a:gd name="connsiteX92" fmla="*/ 965605 w 3716428"/>
                  <a:gd name="connsiteY92" fmla="*/ 28628 h 1528729"/>
                  <a:gd name="connsiteX93" fmla="*/ 958879 w 3716428"/>
                  <a:gd name="connsiteY93" fmla="*/ 22359 h 1528729"/>
                  <a:gd name="connsiteX94" fmla="*/ 956144 w 3716428"/>
                  <a:gd name="connsiteY94" fmla="*/ 21048 h 1528729"/>
                  <a:gd name="connsiteX95" fmla="*/ 608476 w 3716428"/>
                  <a:gd name="connsiteY95" fmla="*/ 574581 h 1528729"/>
                  <a:gd name="connsiteX96" fmla="*/ 599699 w 3716428"/>
                  <a:gd name="connsiteY96" fmla="*/ 582845 h 1528729"/>
                  <a:gd name="connsiteX97" fmla="*/ 595025 w 3716428"/>
                  <a:gd name="connsiteY97" fmla="*/ 585011 h 1528729"/>
                  <a:gd name="connsiteX98" fmla="*/ 594569 w 3716428"/>
                  <a:gd name="connsiteY98" fmla="*/ 594016 h 1528729"/>
                  <a:gd name="connsiteX99" fmla="*/ 601294 w 3716428"/>
                  <a:gd name="connsiteY99" fmla="*/ 601197 h 1528729"/>
                  <a:gd name="connsiteX100" fmla="*/ 604429 w 3716428"/>
                  <a:gd name="connsiteY100" fmla="*/ 610031 h 1528729"/>
                  <a:gd name="connsiteX101" fmla="*/ 618849 w 3716428"/>
                  <a:gd name="connsiteY101" fmla="*/ 610031 h 1528729"/>
                  <a:gd name="connsiteX102" fmla="*/ 626486 w 3716428"/>
                  <a:gd name="connsiteY102" fmla="*/ 608150 h 1528729"/>
                  <a:gd name="connsiteX103" fmla="*/ 626087 w 3716428"/>
                  <a:gd name="connsiteY103" fmla="*/ 601539 h 1528729"/>
                  <a:gd name="connsiteX104" fmla="*/ 638683 w 3716428"/>
                  <a:gd name="connsiteY104" fmla="*/ 597948 h 1528729"/>
                  <a:gd name="connsiteX105" fmla="*/ 641419 w 3716428"/>
                  <a:gd name="connsiteY105" fmla="*/ 596239 h 1528729"/>
                  <a:gd name="connsiteX106" fmla="*/ 642160 w 3716428"/>
                  <a:gd name="connsiteY106" fmla="*/ 593503 h 1528729"/>
                  <a:gd name="connsiteX107" fmla="*/ 642958 w 3716428"/>
                  <a:gd name="connsiteY107" fmla="*/ 585125 h 1528729"/>
                  <a:gd name="connsiteX108" fmla="*/ 640507 w 3716428"/>
                  <a:gd name="connsiteY108" fmla="*/ 579425 h 1528729"/>
                  <a:gd name="connsiteX109" fmla="*/ 625004 w 3716428"/>
                  <a:gd name="connsiteY109" fmla="*/ 571845 h 1528729"/>
                  <a:gd name="connsiteX110" fmla="*/ 608077 w 3716428"/>
                  <a:gd name="connsiteY110" fmla="*/ 574638 h 1528729"/>
                  <a:gd name="connsiteX111" fmla="*/ 772564 w 3716428"/>
                  <a:gd name="connsiteY111" fmla="*/ 343980 h 1528729"/>
                  <a:gd name="connsiteX112" fmla="*/ 760253 w 3716428"/>
                  <a:gd name="connsiteY112" fmla="*/ 369685 h 1528729"/>
                  <a:gd name="connsiteX113" fmla="*/ 742242 w 3716428"/>
                  <a:gd name="connsiteY113" fmla="*/ 377835 h 1528729"/>
                  <a:gd name="connsiteX114" fmla="*/ 740989 w 3716428"/>
                  <a:gd name="connsiteY114" fmla="*/ 393109 h 1528729"/>
                  <a:gd name="connsiteX115" fmla="*/ 733180 w 3716428"/>
                  <a:gd name="connsiteY115" fmla="*/ 404508 h 1528729"/>
                  <a:gd name="connsiteX116" fmla="*/ 732382 w 3716428"/>
                  <a:gd name="connsiteY116" fmla="*/ 413855 h 1528729"/>
                  <a:gd name="connsiteX117" fmla="*/ 722237 w 3716428"/>
                  <a:gd name="connsiteY117" fmla="*/ 415109 h 1528729"/>
                  <a:gd name="connsiteX118" fmla="*/ 717963 w 3716428"/>
                  <a:gd name="connsiteY118" fmla="*/ 423488 h 1528729"/>
                  <a:gd name="connsiteX119" fmla="*/ 705196 w 3716428"/>
                  <a:gd name="connsiteY119" fmla="*/ 426337 h 1528729"/>
                  <a:gd name="connsiteX120" fmla="*/ 706165 w 3716428"/>
                  <a:gd name="connsiteY120" fmla="*/ 437223 h 1528729"/>
                  <a:gd name="connsiteX121" fmla="*/ 710610 w 3716428"/>
                  <a:gd name="connsiteY121" fmla="*/ 437793 h 1528729"/>
                  <a:gd name="connsiteX122" fmla="*/ 707362 w 3716428"/>
                  <a:gd name="connsiteY122" fmla="*/ 448679 h 1528729"/>
                  <a:gd name="connsiteX123" fmla="*/ 695165 w 3716428"/>
                  <a:gd name="connsiteY123" fmla="*/ 455804 h 1528729"/>
                  <a:gd name="connsiteX124" fmla="*/ 693569 w 3716428"/>
                  <a:gd name="connsiteY124" fmla="*/ 461959 h 1528729"/>
                  <a:gd name="connsiteX125" fmla="*/ 687129 w 3716428"/>
                  <a:gd name="connsiteY125" fmla="*/ 465436 h 1528729"/>
                  <a:gd name="connsiteX126" fmla="*/ 674419 w 3716428"/>
                  <a:gd name="connsiteY126" fmla="*/ 479912 h 1528729"/>
                  <a:gd name="connsiteX127" fmla="*/ 688838 w 3716428"/>
                  <a:gd name="connsiteY127" fmla="*/ 487493 h 1528729"/>
                  <a:gd name="connsiteX128" fmla="*/ 691175 w 3716428"/>
                  <a:gd name="connsiteY128" fmla="*/ 500259 h 1528729"/>
                  <a:gd name="connsiteX129" fmla="*/ 702973 w 3716428"/>
                  <a:gd name="connsiteY129" fmla="*/ 502140 h 1528729"/>
                  <a:gd name="connsiteX130" fmla="*/ 705424 w 3716428"/>
                  <a:gd name="connsiteY130" fmla="*/ 492109 h 1528729"/>
                  <a:gd name="connsiteX131" fmla="*/ 714007 w 3716428"/>
                  <a:gd name="connsiteY131" fmla="*/ 490228 h 1528729"/>
                  <a:gd name="connsiteX132" fmla="*/ 714486 w 3716428"/>
                  <a:gd name="connsiteY132" fmla="*/ 490570 h 1528729"/>
                  <a:gd name="connsiteX133" fmla="*/ 722579 w 3716428"/>
                  <a:gd name="connsiteY133" fmla="*/ 519068 h 1528729"/>
                  <a:gd name="connsiteX134" fmla="*/ 742299 w 3716428"/>
                  <a:gd name="connsiteY134" fmla="*/ 528928 h 1528729"/>
                  <a:gd name="connsiteX135" fmla="*/ 794222 w 3716428"/>
                  <a:gd name="connsiteY135" fmla="*/ 529384 h 1528729"/>
                  <a:gd name="connsiteX136" fmla="*/ 798724 w 3716428"/>
                  <a:gd name="connsiteY136" fmla="*/ 527389 h 1528729"/>
                  <a:gd name="connsiteX137" fmla="*/ 791999 w 3716428"/>
                  <a:gd name="connsiteY137" fmla="*/ 515192 h 1528729"/>
                  <a:gd name="connsiteX138" fmla="*/ 786699 w 3716428"/>
                  <a:gd name="connsiteY138" fmla="*/ 502824 h 1528729"/>
                  <a:gd name="connsiteX139" fmla="*/ 756890 w 3716428"/>
                  <a:gd name="connsiteY139" fmla="*/ 461275 h 1528729"/>
                  <a:gd name="connsiteX140" fmla="*/ 756890 w 3716428"/>
                  <a:gd name="connsiteY140" fmla="*/ 454949 h 1528729"/>
                  <a:gd name="connsiteX141" fmla="*/ 765040 w 3716428"/>
                  <a:gd name="connsiteY141" fmla="*/ 450218 h 1528729"/>
                  <a:gd name="connsiteX142" fmla="*/ 779403 w 3716428"/>
                  <a:gd name="connsiteY142" fmla="*/ 419498 h 1528729"/>
                  <a:gd name="connsiteX143" fmla="*/ 785843 w 3716428"/>
                  <a:gd name="connsiteY143" fmla="*/ 416534 h 1528729"/>
                  <a:gd name="connsiteX144" fmla="*/ 788351 w 3716428"/>
                  <a:gd name="connsiteY144" fmla="*/ 394477 h 1528729"/>
                  <a:gd name="connsiteX145" fmla="*/ 804823 w 3716428"/>
                  <a:gd name="connsiteY145" fmla="*/ 364042 h 1528729"/>
                  <a:gd name="connsiteX146" fmla="*/ 817191 w 3716428"/>
                  <a:gd name="connsiteY146" fmla="*/ 359767 h 1528729"/>
                  <a:gd name="connsiteX147" fmla="*/ 879885 w 3716428"/>
                  <a:gd name="connsiteY147" fmla="*/ 335716 h 1528729"/>
                  <a:gd name="connsiteX148" fmla="*/ 885014 w 3716428"/>
                  <a:gd name="connsiteY148" fmla="*/ 331954 h 1528729"/>
                  <a:gd name="connsiteX149" fmla="*/ 887237 w 3716428"/>
                  <a:gd name="connsiteY149" fmla="*/ 326824 h 1528729"/>
                  <a:gd name="connsiteX150" fmla="*/ 898636 w 3716428"/>
                  <a:gd name="connsiteY150" fmla="*/ 319244 h 1528729"/>
                  <a:gd name="connsiteX151" fmla="*/ 924569 w 3716428"/>
                  <a:gd name="connsiteY151" fmla="*/ 309954 h 1528729"/>
                  <a:gd name="connsiteX152" fmla="*/ 941268 w 3716428"/>
                  <a:gd name="connsiteY152" fmla="*/ 305053 h 1528729"/>
                  <a:gd name="connsiteX153" fmla="*/ 950159 w 3716428"/>
                  <a:gd name="connsiteY153" fmla="*/ 302887 h 1528729"/>
                  <a:gd name="connsiteX154" fmla="*/ 955859 w 3716428"/>
                  <a:gd name="connsiteY154" fmla="*/ 299182 h 1528729"/>
                  <a:gd name="connsiteX155" fmla="*/ 972957 w 3716428"/>
                  <a:gd name="connsiteY155" fmla="*/ 292799 h 1528729"/>
                  <a:gd name="connsiteX156" fmla="*/ 1003791 w 3716428"/>
                  <a:gd name="connsiteY156" fmla="*/ 284648 h 1528729"/>
                  <a:gd name="connsiteX157" fmla="*/ 1037304 w 3716428"/>
                  <a:gd name="connsiteY157" fmla="*/ 272680 h 1528729"/>
                  <a:gd name="connsiteX158" fmla="*/ 1047221 w 3716428"/>
                  <a:gd name="connsiteY158" fmla="*/ 266068 h 1528729"/>
                  <a:gd name="connsiteX159" fmla="*/ 1050128 w 3716428"/>
                  <a:gd name="connsiteY159" fmla="*/ 260996 h 1528729"/>
                  <a:gd name="connsiteX160" fmla="*/ 1055828 w 3716428"/>
                  <a:gd name="connsiteY160" fmla="*/ 257690 h 1528729"/>
                  <a:gd name="connsiteX161" fmla="*/ 1058962 w 3716428"/>
                  <a:gd name="connsiteY161" fmla="*/ 240591 h 1528729"/>
                  <a:gd name="connsiteX162" fmla="*/ 1006299 w 3716428"/>
                  <a:gd name="connsiteY162" fmla="*/ 243384 h 1528729"/>
                  <a:gd name="connsiteX163" fmla="*/ 995755 w 3716428"/>
                  <a:gd name="connsiteY163" fmla="*/ 248343 h 1528729"/>
                  <a:gd name="connsiteX164" fmla="*/ 991025 w 3716428"/>
                  <a:gd name="connsiteY164" fmla="*/ 252845 h 1528729"/>
                  <a:gd name="connsiteX165" fmla="*/ 959677 w 3716428"/>
                  <a:gd name="connsiteY165" fmla="*/ 259115 h 1528729"/>
                  <a:gd name="connsiteX166" fmla="*/ 953978 w 3716428"/>
                  <a:gd name="connsiteY166" fmla="*/ 261452 h 1528729"/>
                  <a:gd name="connsiteX167" fmla="*/ 952724 w 3716428"/>
                  <a:gd name="connsiteY167" fmla="*/ 265669 h 1528729"/>
                  <a:gd name="connsiteX168" fmla="*/ 937164 w 3716428"/>
                  <a:gd name="connsiteY168" fmla="*/ 273135 h 1528729"/>
                  <a:gd name="connsiteX169" fmla="*/ 901372 w 3716428"/>
                  <a:gd name="connsiteY169" fmla="*/ 274503 h 1528729"/>
                  <a:gd name="connsiteX170" fmla="*/ 886724 w 3716428"/>
                  <a:gd name="connsiteY170" fmla="*/ 277581 h 1528729"/>
                  <a:gd name="connsiteX171" fmla="*/ 878859 w 3716428"/>
                  <a:gd name="connsiteY171" fmla="*/ 283622 h 1528729"/>
                  <a:gd name="connsiteX172" fmla="*/ 849678 w 3716428"/>
                  <a:gd name="connsiteY172" fmla="*/ 287384 h 1528729"/>
                  <a:gd name="connsiteX173" fmla="*/ 838279 w 3716428"/>
                  <a:gd name="connsiteY173" fmla="*/ 294964 h 1528729"/>
                  <a:gd name="connsiteX174" fmla="*/ 808983 w 3716428"/>
                  <a:gd name="connsiteY174" fmla="*/ 320327 h 1528729"/>
                  <a:gd name="connsiteX175" fmla="*/ 786185 w 3716428"/>
                  <a:gd name="connsiteY175" fmla="*/ 318788 h 1528729"/>
                  <a:gd name="connsiteX176" fmla="*/ 772564 w 3716428"/>
                  <a:gd name="connsiteY176" fmla="*/ 343980 h 1528729"/>
                  <a:gd name="connsiteX177" fmla="*/ 1534013 w 3716428"/>
                  <a:gd name="connsiteY177" fmla="*/ 4462 h 1528729"/>
                  <a:gd name="connsiteX178" fmla="*/ 1523070 w 3716428"/>
                  <a:gd name="connsiteY178" fmla="*/ 9022 h 1528729"/>
                  <a:gd name="connsiteX179" fmla="*/ 1515718 w 3716428"/>
                  <a:gd name="connsiteY179" fmla="*/ 13353 h 1528729"/>
                  <a:gd name="connsiteX180" fmla="*/ 1520335 w 3716428"/>
                  <a:gd name="connsiteY180" fmla="*/ 20934 h 1528729"/>
                  <a:gd name="connsiteX181" fmla="*/ 1529910 w 3716428"/>
                  <a:gd name="connsiteY181" fmla="*/ 21675 h 1528729"/>
                  <a:gd name="connsiteX182" fmla="*/ 1541309 w 3716428"/>
                  <a:gd name="connsiteY182" fmla="*/ 20307 h 1528729"/>
                  <a:gd name="connsiteX183" fmla="*/ 1544215 w 3716428"/>
                  <a:gd name="connsiteY183" fmla="*/ 19110 h 1528729"/>
                  <a:gd name="connsiteX184" fmla="*/ 1544956 w 3716428"/>
                  <a:gd name="connsiteY184" fmla="*/ 16032 h 1528729"/>
                  <a:gd name="connsiteX185" fmla="*/ 1543988 w 3716428"/>
                  <a:gd name="connsiteY185" fmla="*/ 8965 h 1528729"/>
                  <a:gd name="connsiteX186" fmla="*/ 1534013 w 3716428"/>
                  <a:gd name="connsiteY186" fmla="*/ 4462 h 1528729"/>
                  <a:gd name="connsiteX187" fmla="*/ 1579609 w 3716428"/>
                  <a:gd name="connsiteY187" fmla="*/ 21561 h 1528729"/>
                  <a:gd name="connsiteX188" fmla="*/ 1565816 w 3716428"/>
                  <a:gd name="connsiteY188" fmla="*/ 23100 h 1528729"/>
                  <a:gd name="connsiteX189" fmla="*/ 1570091 w 3716428"/>
                  <a:gd name="connsiteY189" fmla="*/ 36265 h 1528729"/>
                  <a:gd name="connsiteX190" fmla="*/ 1574309 w 3716428"/>
                  <a:gd name="connsiteY190" fmla="*/ 49431 h 1528729"/>
                  <a:gd name="connsiteX191" fmla="*/ 1569407 w 3716428"/>
                  <a:gd name="connsiteY191" fmla="*/ 53079 h 1528729"/>
                  <a:gd name="connsiteX192" fmla="*/ 1558008 w 3716428"/>
                  <a:gd name="connsiteY192" fmla="*/ 55074 h 1528729"/>
                  <a:gd name="connsiteX193" fmla="*/ 1551397 w 3716428"/>
                  <a:gd name="connsiteY193" fmla="*/ 56555 h 1528729"/>
                  <a:gd name="connsiteX194" fmla="*/ 1552138 w 3716428"/>
                  <a:gd name="connsiteY194" fmla="*/ 62711 h 1528729"/>
                  <a:gd name="connsiteX195" fmla="*/ 1557837 w 3716428"/>
                  <a:gd name="connsiteY195" fmla="*/ 65789 h 1528729"/>
                  <a:gd name="connsiteX196" fmla="*/ 1565246 w 3716428"/>
                  <a:gd name="connsiteY196" fmla="*/ 68182 h 1528729"/>
                  <a:gd name="connsiteX197" fmla="*/ 1569464 w 3716428"/>
                  <a:gd name="connsiteY197" fmla="*/ 70918 h 1528729"/>
                  <a:gd name="connsiteX198" fmla="*/ 1563765 w 3716428"/>
                  <a:gd name="connsiteY198" fmla="*/ 77587 h 1528729"/>
                  <a:gd name="connsiteX199" fmla="*/ 1547521 w 3716428"/>
                  <a:gd name="connsiteY199" fmla="*/ 75193 h 1528729"/>
                  <a:gd name="connsiteX200" fmla="*/ 1536692 w 3716428"/>
                  <a:gd name="connsiteY200" fmla="*/ 84426 h 1528729"/>
                  <a:gd name="connsiteX201" fmla="*/ 1546951 w 3716428"/>
                  <a:gd name="connsiteY201" fmla="*/ 87219 h 1528729"/>
                  <a:gd name="connsiteX202" fmla="*/ 1549858 w 3716428"/>
                  <a:gd name="connsiteY202" fmla="*/ 98618 h 1528729"/>
                  <a:gd name="connsiteX203" fmla="*/ 1569179 w 3716428"/>
                  <a:gd name="connsiteY203" fmla="*/ 96395 h 1528729"/>
                  <a:gd name="connsiteX204" fmla="*/ 1575505 w 3716428"/>
                  <a:gd name="connsiteY204" fmla="*/ 93488 h 1528729"/>
                  <a:gd name="connsiteX205" fmla="*/ 1576418 w 3716428"/>
                  <a:gd name="connsiteY205" fmla="*/ 90239 h 1528729"/>
                  <a:gd name="connsiteX206" fmla="*/ 1579609 w 3716428"/>
                  <a:gd name="connsiteY206" fmla="*/ 84825 h 1528729"/>
                  <a:gd name="connsiteX207" fmla="*/ 1590495 w 3716428"/>
                  <a:gd name="connsiteY207" fmla="*/ 71203 h 1528729"/>
                  <a:gd name="connsiteX208" fmla="*/ 1594599 w 3716428"/>
                  <a:gd name="connsiteY208" fmla="*/ 67783 h 1528729"/>
                  <a:gd name="connsiteX209" fmla="*/ 1601438 w 3716428"/>
                  <a:gd name="connsiteY209" fmla="*/ 68980 h 1528729"/>
                  <a:gd name="connsiteX210" fmla="*/ 1615687 w 3716428"/>
                  <a:gd name="connsiteY210" fmla="*/ 66359 h 1528729"/>
                  <a:gd name="connsiteX211" fmla="*/ 1617283 w 3716428"/>
                  <a:gd name="connsiteY211" fmla="*/ 52623 h 1528729"/>
                  <a:gd name="connsiteX212" fmla="*/ 1604573 w 3716428"/>
                  <a:gd name="connsiteY212" fmla="*/ 42706 h 1528729"/>
                  <a:gd name="connsiteX213" fmla="*/ 1603205 w 3716428"/>
                  <a:gd name="connsiteY213" fmla="*/ 33815 h 1528729"/>
                  <a:gd name="connsiteX214" fmla="*/ 1598702 w 3716428"/>
                  <a:gd name="connsiteY214" fmla="*/ 26633 h 1528729"/>
                  <a:gd name="connsiteX215" fmla="*/ 1594371 w 3716428"/>
                  <a:gd name="connsiteY215" fmla="*/ 26633 h 1528729"/>
                  <a:gd name="connsiteX216" fmla="*/ 1579723 w 3716428"/>
                  <a:gd name="connsiteY216" fmla="*/ 21732 h 1528729"/>
                  <a:gd name="connsiteX217" fmla="*/ 1669490 w 3716428"/>
                  <a:gd name="connsiteY217" fmla="*/ 139141 h 1528729"/>
                  <a:gd name="connsiteX218" fmla="*/ 1671713 w 3716428"/>
                  <a:gd name="connsiteY218" fmla="*/ 141649 h 1528729"/>
                  <a:gd name="connsiteX219" fmla="*/ 1676785 w 3716428"/>
                  <a:gd name="connsiteY219" fmla="*/ 142903 h 1528729"/>
                  <a:gd name="connsiteX220" fmla="*/ 1686759 w 3716428"/>
                  <a:gd name="connsiteY220" fmla="*/ 141934 h 1528729"/>
                  <a:gd name="connsiteX221" fmla="*/ 1692459 w 3716428"/>
                  <a:gd name="connsiteY221" fmla="*/ 134410 h 1528729"/>
                  <a:gd name="connsiteX222" fmla="*/ 1689666 w 3716428"/>
                  <a:gd name="connsiteY222" fmla="*/ 120048 h 1528729"/>
                  <a:gd name="connsiteX223" fmla="*/ 1692744 w 3716428"/>
                  <a:gd name="connsiteY223" fmla="*/ 117540 h 1528729"/>
                  <a:gd name="connsiteX224" fmla="*/ 1693998 w 3716428"/>
                  <a:gd name="connsiteY224" fmla="*/ 113892 h 1528729"/>
                  <a:gd name="connsiteX225" fmla="*/ 1702433 w 3716428"/>
                  <a:gd name="connsiteY225" fmla="*/ 104374 h 1528729"/>
                  <a:gd name="connsiteX226" fmla="*/ 1702433 w 3716428"/>
                  <a:gd name="connsiteY226" fmla="*/ 89099 h 1528729"/>
                  <a:gd name="connsiteX227" fmla="*/ 1691547 w 3716428"/>
                  <a:gd name="connsiteY227" fmla="*/ 77302 h 1528729"/>
                  <a:gd name="connsiteX228" fmla="*/ 1683625 w 3716428"/>
                  <a:gd name="connsiteY228" fmla="*/ 74224 h 1528729"/>
                  <a:gd name="connsiteX229" fmla="*/ 1677925 w 3716428"/>
                  <a:gd name="connsiteY229" fmla="*/ 81861 h 1528729"/>
                  <a:gd name="connsiteX230" fmla="*/ 1664132 w 3716428"/>
                  <a:gd name="connsiteY230" fmla="*/ 87561 h 1528729"/>
                  <a:gd name="connsiteX231" fmla="*/ 1659345 w 3716428"/>
                  <a:gd name="connsiteY231" fmla="*/ 73255 h 1528729"/>
                  <a:gd name="connsiteX232" fmla="*/ 1644070 w 3716428"/>
                  <a:gd name="connsiteY232" fmla="*/ 69322 h 1528729"/>
                  <a:gd name="connsiteX233" fmla="*/ 1610899 w 3716428"/>
                  <a:gd name="connsiteY233" fmla="*/ 82716 h 1528729"/>
                  <a:gd name="connsiteX234" fmla="*/ 1599500 w 3716428"/>
                  <a:gd name="connsiteY234" fmla="*/ 93374 h 1528729"/>
                  <a:gd name="connsiteX235" fmla="*/ 1603490 w 3716428"/>
                  <a:gd name="connsiteY235" fmla="*/ 106319 h 1528729"/>
                  <a:gd name="connsiteX236" fmla="*/ 1604174 w 3716428"/>
                  <a:gd name="connsiteY236" fmla="*/ 106654 h 1528729"/>
                  <a:gd name="connsiteX237" fmla="*/ 1607651 w 3716428"/>
                  <a:gd name="connsiteY237" fmla="*/ 118053 h 1528729"/>
                  <a:gd name="connsiteX238" fmla="*/ 1619050 w 3716428"/>
                  <a:gd name="connsiteY238" fmla="*/ 124094 h 1528729"/>
                  <a:gd name="connsiteX239" fmla="*/ 1627029 w 3716428"/>
                  <a:gd name="connsiteY239" fmla="*/ 130706 h 1528729"/>
                  <a:gd name="connsiteX240" fmla="*/ 1636433 w 3716428"/>
                  <a:gd name="connsiteY240" fmla="*/ 133726 h 1528729"/>
                  <a:gd name="connsiteX241" fmla="*/ 1660257 w 3716428"/>
                  <a:gd name="connsiteY241" fmla="*/ 137089 h 1528729"/>
                  <a:gd name="connsiteX242" fmla="*/ 1669604 w 3716428"/>
                  <a:gd name="connsiteY242" fmla="*/ 139312 h 1528729"/>
                  <a:gd name="connsiteX243" fmla="*/ 1702604 w 3716428"/>
                  <a:gd name="connsiteY243" fmla="*/ 169462 h 1528729"/>
                  <a:gd name="connsiteX244" fmla="*/ 1692231 w 3716428"/>
                  <a:gd name="connsiteY244" fmla="*/ 183863 h 1528729"/>
                  <a:gd name="connsiteX245" fmla="*/ 1692345 w 3716428"/>
                  <a:gd name="connsiteY245" fmla="*/ 184338 h 1528729"/>
                  <a:gd name="connsiteX246" fmla="*/ 1751448 w 3716428"/>
                  <a:gd name="connsiteY246" fmla="*/ 180975 h 1528729"/>
                  <a:gd name="connsiteX247" fmla="*/ 1775443 w 3716428"/>
                  <a:gd name="connsiteY247" fmla="*/ 178524 h 1528729"/>
                  <a:gd name="connsiteX248" fmla="*/ 1782283 w 3716428"/>
                  <a:gd name="connsiteY248" fmla="*/ 175617 h 1528729"/>
                  <a:gd name="connsiteX249" fmla="*/ 1785360 w 3716428"/>
                  <a:gd name="connsiteY249" fmla="*/ 170887 h 1528729"/>
                  <a:gd name="connsiteX250" fmla="*/ 1807303 w 3716428"/>
                  <a:gd name="connsiteY250" fmla="*/ 158291 h 1528729"/>
                  <a:gd name="connsiteX251" fmla="*/ 1832495 w 3716428"/>
                  <a:gd name="connsiteY251" fmla="*/ 152079 h 1528729"/>
                  <a:gd name="connsiteX252" fmla="*/ 1831412 w 3716428"/>
                  <a:gd name="connsiteY252" fmla="*/ 141307 h 1528729"/>
                  <a:gd name="connsiteX253" fmla="*/ 1774417 w 3716428"/>
                  <a:gd name="connsiteY253" fmla="*/ 135607 h 1528729"/>
                  <a:gd name="connsiteX254" fmla="*/ 1759428 w 3716428"/>
                  <a:gd name="connsiteY254" fmla="*/ 133612 h 1528729"/>
                  <a:gd name="connsiteX255" fmla="*/ 1758060 w 3716428"/>
                  <a:gd name="connsiteY255" fmla="*/ 126203 h 1528729"/>
                  <a:gd name="connsiteX256" fmla="*/ 1754697 w 3716428"/>
                  <a:gd name="connsiteY256" fmla="*/ 123296 h 1528729"/>
                  <a:gd name="connsiteX257" fmla="*/ 1730475 w 3716428"/>
                  <a:gd name="connsiteY257" fmla="*/ 132824 h 1528729"/>
                  <a:gd name="connsiteX258" fmla="*/ 1729619 w 3716428"/>
                  <a:gd name="connsiteY258" fmla="*/ 135208 h 1528729"/>
                  <a:gd name="connsiteX259" fmla="*/ 1726029 w 3716428"/>
                  <a:gd name="connsiteY259" fmla="*/ 143928 h 1528729"/>
                  <a:gd name="connsiteX260" fmla="*/ 1716567 w 3716428"/>
                  <a:gd name="connsiteY260" fmla="*/ 145011 h 1528729"/>
                  <a:gd name="connsiteX261" fmla="*/ 1708759 w 3716428"/>
                  <a:gd name="connsiteY261" fmla="*/ 167809 h 1528729"/>
                  <a:gd name="connsiteX262" fmla="*/ 1702718 w 3716428"/>
                  <a:gd name="connsiteY262" fmla="*/ 169633 h 1528729"/>
                  <a:gd name="connsiteX263" fmla="*/ 1993049 w 3716428"/>
                  <a:gd name="connsiteY263" fmla="*/ 355607 h 1528729"/>
                  <a:gd name="connsiteX264" fmla="*/ 1984557 w 3716428"/>
                  <a:gd name="connsiteY264" fmla="*/ 356690 h 1528729"/>
                  <a:gd name="connsiteX265" fmla="*/ 1979712 w 3716428"/>
                  <a:gd name="connsiteY265" fmla="*/ 356291 h 1528729"/>
                  <a:gd name="connsiteX266" fmla="*/ 1975552 w 3716428"/>
                  <a:gd name="connsiteY266" fmla="*/ 358286 h 1528729"/>
                  <a:gd name="connsiteX267" fmla="*/ 1975552 w 3716428"/>
                  <a:gd name="connsiteY267" fmla="*/ 362845 h 1528729"/>
                  <a:gd name="connsiteX268" fmla="*/ 1965748 w 3716428"/>
                  <a:gd name="connsiteY268" fmla="*/ 364669 h 1528729"/>
                  <a:gd name="connsiteX269" fmla="*/ 1965007 w 3716428"/>
                  <a:gd name="connsiteY269" fmla="*/ 365068 h 1528729"/>
                  <a:gd name="connsiteX270" fmla="*/ 1965007 w 3716428"/>
                  <a:gd name="connsiteY270" fmla="*/ 366037 h 1528729"/>
                  <a:gd name="connsiteX271" fmla="*/ 1965007 w 3716428"/>
                  <a:gd name="connsiteY271" fmla="*/ 369229 h 1528729"/>
                  <a:gd name="connsiteX272" fmla="*/ 1965805 w 3716428"/>
                  <a:gd name="connsiteY272" fmla="*/ 372135 h 1528729"/>
                  <a:gd name="connsiteX273" fmla="*/ 1968940 w 3716428"/>
                  <a:gd name="connsiteY273" fmla="*/ 373218 h 1528729"/>
                  <a:gd name="connsiteX274" fmla="*/ 1997950 w 3716428"/>
                  <a:gd name="connsiteY274" fmla="*/ 370710 h 1528729"/>
                  <a:gd name="connsiteX275" fmla="*/ 2000914 w 3716428"/>
                  <a:gd name="connsiteY275" fmla="*/ 366835 h 1528729"/>
                  <a:gd name="connsiteX276" fmla="*/ 1998406 w 3716428"/>
                  <a:gd name="connsiteY276" fmla="*/ 366835 h 1528729"/>
                  <a:gd name="connsiteX277" fmla="*/ 2000572 w 3716428"/>
                  <a:gd name="connsiteY277" fmla="*/ 359425 h 1528729"/>
                  <a:gd name="connsiteX278" fmla="*/ 1993049 w 3716428"/>
                  <a:gd name="connsiteY278" fmla="*/ 355607 h 1528729"/>
                  <a:gd name="connsiteX279" fmla="*/ 2603862 w 3716428"/>
                  <a:gd name="connsiteY279" fmla="*/ 398695 h 1528729"/>
                  <a:gd name="connsiteX280" fmla="*/ 2595426 w 3716428"/>
                  <a:gd name="connsiteY280" fmla="*/ 401488 h 1528729"/>
                  <a:gd name="connsiteX281" fmla="*/ 2605628 w 3716428"/>
                  <a:gd name="connsiteY281" fmla="*/ 407757 h 1528729"/>
                  <a:gd name="connsiteX282" fmla="*/ 2602893 w 3716428"/>
                  <a:gd name="connsiteY282" fmla="*/ 414026 h 1528729"/>
                  <a:gd name="connsiteX283" fmla="*/ 2607851 w 3716428"/>
                  <a:gd name="connsiteY283" fmla="*/ 416876 h 1528729"/>
                  <a:gd name="connsiteX284" fmla="*/ 2656183 w 3716428"/>
                  <a:gd name="connsiteY284" fmla="*/ 416876 h 1528729"/>
                  <a:gd name="connsiteX285" fmla="*/ 2664333 w 3716428"/>
                  <a:gd name="connsiteY285" fmla="*/ 415679 h 1528729"/>
                  <a:gd name="connsiteX286" fmla="*/ 2668437 w 3716428"/>
                  <a:gd name="connsiteY286" fmla="*/ 409068 h 1528729"/>
                  <a:gd name="connsiteX287" fmla="*/ 2658805 w 3716428"/>
                  <a:gd name="connsiteY287" fmla="*/ 403881 h 1528729"/>
                  <a:gd name="connsiteX288" fmla="*/ 2653675 w 3716428"/>
                  <a:gd name="connsiteY288" fmla="*/ 397726 h 1528729"/>
                  <a:gd name="connsiteX289" fmla="*/ 2649058 w 3716428"/>
                  <a:gd name="connsiteY289" fmla="*/ 396187 h 1528729"/>
                  <a:gd name="connsiteX290" fmla="*/ 2650369 w 3716428"/>
                  <a:gd name="connsiteY290" fmla="*/ 393451 h 1528729"/>
                  <a:gd name="connsiteX291" fmla="*/ 2648546 w 3716428"/>
                  <a:gd name="connsiteY291" fmla="*/ 389006 h 1528729"/>
                  <a:gd name="connsiteX292" fmla="*/ 2643416 w 3716428"/>
                  <a:gd name="connsiteY292" fmla="*/ 387980 h 1528729"/>
                  <a:gd name="connsiteX293" fmla="*/ 2619877 w 3716428"/>
                  <a:gd name="connsiteY293" fmla="*/ 389177 h 1528729"/>
                  <a:gd name="connsiteX294" fmla="*/ 2608478 w 3716428"/>
                  <a:gd name="connsiteY294" fmla="*/ 392710 h 1528729"/>
                  <a:gd name="connsiteX295" fmla="*/ 2606369 w 3716428"/>
                  <a:gd name="connsiteY295" fmla="*/ 394306 h 1528729"/>
                  <a:gd name="connsiteX296" fmla="*/ 2606369 w 3716428"/>
                  <a:gd name="connsiteY296" fmla="*/ 396586 h 1528729"/>
                  <a:gd name="connsiteX297" fmla="*/ 2603862 w 3716428"/>
                  <a:gd name="connsiteY297" fmla="*/ 398695 h 1528729"/>
                  <a:gd name="connsiteX298" fmla="*/ 2595654 w 3716428"/>
                  <a:gd name="connsiteY298" fmla="*/ 370539 h 1528729"/>
                  <a:gd name="connsiteX299" fmla="*/ 2587675 w 3716428"/>
                  <a:gd name="connsiteY299" fmla="*/ 372762 h 1528729"/>
                  <a:gd name="connsiteX300" fmla="*/ 2585339 w 3716428"/>
                  <a:gd name="connsiteY300" fmla="*/ 376809 h 1528729"/>
                  <a:gd name="connsiteX301" fmla="*/ 2585965 w 3716428"/>
                  <a:gd name="connsiteY301" fmla="*/ 381596 h 1528729"/>
                  <a:gd name="connsiteX302" fmla="*/ 2588986 w 3716428"/>
                  <a:gd name="connsiteY302" fmla="*/ 384332 h 1528729"/>
                  <a:gd name="connsiteX303" fmla="*/ 2600385 w 3716428"/>
                  <a:gd name="connsiteY303" fmla="*/ 384332 h 1528729"/>
                  <a:gd name="connsiteX304" fmla="*/ 2602950 w 3716428"/>
                  <a:gd name="connsiteY304" fmla="*/ 382964 h 1528729"/>
                  <a:gd name="connsiteX305" fmla="*/ 2602950 w 3716428"/>
                  <a:gd name="connsiteY305" fmla="*/ 378177 h 1528729"/>
                  <a:gd name="connsiteX306" fmla="*/ 2605857 w 3716428"/>
                  <a:gd name="connsiteY306" fmla="*/ 374700 h 1528729"/>
                  <a:gd name="connsiteX307" fmla="*/ 2610530 w 3716428"/>
                  <a:gd name="connsiteY307" fmla="*/ 374187 h 1528729"/>
                  <a:gd name="connsiteX308" fmla="*/ 2612012 w 3716428"/>
                  <a:gd name="connsiteY308" fmla="*/ 374187 h 1528729"/>
                  <a:gd name="connsiteX309" fmla="*/ 2612639 w 3716428"/>
                  <a:gd name="connsiteY309" fmla="*/ 372990 h 1528729"/>
                  <a:gd name="connsiteX310" fmla="*/ 2606939 w 3716428"/>
                  <a:gd name="connsiteY310" fmla="*/ 365524 h 1528729"/>
                  <a:gd name="connsiteX311" fmla="*/ 2596908 w 3716428"/>
                  <a:gd name="connsiteY311" fmla="*/ 366037 h 1528729"/>
                  <a:gd name="connsiteX312" fmla="*/ 2595654 w 3716428"/>
                  <a:gd name="connsiteY312" fmla="*/ 370596 h 1528729"/>
                  <a:gd name="connsiteX313" fmla="*/ 2606540 w 3716428"/>
                  <a:gd name="connsiteY313" fmla="*/ 297985 h 1528729"/>
                  <a:gd name="connsiteX314" fmla="*/ 2597364 w 3716428"/>
                  <a:gd name="connsiteY314" fmla="*/ 300664 h 1528729"/>
                  <a:gd name="connsiteX315" fmla="*/ 2595141 w 3716428"/>
                  <a:gd name="connsiteY315" fmla="*/ 293426 h 1528729"/>
                  <a:gd name="connsiteX316" fmla="*/ 2587960 w 3716428"/>
                  <a:gd name="connsiteY316" fmla="*/ 289835 h 1528729"/>
                  <a:gd name="connsiteX317" fmla="*/ 2575934 w 3716428"/>
                  <a:gd name="connsiteY317" fmla="*/ 286985 h 1528729"/>
                  <a:gd name="connsiteX318" fmla="*/ 2562654 w 3716428"/>
                  <a:gd name="connsiteY318" fmla="*/ 287441 h 1528729"/>
                  <a:gd name="connsiteX319" fmla="*/ 2546354 w 3716428"/>
                  <a:gd name="connsiteY319" fmla="*/ 293141 h 1528729"/>
                  <a:gd name="connsiteX320" fmla="*/ 2542706 w 3716428"/>
                  <a:gd name="connsiteY320" fmla="*/ 308073 h 1528729"/>
                  <a:gd name="connsiteX321" fmla="*/ 2538431 w 3716428"/>
                  <a:gd name="connsiteY321" fmla="*/ 313773 h 1528729"/>
                  <a:gd name="connsiteX322" fmla="*/ 2544131 w 3716428"/>
                  <a:gd name="connsiteY322" fmla="*/ 330415 h 1528729"/>
                  <a:gd name="connsiteX323" fmla="*/ 2544587 w 3716428"/>
                  <a:gd name="connsiteY323" fmla="*/ 336115 h 1528729"/>
                  <a:gd name="connsiteX324" fmla="*/ 2549146 w 3716428"/>
                  <a:gd name="connsiteY324" fmla="*/ 339021 h 1528729"/>
                  <a:gd name="connsiteX325" fmla="*/ 2561743 w 3716428"/>
                  <a:gd name="connsiteY325" fmla="*/ 343182 h 1528729"/>
                  <a:gd name="connsiteX326" fmla="*/ 2567442 w 3716428"/>
                  <a:gd name="connsiteY326" fmla="*/ 343866 h 1528729"/>
                  <a:gd name="connsiteX327" fmla="*/ 2576504 w 3716428"/>
                  <a:gd name="connsiteY327" fmla="*/ 333721 h 1528729"/>
                  <a:gd name="connsiteX328" fmla="*/ 2585339 w 3716428"/>
                  <a:gd name="connsiteY328" fmla="*/ 332581 h 1528729"/>
                  <a:gd name="connsiteX329" fmla="*/ 2587561 w 3716428"/>
                  <a:gd name="connsiteY329" fmla="*/ 333322 h 1528729"/>
                  <a:gd name="connsiteX330" fmla="*/ 2588530 w 3716428"/>
                  <a:gd name="connsiteY330" fmla="*/ 335545 h 1528729"/>
                  <a:gd name="connsiteX331" fmla="*/ 2599473 w 3716428"/>
                  <a:gd name="connsiteY331" fmla="*/ 340316 h 1528729"/>
                  <a:gd name="connsiteX332" fmla="*/ 2602437 w 3716428"/>
                  <a:gd name="connsiteY332" fmla="*/ 338337 h 1528729"/>
                  <a:gd name="connsiteX333" fmla="*/ 2605001 w 3716428"/>
                  <a:gd name="connsiteY333" fmla="*/ 335146 h 1528729"/>
                  <a:gd name="connsiteX334" fmla="*/ 2611100 w 3716428"/>
                  <a:gd name="connsiteY334" fmla="*/ 334006 h 1528729"/>
                  <a:gd name="connsiteX335" fmla="*/ 2636292 w 3716428"/>
                  <a:gd name="connsiteY335" fmla="*/ 335488 h 1528729"/>
                  <a:gd name="connsiteX336" fmla="*/ 2640680 w 3716428"/>
                  <a:gd name="connsiteY336" fmla="*/ 334975 h 1528729"/>
                  <a:gd name="connsiteX337" fmla="*/ 2643359 w 3716428"/>
                  <a:gd name="connsiteY337" fmla="*/ 327736 h 1528729"/>
                  <a:gd name="connsiteX338" fmla="*/ 2633499 w 3716428"/>
                  <a:gd name="connsiteY338" fmla="*/ 319700 h 1528729"/>
                  <a:gd name="connsiteX339" fmla="*/ 2634525 w 3716428"/>
                  <a:gd name="connsiteY339" fmla="*/ 299581 h 1528729"/>
                  <a:gd name="connsiteX340" fmla="*/ 2625519 w 3716428"/>
                  <a:gd name="connsiteY340" fmla="*/ 297073 h 1528729"/>
                  <a:gd name="connsiteX341" fmla="*/ 2622442 w 3716428"/>
                  <a:gd name="connsiteY341" fmla="*/ 298042 h 1528729"/>
                  <a:gd name="connsiteX342" fmla="*/ 2615147 w 3716428"/>
                  <a:gd name="connsiteY342" fmla="*/ 293329 h 1528729"/>
                  <a:gd name="connsiteX343" fmla="*/ 2615033 w 3716428"/>
                  <a:gd name="connsiteY343" fmla="*/ 292799 h 1528729"/>
                  <a:gd name="connsiteX344" fmla="*/ 2606540 w 3716428"/>
                  <a:gd name="connsiteY344" fmla="*/ 298042 h 1528729"/>
                  <a:gd name="connsiteX345" fmla="*/ 2648488 w 3716428"/>
                  <a:gd name="connsiteY345" fmla="*/ 294110 h 1528729"/>
                  <a:gd name="connsiteX346" fmla="*/ 2639882 w 3716428"/>
                  <a:gd name="connsiteY346" fmla="*/ 306477 h 1528729"/>
                  <a:gd name="connsiteX347" fmla="*/ 2648033 w 3716428"/>
                  <a:gd name="connsiteY347" fmla="*/ 310752 h 1528729"/>
                  <a:gd name="connsiteX348" fmla="*/ 2658463 w 3716428"/>
                  <a:gd name="connsiteY348" fmla="*/ 329161 h 1528729"/>
                  <a:gd name="connsiteX349" fmla="*/ 2656582 w 3716428"/>
                  <a:gd name="connsiteY349" fmla="*/ 336457 h 1528729"/>
                  <a:gd name="connsiteX350" fmla="*/ 2680348 w 3716428"/>
                  <a:gd name="connsiteY350" fmla="*/ 334804 h 1528729"/>
                  <a:gd name="connsiteX351" fmla="*/ 2681944 w 3716428"/>
                  <a:gd name="connsiteY351" fmla="*/ 334063 h 1528729"/>
                  <a:gd name="connsiteX352" fmla="*/ 2682856 w 3716428"/>
                  <a:gd name="connsiteY352" fmla="*/ 332239 h 1528729"/>
                  <a:gd name="connsiteX353" fmla="*/ 2685763 w 3716428"/>
                  <a:gd name="connsiteY353" fmla="*/ 319358 h 1528729"/>
                  <a:gd name="connsiteX354" fmla="*/ 2686447 w 3716428"/>
                  <a:gd name="connsiteY354" fmla="*/ 316052 h 1528729"/>
                  <a:gd name="connsiteX355" fmla="*/ 2688499 w 3716428"/>
                  <a:gd name="connsiteY355" fmla="*/ 314628 h 1528729"/>
                  <a:gd name="connsiteX356" fmla="*/ 2695623 w 3716428"/>
                  <a:gd name="connsiteY356" fmla="*/ 312234 h 1528729"/>
                  <a:gd name="connsiteX357" fmla="*/ 2700923 w 3716428"/>
                  <a:gd name="connsiteY357" fmla="*/ 308586 h 1528729"/>
                  <a:gd name="connsiteX358" fmla="*/ 2699670 w 3716428"/>
                  <a:gd name="connsiteY358" fmla="*/ 305565 h 1528729"/>
                  <a:gd name="connsiteX359" fmla="*/ 2690551 w 3716428"/>
                  <a:gd name="connsiteY359" fmla="*/ 298327 h 1528729"/>
                  <a:gd name="connsiteX360" fmla="*/ 2686789 w 3716428"/>
                  <a:gd name="connsiteY360" fmla="*/ 297985 h 1528729"/>
                  <a:gd name="connsiteX361" fmla="*/ 2683939 w 3716428"/>
                  <a:gd name="connsiteY361" fmla="*/ 295363 h 1528729"/>
                  <a:gd name="connsiteX362" fmla="*/ 2658748 w 3716428"/>
                  <a:gd name="connsiteY362" fmla="*/ 291431 h 1528729"/>
                  <a:gd name="connsiteX363" fmla="*/ 2654302 w 3716428"/>
                  <a:gd name="connsiteY363" fmla="*/ 293825 h 1528729"/>
                  <a:gd name="connsiteX364" fmla="*/ 2648488 w 3716428"/>
                  <a:gd name="connsiteY364" fmla="*/ 294167 h 1528729"/>
                  <a:gd name="connsiteX365" fmla="*/ 2736032 w 3716428"/>
                  <a:gd name="connsiteY365" fmla="*/ 336001 h 1528729"/>
                  <a:gd name="connsiteX366" fmla="*/ 2738768 w 3716428"/>
                  <a:gd name="connsiteY366" fmla="*/ 336001 h 1528729"/>
                  <a:gd name="connsiteX367" fmla="*/ 2755866 w 3716428"/>
                  <a:gd name="connsiteY367" fmla="*/ 335431 h 1528729"/>
                  <a:gd name="connsiteX368" fmla="*/ 2766012 w 3716428"/>
                  <a:gd name="connsiteY368" fmla="*/ 339534 h 1528729"/>
                  <a:gd name="connsiteX369" fmla="*/ 2768349 w 3716428"/>
                  <a:gd name="connsiteY369" fmla="*/ 342099 h 1528729"/>
                  <a:gd name="connsiteX370" fmla="*/ 2771084 w 3716428"/>
                  <a:gd name="connsiteY370" fmla="*/ 342099 h 1528729"/>
                  <a:gd name="connsiteX371" fmla="*/ 2795991 w 3716428"/>
                  <a:gd name="connsiteY371" fmla="*/ 345405 h 1528729"/>
                  <a:gd name="connsiteX372" fmla="*/ 2803970 w 3716428"/>
                  <a:gd name="connsiteY372" fmla="*/ 349565 h 1528729"/>
                  <a:gd name="connsiteX373" fmla="*/ 2808586 w 3716428"/>
                  <a:gd name="connsiteY373" fmla="*/ 341928 h 1528729"/>
                  <a:gd name="connsiteX374" fmla="*/ 2821867 w 3716428"/>
                  <a:gd name="connsiteY374" fmla="*/ 340902 h 1528729"/>
                  <a:gd name="connsiteX375" fmla="*/ 2826939 w 3716428"/>
                  <a:gd name="connsiteY375" fmla="*/ 329845 h 1528729"/>
                  <a:gd name="connsiteX376" fmla="*/ 2814229 w 3716428"/>
                  <a:gd name="connsiteY376" fmla="*/ 324545 h 1528729"/>
                  <a:gd name="connsiteX377" fmla="*/ 2786302 w 3716428"/>
                  <a:gd name="connsiteY377" fmla="*/ 323633 h 1528729"/>
                  <a:gd name="connsiteX378" fmla="*/ 2776555 w 3716428"/>
                  <a:gd name="connsiteY378" fmla="*/ 318446 h 1528729"/>
                  <a:gd name="connsiteX379" fmla="*/ 2748058 w 3716428"/>
                  <a:gd name="connsiteY379" fmla="*/ 316679 h 1528729"/>
                  <a:gd name="connsiteX380" fmla="*/ 2743726 w 3716428"/>
                  <a:gd name="connsiteY380" fmla="*/ 315768 h 1528729"/>
                  <a:gd name="connsiteX381" fmla="*/ 2739281 w 3716428"/>
                  <a:gd name="connsiteY381" fmla="*/ 311493 h 1528729"/>
                  <a:gd name="connsiteX382" fmla="*/ 2727255 w 3716428"/>
                  <a:gd name="connsiteY382" fmla="*/ 314001 h 1528729"/>
                  <a:gd name="connsiteX383" fmla="*/ 2724121 w 3716428"/>
                  <a:gd name="connsiteY383" fmla="*/ 316110 h 1528729"/>
                  <a:gd name="connsiteX384" fmla="*/ 2721214 w 3716428"/>
                  <a:gd name="connsiteY384" fmla="*/ 319016 h 1528729"/>
                  <a:gd name="connsiteX385" fmla="*/ 2725774 w 3716428"/>
                  <a:gd name="connsiteY385" fmla="*/ 326483 h 1528729"/>
                  <a:gd name="connsiteX386" fmla="*/ 2733638 w 3716428"/>
                  <a:gd name="connsiteY386" fmla="*/ 331783 h 1528729"/>
                  <a:gd name="connsiteX387" fmla="*/ 2736032 w 3716428"/>
                  <a:gd name="connsiteY387" fmla="*/ 336001 h 1528729"/>
                  <a:gd name="connsiteX388" fmla="*/ 3229208 w 3716428"/>
                  <a:gd name="connsiteY388" fmla="*/ 567741 h 1528729"/>
                  <a:gd name="connsiteX389" fmla="*/ 3226814 w 3716428"/>
                  <a:gd name="connsiteY389" fmla="*/ 575037 h 1528729"/>
                  <a:gd name="connsiteX390" fmla="*/ 3221114 w 3716428"/>
                  <a:gd name="connsiteY390" fmla="*/ 577658 h 1528729"/>
                  <a:gd name="connsiteX391" fmla="*/ 3214617 w 3716428"/>
                  <a:gd name="connsiteY391" fmla="*/ 578000 h 1528729"/>
                  <a:gd name="connsiteX392" fmla="*/ 3226643 w 3716428"/>
                  <a:gd name="connsiteY392" fmla="*/ 581363 h 1528729"/>
                  <a:gd name="connsiteX393" fmla="*/ 3236161 w 3716428"/>
                  <a:gd name="connsiteY393" fmla="*/ 578684 h 1528729"/>
                  <a:gd name="connsiteX394" fmla="*/ 3235990 w 3716428"/>
                  <a:gd name="connsiteY394" fmla="*/ 569172 h 1528729"/>
                  <a:gd name="connsiteX395" fmla="*/ 3231374 w 3716428"/>
                  <a:gd name="connsiteY395" fmla="*/ 567285 h 1528729"/>
                  <a:gd name="connsiteX396" fmla="*/ 3229208 w 3716428"/>
                  <a:gd name="connsiteY396" fmla="*/ 567798 h 1528729"/>
                  <a:gd name="connsiteX397" fmla="*/ 3444021 w 3716428"/>
                  <a:gd name="connsiteY397" fmla="*/ 528757 h 1528729"/>
                  <a:gd name="connsiteX398" fmla="*/ 3455420 w 3716428"/>
                  <a:gd name="connsiteY398" fmla="*/ 524653 h 1528729"/>
                  <a:gd name="connsiteX399" fmla="*/ 3467788 w 3716428"/>
                  <a:gd name="connsiteY399" fmla="*/ 518954 h 1528729"/>
                  <a:gd name="connsiteX400" fmla="*/ 3470580 w 3716428"/>
                  <a:gd name="connsiteY400" fmla="*/ 515705 h 1528729"/>
                  <a:gd name="connsiteX401" fmla="*/ 3485570 w 3716428"/>
                  <a:gd name="connsiteY401" fmla="*/ 512798 h 1528729"/>
                  <a:gd name="connsiteX402" fmla="*/ 3509907 w 3716428"/>
                  <a:gd name="connsiteY402" fmla="*/ 515192 h 1528729"/>
                  <a:gd name="connsiteX403" fmla="*/ 3517316 w 3716428"/>
                  <a:gd name="connsiteY403" fmla="*/ 515192 h 1528729"/>
                  <a:gd name="connsiteX404" fmla="*/ 3522617 w 3716428"/>
                  <a:gd name="connsiteY404" fmla="*/ 510462 h 1528729"/>
                  <a:gd name="connsiteX405" fmla="*/ 3517943 w 3716428"/>
                  <a:gd name="connsiteY405" fmla="*/ 501969 h 1528729"/>
                  <a:gd name="connsiteX406" fmla="*/ 3488648 w 3716428"/>
                  <a:gd name="connsiteY406" fmla="*/ 498037 h 1528729"/>
                  <a:gd name="connsiteX407" fmla="*/ 3468700 w 3716428"/>
                  <a:gd name="connsiteY407" fmla="*/ 499917 h 1528729"/>
                  <a:gd name="connsiteX408" fmla="*/ 3460151 w 3716428"/>
                  <a:gd name="connsiteY408" fmla="*/ 502653 h 1528729"/>
                  <a:gd name="connsiteX409" fmla="*/ 3456959 w 3716428"/>
                  <a:gd name="connsiteY409" fmla="*/ 506358 h 1528729"/>
                  <a:gd name="connsiteX410" fmla="*/ 3443850 w 3716428"/>
                  <a:gd name="connsiteY410" fmla="*/ 511487 h 1528729"/>
                  <a:gd name="connsiteX411" fmla="*/ 3441342 w 3716428"/>
                  <a:gd name="connsiteY411" fmla="*/ 526021 h 1528729"/>
                  <a:gd name="connsiteX412" fmla="*/ 3444021 w 3716428"/>
                  <a:gd name="connsiteY412" fmla="*/ 528814 h 1528729"/>
                  <a:gd name="connsiteX413" fmla="*/ 3681005 w 3716428"/>
                  <a:gd name="connsiteY413" fmla="*/ 819430 h 1528729"/>
                  <a:gd name="connsiteX414" fmla="*/ 3668296 w 3716428"/>
                  <a:gd name="connsiteY414" fmla="*/ 821311 h 1528729"/>
                  <a:gd name="connsiteX415" fmla="*/ 3649373 w 3716428"/>
                  <a:gd name="connsiteY415" fmla="*/ 822451 h 1528729"/>
                  <a:gd name="connsiteX416" fmla="*/ 3649373 w 3716428"/>
                  <a:gd name="connsiteY416" fmla="*/ 829461 h 1528729"/>
                  <a:gd name="connsiteX417" fmla="*/ 3684881 w 3716428"/>
                  <a:gd name="connsiteY417" fmla="*/ 832710 h 1528729"/>
                  <a:gd name="connsiteX418" fmla="*/ 3698218 w 3716428"/>
                  <a:gd name="connsiteY418" fmla="*/ 838010 h 1528729"/>
                  <a:gd name="connsiteX419" fmla="*/ 3713036 w 3716428"/>
                  <a:gd name="connsiteY419" fmla="*/ 838010 h 1528729"/>
                  <a:gd name="connsiteX420" fmla="*/ 3715829 w 3716428"/>
                  <a:gd name="connsiteY420" fmla="*/ 837326 h 1528729"/>
                  <a:gd name="connsiteX421" fmla="*/ 3715829 w 3716428"/>
                  <a:gd name="connsiteY421" fmla="*/ 834932 h 1528729"/>
                  <a:gd name="connsiteX422" fmla="*/ 3701466 w 3716428"/>
                  <a:gd name="connsiteY422" fmla="*/ 828093 h 1528729"/>
                  <a:gd name="connsiteX423" fmla="*/ 3694741 w 3716428"/>
                  <a:gd name="connsiteY423" fmla="*/ 827580 h 1528729"/>
                  <a:gd name="connsiteX424" fmla="*/ 3693202 w 3716428"/>
                  <a:gd name="connsiteY424" fmla="*/ 821881 h 1528729"/>
                  <a:gd name="connsiteX425" fmla="*/ 3681005 w 3716428"/>
                  <a:gd name="connsiteY425" fmla="*/ 819373 h 1528729"/>
                  <a:gd name="connsiteX426" fmla="*/ 2645867 w 3716428"/>
                  <a:gd name="connsiteY426" fmla="*/ 1217538 h 1528729"/>
                  <a:gd name="connsiteX427" fmla="*/ 2641706 w 3716428"/>
                  <a:gd name="connsiteY427" fmla="*/ 1213719 h 1528729"/>
                  <a:gd name="connsiteX428" fmla="*/ 2638970 w 3716428"/>
                  <a:gd name="connsiteY428" fmla="*/ 1197818 h 1528729"/>
                  <a:gd name="connsiteX429" fmla="*/ 2629509 w 3716428"/>
                  <a:gd name="connsiteY429" fmla="*/ 1187559 h 1528729"/>
                  <a:gd name="connsiteX430" fmla="*/ 2623468 w 3716428"/>
                  <a:gd name="connsiteY430" fmla="*/ 1216512 h 1528729"/>
                  <a:gd name="connsiteX431" fmla="*/ 2624380 w 3716428"/>
                  <a:gd name="connsiteY431" fmla="*/ 1226201 h 1528729"/>
                  <a:gd name="connsiteX432" fmla="*/ 2627401 w 3716428"/>
                  <a:gd name="connsiteY432" fmla="*/ 1232813 h 1528729"/>
                  <a:gd name="connsiteX433" fmla="*/ 2633442 w 3716428"/>
                  <a:gd name="connsiteY433" fmla="*/ 1274761 h 1528729"/>
                  <a:gd name="connsiteX434" fmla="*/ 2628883 w 3716428"/>
                  <a:gd name="connsiteY434" fmla="*/ 1295051 h 1528729"/>
                  <a:gd name="connsiteX435" fmla="*/ 2629224 w 3716428"/>
                  <a:gd name="connsiteY435" fmla="*/ 1324004 h 1528729"/>
                  <a:gd name="connsiteX436" fmla="*/ 2623525 w 3716428"/>
                  <a:gd name="connsiteY436" fmla="*/ 1381683 h 1528729"/>
                  <a:gd name="connsiteX437" fmla="*/ 2624608 w 3716428"/>
                  <a:gd name="connsiteY437" fmla="*/ 1393367 h 1528729"/>
                  <a:gd name="connsiteX438" fmla="*/ 2634696 w 3716428"/>
                  <a:gd name="connsiteY438" fmla="*/ 1388066 h 1528729"/>
                  <a:gd name="connsiteX439" fmla="*/ 2638343 w 3716428"/>
                  <a:gd name="connsiteY439" fmla="*/ 1376667 h 1528729"/>
                  <a:gd name="connsiteX440" fmla="*/ 2649742 w 3716428"/>
                  <a:gd name="connsiteY440" fmla="*/ 1384305 h 1528729"/>
                  <a:gd name="connsiteX441" fmla="*/ 2661540 w 3716428"/>
                  <a:gd name="connsiteY441" fmla="*/ 1391486 h 1528729"/>
                  <a:gd name="connsiteX442" fmla="*/ 2664219 w 3716428"/>
                  <a:gd name="connsiteY442" fmla="*/ 1384077 h 1528729"/>
                  <a:gd name="connsiteX443" fmla="*/ 2659659 w 3716428"/>
                  <a:gd name="connsiteY443" fmla="*/ 1377009 h 1528729"/>
                  <a:gd name="connsiteX444" fmla="*/ 2644442 w 3716428"/>
                  <a:gd name="connsiteY444" fmla="*/ 1360538 h 1528729"/>
                  <a:gd name="connsiteX445" fmla="*/ 2642846 w 3716428"/>
                  <a:gd name="connsiteY445" fmla="*/ 1323947 h 1528729"/>
                  <a:gd name="connsiteX446" fmla="*/ 2646437 w 3716428"/>
                  <a:gd name="connsiteY446" fmla="*/ 1305709 h 1528729"/>
                  <a:gd name="connsiteX447" fmla="*/ 2647805 w 3716428"/>
                  <a:gd name="connsiteY447" fmla="*/ 1301947 h 1528729"/>
                  <a:gd name="connsiteX448" fmla="*/ 2660857 w 3716428"/>
                  <a:gd name="connsiteY448" fmla="*/ 1296818 h 1528729"/>
                  <a:gd name="connsiteX449" fmla="*/ 2659204 w 3716428"/>
                  <a:gd name="connsiteY449" fmla="*/ 1285134 h 1528729"/>
                  <a:gd name="connsiteX450" fmla="*/ 2652193 w 3716428"/>
                  <a:gd name="connsiteY450" fmla="*/ 1274647 h 1528729"/>
                  <a:gd name="connsiteX451" fmla="*/ 2652763 w 3716428"/>
                  <a:gd name="connsiteY451" fmla="*/ 1262792 h 1528729"/>
                  <a:gd name="connsiteX452" fmla="*/ 2646323 w 3716428"/>
                  <a:gd name="connsiteY452" fmla="*/ 1222896 h 1528729"/>
                  <a:gd name="connsiteX453" fmla="*/ 2645867 w 3716428"/>
                  <a:gd name="connsiteY453" fmla="*/ 1217481 h 1528729"/>
                  <a:gd name="connsiteX454" fmla="*/ 46907 w 3716428"/>
                  <a:gd name="connsiteY454" fmla="*/ 1126347 h 1528729"/>
                  <a:gd name="connsiteX455" fmla="*/ 45368 w 3716428"/>
                  <a:gd name="connsiteY455" fmla="*/ 1120020 h 1528729"/>
                  <a:gd name="connsiteX456" fmla="*/ 38357 w 3716428"/>
                  <a:gd name="connsiteY456" fmla="*/ 1107538 h 1528729"/>
                  <a:gd name="connsiteX457" fmla="*/ 16357 w 3716428"/>
                  <a:gd name="connsiteY457" fmla="*/ 1099274 h 1528729"/>
                  <a:gd name="connsiteX458" fmla="*/ 11741 w 3716428"/>
                  <a:gd name="connsiteY458" fmla="*/ 1092093 h 1528729"/>
                  <a:gd name="connsiteX459" fmla="*/ 6611 w 3716428"/>
                  <a:gd name="connsiteY459" fmla="*/ 1088901 h 1528729"/>
                  <a:gd name="connsiteX460" fmla="*/ 0 w 3716428"/>
                  <a:gd name="connsiteY460" fmla="*/ 1097963 h 1528729"/>
                  <a:gd name="connsiteX461" fmla="*/ 10829 w 3716428"/>
                  <a:gd name="connsiteY461" fmla="*/ 1102466 h 1528729"/>
                  <a:gd name="connsiteX462" fmla="*/ 1197 w 3716428"/>
                  <a:gd name="connsiteY462" fmla="*/ 1107481 h 1528729"/>
                  <a:gd name="connsiteX463" fmla="*/ 2166 w 3716428"/>
                  <a:gd name="connsiteY463" fmla="*/ 1118880 h 1528729"/>
                  <a:gd name="connsiteX464" fmla="*/ 456 w 3716428"/>
                  <a:gd name="connsiteY464" fmla="*/ 1123440 h 1528729"/>
                  <a:gd name="connsiteX465" fmla="*/ 2451 w 3716428"/>
                  <a:gd name="connsiteY465" fmla="*/ 1125948 h 1528729"/>
                  <a:gd name="connsiteX466" fmla="*/ 5300 w 3716428"/>
                  <a:gd name="connsiteY466" fmla="*/ 1128398 h 1528729"/>
                  <a:gd name="connsiteX467" fmla="*/ 10544 w 3716428"/>
                  <a:gd name="connsiteY467" fmla="*/ 1129310 h 1528729"/>
                  <a:gd name="connsiteX468" fmla="*/ 23653 w 3716428"/>
                  <a:gd name="connsiteY468" fmla="*/ 1129652 h 1528729"/>
                  <a:gd name="connsiteX469" fmla="*/ 41834 w 3716428"/>
                  <a:gd name="connsiteY469" fmla="*/ 1133984 h 1528729"/>
                  <a:gd name="connsiteX470" fmla="*/ 47932 w 3716428"/>
                  <a:gd name="connsiteY470" fmla="*/ 1138486 h 1528729"/>
                  <a:gd name="connsiteX471" fmla="*/ 47135 w 3716428"/>
                  <a:gd name="connsiteY471" fmla="*/ 1133243 h 1528729"/>
                  <a:gd name="connsiteX472" fmla="*/ 46736 w 3716428"/>
                  <a:gd name="connsiteY472" fmla="*/ 1126347 h 1528729"/>
                  <a:gd name="connsiteX473" fmla="*/ 3678213 w 3716428"/>
                  <a:gd name="connsiteY473" fmla="*/ 736446 h 1528729"/>
                  <a:gd name="connsiteX474" fmla="*/ 3665730 w 3716428"/>
                  <a:gd name="connsiteY474" fmla="*/ 739637 h 1528729"/>
                  <a:gd name="connsiteX475" fmla="*/ 3660088 w 3716428"/>
                  <a:gd name="connsiteY475" fmla="*/ 733875 h 1528729"/>
                  <a:gd name="connsiteX476" fmla="*/ 3659176 w 3716428"/>
                  <a:gd name="connsiteY476" fmla="*/ 733938 h 1528729"/>
                  <a:gd name="connsiteX477" fmla="*/ 3651254 w 3716428"/>
                  <a:gd name="connsiteY477" fmla="*/ 742031 h 1528729"/>
                  <a:gd name="connsiteX478" fmla="*/ 3638829 w 3716428"/>
                  <a:gd name="connsiteY478" fmla="*/ 737414 h 1528729"/>
                  <a:gd name="connsiteX479" fmla="*/ 3626233 w 3716428"/>
                  <a:gd name="connsiteY479" fmla="*/ 737699 h 1528729"/>
                  <a:gd name="connsiteX480" fmla="*/ 3636606 w 3716428"/>
                  <a:gd name="connsiteY480" fmla="*/ 751891 h 1528729"/>
                  <a:gd name="connsiteX481" fmla="*/ 3634269 w 3716428"/>
                  <a:gd name="connsiteY481" fmla="*/ 769793 h 1528729"/>
                  <a:gd name="connsiteX482" fmla="*/ 3623668 w 3716428"/>
                  <a:gd name="connsiteY482" fmla="*/ 772124 h 1528729"/>
                  <a:gd name="connsiteX483" fmla="*/ 3623668 w 3716428"/>
                  <a:gd name="connsiteY483" fmla="*/ 779876 h 1528729"/>
                  <a:gd name="connsiteX484" fmla="*/ 3630565 w 3716428"/>
                  <a:gd name="connsiteY484" fmla="*/ 785575 h 1528729"/>
                  <a:gd name="connsiteX485" fmla="*/ 3608394 w 3716428"/>
                  <a:gd name="connsiteY485" fmla="*/ 785951 h 1528729"/>
                  <a:gd name="connsiteX486" fmla="*/ 3605088 w 3716428"/>
                  <a:gd name="connsiteY486" fmla="*/ 781300 h 1528729"/>
                  <a:gd name="connsiteX487" fmla="*/ 3595171 w 3716428"/>
                  <a:gd name="connsiteY487" fmla="*/ 779477 h 1528729"/>
                  <a:gd name="connsiteX488" fmla="*/ 3595171 w 3716428"/>
                  <a:gd name="connsiteY488" fmla="*/ 771668 h 1528729"/>
                  <a:gd name="connsiteX489" fmla="*/ 3562855 w 3716428"/>
                  <a:gd name="connsiteY489" fmla="*/ 765969 h 1528729"/>
                  <a:gd name="connsiteX490" fmla="*/ 3554306 w 3716428"/>
                  <a:gd name="connsiteY490" fmla="*/ 747446 h 1528729"/>
                  <a:gd name="connsiteX491" fmla="*/ 3519197 w 3716428"/>
                  <a:gd name="connsiteY491" fmla="*/ 745223 h 1528729"/>
                  <a:gd name="connsiteX492" fmla="*/ 3510249 w 3716428"/>
                  <a:gd name="connsiteY492" fmla="*/ 746648 h 1528729"/>
                  <a:gd name="connsiteX493" fmla="*/ 3503410 w 3716428"/>
                  <a:gd name="connsiteY493" fmla="*/ 737928 h 1528729"/>
                  <a:gd name="connsiteX494" fmla="*/ 3498964 w 3716428"/>
                  <a:gd name="connsiteY494" fmla="*/ 735819 h 1528729"/>
                  <a:gd name="connsiteX495" fmla="*/ 3502270 w 3716428"/>
                  <a:gd name="connsiteY495" fmla="*/ 721456 h 1528729"/>
                  <a:gd name="connsiteX496" fmla="*/ 3505006 w 3716428"/>
                  <a:gd name="connsiteY496" fmla="*/ 707093 h 1528729"/>
                  <a:gd name="connsiteX497" fmla="*/ 3499306 w 3716428"/>
                  <a:gd name="connsiteY497" fmla="*/ 706466 h 1528729"/>
                  <a:gd name="connsiteX498" fmla="*/ 3469782 w 3716428"/>
                  <a:gd name="connsiteY498" fmla="*/ 720658 h 1528729"/>
                  <a:gd name="connsiteX499" fmla="*/ 3473715 w 3716428"/>
                  <a:gd name="connsiteY499" fmla="*/ 731202 h 1528729"/>
                  <a:gd name="connsiteX500" fmla="*/ 3483690 w 3716428"/>
                  <a:gd name="connsiteY500" fmla="*/ 739181 h 1528729"/>
                  <a:gd name="connsiteX501" fmla="*/ 3469782 w 3716428"/>
                  <a:gd name="connsiteY501" fmla="*/ 751606 h 1528729"/>
                  <a:gd name="connsiteX502" fmla="*/ 3435586 w 3716428"/>
                  <a:gd name="connsiteY502" fmla="*/ 751606 h 1528729"/>
                  <a:gd name="connsiteX503" fmla="*/ 3431767 w 3716428"/>
                  <a:gd name="connsiteY503" fmla="*/ 759472 h 1528729"/>
                  <a:gd name="connsiteX504" fmla="*/ 3417974 w 3716428"/>
                  <a:gd name="connsiteY504" fmla="*/ 765741 h 1528729"/>
                  <a:gd name="connsiteX505" fmla="*/ 3409083 w 3716428"/>
                  <a:gd name="connsiteY505" fmla="*/ 755824 h 1528729"/>
                  <a:gd name="connsiteX506" fmla="*/ 3389078 w 3716428"/>
                  <a:gd name="connsiteY506" fmla="*/ 761523 h 1528729"/>
                  <a:gd name="connsiteX507" fmla="*/ 3392099 w 3716428"/>
                  <a:gd name="connsiteY507" fmla="*/ 778622 h 1528729"/>
                  <a:gd name="connsiteX508" fmla="*/ 3400762 w 3716428"/>
                  <a:gd name="connsiteY508" fmla="*/ 779876 h 1528729"/>
                  <a:gd name="connsiteX509" fmla="*/ 3401959 w 3716428"/>
                  <a:gd name="connsiteY509" fmla="*/ 787456 h 1528729"/>
                  <a:gd name="connsiteX510" fmla="*/ 3403099 w 3716428"/>
                  <a:gd name="connsiteY510" fmla="*/ 799596 h 1528729"/>
                  <a:gd name="connsiteX511" fmla="*/ 3413130 w 3716428"/>
                  <a:gd name="connsiteY511" fmla="*/ 805295 h 1528729"/>
                  <a:gd name="connsiteX512" fmla="*/ 3412218 w 3716428"/>
                  <a:gd name="connsiteY512" fmla="*/ 817891 h 1528729"/>
                  <a:gd name="connsiteX513" fmla="*/ 3422591 w 3716428"/>
                  <a:gd name="connsiteY513" fmla="*/ 823078 h 1528729"/>
                  <a:gd name="connsiteX514" fmla="*/ 3422990 w 3716428"/>
                  <a:gd name="connsiteY514" fmla="*/ 826440 h 1528729"/>
                  <a:gd name="connsiteX515" fmla="*/ 3428689 w 3716428"/>
                  <a:gd name="connsiteY515" fmla="*/ 827181 h 1528729"/>
                  <a:gd name="connsiteX516" fmla="*/ 3440715 w 3716428"/>
                  <a:gd name="connsiteY516" fmla="*/ 842513 h 1528729"/>
                  <a:gd name="connsiteX517" fmla="*/ 3460778 w 3716428"/>
                  <a:gd name="connsiteY517" fmla="*/ 844508 h 1528729"/>
                  <a:gd name="connsiteX518" fmla="*/ 3448581 w 3716428"/>
                  <a:gd name="connsiteY518" fmla="*/ 853684 h 1528729"/>
                  <a:gd name="connsiteX519" fmla="*/ 3449436 w 3716428"/>
                  <a:gd name="connsiteY519" fmla="*/ 858129 h 1528729"/>
                  <a:gd name="connsiteX520" fmla="*/ 3448581 w 3716428"/>
                  <a:gd name="connsiteY520" fmla="*/ 862347 h 1528729"/>
                  <a:gd name="connsiteX521" fmla="*/ 3433933 w 3716428"/>
                  <a:gd name="connsiteY521" fmla="*/ 860865 h 1528729"/>
                  <a:gd name="connsiteX522" fmla="*/ 3431881 w 3716428"/>
                  <a:gd name="connsiteY522" fmla="*/ 857445 h 1528729"/>
                  <a:gd name="connsiteX523" fmla="*/ 3425783 w 3716428"/>
                  <a:gd name="connsiteY523" fmla="*/ 854539 h 1528729"/>
                  <a:gd name="connsiteX524" fmla="*/ 3412104 w 3716428"/>
                  <a:gd name="connsiteY524" fmla="*/ 851404 h 1528729"/>
                  <a:gd name="connsiteX525" fmla="*/ 3406063 w 3716428"/>
                  <a:gd name="connsiteY525" fmla="*/ 849010 h 1528729"/>
                  <a:gd name="connsiteX526" fmla="*/ 3403213 w 3716428"/>
                  <a:gd name="connsiteY526" fmla="*/ 846958 h 1528729"/>
                  <a:gd name="connsiteX527" fmla="*/ 3398539 w 3716428"/>
                  <a:gd name="connsiteY527" fmla="*/ 852316 h 1528729"/>
                  <a:gd name="connsiteX528" fmla="*/ 3395689 w 3716428"/>
                  <a:gd name="connsiteY528" fmla="*/ 859497 h 1528729"/>
                  <a:gd name="connsiteX529" fmla="*/ 3388280 w 3716428"/>
                  <a:gd name="connsiteY529" fmla="*/ 859098 h 1528729"/>
                  <a:gd name="connsiteX530" fmla="*/ 3376539 w 3716428"/>
                  <a:gd name="connsiteY530" fmla="*/ 869699 h 1528729"/>
                  <a:gd name="connsiteX531" fmla="*/ 3368902 w 3716428"/>
                  <a:gd name="connsiteY531" fmla="*/ 871352 h 1528729"/>
                  <a:gd name="connsiteX532" fmla="*/ 3365197 w 3716428"/>
                  <a:gd name="connsiteY532" fmla="*/ 877052 h 1528729"/>
                  <a:gd name="connsiteX533" fmla="*/ 3358472 w 3716428"/>
                  <a:gd name="connsiteY533" fmla="*/ 878134 h 1528729"/>
                  <a:gd name="connsiteX534" fmla="*/ 3340405 w 3716428"/>
                  <a:gd name="connsiteY534" fmla="*/ 876824 h 1528729"/>
                  <a:gd name="connsiteX535" fmla="*/ 3326840 w 3716428"/>
                  <a:gd name="connsiteY535" fmla="*/ 887311 h 1528729"/>
                  <a:gd name="connsiteX536" fmla="*/ 3310368 w 3716428"/>
                  <a:gd name="connsiteY536" fmla="*/ 889647 h 1528729"/>
                  <a:gd name="connsiteX537" fmla="*/ 3308886 w 3716428"/>
                  <a:gd name="connsiteY537" fmla="*/ 894549 h 1528729"/>
                  <a:gd name="connsiteX538" fmla="*/ 3296006 w 3716428"/>
                  <a:gd name="connsiteY538" fmla="*/ 898596 h 1528729"/>
                  <a:gd name="connsiteX539" fmla="*/ 3284037 w 3716428"/>
                  <a:gd name="connsiteY539" fmla="*/ 910793 h 1528729"/>
                  <a:gd name="connsiteX540" fmla="*/ 3277254 w 3716428"/>
                  <a:gd name="connsiteY540" fmla="*/ 912730 h 1528729"/>
                  <a:gd name="connsiteX541" fmla="*/ 3267793 w 3716428"/>
                  <a:gd name="connsiteY541" fmla="*/ 925440 h 1528729"/>
                  <a:gd name="connsiteX542" fmla="*/ 3259757 w 3716428"/>
                  <a:gd name="connsiteY542" fmla="*/ 926124 h 1528729"/>
                  <a:gd name="connsiteX543" fmla="*/ 3253602 w 3716428"/>
                  <a:gd name="connsiteY543" fmla="*/ 936440 h 1528729"/>
                  <a:gd name="connsiteX544" fmla="*/ 3241576 w 3716428"/>
                  <a:gd name="connsiteY544" fmla="*/ 939917 h 1528729"/>
                  <a:gd name="connsiteX545" fmla="*/ 3238270 w 3716428"/>
                  <a:gd name="connsiteY545" fmla="*/ 939347 h 1528729"/>
                  <a:gd name="connsiteX546" fmla="*/ 3236617 w 3716428"/>
                  <a:gd name="connsiteY546" fmla="*/ 934103 h 1528729"/>
                  <a:gd name="connsiteX547" fmla="*/ 3229265 w 3716428"/>
                  <a:gd name="connsiteY547" fmla="*/ 931425 h 1528729"/>
                  <a:gd name="connsiteX548" fmla="*/ 3226073 w 3716428"/>
                  <a:gd name="connsiteY548" fmla="*/ 925326 h 1528729"/>
                  <a:gd name="connsiteX549" fmla="*/ 3221457 w 3716428"/>
                  <a:gd name="connsiteY549" fmla="*/ 923388 h 1528729"/>
                  <a:gd name="connsiteX550" fmla="*/ 3200653 w 3716428"/>
                  <a:gd name="connsiteY550" fmla="*/ 925098 h 1528729"/>
                  <a:gd name="connsiteX551" fmla="*/ 3194441 w 3716428"/>
                  <a:gd name="connsiteY551" fmla="*/ 929601 h 1528729"/>
                  <a:gd name="connsiteX552" fmla="*/ 3185607 w 3716428"/>
                  <a:gd name="connsiteY552" fmla="*/ 931995 h 1528729"/>
                  <a:gd name="connsiteX553" fmla="*/ 3180705 w 3716428"/>
                  <a:gd name="connsiteY553" fmla="*/ 939917 h 1528729"/>
                  <a:gd name="connsiteX554" fmla="*/ 3173239 w 3716428"/>
                  <a:gd name="connsiteY554" fmla="*/ 943792 h 1528729"/>
                  <a:gd name="connsiteX555" fmla="*/ 3168508 w 3716428"/>
                  <a:gd name="connsiteY555" fmla="*/ 933932 h 1528729"/>
                  <a:gd name="connsiteX556" fmla="*/ 3159788 w 3716428"/>
                  <a:gd name="connsiteY556" fmla="*/ 929544 h 1528729"/>
                  <a:gd name="connsiteX557" fmla="*/ 3158763 w 3716428"/>
                  <a:gd name="connsiteY557" fmla="*/ 926979 h 1528729"/>
                  <a:gd name="connsiteX558" fmla="*/ 3151296 w 3716428"/>
                  <a:gd name="connsiteY558" fmla="*/ 930627 h 1528729"/>
                  <a:gd name="connsiteX559" fmla="*/ 3135053 w 3716428"/>
                  <a:gd name="connsiteY559" fmla="*/ 946471 h 1528729"/>
                  <a:gd name="connsiteX560" fmla="*/ 3120576 w 3716428"/>
                  <a:gd name="connsiteY560" fmla="*/ 943165 h 1528729"/>
                  <a:gd name="connsiteX561" fmla="*/ 3106612 w 3716428"/>
                  <a:gd name="connsiteY561" fmla="*/ 945331 h 1528729"/>
                  <a:gd name="connsiteX562" fmla="*/ 3100514 w 3716428"/>
                  <a:gd name="connsiteY562" fmla="*/ 958497 h 1528729"/>
                  <a:gd name="connsiteX563" fmla="*/ 3092363 w 3716428"/>
                  <a:gd name="connsiteY563" fmla="*/ 967787 h 1528729"/>
                  <a:gd name="connsiteX564" fmla="*/ 3090084 w 3716428"/>
                  <a:gd name="connsiteY564" fmla="*/ 971435 h 1528729"/>
                  <a:gd name="connsiteX565" fmla="*/ 3089628 w 3716428"/>
                  <a:gd name="connsiteY565" fmla="*/ 975311 h 1528729"/>
                  <a:gd name="connsiteX566" fmla="*/ 3079027 w 3716428"/>
                  <a:gd name="connsiteY566" fmla="*/ 984544 h 1528729"/>
                  <a:gd name="connsiteX567" fmla="*/ 3079027 w 3716428"/>
                  <a:gd name="connsiteY567" fmla="*/ 988077 h 1528729"/>
                  <a:gd name="connsiteX568" fmla="*/ 3072814 w 3716428"/>
                  <a:gd name="connsiteY568" fmla="*/ 992580 h 1528729"/>
                  <a:gd name="connsiteX569" fmla="*/ 3065861 w 3716428"/>
                  <a:gd name="connsiteY569" fmla="*/ 1002212 h 1528729"/>
                  <a:gd name="connsiteX570" fmla="*/ 3065861 w 3716428"/>
                  <a:gd name="connsiteY570" fmla="*/ 1014466 h 1528729"/>
                  <a:gd name="connsiteX571" fmla="*/ 3069167 w 3716428"/>
                  <a:gd name="connsiteY571" fmla="*/ 1022730 h 1528729"/>
                  <a:gd name="connsiteX572" fmla="*/ 3074866 w 3716428"/>
                  <a:gd name="connsiteY572" fmla="*/ 1024668 h 1528729"/>
                  <a:gd name="connsiteX573" fmla="*/ 3078343 w 3716428"/>
                  <a:gd name="connsiteY573" fmla="*/ 1029000 h 1528729"/>
                  <a:gd name="connsiteX574" fmla="*/ 3082675 w 3716428"/>
                  <a:gd name="connsiteY574" fmla="*/ 1023699 h 1528729"/>
                  <a:gd name="connsiteX575" fmla="*/ 3088716 w 3716428"/>
                  <a:gd name="connsiteY575" fmla="*/ 1025637 h 1528729"/>
                  <a:gd name="connsiteX576" fmla="*/ 3091908 w 3716428"/>
                  <a:gd name="connsiteY576" fmla="*/ 1025067 h 1528729"/>
                  <a:gd name="connsiteX577" fmla="*/ 3095783 w 3716428"/>
                  <a:gd name="connsiteY577" fmla="*/ 1031393 h 1528729"/>
                  <a:gd name="connsiteX578" fmla="*/ 3088944 w 3716428"/>
                  <a:gd name="connsiteY578" fmla="*/ 1036466 h 1528729"/>
                  <a:gd name="connsiteX579" fmla="*/ 3084555 w 3716428"/>
                  <a:gd name="connsiteY579" fmla="*/ 1037834 h 1528729"/>
                  <a:gd name="connsiteX580" fmla="*/ 3082959 w 3716428"/>
                  <a:gd name="connsiteY580" fmla="*/ 1041709 h 1528729"/>
                  <a:gd name="connsiteX581" fmla="*/ 3084612 w 3716428"/>
                  <a:gd name="connsiteY581" fmla="*/ 1043818 h 1528729"/>
                  <a:gd name="connsiteX582" fmla="*/ 3081306 w 3716428"/>
                  <a:gd name="connsiteY582" fmla="*/ 1057725 h 1528729"/>
                  <a:gd name="connsiteX583" fmla="*/ 3092705 w 3716428"/>
                  <a:gd name="connsiteY583" fmla="*/ 1062057 h 1528729"/>
                  <a:gd name="connsiteX584" fmla="*/ 3097664 w 3716428"/>
                  <a:gd name="connsiteY584" fmla="*/ 1072715 h 1528729"/>
                  <a:gd name="connsiteX585" fmla="*/ 3084669 w 3716428"/>
                  <a:gd name="connsiteY585" fmla="*/ 1072715 h 1528729"/>
                  <a:gd name="connsiteX586" fmla="*/ 3082959 w 3716428"/>
                  <a:gd name="connsiteY586" fmla="*/ 1075906 h 1528729"/>
                  <a:gd name="connsiteX587" fmla="*/ 3079483 w 3716428"/>
                  <a:gd name="connsiteY587" fmla="*/ 1077502 h 1528729"/>
                  <a:gd name="connsiteX588" fmla="*/ 3058395 w 3716428"/>
                  <a:gd name="connsiteY588" fmla="*/ 1098248 h 1528729"/>
                  <a:gd name="connsiteX589" fmla="*/ 3049732 w 3716428"/>
                  <a:gd name="connsiteY589" fmla="*/ 1100072 h 1528729"/>
                  <a:gd name="connsiteX590" fmla="*/ 3042721 w 3716428"/>
                  <a:gd name="connsiteY590" fmla="*/ 1106968 h 1528729"/>
                  <a:gd name="connsiteX591" fmla="*/ 3034001 w 3716428"/>
                  <a:gd name="connsiteY591" fmla="*/ 1108450 h 1528729"/>
                  <a:gd name="connsiteX592" fmla="*/ 3031208 w 3716428"/>
                  <a:gd name="connsiteY592" fmla="*/ 1116999 h 1528729"/>
                  <a:gd name="connsiteX593" fmla="*/ 3026534 w 3716428"/>
                  <a:gd name="connsiteY593" fmla="*/ 1118025 h 1528729"/>
                  <a:gd name="connsiteX594" fmla="*/ 3024426 w 3716428"/>
                  <a:gd name="connsiteY594" fmla="*/ 1120875 h 1528729"/>
                  <a:gd name="connsiteX595" fmla="*/ 3018726 w 3716428"/>
                  <a:gd name="connsiteY595" fmla="*/ 1139455 h 1528729"/>
                  <a:gd name="connsiteX596" fmla="*/ 3023286 w 3716428"/>
                  <a:gd name="connsiteY596" fmla="*/ 1169321 h 1528729"/>
                  <a:gd name="connsiteX597" fmla="*/ 3022203 w 3716428"/>
                  <a:gd name="connsiteY597" fmla="*/ 1174051 h 1528729"/>
                  <a:gd name="connsiteX598" fmla="*/ 3012856 w 3716428"/>
                  <a:gd name="connsiteY598" fmla="*/ 1178440 h 1528729"/>
                  <a:gd name="connsiteX599" fmla="*/ 2988975 w 3716428"/>
                  <a:gd name="connsiteY599" fmla="*/ 1185108 h 1528729"/>
                  <a:gd name="connsiteX600" fmla="*/ 2986923 w 3716428"/>
                  <a:gd name="connsiteY600" fmla="*/ 1186476 h 1528729"/>
                  <a:gd name="connsiteX601" fmla="*/ 2988348 w 3716428"/>
                  <a:gd name="connsiteY601" fmla="*/ 1195994 h 1528729"/>
                  <a:gd name="connsiteX602" fmla="*/ 2986296 w 3716428"/>
                  <a:gd name="connsiteY602" fmla="*/ 1204999 h 1528729"/>
                  <a:gd name="connsiteX603" fmla="*/ 2986296 w 3716428"/>
                  <a:gd name="connsiteY603" fmla="*/ 1213549 h 1528729"/>
                  <a:gd name="connsiteX604" fmla="*/ 2983275 w 3716428"/>
                  <a:gd name="connsiteY604" fmla="*/ 1221300 h 1528729"/>
                  <a:gd name="connsiteX605" fmla="*/ 2976664 w 3716428"/>
                  <a:gd name="connsiteY605" fmla="*/ 1224150 h 1528729"/>
                  <a:gd name="connsiteX606" fmla="*/ 2971535 w 3716428"/>
                  <a:gd name="connsiteY606" fmla="*/ 1228766 h 1528729"/>
                  <a:gd name="connsiteX607" fmla="*/ 2971193 w 3716428"/>
                  <a:gd name="connsiteY607" fmla="*/ 1233041 h 1528729"/>
                  <a:gd name="connsiteX608" fmla="*/ 2963556 w 3716428"/>
                  <a:gd name="connsiteY608" fmla="*/ 1235093 h 1528729"/>
                  <a:gd name="connsiteX609" fmla="*/ 2960933 w 3716428"/>
                  <a:gd name="connsiteY609" fmla="*/ 1241875 h 1528729"/>
                  <a:gd name="connsiteX610" fmla="*/ 2954094 w 3716428"/>
                  <a:gd name="connsiteY610" fmla="*/ 1242331 h 1528729"/>
                  <a:gd name="connsiteX611" fmla="*/ 2951359 w 3716428"/>
                  <a:gd name="connsiteY611" fmla="*/ 1229678 h 1528729"/>
                  <a:gd name="connsiteX612" fmla="*/ 2945260 w 3716428"/>
                  <a:gd name="connsiteY612" fmla="*/ 1222839 h 1528729"/>
                  <a:gd name="connsiteX613" fmla="*/ 2943835 w 3716428"/>
                  <a:gd name="connsiteY613" fmla="*/ 1216683 h 1528729"/>
                  <a:gd name="connsiteX614" fmla="*/ 2946514 w 3716428"/>
                  <a:gd name="connsiteY614" fmla="*/ 1197989 h 1528729"/>
                  <a:gd name="connsiteX615" fmla="*/ 2948623 w 3716428"/>
                  <a:gd name="connsiteY615" fmla="*/ 1152393 h 1528729"/>
                  <a:gd name="connsiteX616" fmla="*/ 2950218 w 3716428"/>
                  <a:gd name="connsiteY616" fmla="*/ 1143787 h 1528729"/>
                  <a:gd name="connsiteX617" fmla="*/ 2952612 w 3716428"/>
                  <a:gd name="connsiteY617" fmla="*/ 1141849 h 1528729"/>
                  <a:gd name="connsiteX618" fmla="*/ 2954094 w 3716428"/>
                  <a:gd name="connsiteY618" fmla="*/ 1136150 h 1528729"/>
                  <a:gd name="connsiteX619" fmla="*/ 2954094 w 3716428"/>
                  <a:gd name="connsiteY619" fmla="*/ 1119051 h 1528729"/>
                  <a:gd name="connsiteX620" fmla="*/ 2957856 w 3716428"/>
                  <a:gd name="connsiteY620" fmla="*/ 1101953 h 1528729"/>
                  <a:gd name="connsiteX621" fmla="*/ 2963840 w 3716428"/>
                  <a:gd name="connsiteY621" fmla="*/ 1096521 h 1528729"/>
                  <a:gd name="connsiteX622" fmla="*/ 2963556 w 3716428"/>
                  <a:gd name="connsiteY622" fmla="*/ 1094543 h 1528729"/>
                  <a:gd name="connsiteX623" fmla="*/ 2968286 w 3716428"/>
                  <a:gd name="connsiteY623" fmla="*/ 1080580 h 1528729"/>
                  <a:gd name="connsiteX624" fmla="*/ 2958767 w 3716428"/>
                  <a:gd name="connsiteY624" fmla="*/ 1072316 h 1528729"/>
                  <a:gd name="connsiteX625" fmla="*/ 2953581 w 3716428"/>
                  <a:gd name="connsiteY625" fmla="*/ 1062398 h 1528729"/>
                  <a:gd name="connsiteX626" fmla="*/ 2944063 w 3716428"/>
                  <a:gd name="connsiteY626" fmla="*/ 1059167 h 1528729"/>
                  <a:gd name="connsiteX627" fmla="*/ 2947255 w 3716428"/>
                  <a:gd name="connsiteY627" fmla="*/ 1049626 h 1528729"/>
                  <a:gd name="connsiteX628" fmla="*/ 2954208 w 3716428"/>
                  <a:gd name="connsiteY628" fmla="*/ 1049974 h 1528729"/>
                  <a:gd name="connsiteX629" fmla="*/ 2966519 w 3716428"/>
                  <a:gd name="connsiteY629" fmla="*/ 1022445 h 1528729"/>
                  <a:gd name="connsiteX630" fmla="*/ 2978203 w 3716428"/>
                  <a:gd name="connsiteY630" fmla="*/ 1020564 h 1528729"/>
                  <a:gd name="connsiteX631" fmla="*/ 2984302 w 3716428"/>
                  <a:gd name="connsiteY631" fmla="*/ 1013554 h 1528729"/>
                  <a:gd name="connsiteX632" fmla="*/ 2990742 w 3716428"/>
                  <a:gd name="connsiteY632" fmla="*/ 1010248 h 1528729"/>
                  <a:gd name="connsiteX633" fmla="*/ 3018726 w 3716428"/>
                  <a:gd name="connsiteY633" fmla="*/ 982549 h 1528729"/>
                  <a:gd name="connsiteX634" fmla="*/ 3023571 w 3716428"/>
                  <a:gd name="connsiteY634" fmla="*/ 975880 h 1528729"/>
                  <a:gd name="connsiteX635" fmla="*/ 3034343 w 3716428"/>
                  <a:gd name="connsiteY635" fmla="*/ 974912 h 1528729"/>
                  <a:gd name="connsiteX636" fmla="*/ 3040042 w 3716428"/>
                  <a:gd name="connsiteY636" fmla="*/ 964709 h 1528729"/>
                  <a:gd name="connsiteX637" fmla="*/ 3045742 w 3716428"/>
                  <a:gd name="connsiteY637" fmla="*/ 962886 h 1528729"/>
                  <a:gd name="connsiteX638" fmla="*/ 3053094 w 3716428"/>
                  <a:gd name="connsiteY638" fmla="*/ 952741 h 1528729"/>
                  <a:gd name="connsiteX639" fmla="*/ 3063353 w 3716428"/>
                  <a:gd name="connsiteY639" fmla="*/ 949093 h 1528729"/>
                  <a:gd name="connsiteX640" fmla="*/ 3100001 w 3716428"/>
                  <a:gd name="connsiteY640" fmla="*/ 922533 h 1528729"/>
                  <a:gd name="connsiteX641" fmla="*/ 3103877 w 3716428"/>
                  <a:gd name="connsiteY641" fmla="*/ 914383 h 1528729"/>
                  <a:gd name="connsiteX642" fmla="*/ 3111400 w 3716428"/>
                  <a:gd name="connsiteY642" fmla="*/ 911248 h 1528729"/>
                  <a:gd name="connsiteX643" fmla="*/ 3113167 w 3716428"/>
                  <a:gd name="connsiteY643" fmla="*/ 906176 h 1528729"/>
                  <a:gd name="connsiteX644" fmla="*/ 3114819 w 3716428"/>
                  <a:gd name="connsiteY644" fmla="*/ 892326 h 1528729"/>
                  <a:gd name="connsiteX645" fmla="*/ 3120519 w 3716428"/>
                  <a:gd name="connsiteY645" fmla="*/ 871466 h 1528729"/>
                  <a:gd name="connsiteX646" fmla="*/ 3138472 w 3716428"/>
                  <a:gd name="connsiteY646" fmla="*/ 861948 h 1528729"/>
                  <a:gd name="connsiteX647" fmla="*/ 3144172 w 3716428"/>
                  <a:gd name="connsiteY647" fmla="*/ 861948 h 1528729"/>
                  <a:gd name="connsiteX648" fmla="*/ 3140809 w 3716428"/>
                  <a:gd name="connsiteY648" fmla="*/ 854653 h 1528729"/>
                  <a:gd name="connsiteX649" fmla="*/ 3100913 w 3716428"/>
                  <a:gd name="connsiteY649" fmla="*/ 854083 h 1528729"/>
                  <a:gd name="connsiteX650" fmla="*/ 3093446 w 3716428"/>
                  <a:gd name="connsiteY650" fmla="*/ 883264 h 1528729"/>
                  <a:gd name="connsiteX651" fmla="*/ 3091680 w 3716428"/>
                  <a:gd name="connsiteY651" fmla="*/ 887254 h 1528729"/>
                  <a:gd name="connsiteX652" fmla="*/ 3084384 w 3716428"/>
                  <a:gd name="connsiteY652" fmla="*/ 889590 h 1528729"/>
                  <a:gd name="connsiteX653" fmla="*/ 3044488 w 3716428"/>
                  <a:gd name="connsiteY653" fmla="*/ 916948 h 1528729"/>
                  <a:gd name="connsiteX654" fmla="*/ 3035255 w 3716428"/>
                  <a:gd name="connsiteY654" fmla="*/ 918487 h 1528729"/>
                  <a:gd name="connsiteX655" fmla="*/ 3030638 w 3716428"/>
                  <a:gd name="connsiteY655" fmla="*/ 914326 h 1528729"/>
                  <a:gd name="connsiteX656" fmla="*/ 3021633 w 3716428"/>
                  <a:gd name="connsiteY656" fmla="*/ 913072 h 1528729"/>
                  <a:gd name="connsiteX657" fmla="*/ 3024711 w 3716428"/>
                  <a:gd name="connsiteY657" fmla="*/ 900134 h 1528729"/>
                  <a:gd name="connsiteX658" fmla="*/ 3035597 w 3716428"/>
                  <a:gd name="connsiteY658" fmla="*/ 889191 h 1528729"/>
                  <a:gd name="connsiteX659" fmla="*/ 3017985 w 3716428"/>
                  <a:gd name="connsiteY659" fmla="*/ 880528 h 1528729"/>
                  <a:gd name="connsiteX660" fmla="*/ 2992509 w 3716428"/>
                  <a:gd name="connsiteY660" fmla="*/ 883150 h 1528729"/>
                  <a:gd name="connsiteX661" fmla="*/ 2962302 w 3716428"/>
                  <a:gd name="connsiteY661" fmla="*/ 886171 h 1528729"/>
                  <a:gd name="connsiteX662" fmla="*/ 2957172 w 3716428"/>
                  <a:gd name="connsiteY662" fmla="*/ 887653 h 1528729"/>
                  <a:gd name="connsiteX663" fmla="*/ 2953125 w 3716428"/>
                  <a:gd name="connsiteY663" fmla="*/ 901787 h 1528729"/>
                  <a:gd name="connsiteX664" fmla="*/ 2948737 w 3716428"/>
                  <a:gd name="connsiteY664" fmla="*/ 907487 h 1528729"/>
                  <a:gd name="connsiteX665" fmla="*/ 2924628 w 3716428"/>
                  <a:gd name="connsiteY665" fmla="*/ 924585 h 1528729"/>
                  <a:gd name="connsiteX666" fmla="*/ 2914882 w 3716428"/>
                  <a:gd name="connsiteY666" fmla="*/ 931767 h 1528729"/>
                  <a:gd name="connsiteX667" fmla="*/ 2911177 w 3716428"/>
                  <a:gd name="connsiteY667" fmla="*/ 938777 h 1528729"/>
                  <a:gd name="connsiteX668" fmla="*/ 2901374 w 3716428"/>
                  <a:gd name="connsiteY668" fmla="*/ 945331 h 1528729"/>
                  <a:gd name="connsiteX669" fmla="*/ 2901089 w 3716428"/>
                  <a:gd name="connsiteY669" fmla="*/ 961449 h 1528729"/>
                  <a:gd name="connsiteX670" fmla="*/ 2909638 w 3716428"/>
                  <a:gd name="connsiteY670" fmla="*/ 964938 h 1528729"/>
                  <a:gd name="connsiteX671" fmla="*/ 2909638 w 3716428"/>
                  <a:gd name="connsiteY671" fmla="*/ 981523 h 1528729"/>
                  <a:gd name="connsiteX672" fmla="*/ 2861193 w 3716428"/>
                  <a:gd name="connsiteY672" fmla="*/ 980440 h 1528729"/>
                  <a:gd name="connsiteX673" fmla="*/ 2837141 w 3716428"/>
                  <a:gd name="connsiteY673" fmla="*/ 998450 h 1528729"/>
                  <a:gd name="connsiteX674" fmla="*/ 2832809 w 3716428"/>
                  <a:gd name="connsiteY674" fmla="*/ 986140 h 1528729"/>
                  <a:gd name="connsiteX675" fmla="*/ 2844208 w 3716428"/>
                  <a:gd name="connsiteY675" fmla="*/ 975823 h 1528729"/>
                  <a:gd name="connsiteX676" fmla="*/ 2841301 w 3716428"/>
                  <a:gd name="connsiteY676" fmla="*/ 972176 h 1528729"/>
                  <a:gd name="connsiteX677" fmla="*/ 2841301 w 3716428"/>
                  <a:gd name="connsiteY677" fmla="*/ 962430 h 1528729"/>
                  <a:gd name="connsiteX678" fmla="*/ 2821410 w 3716428"/>
                  <a:gd name="connsiteY678" fmla="*/ 964653 h 1528729"/>
                  <a:gd name="connsiteX679" fmla="*/ 2818048 w 3716428"/>
                  <a:gd name="connsiteY679" fmla="*/ 964368 h 1528729"/>
                  <a:gd name="connsiteX680" fmla="*/ 2815312 w 3716428"/>
                  <a:gd name="connsiteY680" fmla="*/ 960036 h 1528729"/>
                  <a:gd name="connsiteX681" fmla="*/ 2792856 w 3716428"/>
                  <a:gd name="connsiteY681" fmla="*/ 949691 h 1528729"/>
                  <a:gd name="connsiteX682" fmla="*/ 2782711 w 3716428"/>
                  <a:gd name="connsiteY682" fmla="*/ 959466 h 1528729"/>
                  <a:gd name="connsiteX683" fmla="*/ 2779178 w 3716428"/>
                  <a:gd name="connsiteY683" fmla="*/ 970865 h 1528729"/>
                  <a:gd name="connsiteX684" fmla="*/ 2769773 w 3716428"/>
                  <a:gd name="connsiteY684" fmla="*/ 975766 h 1528729"/>
                  <a:gd name="connsiteX685" fmla="*/ 2766126 w 3716428"/>
                  <a:gd name="connsiteY685" fmla="*/ 972803 h 1528729"/>
                  <a:gd name="connsiteX686" fmla="*/ 2734493 w 3716428"/>
                  <a:gd name="connsiteY686" fmla="*/ 966305 h 1528729"/>
                  <a:gd name="connsiteX687" fmla="*/ 2725488 w 3716428"/>
                  <a:gd name="connsiteY687" fmla="*/ 976792 h 1528729"/>
                  <a:gd name="connsiteX688" fmla="*/ 2711069 w 3716428"/>
                  <a:gd name="connsiteY688" fmla="*/ 974399 h 1528729"/>
                  <a:gd name="connsiteX689" fmla="*/ 2681432 w 3716428"/>
                  <a:gd name="connsiteY689" fmla="*/ 963000 h 1528729"/>
                  <a:gd name="connsiteX690" fmla="*/ 2642732 w 3716428"/>
                  <a:gd name="connsiteY690" fmla="*/ 961290 h 1528729"/>
                  <a:gd name="connsiteX691" fmla="*/ 2632473 w 3716428"/>
                  <a:gd name="connsiteY691" fmla="*/ 962829 h 1528729"/>
                  <a:gd name="connsiteX692" fmla="*/ 2623810 w 3716428"/>
                  <a:gd name="connsiteY692" fmla="*/ 974912 h 1528729"/>
                  <a:gd name="connsiteX693" fmla="*/ 2591949 w 3716428"/>
                  <a:gd name="connsiteY693" fmla="*/ 999875 h 1528729"/>
                  <a:gd name="connsiteX694" fmla="*/ 2584312 w 3716428"/>
                  <a:gd name="connsiteY694" fmla="*/ 1012756 h 1528729"/>
                  <a:gd name="connsiteX695" fmla="*/ 2561514 w 3716428"/>
                  <a:gd name="connsiteY695" fmla="*/ 1022445 h 1528729"/>
                  <a:gd name="connsiteX696" fmla="*/ 2548577 w 3716428"/>
                  <a:gd name="connsiteY696" fmla="*/ 1043248 h 1528729"/>
                  <a:gd name="connsiteX697" fmla="*/ 2529369 w 3716428"/>
                  <a:gd name="connsiteY697" fmla="*/ 1057383 h 1528729"/>
                  <a:gd name="connsiteX698" fmla="*/ 2523670 w 3716428"/>
                  <a:gd name="connsiteY698" fmla="*/ 1074880 h 1528729"/>
                  <a:gd name="connsiteX699" fmla="*/ 2492779 w 3716428"/>
                  <a:gd name="connsiteY699" fmla="*/ 1106740 h 1528729"/>
                  <a:gd name="connsiteX700" fmla="*/ 2483261 w 3716428"/>
                  <a:gd name="connsiteY700" fmla="*/ 1119051 h 1528729"/>
                  <a:gd name="connsiteX701" fmla="*/ 2493178 w 3716428"/>
                  <a:gd name="connsiteY701" fmla="*/ 1131533 h 1528729"/>
                  <a:gd name="connsiteX702" fmla="*/ 2510276 w 3716428"/>
                  <a:gd name="connsiteY702" fmla="*/ 1131533 h 1528729"/>
                  <a:gd name="connsiteX703" fmla="*/ 2508908 w 3716428"/>
                  <a:gd name="connsiteY703" fmla="*/ 1149600 h 1528729"/>
                  <a:gd name="connsiteX704" fmla="*/ 2522587 w 3716428"/>
                  <a:gd name="connsiteY704" fmla="*/ 1158777 h 1528729"/>
                  <a:gd name="connsiteX705" fmla="*/ 2527261 w 3716428"/>
                  <a:gd name="connsiteY705" fmla="*/ 1143388 h 1528729"/>
                  <a:gd name="connsiteX706" fmla="*/ 2532960 w 3716428"/>
                  <a:gd name="connsiteY706" fmla="*/ 1157979 h 1528729"/>
                  <a:gd name="connsiteX707" fmla="*/ 2541338 w 3716428"/>
                  <a:gd name="connsiteY707" fmla="*/ 1169891 h 1528729"/>
                  <a:gd name="connsiteX708" fmla="*/ 2543447 w 3716428"/>
                  <a:gd name="connsiteY708" fmla="*/ 1159290 h 1528729"/>
                  <a:gd name="connsiteX709" fmla="*/ 2559804 w 3716428"/>
                  <a:gd name="connsiteY709" fmla="*/ 1143103 h 1528729"/>
                  <a:gd name="connsiteX710" fmla="*/ 2579639 w 3716428"/>
                  <a:gd name="connsiteY710" fmla="*/ 1145839 h 1528729"/>
                  <a:gd name="connsiteX711" fmla="*/ 2588929 w 3716428"/>
                  <a:gd name="connsiteY711" fmla="*/ 1162424 h 1528729"/>
                  <a:gd name="connsiteX712" fmla="*/ 2603634 w 3716428"/>
                  <a:gd name="connsiteY712" fmla="*/ 1172512 h 1528729"/>
                  <a:gd name="connsiteX713" fmla="*/ 2609960 w 3716428"/>
                  <a:gd name="connsiteY713" fmla="*/ 1191036 h 1528729"/>
                  <a:gd name="connsiteX714" fmla="*/ 2603919 w 3716428"/>
                  <a:gd name="connsiteY714" fmla="*/ 1221015 h 1528729"/>
                  <a:gd name="connsiteX715" fmla="*/ 2594001 w 3716428"/>
                  <a:gd name="connsiteY715" fmla="*/ 1231331 h 1528729"/>
                  <a:gd name="connsiteX716" fmla="*/ 2591665 w 3716428"/>
                  <a:gd name="connsiteY716" fmla="*/ 1311123 h 1528729"/>
                  <a:gd name="connsiteX717" fmla="*/ 2584255 w 3716428"/>
                  <a:gd name="connsiteY717" fmla="*/ 1326911 h 1528729"/>
                  <a:gd name="connsiteX718" fmla="*/ 2574794 w 3716428"/>
                  <a:gd name="connsiteY718" fmla="*/ 1330844 h 1528729"/>
                  <a:gd name="connsiteX719" fmla="*/ 2565390 w 3716428"/>
                  <a:gd name="connsiteY719" fmla="*/ 1348284 h 1528729"/>
                  <a:gd name="connsiteX720" fmla="*/ 2553991 w 3716428"/>
                  <a:gd name="connsiteY720" fmla="*/ 1354382 h 1528729"/>
                  <a:gd name="connsiteX721" fmla="*/ 2551654 w 3716428"/>
                  <a:gd name="connsiteY721" fmla="*/ 1368289 h 1528729"/>
                  <a:gd name="connsiteX722" fmla="*/ 2543504 w 3716428"/>
                  <a:gd name="connsiteY722" fmla="*/ 1384305 h 1528729"/>
                  <a:gd name="connsiteX723" fmla="*/ 2511302 w 3716428"/>
                  <a:gd name="connsiteY723" fmla="*/ 1426709 h 1528729"/>
                  <a:gd name="connsiteX724" fmla="*/ 2494660 w 3716428"/>
                  <a:gd name="connsiteY724" fmla="*/ 1446486 h 1528729"/>
                  <a:gd name="connsiteX725" fmla="*/ 2484002 w 3716428"/>
                  <a:gd name="connsiteY725" fmla="*/ 1455035 h 1528729"/>
                  <a:gd name="connsiteX726" fmla="*/ 2471121 w 3716428"/>
                  <a:gd name="connsiteY726" fmla="*/ 1463014 h 1528729"/>
                  <a:gd name="connsiteX727" fmla="*/ 2457271 w 3716428"/>
                  <a:gd name="connsiteY727" fmla="*/ 1482564 h 1528729"/>
                  <a:gd name="connsiteX728" fmla="*/ 2436639 w 3716428"/>
                  <a:gd name="connsiteY728" fmla="*/ 1490543 h 1528729"/>
                  <a:gd name="connsiteX729" fmla="*/ 2430598 w 3716428"/>
                  <a:gd name="connsiteY729" fmla="*/ 1485869 h 1528729"/>
                  <a:gd name="connsiteX730" fmla="*/ 2395660 w 3716428"/>
                  <a:gd name="connsiteY730" fmla="*/ 1479771 h 1528729"/>
                  <a:gd name="connsiteX731" fmla="*/ 2389334 w 3716428"/>
                  <a:gd name="connsiteY731" fmla="*/ 1483077 h 1528729"/>
                  <a:gd name="connsiteX732" fmla="*/ 2384147 w 3716428"/>
                  <a:gd name="connsiteY732" fmla="*/ 1459025 h 1528729"/>
                  <a:gd name="connsiteX733" fmla="*/ 2394520 w 3716428"/>
                  <a:gd name="connsiteY733" fmla="*/ 1427621 h 1528729"/>
                  <a:gd name="connsiteX734" fmla="*/ 2401872 w 3716428"/>
                  <a:gd name="connsiteY734" fmla="*/ 1422776 h 1528729"/>
                  <a:gd name="connsiteX735" fmla="*/ 2421250 w 3716428"/>
                  <a:gd name="connsiteY735" fmla="*/ 1421807 h 1528729"/>
                  <a:gd name="connsiteX736" fmla="*/ 2449748 w 3716428"/>
                  <a:gd name="connsiteY736" fmla="*/ 1390061 h 1528729"/>
                  <a:gd name="connsiteX737" fmla="*/ 2463598 w 3716428"/>
                  <a:gd name="connsiteY737" fmla="*/ 1355579 h 1528729"/>
                  <a:gd name="connsiteX738" fmla="*/ 2466846 w 3716428"/>
                  <a:gd name="connsiteY738" fmla="*/ 1340875 h 1528729"/>
                  <a:gd name="connsiteX739" fmla="*/ 2457328 w 3716428"/>
                  <a:gd name="connsiteY739" fmla="*/ 1330787 h 1528729"/>
                  <a:gd name="connsiteX740" fmla="*/ 2449976 w 3716428"/>
                  <a:gd name="connsiteY740" fmla="*/ 1333294 h 1528729"/>
                  <a:gd name="connsiteX741" fmla="*/ 2416634 w 3716428"/>
                  <a:gd name="connsiteY741" fmla="*/ 1345149 h 1528729"/>
                  <a:gd name="connsiteX742" fmla="*/ 2394235 w 3716428"/>
                  <a:gd name="connsiteY742" fmla="*/ 1344294 h 1528729"/>
                  <a:gd name="connsiteX743" fmla="*/ 2371437 w 3716428"/>
                  <a:gd name="connsiteY743" fmla="*/ 1318476 h 1528729"/>
                  <a:gd name="connsiteX744" fmla="*/ 2344422 w 3716428"/>
                  <a:gd name="connsiteY744" fmla="*/ 1301947 h 1528729"/>
                  <a:gd name="connsiteX745" fmla="*/ 2323049 w 3716428"/>
                  <a:gd name="connsiteY745" fmla="*/ 1292657 h 1528729"/>
                  <a:gd name="connsiteX746" fmla="*/ 2317919 w 3716428"/>
                  <a:gd name="connsiteY746" fmla="*/ 1289352 h 1528729"/>
                  <a:gd name="connsiteX747" fmla="*/ 2315069 w 3716428"/>
                  <a:gd name="connsiteY747" fmla="*/ 1280631 h 1528729"/>
                  <a:gd name="connsiteX748" fmla="*/ 2311193 w 3716428"/>
                  <a:gd name="connsiteY748" fmla="*/ 1273222 h 1528729"/>
                  <a:gd name="connsiteX749" fmla="*/ 2298313 w 3716428"/>
                  <a:gd name="connsiteY749" fmla="*/ 1239025 h 1528729"/>
                  <a:gd name="connsiteX750" fmla="*/ 2296603 w 3716428"/>
                  <a:gd name="connsiteY750" fmla="*/ 1231559 h 1528729"/>
                  <a:gd name="connsiteX751" fmla="*/ 2290618 w 3716428"/>
                  <a:gd name="connsiteY751" fmla="*/ 1221984 h 1528729"/>
                  <a:gd name="connsiteX752" fmla="*/ 2277680 w 3716428"/>
                  <a:gd name="connsiteY752" fmla="*/ 1198160 h 1528729"/>
                  <a:gd name="connsiteX753" fmla="*/ 2230261 w 3716428"/>
                  <a:gd name="connsiteY753" fmla="*/ 1169036 h 1528729"/>
                  <a:gd name="connsiteX754" fmla="*/ 2173266 w 3716428"/>
                  <a:gd name="connsiteY754" fmla="*/ 1169036 h 1528729"/>
                  <a:gd name="connsiteX755" fmla="*/ 2155598 w 3716428"/>
                  <a:gd name="connsiteY755" fmla="*/ 1173994 h 1528729"/>
                  <a:gd name="connsiteX756" fmla="*/ 2151552 w 3716428"/>
                  <a:gd name="connsiteY756" fmla="*/ 1191093 h 1528729"/>
                  <a:gd name="connsiteX757" fmla="*/ 2157935 w 3716428"/>
                  <a:gd name="connsiteY757" fmla="*/ 1214421 h 1528729"/>
                  <a:gd name="connsiteX758" fmla="*/ 2156852 w 3716428"/>
                  <a:gd name="connsiteY758" fmla="*/ 1216056 h 1528729"/>
                  <a:gd name="connsiteX759" fmla="*/ 2148189 w 3716428"/>
                  <a:gd name="connsiteY759" fmla="*/ 1225061 h 1528729"/>
                  <a:gd name="connsiteX760" fmla="*/ 2145054 w 3716428"/>
                  <a:gd name="connsiteY760" fmla="*/ 1235093 h 1528729"/>
                  <a:gd name="connsiteX761" fmla="*/ 2121401 w 3716428"/>
                  <a:gd name="connsiteY761" fmla="*/ 1279890 h 1528729"/>
                  <a:gd name="connsiteX762" fmla="*/ 2090054 w 3716428"/>
                  <a:gd name="connsiteY762" fmla="*/ 1289522 h 1528729"/>
                  <a:gd name="connsiteX763" fmla="*/ 2075122 w 3716428"/>
                  <a:gd name="connsiteY763" fmla="*/ 1289181 h 1528729"/>
                  <a:gd name="connsiteX764" fmla="*/ 2067541 w 3716428"/>
                  <a:gd name="connsiteY764" fmla="*/ 1281372 h 1528729"/>
                  <a:gd name="connsiteX765" fmla="*/ 2055173 w 3716428"/>
                  <a:gd name="connsiteY765" fmla="*/ 1279947 h 1528729"/>
                  <a:gd name="connsiteX766" fmla="*/ 2046795 w 3716428"/>
                  <a:gd name="connsiteY766" fmla="*/ 1274875 h 1528729"/>
                  <a:gd name="connsiteX767" fmla="*/ 2005246 w 3716428"/>
                  <a:gd name="connsiteY767" fmla="*/ 1278409 h 1528729"/>
                  <a:gd name="connsiteX768" fmla="*/ 1965350 w 3716428"/>
                  <a:gd name="connsiteY768" fmla="*/ 1294709 h 1528729"/>
                  <a:gd name="connsiteX769" fmla="*/ 1950930 w 3716428"/>
                  <a:gd name="connsiteY769" fmla="*/ 1296077 h 1528729"/>
                  <a:gd name="connsiteX770" fmla="*/ 1940842 w 3716428"/>
                  <a:gd name="connsiteY770" fmla="*/ 1302346 h 1528729"/>
                  <a:gd name="connsiteX771" fmla="*/ 1907158 w 3716428"/>
                  <a:gd name="connsiteY771" fmla="*/ 1294481 h 1528729"/>
                  <a:gd name="connsiteX772" fmla="*/ 1893878 w 3716428"/>
                  <a:gd name="connsiteY772" fmla="*/ 1294766 h 1528729"/>
                  <a:gd name="connsiteX773" fmla="*/ 1884759 w 3716428"/>
                  <a:gd name="connsiteY773" fmla="*/ 1287813 h 1528729"/>
                  <a:gd name="connsiteX774" fmla="*/ 1813060 w 3716428"/>
                  <a:gd name="connsiteY774" fmla="*/ 1262165 h 1528729"/>
                  <a:gd name="connsiteX775" fmla="*/ 1797956 w 3716428"/>
                  <a:gd name="connsiteY775" fmla="*/ 1268605 h 1528729"/>
                  <a:gd name="connsiteX776" fmla="*/ 1794992 w 3716428"/>
                  <a:gd name="connsiteY776" fmla="*/ 1273564 h 1528729"/>
                  <a:gd name="connsiteX777" fmla="*/ 1779604 w 3716428"/>
                  <a:gd name="connsiteY777" fmla="*/ 1272538 h 1528729"/>
                  <a:gd name="connsiteX778" fmla="*/ 1764671 w 3716428"/>
                  <a:gd name="connsiteY778" fmla="*/ 1265642 h 1528729"/>
                  <a:gd name="connsiteX779" fmla="*/ 1757717 w 3716428"/>
                  <a:gd name="connsiteY779" fmla="*/ 1258118 h 1528729"/>
                  <a:gd name="connsiteX780" fmla="*/ 1756122 w 3716428"/>
                  <a:gd name="connsiteY780" fmla="*/ 1258232 h 1528729"/>
                  <a:gd name="connsiteX781" fmla="*/ 1752303 w 3716428"/>
                  <a:gd name="connsiteY781" fmla="*/ 1231559 h 1528729"/>
                  <a:gd name="connsiteX782" fmla="*/ 1683910 w 3716428"/>
                  <a:gd name="connsiteY782" fmla="*/ 1207963 h 1528729"/>
                  <a:gd name="connsiteX783" fmla="*/ 1655412 w 3716428"/>
                  <a:gd name="connsiteY783" fmla="*/ 1246206 h 1528729"/>
                  <a:gd name="connsiteX784" fmla="*/ 1656210 w 3716428"/>
                  <a:gd name="connsiteY784" fmla="*/ 1252932 h 1528729"/>
                  <a:gd name="connsiteX785" fmla="*/ 1662707 w 3716428"/>
                  <a:gd name="connsiteY785" fmla="*/ 1258631 h 1528729"/>
                  <a:gd name="connsiteX786" fmla="*/ 1651308 w 3716428"/>
                  <a:gd name="connsiteY786" fmla="*/ 1281087 h 1528729"/>
                  <a:gd name="connsiteX787" fmla="*/ 1620417 w 3716428"/>
                  <a:gd name="connsiteY787" fmla="*/ 1279548 h 1528729"/>
                  <a:gd name="connsiteX788" fmla="*/ 1610272 w 3716428"/>
                  <a:gd name="connsiteY788" fmla="*/ 1279548 h 1528729"/>
                  <a:gd name="connsiteX789" fmla="*/ 1590096 w 3716428"/>
                  <a:gd name="connsiteY789" fmla="*/ 1272595 h 1528729"/>
                  <a:gd name="connsiteX790" fmla="*/ 1585081 w 3716428"/>
                  <a:gd name="connsiteY790" fmla="*/ 1255497 h 1528729"/>
                  <a:gd name="connsiteX791" fmla="*/ 1538174 w 3716428"/>
                  <a:gd name="connsiteY791" fmla="*/ 1255497 h 1528729"/>
                  <a:gd name="connsiteX792" fmla="*/ 1516231 w 3716428"/>
                  <a:gd name="connsiteY792" fmla="*/ 1267978 h 1528729"/>
                  <a:gd name="connsiteX793" fmla="*/ 1506770 w 3716428"/>
                  <a:gd name="connsiteY793" fmla="*/ 1267978 h 1528729"/>
                  <a:gd name="connsiteX794" fmla="*/ 1506086 w 3716428"/>
                  <a:gd name="connsiteY794" fmla="*/ 1272937 h 1528729"/>
                  <a:gd name="connsiteX795" fmla="*/ 1497480 w 3716428"/>
                  <a:gd name="connsiteY795" fmla="*/ 1282740 h 1528729"/>
                  <a:gd name="connsiteX796" fmla="*/ 1456729 w 3716428"/>
                  <a:gd name="connsiteY796" fmla="*/ 1300750 h 1528729"/>
                  <a:gd name="connsiteX797" fmla="*/ 1455988 w 3716428"/>
                  <a:gd name="connsiteY797" fmla="*/ 1303657 h 1528729"/>
                  <a:gd name="connsiteX798" fmla="*/ 1450744 w 3716428"/>
                  <a:gd name="connsiteY798" fmla="*/ 1299782 h 1528729"/>
                  <a:gd name="connsiteX799" fmla="*/ 1450117 w 3716428"/>
                  <a:gd name="connsiteY799" fmla="*/ 1299782 h 1528729"/>
                  <a:gd name="connsiteX800" fmla="*/ 1434957 w 3716428"/>
                  <a:gd name="connsiteY800" fmla="*/ 1288383 h 1528729"/>
                  <a:gd name="connsiteX801" fmla="*/ 1405490 w 3716428"/>
                  <a:gd name="connsiteY801" fmla="*/ 1282227 h 1528729"/>
                  <a:gd name="connsiteX802" fmla="*/ 1400817 w 3716428"/>
                  <a:gd name="connsiteY802" fmla="*/ 1273051 h 1528729"/>
                  <a:gd name="connsiteX803" fmla="*/ 1390672 w 3716428"/>
                  <a:gd name="connsiteY803" fmla="*/ 1267352 h 1528729"/>
                  <a:gd name="connsiteX804" fmla="*/ 1374542 w 3716428"/>
                  <a:gd name="connsiteY804" fmla="*/ 1245409 h 1528729"/>
                  <a:gd name="connsiteX805" fmla="*/ 1352884 w 3716428"/>
                  <a:gd name="connsiteY805" fmla="*/ 1247859 h 1528729"/>
                  <a:gd name="connsiteX806" fmla="*/ 1333278 w 3716428"/>
                  <a:gd name="connsiteY806" fmla="*/ 1250652 h 1528729"/>
                  <a:gd name="connsiteX807" fmla="*/ 1323133 w 3716428"/>
                  <a:gd name="connsiteY807" fmla="*/ 1235719 h 1528729"/>
                  <a:gd name="connsiteX808" fmla="*/ 1311734 w 3716428"/>
                  <a:gd name="connsiteY808" fmla="*/ 1238512 h 1528729"/>
                  <a:gd name="connsiteX809" fmla="*/ 1302501 w 3716428"/>
                  <a:gd name="connsiteY809" fmla="*/ 1248657 h 1528729"/>
                  <a:gd name="connsiteX810" fmla="*/ 1290190 w 3716428"/>
                  <a:gd name="connsiteY810" fmla="*/ 1239880 h 1528729"/>
                  <a:gd name="connsiteX811" fmla="*/ 1269444 w 3716428"/>
                  <a:gd name="connsiteY811" fmla="*/ 1205683 h 1528729"/>
                  <a:gd name="connsiteX812" fmla="*/ 1264656 w 3716428"/>
                  <a:gd name="connsiteY812" fmla="*/ 1195367 h 1528729"/>
                  <a:gd name="connsiteX813" fmla="*/ 1262832 w 3716428"/>
                  <a:gd name="connsiteY813" fmla="*/ 1188129 h 1528729"/>
                  <a:gd name="connsiteX814" fmla="*/ 1253371 w 3716428"/>
                  <a:gd name="connsiteY814" fmla="*/ 1180264 h 1528729"/>
                  <a:gd name="connsiteX815" fmla="*/ 1247672 w 3716428"/>
                  <a:gd name="connsiteY815" fmla="*/ 1165046 h 1528729"/>
                  <a:gd name="connsiteX816" fmla="*/ 1229320 w 3716428"/>
                  <a:gd name="connsiteY816" fmla="*/ 1155471 h 1528729"/>
                  <a:gd name="connsiteX817" fmla="*/ 1225900 w 3716428"/>
                  <a:gd name="connsiteY817" fmla="*/ 1138372 h 1528729"/>
                  <a:gd name="connsiteX818" fmla="*/ 1213361 w 3716428"/>
                  <a:gd name="connsiteY818" fmla="*/ 1141450 h 1528729"/>
                  <a:gd name="connsiteX819" fmla="*/ 1164459 w 3716428"/>
                  <a:gd name="connsiteY819" fmla="*/ 1164248 h 1528729"/>
                  <a:gd name="connsiteX820" fmla="*/ 1160584 w 3716428"/>
                  <a:gd name="connsiteY820" fmla="*/ 1152507 h 1528729"/>
                  <a:gd name="connsiteX821" fmla="*/ 1138812 w 3716428"/>
                  <a:gd name="connsiteY821" fmla="*/ 1143331 h 1528729"/>
                  <a:gd name="connsiteX822" fmla="*/ 1115330 w 3716428"/>
                  <a:gd name="connsiteY822" fmla="*/ 1147207 h 1528729"/>
                  <a:gd name="connsiteX823" fmla="*/ 1111682 w 3716428"/>
                  <a:gd name="connsiteY823" fmla="*/ 1126689 h 1528729"/>
                  <a:gd name="connsiteX824" fmla="*/ 1097434 w 3716428"/>
                  <a:gd name="connsiteY824" fmla="*/ 1107082 h 1528729"/>
                  <a:gd name="connsiteX825" fmla="*/ 1072812 w 3716428"/>
                  <a:gd name="connsiteY825" fmla="*/ 1101383 h 1528729"/>
                  <a:gd name="connsiteX826" fmla="*/ 1059133 w 3716428"/>
                  <a:gd name="connsiteY826" fmla="*/ 1102352 h 1528729"/>
                  <a:gd name="connsiteX827" fmla="*/ 1048076 w 3716428"/>
                  <a:gd name="connsiteY827" fmla="*/ 1112611 h 1528729"/>
                  <a:gd name="connsiteX828" fmla="*/ 1017413 w 3716428"/>
                  <a:gd name="connsiteY828" fmla="*/ 1123440 h 1528729"/>
                  <a:gd name="connsiteX829" fmla="*/ 962470 w 3716428"/>
                  <a:gd name="connsiteY829" fmla="*/ 1133870 h 1528729"/>
                  <a:gd name="connsiteX830" fmla="*/ 931237 w 3716428"/>
                  <a:gd name="connsiteY830" fmla="*/ 1144699 h 1528729"/>
                  <a:gd name="connsiteX831" fmla="*/ 908439 w 3716428"/>
                  <a:gd name="connsiteY831" fmla="*/ 1146580 h 1528729"/>
                  <a:gd name="connsiteX832" fmla="*/ 886154 w 3716428"/>
                  <a:gd name="connsiteY832" fmla="*/ 1149885 h 1528729"/>
                  <a:gd name="connsiteX833" fmla="*/ 893222 w 3716428"/>
                  <a:gd name="connsiteY833" fmla="*/ 1165103 h 1528729"/>
                  <a:gd name="connsiteX834" fmla="*/ 901942 w 3716428"/>
                  <a:gd name="connsiteY834" fmla="*/ 1179865 h 1528729"/>
                  <a:gd name="connsiteX835" fmla="*/ 889232 w 3716428"/>
                  <a:gd name="connsiteY835" fmla="*/ 1176844 h 1528729"/>
                  <a:gd name="connsiteX836" fmla="*/ 879828 w 3716428"/>
                  <a:gd name="connsiteY836" fmla="*/ 1184595 h 1528729"/>
                  <a:gd name="connsiteX837" fmla="*/ 879828 w 3716428"/>
                  <a:gd name="connsiteY837" fmla="*/ 1190922 h 1528729"/>
                  <a:gd name="connsiteX838" fmla="*/ 876180 w 3716428"/>
                  <a:gd name="connsiteY838" fmla="*/ 1196621 h 1528729"/>
                  <a:gd name="connsiteX839" fmla="*/ 875952 w 3716428"/>
                  <a:gd name="connsiteY839" fmla="*/ 1208020 h 1528729"/>
                  <a:gd name="connsiteX840" fmla="*/ 863356 w 3716428"/>
                  <a:gd name="connsiteY840" fmla="*/ 1213719 h 1528729"/>
                  <a:gd name="connsiteX841" fmla="*/ 863356 w 3716428"/>
                  <a:gd name="connsiteY841" fmla="*/ 1222269 h 1528729"/>
                  <a:gd name="connsiteX842" fmla="*/ 886154 w 3716428"/>
                  <a:gd name="connsiteY842" fmla="*/ 1233668 h 1528729"/>
                  <a:gd name="connsiteX843" fmla="*/ 885505 w 3716428"/>
                  <a:gd name="connsiteY843" fmla="*/ 1256067 h 1528729"/>
                  <a:gd name="connsiteX844" fmla="*/ 881879 w 3716428"/>
                  <a:gd name="connsiteY844" fmla="*/ 1258631 h 1528729"/>
                  <a:gd name="connsiteX845" fmla="*/ 872019 w 3716428"/>
                  <a:gd name="connsiteY845" fmla="*/ 1249797 h 1528729"/>
                  <a:gd name="connsiteX846" fmla="*/ 845859 w 3716428"/>
                  <a:gd name="connsiteY846" fmla="*/ 1258574 h 1528729"/>
                  <a:gd name="connsiteX847" fmla="*/ 841356 w 3716428"/>
                  <a:gd name="connsiteY847" fmla="*/ 1246548 h 1528729"/>
                  <a:gd name="connsiteX848" fmla="*/ 822206 w 3716428"/>
                  <a:gd name="connsiteY848" fmla="*/ 1238911 h 1528729"/>
                  <a:gd name="connsiteX849" fmla="*/ 797242 w 3716428"/>
                  <a:gd name="connsiteY849" fmla="*/ 1246206 h 1528729"/>
                  <a:gd name="connsiteX850" fmla="*/ 794906 w 3716428"/>
                  <a:gd name="connsiteY850" fmla="*/ 1239595 h 1528729"/>
                  <a:gd name="connsiteX851" fmla="*/ 769201 w 3716428"/>
                  <a:gd name="connsiteY851" fmla="*/ 1247745 h 1528729"/>
                  <a:gd name="connsiteX852" fmla="*/ 760424 w 3716428"/>
                  <a:gd name="connsiteY852" fmla="*/ 1255383 h 1528729"/>
                  <a:gd name="connsiteX853" fmla="*/ 750792 w 3716428"/>
                  <a:gd name="connsiteY853" fmla="*/ 1252134 h 1528729"/>
                  <a:gd name="connsiteX854" fmla="*/ 740020 w 3716428"/>
                  <a:gd name="connsiteY854" fmla="*/ 1253673 h 1528729"/>
                  <a:gd name="connsiteX855" fmla="*/ 740020 w 3716428"/>
                  <a:gd name="connsiteY855" fmla="*/ 1242274 h 1528729"/>
                  <a:gd name="connsiteX856" fmla="*/ 720185 w 3716428"/>
                  <a:gd name="connsiteY856" fmla="*/ 1233440 h 1528729"/>
                  <a:gd name="connsiteX857" fmla="*/ 670144 w 3716428"/>
                  <a:gd name="connsiteY857" fmla="*/ 1224264 h 1528729"/>
                  <a:gd name="connsiteX858" fmla="*/ 655611 w 3716428"/>
                  <a:gd name="connsiteY858" fmla="*/ 1229678 h 1528729"/>
                  <a:gd name="connsiteX859" fmla="*/ 641305 w 3716428"/>
                  <a:gd name="connsiteY859" fmla="*/ 1231046 h 1528729"/>
                  <a:gd name="connsiteX860" fmla="*/ 629621 w 3716428"/>
                  <a:gd name="connsiteY860" fmla="*/ 1245409 h 1528729"/>
                  <a:gd name="connsiteX861" fmla="*/ 613548 w 3716428"/>
                  <a:gd name="connsiteY861" fmla="*/ 1247460 h 1528729"/>
                  <a:gd name="connsiteX862" fmla="*/ 609160 w 3716428"/>
                  <a:gd name="connsiteY862" fmla="*/ 1258859 h 1528729"/>
                  <a:gd name="connsiteX863" fmla="*/ 608647 w 3716428"/>
                  <a:gd name="connsiteY863" fmla="*/ 1271398 h 1528729"/>
                  <a:gd name="connsiteX864" fmla="*/ 598673 w 3716428"/>
                  <a:gd name="connsiteY864" fmla="*/ 1275787 h 1528729"/>
                  <a:gd name="connsiteX865" fmla="*/ 594683 w 3716428"/>
                  <a:gd name="connsiteY865" fmla="*/ 1265357 h 1528729"/>
                  <a:gd name="connsiteX866" fmla="*/ 580263 w 3716428"/>
                  <a:gd name="connsiteY866" fmla="*/ 1259657 h 1528729"/>
                  <a:gd name="connsiteX867" fmla="*/ 566357 w 3716428"/>
                  <a:gd name="connsiteY867" fmla="*/ 1269004 h 1528729"/>
                  <a:gd name="connsiteX868" fmla="*/ 566357 w 3716428"/>
                  <a:gd name="connsiteY868" fmla="*/ 1286787 h 1528729"/>
                  <a:gd name="connsiteX869" fmla="*/ 560201 w 3716428"/>
                  <a:gd name="connsiteY869" fmla="*/ 1294994 h 1528729"/>
                  <a:gd name="connsiteX870" fmla="*/ 565160 w 3716428"/>
                  <a:gd name="connsiteY870" fmla="*/ 1305196 h 1528729"/>
                  <a:gd name="connsiteX871" fmla="*/ 554901 w 3716428"/>
                  <a:gd name="connsiteY871" fmla="*/ 1314486 h 1528729"/>
                  <a:gd name="connsiteX872" fmla="*/ 568352 w 3716428"/>
                  <a:gd name="connsiteY872" fmla="*/ 1325885 h 1528729"/>
                  <a:gd name="connsiteX873" fmla="*/ 579751 w 3716428"/>
                  <a:gd name="connsiteY873" fmla="*/ 1340305 h 1528729"/>
                  <a:gd name="connsiteX874" fmla="*/ 588015 w 3716428"/>
                  <a:gd name="connsiteY874" fmla="*/ 1340875 h 1528729"/>
                  <a:gd name="connsiteX875" fmla="*/ 597305 w 3716428"/>
                  <a:gd name="connsiteY875" fmla="*/ 1353528 h 1528729"/>
                  <a:gd name="connsiteX876" fmla="*/ 608704 w 3716428"/>
                  <a:gd name="connsiteY876" fmla="*/ 1362647 h 1528729"/>
                  <a:gd name="connsiteX877" fmla="*/ 606538 w 3716428"/>
                  <a:gd name="connsiteY877" fmla="*/ 1386186 h 1528729"/>
                  <a:gd name="connsiteX878" fmla="*/ 566243 w 3716428"/>
                  <a:gd name="connsiteY878" fmla="*/ 1416906 h 1528729"/>
                  <a:gd name="connsiteX879" fmla="*/ 559403 w 3716428"/>
                  <a:gd name="connsiteY879" fmla="*/ 1430242 h 1528729"/>
                  <a:gd name="connsiteX880" fmla="*/ 571258 w 3716428"/>
                  <a:gd name="connsiteY880" fmla="*/ 1446942 h 1528729"/>
                  <a:gd name="connsiteX881" fmla="*/ 575305 w 3716428"/>
                  <a:gd name="connsiteY881" fmla="*/ 1478460 h 1528729"/>
                  <a:gd name="connsiteX882" fmla="*/ 581004 w 3716428"/>
                  <a:gd name="connsiteY882" fmla="*/ 1489232 h 1528729"/>
                  <a:gd name="connsiteX883" fmla="*/ 581403 w 3716428"/>
                  <a:gd name="connsiteY883" fmla="*/ 1496527 h 1528729"/>
                  <a:gd name="connsiteX884" fmla="*/ 590180 w 3716428"/>
                  <a:gd name="connsiteY884" fmla="*/ 1502854 h 1528729"/>
                  <a:gd name="connsiteX885" fmla="*/ 597932 w 3716428"/>
                  <a:gd name="connsiteY885" fmla="*/ 1514823 h 1528729"/>
                  <a:gd name="connsiteX886" fmla="*/ 609331 w 3716428"/>
                  <a:gd name="connsiteY886" fmla="*/ 1521548 h 1528729"/>
                  <a:gd name="connsiteX887" fmla="*/ 601010 w 3716428"/>
                  <a:gd name="connsiteY887" fmla="*/ 1527248 h 1528729"/>
                  <a:gd name="connsiteX888" fmla="*/ 597761 w 3716428"/>
                  <a:gd name="connsiteY888" fmla="*/ 1528729 h 1528729"/>
                  <a:gd name="connsiteX889" fmla="*/ 593714 w 3716428"/>
                  <a:gd name="connsiteY889" fmla="*/ 1527931 h 1528729"/>
                  <a:gd name="connsiteX890" fmla="*/ 583797 w 3716428"/>
                  <a:gd name="connsiteY890" fmla="*/ 1527931 h 1528729"/>
                  <a:gd name="connsiteX891" fmla="*/ 574735 w 3716428"/>
                  <a:gd name="connsiteY891" fmla="*/ 1524683 h 1528729"/>
                  <a:gd name="connsiteX892" fmla="*/ 572284 w 3716428"/>
                  <a:gd name="connsiteY892" fmla="*/ 1521776 h 1528729"/>
                  <a:gd name="connsiteX893" fmla="*/ 568637 w 3716428"/>
                  <a:gd name="connsiteY893" fmla="*/ 1521149 h 1528729"/>
                  <a:gd name="connsiteX894" fmla="*/ 556725 w 3716428"/>
                  <a:gd name="connsiteY894" fmla="*/ 1520351 h 1528729"/>
                  <a:gd name="connsiteX895" fmla="*/ 556098 w 3716428"/>
                  <a:gd name="connsiteY895" fmla="*/ 1517159 h 1528729"/>
                  <a:gd name="connsiteX896" fmla="*/ 555243 w 3716428"/>
                  <a:gd name="connsiteY896" fmla="*/ 1515393 h 1528729"/>
                  <a:gd name="connsiteX897" fmla="*/ 553077 w 3716428"/>
                  <a:gd name="connsiteY897" fmla="*/ 1514652 h 1528729"/>
                  <a:gd name="connsiteX898" fmla="*/ 543673 w 3716428"/>
                  <a:gd name="connsiteY898" fmla="*/ 1502626 h 1528729"/>
                  <a:gd name="connsiteX899" fmla="*/ 543673 w 3716428"/>
                  <a:gd name="connsiteY899" fmla="*/ 1499263 h 1528729"/>
                  <a:gd name="connsiteX900" fmla="*/ 541108 w 3716428"/>
                  <a:gd name="connsiteY900" fmla="*/ 1497211 h 1528729"/>
                  <a:gd name="connsiteX901" fmla="*/ 510388 w 3716428"/>
                  <a:gd name="connsiteY901" fmla="*/ 1489859 h 1528729"/>
                  <a:gd name="connsiteX902" fmla="*/ 500072 w 3716428"/>
                  <a:gd name="connsiteY902" fmla="*/ 1488035 h 1528729"/>
                  <a:gd name="connsiteX903" fmla="*/ 497507 w 3716428"/>
                  <a:gd name="connsiteY903" fmla="*/ 1486268 h 1528729"/>
                  <a:gd name="connsiteX904" fmla="*/ 486108 w 3716428"/>
                  <a:gd name="connsiteY904" fmla="*/ 1484786 h 1528729"/>
                  <a:gd name="connsiteX905" fmla="*/ 484056 w 3716428"/>
                  <a:gd name="connsiteY905" fmla="*/ 1481652 h 1528729"/>
                  <a:gd name="connsiteX906" fmla="*/ 467984 w 3716428"/>
                  <a:gd name="connsiteY906" fmla="*/ 1475211 h 1528729"/>
                  <a:gd name="connsiteX907" fmla="*/ 450031 w 3716428"/>
                  <a:gd name="connsiteY907" fmla="*/ 1474413 h 1528729"/>
                  <a:gd name="connsiteX908" fmla="*/ 443818 w 3716428"/>
                  <a:gd name="connsiteY908" fmla="*/ 1473159 h 1528729"/>
                  <a:gd name="connsiteX909" fmla="*/ 440398 w 3716428"/>
                  <a:gd name="connsiteY909" fmla="*/ 1476180 h 1528729"/>
                  <a:gd name="connsiteX910" fmla="*/ 435953 w 3716428"/>
                  <a:gd name="connsiteY910" fmla="*/ 1481025 h 1528729"/>
                  <a:gd name="connsiteX911" fmla="*/ 420849 w 3716428"/>
                  <a:gd name="connsiteY911" fmla="*/ 1469056 h 1528729"/>
                  <a:gd name="connsiteX912" fmla="*/ 396911 w 3716428"/>
                  <a:gd name="connsiteY912" fmla="*/ 1456118 h 1528729"/>
                  <a:gd name="connsiteX913" fmla="*/ 393036 w 3716428"/>
                  <a:gd name="connsiteY913" fmla="*/ 1450989 h 1528729"/>
                  <a:gd name="connsiteX914" fmla="*/ 380839 w 3716428"/>
                  <a:gd name="connsiteY914" fmla="*/ 1438678 h 1528729"/>
                  <a:gd name="connsiteX915" fmla="*/ 362828 w 3716428"/>
                  <a:gd name="connsiteY915" fmla="*/ 1432408 h 1528729"/>
                  <a:gd name="connsiteX916" fmla="*/ 350005 w 3716428"/>
                  <a:gd name="connsiteY916" fmla="*/ 1419527 h 1528729"/>
                  <a:gd name="connsiteX917" fmla="*/ 362201 w 3716428"/>
                  <a:gd name="connsiteY917" fmla="*/ 1410978 h 1528729"/>
                  <a:gd name="connsiteX918" fmla="*/ 363399 w 3716428"/>
                  <a:gd name="connsiteY918" fmla="*/ 1395419 h 1528729"/>
                  <a:gd name="connsiteX919" fmla="*/ 370637 w 3716428"/>
                  <a:gd name="connsiteY919" fmla="*/ 1393709 h 1528729"/>
                  <a:gd name="connsiteX920" fmla="*/ 382036 w 3716428"/>
                  <a:gd name="connsiteY920" fmla="*/ 1383792 h 1528729"/>
                  <a:gd name="connsiteX921" fmla="*/ 367388 w 3716428"/>
                  <a:gd name="connsiteY921" fmla="*/ 1379460 h 1528729"/>
                  <a:gd name="connsiteX922" fmla="*/ 367388 w 3716428"/>
                  <a:gd name="connsiteY922" fmla="*/ 1372678 h 1528729"/>
                  <a:gd name="connsiteX923" fmla="*/ 381865 w 3716428"/>
                  <a:gd name="connsiteY923" fmla="*/ 1363616 h 1528729"/>
                  <a:gd name="connsiteX924" fmla="*/ 394119 w 3716428"/>
                  <a:gd name="connsiteY924" fmla="*/ 1360424 h 1528729"/>
                  <a:gd name="connsiteX925" fmla="*/ 398621 w 3716428"/>
                  <a:gd name="connsiteY925" fmla="*/ 1357346 h 1528729"/>
                  <a:gd name="connsiteX926" fmla="*/ 395600 w 3716428"/>
                  <a:gd name="connsiteY926" fmla="*/ 1352331 h 1528729"/>
                  <a:gd name="connsiteX927" fmla="*/ 380098 w 3716428"/>
                  <a:gd name="connsiteY927" fmla="*/ 1348398 h 1528729"/>
                  <a:gd name="connsiteX928" fmla="*/ 373373 w 3716428"/>
                  <a:gd name="connsiteY928" fmla="*/ 1349823 h 1528729"/>
                  <a:gd name="connsiteX929" fmla="*/ 379984 w 3716428"/>
                  <a:gd name="connsiteY929" fmla="*/ 1342813 h 1528729"/>
                  <a:gd name="connsiteX930" fmla="*/ 384714 w 3716428"/>
                  <a:gd name="connsiteY930" fmla="*/ 1340818 h 1528729"/>
                  <a:gd name="connsiteX931" fmla="*/ 386424 w 3716428"/>
                  <a:gd name="connsiteY931" fmla="*/ 1336429 h 1528729"/>
                  <a:gd name="connsiteX932" fmla="*/ 397196 w 3716428"/>
                  <a:gd name="connsiteY932" fmla="*/ 1333522 h 1528729"/>
                  <a:gd name="connsiteX933" fmla="*/ 408595 w 3716428"/>
                  <a:gd name="connsiteY933" fmla="*/ 1329704 h 1528729"/>
                  <a:gd name="connsiteX934" fmla="*/ 410875 w 3716428"/>
                  <a:gd name="connsiteY934" fmla="*/ 1318305 h 1528729"/>
                  <a:gd name="connsiteX935" fmla="*/ 407626 w 3716428"/>
                  <a:gd name="connsiteY935" fmla="*/ 1313574 h 1528729"/>
                  <a:gd name="connsiteX936" fmla="*/ 413326 w 3716428"/>
                  <a:gd name="connsiteY936" fmla="*/ 1298414 h 1528729"/>
                  <a:gd name="connsiteX937" fmla="*/ 411388 w 3716428"/>
                  <a:gd name="connsiteY937" fmla="*/ 1280745 h 1528729"/>
                  <a:gd name="connsiteX938" fmla="*/ 388590 w 3716428"/>
                  <a:gd name="connsiteY938" fmla="*/ 1276984 h 1528729"/>
                  <a:gd name="connsiteX939" fmla="*/ 385797 w 3716428"/>
                  <a:gd name="connsiteY939" fmla="*/ 1272310 h 1528729"/>
                  <a:gd name="connsiteX940" fmla="*/ 375709 w 3716428"/>
                  <a:gd name="connsiteY940" fmla="*/ 1268491 h 1528729"/>
                  <a:gd name="connsiteX941" fmla="*/ 364709 w 3716428"/>
                  <a:gd name="connsiteY941" fmla="*/ 1266953 h 1528729"/>
                  <a:gd name="connsiteX942" fmla="*/ 361689 w 3716428"/>
                  <a:gd name="connsiteY942" fmla="*/ 1257719 h 1528729"/>
                  <a:gd name="connsiteX943" fmla="*/ 339404 w 3716428"/>
                  <a:gd name="connsiteY943" fmla="*/ 1259543 h 1528729"/>
                  <a:gd name="connsiteX944" fmla="*/ 319455 w 3716428"/>
                  <a:gd name="connsiteY944" fmla="*/ 1252305 h 1528729"/>
                  <a:gd name="connsiteX945" fmla="*/ 316891 w 3716428"/>
                  <a:gd name="connsiteY945" fmla="*/ 1246605 h 1528729"/>
                  <a:gd name="connsiteX946" fmla="*/ 287709 w 3716428"/>
                  <a:gd name="connsiteY946" fmla="*/ 1227512 h 1528729"/>
                  <a:gd name="connsiteX947" fmla="*/ 277393 w 3716428"/>
                  <a:gd name="connsiteY947" fmla="*/ 1196222 h 1528729"/>
                  <a:gd name="connsiteX948" fmla="*/ 251575 w 3716428"/>
                  <a:gd name="connsiteY948" fmla="*/ 1195082 h 1528729"/>
                  <a:gd name="connsiteX949" fmla="*/ 231570 w 3716428"/>
                  <a:gd name="connsiteY949" fmla="*/ 1200782 h 1528729"/>
                  <a:gd name="connsiteX950" fmla="*/ 229917 w 3716428"/>
                  <a:gd name="connsiteY950" fmla="*/ 1184994 h 1528729"/>
                  <a:gd name="connsiteX951" fmla="*/ 232995 w 3716428"/>
                  <a:gd name="connsiteY951" fmla="*/ 1170461 h 1528729"/>
                  <a:gd name="connsiteX952" fmla="*/ 247813 w 3716428"/>
                  <a:gd name="connsiteY952" fmla="*/ 1169264 h 1528729"/>
                  <a:gd name="connsiteX953" fmla="*/ 254026 w 3716428"/>
                  <a:gd name="connsiteY953" fmla="*/ 1157124 h 1528729"/>
                  <a:gd name="connsiteX954" fmla="*/ 245533 w 3716428"/>
                  <a:gd name="connsiteY954" fmla="*/ 1145326 h 1528729"/>
                  <a:gd name="connsiteX955" fmla="*/ 232995 w 3716428"/>
                  <a:gd name="connsiteY955" fmla="*/ 1137176 h 1528729"/>
                  <a:gd name="connsiteX956" fmla="*/ 218233 w 3716428"/>
                  <a:gd name="connsiteY956" fmla="*/ 1112839 h 1528729"/>
                  <a:gd name="connsiteX957" fmla="*/ 218233 w 3716428"/>
                  <a:gd name="connsiteY957" fmla="*/ 1092948 h 1528729"/>
                  <a:gd name="connsiteX958" fmla="*/ 206207 w 3716428"/>
                  <a:gd name="connsiteY958" fmla="*/ 1079212 h 1528729"/>
                  <a:gd name="connsiteX959" fmla="*/ 195606 w 3716428"/>
                  <a:gd name="connsiteY959" fmla="*/ 1082632 h 1528729"/>
                  <a:gd name="connsiteX960" fmla="*/ 185005 w 3716428"/>
                  <a:gd name="connsiteY960" fmla="*/ 1082632 h 1528729"/>
                  <a:gd name="connsiteX961" fmla="*/ 180844 w 3716428"/>
                  <a:gd name="connsiteY961" fmla="*/ 1076932 h 1528729"/>
                  <a:gd name="connsiteX962" fmla="*/ 165228 w 3716428"/>
                  <a:gd name="connsiteY962" fmla="*/ 1073114 h 1528729"/>
                  <a:gd name="connsiteX963" fmla="*/ 158958 w 3716428"/>
                  <a:gd name="connsiteY963" fmla="*/ 1070549 h 1528729"/>
                  <a:gd name="connsiteX964" fmla="*/ 158559 w 3716428"/>
                  <a:gd name="connsiteY964" fmla="*/ 1064849 h 1528729"/>
                  <a:gd name="connsiteX965" fmla="*/ 149611 w 3716428"/>
                  <a:gd name="connsiteY965" fmla="*/ 1053108 h 1528729"/>
                  <a:gd name="connsiteX966" fmla="*/ 146876 w 3716428"/>
                  <a:gd name="connsiteY966" fmla="*/ 1028202 h 1528729"/>
                  <a:gd name="connsiteX967" fmla="*/ 140435 w 3716428"/>
                  <a:gd name="connsiteY967" fmla="*/ 1024725 h 1528729"/>
                  <a:gd name="connsiteX968" fmla="*/ 145394 w 3716428"/>
                  <a:gd name="connsiteY968" fmla="*/ 1014979 h 1528729"/>
                  <a:gd name="connsiteX969" fmla="*/ 148186 w 3716428"/>
                  <a:gd name="connsiteY969" fmla="*/ 1003979 h 1528729"/>
                  <a:gd name="connsiteX970" fmla="*/ 142487 w 3716428"/>
                  <a:gd name="connsiteY970" fmla="*/ 984715 h 1528729"/>
                  <a:gd name="connsiteX971" fmla="*/ 150295 w 3716428"/>
                  <a:gd name="connsiteY971" fmla="*/ 970808 h 1528729"/>
                  <a:gd name="connsiteX972" fmla="*/ 156337 w 3716428"/>
                  <a:gd name="connsiteY972" fmla="*/ 958611 h 1528729"/>
                  <a:gd name="connsiteX973" fmla="*/ 158103 w 3716428"/>
                  <a:gd name="connsiteY973" fmla="*/ 956559 h 1528729"/>
                  <a:gd name="connsiteX974" fmla="*/ 159414 w 3716428"/>
                  <a:gd name="connsiteY974" fmla="*/ 949264 h 1528729"/>
                  <a:gd name="connsiteX975" fmla="*/ 165456 w 3716428"/>
                  <a:gd name="connsiteY975" fmla="*/ 945787 h 1528729"/>
                  <a:gd name="connsiteX976" fmla="*/ 193953 w 3716428"/>
                  <a:gd name="connsiteY976" fmla="*/ 941285 h 1528729"/>
                  <a:gd name="connsiteX977" fmla="*/ 200108 w 3716428"/>
                  <a:gd name="connsiteY977" fmla="*/ 938036 h 1528729"/>
                  <a:gd name="connsiteX978" fmla="*/ 197601 w 3716428"/>
                  <a:gd name="connsiteY978" fmla="*/ 935243 h 1528729"/>
                  <a:gd name="connsiteX979" fmla="*/ 186202 w 3716428"/>
                  <a:gd name="connsiteY979" fmla="*/ 933647 h 1528729"/>
                  <a:gd name="connsiteX980" fmla="*/ 176570 w 3716428"/>
                  <a:gd name="connsiteY980" fmla="*/ 928233 h 1528729"/>
                  <a:gd name="connsiteX981" fmla="*/ 175487 w 3716428"/>
                  <a:gd name="connsiteY981" fmla="*/ 925155 h 1528729"/>
                  <a:gd name="connsiteX982" fmla="*/ 167565 w 3716428"/>
                  <a:gd name="connsiteY982" fmla="*/ 922476 h 1528729"/>
                  <a:gd name="connsiteX983" fmla="*/ 159186 w 3716428"/>
                  <a:gd name="connsiteY983" fmla="*/ 910394 h 1528729"/>
                  <a:gd name="connsiteX984" fmla="*/ 158844 w 3716428"/>
                  <a:gd name="connsiteY984" fmla="*/ 910394 h 1528729"/>
                  <a:gd name="connsiteX985" fmla="*/ 166824 w 3716428"/>
                  <a:gd name="connsiteY985" fmla="*/ 901901 h 1528729"/>
                  <a:gd name="connsiteX986" fmla="*/ 173777 w 3716428"/>
                  <a:gd name="connsiteY986" fmla="*/ 894207 h 1528729"/>
                  <a:gd name="connsiteX987" fmla="*/ 183580 w 3716428"/>
                  <a:gd name="connsiteY987" fmla="*/ 888964 h 1528729"/>
                  <a:gd name="connsiteX988" fmla="*/ 189280 w 3716428"/>
                  <a:gd name="connsiteY988" fmla="*/ 877565 h 1528729"/>
                  <a:gd name="connsiteX989" fmla="*/ 194979 w 3716428"/>
                  <a:gd name="connsiteY989" fmla="*/ 875513 h 1528729"/>
                  <a:gd name="connsiteX990" fmla="*/ 204440 w 3716428"/>
                  <a:gd name="connsiteY990" fmla="*/ 861834 h 1528729"/>
                  <a:gd name="connsiteX991" fmla="*/ 214414 w 3716428"/>
                  <a:gd name="connsiteY991" fmla="*/ 858642 h 1528729"/>
                  <a:gd name="connsiteX992" fmla="*/ 220912 w 3716428"/>
                  <a:gd name="connsiteY992" fmla="*/ 848896 h 1528729"/>
                  <a:gd name="connsiteX993" fmla="*/ 226041 w 3716428"/>
                  <a:gd name="connsiteY993" fmla="*/ 845704 h 1528729"/>
                  <a:gd name="connsiteX994" fmla="*/ 228663 w 3716428"/>
                  <a:gd name="connsiteY994" fmla="*/ 831741 h 1528729"/>
                  <a:gd name="connsiteX995" fmla="*/ 219430 w 3716428"/>
                  <a:gd name="connsiteY995" fmla="*/ 819772 h 1528729"/>
                  <a:gd name="connsiteX996" fmla="*/ 203072 w 3716428"/>
                  <a:gd name="connsiteY996" fmla="*/ 803813 h 1528729"/>
                  <a:gd name="connsiteX997" fmla="*/ 199596 w 3716428"/>
                  <a:gd name="connsiteY997" fmla="*/ 796404 h 1528729"/>
                  <a:gd name="connsiteX998" fmla="*/ 210995 w 3716428"/>
                  <a:gd name="connsiteY998" fmla="*/ 788596 h 1528729"/>
                  <a:gd name="connsiteX999" fmla="*/ 194922 w 3716428"/>
                  <a:gd name="connsiteY999" fmla="*/ 774119 h 1528729"/>
                  <a:gd name="connsiteX1000" fmla="*/ 197202 w 3716428"/>
                  <a:gd name="connsiteY1000" fmla="*/ 755026 h 1528729"/>
                  <a:gd name="connsiteX1001" fmla="*/ 190762 w 3716428"/>
                  <a:gd name="connsiteY1001" fmla="*/ 750067 h 1528729"/>
                  <a:gd name="connsiteX1002" fmla="*/ 197373 w 3716428"/>
                  <a:gd name="connsiteY1002" fmla="*/ 735990 h 1528729"/>
                  <a:gd name="connsiteX1003" fmla="*/ 193497 w 3716428"/>
                  <a:gd name="connsiteY1003" fmla="*/ 724933 h 1528729"/>
                  <a:gd name="connsiteX1004" fmla="*/ 198570 w 3716428"/>
                  <a:gd name="connsiteY1004" fmla="*/ 720088 h 1528729"/>
                  <a:gd name="connsiteX1005" fmla="*/ 198570 w 3716428"/>
                  <a:gd name="connsiteY1005" fmla="*/ 709886 h 1528729"/>
                  <a:gd name="connsiteX1006" fmla="*/ 190762 w 3716428"/>
                  <a:gd name="connsiteY1006" fmla="*/ 702135 h 1528729"/>
                  <a:gd name="connsiteX1007" fmla="*/ 181129 w 3716428"/>
                  <a:gd name="connsiteY1007" fmla="*/ 685948 h 1528729"/>
                  <a:gd name="connsiteX1008" fmla="*/ 181129 w 3716428"/>
                  <a:gd name="connsiteY1008" fmla="*/ 678710 h 1528729"/>
                  <a:gd name="connsiteX1009" fmla="*/ 185803 w 3716428"/>
                  <a:gd name="connsiteY1009" fmla="*/ 669591 h 1528729"/>
                  <a:gd name="connsiteX1010" fmla="*/ 185176 w 3716428"/>
                  <a:gd name="connsiteY1010" fmla="*/ 665088 h 1528729"/>
                  <a:gd name="connsiteX1011" fmla="*/ 198513 w 3716428"/>
                  <a:gd name="connsiteY1011" fmla="*/ 654943 h 1528729"/>
                  <a:gd name="connsiteX1012" fmla="*/ 194295 w 3716428"/>
                  <a:gd name="connsiteY1012" fmla="*/ 645710 h 1528729"/>
                  <a:gd name="connsiteX1013" fmla="*/ 176627 w 3716428"/>
                  <a:gd name="connsiteY1013" fmla="*/ 629182 h 1528729"/>
                  <a:gd name="connsiteX1014" fmla="*/ 168020 w 3716428"/>
                  <a:gd name="connsiteY1014" fmla="*/ 618524 h 1528729"/>
                  <a:gd name="connsiteX1015" fmla="*/ 169958 w 3716428"/>
                  <a:gd name="connsiteY1015" fmla="*/ 605757 h 1528729"/>
                  <a:gd name="connsiteX1016" fmla="*/ 172466 w 3716428"/>
                  <a:gd name="connsiteY1016" fmla="*/ 603648 h 1528729"/>
                  <a:gd name="connsiteX1017" fmla="*/ 177595 w 3716428"/>
                  <a:gd name="connsiteY1017" fmla="*/ 588943 h 1528729"/>
                  <a:gd name="connsiteX1018" fmla="*/ 183694 w 3716428"/>
                  <a:gd name="connsiteY1018" fmla="*/ 579938 h 1528729"/>
                  <a:gd name="connsiteX1019" fmla="*/ 194067 w 3716428"/>
                  <a:gd name="connsiteY1019" fmla="*/ 580793 h 1528729"/>
                  <a:gd name="connsiteX1020" fmla="*/ 204839 w 3716428"/>
                  <a:gd name="connsiteY1020" fmla="*/ 565290 h 1528729"/>
                  <a:gd name="connsiteX1021" fmla="*/ 208544 w 3716428"/>
                  <a:gd name="connsiteY1021" fmla="*/ 563866 h 1528729"/>
                  <a:gd name="connsiteX1022" fmla="*/ 209627 w 3716428"/>
                  <a:gd name="connsiteY1022" fmla="*/ 560731 h 1528729"/>
                  <a:gd name="connsiteX1023" fmla="*/ 212419 w 3716428"/>
                  <a:gd name="connsiteY1023" fmla="*/ 558337 h 1528729"/>
                  <a:gd name="connsiteX1024" fmla="*/ 216352 w 3716428"/>
                  <a:gd name="connsiteY1024" fmla="*/ 558337 h 1528729"/>
                  <a:gd name="connsiteX1025" fmla="*/ 222052 w 3716428"/>
                  <a:gd name="connsiteY1025" fmla="*/ 563695 h 1528729"/>
                  <a:gd name="connsiteX1026" fmla="*/ 235274 w 3716428"/>
                  <a:gd name="connsiteY1026" fmla="*/ 565974 h 1528729"/>
                  <a:gd name="connsiteX1027" fmla="*/ 241755 w 3716428"/>
                  <a:gd name="connsiteY1027" fmla="*/ 556052 h 1528729"/>
                  <a:gd name="connsiteX1028" fmla="*/ 241715 w 3716428"/>
                  <a:gd name="connsiteY1028" fmla="*/ 555886 h 1528729"/>
                  <a:gd name="connsiteX1029" fmla="*/ 258243 w 3716428"/>
                  <a:gd name="connsiteY1029" fmla="*/ 559933 h 1528729"/>
                  <a:gd name="connsiteX1030" fmla="*/ 247471 w 3716428"/>
                  <a:gd name="connsiteY1030" fmla="*/ 564777 h 1528729"/>
                  <a:gd name="connsiteX1031" fmla="*/ 252544 w 3716428"/>
                  <a:gd name="connsiteY1031" fmla="*/ 578000 h 1528729"/>
                  <a:gd name="connsiteX1032" fmla="*/ 267875 w 3716428"/>
                  <a:gd name="connsiteY1032" fmla="*/ 580565 h 1528729"/>
                  <a:gd name="connsiteX1033" fmla="*/ 304979 w 3716428"/>
                  <a:gd name="connsiteY1033" fmla="*/ 580565 h 1528729"/>
                  <a:gd name="connsiteX1034" fmla="*/ 304979 w 3716428"/>
                  <a:gd name="connsiteY1034" fmla="*/ 587746 h 1528729"/>
                  <a:gd name="connsiteX1035" fmla="*/ 318315 w 3716428"/>
                  <a:gd name="connsiteY1035" fmla="*/ 591109 h 1528729"/>
                  <a:gd name="connsiteX1036" fmla="*/ 323046 w 3716428"/>
                  <a:gd name="connsiteY1036" fmla="*/ 594301 h 1528729"/>
                  <a:gd name="connsiteX1037" fmla="*/ 340828 w 3716428"/>
                  <a:gd name="connsiteY1037" fmla="*/ 595897 h 1528729"/>
                  <a:gd name="connsiteX1038" fmla="*/ 356958 w 3716428"/>
                  <a:gd name="connsiteY1038" fmla="*/ 601596 h 1528729"/>
                  <a:gd name="connsiteX1039" fmla="*/ 360663 w 3716428"/>
                  <a:gd name="connsiteY1039" fmla="*/ 608036 h 1528729"/>
                  <a:gd name="connsiteX1040" fmla="*/ 368072 w 3716428"/>
                  <a:gd name="connsiteY1040" fmla="*/ 609461 h 1528729"/>
                  <a:gd name="connsiteX1041" fmla="*/ 370751 w 3716428"/>
                  <a:gd name="connsiteY1041" fmla="*/ 615161 h 1528729"/>
                  <a:gd name="connsiteX1042" fmla="*/ 380725 w 3716428"/>
                  <a:gd name="connsiteY1042" fmla="*/ 623311 h 1528729"/>
                  <a:gd name="connsiteX1043" fmla="*/ 392124 w 3716428"/>
                  <a:gd name="connsiteY1043" fmla="*/ 636363 h 1528729"/>
                  <a:gd name="connsiteX1044" fmla="*/ 410533 w 3716428"/>
                  <a:gd name="connsiteY1044" fmla="*/ 639498 h 1528729"/>
                  <a:gd name="connsiteX1045" fmla="*/ 424155 w 3716428"/>
                  <a:gd name="connsiteY1045" fmla="*/ 650897 h 1528729"/>
                  <a:gd name="connsiteX1046" fmla="*/ 436580 w 3716428"/>
                  <a:gd name="connsiteY1046" fmla="*/ 658990 h 1528729"/>
                  <a:gd name="connsiteX1047" fmla="*/ 443818 w 3716428"/>
                  <a:gd name="connsiteY1047" fmla="*/ 663378 h 1528729"/>
                  <a:gd name="connsiteX1048" fmla="*/ 443248 w 3716428"/>
                  <a:gd name="connsiteY1048" fmla="*/ 676088 h 1528729"/>
                  <a:gd name="connsiteX1049" fmla="*/ 431450 w 3716428"/>
                  <a:gd name="connsiteY1049" fmla="*/ 683213 h 1528729"/>
                  <a:gd name="connsiteX1050" fmla="*/ 431450 w 3716428"/>
                  <a:gd name="connsiteY1050" fmla="*/ 691021 h 1528729"/>
                  <a:gd name="connsiteX1051" fmla="*/ 421191 w 3716428"/>
                  <a:gd name="connsiteY1051" fmla="*/ 691534 h 1528729"/>
                  <a:gd name="connsiteX1052" fmla="*/ 415947 w 3716428"/>
                  <a:gd name="connsiteY1052" fmla="*/ 699513 h 1528729"/>
                  <a:gd name="connsiteX1053" fmla="*/ 404549 w 3716428"/>
                  <a:gd name="connsiteY1053" fmla="*/ 704415 h 1528729"/>
                  <a:gd name="connsiteX1054" fmla="*/ 402839 w 3716428"/>
                  <a:gd name="connsiteY1054" fmla="*/ 708689 h 1528729"/>
                  <a:gd name="connsiteX1055" fmla="*/ 398621 w 3716428"/>
                  <a:gd name="connsiteY1055" fmla="*/ 709886 h 1528729"/>
                  <a:gd name="connsiteX1056" fmla="*/ 379300 w 3716428"/>
                  <a:gd name="connsiteY1056" fmla="*/ 710285 h 1528729"/>
                  <a:gd name="connsiteX1057" fmla="*/ 369212 w 3716428"/>
                  <a:gd name="connsiteY1057" fmla="*/ 708632 h 1528729"/>
                  <a:gd name="connsiteX1058" fmla="*/ 363968 w 3716428"/>
                  <a:gd name="connsiteY1058" fmla="*/ 704814 h 1528729"/>
                  <a:gd name="connsiteX1059" fmla="*/ 353539 w 3716428"/>
                  <a:gd name="connsiteY1059" fmla="*/ 704187 h 1528729"/>
                  <a:gd name="connsiteX1060" fmla="*/ 332279 w 3716428"/>
                  <a:gd name="connsiteY1060" fmla="*/ 700710 h 1528729"/>
                  <a:gd name="connsiteX1061" fmla="*/ 309481 w 3716428"/>
                  <a:gd name="connsiteY1061" fmla="*/ 692788 h 1528729"/>
                  <a:gd name="connsiteX1062" fmla="*/ 282694 w 3716428"/>
                  <a:gd name="connsiteY1062" fmla="*/ 684637 h 1528729"/>
                  <a:gd name="connsiteX1063" fmla="*/ 275114 w 3716428"/>
                  <a:gd name="connsiteY1063" fmla="*/ 681959 h 1528729"/>
                  <a:gd name="connsiteX1064" fmla="*/ 273347 w 3716428"/>
                  <a:gd name="connsiteY1064" fmla="*/ 678539 h 1528729"/>
                  <a:gd name="connsiteX1065" fmla="*/ 266565 w 3716428"/>
                  <a:gd name="connsiteY1065" fmla="*/ 675119 h 1528729"/>
                  <a:gd name="connsiteX1066" fmla="*/ 257616 w 3716428"/>
                  <a:gd name="connsiteY1066" fmla="*/ 666057 h 1528729"/>
                  <a:gd name="connsiteX1067" fmla="*/ 246217 w 3716428"/>
                  <a:gd name="connsiteY1067" fmla="*/ 661270 h 1528729"/>
                  <a:gd name="connsiteX1068" fmla="*/ 242837 w 3716428"/>
                  <a:gd name="connsiteY1068" fmla="*/ 672629 h 1528729"/>
                  <a:gd name="connsiteX1069" fmla="*/ 243026 w 3716428"/>
                  <a:gd name="connsiteY1069" fmla="*/ 672953 h 1528729"/>
                  <a:gd name="connsiteX1070" fmla="*/ 254026 w 3716428"/>
                  <a:gd name="connsiteY1070" fmla="*/ 680534 h 1528729"/>
                  <a:gd name="connsiteX1071" fmla="*/ 256875 w 3716428"/>
                  <a:gd name="connsiteY1071" fmla="*/ 689824 h 1528729"/>
                  <a:gd name="connsiteX1072" fmla="*/ 267476 w 3716428"/>
                  <a:gd name="connsiteY1072" fmla="*/ 693130 h 1528729"/>
                  <a:gd name="connsiteX1073" fmla="*/ 272834 w 3716428"/>
                  <a:gd name="connsiteY1073" fmla="*/ 701679 h 1528729"/>
                  <a:gd name="connsiteX1074" fmla="*/ 287481 w 3716428"/>
                  <a:gd name="connsiteY1074" fmla="*/ 708404 h 1528729"/>
                  <a:gd name="connsiteX1075" fmla="*/ 302699 w 3716428"/>
                  <a:gd name="connsiteY1075" fmla="*/ 711482 h 1528729"/>
                  <a:gd name="connsiteX1076" fmla="*/ 302015 w 3716428"/>
                  <a:gd name="connsiteY1076" fmla="*/ 728580 h 1528729"/>
                  <a:gd name="connsiteX1077" fmla="*/ 300932 w 3716428"/>
                  <a:gd name="connsiteY1077" fmla="*/ 732342 h 1528729"/>
                  <a:gd name="connsiteX1078" fmla="*/ 296088 w 3716428"/>
                  <a:gd name="connsiteY1078" fmla="*/ 734394 h 1528729"/>
                  <a:gd name="connsiteX1079" fmla="*/ 293922 w 3716428"/>
                  <a:gd name="connsiteY1079" fmla="*/ 745793 h 1528729"/>
                  <a:gd name="connsiteX1080" fmla="*/ 295290 w 3716428"/>
                  <a:gd name="connsiteY1080" fmla="*/ 757762 h 1528729"/>
                  <a:gd name="connsiteX1081" fmla="*/ 304466 w 3716428"/>
                  <a:gd name="connsiteY1081" fmla="*/ 766083 h 1528729"/>
                  <a:gd name="connsiteX1082" fmla="*/ 304124 w 3716428"/>
                  <a:gd name="connsiteY1082" fmla="*/ 780104 h 1528729"/>
                  <a:gd name="connsiteX1083" fmla="*/ 305264 w 3716428"/>
                  <a:gd name="connsiteY1083" fmla="*/ 783067 h 1528729"/>
                  <a:gd name="connsiteX1084" fmla="*/ 308797 w 3716428"/>
                  <a:gd name="connsiteY1084" fmla="*/ 784093 h 1528729"/>
                  <a:gd name="connsiteX1085" fmla="*/ 330228 w 3716428"/>
                  <a:gd name="connsiteY1085" fmla="*/ 785005 h 1528729"/>
                  <a:gd name="connsiteX1086" fmla="*/ 339233 w 3716428"/>
                  <a:gd name="connsiteY1086" fmla="*/ 798627 h 1528729"/>
                  <a:gd name="connsiteX1087" fmla="*/ 342196 w 3716428"/>
                  <a:gd name="connsiteY1087" fmla="*/ 801591 h 1528729"/>
                  <a:gd name="connsiteX1088" fmla="*/ 345787 w 3716428"/>
                  <a:gd name="connsiteY1088" fmla="*/ 801591 h 1528729"/>
                  <a:gd name="connsiteX1089" fmla="*/ 362259 w 3716428"/>
                  <a:gd name="connsiteY1089" fmla="*/ 804896 h 1528729"/>
                  <a:gd name="connsiteX1090" fmla="*/ 377704 w 3716428"/>
                  <a:gd name="connsiteY1090" fmla="*/ 800964 h 1528729"/>
                  <a:gd name="connsiteX1091" fmla="*/ 376507 w 3716428"/>
                  <a:gd name="connsiteY1091" fmla="*/ 783523 h 1528729"/>
                  <a:gd name="connsiteX1092" fmla="*/ 352798 w 3716428"/>
                  <a:gd name="connsiteY1092" fmla="*/ 778565 h 1528729"/>
                  <a:gd name="connsiteX1093" fmla="*/ 350461 w 3716428"/>
                  <a:gd name="connsiteY1093" fmla="*/ 772352 h 1528729"/>
                  <a:gd name="connsiteX1094" fmla="*/ 342709 w 3716428"/>
                  <a:gd name="connsiteY1094" fmla="*/ 769218 h 1528729"/>
                  <a:gd name="connsiteX1095" fmla="*/ 342709 w 3716428"/>
                  <a:gd name="connsiteY1095" fmla="*/ 766368 h 1528729"/>
                  <a:gd name="connsiteX1096" fmla="*/ 356046 w 3716428"/>
                  <a:gd name="connsiteY1096" fmla="*/ 747275 h 1528729"/>
                  <a:gd name="connsiteX1097" fmla="*/ 374284 w 3716428"/>
                  <a:gd name="connsiteY1097" fmla="*/ 759984 h 1528729"/>
                  <a:gd name="connsiteX1098" fmla="*/ 377305 w 3716428"/>
                  <a:gd name="connsiteY1098" fmla="*/ 763176 h 1528729"/>
                  <a:gd name="connsiteX1099" fmla="*/ 380839 w 3716428"/>
                  <a:gd name="connsiteY1099" fmla="*/ 763917 h 1528729"/>
                  <a:gd name="connsiteX1100" fmla="*/ 427176 w 3716428"/>
                  <a:gd name="connsiteY1100" fmla="*/ 773663 h 1528729"/>
                  <a:gd name="connsiteX1101" fmla="*/ 431336 w 3716428"/>
                  <a:gd name="connsiteY1101" fmla="*/ 771554 h 1528729"/>
                  <a:gd name="connsiteX1102" fmla="*/ 429683 w 3716428"/>
                  <a:gd name="connsiteY1102" fmla="*/ 762150 h 1528729"/>
                  <a:gd name="connsiteX1103" fmla="*/ 421590 w 3716428"/>
                  <a:gd name="connsiteY1103" fmla="*/ 755425 h 1528729"/>
                  <a:gd name="connsiteX1104" fmla="*/ 418227 w 3716428"/>
                  <a:gd name="connsiteY1104" fmla="*/ 746363 h 1528729"/>
                  <a:gd name="connsiteX1105" fmla="*/ 436751 w 3716428"/>
                  <a:gd name="connsiteY1105" fmla="*/ 718891 h 1528729"/>
                  <a:gd name="connsiteX1106" fmla="*/ 443362 w 3716428"/>
                  <a:gd name="connsiteY1106" fmla="*/ 715130 h 1528729"/>
                  <a:gd name="connsiteX1107" fmla="*/ 445129 w 3716428"/>
                  <a:gd name="connsiteY1107" fmla="*/ 708974 h 1528729"/>
                  <a:gd name="connsiteX1108" fmla="*/ 449632 w 3716428"/>
                  <a:gd name="connsiteY1108" fmla="*/ 707378 h 1528729"/>
                  <a:gd name="connsiteX1109" fmla="*/ 464621 w 3716428"/>
                  <a:gd name="connsiteY1109" fmla="*/ 694953 h 1528729"/>
                  <a:gd name="connsiteX1110" fmla="*/ 486678 w 3716428"/>
                  <a:gd name="connsiteY1110" fmla="*/ 693985 h 1528729"/>
                  <a:gd name="connsiteX1111" fmla="*/ 496823 w 3716428"/>
                  <a:gd name="connsiteY1111" fmla="*/ 702249 h 1528729"/>
                  <a:gd name="connsiteX1112" fmla="*/ 503435 w 3716428"/>
                  <a:gd name="connsiteY1112" fmla="*/ 718435 h 1528729"/>
                  <a:gd name="connsiteX1113" fmla="*/ 508849 w 3716428"/>
                  <a:gd name="connsiteY1113" fmla="*/ 718435 h 1528729"/>
                  <a:gd name="connsiteX1114" fmla="*/ 517512 w 3716428"/>
                  <a:gd name="connsiteY1114" fmla="*/ 700767 h 1528729"/>
                  <a:gd name="connsiteX1115" fmla="*/ 518880 w 3716428"/>
                  <a:gd name="connsiteY1115" fmla="*/ 692389 h 1528729"/>
                  <a:gd name="connsiteX1116" fmla="*/ 516372 w 3716428"/>
                  <a:gd name="connsiteY1116" fmla="*/ 677513 h 1528729"/>
                  <a:gd name="connsiteX1117" fmla="*/ 504346 w 3716428"/>
                  <a:gd name="connsiteY1117" fmla="*/ 673865 h 1528729"/>
                  <a:gd name="connsiteX1118" fmla="*/ 495512 w 3716428"/>
                  <a:gd name="connsiteY1118" fmla="*/ 666285 h 1528729"/>
                  <a:gd name="connsiteX1119" fmla="*/ 509704 w 3716428"/>
                  <a:gd name="connsiteY1119" fmla="*/ 654088 h 1528729"/>
                  <a:gd name="connsiteX1120" fmla="*/ 508792 w 3716428"/>
                  <a:gd name="connsiteY1120" fmla="*/ 634254 h 1528729"/>
                  <a:gd name="connsiteX1121" fmla="*/ 513180 w 3716428"/>
                  <a:gd name="connsiteY1121" fmla="*/ 615959 h 1528729"/>
                  <a:gd name="connsiteX1122" fmla="*/ 519678 w 3716428"/>
                  <a:gd name="connsiteY1122" fmla="*/ 614021 h 1528729"/>
                  <a:gd name="connsiteX1123" fmla="*/ 535978 w 3716428"/>
                  <a:gd name="connsiteY1123" fmla="*/ 612938 h 1528729"/>
                  <a:gd name="connsiteX1124" fmla="*/ 546181 w 3716428"/>
                  <a:gd name="connsiteY1124" fmla="*/ 614819 h 1528729"/>
                  <a:gd name="connsiteX1125" fmla="*/ 548620 w 3716428"/>
                  <a:gd name="connsiteY1125" fmla="*/ 623596 h 1528729"/>
                  <a:gd name="connsiteX1126" fmla="*/ 548517 w 3716428"/>
                  <a:gd name="connsiteY1126" fmla="*/ 623767 h 1528729"/>
                  <a:gd name="connsiteX1127" fmla="*/ 557979 w 3716428"/>
                  <a:gd name="connsiteY1127" fmla="*/ 628384 h 1528729"/>
                  <a:gd name="connsiteX1128" fmla="*/ 561512 w 3716428"/>
                  <a:gd name="connsiteY1128" fmla="*/ 637788 h 1528729"/>
                  <a:gd name="connsiteX1129" fmla="*/ 566813 w 3716428"/>
                  <a:gd name="connsiteY1129" fmla="*/ 644456 h 1528729"/>
                  <a:gd name="connsiteX1130" fmla="*/ 546238 w 3716428"/>
                  <a:gd name="connsiteY1130" fmla="*/ 642176 h 1528729"/>
                  <a:gd name="connsiteX1131" fmla="*/ 538429 w 3716428"/>
                  <a:gd name="connsiteY1131" fmla="*/ 645995 h 1528729"/>
                  <a:gd name="connsiteX1132" fmla="*/ 532274 w 3716428"/>
                  <a:gd name="connsiteY1132" fmla="*/ 646508 h 1528729"/>
                  <a:gd name="connsiteX1133" fmla="*/ 531020 w 3716428"/>
                  <a:gd name="connsiteY1133" fmla="*/ 649472 h 1528729"/>
                  <a:gd name="connsiteX1134" fmla="*/ 529481 w 3716428"/>
                  <a:gd name="connsiteY1134" fmla="*/ 665430 h 1528729"/>
                  <a:gd name="connsiteX1135" fmla="*/ 530621 w 3716428"/>
                  <a:gd name="connsiteY1135" fmla="*/ 670332 h 1528729"/>
                  <a:gd name="connsiteX1136" fmla="*/ 536320 w 3716428"/>
                  <a:gd name="connsiteY1136" fmla="*/ 672896 h 1528729"/>
                  <a:gd name="connsiteX1137" fmla="*/ 542704 w 3716428"/>
                  <a:gd name="connsiteY1137" fmla="*/ 682985 h 1528729"/>
                  <a:gd name="connsiteX1138" fmla="*/ 553191 w 3716428"/>
                  <a:gd name="connsiteY1138" fmla="*/ 686005 h 1528729"/>
                  <a:gd name="connsiteX1139" fmla="*/ 588870 w 3716428"/>
                  <a:gd name="connsiteY1139" fmla="*/ 685663 h 1528729"/>
                  <a:gd name="connsiteX1140" fmla="*/ 591776 w 3716428"/>
                  <a:gd name="connsiteY1140" fmla="*/ 664062 h 1528729"/>
                  <a:gd name="connsiteX1141" fmla="*/ 592802 w 3716428"/>
                  <a:gd name="connsiteY1141" fmla="*/ 659959 h 1528729"/>
                  <a:gd name="connsiteX1142" fmla="*/ 603175 w 3716428"/>
                  <a:gd name="connsiteY1142" fmla="*/ 655570 h 1528729"/>
                  <a:gd name="connsiteX1143" fmla="*/ 615030 w 3716428"/>
                  <a:gd name="connsiteY1143" fmla="*/ 656026 h 1528729"/>
                  <a:gd name="connsiteX1144" fmla="*/ 618849 w 3716428"/>
                  <a:gd name="connsiteY1144" fmla="*/ 647933 h 1528729"/>
                  <a:gd name="connsiteX1145" fmla="*/ 623294 w 3716428"/>
                  <a:gd name="connsiteY1145" fmla="*/ 645596 h 1528729"/>
                  <a:gd name="connsiteX1146" fmla="*/ 637657 w 3716428"/>
                  <a:gd name="connsiteY1146" fmla="*/ 634197 h 1528729"/>
                  <a:gd name="connsiteX1147" fmla="*/ 642502 w 3716428"/>
                  <a:gd name="connsiteY1147" fmla="*/ 629467 h 1528729"/>
                  <a:gd name="connsiteX1148" fmla="*/ 647802 w 3716428"/>
                  <a:gd name="connsiteY1148" fmla="*/ 628612 h 1528729"/>
                  <a:gd name="connsiteX1149" fmla="*/ 679605 w 3716428"/>
                  <a:gd name="connsiteY1149" fmla="*/ 614705 h 1528729"/>
                  <a:gd name="connsiteX1150" fmla="*/ 686331 w 3716428"/>
                  <a:gd name="connsiteY1150" fmla="*/ 614705 h 1528729"/>
                  <a:gd name="connsiteX1151" fmla="*/ 687927 w 3716428"/>
                  <a:gd name="connsiteY1151" fmla="*/ 618239 h 1528729"/>
                  <a:gd name="connsiteX1152" fmla="*/ 701867 w 3716428"/>
                  <a:gd name="connsiteY1152" fmla="*/ 623750 h 1528729"/>
                  <a:gd name="connsiteX1153" fmla="*/ 703600 w 3716428"/>
                  <a:gd name="connsiteY1153" fmla="*/ 622798 h 1528729"/>
                  <a:gd name="connsiteX1154" fmla="*/ 711112 w 3716428"/>
                  <a:gd name="connsiteY1154" fmla="*/ 604184 h 1528729"/>
                  <a:gd name="connsiteX1155" fmla="*/ 712605 w 3716428"/>
                  <a:gd name="connsiteY1155" fmla="*/ 603648 h 1528729"/>
                  <a:gd name="connsiteX1156" fmla="*/ 718305 w 3716428"/>
                  <a:gd name="connsiteY1156" fmla="*/ 601710 h 1528729"/>
                  <a:gd name="connsiteX1157" fmla="*/ 725657 w 3716428"/>
                  <a:gd name="connsiteY1157" fmla="*/ 596011 h 1528729"/>
                  <a:gd name="connsiteX1158" fmla="*/ 727481 w 3716428"/>
                  <a:gd name="connsiteY1158" fmla="*/ 598803 h 1528729"/>
                  <a:gd name="connsiteX1159" fmla="*/ 729875 w 3716428"/>
                  <a:gd name="connsiteY1159" fmla="*/ 610202 h 1528729"/>
                  <a:gd name="connsiteX1160" fmla="*/ 724175 w 3716428"/>
                  <a:gd name="connsiteY1160" fmla="*/ 619948 h 1528729"/>
                  <a:gd name="connsiteX1161" fmla="*/ 715740 w 3716428"/>
                  <a:gd name="connsiteY1161" fmla="*/ 621715 h 1528729"/>
                  <a:gd name="connsiteX1162" fmla="*/ 712719 w 3716428"/>
                  <a:gd name="connsiteY1162" fmla="*/ 628384 h 1528729"/>
                  <a:gd name="connsiteX1163" fmla="*/ 718943 w 3716428"/>
                  <a:gd name="connsiteY1163" fmla="*/ 634471 h 1528729"/>
                  <a:gd name="connsiteX1164" fmla="*/ 718761 w 3716428"/>
                  <a:gd name="connsiteY1164" fmla="*/ 636021 h 1528729"/>
                  <a:gd name="connsiteX1165" fmla="*/ 743952 w 3716428"/>
                  <a:gd name="connsiteY1165" fmla="*/ 639042 h 1528729"/>
                  <a:gd name="connsiteX1166" fmla="*/ 746859 w 3716428"/>
                  <a:gd name="connsiteY1166" fmla="*/ 637959 h 1528729"/>
                  <a:gd name="connsiteX1167" fmla="*/ 748569 w 3716428"/>
                  <a:gd name="connsiteY1167" fmla="*/ 629524 h 1528729"/>
                  <a:gd name="connsiteX1168" fmla="*/ 754269 w 3716428"/>
                  <a:gd name="connsiteY1168" fmla="*/ 625420 h 1528729"/>
                  <a:gd name="connsiteX1169" fmla="*/ 755693 w 3716428"/>
                  <a:gd name="connsiteY1169" fmla="*/ 622570 h 1528729"/>
                  <a:gd name="connsiteX1170" fmla="*/ 775356 w 3716428"/>
                  <a:gd name="connsiteY1170" fmla="*/ 613679 h 1528729"/>
                  <a:gd name="connsiteX1171" fmla="*/ 786755 w 3716428"/>
                  <a:gd name="connsiteY1171" fmla="*/ 620746 h 1528729"/>
                  <a:gd name="connsiteX1172" fmla="*/ 799237 w 3716428"/>
                  <a:gd name="connsiteY1172" fmla="*/ 624223 h 1528729"/>
                  <a:gd name="connsiteX1173" fmla="*/ 803968 w 3716428"/>
                  <a:gd name="connsiteY1173" fmla="*/ 614021 h 1528729"/>
                  <a:gd name="connsiteX1174" fmla="*/ 811605 w 3716428"/>
                  <a:gd name="connsiteY1174" fmla="*/ 608891 h 1528729"/>
                  <a:gd name="connsiteX1175" fmla="*/ 818615 w 3716428"/>
                  <a:gd name="connsiteY1175" fmla="*/ 602394 h 1528729"/>
                  <a:gd name="connsiteX1176" fmla="*/ 833434 w 3716428"/>
                  <a:gd name="connsiteY1176" fmla="*/ 599487 h 1528729"/>
                  <a:gd name="connsiteX1177" fmla="*/ 846429 w 3716428"/>
                  <a:gd name="connsiteY1177" fmla="*/ 608207 h 1528729"/>
                  <a:gd name="connsiteX1178" fmla="*/ 833377 w 3716428"/>
                  <a:gd name="connsiteY1178" fmla="*/ 620290 h 1528729"/>
                  <a:gd name="connsiteX1179" fmla="*/ 861875 w 3716428"/>
                  <a:gd name="connsiteY1179" fmla="*/ 629068 h 1528729"/>
                  <a:gd name="connsiteX1180" fmla="*/ 861875 w 3716428"/>
                  <a:gd name="connsiteY1180" fmla="*/ 615731 h 1528729"/>
                  <a:gd name="connsiteX1181" fmla="*/ 886439 w 3716428"/>
                  <a:gd name="connsiteY1181" fmla="*/ 603192 h 1528729"/>
                  <a:gd name="connsiteX1182" fmla="*/ 879885 w 3716428"/>
                  <a:gd name="connsiteY1182" fmla="*/ 596923 h 1528729"/>
                  <a:gd name="connsiteX1183" fmla="*/ 869911 w 3716428"/>
                  <a:gd name="connsiteY1183" fmla="*/ 582845 h 1528729"/>
                  <a:gd name="connsiteX1184" fmla="*/ 866434 w 3716428"/>
                  <a:gd name="connsiteY1184" fmla="*/ 565746 h 1528729"/>
                  <a:gd name="connsiteX1185" fmla="*/ 843636 w 3716428"/>
                  <a:gd name="connsiteY1185" fmla="*/ 562612 h 1528729"/>
                  <a:gd name="connsiteX1186" fmla="*/ 830641 w 3716428"/>
                  <a:gd name="connsiteY1186" fmla="*/ 545513 h 1528729"/>
                  <a:gd name="connsiteX1187" fmla="*/ 866719 w 3716428"/>
                  <a:gd name="connsiteY1187" fmla="*/ 556912 h 1528729"/>
                  <a:gd name="connsiteX1188" fmla="*/ 892195 w 3716428"/>
                  <a:gd name="connsiteY1188" fmla="*/ 566145 h 1528729"/>
                  <a:gd name="connsiteX1189" fmla="*/ 907185 w 3716428"/>
                  <a:gd name="connsiteY1189" fmla="*/ 568596 h 1528729"/>
                  <a:gd name="connsiteX1190" fmla="*/ 911859 w 3716428"/>
                  <a:gd name="connsiteY1190" fmla="*/ 574923 h 1528729"/>
                  <a:gd name="connsiteX1191" fmla="*/ 930496 w 3716428"/>
                  <a:gd name="connsiteY1191" fmla="*/ 579368 h 1528729"/>
                  <a:gd name="connsiteX1192" fmla="*/ 964693 w 3716428"/>
                  <a:gd name="connsiteY1192" fmla="*/ 581819 h 1528729"/>
                  <a:gd name="connsiteX1193" fmla="*/ 986693 w 3716428"/>
                  <a:gd name="connsiteY1193" fmla="*/ 591508 h 1528729"/>
                  <a:gd name="connsiteX1194" fmla="*/ 1034170 w 3716428"/>
                  <a:gd name="connsiteY1194" fmla="*/ 620005 h 1528729"/>
                  <a:gd name="connsiteX1195" fmla="*/ 1055543 w 3716428"/>
                  <a:gd name="connsiteY1195" fmla="*/ 629296 h 1528729"/>
                  <a:gd name="connsiteX1196" fmla="*/ 1063562 w 3716428"/>
                  <a:gd name="connsiteY1196" fmla="*/ 615309 h 1528729"/>
                  <a:gd name="connsiteX1197" fmla="*/ 1063693 w 3716428"/>
                  <a:gd name="connsiteY1197" fmla="*/ 615275 h 1528729"/>
                  <a:gd name="connsiteX1198" fmla="*/ 1051667 w 3716428"/>
                  <a:gd name="connsiteY1198" fmla="*/ 597321 h 1528729"/>
                  <a:gd name="connsiteX1199" fmla="*/ 1043573 w 3716428"/>
                  <a:gd name="connsiteY1199" fmla="*/ 590881 h 1528729"/>
                  <a:gd name="connsiteX1200" fmla="*/ 1041636 w 3716428"/>
                  <a:gd name="connsiteY1200" fmla="*/ 579083 h 1528729"/>
                  <a:gd name="connsiteX1201" fmla="*/ 1022941 w 3716428"/>
                  <a:gd name="connsiteY1201" fmla="*/ 572415 h 1528729"/>
                  <a:gd name="connsiteX1202" fmla="*/ 1012455 w 3716428"/>
                  <a:gd name="connsiteY1202" fmla="*/ 558964 h 1528729"/>
                  <a:gd name="connsiteX1203" fmla="*/ 1019579 w 3716428"/>
                  <a:gd name="connsiteY1203" fmla="*/ 543803 h 1528729"/>
                  <a:gd name="connsiteX1204" fmla="*/ 1017983 w 3716428"/>
                  <a:gd name="connsiteY1204" fmla="*/ 525508 h 1528729"/>
                  <a:gd name="connsiteX1205" fmla="*/ 1027786 w 3716428"/>
                  <a:gd name="connsiteY1205" fmla="*/ 514109 h 1528729"/>
                  <a:gd name="connsiteX1206" fmla="*/ 1053035 w 3716428"/>
                  <a:gd name="connsiteY1206" fmla="*/ 494503 h 1528729"/>
                  <a:gd name="connsiteX1207" fmla="*/ 1073382 w 3716428"/>
                  <a:gd name="connsiteY1207" fmla="*/ 475296 h 1528729"/>
                  <a:gd name="connsiteX1208" fmla="*/ 1085522 w 3716428"/>
                  <a:gd name="connsiteY1208" fmla="*/ 444576 h 1528729"/>
                  <a:gd name="connsiteX1209" fmla="*/ 1091221 w 3716428"/>
                  <a:gd name="connsiteY1209" fmla="*/ 433177 h 1528729"/>
                  <a:gd name="connsiteX1210" fmla="*/ 1096921 w 3716428"/>
                  <a:gd name="connsiteY1210" fmla="*/ 430783 h 1528729"/>
                  <a:gd name="connsiteX1211" fmla="*/ 1139667 w 3716428"/>
                  <a:gd name="connsiteY1211" fmla="*/ 433918 h 1528729"/>
                  <a:gd name="connsiteX1212" fmla="*/ 1145366 w 3716428"/>
                  <a:gd name="connsiteY1212" fmla="*/ 437793 h 1528729"/>
                  <a:gd name="connsiteX1213" fmla="*/ 1141035 w 3716428"/>
                  <a:gd name="connsiteY1213" fmla="*/ 471477 h 1528729"/>
                  <a:gd name="connsiteX1214" fmla="*/ 1122796 w 3716428"/>
                  <a:gd name="connsiteY1214" fmla="*/ 499291 h 1528729"/>
                  <a:gd name="connsiteX1215" fmla="*/ 1149071 w 3716428"/>
                  <a:gd name="connsiteY1215" fmla="*/ 524653 h 1528729"/>
                  <a:gd name="connsiteX1216" fmla="*/ 1150097 w 3716428"/>
                  <a:gd name="connsiteY1216" fmla="*/ 531778 h 1528729"/>
                  <a:gd name="connsiteX1217" fmla="*/ 1144796 w 3716428"/>
                  <a:gd name="connsiteY1217" fmla="*/ 540840 h 1528729"/>
                  <a:gd name="connsiteX1218" fmla="*/ 1138185 w 3716428"/>
                  <a:gd name="connsiteY1218" fmla="*/ 582674 h 1528729"/>
                  <a:gd name="connsiteX1219" fmla="*/ 1147589 w 3716428"/>
                  <a:gd name="connsiteY1219" fmla="*/ 608891 h 1528729"/>
                  <a:gd name="connsiteX1220" fmla="*/ 1160584 w 3716428"/>
                  <a:gd name="connsiteY1220" fmla="*/ 623311 h 1528729"/>
                  <a:gd name="connsiteX1221" fmla="*/ 1155398 w 3716428"/>
                  <a:gd name="connsiteY1221" fmla="*/ 630264 h 1528729"/>
                  <a:gd name="connsiteX1222" fmla="*/ 1130206 w 3716428"/>
                  <a:gd name="connsiteY1222" fmla="*/ 665031 h 1528729"/>
                  <a:gd name="connsiteX1223" fmla="*/ 1122682 w 3716428"/>
                  <a:gd name="connsiteY1223" fmla="*/ 679394 h 1528729"/>
                  <a:gd name="connsiteX1224" fmla="*/ 1116014 w 3716428"/>
                  <a:gd name="connsiteY1224" fmla="*/ 687487 h 1528729"/>
                  <a:gd name="connsiteX1225" fmla="*/ 1115501 w 3716428"/>
                  <a:gd name="connsiteY1225" fmla="*/ 695865 h 1528729"/>
                  <a:gd name="connsiteX1226" fmla="*/ 1119092 w 3716428"/>
                  <a:gd name="connsiteY1226" fmla="*/ 709886 h 1528729"/>
                  <a:gd name="connsiteX1227" fmla="*/ 1131517 w 3716428"/>
                  <a:gd name="connsiteY1227" fmla="*/ 715187 h 1528729"/>
                  <a:gd name="connsiteX1228" fmla="*/ 1141206 w 3716428"/>
                  <a:gd name="connsiteY1228" fmla="*/ 703788 h 1528729"/>
                  <a:gd name="connsiteX1229" fmla="*/ 1157905 w 3716428"/>
                  <a:gd name="connsiteY1229" fmla="*/ 692389 h 1528729"/>
                  <a:gd name="connsiteX1230" fmla="*/ 1178024 w 3716428"/>
                  <a:gd name="connsiteY1230" fmla="*/ 666570 h 1528729"/>
                  <a:gd name="connsiteX1231" fmla="*/ 1183382 w 3716428"/>
                  <a:gd name="connsiteY1231" fmla="*/ 657394 h 1528729"/>
                  <a:gd name="connsiteX1232" fmla="*/ 1189651 w 3716428"/>
                  <a:gd name="connsiteY1232" fmla="*/ 630549 h 1528729"/>
                  <a:gd name="connsiteX1233" fmla="*/ 1183610 w 3716428"/>
                  <a:gd name="connsiteY1233" fmla="*/ 616643 h 1528729"/>
                  <a:gd name="connsiteX1234" fmla="*/ 1193755 w 3716428"/>
                  <a:gd name="connsiteY1234" fmla="*/ 605244 h 1528729"/>
                  <a:gd name="connsiteX1235" fmla="*/ 1210055 w 3716428"/>
                  <a:gd name="connsiteY1235" fmla="*/ 606042 h 1528729"/>
                  <a:gd name="connsiteX1236" fmla="*/ 1212221 w 3716428"/>
                  <a:gd name="connsiteY1236" fmla="*/ 606441 h 1528729"/>
                  <a:gd name="connsiteX1237" fmla="*/ 1236102 w 3716428"/>
                  <a:gd name="connsiteY1237" fmla="*/ 611171 h 1528729"/>
                  <a:gd name="connsiteX1238" fmla="*/ 1238154 w 3716428"/>
                  <a:gd name="connsiteY1238" fmla="*/ 623881 h 1528729"/>
                  <a:gd name="connsiteX1239" fmla="*/ 1241915 w 3716428"/>
                  <a:gd name="connsiteY1239" fmla="*/ 658933 h 1528729"/>
                  <a:gd name="connsiteX1240" fmla="*/ 1271552 w 3716428"/>
                  <a:gd name="connsiteY1240" fmla="*/ 672270 h 1528729"/>
                  <a:gd name="connsiteX1241" fmla="*/ 1276568 w 3716428"/>
                  <a:gd name="connsiteY1241" fmla="*/ 664062 h 1528729"/>
                  <a:gd name="connsiteX1242" fmla="*/ 1271439 w 3716428"/>
                  <a:gd name="connsiteY1242" fmla="*/ 660187 h 1528729"/>
                  <a:gd name="connsiteX1243" fmla="*/ 1253200 w 3716428"/>
                  <a:gd name="connsiteY1243" fmla="*/ 648332 h 1528729"/>
                  <a:gd name="connsiteX1244" fmla="*/ 1251718 w 3716428"/>
                  <a:gd name="connsiteY1244" fmla="*/ 627985 h 1528729"/>
                  <a:gd name="connsiteX1245" fmla="*/ 1256563 w 3716428"/>
                  <a:gd name="connsiteY1245" fmla="*/ 622285 h 1528729"/>
                  <a:gd name="connsiteX1246" fmla="*/ 1249667 w 3716428"/>
                  <a:gd name="connsiteY1246" fmla="*/ 606099 h 1528729"/>
                  <a:gd name="connsiteX1247" fmla="*/ 1233138 w 3716428"/>
                  <a:gd name="connsiteY1247" fmla="*/ 596125 h 1528729"/>
                  <a:gd name="connsiteX1248" fmla="*/ 1226926 w 3716428"/>
                  <a:gd name="connsiteY1248" fmla="*/ 589570 h 1528729"/>
                  <a:gd name="connsiteX1249" fmla="*/ 1219003 w 3716428"/>
                  <a:gd name="connsiteY1249" fmla="*/ 587461 h 1528729"/>
                  <a:gd name="connsiteX1250" fmla="*/ 1167708 w 3716428"/>
                  <a:gd name="connsiteY1250" fmla="*/ 600684 h 1528729"/>
                  <a:gd name="connsiteX1251" fmla="*/ 1165542 w 3716428"/>
                  <a:gd name="connsiteY1251" fmla="*/ 551270 h 1528729"/>
                  <a:gd name="connsiteX1252" fmla="*/ 1180087 w 3716428"/>
                  <a:gd name="connsiteY1252" fmla="*/ 529680 h 1528729"/>
                  <a:gd name="connsiteX1253" fmla="*/ 1172382 w 3716428"/>
                  <a:gd name="connsiteY1253" fmla="*/ 517985 h 1528729"/>
                  <a:gd name="connsiteX1254" fmla="*/ 1165485 w 3716428"/>
                  <a:gd name="connsiteY1254" fmla="*/ 512285 h 1528729"/>
                  <a:gd name="connsiteX1255" fmla="*/ 1162180 w 3716428"/>
                  <a:gd name="connsiteY1255" fmla="*/ 502539 h 1528729"/>
                  <a:gd name="connsiteX1256" fmla="*/ 1154657 w 3716428"/>
                  <a:gd name="connsiteY1256" fmla="*/ 497809 h 1528729"/>
                  <a:gd name="connsiteX1257" fmla="*/ 1160356 w 3716428"/>
                  <a:gd name="connsiteY1257" fmla="*/ 485954 h 1528729"/>
                  <a:gd name="connsiteX1258" fmla="*/ 1187770 w 3716428"/>
                  <a:gd name="connsiteY1258" fmla="*/ 466804 h 1528729"/>
                  <a:gd name="connsiteX1259" fmla="*/ 1194610 w 3716428"/>
                  <a:gd name="connsiteY1259" fmla="*/ 459052 h 1528729"/>
                  <a:gd name="connsiteX1260" fmla="*/ 1194610 w 3716428"/>
                  <a:gd name="connsiteY1260" fmla="*/ 453353 h 1528729"/>
                  <a:gd name="connsiteX1261" fmla="*/ 1191817 w 3716428"/>
                  <a:gd name="connsiteY1261" fmla="*/ 435456 h 1528729"/>
                  <a:gd name="connsiteX1262" fmla="*/ 1209941 w 3716428"/>
                  <a:gd name="connsiteY1262" fmla="*/ 446855 h 1528729"/>
                  <a:gd name="connsiteX1263" fmla="*/ 1199226 w 3716428"/>
                  <a:gd name="connsiteY1263" fmla="*/ 469653 h 1528729"/>
                  <a:gd name="connsiteX1264" fmla="*/ 1204014 w 3716428"/>
                  <a:gd name="connsiteY1264" fmla="*/ 479741 h 1528729"/>
                  <a:gd name="connsiteX1265" fmla="*/ 1203387 w 3716428"/>
                  <a:gd name="connsiteY1265" fmla="*/ 491596 h 1528729"/>
                  <a:gd name="connsiteX1266" fmla="*/ 1215698 w 3716428"/>
                  <a:gd name="connsiteY1266" fmla="*/ 502425 h 1528729"/>
                  <a:gd name="connsiteX1267" fmla="*/ 1232796 w 3716428"/>
                  <a:gd name="connsiteY1267" fmla="*/ 501798 h 1528729"/>
                  <a:gd name="connsiteX1268" fmla="*/ 1276625 w 3716428"/>
                  <a:gd name="connsiteY1268" fmla="*/ 521803 h 1528729"/>
                  <a:gd name="connsiteX1269" fmla="*/ 1266651 w 3716428"/>
                  <a:gd name="connsiteY1269" fmla="*/ 512741 h 1528729"/>
                  <a:gd name="connsiteX1270" fmla="*/ 1257988 w 3716428"/>
                  <a:gd name="connsiteY1270" fmla="*/ 503052 h 1528729"/>
                  <a:gd name="connsiteX1271" fmla="*/ 1224304 w 3716428"/>
                  <a:gd name="connsiteY1271" fmla="*/ 482021 h 1528729"/>
                  <a:gd name="connsiteX1272" fmla="*/ 1220998 w 3716428"/>
                  <a:gd name="connsiteY1272" fmla="*/ 474441 h 1528729"/>
                  <a:gd name="connsiteX1273" fmla="*/ 1235931 w 3716428"/>
                  <a:gd name="connsiteY1273" fmla="*/ 472446 h 1528729"/>
                  <a:gd name="connsiteX1274" fmla="*/ 1266936 w 3716428"/>
                  <a:gd name="connsiteY1274" fmla="*/ 487835 h 1528729"/>
                  <a:gd name="connsiteX1275" fmla="*/ 1268931 w 3716428"/>
                  <a:gd name="connsiteY1275" fmla="*/ 472674 h 1528729"/>
                  <a:gd name="connsiteX1276" fmla="*/ 1253941 w 3716428"/>
                  <a:gd name="connsiteY1276" fmla="*/ 463954 h 1528729"/>
                  <a:gd name="connsiteX1277" fmla="*/ 1239807 w 3716428"/>
                  <a:gd name="connsiteY1277" fmla="*/ 454037 h 1528729"/>
                  <a:gd name="connsiteX1278" fmla="*/ 1239237 w 3716428"/>
                  <a:gd name="connsiteY1278" fmla="*/ 450275 h 1528729"/>
                  <a:gd name="connsiteX1279" fmla="*/ 1242485 w 3716428"/>
                  <a:gd name="connsiteY1279" fmla="*/ 447539 h 1528729"/>
                  <a:gd name="connsiteX1280" fmla="*/ 1250465 w 3716428"/>
                  <a:gd name="connsiteY1280" fmla="*/ 443835 h 1528729"/>
                  <a:gd name="connsiteX1281" fmla="*/ 1256164 w 3716428"/>
                  <a:gd name="connsiteY1281" fmla="*/ 442581 h 1528729"/>
                  <a:gd name="connsiteX1282" fmla="*/ 1261009 w 3716428"/>
                  <a:gd name="connsiteY1282" fmla="*/ 446000 h 1528729"/>
                  <a:gd name="connsiteX1283" fmla="*/ 1302330 w 3716428"/>
                  <a:gd name="connsiteY1283" fmla="*/ 453410 h 1528729"/>
                  <a:gd name="connsiteX1284" fmla="*/ 1340801 w 3716428"/>
                  <a:gd name="connsiteY1284" fmla="*/ 483446 h 1528729"/>
                  <a:gd name="connsiteX1285" fmla="*/ 1351231 w 3716428"/>
                  <a:gd name="connsiteY1285" fmla="*/ 484301 h 1528729"/>
                  <a:gd name="connsiteX1286" fmla="*/ 1357729 w 3716428"/>
                  <a:gd name="connsiteY1286" fmla="*/ 458311 h 1528729"/>
                  <a:gd name="connsiteX1287" fmla="*/ 1323874 w 3716428"/>
                  <a:gd name="connsiteY1287" fmla="*/ 446399 h 1528729"/>
                  <a:gd name="connsiteX1288" fmla="*/ 1319884 w 3716428"/>
                  <a:gd name="connsiteY1288" fmla="*/ 440700 h 1528729"/>
                  <a:gd name="connsiteX1289" fmla="*/ 1321822 w 3716428"/>
                  <a:gd name="connsiteY1289" fmla="*/ 433975 h 1528729"/>
                  <a:gd name="connsiteX1290" fmla="*/ 1314698 w 3716428"/>
                  <a:gd name="connsiteY1290" fmla="*/ 420866 h 1528729"/>
                  <a:gd name="connsiteX1291" fmla="*/ 1323475 w 3716428"/>
                  <a:gd name="connsiteY1291" fmla="*/ 405420 h 1528729"/>
                  <a:gd name="connsiteX1292" fmla="*/ 1343138 w 3716428"/>
                  <a:gd name="connsiteY1292" fmla="*/ 405933 h 1528729"/>
                  <a:gd name="connsiteX1293" fmla="*/ 1362744 w 3716428"/>
                  <a:gd name="connsiteY1293" fmla="*/ 405933 h 1528729"/>
                  <a:gd name="connsiteX1294" fmla="*/ 1374998 w 3716428"/>
                  <a:gd name="connsiteY1294" fmla="*/ 398866 h 1528729"/>
                  <a:gd name="connsiteX1295" fmla="*/ 1397112 w 3716428"/>
                  <a:gd name="connsiteY1295" fmla="*/ 394648 h 1528729"/>
                  <a:gd name="connsiteX1296" fmla="*/ 1445273 w 3716428"/>
                  <a:gd name="connsiteY1296" fmla="*/ 387980 h 1528729"/>
                  <a:gd name="connsiteX1297" fmla="*/ 1450972 w 3716428"/>
                  <a:gd name="connsiteY1297" fmla="*/ 385529 h 1528729"/>
                  <a:gd name="connsiteX1298" fmla="*/ 1453138 w 3716428"/>
                  <a:gd name="connsiteY1298" fmla="*/ 378120 h 1528729"/>
                  <a:gd name="connsiteX1299" fmla="*/ 1457298 w 3716428"/>
                  <a:gd name="connsiteY1299" fmla="*/ 343923 h 1528729"/>
                  <a:gd name="connsiteX1300" fmla="*/ 1459692 w 3716428"/>
                  <a:gd name="connsiteY1300" fmla="*/ 337027 h 1528729"/>
                  <a:gd name="connsiteX1301" fmla="*/ 1472573 w 3716428"/>
                  <a:gd name="connsiteY1301" fmla="*/ 330586 h 1528729"/>
                  <a:gd name="connsiteX1302" fmla="*/ 1525521 w 3716428"/>
                  <a:gd name="connsiteY1302" fmla="*/ 311607 h 1528729"/>
                  <a:gd name="connsiteX1303" fmla="*/ 1558407 w 3716428"/>
                  <a:gd name="connsiteY1303" fmla="*/ 293768 h 1528729"/>
                  <a:gd name="connsiteX1304" fmla="*/ 1585024 w 3716428"/>
                  <a:gd name="connsiteY1304" fmla="*/ 291203 h 1528729"/>
                  <a:gd name="connsiteX1305" fmla="*/ 1608220 w 3716428"/>
                  <a:gd name="connsiteY1305" fmla="*/ 293996 h 1528729"/>
                  <a:gd name="connsiteX1306" fmla="*/ 1623666 w 3716428"/>
                  <a:gd name="connsiteY1306" fmla="*/ 300607 h 1528729"/>
                  <a:gd name="connsiteX1307" fmla="*/ 1657863 w 3716428"/>
                  <a:gd name="connsiteY1307" fmla="*/ 285503 h 1528729"/>
                  <a:gd name="connsiteX1308" fmla="*/ 1692744 w 3716428"/>
                  <a:gd name="connsiteY1308" fmla="*/ 276213 h 1528729"/>
                  <a:gd name="connsiteX1309" fmla="*/ 1694283 w 3716428"/>
                  <a:gd name="connsiteY1309" fmla="*/ 312006 h 1528729"/>
                  <a:gd name="connsiteX1310" fmla="*/ 1657977 w 3716428"/>
                  <a:gd name="connsiteY1310" fmla="*/ 330187 h 1528729"/>
                  <a:gd name="connsiteX1311" fmla="*/ 1646236 w 3716428"/>
                  <a:gd name="connsiteY1311" fmla="*/ 344778 h 1528729"/>
                  <a:gd name="connsiteX1312" fmla="*/ 1651308 w 3716428"/>
                  <a:gd name="connsiteY1312" fmla="*/ 351047 h 1528729"/>
                  <a:gd name="connsiteX1313" fmla="*/ 1651308 w 3716428"/>
                  <a:gd name="connsiteY1313" fmla="*/ 362446 h 1528729"/>
                  <a:gd name="connsiteX1314" fmla="*/ 1657008 w 3716428"/>
                  <a:gd name="connsiteY1314" fmla="*/ 364498 h 1528729"/>
                  <a:gd name="connsiteX1315" fmla="*/ 1679806 w 3716428"/>
                  <a:gd name="connsiteY1315" fmla="*/ 359311 h 1528729"/>
                  <a:gd name="connsiteX1316" fmla="*/ 1691205 w 3716428"/>
                  <a:gd name="connsiteY1316" fmla="*/ 343467 h 1528729"/>
                  <a:gd name="connsiteX1317" fmla="*/ 1705340 w 3716428"/>
                  <a:gd name="connsiteY1317" fmla="*/ 337369 h 1528729"/>
                  <a:gd name="connsiteX1318" fmla="*/ 1711780 w 3716428"/>
                  <a:gd name="connsiteY1318" fmla="*/ 330529 h 1528729"/>
                  <a:gd name="connsiteX1319" fmla="*/ 1728080 w 3716428"/>
                  <a:gd name="connsiteY1319" fmla="*/ 288923 h 1528729"/>
                  <a:gd name="connsiteX1320" fmla="*/ 1695992 w 3716428"/>
                  <a:gd name="connsiteY1320" fmla="*/ 265156 h 1528729"/>
                  <a:gd name="connsiteX1321" fmla="*/ 1709386 w 3716428"/>
                  <a:gd name="connsiteY1321" fmla="*/ 262591 h 1528729"/>
                  <a:gd name="connsiteX1322" fmla="*/ 1731557 w 3716428"/>
                  <a:gd name="connsiteY1322" fmla="*/ 260483 h 1528729"/>
                  <a:gd name="connsiteX1323" fmla="*/ 1732925 w 3716428"/>
                  <a:gd name="connsiteY1323" fmla="*/ 235861 h 1528729"/>
                  <a:gd name="connsiteX1324" fmla="*/ 1742272 w 3716428"/>
                  <a:gd name="connsiteY1324" fmla="*/ 228281 h 1528729"/>
                  <a:gd name="connsiteX1325" fmla="*/ 1744495 w 3716428"/>
                  <a:gd name="connsiteY1325" fmla="*/ 217566 h 1528729"/>
                  <a:gd name="connsiteX1326" fmla="*/ 1760624 w 3716428"/>
                  <a:gd name="connsiteY1326" fmla="*/ 208959 h 1528729"/>
                  <a:gd name="connsiteX1327" fmla="*/ 1762334 w 3716428"/>
                  <a:gd name="connsiteY1327" fmla="*/ 204913 h 1528729"/>
                  <a:gd name="connsiteX1328" fmla="*/ 1766381 w 3716428"/>
                  <a:gd name="connsiteY1328" fmla="*/ 203146 h 1528729"/>
                  <a:gd name="connsiteX1329" fmla="*/ 1791630 w 3716428"/>
                  <a:gd name="connsiteY1329" fmla="*/ 198130 h 1528729"/>
                  <a:gd name="connsiteX1330" fmla="*/ 1801547 w 3716428"/>
                  <a:gd name="connsiteY1330" fmla="*/ 197560 h 1528729"/>
                  <a:gd name="connsiteX1331" fmla="*/ 1812091 w 3716428"/>
                  <a:gd name="connsiteY1331" fmla="*/ 202405 h 1528729"/>
                  <a:gd name="connsiteX1332" fmla="*/ 1825827 w 3716428"/>
                  <a:gd name="connsiteY1332" fmla="*/ 205597 h 1528729"/>
                  <a:gd name="connsiteX1333" fmla="*/ 1831811 w 3716428"/>
                  <a:gd name="connsiteY1333" fmla="*/ 216540 h 1528729"/>
                  <a:gd name="connsiteX1334" fmla="*/ 1815795 w 3716428"/>
                  <a:gd name="connsiteY1334" fmla="*/ 220985 h 1528729"/>
                  <a:gd name="connsiteX1335" fmla="*/ 1800122 w 3716428"/>
                  <a:gd name="connsiteY1335" fmla="*/ 226229 h 1528729"/>
                  <a:gd name="connsiteX1336" fmla="*/ 1806220 w 3716428"/>
                  <a:gd name="connsiteY1336" fmla="*/ 237172 h 1528729"/>
                  <a:gd name="connsiteX1337" fmla="*/ 1814028 w 3716428"/>
                  <a:gd name="connsiteY1337" fmla="*/ 229591 h 1528729"/>
                  <a:gd name="connsiteX1338" fmla="*/ 1820811 w 3716428"/>
                  <a:gd name="connsiteY1338" fmla="*/ 230674 h 1528729"/>
                  <a:gd name="connsiteX1339" fmla="*/ 1858427 w 3716428"/>
                  <a:gd name="connsiteY1339" fmla="*/ 237001 h 1528729"/>
                  <a:gd name="connsiteX1340" fmla="*/ 1857744 w 3716428"/>
                  <a:gd name="connsiteY1340" fmla="*/ 245550 h 1528729"/>
                  <a:gd name="connsiteX1341" fmla="*/ 1853184 w 3716428"/>
                  <a:gd name="connsiteY1341" fmla="*/ 248571 h 1528729"/>
                  <a:gd name="connsiteX1342" fmla="*/ 1844749 w 3716428"/>
                  <a:gd name="connsiteY1342" fmla="*/ 263617 h 1528729"/>
                  <a:gd name="connsiteX1343" fmla="*/ 1880086 w 3716428"/>
                  <a:gd name="connsiteY1343" fmla="*/ 264757 h 1528729"/>
                  <a:gd name="connsiteX1344" fmla="*/ 1902884 w 3716428"/>
                  <a:gd name="connsiteY1344" fmla="*/ 249654 h 1528729"/>
                  <a:gd name="connsiteX1345" fmla="*/ 1932692 w 3716428"/>
                  <a:gd name="connsiteY1345" fmla="*/ 258260 h 1528729"/>
                  <a:gd name="connsiteX1346" fmla="*/ 1962557 w 3716428"/>
                  <a:gd name="connsiteY1346" fmla="*/ 261167 h 1528729"/>
                  <a:gd name="connsiteX1347" fmla="*/ 1978686 w 3716428"/>
                  <a:gd name="connsiteY1347" fmla="*/ 268519 h 1528729"/>
                  <a:gd name="connsiteX1348" fmla="*/ 1978288 w 3716428"/>
                  <a:gd name="connsiteY1348" fmla="*/ 278493 h 1528729"/>
                  <a:gd name="connsiteX1349" fmla="*/ 1996127 w 3716428"/>
                  <a:gd name="connsiteY1349" fmla="*/ 288296 h 1528729"/>
                  <a:gd name="connsiteX1350" fmla="*/ 2007526 w 3716428"/>
                  <a:gd name="connsiteY1350" fmla="*/ 291773 h 1528729"/>
                  <a:gd name="connsiteX1351" fmla="*/ 2007526 w 3716428"/>
                  <a:gd name="connsiteY1351" fmla="*/ 298441 h 1528729"/>
                  <a:gd name="connsiteX1352" fmla="*/ 1998977 w 3716428"/>
                  <a:gd name="connsiteY1352" fmla="*/ 308928 h 1528729"/>
                  <a:gd name="connsiteX1353" fmla="*/ 2003593 w 3716428"/>
                  <a:gd name="connsiteY1353" fmla="*/ 313317 h 1528729"/>
                  <a:gd name="connsiteX1354" fmla="*/ 1997893 w 3716428"/>
                  <a:gd name="connsiteY1354" fmla="*/ 321809 h 1528729"/>
                  <a:gd name="connsiteX1355" fmla="*/ 1986494 w 3716428"/>
                  <a:gd name="connsiteY1355" fmla="*/ 324260 h 1528729"/>
                  <a:gd name="connsiteX1356" fmla="*/ 1976008 w 3716428"/>
                  <a:gd name="connsiteY1356" fmla="*/ 335659 h 1528729"/>
                  <a:gd name="connsiteX1357" fmla="*/ 1969567 w 3716428"/>
                  <a:gd name="connsiteY1357" fmla="*/ 337881 h 1528729"/>
                  <a:gd name="connsiteX1358" fmla="*/ 1963868 w 3716428"/>
                  <a:gd name="connsiteY1358" fmla="*/ 345348 h 1528729"/>
                  <a:gd name="connsiteX1359" fmla="*/ 1953039 w 3716428"/>
                  <a:gd name="connsiteY1359" fmla="*/ 352016 h 1528729"/>
                  <a:gd name="connsiteX1360" fmla="*/ 1930355 w 3716428"/>
                  <a:gd name="connsiteY1360" fmla="*/ 360565 h 1528729"/>
                  <a:gd name="connsiteX1361" fmla="*/ 1912230 w 3716428"/>
                  <a:gd name="connsiteY1361" fmla="*/ 371964 h 1528729"/>
                  <a:gd name="connsiteX1362" fmla="*/ 1906018 w 3716428"/>
                  <a:gd name="connsiteY1362" fmla="*/ 378405 h 1528729"/>
                  <a:gd name="connsiteX1363" fmla="*/ 1900318 w 3716428"/>
                  <a:gd name="connsiteY1363" fmla="*/ 379602 h 1528729"/>
                  <a:gd name="connsiteX1364" fmla="*/ 1894163 w 3716428"/>
                  <a:gd name="connsiteY1364" fmla="*/ 383591 h 1528729"/>
                  <a:gd name="connsiteX1365" fmla="*/ 1869712 w 3716428"/>
                  <a:gd name="connsiteY1365" fmla="*/ 392026 h 1528729"/>
                  <a:gd name="connsiteX1366" fmla="*/ 1860821 w 3716428"/>
                  <a:gd name="connsiteY1366" fmla="*/ 394306 h 1528729"/>
                  <a:gd name="connsiteX1367" fmla="*/ 1858656 w 3716428"/>
                  <a:gd name="connsiteY1367" fmla="*/ 399151 h 1528729"/>
                  <a:gd name="connsiteX1368" fmla="*/ 1842640 w 3716428"/>
                  <a:gd name="connsiteY1368" fmla="*/ 408954 h 1528729"/>
                  <a:gd name="connsiteX1369" fmla="*/ 1830101 w 3716428"/>
                  <a:gd name="connsiteY1369" fmla="*/ 427876 h 1528729"/>
                  <a:gd name="connsiteX1370" fmla="*/ 1833178 w 3716428"/>
                  <a:gd name="connsiteY1370" fmla="*/ 437850 h 1528729"/>
                  <a:gd name="connsiteX1371" fmla="*/ 1839334 w 3716428"/>
                  <a:gd name="connsiteY1371" fmla="*/ 425026 h 1528729"/>
                  <a:gd name="connsiteX1372" fmla="*/ 1843951 w 3716428"/>
                  <a:gd name="connsiteY1372" fmla="*/ 424001 h 1528729"/>
                  <a:gd name="connsiteX1373" fmla="*/ 1864868 w 3716428"/>
                  <a:gd name="connsiteY1373" fmla="*/ 423374 h 1528729"/>
                  <a:gd name="connsiteX1374" fmla="*/ 1922888 w 3716428"/>
                  <a:gd name="connsiteY1374" fmla="*/ 404109 h 1528729"/>
                  <a:gd name="connsiteX1375" fmla="*/ 1930412 w 3716428"/>
                  <a:gd name="connsiteY1375" fmla="*/ 405021 h 1528729"/>
                  <a:gd name="connsiteX1376" fmla="*/ 1935370 w 3716428"/>
                  <a:gd name="connsiteY1376" fmla="*/ 400120 h 1528729"/>
                  <a:gd name="connsiteX1377" fmla="*/ 1922375 w 3716428"/>
                  <a:gd name="connsiteY1377" fmla="*/ 394420 h 1528729"/>
                  <a:gd name="connsiteX1378" fmla="*/ 1917987 w 3716428"/>
                  <a:gd name="connsiteY1378" fmla="*/ 383648 h 1528729"/>
                  <a:gd name="connsiteX1379" fmla="*/ 1939531 w 3716428"/>
                  <a:gd name="connsiteY1379" fmla="*/ 378747 h 1528729"/>
                  <a:gd name="connsiteX1380" fmla="*/ 1943064 w 3716428"/>
                  <a:gd name="connsiteY1380" fmla="*/ 378747 h 1528729"/>
                  <a:gd name="connsiteX1381" fmla="*/ 1946997 w 3716428"/>
                  <a:gd name="connsiteY1381" fmla="*/ 381311 h 1528729"/>
                  <a:gd name="connsiteX1382" fmla="*/ 1968484 w 3716428"/>
                  <a:gd name="connsiteY1382" fmla="*/ 393907 h 1528729"/>
                  <a:gd name="connsiteX1383" fmla="*/ 1977033 w 3716428"/>
                  <a:gd name="connsiteY1383" fmla="*/ 402680 h 1528729"/>
                  <a:gd name="connsiteX1384" fmla="*/ 1984614 w 3716428"/>
                  <a:gd name="connsiteY1384" fmla="*/ 398410 h 1528729"/>
                  <a:gd name="connsiteX1385" fmla="*/ 1987407 w 3716428"/>
                  <a:gd name="connsiteY1385" fmla="*/ 389120 h 1528729"/>
                  <a:gd name="connsiteX1386" fmla="*/ 1994872 w 3716428"/>
                  <a:gd name="connsiteY1386" fmla="*/ 385073 h 1528729"/>
                  <a:gd name="connsiteX1387" fmla="*/ 1996070 w 3716428"/>
                  <a:gd name="connsiteY1387" fmla="*/ 399721 h 1528729"/>
                  <a:gd name="connsiteX1388" fmla="*/ 1996070 w 3716428"/>
                  <a:gd name="connsiteY1388" fmla="*/ 414539 h 1528729"/>
                  <a:gd name="connsiteX1389" fmla="*/ 2008267 w 3716428"/>
                  <a:gd name="connsiteY1389" fmla="*/ 417332 h 1528729"/>
                  <a:gd name="connsiteX1390" fmla="*/ 2009578 w 3716428"/>
                  <a:gd name="connsiteY1390" fmla="*/ 402513 h 1528729"/>
                  <a:gd name="connsiteX1391" fmla="*/ 2019893 w 3716428"/>
                  <a:gd name="connsiteY1391" fmla="*/ 397327 h 1528729"/>
                  <a:gd name="connsiteX1392" fmla="*/ 2032033 w 3716428"/>
                  <a:gd name="connsiteY1392" fmla="*/ 399151 h 1528729"/>
                  <a:gd name="connsiteX1393" fmla="*/ 2044173 w 3716428"/>
                  <a:gd name="connsiteY1393" fmla="*/ 397897 h 1528729"/>
                  <a:gd name="connsiteX1394" fmla="*/ 2089769 w 3716428"/>
                  <a:gd name="connsiteY1394" fmla="*/ 412317 h 1528729"/>
                  <a:gd name="connsiteX1395" fmla="*/ 2106867 w 3716428"/>
                  <a:gd name="connsiteY1395" fmla="*/ 411291 h 1528729"/>
                  <a:gd name="connsiteX1396" fmla="*/ 2113365 w 3716428"/>
                  <a:gd name="connsiteY1396" fmla="*/ 415280 h 1528729"/>
                  <a:gd name="connsiteX1397" fmla="*/ 2122940 w 3716428"/>
                  <a:gd name="connsiteY1397" fmla="*/ 420068 h 1528729"/>
                  <a:gd name="connsiteX1398" fmla="*/ 2157137 w 3716428"/>
                  <a:gd name="connsiteY1398" fmla="*/ 430042 h 1528729"/>
                  <a:gd name="connsiteX1399" fmla="*/ 2219261 w 3716428"/>
                  <a:gd name="connsiteY1399" fmla="*/ 431752 h 1528729"/>
                  <a:gd name="connsiteX1400" fmla="*/ 2218406 w 3716428"/>
                  <a:gd name="connsiteY1400" fmla="*/ 414653 h 1528729"/>
                  <a:gd name="connsiteX1401" fmla="*/ 2231971 w 3716428"/>
                  <a:gd name="connsiteY1401" fmla="*/ 407472 h 1528729"/>
                  <a:gd name="connsiteX1402" fmla="*/ 2285204 w 3716428"/>
                  <a:gd name="connsiteY1402" fmla="*/ 420467 h 1528729"/>
                  <a:gd name="connsiteX1403" fmla="*/ 2302131 w 3716428"/>
                  <a:gd name="connsiteY1403" fmla="*/ 435542 h 1528729"/>
                  <a:gd name="connsiteX1404" fmla="*/ 2306976 w 3716428"/>
                  <a:gd name="connsiteY1404" fmla="*/ 434488 h 1528729"/>
                  <a:gd name="connsiteX1405" fmla="*/ 2320598 w 3716428"/>
                  <a:gd name="connsiteY1405" fmla="*/ 429244 h 1528729"/>
                  <a:gd name="connsiteX1406" fmla="*/ 2327722 w 3716428"/>
                  <a:gd name="connsiteY1406" fmla="*/ 435684 h 1528729"/>
                  <a:gd name="connsiteX1407" fmla="*/ 2334960 w 3716428"/>
                  <a:gd name="connsiteY1407" fmla="*/ 443037 h 1528729"/>
                  <a:gd name="connsiteX1408" fmla="*/ 2333421 w 3716428"/>
                  <a:gd name="connsiteY1408" fmla="*/ 452042 h 1528729"/>
                  <a:gd name="connsiteX1409" fmla="*/ 2348012 w 3716428"/>
                  <a:gd name="connsiteY1409" fmla="*/ 457171 h 1528729"/>
                  <a:gd name="connsiteX1410" fmla="*/ 2343567 w 3716428"/>
                  <a:gd name="connsiteY1410" fmla="*/ 464752 h 1528729"/>
                  <a:gd name="connsiteX1411" fmla="*/ 2332909 w 3716428"/>
                  <a:gd name="connsiteY1411" fmla="*/ 460819 h 1528729"/>
                  <a:gd name="connsiteX1412" fmla="*/ 2323276 w 3716428"/>
                  <a:gd name="connsiteY1412" fmla="*/ 463840 h 1528729"/>
                  <a:gd name="connsiteX1413" fmla="*/ 2328976 w 3716428"/>
                  <a:gd name="connsiteY1413" fmla="*/ 471990 h 1528729"/>
                  <a:gd name="connsiteX1414" fmla="*/ 2360095 w 3716428"/>
                  <a:gd name="connsiteY1414" fmla="*/ 510747 h 1528729"/>
                  <a:gd name="connsiteX1415" fmla="*/ 2378561 w 3716428"/>
                  <a:gd name="connsiteY1415" fmla="*/ 518099 h 1528729"/>
                  <a:gd name="connsiteX1416" fmla="*/ 2381639 w 3716428"/>
                  <a:gd name="connsiteY1416" fmla="*/ 524767 h 1528729"/>
                  <a:gd name="connsiteX1417" fmla="*/ 2400733 w 3716428"/>
                  <a:gd name="connsiteY1417" fmla="*/ 529726 h 1528729"/>
                  <a:gd name="connsiteX1418" fmla="*/ 2396857 w 3716428"/>
                  <a:gd name="connsiteY1418" fmla="*/ 519182 h 1528729"/>
                  <a:gd name="connsiteX1419" fmla="*/ 2413328 w 3716428"/>
                  <a:gd name="connsiteY1419" fmla="*/ 495985 h 1528729"/>
                  <a:gd name="connsiteX1420" fmla="*/ 2437437 w 3716428"/>
                  <a:gd name="connsiteY1420" fmla="*/ 497581 h 1528729"/>
                  <a:gd name="connsiteX1421" fmla="*/ 2491183 w 3716428"/>
                  <a:gd name="connsiteY1421" fmla="*/ 512285 h 1528729"/>
                  <a:gd name="connsiteX1422" fmla="*/ 2524126 w 3716428"/>
                  <a:gd name="connsiteY1422" fmla="*/ 509493 h 1528729"/>
                  <a:gd name="connsiteX1423" fmla="*/ 2531022 w 3716428"/>
                  <a:gd name="connsiteY1423" fmla="*/ 506358 h 1528729"/>
                  <a:gd name="connsiteX1424" fmla="*/ 2544245 w 3716428"/>
                  <a:gd name="connsiteY1424" fmla="*/ 509151 h 1528729"/>
                  <a:gd name="connsiteX1425" fmla="*/ 2548462 w 3716428"/>
                  <a:gd name="connsiteY1425" fmla="*/ 504135 h 1528729"/>
                  <a:gd name="connsiteX1426" fmla="*/ 2569095 w 3716428"/>
                  <a:gd name="connsiteY1426" fmla="*/ 502425 h 1528729"/>
                  <a:gd name="connsiteX1427" fmla="*/ 2581007 w 3716428"/>
                  <a:gd name="connsiteY1427" fmla="*/ 494389 h 1528729"/>
                  <a:gd name="connsiteX1428" fmla="*/ 2588359 w 3716428"/>
                  <a:gd name="connsiteY1428" fmla="*/ 486809 h 1528729"/>
                  <a:gd name="connsiteX1429" fmla="*/ 2572856 w 3716428"/>
                  <a:gd name="connsiteY1429" fmla="*/ 474954 h 1528729"/>
                  <a:gd name="connsiteX1430" fmla="*/ 2582147 w 3716428"/>
                  <a:gd name="connsiteY1430" fmla="*/ 464923 h 1528729"/>
                  <a:gd name="connsiteX1431" fmla="*/ 2575136 w 3716428"/>
                  <a:gd name="connsiteY1431" fmla="*/ 460990 h 1528729"/>
                  <a:gd name="connsiteX1432" fmla="*/ 2577017 w 3716428"/>
                  <a:gd name="connsiteY1432" fmla="*/ 449990 h 1528729"/>
                  <a:gd name="connsiteX1433" fmla="*/ 2589499 w 3716428"/>
                  <a:gd name="connsiteY1433" fmla="*/ 447881 h 1528729"/>
                  <a:gd name="connsiteX1434" fmla="*/ 2603805 w 3716428"/>
                  <a:gd name="connsiteY1434" fmla="*/ 448394 h 1528729"/>
                  <a:gd name="connsiteX1435" fmla="*/ 2600214 w 3716428"/>
                  <a:gd name="connsiteY1435" fmla="*/ 439617 h 1528729"/>
                  <a:gd name="connsiteX1436" fmla="*/ 2607167 w 3716428"/>
                  <a:gd name="connsiteY1436" fmla="*/ 431467 h 1528729"/>
                  <a:gd name="connsiteX1437" fmla="*/ 2618566 w 3716428"/>
                  <a:gd name="connsiteY1437" fmla="*/ 433918 h 1528729"/>
                  <a:gd name="connsiteX1438" fmla="*/ 2629623 w 3716428"/>
                  <a:gd name="connsiteY1438" fmla="*/ 438021 h 1528729"/>
                  <a:gd name="connsiteX1439" fmla="*/ 2638857 w 3716428"/>
                  <a:gd name="connsiteY1439" fmla="*/ 437394 h 1528729"/>
                  <a:gd name="connsiteX1440" fmla="*/ 2654188 w 3716428"/>
                  <a:gd name="connsiteY1440" fmla="*/ 436710 h 1528729"/>
                  <a:gd name="connsiteX1441" fmla="*/ 2665929 w 3716428"/>
                  <a:gd name="connsiteY1441" fmla="*/ 439959 h 1528729"/>
                  <a:gd name="connsiteX1442" fmla="*/ 2668779 w 3716428"/>
                  <a:gd name="connsiteY1442" fmla="*/ 450845 h 1528729"/>
                  <a:gd name="connsiteX1443" fmla="*/ 2677271 w 3716428"/>
                  <a:gd name="connsiteY1443" fmla="*/ 451586 h 1528729"/>
                  <a:gd name="connsiteX1444" fmla="*/ 2681830 w 3716428"/>
                  <a:gd name="connsiteY1444" fmla="*/ 458197 h 1528729"/>
                  <a:gd name="connsiteX1445" fmla="*/ 2681830 w 3716428"/>
                  <a:gd name="connsiteY1445" fmla="*/ 460705 h 1528729"/>
                  <a:gd name="connsiteX1446" fmla="*/ 2683882 w 3716428"/>
                  <a:gd name="connsiteY1446" fmla="*/ 462244 h 1528729"/>
                  <a:gd name="connsiteX1447" fmla="*/ 2709587 w 3716428"/>
                  <a:gd name="connsiteY1447" fmla="*/ 467943 h 1528729"/>
                  <a:gd name="connsiteX1448" fmla="*/ 2707136 w 3716428"/>
                  <a:gd name="connsiteY1448" fmla="*/ 476151 h 1528729"/>
                  <a:gd name="connsiteX1449" fmla="*/ 2696478 w 3716428"/>
                  <a:gd name="connsiteY1449" fmla="*/ 476778 h 1528729"/>
                  <a:gd name="connsiteX1450" fmla="*/ 2690152 w 3716428"/>
                  <a:gd name="connsiteY1450" fmla="*/ 483674 h 1528729"/>
                  <a:gd name="connsiteX1451" fmla="*/ 2702976 w 3716428"/>
                  <a:gd name="connsiteY1451" fmla="*/ 488234 h 1528729"/>
                  <a:gd name="connsiteX1452" fmla="*/ 2704287 w 3716428"/>
                  <a:gd name="connsiteY1452" fmla="*/ 497695 h 1528729"/>
                  <a:gd name="connsiteX1453" fmla="*/ 2706794 w 3716428"/>
                  <a:gd name="connsiteY1453" fmla="*/ 498094 h 1528729"/>
                  <a:gd name="connsiteX1454" fmla="*/ 2714318 w 3716428"/>
                  <a:gd name="connsiteY1454" fmla="*/ 496954 h 1528729"/>
                  <a:gd name="connsiteX1455" fmla="*/ 2718421 w 3716428"/>
                  <a:gd name="connsiteY1455" fmla="*/ 491254 h 1528729"/>
                  <a:gd name="connsiteX1456" fmla="*/ 2718079 w 3716428"/>
                  <a:gd name="connsiteY1456" fmla="*/ 487607 h 1528729"/>
                  <a:gd name="connsiteX1457" fmla="*/ 2728053 w 3716428"/>
                  <a:gd name="connsiteY1457" fmla="*/ 483731 h 1528729"/>
                  <a:gd name="connsiteX1458" fmla="*/ 2729877 w 3716428"/>
                  <a:gd name="connsiteY1458" fmla="*/ 480596 h 1528729"/>
                  <a:gd name="connsiteX1459" fmla="*/ 2732670 w 3716428"/>
                  <a:gd name="connsiteY1459" fmla="*/ 468342 h 1528729"/>
                  <a:gd name="connsiteX1460" fmla="*/ 2733582 w 3716428"/>
                  <a:gd name="connsiteY1460" fmla="*/ 464125 h 1528729"/>
                  <a:gd name="connsiteX1461" fmla="*/ 2742245 w 3716428"/>
                  <a:gd name="connsiteY1461" fmla="*/ 461982 h 1528729"/>
                  <a:gd name="connsiteX1462" fmla="*/ 2744410 w 3716428"/>
                  <a:gd name="connsiteY1462" fmla="*/ 464125 h 1528729"/>
                  <a:gd name="connsiteX1463" fmla="*/ 2747831 w 3716428"/>
                  <a:gd name="connsiteY1463" fmla="*/ 476208 h 1528729"/>
                  <a:gd name="connsiteX1464" fmla="*/ 2753530 w 3716428"/>
                  <a:gd name="connsiteY1464" fmla="*/ 477177 h 1528729"/>
                  <a:gd name="connsiteX1465" fmla="*/ 2763219 w 3716428"/>
                  <a:gd name="connsiteY1465" fmla="*/ 483902 h 1528729"/>
                  <a:gd name="connsiteX1466" fmla="*/ 2775815 w 3716428"/>
                  <a:gd name="connsiteY1466" fmla="*/ 480368 h 1528729"/>
                  <a:gd name="connsiteX1467" fmla="*/ 2800494 w 3716428"/>
                  <a:gd name="connsiteY1467" fmla="*/ 474669 h 1528729"/>
                  <a:gd name="connsiteX1468" fmla="*/ 2799126 w 3716428"/>
                  <a:gd name="connsiteY1468" fmla="*/ 482614 h 1528729"/>
                  <a:gd name="connsiteX1469" fmla="*/ 2798727 w 3716428"/>
                  <a:gd name="connsiteY1469" fmla="*/ 482876 h 1528729"/>
                  <a:gd name="connsiteX1470" fmla="*/ 2793426 w 3716428"/>
                  <a:gd name="connsiteY1470" fmla="*/ 484187 h 1528729"/>
                  <a:gd name="connsiteX1471" fmla="*/ 2790747 w 3716428"/>
                  <a:gd name="connsiteY1471" fmla="*/ 488348 h 1528729"/>
                  <a:gd name="connsiteX1472" fmla="*/ 2792742 w 3716428"/>
                  <a:gd name="connsiteY1472" fmla="*/ 490000 h 1528729"/>
                  <a:gd name="connsiteX1473" fmla="*/ 2809841 w 3716428"/>
                  <a:gd name="connsiteY1473" fmla="*/ 491482 h 1528729"/>
                  <a:gd name="connsiteX1474" fmla="*/ 2812918 w 3716428"/>
                  <a:gd name="connsiteY1474" fmla="*/ 498778 h 1528729"/>
                  <a:gd name="connsiteX1475" fmla="*/ 2826654 w 3716428"/>
                  <a:gd name="connsiteY1475" fmla="*/ 500544 h 1528729"/>
                  <a:gd name="connsiteX1476" fmla="*/ 2831841 w 3716428"/>
                  <a:gd name="connsiteY1476" fmla="*/ 506871 h 1528729"/>
                  <a:gd name="connsiteX1477" fmla="*/ 2835089 w 3716428"/>
                  <a:gd name="connsiteY1477" fmla="*/ 505047 h 1528729"/>
                  <a:gd name="connsiteX1478" fmla="*/ 2847799 w 3716428"/>
                  <a:gd name="connsiteY1478" fmla="*/ 506643 h 1528729"/>
                  <a:gd name="connsiteX1479" fmla="*/ 2850706 w 3716428"/>
                  <a:gd name="connsiteY1479" fmla="*/ 509949 h 1528729"/>
                  <a:gd name="connsiteX1480" fmla="*/ 2854182 w 3716428"/>
                  <a:gd name="connsiteY1480" fmla="*/ 511373 h 1528729"/>
                  <a:gd name="connsiteX1481" fmla="*/ 2855266 w 3716428"/>
                  <a:gd name="connsiteY1481" fmla="*/ 519752 h 1528729"/>
                  <a:gd name="connsiteX1482" fmla="*/ 2862846 w 3716428"/>
                  <a:gd name="connsiteY1482" fmla="*/ 524972 h 1528729"/>
                  <a:gd name="connsiteX1483" fmla="*/ 2864613 w 3716428"/>
                  <a:gd name="connsiteY1483" fmla="*/ 524368 h 1528729"/>
                  <a:gd name="connsiteX1484" fmla="*/ 2933462 w 3716428"/>
                  <a:gd name="connsiteY1484" fmla="*/ 527845 h 1528729"/>
                  <a:gd name="connsiteX1485" fmla="*/ 2951130 w 3716428"/>
                  <a:gd name="connsiteY1485" fmla="*/ 531265 h 1528729"/>
                  <a:gd name="connsiteX1486" fmla="*/ 2961447 w 3716428"/>
                  <a:gd name="connsiteY1486" fmla="*/ 535425 h 1528729"/>
                  <a:gd name="connsiteX1487" fmla="*/ 2984586 w 3716428"/>
                  <a:gd name="connsiteY1487" fmla="*/ 535425 h 1528729"/>
                  <a:gd name="connsiteX1488" fmla="*/ 3018042 w 3716428"/>
                  <a:gd name="connsiteY1488" fmla="*/ 540099 h 1528729"/>
                  <a:gd name="connsiteX1489" fmla="*/ 3026079 w 3716428"/>
                  <a:gd name="connsiteY1489" fmla="*/ 553778 h 1528729"/>
                  <a:gd name="connsiteX1490" fmla="*/ 3022317 w 3716428"/>
                  <a:gd name="connsiteY1490" fmla="*/ 557197 h 1528729"/>
                  <a:gd name="connsiteX1491" fmla="*/ 3023685 w 3716428"/>
                  <a:gd name="connsiteY1491" fmla="*/ 577715 h 1528729"/>
                  <a:gd name="connsiteX1492" fmla="*/ 3044545 w 3716428"/>
                  <a:gd name="connsiteY1492" fmla="*/ 574695 h 1528729"/>
                  <a:gd name="connsiteX1493" fmla="*/ 3050928 w 3716428"/>
                  <a:gd name="connsiteY1493" fmla="*/ 588316 h 1528729"/>
                  <a:gd name="connsiteX1494" fmla="*/ 3053436 w 3716428"/>
                  <a:gd name="connsiteY1494" fmla="*/ 603876 h 1528729"/>
                  <a:gd name="connsiteX1495" fmla="*/ 3061814 w 3716428"/>
                  <a:gd name="connsiteY1495" fmla="*/ 599601 h 1528729"/>
                  <a:gd name="connsiteX1496" fmla="*/ 3063524 w 3716428"/>
                  <a:gd name="connsiteY1496" fmla="*/ 587461 h 1528729"/>
                  <a:gd name="connsiteX1497" fmla="*/ 3069223 w 3716428"/>
                  <a:gd name="connsiteY1497" fmla="*/ 583928 h 1528729"/>
                  <a:gd name="connsiteX1498" fmla="*/ 3141835 w 3716428"/>
                  <a:gd name="connsiteY1498" fmla="*/ 593446 h 1528729"/>
                  <a:gd name="connsiteX1499" fmla="*/ 3147535 w 3716428"/>
                  <a:gd name="connsiteY1499" fmla="*/ 596923 h 1528729"/>
                  <a:gd name="connsiteX1500" fmla="*/ 3155628 w 3716428"/>
                  <a:gd name="connsiteY1500" fmla="*/ 598461 h 1528729"/>
                  <a:gd name="connsiteX1501" fmla="*/ 3197918 w 3716428"/>
                  <a:gd name="connsiteY1501" fmla="*/ 591793 h 1528729"/>
                  <a:gd name="connsiteX1502" fmla="*/ 3207436 w 3716428"/>
                  <a:gd name="connsiteY1502" fmla="*/ 589057 h 1528729"/>
                  <a:gd name="connsiteX1503" fmla="*/ 3210229 w 3716428"/>
                  <a:gd name="connsiteY1503" fmla="*/ 592705 h 1528729"/>
                  <a:gd name="connsiteX1504" fmla="*/ 3217980 w 3716428"/>
                  <a:gd name="connsiteY1504" fmla="*/ 594301 h 1528729"/>
                  <a:gd name="connsiteX1505" fmla="*/ 3237985 w 3716428"/>
                  <a:gd name="connsiteY1505" fmla="*/ 609176 h 1528729"/>
                  <a:gd name="connsiteX1506" fmla="*/ 3252063 w 3716428"/>
                  <a:gd name="connsiteY1506" fmla="*/ 612311 h 1528729"/>
                  <a:gd name="connsiteX1507" fmla="*/ 3270700 w 3716428"/>
                  <a:gd name="connsiteY1507" fmla="*/ 607638 h 1528729"/>
                  <a:gd name="connsiteX1508" fmla="*/ 3273094 w 3716428"/>
                  <a:gd name="connsiteY1508" fmla="*/ 598917 h 1528729"/>
                  <a:gd name="connsiteX1509" fmla="*/ 3260783 w 3716428"/>
                  <a:gd name="connsiteY1509" fmla="*/ 584384 h 1528729"/>
                  <a:gd name="connsiteX1510" fmla="*/ 3250980 w 3716428"/>
                  <a:gd name="connsiteY1510" fmla="*/ 573897 h 1528729"/>
                  <a:gd name="connsiteX1511" fmla="*/ 3265456 w 3716428"/>
                  <a:gd name="connsiteY1511" fmla="*/ 553436 h 1528729"/>
                  <a:gd name="connsiteX1512" fmla="*/ 3269446 w 3716428"/>
                  <a:gd name="connsiteY1512" fmla="*/ 553208 h 1528729"/>
                  <a:gd name="connsiteX1513" fmla="*/ 3279249 w 3716428"/>
                  <a:gd name="connsiteY1513" fmla="*/ 564037 h 1528729"/>
                  <a:gd name="connsiteX1514" fmla="*/ 3290933 w 3716428"/>
                  <a:gd name="connsiteY1514" fmla="*/ 573669 h 1528729"/>
                  <a:gd name="connsiteX1515" fmla="*/ 3330145 w 3716428"/>
                  <a:gd name="connsiteY1515" fmla="*/ 577829 h 1528729"/>
                  <a:gd name="connsiteX1516" fmla="*/ 3386456 w 3716428"/>
                  <a:gd name="connsiteY1516" fmla="*/ 564892 h 1528729"/>
                  <a:gd name="connsiteX1517" fmla="*/ 3389648 w 3716428"/>
                  <a:gd name="connsiteY1517" fmla="*/ 574695 h 1528729"/>
                  <a:gd name="connsiteX1518" fmla="*/ 3434161 w 3716428"/>
                  <a:gd name="connsiteY1518" fmla="*/ 583700 h 1528729"/>
                  <a:gd name="connsiteX1519" fmla="*/ 3442311 w 3716428"/>
                  <a:gd name="connsiteY1519" fmla="*/ 593674 h 1528729"/>
                  <a:gd name="connsiteX1520" fmla="*/ 3457700 w 3716428"/>
                  <a:gd name="connsiteY1520" fmla="*/ 599031 h 1528729"/>
                  <a:gd name="connsiteX1521" fmla="*/ 3463057 w 3716428"/>
                  <a:gd name="connsiteY1521" fmla="*/ 601653 h 1528729"/>
                  <a:gd name="connsiteX1522" fmla="*/ 3465622 w 3716428"/>
                  <a:gd name="connsiteY1522" fmla="*/ 610202 h 1528729"/>
                  <a:gd name="connsiteX1523" fmla="*/ 3475653 w 3716428"/>
                  <a:gd name="connsiteY1523" fmla="*/ 612254 h 1528729"/>
                  <a:gd name="connsiteX1524" fmla="*/ 3479073 w 3716428"/>
                  <a:gd name="connsiteY1524" fmla="*/ 621031 h 1528729"/>
                  <a:gd name="connsiteX1525" fmla="*/ 3475026 w 3716428"/>
                  <a:gd name="connsiteY1525" fmla="*/ 625705 h 1528729"/>
                  <a:gd name="connsiteX1526" fmla="*/ 3480726 w 3716428"/>
                  <a:gd name="connsiteY1526" fmla="*/ 633114 h 1528729"/>
                  <a:gd name="connsiteX1527" fmla="*/ 3482435 w 3716428"/>
                  <a:gd name="connsiteY1527" fmla="*/ 641492 h 1528729"/>
                  <a:gd name="connsiteX1528" fmla="*/ 3491441 w 3716428"/>
                  <a:gd name="connsiteY1528" fmla="*/ 642974 h 1528729"/>
                  <a:gd name="connsiteX1529" fmla="*/ 3500617 w 3716428"/>
                  <a:gd name="connsiteY1529" fmla="*/ 651637 h 1528729"/>
                  <a:gd name="connsiteX1530" fmla="*/ 3507855 w 3716428"/>
                  <a:gd name="connsiteY1530" fmla="*/ 654658 h 1528729"/>
                  <a:gd name="connsiteX1531" fmla="*/ 3558808 w 3716428"/>
                  <a:gd name="connsiteY1531" fmla="*/ 660358 h 1528729"/>
                  <a:gd name="connsiteX1532" fmla="*/ 3569523 w 3716428"/>
                  <a:gd name="connsiteY1532" fmla="*/ 663948 h 1528729"/>
                  <a:gd name="connsiteX1533" fmla="*/ 3574710 w 3716428"/>
                  <a:gd name="connsiteY1533" fmla="*/ 670446 h 1528729"/>
                  <a:gd name="connsiteX1534" fmla="*/ 3578585 w 3716428"/>
                  <a:gd name="connsiteY1534" fmla="*/ 695124 h 1528729"/>
                  <a:gd name="connsiteX1535" fmla="*/ 3584285 w 3716428"/>
                  <a:gd name="connsiteY1535" fmla="*/ 705554 h 1528729"/>
                  <a:gd name="connsiteX1536" fmla="*/ 3601270 w 3716428"/>
                  <a:gd name="connsiteY1536" fmla="*/ 703748 h 1528729"/>
                  <a:gd name="connsiteX1537" fmla="*/ 3601383 w 3716428"/>
                  <a:gd name="connsiteY1537" fmla="*/ 703617 h 1528729"/>
                  <a:gd name="connsiteX1538" fmla="*/ 3602523 w 3716428"/>
                  <a:gd name="connsiteY1538" fmla="*/ 700197 h 1528729"/>
                  <a:gd name="connsiteX1539" fmla="*/ 3596824 w 3716428"/>
                  <a:gd name="connsiteY1539" fmla="*/ 694782 h 1528729"/>
                  <a:gd name="connsiteX1540" fmla="*/ 3594943 w 3716428"/>
                  <a:gd name="connsiteY1540" fmla="*/ 682352 h 1528729"/>
                  <a:gd name="connsiteX1541" fmla="*/ 3607368 w 3716428"/>
                  <a:gd name="connsiteY1541" fmla="*/ 680471 h 1528729"/>
                  <a:gd name="connsiteX1542" fmla="*/ 3610389 w 3716428"/>
                  <a:gd name="connsiteY1542" fmla="*/ 684409 h 1528729"/>
                  <a:gd name="connsiteX1543" fmla="*/ 3612440 w 3716428"/>
                  <a:gd name="connsiteY1543" fmla="*/ 689368 h 1528729"/>
                  <a:gd name="connsiteX1544" fmla="*/ 3621559 w 3716428"/>
                  <a:gd name="connsiteY1544" fmla="*/ 690793 h 1528729"/>
                  <a:gd name="connsiteX1545" fmla="*/ 3631021 w 3716428"/>
                  <a:gd name="connsiteY1545" fmla="*/ 698772 h 1528729"/>
                  <a:gd name="connsiteX1546" fmla="*/ 3669435 w 3716428"/>
                  <a:gd name="connsiteY1546" fmla="*/ 710171 h 1528729"/>
                  <a:gd name="connsiteX1547" fmla="*/ 3675135 w 3716428"/>
                  <a:gd name="connsiteY1547" fmla="*/ 715016 h 1528729"/>
                  <a:gd name="connsiteX1548" fmla="*/ 3675135 w 3716428"/>
                  <a:gd name="connsiteY1548" fmla="*/ 718207 h 1528729"/>
                  <a:gd name="connsiteX1549" fmla="*/ 3678839 w 3716428"/>
                  <a:gd name="connsiteY1549" fmla="*/ 723907 h 1528729"/>
                  <a:gd name="connsiteX1550" fmla="*/ 3678041 w 3716428"/>
                  <a:gd name="connsiteY1550" fmla="*/ 736446 h 1528729"/>
                  <a:gd name="connsiteX1551" fmla="*/ 1926194 w 3716428"/>
                  <a:gd name="connsiteY1551" fmla="*/ 1106569 h 1528729"/>
                  <a:gd name="connsiteX1552" fmla="*/ 1915365 w 3716428"/>
                  <a:gd name="connsiteY1552" fmla="*/ 1088388 h 1528729"/>
                  <a:gd name="connsiteX1553" fmla="*/ 1899749 w 3716428"/>
                  <a:gd name="connsiteY1553" fmla="*/ 1105999 h 1528729"/>
                  <a:gd name="connsiteX1554" fmla="*/ 1890230 w 3716428"/>
                  <a:gd name="connsiteY1554" fmla="*/ 1129424 h 1528729"/>
                  <a:gd name="connsiteX1555" fmla="*/ 1882194 w 3716428"/>
                  <a:gd name="connsiteY1555" fmla="*/ 1133414 h 1528729"/>
                  <a:gd name="connsiteX1556" fmla="*/ 1876039 w 3716428"/>
                  <a:gd name="connsiteY1556" fmla="*/ 1143103 h 1528729"/>
                  <a:gd name="connsiteX1557" fmla="*/ 1826738 w 3716428"/>
                  <a:gd name="connsiteY1557" fmla="*/ 1189839 h 1528729"/>
                  <a:gd name="connsiteX1558" fmla="*/ 1818474 w 3716428"/>
                  <a:gd name="connsiteY1558" fmla="*/ 1209445 h 1528729"/>
                  <a:gd name="connsiteX1559" fmla="*/ 1804909 w 3716428"/>
                  <a:gd name="connsiteY1559" fmla="*/ 1212580 h 1528729"/>
                  <a:gd name="connsiteX1560" fmla="*/ 1792712 w 3716428"/>
                  <a:gd name="connsiteY1560" fmla="*/ 1218735 h 1528729"/>
                  <a:gd name="connsiteX1561" fmla="*/ 1794137 w 3716428"/>
                  <a:gd name="connsiteY1561" fmla="*/ 1229684 h 1528729"/>
                  <a:gd name="connsiteX1562" fmla="*/ 1795391 w 3716428"/>
                  <a:gd name="connsiteY1562" fmla="*/ 1230476 h 1528729"/>
                  <a:gd name="connsiteX1563" fmla="*/ 1801090 w 3716428"/>
                  <a:gd name="connsiteY1563" fmla="*/ 1230476 h 1528729"/>
                  <a:gd name="connsiteX1564" fmla="*/ 1840987 w 3716428"/>
                  <a:gd name="connsiteY1564" fmla="*/ 1215144 h 1528729"/>
                  <a:gd name="connsiteX1565" fmla="*/ 1864355 w 3716428"/>
                  <a:gd name="connsiteY1565" fmla="*/ 1193771 h 1528729"/>
                  <a:gd name="connsiteX1566" fmla="*/ 1872961 w 3716428"/>
                  <a:gd name="connsiteY1566" fmla="*/ 1190238 h 1528729"/>
                  <a:gd name="connsiteX1567" fmla="*/ 1876438 w 3716428"/>
                  <a:gd name="connsiteY1567" fmla="*/ 1182429 h 1528729"/>
                  <a:gd name="connsiteX1568" fmla="*/ 1898038 w 3716428"/>
                  <a:gd name="connsiteY1568" fmla="*/ 1180378 h 1528729"/>
                  <a:gd name="connsiteX1569" fmla="*/ 1926023 w 3716428"/>
                  <a:gd name="connsiteY1569" fmla="*/ 1106569 h 1528729"/>
                  <a:gd name="connsiteX1570" fmla="*/ 2986980 w 3716428"/>
                  <a:gd name="connsiteY1570" fmla="*/ 1186989 h 1528729"/>
                  <a:gd name="connsiteX1571" fmla="*/ 2986353 w 3716428"/>
                  <a:gd name="connsiteY1571" fmla="*/ 1189440 h 1528729"/>
                  <a:gd name="connsiteX1572" fmla="*/ 2986809 w 3716428"/>
                  <a:gd name="connsiteY1572" fmla="*/ 1186989 h 15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Lst>
                <a:rect l="l" t="t" r="r" b="b"/>
                <a:pathLst>
                  <a:path w="3716428" h="1528729">
                    <a:moveTo>
                      <a:pt x="609559" y="47778"/>
                    </a:moveTo>
                    <a:cubicBezTo>
                      <a:pt x="611189" y="46930"/>
                      <a:pt x="613024" y="46555"/>
                      <a:pt x="614859" y="46695"/>
                    </a:cubicBezTo>
                    <a:cubicBezTo>
                      <a:pt x="623636" y="46068"/>
                      <a:pt x="630875" y="39970"/>
                      <a:pt x="638569" y="35752"/>
                    </a:cubicBezTo>
                    <a:cubicBezTo>
                      <a:pt x="646554" y="31318"/>
                      <a:pt x="655439" y="28745"/>
                      <a:pt x="664559" y="28229"/>
                    </a:cubicBezTo>
                    <a:cubicBezTo>
                      <a:pt x="666052" y="28045"/>
                      <a:pt x="667568" y="28181"/>
                      <a:pt x="669004" y="28628"/>
                    </a:cubicBezTo>
                    <a:cubicBezTo>
                      <a:pt x="673621" y="30509"/>
                      <a:pt x="673450" y="37861"/>
                      <a:pt x="669688" y="41110"/>
                    </a:cubicBezTo>
                    <a:cubicBezTo>
                      <a:pt x="665539" y="43994"/>
                      <a:pt x="660432" y="45158"/>
                      <a:pt x="655439" y="44359"/>
                    </a:cubicBezTo>
                    <a:cubicBezTo>
                      <a:pt x="649740" y="44359"/>
                      <a:pt x="643243" y="43732"/>
                      <a:pt x="639823" y="48120"/>
                    </a:cubicBezTo>
                    <a:cubicBezTo>
                      <a:pt x="637429" y="51141"/>
                      <a:pt x="637372" y="55587"/>
                      <a:pt x="634693" y="58379"/>
                    </a:cubicBezTo>
                    <a:cubicBezTo>
                      <a:pt x="631815" y="60444"/>
                      <a:pt x="628498" y="61809"/>
                      <a:pt x="625004" y="62369"/>
                    </a:cubicBezTo>
                    <a:cubicBezTo>
                      <a:pt x="619305" y="64478"/>
                      <a:pt x="614460" y="69436"/>
                      <a:pt x="608362" y="71089"/>
                    </a:cubicBezTo>
                    <a:cubicBezTo>
                      <a:pt x="599357" y="73483"/>
                      <a:pt x="589838" y="67897"/>
                      <a:pt x="580605" y="69550"/>
                    </a:cubicBezTo>
                    <a:cubicBezTo>
                      <a:pt x="583056" y="67270"/>
                      <a:pt x="582030" y="63110"/>
                      <a:pt x="583398" y="60089"/>
                    </a:cubicBezTo>
                    <a:cubicBezTo>
                      <a:pt x="585222" y="56214"/>
                      <a:pt x="590237" y="55359"/>
                      <a:pt x="594797" y="55245"/>
                    </a:cubicBezTo>
                    <a:cubicBezTo>
                      <a:pt x="599055" y="55830"/>
                      <a:pt x="603358" y="54587"/>
                      <a:pt x="606652" y="51825"/>
                    </a:cubicBezTo>
                    <a:cubicBezTo>
                      <a:pt x="607507" y="50514"/>
                      <a:pt x="608077" y="48747"/>
                      <a:pt x="609559" y="47778"/>
                    </a:cubicBezTo>
                    <a:close/>
                    <a:moveTo>
                      <a:pt x="720641" y="65960"/>
                    </a:moveTo>
                    <a:cubicBezTo>
                      <a:pt x="720636" y="62790"/>
                      <a:pt x="720368" y="59625"/>
                      <a:pt x="719843" y="56498"/>
                    </a:cubicBezTo>
                    <a:cubicBezTo>
                      <a:pt x="719786" y="55456"/>
                      <a:pt x="719359" y="54467"/>
                      <a:pt x="718647" y="53706"/>
                    </a:cubicBezTo>
                    <a:cubicBezTo>
                      <a:pt x="717911" y="53188"/>
                      <a:pt x="717039" y="52891"/>
                      <a:pt x="716139" y="52851"/>
                    </a:cubicBezTo>
                    <a:cubicBezTo>
                      <a:pt x="710724" y="52136"/>
                      <a:pt x="705230" y="52368"/>
                      <a:pt x="699895" y="53535"/>
                    </a:cubicBezTo>
                    <a:cubicBezTo>
                      <a:pt x="699895" y="55986"/>
                      <a:pt x="697729" y="57923"/>
                      <a:pt x="697330" y="60317"/>
                    </a:cubicBezTo>
                    <a:cubicBezTo>
                      <a:pt x="696932" y="62711"/>
                      <a:pt x="699610" y="66017"/>
                      <a:pt x="702403" y="67555"/>
                    </a:cubicBezTo>
                    <a:cubicBezTo>
                      <a:pt x="706735" y="69856"/>
                      <a:pt x="711665" y="70790"/>
                      <a:pt x="716538" y="70234"/>
                    </a:cubicBezTo>
                    <a:cubicBezTo>
                      <a:pt x="717866" y="70260"/>
                      <a:pt x="719137" y="69696"/>
                      <a:pt x="720015" y="68695"/>
                    </a:cubicBezTo>
                    <a:cubicBezTo>
                      <a:pt x="720476" y="67860"/>
                      <a:pt x="720693" y="66913"/>
                      <a:pt x="720641" y="65960"/>
                    </a:cubicBezTo>
                    <a:close/>
                    <a:moveTo>
                      <a:pt x="782823" y="22815"/>
                    </a:moveTo>
                    <a:cubicBezTo>
                      <a:pt x="780879" y="23090"/>
                      <a:pt x="778901" y="22793"/>
                      <a:pt x="777123" y="21960"/>
                    </a:cubicBezTo>
                    <a:cubicBezTo>
                      <a:pt x="774958" y="20706"/>
                      <a:pt x="774103" y="18141"/>
                      <a:pt x="772792" y="16260"/>
                    </a:cubicBezTo>
                    <a:cubicBezTo>
                      <a:pt x="771481" y="14379"/>
                      <a:pt x="768802" y="12328"/>
                      <a:pt x="766636" y="13524"/>
                    </a:cubicBezTo>
                    <a:cubicBezTo>
                      <a:pt x="766636" y="14835"/>
                      <a:pt x="765211" y="15690"/>
                      <a:pt x="763901" y="15690"/>
                    </a:cubicBezTo>
                    <a:cubicBezTo>
                      <a:pt x="762612" y="15576"/>
                      <a:pt x="761313" y="15576"/>
                      <a:pt x="760025" y="15690"/>
                    </a:cubicBezTo>
                    <a:cubicBezTo>
                      <a:pt x="756035" y="16659"/>
                      <a:pt x="756776" y="22872"/>
                      <a:pt x="754325" y="26063"/>
                    </a:cubicBezTo>
                    <a:cubicBezTo>
                      <a:pt x="752251" y="28010"/>
                      <a:pt x="749469" y="29019"/>
                      <a:pt x="746631" y="28856"/>
                    </a:cubicBezTo>
                    <a:cubicBezTo>
                      <a:pt x="743804" y="28736"/>
                      <a:pt x="741023" y="29603"/>
                      <a:pt x="738766" y="31307"/>
                    </a:cubicBezTo>
                    <a:cubicBezTo>
                      <a:pt x="736771" y="33245"/>
                      <a:pt x="737170" y="37519"/>
                      <a:pt x="739906" y="37975"/>
                    </a:cubicBezTo>
                    <a:cubicBezTo>
                      <a:pt x="755465" y="33074"/>
                      <a:pt x="771766" y="43219"/>
                      <a:pt x="788066" y="42820"/>
                    </a:cubicBezTo>
                    <a:cubicBezTo>
                      <a:pt x="792387" y="43032"/>
                      <a:pt x="796610" y="41467"/>
                      <a:pt x="799750" y="38488"/>
                    </a:cubicBezTo>
                    <a:cubicBezTo>
                      <a:pt x="800571" y="37329"/>
                      <a:pt x="801483" y="36243"/>
                      <a:pt x="802486" y="35239"/>
                    </a:cubicBezTo>
                    <a:cubicBezTo>
                      <a:pt x="804601" y="33971"/>
                      <a:pt x="806943" y="33137"/>
                      <a:pt x="809382" y="32789"/>
                    </a:cubicBezTo>
                    <a:cubicBezTo>
                      <a:pt x="811776" y="32105"/>
                      <a:pt x="814284" y="30281"/>
                      <a:pt x="814113" y="27830"/>
                    </a:cubicBezTo>
                    <a:cubicBezTo>
                      <a:pt x="811890" y="27374"/>
                      <a:pt x="811320" y="24467"/>
                      <a:pt x="809553" y="23043"/>
                    </a:cubicBezTo>
                    <a:cubicBezTo>
                      <a:pt x="807849" y="22005"/>
                      <a:pt x="805820" y="21620"/>
                      <a:pt x="803854" y="21960"/>
                    </a:cubicBezTo>
                    <a:close/>
                    <a:moveTo>
                      <a:pt x="784988" y="15234"/>
                    </a:moveTo>
                    <a:cubicBezTo>
                      <a:pt x="790682" y="15567"/>
                      <a:pt x="796393" y="15567"/>
                      <a:pt x="802087" y="15234"/>
                    </a:cubicBezTo>
                    <a:cubicBezTo>
                      <a:pt x="805153" y="14997"/>
                      <a:pt x="808197" y="14559"/>
                      <a:pt x="811206" y="13923"/>
                    </a:cubicBezTo>
                    <a:cubicBezTo>
                      <a:pt x="813321" y="13741"/>
                      <a:pt x="815321" y="12882"/>
                      <a:pt x="816906" y="11473"/>
                    </a:cubicBezTo>
                    <a:cubicBezTo>
                      <a:pt x="818273" y="10048"/>
                      <a:pt x="819014" y="7768"/>
                      <a:pt x="820952" y="7426"/>
                    </a:cubicBezTo>
                    <a:cubicBezTo>
                      <a:pt x="820143" y="3929"/>
                      <a:pt x="817470" y="1166"/>
                      <a:pt x="813999" y="245"/>
                    </a:cubicBezTo>
                    <a:cubicBezTo>
                      <a:pt x="810659" y="-302"/>
                      <a:pt x="807228" y="72"/>
                      <a:pt x="804082" y="1328"/>
                    </a:cubicBezTo>
                    <a:lnTo>
                      <a:pt x="791201" y="5146"/>
                    </a:lnTo>
                    <a:cubicBezTo>
                      <a:pt x="789520" y="5509"/>
                      <a:pt x="787930" y="6206"/>
                      <a:pt x="786527" y="7198"/>
                    </a:cubicBezTo>
                    <a:cubicBezTo>
                      <a:pt x="784156" y="9151"/>
                      <a:pt x="783427" y="12468"/>
                      <a:pt x="784761" y="15234"/>
                    </a:cubicBezTo>
                    <a:close/>
                    <a:moveTo>
                      <a:pt x="820097" y="66530"/>
                    </a:moveTo>
                    <a:cubicBezTo>
                      <a:pt x="822292" y="65527"/>
                      <a:pt x="824759" y="65286"/>
                      <a:pt x="827108" y="65846"/>
                    </a:cubicBezTo>
                    <a:cubicBezTo>
                      <a:pt x="831462" y="66187"/>
                      <a:pt x="835845" y="65564"/>
                      <a:pt x="839931" y="64022"/>
                    </a:cubicBezTo>
                    <a:cubicBezTo>
                      <a:pt x="842667" y="62996"/>
                      <a:pt x="845631" y="61001"/>
                      <a:pt x="845631" y="58322"/>
                    </a:cubicBezTo>
                    <a:cubicBezTo>
                      <a:pt x="845631" y="55644"/>
                      <a:pt x="842382" y="53478"/>
                      <a:pt x="839589" y="52623"/>
                    </a:cubicBezTo>
                    <a:cubicBezTo>
                      <a:pt x="832893" y="50121"/>
                      <a:pt x="825865" y="48624"/>
                      <a:pt x="818730" y="48177"/>
                    </a:cubicBezTo>
                    <a:cubicBezTo>
                      <a:pt x="817538" y="48034"/>
                      <a:pt x="816336" y="48150"/>
                      <a:pt x="815196" y="48519"/>
                    </a:cubicBezTo>
                    <a:cubicBezTo>
                      <a:pt x="812346" y="49659"/>
                      <a:pt x="811491" y="53307"/>
                      <a:pt x="809496" y="55416"/>
                    </a:cubicBezTo>
                    <a:cubicBezTo>
                      <a:pt x="806305" y="58493"/>
                      <a:pt x="801289" y="57923"/>
                      <a:pt x="796958" y="57980"/>
                    </a:cubicBezTo>
                    <a:cubicBezTo>
                      <a:pt x="790722" y="58181"/>
                      <a:pt x="784669" y="60158"/>
                      <a:pt x="779517" y="63680"/>
                    </a:cubicBezTo>
                    <a:cubicBezTo>
                      <a:pt x="776211" y="65903"/>
                      <a:pt x="773134" y="70177"/>
                      <a:pt x="775243" y="73540"/>
                    </a:cubicBezTo>
                    <a:cubicBezTo>
                      <a:pt x="777351" y="76903"/>
                      <a:pt x="780429" y="76390"/>
                      <a:pt x="783450" y="76333"/>
                    </a:cubicBezTo>
                    <a:lnTo>
                      <a:pt x="801517" y="76333"/>
                    </a:lnTo>
                    <a:cubicBezTo>
                      <a:pt x="807051" y="77051"/>
                      <a:pt x="812631" y="75324"/>
                      <a:pt x="816792" y="71602"/>
                    </a:cubicBezTo>
                    <a:cubicBezTo>
                      <a:pt x="817573" y="69741"/>
                      <a:pt x="818695" y="68040"/>
                      <a:pt x="820097" y="66587"/>
                    </a:cubicBezTo>
                    <a:close/>
                    <a:moveTo>
                      <a:pt x="902170" y="30623"/>
                    </a:moveTo>
                    <a:cubicBezTo>
                      <a:pt x="900488" y="27969"/>
                      <a:pt x="897958" y="25961"/>
                      <a:pt x="894989" y="24923"/>
                    </a:cubicBezTo>
                    <a:cubicBezTo>
                      <a:pt x="893244" y="24572"/>
                      <a:pt x="891460" y="24476"/>
                      <a:pt x="889688" y="24638"/>
                    </a:cubicBezTo>
                    <a:lnTo>
                      <a:pt x="874812" y="25436"/>
                    </a:lnTo>
                    <a:cubicBezTo>
                      <a:pt x="873644" y="25407"/>
                      <a:pt x="872476" y="25620"/>
                      <a:pt x="871393" y="26063"/>
                    </a:cubicBezTo>
                    <a:cubicBezTo>
                      <a:pt x="868999" y="27317"/>
                      <a:pt x="868372" y="30338"/>
                      <a:pt x="867346" y="32789"/>
                    </a:cubicBezTo>
                    <a:cubicBezTo>
                      <a:pt x="864696" y="38592"/>
                      <a:pt x="858717" y="42137"/>
                      <a:pt x="852356" y="41680"/>
                    </a:cubicBezTo>
                    <a:cubicBezTo>
                      <a:pt x="852886" y="45478"/>
                      <a:pt x="855103" y="48832"/>
                      <a:pt x="858398" y="50799"/>
                    </a:cubicBezTo>
                    <a:cubicBezTo>
                      <a:pt x="861943" y="52536"/>
                      <a:pt x="865847" y="53414"/>
                      <a:pt x="869797" y="53364"/>
                    </a:cubicBezTo>
                    <a:cubicBezTo>
                      <a:pt x="875935" y="54441"/>
                      <a:pt x="882256" y="53245"/>
                      <a:pt x="887579" y="50001"/>
                    </a:cubicBezTo>
                    <a:cubicBezTo>
                      <a:pt x="889973" y="48063"/>
                      <a:pt x="891740" y="45214"/>
                      <a:pt x="894647" y="44302"/>
                    </a:cubicBezTo>
                    <a:cubicBezTo>
                      <a:pt x="895849" y="43913"/>
                      <a:pt x="897091" y="43664"/>
                      <a:pt x="898351" y="43561"/>
                    </a:cubicBezTo>
                    <a:cubicBezTo>
                      <a:pt x="901076" y="43200"/>
                      <a:pt x="903754" y="42530"/>
                      <a:pt x="906330" y="41566"/>
                    </a:cubicBezTo>
                    <a:cubicBezTo>
                      <a:pt x="909095" y="40876"/>
                      <a:pt x="911409" y="38998"/>
                      <a:pt x="912657" y="36436"/>
                    </a:cubicBezTo>
                    <a:cubicBezTo>
                      <a:pt x="909778" y="36427"/>
                      <a:pt x="906974" y="35531"/>
                      <a:pt x="904621" y="33872"/>
                    </a:cubicBezTo>
                    <a:cubicBezTo>
                      <a:pt x="903680" y="32908"/>
                      <a:pt x="902859" y="31836"/>
                      <a:pt x="902170" y="30680"/>
                    </a:cubicBezTo>
                    <a:close/>
                    <a:moveTo>
                      <a:pt x="956144" y="20991"/>
                    </a:moveTo>
                    <a:cubicBezTo>
                      <a:pt x="954747" y="20884"/>
                      <a:pt x="953351" y="21159"/>
                      <a:pt x="952097" y="21789"/>
                    </a:cubicBezTo>
                    <a:lnTo>
                      <a:pt x="928387" y="31535"/>
                    </a:lnTo>
                    <a:cubicBezTo>
                      <a:pt x="926911" y="33916"/>
                      <a:pt x="927646" y="37043"/>
                      <a:pt x="930029" y="38518"/>
                    </a:cubicBezTo>
                    <a:cubicBezTo>
                      <a:pt x="930109" y="38567"/>
                      <a:pt x="930188" y="38615"/>
                      <a:pt x="930268" y="38659"/>
                    </a:cubicBezTo>
                    <a:cubicBezTo>
                      <a:pt x="933118" y="40027"/>
                      <a:pt x="936423" y="38374"/>
                      <a:pt x="939558" y="37747"/>
                    </a:cubicBezTo>
                    <a:cubicBezTo>
                      <a:pt x="941718" y="37343"/>
                      <a:pt x="943918" y="37190"/>
                      <a:pt x="946113" y="37291"/>
                    </a:cubicBezTo>
                    <a:lnTo>
                      <a:pt x="967543" y="37291"/>
                    </a:lnTo>
                    <a:cubicBezTo>
                      <a:pt x="968238" y="34259"/>
                      <a:pt x="967526" y="31076"/>
                      <a:pt x="965605" y="28628"/>
                    </a:cubicBezTo>
                    <a:cubicBezTo>
                      <a:pt x="963690" y="26211"/>
                      <a:pt x="961427" y="24097"/>
                      <a:pt x="958879" y="22359"/>
                    </a:cubicBezTo>
                    <a:cubicBezTo>
                      <a:pt x="958059" y="21752"/>
                      <a:pt x="957130" y="21307"/>
                      <a:pt x="956144" y="21048"/>
                    </a:cubicBezTo>
                    <a:close/>
                    <a:moveTo>
                      <a:pt x="608476" y="574581"/>
                    </a:moveTo>
                    <a:cubicBezTo>
                      <a:pt x="605398" y="577145"/>
                      <a:pt x="603346" y="581078"/>
                      <a:pt x="599699" y="582845"/>
                    </a:cubicBezTo>
                    <a:cubicBezTo>
                      <a:pt x="598063" y="583392"/>
                      <a:pt x="596496" y="584116"/>
                      <a:pt x="595025" y="585011"/>
                    </a:cubicBezTo>
                    <a:cubicBezTo>
                      <a:pt x="592774" y="587530"/>
                      <a:pt x="592586" y="591280"/>
                      <a:pt x="594569" y="594016"/>
                    </a:cubicBezTo>
                    <a:cubicBezTo>
                      <a:pt x="596570" y="596626"/>
                      <a:pt x="598821" y="599031"/>
                      <a:pt x="601294" y="601197"/>
                    </a:cubicBezTo>
                    <a:cubicBezTo>
                      <a:pt x="603779" y="603414"/>
                      <a:pt x="604959" y="606743"/>
                      <a:pt x="604429" y="610031"/>
                    </a:cubicBezTo>
                    <a:lnTo>
                      <a:pt x="618849" y="610031"/>
                    </a:lnTo>
                    <a:cubicBezTo>
                      <a:pt x="621539" y="610328"/>
                      <a:pt x="624246" y="609667"/>
                      <a:pt x="626486" y="608150"/>
                    </a:cubicBezTo>
                    <a:cubicBezTo>
                      <a:pt x="628538" y="606384"/>
                      <a:pt x="628595" y="602451"/>
                      <a:pt x="626087" y="601539"/>
                    </a:cubicBezTo>
                    <a:cubicBezTo>
                      <a:pt x="630373" y="600684"/>
                      <a:pt x="634585" y="599482"/>
                      <a:pt x="638683" y="597948"/>
                    </a:cubicBezTo>
                    <a:cubicBezTo>
                      <a:pt x="639754" y="597686"/>
                      <a:pt x="640712" y="597088"/>
                      <a:pt x="641419" y="596239"/>
                    </a:cubicBezTo>
                    <a:cubicBezTo>
                      <a:pt x="641875" y="595395"/>
                      <a:pt x="642131" y="594460"/>
                      <a:pt x="642160" y="593503"/>
                    </a:cubicBezTo>
                    <a:lnTo>
                      <a:pt x="642958" y="585125"/>
                    </a:lnTo>
                    <a:cubicBezTo>
                      <a:pt x="643756" y="582873"/>
                      <a:pt x="642690" y="580388"/>
                      <a:pt x="640507" y="579425"/>
                    </a:cubicBezTo>
                    <a:cubicBezTo>
                      <a:pt x="635765" y="576114"/>
                      <a:pt x="630533" y="573555"/>
                      <a:pt x="625004" y="571845"/>
                    </a:cubicBezTo>
                    <a:cubicBezTo>
                      <a:pt x="619236" y="570027"/>
                      <a:pt x="612956" y="571064"/>
                      <a:pt x="608077" y="574638"/>
                    </a:cubicBezTo>
                    <a:close/>
                    <a:moveTo>
                      <a:pt x="772564" y="343980"/>
                    </a:moveTo>
                    <a:cubicBezTo>
                      <a:pt x="775391" y="354414"/>
                      <a:pt x="770153" y="365347"/>
                      <a:pt x="760253" y="369685"/>
                    </a:cubicBezTo>
                    <a:cubicBezTo>
                      <a:pt x="753983" y="372192"/>
                      <a:pt x="745833" y="372135"/>
                      <a:pt x="742242" y="377835"/>
                    </a:cubicBezTo>
                    <a:cubicBezTo>
                      <a:pt x="739450" y="382223"/>
                      <a:pt x="740817" y="387923"/>
                      <a:pt x="740989" y="393109"/>
                    </a:cubicBezTo>
                    <a:cubicBezTo>
                      <a:pt x="741159" y="398296"/>
                      <a:pt x="738367" y="404508"/>
                      <a:pt x="733180" y="404508"/>
                    </a:cubicBezTo>
                    <a:lnTo>
                      <a:pt x="732382" y="413855"/>
                    </a:lnTo>
                    <a:cubicBezTo>
                      <a:pt x="728951" y="413458"/>
                      <a:pt x="725469" y="413888"/>
                      <a:pt x="722237" y="415109"/>
                    </a:cubicBezTo>
                    <a:cubicBezTo>
                      <a:pt x="718926" y="416450"/>
                      <a:pt x="717108" y="420021"/>
                      <a:pt x="717963" y="423488"/>
                    </a:cubicBezTo>
                    <a:cubicBezTo>
                      <a:pt x="713500" y="422853"/>
                      <a:pt x="708963" y="423867"/>
                      <a:pt x="705196" y="426337"/>
                    </a:cubicBezTo>
                    <a:cubicBezTo>
                      <a:pt x="701776" y="429244"/>
                      <a:pt x="701833" y="436083"/>
                      <a:pt x="706165" y="437223"/>
                    </a:cubicBezTo>
                    <a:cubicBezTo>
                      <a:pt x="707658" y="437325"/>
                      <a:pt x="709140" y="437516"/>
                      <a:pt x="710610" y="437793"/>
                    </a:cubicBezTo>
                    <a:cubicBezTo>
                      <a:pt x="715113" y="439617"/>
                      <a:pt x="711864" y="446855"/>
                      <a:pt x="707362" y="448679"/>
                    </a:cubicBezTo>
                    <a:cubicBezTo>
                      <a:pt x="702859" y="450503"/>
                      <a:pt x="696875" y="451244"/>
                      <a:pt x="695165" y="455804"/>
                    </a:cubicBezTo>
                    <a:cubicBezTo>
                      <a:pt x="694424" y="457798"/>
                      <a:pt x="694709" y="460135"/>
                      <a:pt x="693569" y="461959"/>
                    </a:cubicBezTo>
                    <a:cubicBezTo>
                      <a:pt x="691899" y="463840"/>
                      <a:pt x="689619" y="465071"/>
                      <a:pt x="687129" y="465436"/>
                    </a:cubicBezTo>
                    <a:cubicBezTo>
                      <a:pt x="680266" y="467100"/>
                      <a:pt x="675182" y="472891"/>
                      <a:pt x="674419" y="479912"/>
                    </a:cubicBezTo>
                    <a:cubicBezTo>
                      <a:pt x="674419" y="486809"/>
                      <a:pt x="683937" y="492394"/>
                      <a:pt x="688838" y="487493"/>
                    </a:cubicBezTo>
                    <a:cubicBezTo>
                      <a:pt x="687858" y="491887"/>
                      <a:pt x="688702" y="496498"/>
                      <a:pt x="691175" y="500259"/>
                    </a:cubicBezTo>
                    <a:cubicBezTo>
                      <a:pt x="693928" y="504015"/>
                      <a:pt x="699189" y="504853"/>
                      <a:pt x="702973" y="502140"/>
                    </a:cubicBezTo>
                    <a:cubicBezTo>
                      <a:pt x="702734" y="498624"/>
                      <a:pt x="703594" y="495119"/>
                      <a:pt x="705424" y="492109"/>
                    </a:cubicBezTo>
                    <a:cubicBezTo>
                      <a:pt x="707276" y="489220"/>
                      <a:pt x="711118" y="488376"/>
                      <a:pt x="714007" y="490228"/>
                    </a:cubicBezTo>
                    <a:cubicBezTo>
                      <a:pt x="714173" y="490337"/>
                      <a:pt x="714332" y="490451"/>
                      <a:pt x="714486" y="490570"/>
                    </a:cubicBezTo>
                    <a:cubicBezTo>
                      <a:pt x="714999" y="500544"/>
                      <a:pt x="715854" y="511430"/>
                      <a:pt x="722579" y="519068"/>
                    </a:cubicBezTo>
                    <a:cubicBezTo>
                      <a:pt x="728017" y="524254"/>
                      <a:pt x="734890" y="527685"/>
                      <a:pt x="742299" y="528928"/>
                    </a:cubicBezTo>
                    <a:cubicBezTo>
                      <a:pt x="759358" y="532952"/>
                      <a:pt x="777095" y="533111"/>
                      <a:pt x="794222" y="529384"/>
                    </a:cubicBezTo>
                    <a:cubicBezTo>
                      <a:pt x="795886" y="529184"/>
                      <a:pt x="797459" y="528489"/>
                      <a:pt x="798724" y="527389"/>
                    </a:cubicBezTo>
                    <a:cubicBezTo>
                      <a:pt x="802429" y="523456"/>
                      <a:pt x="796729" y="517757"/>
                      <a:pt x="791999" y="515192"/>
                    </a:cubicBezTo>
                    <a:cubicBezTo>
                      <a:pt x="787268" y="512627"/>
                      <a:pt x="782253" y="505902"/>
                      <a:pt x="786699" y="502824"/>
                    </a:cubicBezTo>
                    <a:cubicBezTo>
                      <a:pt x="772176" y="492919"/>
                      <a:pt x="761621" y="478202"/>
                      <a:pt x="756890" y="461275"/>
                    </a:cubicBezTo>
                    <a:cubicBezTo>
                      <a:pt x="756064" y="459246"/>
                      <a:pt x="756064" y="456978"/>
                      <a:pt x="756890" y="454949"/>
                    </a:cubicBezTo>
                    <a:cubicBezTo>
                      <a:pt x="758429" y="452156"/>
                      <a:pt x="762248" y="451757"/>
                      <a:pt x="765040" y="450218"/>
                    </a:cubicBezTo>
                    <a:cubicBezTo>
                      <a:pt x="775300" y="444519"/>
                      <a:pt x="769258" y="425425"/>
                      <a:pt x="779403" y="419498"/>
                    </a:cubicBezTo>
                    <a:cubicBezTo>
                      <a:pt x="781455" y="418301"/>
                      <a:pt x="783905" y="417845"/>
                      <a:pt x="785843" y="416534"/>
                    </a:cubicBezTo>
                    <a:cubicBezTo>
                      <a:pt x="792284" y="412089"/>
                      <a:pt x="789206" y="402286"/>
                      <a:pt x="788351" y="394477"/>
                    </a:cubicBezTo>
                    <a:cubicBezTo>
                      <a:pt x="787206" y="381940"/>
                      <a:pt x="793697" y="369940"/>
                      <a:pt x="804823" y="364042"/>
                    </a:cubicBezTo>
                    <a:cubicBezTo>
                      <a:pt x="808790" y="362195"/>
                      <a:pt x="812933" y="360763"/>
                      <a:pt x="817191" y="359767"/>
                    </a:cubicBezTo>
                    <a:cubicBezTo>
                      <a:pt x="838803" y="353749"/>
                      <a:pt x="859794" y="345695"/>
                      <a:pt x="879885" y="335716"/>
                    </a:cubicBezTo>
                    <a:cubicBezTo>
                      <a:pt x="881885" y="334919"/>
                      <a:pt x="883652" y="333625"/>
                      <a:pt x="885014" y="331954"/>
                    </a:cubicBezTo>
                    <a:cubicBezTo>
                      <a:pt x="885847" y="330286"/>
                      <a:pt x="886588" y="328574"/>
                      <a:pt x="887237" y="326824"/>
                    </a:cubicBezTo>
                    <a:cubicBezTo>
                      <a:pt x="889893" y="322900"/>
                      <a:pt x="893991" y="320178"/>
                      <a:pt x="898636" y="319244"/>
                    </a:cubicBezTo>
                    <a:lnTo>
                      <a:pt x="924569" y="309954"/>
                    </a:lnTo>
                    <a:cubicBezTo>
                      <a:pt x="929983" y="307846"/>
                      <a:pt x="935574" y="306207"/>
                      <a:pt x="941268" y="305053"/>
                    </a:cubicBezTo>
                    <a:cubicBezTo>
                      <a:pt x="944323" y="304771"/>
                      <a:pt x="947315" y="304041"/>
                      <a:pt x="950159" y="302887"/>
                    </a:cubicBezTo>
                    <a:cubicBezTo>
                      <a:pt x="952148" y="301799"/>
                      <a:pt x="954058" y="300560"/>
                      <a:pt x="955859" y="299182"/>
                    </a:cubicBezTo>
                    <a:cubicBezTo>
                      <a:pt x="961125" y="296038"/>
                      <a:pt x="966921" y="293875"/>
                      <a:pt x="972957" y="292799"/>
                    </a:cubicBezTo>
                    <a:cubicBezTo>
                      <a:pt x="983273" y="290291"/>
                      <a:pt x="993646" y="287783"/>
                      <a:pt x="1003791" y="284648"/>
                    </a:cubicBezTo>
                    <a:cubicBezTo>
                      <a:pt x="1015190" y="281172"/>
                      <a:pt x="1026247" y="276897"/>
                      <a:pt x="1037304" y="272680"/>
                    </a:cubicBezTo>
                    <a:cubicBezTo>
                      <a:pt x="1041254" y="271637"/>
                      <a:pt x="1044742" y="269311"/>
                      <a:pt x="1047221" y="266068"/>
                    </a:cubicBezTo>
                    <a:cubicBezTo>
                      <a:pt x="1047996" y="264273"/>
                      <a:pt x="1048971" y="262572"/>
                      <a:pt x="1050128" y="260996"/>
                    </a:cubicBezTo>
                    <a:cubicBezTo>
                      <a:pt x="1051667" y="259400"/>
                      <a:pt x="1054118" y="258944"/>
                      <a:pt x="1055828" y="257690"/>
                    </a:cubicBezTo>
                    <a:cubicBezTo>
                      <a:pt x="1060957" y="254327"/>
                      <a:pt x="1060216" y="246690"/>
                      <a:pt x="1058962" y="240591"/>
                    </a:cubicBezTo>
                    <a:cubicBezTo>
                      <a:pt x="1042890" y="232384"/>
                      <a:pt x="1023455" y="237799"/>
                      <a:pt x="1006299" y="243384"/>
                    </a:cubicBezTo>
                    <a:cubicBezTo>
                      <a:pt x="1002503" y="244353"/>
                      <a:pt x="998924" y="246036"/>
                      <a:pt x="995755" y="248343"/>
                    </a:cubicBezTo>
                    <a:cubicBezTo>
                      <a:pt x="994045" y="249711"/>
                      <a:pt x="992677" y="251420"/>
                      <a:pt x="991025" y="252845"/>
                    </a:cubicBezTo>
                    <a:cubicBezTo>
                      <a:pt x="982760" y="259913"/>
                      <a:pt x="970507" y="258032"/>
                      <a:pt x="959677" y="259115"/>
                    </a:cubicBezTo>
                    <a:cubicBezTo>
                      <a:pt x="957517" y="258964"/>
                      <a:pt x="955408" y="259828"/>
                      <a:pt x="953978" y="261452"/>
                    </a:cubicBezTo>
                    <a:cubicBezTo>
                      <a:pt x="953328" y="262779"/>
                      <a:pt x="952906" y="264204"/>
                      <a:pt x="952724" y="265669"/>
                    </a:cubicBezTo>
                    <a:cubicBezTo>
                      <a:pt x="950900" y="271369"/>
                      <a:pt x="943320" y="272907"/>
                      <a:pt x="937164" y="273135"/>
                    </a:cubicBezTo>
                    <a:lnTo>
                      <a:pt x="901372" y="274503"/>
                    </a:lnTo>
                    <a:cubicBezTo>
                      <a:pt x="896311" y="274299"/>
                      <a:pt x="891278" y="275357"/>
                      <a:pt x="886724" y="277581"/>
                    </a:cubicBezTo>
                    <a:cubicBezTo>
                      <a:pt x="883874" y="279348"/>
                      <a:pt x="881652" y="281913"/>
                      <a:pt x="878859" y="283622"/>
                    </a:cubicBezTo>
                    <a:cubicBezTo>
                      <a:pt x="870310" y="288695"/>
                      <a:pt x="859025" y="284135"/>
                      <a:pt x="849678" y="287384"/>
                    </a:cubicBezTo>
                    <a:cubicBezTo>
                      <a:pt x="845432" y="289168"/>
                      <a:pt x="841567" y="291740"/>
                      <a:pt x="838279" y="294964"/>
                    </a:cubicBezTo>
                    <a:lnTo>
                      <a:pt x="808983" y="320327"/>
                    </a:lnTo>
                    <a:cubicBezTo>
                      <a:pt x="801357" y="320327"/>
                      <a:pt x="793743" y="319812"/>
                      <a:pt x="786185" y="318788"/>
                    </a:cubicBezTo>
                    <a:cubicBezTo>
                      <a:pt x="789035" y="329468"/>
                      <a:pt x="783062" y="340518"/>
                      <a:pt x="772564" y="343980"/>
                    </a:cubicBezTo>
                    <a:close/>
                    <a:moveTo>
                      <a:pt x="1534013" y="4462"/>
                    </a:moveTo>
                    <a:cubicBezTo>
                      <a:pt x="1530092" y="5219"/>
                      <a:pt x="1526370" y="6771"/>
                      <a:pt x="1523070" y="9022"/>
                    </a:cubicBezTo>
                    <a:lnTo>
                      <a:pt x="1515718" y="13353"/>
                    </a:lnTo>
                    <a:cubicBezTo>
                      <a:pt x="1515256" y="16657"/>
                      <a:pt x="1517188" y="19827"/>
                      <a:pt x="1520335" y="20934"/>
                    </a:cubicBezTo>
                    <a:cubicBezTo>
                      <a:pt x="1523424" y="21924"/>
                      <a:pt x="1526707" y="22178"/>
                      <a:pt x="1529910" y="21675"/>
                    </a:cubicBezTo>
                    <a:cubicBezTo>
                      <a:pt x="1533785" y="21333"/>
                      <a:pt x="1537718" y="20991"/>
                      <a:pt x="1541309" y="20307"/>
                    </a:cubicBezTo>
                    <a:cubicBezTo>
                      <a:pt x="1542386" y="20246"/>
                      <a:pt x="1543406" y="19825"/>
                      <a:pt x="1544215" y="19110"/>
                    </a:cubicBezTo>
                    <a:cubicBezTo>
                      <a:pt x="1544814" y="18201"/>
                      <a:pt x="1545076" y="17113"/>
                      <a:pt x="1544956" y="16032"/>
                    </a:cubicBezTo>
                    <a:cubicBezTo>
                      <a:pt x="1545213" y="13633"/>
                      <a:pt x="1544882" y="11206"/>
                      <a:pt x="1543988" y="8965"/>
                    </a:cubicBezTo>
                    <a:cubicBezTo>
                      <a:pt x="1541844" y="5623"/>
                      <a:pt x="1537935" y="3858"/>
                      <a:pt x="1534013" y="4462"/>
                    </a:cubicBezTo>
                    <a:close/>
                    <a:moveTo>
                      <a:pt x="1579609" y="21561"/>
                    </a:moveTo>
                    <a:cubicBezTo>
                      <a:pt x="1574993" y="19395"/>
                      <a:pt x="1568210" y="18654"/>
                      <a:pt x="1565816" y="23100"/>
                    </a:cubicBezTo>
                    <a:cubicBezTo>
                      <a:pt x="1563423" y="27545"/>
                      <a:pt x="1566785" y="32561"/>
                      <a:pt x="1570091" y="36265"/>
                    </a:cubicBezTo>
                    <a:cubicBezTo>
                      <a:pt x="1573397" y="39970"/>
                      <a:pt x="1576873" y="45214"/>
                      <a:pt x="1574309" y="49431"/>
                    </a:cubicBezTo>
                    <a:cubicBezTo>
                      <a:pt x="1573112" y="51132"/>
                      <a:pt x="1571402" y="52409"/>
                      <a:pt x="1569407" y="53079"/>
                    </a:cubicBezTo>
                    <a:cubicBezTo>
                      <a:pt x="1565816" y="54556"/>
                      <a:pt x="1561907" y="55236"/>
                      <a:pt x="1558008" y="55074"/>
                    </a:cubicBezTo>
                    <a:cubicBezTo>
                      <a:pt x="1555671" y="55074"/>
                      <a:pt x="1552936" y="54789"/>
                      <a:pt x="1551397" y="56555"/>
                    </a:cubicBezTo>
                    <a:cubicBezTo>
                      <a:pt x="1550103" y="58512"/>
                      <a:pt x="1550417" y="61118"/>
                      <a:pt x="1552138" y="62711"/>
                    </a:cubicBezTo>
                    <a:cubicBezTo>
                      <a:pt x="1553750" y="64196"/>
                      <a:pt x="1555711" y="65253"/>
                      <a:pt x="1557837" y="65789"/>
                    </a:cubicBezTo>
                    <a:lnTo>
                      <a:pt x="1565246" y="68182"/>
                    </a:lnTo>
                    <a:cubicBezTo>
                      <a:pt x="1566956" y="68485"/>
                      <a:pt x="1568495" y="69473"/>
                      <a:pt x="1569464" y="70918"/>
                    </a:cubicBezTo>
                    <a:cubicBezTo>
                      <a:pt x="1571117" y="74053"/>
                      <a:pt x="1567013" y="77302"/>
                      <a:pt x="1563765" y="77587"/>
                    </a:cubicBezTo>
                    <a:cubicBezTo>
                      <a:pt x="1558310" y="77096"/>
                      <a:pt x="1552884" y="76297"/>
                      <a:pt x="1547521" y="75193"/>
                    </a:cubicBezTo>
                    <a:cubicBezTo>
                      <a:pt x="1541822" y="75193"/>
                      <a:pt x="1535495" y="79068"/>
                      <a:pt x="1536692" y="84426"/>
                    </a:cubicBezTo>
                    <a:lnTo>
                      <a:pt x="1546951" y="87219"/>
                    </a:lnTo>
                    <a:cubicBezTo>
                      <a:pt x="1546541" y="91242"/>
                      <a:pt x="1547572" y="95281"/>
                      <a:pt x="1549858" y="98618"/>
                    </a:cubicBezTo>
                    <a:lnTo>
                      <a:pt x="1569179" y="96395"/>
                    </a:lnTo>
                    <a:cubicBezTo>
                      <a:pt x="1571573" y="96110"/>
                      <a:pt x="1574366" y="95597"/>
                      <a:pt x="1575505" y="93488"/>
                    </a:cubicBezTo>
                    <a:cubicBezTo>
                      <a:pt x="1575904" y="92442"/>
                      <a:pt x="1576246" y="91352"/>
                      <a:pt x="1576418" y="90239"/>
                    </a:cubicBezTo>
                    <a:cubicBezTo>
                      <a:pt x="1577101" y="88239"/>
                      <a:pt x="1578184" y="86399"/>
                      <a:pt x="1579609" y="84825"/>
                    </a:cubicBezTo>
                    <a:lnTo>
                      <a:pt x="1590495" y="71203"/>
                    </a:lnTo>
                    <a:cubicBezTo>
                      <a:pt x="1591464" y="69654"/>
                      <a:pt x="1592889" y="68456"/>
                      <a:pt x="1594599" y="67783"/>
                    </a:cubicBezTo>
                    <a:cubicBezTo>
                      <a:pt x="1596936" y="67505"/>
                      <a:pt x="1599329" y="67921"/>
                      <a:pt x="1601438" y="68980"/>
                    </a:cubicBezTo>
                    <a:cubicBezTo>
                      <a:pt x="1606340" y="70693"/>
                      <a:pt x="1611754" y="69696"/>
                      <a:pt x="1615687" y="66359"/>
                    </a:cubicBezTo>
                    <a:cubicBezTo>
                      <a:pt x="1619562" y="62805"/>
                      <a:pt x="1620247" y="56966"/>
                      <a:pt x="1617283" y="52623"/>
                    </a:cubicBezTo>
                    <a:cubicBezTo>
                      <a:pt x="1613920" y="48348"/>
                      <a:pt x="1607081" y="47550"/>
                      <a:pt x="1604573" y="42706"/>
                    </a:cubicBezTo>
                    <a:cubicBezTo>
                      <a:pt x="1603547" y="39861"/>
                      <a:pt x="1603091" y="36839"/>
                      <a:pt x="1603205" y="33815"/>
                    </a:cubicBezTo>
                    <a:cubicBezTo>
                      <a:pt x="1603205" y="30794"/>
                      <a:pt x="1601609" y="27374"/>
                      <a:pt x="1598702" y="26633"/>
                    </a:cubicBezTo>
                    <a:cubicBezTo>
                      <a:pt x="1597278" y="26434"/>
                      <a:pt x="1595796" y="26434"/>
                      <a:pt x="1594371" y="26633"/>
                    </a:cubicBezTo>
                    <a:cubicBezTo>
                      <a:pt x="1589184" y="26190"/>
                      <a:pt x="1584169" y="24509"/>
                      <a:pt x="1579723" y="21732"/>
                    </a:cubicBezTo>
                    <a:close/>
                    <a:moveTo>
                      <a:pt x="1669490" y="139141"/>
                    </a:moveTo>
                    <a:cubicBezTo>
                      <a:pt x="1670174" y="140015"/>
                      <a:pt x="1670915" y="140852"/>
                      <a:pt x="1671713" y="141649"/>
                    </a:cubicBezTo>
                    <a:cubicBezTo>
                      <a:pt x="1673252" y="142579"/>
                      <a:pt x="1675018" y="143016"/>
                      <a:pt x="1676785" y="142903"/>
                    </a:cubicBezTo>
                    <a:cubicBezTo>
                      <a:pt x="1680148" y="143272"/>
                      <a:pt x="1683511" y="142942"/>
                      <a:pt x="1686759" y="141934"/>
                    </a:cubicBezTo>
                    <a:cubicBezTo>
                      <a:pt x="1690008" y="140823"/>
                      <a:pt x="1692288" y="137846"/>
                      <a:pt x="1692459" y="134410"/>
                    </a:cubicBezTo>
                    <a:cubicBezTo>
                      <a:pt x="1692459" y="129281"/>
                      <a:pt x="1686246" y="123866"/>
                      <a:pt x="1689666" y="120048"/>
                    </a:cubicBezTo>
                    <a:cubicBezTo>
                      <a:pt x="1690578" y="119079"/>
                      <a:pt x="1691946" y="118623"/>
                      <a:pt x="1692744" y="117540"/>
                    </a:cubicBezTo>
                    <a:cubicBezTo>
                      <a:pt x="1693371" y="116396"/>
                      <a:pt x="1693770" y="115165"/>
                      <a:pt x="1693998" y="113892"/>
                    </a:cubicBezTo>
                    <a:cubicBezTo>
                      <a:pt x="1695366" y="109846"/>
                      <a:pt x="1699697" y="107851"/>
                      <a:pt x="1702433" y="104374"/>
                    </a:cubicBezTo>
                    <a:cubicBezTo>
                      <a:pt x="1705340" y="99689"/>
                      <a:pt x="1705340" y="93784"/>
                      <a:pt x="1702433" y="89099"/>
                    </a:cubicBezTo>
                    <a:cubicBezTo>
                      <a:pt x="1699583" y="84528"/>
                      <a:pt x="1695878" y="80529"/>
                      <a:pt x="1691547" y="77302"/>
                    </a:cubicBezTo>
                    <a:cubicBezTo>
                      <a:pt x="1689609" y="75024"/>
                      <a:pt x="1686588" y="73871"/>
                      <a:pt x="1683625" y="74224"/>
                    </a:cubicBezTo>
                    <a:cubicBezTo>
                      <a:pt x="1680490" y="75193"/>
                      <a:pt x="1679464" y="79011"/>
                      <a:pt x="1677925" y="81861"/>
                    </a:cubicBezTo>
                    <a:cubicBezTo>
                      <a:pt x="1675018" y="86489"/>
                      <a:pt x="1669490" y="88771"/>
                      <a:pt x="1664132" y="87561"/>
                    </a:cubicBezTo>
                    <a:cubicBezTo>
                      <a:pt x="1665728" y="82260"/>
                      <a:pt x="1663790" y="76536"/>
                      <a:pt x="1659345" y="73255"/>
                    </a:cubicBezTo>
                    <a:cubicBezTo>
                      <a:pt x="1654899" y="70169"/>
                      <a:pt x="1649485" y="68774"/>
                      <a:pt x="1644070" y="69322"/>
                    </a:cubicBezTo>
                    <a:cubicBezTo>
                      <a:pt x="1632044" y="70006"/>
                      <a:pt x="1621272" y="76447"/>
                      <a:pt x="1610899" y="82716"/>
                    </a:cubicBezTo>
                    <a:cubicBezTo>
                      <a:pt x="1606169" y="85105"/>
                      <a:pt x="1602179" y="88804"/>
                      <a:pt x="1599500" y="93374"/>
                    </a:cubicBezTo>
                    <a:cubicBezTo>
                      <a:pt x="1597050" y="98047"/>
                      <a:pt x="1598816" y="103842"/>
                      <a:pt x="1603490" y="106319"/>
                    </a:cubicBezTo>
                    <a:cubicBezTo>
                      <a:pt x="1603718" y="106440"/>
                      <a:pt x="1603946" y="106552"/>
                      <a:pt x="1604174" y="106654"/>
                    </a:cubicBezTo>
                    <a:cubicBezTo>
                      <a:pt x="1601609" y="110131"/>
                      <a:pt x="1604174" y="115317"/>
                      <a:pt x="1607651" y="118053"/>
                    </a:cubicBezTo>
                    <a:cubicBezTo>
                      <a:pt x="1611127" y="120789"/>
                      <a:pt x="1615687" y="121586"/>
                      <a:pt x="1619050" y="124094"/>
                    </a:cubicBezTo>
                    <a:cubicBezTo>
                      <a:pt x="1622412" y="126602"/>
                      <a:pt x="1624065" y="128882"/>
                      <a:pt x="1627029" y="130706"/>
                    </a:cubicBezTo>
                    <a:cubicBezTo>
                      <a:pt x="1629935" y="132262"/>
                      <a:pt x="1633127" y="133285"/>
                      <a:pt x="1636433" y="133726"/>
                    </a:cubicBezTo>
                    <a:cubicBezTo>
                      <a:pt x="1644298" y="135472"/>
                      <a:pt x="1652221" y="136596"/>
                      <a:pt x="1660257" y="137089"/>
                    </a:cubicBezTo>
                    <a:cubicBezTo>
                      <a:pt x="1663562" y="136675"/>
                      <a:pt x="1666868" y="137465"/>
                      <a:pt x="1669604" y="139312"/>
                    </a:cubicBezTo>
                    <a:close/>
                    <a:moveTo>
                      <a:pt x="1702604" y="169462"/>
                    </a:moveTo>
                    <a:cubicBezTo>
                      <a:pt x="1695765" y="170582"/>
                      <a:pt x="1691148" y="177030"/>
                      <a:pt x="1692231" y="183863"/>
                    </a:cubicBezTo>
                    <a:cubicBezTo>
                      <a:pt x="1692288" y="184022"/>
                      <a:pt x="1692288" y="184180"/>
                      <a:pt x="1692345" y="184338"/>
                    </a:cubicBezTo>
                    <a:lnTo>
                      <a:pt x="1751448" y="180975"/>
                    </a:lnTo>
                    <a:cubicBezTo>
                      <a:pt x="1759485" y="180701"/>
                      <a:pt x="1767521" y="179882"/>
                      <a:pt x="1775443" y="178524"/>
                    </a:cubicBezTo>
                    <a:cubicBezTo>
                      <a:pt x="1777951" y="178220"/>
                      <a:pt x="1780345" y="177212"/>
                      <a:pt x="1782283" y="175617"/>
                    </a:cubicBezTo>
                    <a:cubicBezTo>
                      <a:pt x="1783536" y="174181"/>
                      <a:pt x="1784562" y="172590"/>
                      <a:pt x="1785360" y="170887"/>
                    </a:cubicBezTo>
                    <a:cubicBezTo>
                      <a:pt x="1790661" y="163881"/>
                      <a:pt x="1798583" y="159333"/>
                      <a:pt x="1807303" y="158291"/>
                    </a:cubicBezTo>
                    <a:cubicBezTo>
                      <a:pt x="1815910" y="157343"/>
                      <a:pt x="1824402" y="155254"/>
                      <a:pt x="1832495" y="152079"/>
                    </a:cubicBezTo>
                    <a:cubicBezTo>
                      <a:pt x="1832153" y="148488"/>
                      <a:pt x="1831811" y="144897"/>
                      <a:pt x="1831412" y="141307"/>
                    </a:cubicBezTo>
                    <a:cubicBezTo>
                      <a:pt x="1812889" y="135607"/>
                      <a:pt x="1792883" y="129908"/>
                      <a:pt x="1774417" y="135607"/>
                    </a:cubicBezTo>
                    <a:cubicBezTo>
                      <a:pt x="1769116" y="137146"/>
                      <a:pt x="1761650" y="138742"/>
                      <a:pt x="1759428" y="133612"/>
                    </a:cubicBezTo>
                    <a:cubicBezTo>
                      <a:pt x="1758458" y="131333"/>
                      <a:pt x="1759428" y="128426"/>
                      <a:pt x="1758060" y="126203"/>
                    </a:cubicBezTo>
                    <a:cubicBezTo>
                      <a:pt x="1757262" y="124933"/>
                      <a:pt x="1756065" y="123924"/>
                      <a:pt x="1754697" y="123296"/>
                    </a:cubicBezTo>
                    <a:cubicBezTo>
                      <a:pt x="1745350" y="119237"/>
                      <a:pt x="1734521" y="123502"/>
                      <a:pt x="1730475" y="132824"/>
                    </a:cubicBezTo>
                    <a:cubicBezTo>
                      <a:pt x="1730132" y="133598"/>
                      <a:pt x="1729847" y="134395"/>
                      <a:pt x="1729619" y="135208"/>
                    </a:cubicBezTo>
                    <a:cubicBezTo>
                      <a:pt x="1728936" y="138400"/>
                      <a:pt x="1728821" y="142276"/>
                      <a:pt x="1726029" y="143928"/>
                    </a:cubicBezTo>
                    <a:cubicBezTo>
                      <a:pt x="1723236" y="145581"/>
                      <a:pt x="1719588" y="143928"/>
                      <a:pt x="1716567" y="145011"/>
                    </a:cubicBezTo>
                    <a:cubicBezTo>
                      <a:pt x="1708588" y="148032"/>
                      <a:pt x="1715998" y="163250"/>
                      <a:pt x="1708759" y="167809"/>
                    </a:cubicBezTo>
                    <a:cubicBezTo>
                      <a:pt x="1706879" y="168787"/>
                      <a:pt x="1704827" y="169405"/>
                      <a:pt x="1702718" y="169633"/>
                    </a:cubicBezTo>
                    <a:close/>
                    <a:moveTo>
                      <a:pt x="1993049" y="355607"/>
                    </a:moveTo>
                    <a:cubicBezTo>
                      <a:pt x="1990199" y="355607"/>
                      <a:pt x="1987349" y="356747"/>
                      <a:pt x="1984557" y="356690"/>
                    </a:cubicBezTo>
                    <a:cubicBezTo>
                      <a:pt x="1982904" y="356690"/>
                      <a:pt x="1981308" y="356234"/>
                      <a:pt x="1979712" y="356291"/>
                    </a:cubicBezTo>
                    <a:cubicBezTo>
                      <a:pt x="1978059" y="356230"/>
                      <a:pt x="1976520" y="356976"/>
                      <a:pt x="1975552" y="358286"/>
                    </a:cubicBezTo>
                    <a:cubicBezTo>
                      <a:pt x="1974981" y="359757"/>
                      <a:pt x="1974981" y="361374"/>
                      <a:pt x="1975552" y="362845"/>
                    </a:cubicBezTo>
                    <a:cubicBezTo>
                      <a:pt x="1972246" y="363139"/>
                      <a:pt x="1968940" y="363749"/>
                      <a:pt x="1965748" y="364669"/>
                    </a:cubicBezTo>
                    <a:cubicBezTo>
                      <a:pt x="1965464" y="364708"/>
                      <a:pt x="1965178" y="364850"/>
                      <a:pt x="1965007" y="365068"/>
                    </a:cubicBezTo>
                    <a:cubicBezTo>
                      <a:pt x="1964894" y="365380"/>
                      <a:pt x="1964894" y="365725"/>
                      <a:pt x="1965007" y="366037"/>
                    </a:cubicBezTo>
                    <a:lnTo>
                      <a:pt x="1965007" y="369229"/>
                    </a:lnTo>
                    <a:cubicBezTo>
                      <a:pt x="1964950" y="370260"/>
                      <a:pt x="1965236" y="371285"/>
                      <a:pt x="1965805" y="372135"/>
                    </a:cubicBezTo>
                    <a:cubicBezTo>
                      <a:pt x="1966660" y="372867"/>
                      <a:pt x="1967800" y="373252"/>
                      <a:pt x="1968940" y="373218"/>
                    </a:cubicBezTo>
                    <a:cubicBezTo>
                      <a:pt x="1978686" y="374572"/>
                      <a:pt x="1988603" y="373715"/>
                      <a:pt x="1997950" y="370710"/>
                    </a:cubicBezTo>
                    <a:cubicBezTo>
                      <a:pt x="1999603" y="370027"/>
                      <a:pt x="2001541" y="368545"/>
                      <a:pt x="2000914" y="366835"/>
                    </a:cubicBezTo>
                    <a:lnTo>
                      <a:pt x="1998406" y="366835"/>
                    </a:lnTo>
                    <a:cubicBezTo>
                      <a:pt x="2000230" y="364832"/>
                      <a:pt x="2001028" y="362097"/>
                      <a:pt x="2000572" y="359425"/>
                    </a:cubicBezTo>
                    <a:cubicBezTo>
                      <a:pt x="1999261" y="356558"/>
                      <a:pt x="1996127" y="354975"/>
                      <a:pt x="1993049" y="355607"/>
                    </a:cubicBezTo>
                    <a:close/>
                    <a:moveTo>
                      <a:pt x="2603862" y="398695"/>
                    </a:moveTo>
                    <a:lnTo>
                      <a:pt x="2595426" y="401488"/>
                    </a:lnTo>
                    <a:cubicBezTo>
                      <a:pt x="2597649" y="405040"/>
                      <a:pt x="2601468" y="407354"/>
                      <a:pt x="2605628" y="407757"/>
                    </a:cubicBezTo>
                    <a:cubicBezTo>
                      <a:pt x="2607167" y="409695"/>
                      <a:pt x="2602950" y="411576"/>
                      <a:pt x="2602893" y="414026"/>
                    </a:cubicBezTo>
                    <a:cubicBezTo>
                      <a:pt x="2602836" y="416477"/>
                      <a:pt x="2605685" y="416876"/>
                      <a:pt x="2607851" y="416876"/>
                    </a:cubicBezTo>
                    <a:lnTo>
                      <a:pt x="2656183" y="416876"/>
                    </a:lnTo>
                    <a:cubicBezTo>
                      <a:pt x="2658975" y="417061"/>
                      <a:pt x="2661711" y="416653"/>
                      <a:pt x="2664333" y="415679"/>
                    </a:cubicBezTo>
                    <a:cubicBezTo>
                      <a:pt x="2667012" y="414599"/>
                      <a:pt x="2668665" y="411928"/>
                      <a:pt x="2668437" y="409068"/>
                    </a:cubicBezTo>
                    <a:cubicBezTo>
                      <a:pt x="2667696" y="405135"/>
                      <a:pt x="2662737" y="403767"/>
                      <a:pt x="2658805" y="403881"/>
                    </a:cubicBezTo>
                    <a:cubicBezTo>
                      <a:pt x="2659089" y="400771"/>
                      <a:pt x="2656809" y="398027"/>
                      <a:pt x="2653675" y="397726"/>
                    </a:cubicBezTo>
                    <a:cubicBezTo>
                      <a:pt x="2651851" y="397726"/>
                      <a:pt x="2649229" y="397726"/>
                      <a:pt x="2649058" y="396187"/>
                    </a:cubicBezTo>
                    <a:cubicBezTo>
                      <a:pt x="2648887" y="394648"/>
                      <a:pt x="2649970" y="394363"/>
                      <a:pt x="2650369" y="393451"/>
                    </a:cubicBezTo>
                    <a:cubicBezTo>
                      <a:pt x="2650940" y="391723"/>
                      <a:pt x="2650142" y="389839"/>
                      <a:pt x="2648546" y="389006"/>
                    </a:cubicBezTo>
                    <a:cubicBezTo>
                      <a:pt x="2646950" y="388270"/>
                      <a:pt x="2645183" y="387919"/>
                      <a:pt x="2643416" y="387980"/>
                    </a:cubicBezTo>
                    <a:cubicBezTo>
                      <a:pt x="2635551" y="387378"/>
                      <a:pt x="2627628" y="387780"/>
                      <a:pt x="2619877" y="389177"/>
                    </a:cubicBezTo>
                    <a:cubicBezTo>
                      <a:pt x="2616002" y="390085"/>
                      <a:pt x="2612183" y="391266"/>
                      <a:pt x="2608478" y="392710"/>
                    </a:cubicBezTo>
                    <a:cubicBezTo>
                      <a:pt x="2607566" y="392710"/>
                      <a:pt x="2606597" y="393451"/>
                      <a:pt x="2606369" y="394306"/>
                    </a:cubicBezTo>
                    <a:cubicBezTo>
                      <a:pt x="2606141" y="395161"/>
                      <a:pt x="2606369" y="395845"/>
                      <a:pt x="2606369" y="396586"/>
                    </a:cubicBezTo>
                    <a:cubicBezTo>
                      <a:pt x="2606369" y="397327"/>
                      <a:pt x="2605001" y="398353"/>
                      <a:pt x="2603862" y="398695"/>
                    </a:cubicBezTo>
                    <a:close/>
                    <a:moveTo>
                      <a:pt x="2595654" y="370539"/>
                    </a:moveTo>
                    <a:cubicBezTo>
                      <a:pt x="2593945" y="372819"/>
                      <a:pt x="2589955" y="371337"/>
                      <a:pt x="2587675" y="372762"/>
                    </a:cubicBezTo>
                    <a:cubicBezTo>
                      <a:pt x="2586307" y="373664"/>
                      <a:pt x="2585452" y="375166"/>
                      <a:pt x="2585339" y="376809"/>
                    </a:cubicBezTo>
                    <a:cubicBezTo>
                      <a:pt x="2585282" y="378428"/>
                      <a:pt x="2585509" y="380044"/>
                      <a:pt x="2585965" y="381596"/>
                    </a:cubicBezTo>
                    <a:cubicBezTo>
                      <a:pt x="2586706" y="382775"/>
                      <a:pt x="2587732" y="383723"/>
                      <a:pt x="2588986" y="384332"/>
                    </a:cubicBezTo>
                    <a:cubicBezTo>
                      <a:pt x="2592633" y="385757"/>
                      <a:pt x="2596738" y="385757"/>
                      <a:pt x="2600385" y="384332"/>
                    </a:cubicBezTo>
                    <a:cubicBezTo>
                      <a:pt x="2601354" y="384194"/>
                      <a:pt x="2602266" y="383710"/>
                      <a:pt x="2602950" y="382964"/>
                    </a:cubicBezTo>
                    <a:cubicBezTo>
                      <a:pt x="2603862" y="381653"/>
                      <a:pt x="2602950" y="379830"/>
                      <a:pt x="2602950" y="378177"/>
                    </a:cubicBezTo>
                    <a:cubicBezTo>
                      <a:pt x="2603235" y="376589"/>
                      <a:pt x="2604375" y="375271"/>
                      <a:pt x="2605857" y="374700"/>
                    </a:cubicBezTo>
                    <a:cubicBezTo>
                      <a:pt x="2607338" y="374157"/>
                      <a:pt x="2608934" y="373981"/>
                      <a:pt x="2610530" y="374187"/>
                    </a:cubicBezTo>
                    <a:cubicBezTo>
                      <a:pt x="2610986" y="374333"/>
                      <a:pt x="2611556" y="374333"/>
                      <a:pt x="2612012" y="374187"/>
                    </a:cubicBezTo>
                    <a:cubicBezTo>
                      <a:pt x="2612411" y="373906"/>
                      <a:pt x="2612639" y="373464"/>
                      <a:pt x="2612639" y="372990"/>
                    </a:cubicBezTo>
                    <a:cubicBezTo>
                      <a:pt x="2612867" y="369432"/>
                      <a:pt x="2610416" y="366253"/>
                      <a:pt x="2606939" y="365524"/>
                    </a:cubicBezTo>
                    <a:cubicBezTo>
                      <a:pt x="2603577" y="364868"/>
                      <a:pt x="2600157" y="365045"/>
                      <a:pt x="2596908" y="366037"/>
                    </a:cubicBezTo>
                    <a:cubicBezTo>
                      <a:pt x="2595997" y="367368"/>
                      <a:pt x="2595540" y="368978"/>
                      <a:pt x="2595654" y="370596"/>
                    </a:cubicBezTo>
                    <a:close/>
                    <a:moveTo>
                      <a:pt x="2606540" y="297985"/>
                    </a:moveTo>
                    <a:cubicBezTo>
                      <a:pt x="2604146" y="300607"/>
                      <a:pt x="2599986" y="303001"/>
                      <a:pt x="2597364" y="300664"/>
                    </a:cubicBezTo>
                    <a:cubicBezTo>
                      <a:pt x="2598105" y="298024"/>
                      <a:pt x="2597250" y="295204"/>
                      <a:pt x="2595141" y="293426"/>
                    </a:cubicBezTo>
                    <a:cubicBezTo>
                      <a:pt x="2593033" y="291718"/>
                      <a:pt x="2590582" y="290493"/>
                      <a:pt x="2587960" y="289835"/>
                    </a:cubicBezTo>
                    <a:cubicBezTo>
                      <a:pt x="2584027" y="288630"/>
                      <a:pt x="2579981" y="287678"/>
                      <a:pt x="2575934" y="286985"/>
                    </a:cubicBezTo>
                    <a:cubicBezTo>
                      <a:pt x="2571546" y="286020"/>
                      <a:pt x="2566986" y="286176"/>
                      <a:pt x="2562654" y="287441"/>
                    </a:cubicBezTo>
                    <a:cubicBezTo>
                      <a:pt x="2556955" y="289379"/>
                      <a:pt x="2552110" y="294508"/>
                      <a:pt x="2546354" y="293141"/>
                    </a:cubicBezTo>
                    <a:cubicBezTo>
                      <a:pt x="2547665" y="298415"/>
                      <a:pt x="2546297" y="303984"/>
                      <a:pt x="2542706" y="308073"/>
                    </a:cubicBezTo>
                    <a:cubicBezTo>
                      <a:pt x="2540939" y="309666"/>
                      <a:pt x="2539458" y="311605"/>
                      <a:pt x="2538431" y="313773"/>
                    </a:cubicBezTo>
                    <a:cubicBezTo>
                      <a:pt x="2536551" y="319472"/>
                      <a:pt x="2544131" y="324374"/>
                      <a:pt x="2544131" y="330415"/>
                    </a:cubicBezTo>
                    <a:cubicBezTo>
                      <a:pt x="2544131" y="332467"/>
                      <a:pt x="2543675" y="334576"/>
                      <a:pt x="2544587" y="336115"/>
                    </a:cubicBezTo>
                    <a:cubicBezTo>
                      <a:pt x="2545670" y="337627"/>
                      <a:pt x="2547323" y="338667"/>
                      <a:pt x="2549146" y="339021"/>
                    </a:cubicBezTo>
                    <a:lnTo>
                      <a:pt x="2561743" y="343182"/>
                    </a:lnTo>
                    <a:cubicBezTo>
                      <a:pt x="2563566" y="343930"/>
                      <a:pt x="2565504" y="344166"/>
                      <a:pt x="2567442" y="343866"/>
                    </a:cubicBezTo>
                    <a:cubicBezTo>
                      <a:pt x="2571944" y="342612"/>
                      <a:pt x="2572685" y="336286"/>
                      <a:pt x="2576504" y="333721"/>
                    </a:cubicBezTo>
                    <a:cubicBezTo>
                      <a:pt x="2579240" y="332312"/>
                      <a:pt x="2582375" y="331908"/>
                      <a:pt x="2585339" y="332581"/>
                    </a:cubicBezTo>
                    <a:cubicBezTo>
                      <a:pt x="2586137" y="332554"/>
                      <a:pt x="2586934" y="332816"/>
                      <a:pt x="2587561" y="333322"/>
                    </a:cubicBezTo>
                    <a:cubicBezTo>
                      <a:pt x="2588074" y="333957"/>
                      <a:pt x="2588416" y="334727"/>
                      <a:pt x="2588530" y="335545"/>
                    </a:cubicBezTo>
                    <a:cubicBezTo>
                      <a:pt x="2590240" y="339881"/>
                      <a:pt x="2595141" y="342018"/>
                      <a:pt x="2599473" y="340316"/>
                    </a:cubicBezTo>
                    <a:cubicBezTo>
                      <a:pt x="2600613" y="339876"/>
                      <a:pt x="2601582" y="339201"/>
                      <a:pt x="2602437" y="338337"/>
                    </a:cubicBezTo>
                    <a:cubicBezTo>
                      <a:pt x="2603178" y="337187"/>
                      <a:pt x="2604032" y="336117"/>
                      <a:pt x="2605001" y="335146"/>
                    </a:cubicBezTo>
                    <a:cubicBezTo>
                      <a:pt x="2606825" y="333994"/>
                      <a:pt x="2608991" y="333585"/>
                      <a:pt x="2611100" y="334006"/>
                    </a:cubicBezTo>
                    <a:lnTo>
                      <a:pt x="2636292" y="335488"/>
                    </a:lnTo>
                    <a:cubicBezTo>
                      <a:pt x="2637773" y="335724"/>
                      <a:pt x="2639312" y="335546"/>
                      <a:pt x="2640680" y="334975"/>
                    </a:cubicBezTo>
                    <a:cubicBezTo>
                      <a:pt x="2642960" y="333345"/>
                      <a:pt x="2644043" y="330470"/>
                      <a:pt x="2643359" y="327736"/>
                    </a:cubicBezTo>
                    <a:cubicBezTo>
                      <a:pt x="2642675" y="322892"/>
                      <a:pt x="2638002" y="317819"/>
                      <a:pt x="2633499" y="319700"/>
                    </a:cubicBezTo>
                    <a:lnTo>
                      <a:pt x="2634525" y="299581"/>
                    </a:lnTo>
                    <a:cubicBezTo>
                      <a:pt x="2631390" y="300322"/>
                      <a:pt x="2628826" y="296674"/>
                      <a:pt x="2625519" y="297073"/>
                    </a:cubicBezTo>
                    <a:cubicBezTo>
                      <a:pt x="2624494" y="297310"/>
                      <a:pt x="2623411" y="297634"/>
                      <a:pt x="2622442" y="298042"/>
                    </a:cubicBezTo>
                    <a:cubicBezTo>
                      <a:pt x="2619136" y="298761"/>
                      <a:pt x="2615831" y="296651"/>
                      <a:pt x="2615147" y="293329"/>
                    </a:cubicBezTo>
                    <a:cubicBezTo>
                      <a:pt x="2615090" y="293153"/>
                      <a:pt x="2615033" y="292976"/>
                      <a:pt x="2615033" y="292799"/>
                    </a:cubicBezTo>
                    <a:cubicBezTo>
                      <a:pt x="2611841" y="292172"/>
                      <a:pt x="2608934" y="295420"/>
                      <a:pt x="2606540" y="298042"/>
                    </a:cubicBezTo>
                    <a:close/>
                    <a:moveTo>
                      <a:pt x="2648488" y="294110"/>
                    </a:moveTo>
                    <a:cubicBezTo>
                      <a:pt x="2643188" y="294964"/>
                      <a:pt x="2641022" y="301234"/>
                      <a:pt x="2639882" y="306477"/>
                    </a:cubicBezTo>
                    <a:lnTo>
                      <a:pt x="2648033" y="310752"/>
                    </a:lnTo>
                    <a:cubicBezTo>
                      <a:pt x="2646494" y="318618"/>
                      <a:pt x="2650940" y="326422"/>
                      <a:pt x="2658463" y="329161"/>
                    </a:cubicBezTo>
                    <a:cubicBezTo>
                      <a:pt x="2658691" y="331736"/>
                      <a:pt x="2658007" y="334308"/>
                      <a:pt x="2656582" y="336457"/>
                    </a:cubicBezTo>
                    <a:cubicBezTo>
                      <a:pt x="2664447" y="338495"/>
                      <a:pt x="2672825" y="337915"/>
                      <a:pt x="2680348" y="334804"/>
                    </a:cubicBezTo>
                    <a:cubicBezTo>
                      <a:pt x="2680918" y="334675"/>
                      <a:pt x="2681489" y="334422"/>
                      <a:pt x="2681944" y="334063"/>
                    </a:cubicBezTo>
                    <a:cubicBezTo>
                      <a:pt x="2682400" y="333560"/>
                      <a:pt x="2682742" y="332925"/>
                      <a:pt x="2682856" y="332239"/>
                    </a:cubicBezTo>
                    <a:cubicBezTo>
                      <a:pt x="2684395" y="328100"/>
                      <a:pt x="2685421" y="323766"/>
                      <a:pt x="2685763" y="319358"/>
                    </a:cubicBezTo>
                    <a:cubicBezTo>
                      <a:pt x="2685649" y="318213"/>
                      <a:pt x="2685877" y="317060"/>
                      <a:pt x="2686447" y="316052"/>
                    </a:cubicBezTo>
                    <a:cubicBezTo>
                      <a:pt x="2687017" y="315404"/>
                      <a:pt x="2687701" y="314913"/>
                      <a:pt x="2688499" y="314628"/>
                    </a:cubicBezTo>
                    <a:cubicBezTo>
                      <a:pt x="2690779" y="313542"/>
                      <a:pt x="2693172" y="312738"/>
                      <a:pt x="2695623" y="312234"/>
                    </a:cubicBezTo>
                    <a:cubicBezTo>
                      <a:pt x="2697903" y="311721"/>
                      <a:pt x="2700810" y="310866"/>
                      <a:pt x="2700923" y="308586"/>
                    </a:cubicBezTo>
                    <a:cubicBezTo>
                      <a:pt x="2700866" y="307468"/>
                      <a:pt x="2700411" y="306406"/>
                      <a:pt x="2699670" y="305565"/>
                    </a:cubicBezTo>
                    <a:cubicBezTo>
                      <a:pt x="2697390" y="302317"/>
                      <a:pt x="2694540" y="298669"/>
                      <a:pt x="2690551" y="298327"/>
                    </a:cubicBezTo>
                    <a:cubicBezTo>
                      <a:pt x="2689297" y="298417"/>
                      <a:pt x="2688042" y="298301"/>
                      <a:pt x="2686789" y="297985"/>
                    </a:cubicBezTo>
                    <a:cubicBezTo>
                      <a:pt x="2685649" y="297382"/>
                      <a:pt x="2684623" y="296477"/>
                      <a:pt x="2683939" y="295363"/>
                    </a:cubicBezTo>
                    <a:cubicBezTo>
                      <a:pt x="2677556" y="288199"/>
                      <a:pt x="2667012" y="286551"/>
                      <a:pt x="2658748" y="291431"/>
                    </a:cubicBezTo>
                    <a:cubicBezTo>
                      <a:pt x="2657380" y="292449"/>
                      <a:pt x="2655898" y="293256"/>
                      <a:pt x="2654302" y="293825"/>
                    </a:cubicBezTo>
                    <a:cubicBezTo>
                      <a:pt x="2652421" y="294394"/>
                      <a:pt x="2650369" y="293825"/>
                      <a:pt x="2648488" y="294167"/>
                    </a:cubicBezTo>
                    <a:close/>
                    <a:moveTo>
                      <a:pt x="2736032" y="336001"/>
                    </a:moveTo>
                    <a:cubicBezTo>
                      <a:pt x="2736944" y="336257"/>
                      <a:pt x="2737857" y="336257"/>
                      <a:pt x="2738768" y="336001"/>
                    </a:cubicBezTo>
                    <a:cubicBezTo>
                      <a:pt x="2744410" y="335208"/>
                      <a:pt x="2750167" y="335017"/>
                      <a:pt x="2755866" y="335431"/>
                    </a:cubicBezTo>
                    <a:cubicBezTo>
                      <a:pt x="2759685" y="335269"/>
                      <a:pt x="2763390" y="336766"/>
                      <a:pt x="2766012" y="339534"/>
                    </a:cubicBezTo>
                    <a:cubicBezTo>
                      <a:pt x="2766696" y="340503"/>
                      <a:pt x="2767265" y="341700"/>
                      <a:pt x="2768349" y="342099"/>
                    </a:cubicBezTo>
                    <a:cubicBezTo>
                      <a:pt x="2769260" y="342383"/>
                      <a:pt x="2770172" y="342383"/>
                      <a:pt x="2771084" y="342099"/>
                    </a:cubicBezTo>
                    <a:cubicBezTo>
                      <a:pt x="2779462" y="339284"/>
                      <a:pt x="2788638" y="340505"/>
                      <a:pt x="2795991" y="345405"/>
                    </a:cubicBezTo>
                    <a:cubicBezTo>
                      <a:pt x="2798385" y="347400"/>
                      <a:pt x="2800892" y="350249"/>
                      <a:pt x="2803970" y="349565"/>
                    </a:cubicBezTo>
                    <a:cubicBezTo>
                      <a:pt x="2807048" y="348881"/>
                      <a:pt x="2808131" y="345063"/>
                      <a:pt x="2808586" y="341928"/>
                    </a:cubicBezTo>
                    <a:cubicBezTo>
                      <a:pt x="2813032" y="342853"/>
                      <a:pt x="2817649" y="342497"/>
                      <a:pt x="2821867" y="340902"/>
                    </a:cubicBezTo>
                    <a:cubicBezTo>
                      <a:pt x="2826141" y="339088"/>
                      <a:pt x="2828364" y="334289"/>
                      <a:pt x="2826939" y="329845"/>
                    </a:cubicBezTo>
                    <a:cubicBezTo>
                      <a:pt x="2824944" y="325457"/>
                      <a:pt x="2819074" y="324659"/>
                      <a:pt x="2814229" y="324545"/>
                    </a:cubicBezTo>
                    <a:lnTo>
                      <a:pt x="2786302" y="323633"/>
                    </a:lnTo>
                    <a:cubicBezTo>
                      <a:pt x="2782255" y="323633"/>
                      <a:pt x="2777125" y="322379"/>
                      <a:pt x="2776555" y="318446"/>
                    </a:cubicBezTo>
                    <a:lnTo>
                      <a:pt x="2748058" y="316679"/>
                    </a:lnTo>
                    <a:cubicBezTo>
                      <a:pt x="2746576" y="316724"/>
                      <a:pt x="2745094" y="316412"/>
                      <a:pt x="2743726" y="315768"/>
                    </a:cubicBezTo>
                    <a:cubicBezTo>
                      <a:pt x="2741960" y="314742"/>
                      <a:pt x="2740991" y="312690"/>
                      <a:pt x="2739281" y="311493"/>
                    </a:cubicBezTo>
                    <a:cubicBezTo>
                      <a:pt x="2735634" y="309099"/>
                      <a:pt x="2730846" y="311493"/>
                      <a:pt x="2727255" y="314001"/>
                    </a:cubicBezTo>
                    <a:lnTo>
                      <a:pt x="2724121" y="316110"/>
                    </a:lnTo>
                    <a:cubicBezTo>
                      <a:pt x="2722924" y="316806"/>
                      <a:pt x="2721898" y="317808"/>
                      <a:pt x="2721214" y="319016"/>
                    </a:cubicBezTo>
                    <a:cubicBezTo>
                      <a:pt x="2719903" y="321980"/>
                      <a:pt x="2722810" y="325058"/>
                      <a:pt x="2725774" y="326483"/>
                    </a:cubicBezTo>
                    <a:cubicBezTo>
                      <a:pt x="2728737" y="327907"/>
                      <a:pt x="2732213" y="328876"/>
                      <a:pt x="2733638" y="331783"/>
                    </a:cubicBezTo>
                    <a:cubicBezTo>
                      <a:pt x="2734379" y="333379"/>
                      <a:pt x="2734607" y="335317"/>
                      <a:pt x="2736032" y="336001"/>
                    </a:cubicBezTo>
                    <a:close/>
                    <a:moveTo>
                      <a:pt x="3229208" y="567741"/>
                    </a:moveTo>
                    <a:cubicBezTo>
                      <a:pt x="3227099" y="569280"/>
                      <a:pt x="3228125" y="572757"/>
                      <a:pt x="3226814" y="575037"/>
                    </a:cubicBezTo>
                    <a:cubicBezTo>
                      <a:pt x="3225503" y="576849"/>
                      <a:pt x="3223337" y="577841"/>
                      <a:pt x="3221114" y="577658"/>
                    </a:cubicBezTo>
                    <a:cubicBezTo>
                      <a:pt x="3218949" y="577482"/>
                      <a:pt x="3216783" y="577601"/>
                      <a:pt x="3214617" y="578000"/>
                    </a:cubicBezTo>
                    <a:cubicBezTo>
                      <a:pt x="3217980" y="580765"/>
                      <a:pt x="3222312" y="581984"/>
                      <a:pt x="3226643" y="581363"/>
                    </a:cubicBezTo>
                    <a:cubicBezTo>
                      <a:pt x="3230063" y="581722"/>
                      <a:pt x="3233425" y="580765"/>
                      <a:pt x="3236161" y="578684"/>
                    </a:cubicBezTo>
                    <a:cubicBezTo>
                      <a:pt x="3238726" y="576011"/>
                      <a:pt x="3238669" y="571754"/>
                      <a:pt x="3235990" y="569172"/>
                    </a:cubicBezTo>
                    <a:cubicBezTo>
                      <a:pt x="3234736" y="567975"/>
                      <a:pt x="3233083" y="567297"/>
                      <a:pt x="3231374" y="567285"/>
                    </a:cubicBezTo>
                    <a:cubicBezTo>
                      <a:pt x="3230633" y="567257"/>
                      <a:pt x="3229892" y="567433"/>
                      <a:pt x="3229208" y="567798"/>
                    </a:cubicBezTo>
                    <a:close/>
                    <a:moveTo>
                      <a:pt x="3444021" y="528757"/>
                    </a:moveTo>
                    <a:cubicBezTo>
                      <a:pt x="3447840" y="530695"/>
                      <a:pt x="3451716" y="526705"/>
                      <a:pt x="3455420" y="524653"/>
                    </a:cubicBezTo>
                    <a:cubicBezTo>
                      <a:pt x="3459124" y="522601"/>
                      <a:pt x="3464482" y="522031"/>
                      <a:pt x="3467788" y="518954"/>
                    </a:cubicBezTo>
                    <a:cubicBezTo>
                      <a:pt x="3468814" y="517928"/>
                      <a:pt x="3469555" y="516731"/>
                      <a:pt x="3470580" y="515705"/>
                    </a:cubicBezTo>
                    <a:cubicBezTo>
                      <a:pt x="3474912" y="512610"/>
                      <a:pt x="3480383" y="511550"/>
                      <a:pt x="3485570" y="512798"/>
                    </a:cubicBezTo>
                    <a:lnTo>
                      <a:pt x="3509907" y="515192"/>
                    </a:lnTo>
                    <a:cubicBezTo>
                      <a:pt x="3512357" y="515620"/>
                      <a:pt x="3514865" y="515620"/>
                      <a:pt x="3517316" y="515192"/>
                    </a:cubicBezTo>
                    <a:cubicBezTo>
                      <a:pt x="3519767" y="514651"/>
                      <a:pt x="3521819" y="512855"/>
                      <a:pt x="3522617" y="510462"/>
                    </a:cubicBezTo>
                    <a:cubicBezTo>
                      <a:pt x="3522959" y="506945"/>
                      <a:pt x="3521078" y="503582"/>
                      <a:pt x="3517943" y="501969"/>
                    </a:cubicBezTo>
                    <a:cubicBezTo>
                      <a:pt x="3509622" y="496270"/>
                      <a:pt x="3498679" y="497125"/>
                      <a:pt x="3488648" y="498037"/>
                    </a:cubicBezTo>
                    <a:lnTo>
                      <a:pt x="3468700" y="499917"/>
                    </a:lnTo>
                    <a:cubicBezTo>
                      <a:pt x="3465622" y="499923"/>
                      <a:pt x="3462658" y="500881"/>
                      <a:pt x="3460151" y="502653"/>
                    </a:cubicBezTo>
                    <a:cubicBezTo>
                      <a:pt x="3458953" y="503793"/>
                      <a:pt x="3458156" y="505275"/>
                      <a:pt x="3456959" y="506358"/>
                    </a:cubicBezTo>
                    <a:cubicBezTo>
                      <a:pt x="3453482" y="509607"/>
                      <a:pt x="3447726" y="508809"/>
                      <a:pt x="3443850" y="511487"/>
                    </a:cubicBezTo>
                    <a:cubicBezTo>
                      <a:pt x="3439576" y="515067"/>
                      <a:pt x="3438492" y="521216"/>
                      <a:pt x="3441342" y="526021"/>
                    </a:cubicBezTo>
                    <a:cubicBezTo>
                      <a:pt x="3441912" y="527201"/>
                      <a:pt x="3442881" y="528175"/>
                      <a:pt x="3444021" y="528814"/>
                    </a:cubicBezTo>
                    <a:close/>
                    <a:moveTo>
                      <a:pt x="3681005" y="819430"/>
                    </a:moveTo>
                    <a:cubicBezTo>
                      <a:pt x="3676731" y="819886"/>
                      <a:pt x="3672570" y="821140"/>
                      <a:pt x="3668296" y="821311"/>
                    </a:cubicBezTo>
                    <a:cubicBezTo>
                      <a:pt x="3661912" y="821653"/>
                      <a:pt x="3655129" y="819715"/>
                      <a:pt x="3649373" y="822451"/>
                    </a:cubicBezTo>
                    <a:cubicBezTo>
                      <a:pt x="3649373" y="824787"/>
                      <a:pt x="3649373" y="827124"/>
                      <a:pt x="3649373" y="829461"/>
                    </a:cubicBezTo>
                    <a:cubicBezTo>
                      <a:pt x="3661171" y="831171"/>
                      <a:pt x="3672969" y="832254"/>
                      <a:pt x="3684881" y="832710"/>
                    </a:cubicBezTo>
                    <a:cubicBezTo>
                      <a:pt x="3686875" y="837440"/>
                      <a:pt x="3693145" y="838067"/>
                      <a:pt x="3698218" y="838010"/>
                    </a:cubicBezTo>
                    <a:lnTo>
                      <a:pt x="3713036" y="838010"/>
                    </a:lnTo>
                    <a:cubicBezTo>
                      <a:pt x="3714005" y="838079"/>
                      <a:pt x="3714974" y="837845"/>
                      <a:pt x="3715829" y="837326"/>
                    </a:cubicBezTo>
                    <a:cubicBezTo>
                      <a:pt x="3716570" y="836699"/>
                      <a:pt x="3716684" y="835331"/>
                      <a:pt x="3715829" y="834932"/>
                    </a:cubicBezTo>
                    <a:cubicBezTo>
                      <a:pt x="3712295" y="830607"/>
                      <a:pt x="3707052" y="828099"/>
                      <a:pt x="3701466" y="828093"/>
                    </a:cubicBezTo>
                    <a:cubicBezTo>
                      <a:pt x="3699186" y="828384"/>
                      <a:pt x="3696906" y="828213"/>
                      <a:pt x="3694741" y="827580"/>
                    </a:cubicBezTo>
                    <a:cubicBezTo>
                      <a:pt x="3692689" y="826611"/>
                      <a:pt x="3691435" y="823534"/>
                      <a:pt x="3693202" y="821881"/>
                    </a:cubicBezTo>
                    <a:cubicBezTo>
                      <a:pt x="3689612" y="819544"/>
                      <a:pt x="3685223" y="818643"/>
                      <a:pt x="3681005" y="819373"/>
                    </a:cubicBezTo>
                    <a:close/>
                    <a:moveTo>
                      <a:pt x="2645867" y="1217538"/>
                    </a:moveTo>
                    <a:cubicBezTo>
                      <a:pt x="2644898" y="1215885"/>
                      <a:pt x="2643074" y="1215030"/>
                      <a:pt x="2641706" y="1213719"/>
                    </a:cubicBezTo>
                    <a:cubicBezTo>
                      <a:pt x="2637716" y="1209844"/>
                      <a:pt x="2639027" y="1203403"/>
                      <a:pt x="2638970" y="1197818"/>
                    </a:cubicBezTo>
                    <a:cubicBezTo>
                      <a:pt x="2638913" y="1192232"/>
                      <a:pt x="2634582" y="1185336"/>
                      <a:pt x="2629509" y="1187559"/>
                    </a:cubicBezTo>
                    <a:cubicBezTo>
                      <a:pt x="2623810" y="1195823"/>
                      <a:pt x="2623525" y="1206538"/>
                      <a:pt x="2623468" y="1216512"/>
                    </a:cubicBezTo>
                    <a:cubicBezTo>
                      <a:pt x="2623240" y="1219772"/>
                      <a:pt x="2623582" y="1223038"/>
                      <a:pt x="2624380" y="1226201"/>
                    </a:cubicBezTo>
                    <a:cubicBezTo>
                      <a:pt x="2625178" y="1228498"/>
                      <a:pt x="2626203" y="1230715"/>
                      <a:pt x="2627401" y="1232813"/>
                    </a:cubicBezTo>
                    <a:cubicBezTo>
                      <a:pt x="2633841" y="1245785"/>
                      <a:pt x="2636007" y="1260489"/>
                      <a:pt x="2633442" y="1274761"/>
                    </a:cubicBezTo>
                    <a:cubicBezTo>
                      <a:pt x="2632188" y="1281543"/>
                      <a:pt x="2629908" y="1288155"/>
                      <a:pt x="2628883" y="1295051"/>
                    </a:cubicBezTo>
                    <a:cubicBezTo>
                      <a:pt x="2628085" y="1304689"/>
                      <a:pt x="2628198" y="1314389"/>
                      <a:pt x="2629224" y="1324004"/>
                    </a:cubicBezTo>
                    <a:cubicBezTo>
                      <a:pt x="2630193" y="1343405"/>
                      <a:pt x="2628312" y="1362846"/>
                      <a:pt x="2623525" y="1381683"/>
                    </a:cubicBezTo>
                    <a:cubicBezTo>
                      <a:pt x="2622556" y="1385673"/>
                      <a:pt x="2621644" y="1390517"/>
                      <a:pt x="2624608" y="1393367"/>
                    </a:cubicBezTo>
                    <a:cubicBezTo>
                      <a:pt x="2628711" y="1393743"/>
                      <a:pt x="2632644" y="1391663"/>
                      <a:pt x="2634696" y="1388066"/>
                    </a:cubicBezTo>
                    <a:cubicBezTo>
                      <a:pt x="2636634" y="1384533"/>
                      <a:pt x="2637888" y="1380663"/>
                      <a:pt x="2638343" y="1376667"/>
                    </a:cubicBezTo>
                    <a:cubicBezTo>
                      <a:pt x="2643017" y="1374502"/>
                      <a:pt x="2647519" y="1379802"/>
                      <a:pt x="2649742" y="1384305"/>
                    </a:cubicBezTo>
                    <a:cubicBezTo>
                      <a:pt x="2651965" y="1388807"/>
                      <a:pt x="2656981" y="1393994"/>
                      <a:pt x="2661540" y="1391486"/>
                    </a:cubicBezTo>
                    <a:cubicBezTo>
                      <a:pt x="2663934" y="1389862"/>
                      <a:pt x="2665017" y="1386864"/>
                      <a:pt x="2664219" y="1384077"/>
                    </a:cubicBezTo>
                    <a:cubicBezTo>
                      <a:pt x="2663364" y="1381364"/>
                      <a:pt x="2661768" y="1378924"/>
                      <a:pt x="2659659" y="1377009"/>
                    </a:cubicBezTo>
                    <a:cubicBezTo>
                      <a:pt x="2653903" y="1372170"/>
                      <a:pt x="2648831" y="1366642"/>
                      <a:pt x="2644442" y="1360538"/>
                    </a:cubicBezTo>
                    <a:cubicBezTo>
                      <a:pt x="2638229" y="1349709"/>
                      <a:pt x="2640452" y="1336201"/>
                      <a:pt x="2642846" y="1323947"/>
                    </a:cubicBezTo>
                    <a:lnTo>
                      <a:pt x="2646437" y="1305709"/>
                    </a:lnTo>
                    <a:cubicBezTo>
                      <a:pt x="2646551" y="1304358"/>
                      <a:pt x="2647007" y="1303059"/>
                      <a:pt x="2647805" y="1301947"/>
                    </a:cubicBezTo>
                    <a:cubicBezTo>
                      <a:pt x="2650996" y="1298186"/>
                      <a:pt x="2659204" y="1301491"/>
                      <a:pt x="2660857" y="1296818"/>
                    </a:cubicBezTo>
                    <a:cubicBezTo>
                      <a:pt x="2662851" y="1292971"/>
                      <a:pt x="2662224" y="1288274"/>
                      <a:pt x="2659204" y="1285134"/>
                    </a:cubicBezTo>
                    <a:cubicBezTo>
                      <a:pt x="2656240" y="1282079"/>
                      <a:pt x="2653903" y="1278528"/>
                      <a:pt x="2652193" y="1274647"/>
                    </a:cubicBezTo>
                    <a:cubicBezTo>
                      <a:pt x="2651681" y="1270691"/>
                      <a:pt x="2651851" y="1266679"/>
                      <a:pt x="2652763" y="1262792"/>
                    </a:cubicBezTo>
                    <a:cubicBezTo>
                      <a:pt x="2654074" y="1249341"/>
                      <a:pt x="2646209" y="1236403"/>
                      <a:pt x="2646323" y="1222896"/>
                    </a:cubicBezTo>
                    <a:cubicBezTo>
                      <a:pt x="2646665" y="1221083"/>
                      <a:pt x="2646551" y="1219208"/>
                      <a:pt x="2645867" y="1217481"/>
                    </a:cubicBezTo>
                    <a:close/>
                    <a:moveTo>
                      <a:pt x="46907" y="1126347"/>
                    </a:moveTo>
                    <a:cubicBezTo>
                      <a:pt x="46593" y="1124192"/>
                      <a:pt x="46080" y="1122078"/>
                      <a:pt x="45368" y="1120020"/>
                    </a:cubicBezTo>
                    <a:cubicBezTo>
                      <a:pt x="44433" y="1115215"/>
                      <a:pt x="41971" y="1110838"/>
                      <a:pt x="38357" y="1107538"/>
                    </a:cubicBezTo>
                    <a:cubicBezTo>
                      <a:pt x="31974" y="1102808"/>
                      <a:pt x="21601" y="1105259"/>
                      <a:pt x="16357" y="1099274"/>
                    </a:cubicBezTo>
                    <a:cubicBezTo>
                      <a:pt x="14477" y="1097108"/>
                      <a:pt x="13622" y="1094259"/>
                      <a:pt x="11741" y="1092093"/>
                    </a:cubicBezTo>
                    <a:cubicBezTo>
                      <a:pt x="10362" y="1090571"/>
                      <a:pt x="8583" y="1089471"/>
                      <a:pt x="6611" y="1088901"/>
                    </a:cubicBezTo>
                    <a:cubicBezTo>
                      <a:pt x="4748" y="1092155"/>
                      <a:pt x="2531" y="1095193"/>
                      <a:pt x="0" y="1097963"/>
                    </a:cubicBezTo>
                    <a:cubicBezTo>
                      <a:pt x="3061" y="1100545"/>
                      <a:pt x="6839" y="1102118"/>
                      <a:pt x="10829" y="1102466"/>
                    </a:cubicBezTo>
                    <a:cubicBezTo>
                      <a:pt x="11570" y="1106626"/>
                      <a:pt x="5415" y="1108165"/>
                      <a:pt x="1197" y="1107481"/>
                    </a:cubicBezTo>
                    <a:cubicBezTo>
                      <a:pt x="1539" y="1111357"/>
                      <a:pt x="1824" y="1115176"/>
                      <a:pt x="2166" y="1118880"/>
                    </a:cubicBezTo>
                    <a:cubicBezTo>
                      <a:pt x="2166" y="1120647"/>
                      <a:pt x="2166" y="1122870"/>
                      <a:pt x="456" y="1123440"/>
                    </a:cubicBezTo>
                    <a:cubicBezTo>
                      <a:pt x="1140" y="1124295"/>
                      <a:pt x="1710" y="1125150"/>
                      <a:pt x="2451" y="1125948"/>
                    </a:cubicBezTo>
                    <a:cubicBezTo>
                      <a:pt x="3266" y="1126911"/>
                      <a:pt x="4223" y="1127737"/>
                      <a:pt x="5300" y="1128398"/>
                    </a:cubicBezTo>
                    <a:cubicBezTo>
                      <a:pt x="6959" y="1129077"/>
                      <a:pt x="8749" y="1129390"/>
                      <a:pt x="10544" y="1129310"/>
                    </a:cubicBezTo>
                    <a:lnTo>
                      <a:pt x="23653" y="1129652"/>
                    </a:lnTo>
                    <a:cubicBezTo>
                      <a:pt x="30019" y="1129128"/>
                      <a:pt x="36385" y="1130650"/>
                      <a:pt x="41834" y="1133984"/>
                    </a:cubicBezTo>
                    <a:cubicBezTo>
                      <a:pt x="43635" y="1135774"/>
                      <a:pt x="45693" y="1137290"/>
                      <a:pt x="47932" y="1138486"/>
                    </a:cubicBezTo>
                    <a:cubicBezTo>
                      <a:pt x="47471" y="1136777"/>
                      <a:pt x="47203" y="1135015"/>
                      <a:pt x="47135" y="1133243"/>
                    </a:cubicBezTo>
                    <a:cubicBezTo>
                      <a:pt x="46850" y="1131020"/>
                      <a:pt x="47021" y="1128683"/>
                      <a:pt x="46736" y="1126347"/>
                    </a:cubicBezTo>
                    <a:close/>
                    <a:moveTo>
                      <a:pt x="3678213" y="736446"/>
                    </a:moveTo>
                    <a:cubicBezTo>
                      <a:pt x="3675192" y="740076"/>
                      <a:pt x="3670119" y="741359"/>
                      <a:pt x="3665730" y="739637"/>
                    </a:cubicBezTo>
                    <a:cubicBezTo>
                      <a:pt x="3665787" y="736491"/>
                      <a:pt x="3663223" y="733909"/>
                      <a:pt x="3660088" y="733875"/>
                    </a:cubicBezTo>
                    <a:cubicBezTo>
                      <a:pt x="3659803" y="733869"/>
                      <a:pt x="3659461" y="733892"/>
                      <a:pt x="3659176" y="733938"/>
                    </a:cubicBezTo>
                    <a:cubicBezTo>
                      <a:pt x="3660658" y="738155"/>
                      <a:pt x="3655699" y="742202"/>
                      <a:pt x="3651254" y="742031"/>
                    </a:cubicBezTo>
                    <a:cubicBezTo>
                      <a:pt x="3646865" y="741319"/>
                      <a:pt x="3642648" y="739751"/>
                      <a:pt x="3638829" y="737414"/>
                    </a:cubicBezTo>
                    <a:cubicBezTo>
                      <a:pt x="3634953" y="735072"/>
                      <a:pt x="3630052" y="735180"/>
                      <a:pt x="3626233" y="737699"/>
                    </a:cubicBezTo>
                    <a:cubicBezTo>
                      <a:pt x="3625321" y="743741"/>
                      <a:pt x="3632844" y="747104"/>
                      <a:pt x="3636606" y="751891"/>
                    </a:cubicBezTo>
                    <a:cubicBezTo>
                      <a:pt x="3640881" y="757482"/>
                      <a:pt x="3639855" y="765496"/>
                      <a:pt x="3634269" y="769793"/>
                    </a:cubicBezTo>
                    <a:cubicBezTo>
                      <a:pt x="3631249" y="772107"/>
                      <a:pt x="3627373" y="772962"/>
                      <a:pt x="3623668" y="772124"/>
                    </a:cubicBezTo>
                    <a:cubicBezTo>
                      <a:pt x="3623668" y="774689"/>
                      <a:pt x="3623668" y="777311"/>
                      <a:pt x="3623668" y="779876"/>
                    </a:cubicBezTo>
                    <a:cubicBezTo>
                      <a:pt x="3626689" y="780674"/>
                      <a:pt x="3629197" y="782754"/>
                      <a:pt x="3630565" y="785575"/>
                    </a:cubicBezTo>
                    <a:cubicBezTo>
                      <a:pt x="3624523" y="791799"/>
                      <a:pt x="3614606" y="791970"/>
                      <a:pt x="3608394" y="785951"/>
                    </a:cubicBezTo>
                    <a:cubicBezTo>
                      <a:pt x="3607026" y="784618"/>
                      <a:pt x="3605886" y="783039"/>
                      <a:pt x="3605088" y="781300"/>
                    </a:cubicBezTo>
                    <a:lnTo>
                      <a:pt x="3595171" y="779477"/>
                    </a:lnTo>
                    <a:lnTo>
                      <a:pt x="3595171" y="771668"/>
                    </a:lnTo>
                    <a:cubicBezTo>
                      <a:pt x="3584171" y="771640"/>
                      <a:pt x="3573228" y="769713"/>
                      <a:pt x="3562855" y="765969"/>
                    </a:cubicBezTo>
                    <a:cubicBezTo>
                      <a:pt x="3562912" y="758827"/>
                      <a:pt x="3559777" y="752028"/>
                      <a:pt x="3554306" y="747446"/>
                    </a:cubicBezTo>
                    <a:cubicBezTo>
                      <a:pt x="3543591" y="741245"/>
                      <a:pt x="3530596" y="740424"/>
                      <a:pt x="3519197" y="745223"/>
                    </a:cubicBezTo>
                    <a:cubicBezTo>
                      <a:pt x="3516290" y="746477"/>
                      <a:pt x="3513041" y="748073"/>
                      <a:pt x="3510249" y="746648"/>
                    </a:cubicBezTo>
                    <a:cubicBezTo>
                      <a:pt x="3507456" y="745223"/>
                      <a:pt x="3506487" y="739979"/>
                      <a:pt x="3503410" y="737928"/>
                    </a:cubicBezTo>
                    <a:cubicBezTo>
                      <a:pt x="3502042" y="737016"/>
                      <a:pt x="3500275" y="736788"/>
                      <a:pt x="3498964" y="735819"/>
                    </a:cubicBezTo>
                    <a:cubicBezTo>
                      <a:pt x="3494405" y="732513"/>
                      <a:pt x="3498337" y="725446"/>
                      <a:pt x="3502270" y="721456"/>
                    </a:cubicBezTo>
                    <a:cubicBezTo>
                      <a:pt x="3506202" y="717466"/>
                      <a:pt x="3509793" y="710057"/>
                      <a:pt x="3505006" y="707093"/>
                    </a:cubicBezTo>
                    <a:cubicBezTo>
                      <a:pt x="3503238" y="706278"/>
                      <a:pt x="3501244" y="706056"/>
                      <a:pt x="3499306" y="706466"/>
                    </a:cubicBezTo>
                    <a:cubicBezTo>
                      <a:pt x="3488249" y="708091"/>
                      <a:pt x="3477933" y="713038"/>
                      <a:pt x="3469782" y="720658"/>
                    </a:cubicBezTo>
                    <a:cubicBezTo>
                      <a:pt x="3466648" y="723736"/>
                      <a:pt x="3469782" y="729036"/>
                      <a:pt x="3473715" y="731202"/>
                    </a:cubicBezTo>
                    <a:cubicBezTo>
                      <a:pt x="3477648" y="733368"/>
                      <a:pt x="3482379" y="734964"/>
                      <a:pt x="3483690" y="739181"/>
                    </a:cubicBezTo>
                    <a:cubicBezTo>
                      <a:pt x="3485855" y="745964"/>
                      <a:pt x="3476850" y="750580"/>
                      <a:pt x="3469782" y="751606"/>
                    </a:cubicBezTo>
                    <a:cubicBezTo>
                      <a:pt x="3458441" y="753122"/>
                      <a:pt x="3446928" y="753122"/>
                      <a:pt x="3435586" y="751606"/>
                    </a:cubicBezTo>
                    <a:cubicBezTo>
                      <a:pt x="3436783" y="754513"/>
                      <a:pt x="3434161" y="757306"/>
                      <a:pt x="3431767" y="759472"/>
                    </a:cubicBezTo>
                    <a:cubicBezTo>
                      <a:pt x="3428006" y="763074"/>
                      <a:pt x="3423161" y="765285"/>
                      <a:pt x="3417974" y="765741"/>
                    </a:cubicBezTo>
                    <a:cubicBezTo>
                      <a:pt x="3412845" y="765741"/>
                      <a:pt x="3407601" y="760725"/>
                      <a:pt x="3409083" y="755824"/>
                    </a:cubicBezTo>
                    <a:cubicBezTo>
                      <a:pt x="3401959" y="755242"/>
                      <a:pt x="3394834" y="757271"/>
                      <a:pt x="3389078" y="761523"/>
                    </a:cubicBezTo>
                    <a:cubicBezTo>
                      <a:pt x="3384063" y="766539"/>
                      <a:pt x="3385088" y="777368"/>
                      <a:pt x="3392099" y="778622"/>
                    </a:cubicBezTo>
                    <a:cubicBezTo>
                      <a:pt x="3395062" y="779078"/>
                      <a:pt x="3398539" y="777881"/>
                      <a:pt x="3400762" y="779876"/>
                    </a:cubicBezTo>
                    <a:cubicBezTo>
                      <a:pt x="3402985" y="781870"/>
                      <a:pt x="3402358" y="784834"/>
                      <a:pt x="3401959" y="787456"/>
                    </a:cubicBezTo>
                    <a:cubicBezTo>
                      <a:pt x="3401104" y="791525"/>
                      <a:pt x="3401503" y="795754"/>
                      <a:pt x="3403099" y="799596"/>
                    </a:cubicBezTo>
                    <a:cubicBezTo>
                      <a:pt x="3404751" y="803551"/>
                      <a:pt x="3408855" y="805888"/>
                      <a:pt x="3413130" y="805295"/>
                    </a:cubicBezTo>
                    <a:cubicBezTo>
                      <a:pt x="3412218" y="809427"/>
                      <a:pt x="3411933" y="813668"/>
                      <a:pt x="3412218" y="817891"/>
                    </a:cubicBezTo>
                    <a:cubicBezTo>
                      <a:pt x="3416493" y="816455"/>
                      <a:pt x="3421166" y="818775"/>
                      <a:pt x="3422591" y="823078"/>
                    </a:cubicBezTo>
                    <a:cubicBezTo>
                      <a:pt x="3422990" y="824160"/>
                      <a:pt x="3423104" y="825306"/>
                      <a:pt x="3422990" y="826440"/>
                    </a:cubicBezTo>
                    <a:lnTo>
                      <a:pt x="3428689" y="827181"/>
                    </a:lnTo>
                    <a:cubicBezTo>
                      <a:pt x="3430228" y="833815"/>
                      <a:pt x="3434674" y="839424"/>
                      <a:pt x="3440715" y="842513"/>
                    </a:cubicBezTo>
                    <a:cubicBezTo>
                      <a:pt x="3446870" y="845773"/>
                      <a:pt x="3454109" y="846485"/>
                      <a:pt x="3460778" y="844508"/>
                    </a:cubicBezTo>
                    <a:cubicBezTo>
                      <a:pt x="3462431" y="850207"/>
                      <a:pt x="3454451" y="853285"/>
                      <a:pt x="3448581" y="853684"/>
                    </a:cubicBezTo>
                    <a:lnTo>
                      <a:pt x="3449436" y="858129"/>
                    </a:lnTo>
                    <a:cubicBezTo>
                      <a:pt x="3449379" y="859577"/>
                      <a:pt x="3449093" y="861002"/>
                      <a:pt x="3448581" y="862347"/>
                    </a:cubicBezTo>
                    <a:cubicBezTo>
                      <a:pt x="3443565" y="863943"/>
                      <a:pt x="3437182" y="865140"/>
                      <a:pt x="3433933" y="860865"/>
                    </a:cubicBezTo>
                    <a:cubicBezTo>
                      <a:pt x="3433192" y="859782"/>
                      <a:pt x="3432736" y="858471"/>
                      <a:pt x="3431881" y="857445"/>
                    </a:cubicBezTo>
                    <a:cubicBezTo>
                      <a:pt x="3430228" y="855815"/>
                      <a:pt x="3428063" y="854789"/>
                      <a:pt x="3425783" y="854539"/>
                    </a:cubicBezTo>
                    <a:lnTo>
                      <a:pt x="3412104" y="851404"/>
                    </a:lnTo>
                    <a:cubicBezTo>
                      <a:pt x="3409938" y="851108"/>
                      <a:pt x="3407829" y="850281"/>
                      <a:pt x="3406063" y="849010"/>
                    </a:cubicBezTo>
                    <a:cubicBezTo>
                      <a:pt x="3405265" y="848132"/>
                      <a:pt x="3404296" y="847431"/>
                      <a:pt x="3403213" y="846958"/>
                    </a:cubicBezTo>
                    <a:cubicBezTo>
                      <a:pt x="3400591" y="846274"/>
                      <a:pt x="3398824" y="849637"/>
                      <a:pt x="3398539" y="852316"/>
                    </a:cubicBezTo>
                    <a:cubicBezTo>
                      <a:pt x="3398254" y="854995"/>
                      <a:pt x="3398140" y="858357"/>
                      <a:pt x="3395689" y="859497"/>
                    </a:cubicBezTo>
                    <a:cubicBezTo>
                      <a:pt x="3393239" y="860637"/>
                      <a:pt x="3390788" y="858870"/>
                      <a:pt x="3388280" y="859098"/>
                    </a:cubicBezTo>
                    <a:cubicBezTo>
                      <a:pt x="3382581" y="859554"/>
                      <a:pt x="3381669" y="867989"/>
                      <a:pt x="3376539" y="869699"/>
                    </a:cubicBezTo>
                    <a:cubicBezTo>
                      <a:pt x="3374032" y="870554"/>
                      <a:pt x="3370840" y="869699"/>
                      <a:pt x="3368902" y="871352"/>
                    </a:cubicBezTo>
                    <a:cubicBezTo>
                      <a:pt x="3366964" y="873005"/>
                      <a:pt x="3366907" y="875570"/>
                      <a:pt x="3365197" y="877052"/>
                    </a:cubicBezTo>
                    <a:cubicBezTo>
                      <a:pt x="3363203" y="878380"/>
                      <a:pt x="3360752" y="878773"/>
                      <a:pt x="3358472" y="878134"/>
                    </a:cubicBezTo>
                    <a:cubicBezTo>
                      <a:pt x="3352545" y="876824"/>
                      <a:pt x="3346446" y="876385"/>
                      <a:pt x="3340405" y="876824"/>
                    </a:cubicBezTo>
                    <a:cubicBezTo>
                      <a:pt x="3334249" y="877371"/>
                      <a:pt x="3328949" y="881469"/>
                      <a:pt x="3326840" y="887311"/>
                    </a:cubicBezTo>
                    <a:cubicBezTo>
                      <a:pt x="3321140" y="885088"/>
                      <a:pt x="3312705" y="883891"/>
                      <a:pt x="3310368" y="889647"/>
                    </a:cubicBezTo>
                    <a:cubicBezTo>
                      <a:pt x="3309970" y="891306"/>
                      <a:pt x="3309456" y="892947"/>
                      <a:pt x="3308886" y="894549"/>
                    </a:cubicBezTo>
                    <a:cubicBezTo>
                      <a:pt x="3306492" y="898596"/>
                      <a:pt x="3300280" y="896829"/>
                      <a:pt x="3296006" y="898596"/>
                    </a:cubicBezTo>
                    <a:cubicBezTo>
                      <a:pt x="3290705" y="900875"/>
                      <a:pt x="3289224" y="908228"/>
                      <a:pt x="3284037" y="910793"/>
                    </a:cubicBezTo>
                    <a:cubicBezTo>
                      <a:pt x="3281928" y="911818"/>
                      <a:pt x="3279420" y="911875"/>
                      <a:pt x="3277254" y="912730"/>
                    </a:cubicBezTo>
                    <a:cubicBezTo>
                      <a:pt x="3272467" y="915472"/>
                      <a:pt x="3269047" y="920077"/>
                      <a:pt x="3267793" y="925440"/>
                    </a:cubicBezTo>
                    <a:lnTo>
                      <a:pt x="3259757" y="926124"/>
                    </a:lnTo>
                    <a:cubicBezTo>
                      <a:pt x="3259700" y="930422"/>
                      <a:pt x="3257363" y="934365"/>
                      <a:pt x="3253602" y="936440"/>
                    </a:cubicBezTo>
                    <a:cubicBezTo>
                      <a:pt x="3249897" y="938452"/>
                      <a:pt x="3245794" y="939637"/>
                      <a:pt x="3241576" y="939917"/>
                    </a:cubicBezTo>
                    <a:cubicBezTo>
                      <a:pt x="3240436" y="940202"/>
                      <a:pt x="3239239" y="939991"/>
                      <a:pt x="3238270" y="939347"/>
                    </a:cubicBezTo>
                    <a:cubicBezTo>
                      <a:pt x="3236902" y="938150"/>
                      <a:pt x="3237643" y="935699"/>
                      <a:pt x="3236617" y="934103"/>
                    </a:cubicBezTo>
                    <a:cubicBezTo>
                      <a:pt x="3235591" y="932507"/>
                      <a:pt x="3231374" y="933134"/>
                      <a:pt x="3229265" y="931425"/>
                    </a:cubicBezTo>
                    <a:cubicBezTo>
                      <a:pt x="3227156" y="929715"/>
                      <a:pt x="3227612" y="927093"/>
                      <a:pt x="3226073" y="925326"/>
                    </a:cubicBezTo>
                    <a:cubicBezTo>
                      <a:pt x="3224762" y="924192"/>
                      <a:pt x="3223166" y="923514"/>
                      <a:pt x="3221457" y="923388"/>
                    </a:cubicBezTo>
                    <a:cubicBezTo>
                      <a:pt x="3214560" y="921308"/>
                      <a:pt x="3207094" y="921918"/>
                      <a:pt x="3200653" y="925098"/>
                    </a:cubicBezTo>
                    <a:cubicBezTo>
                      <a:pt x="3198716" y="926797"/>
                      <a:pt x="3196664" y="928307"/>
                      <a:pt x="3194441" y="929601"/>
                    </a:cubicBezTo>
                    <a:cubicBezTo>
                      <a:pt x="3191592" y="930798"/>
                      <a:pt x="3188171" y="930342"/>
                      <a:pt x="3185607" y="931995"/>
                    </a:cubicBezTo>
                    <a:cubicBezTo>
                      <a:pt x="3183042" y="933647"/>
                      <a:pt x="3182130" y="937124"/>
                      <a:pt x="3180705" y="939917"/>
                    </a:cubicBezTo>
                    <a:cubicBezTo>
                      <a:pt x="3179280" y="942710"/>
                      <a:pt x="3175975" y="945616"/>
                      <a:pt x="3173239" y="943792"/>
                    </a:cubicBezTo>
                    <a:cubicBezTo>
                      <a:pt x="3170503" y="941969"/>
                      <a:pt x="3171244" y="936497"/>
                      <a:pt x="3168508" y="933932"/>
                    </a:cubicBezTo>
                    <a:cubicBezTo>
                      <a:pt x="3165773" y="931368"/>
                      <a:pt x="3161270" y="932507"/>
                      <a:pt x="3159788" y="929544"/>
                    </a:cubicBezTo>
                    <a:cubicBezTo>
                      <a:pt x="3159332" y="928746"/>
                      <a:pt x="3159275" y="927720"/>
                      <a:pt x="3158763" y="926979"/>
                    </a:cubicBezTo>
                    <a:cubicBezTo>
                      <a:pt x="3156824" y="924243"/>
                      <a:pt x="3153063" y="927606"/>
                      <a:pt x="3151296" y="930627"/>
                    </a:cubicBezTo>
                    <a:cubicBezTo>
                      <a:pt x="3147762" y="937694"/>
                      <a:pt x="3142918" y="945559"/>
                      <a:pt x="3135053" y="946471"/>
                    </a:cubicBezTo>
                    <a:cubicBezTo>
                      <a:pt x="3130037" y="946408"/>
                      <a:pt x="3125135" y="945280"/>
                      <a:pt x="3120576" y="943165"/>
                    </a:cubicBezTo>
                    <a:cubicBezTo>
                      <a:pt x="3115902" y="941085"/>
                      <a:pt x="3110431" y="941934"/>
                      <a:pt x="3106612" y="945331"/>
                    </a:cubicBezTo>
                    <a:cubicBezTo>
                      <a:pt x="3103477" y="949093"/>
                      <a:pt x="3104332" y="955419"/>
                      <a:pt x="3100514" y="958497"/>
                    </a:cubicBezTo>
                    <a:cubicBezTo>
                      <a:pt x="3097550" y="961352"/>
                      <a:pt x="3094815" y="964459"/>
                      <a:pt x="3092363" y="967787"/>
                    </a:cubicBezTo>
                    <a:cubicBezTo>
                      <a:pt x="3091337" y="968807"/>
                      <a:pt x="3090540" y="970056"/>
                      <a:pt x="3090084" y="971435"/>
                    </a:cubicBezTo>
                    <a:cubicBezTo>
                      <a:pt x="3090084" y="972746"/>
                      <a:pt x="3090084" y="974057"/>
                      <a:pt x="3089628" y="975311"/>
                    </a:cubicBezTo>
                    <a:cubicBezTo>
                      <a:pt x="3088203" y="980041"/>
                      <a:pt x="3079369" y="979642"/>
                      <a:pt x="3079027" y="984544"/>
                    </a:cubicBezTo>
                    <a:cubicBezTo>
                      <a:pt x="3079027" y="985741"/>
                      <a:pt x="3079483" y="986880"/>
                      <a:pt x="3079027" y="988077"/>
                    </a:cubicBezTo>
                    <a:cubicBezTo>
                      <a:pt x="3078571" y="990699"/>
                      <a:pt x="3075265" y="991440"/>
                      <a:pt x="3072814" y="992580"/>
                    </a:cubicBezTo>
                    <a:cubicBezTo>
                      <a:pt x="3069167" y="994569"/>
                      <a:pt x="3066602" y="998114"/>
                      <a:pt x="3065861" y="1002212"/>
                    </a:cubicBezTo>
                    <a:cubicBezTo>
                      <a:pt x="3065234" y="1006276"/>
                      <a:pt x="3065234" y="1010402"/>
                      <a:pt x="3065861" y="1014466"/>
                    </a:cubicBezTo>
                    <a:cubicBezTo>
                      <a:pt x="3065747" y="1017566"/>
                      <a:pt x="3066944" y="1020576"/>
                      <a:pt x="3069167" y="1022730"/>
                    </a:cubicBezTo>
                    <a:cubicBezTo>
                      <a:pt x="3070933" y="1023665"/>
                      <a:pt x="3072871" y="1024320"/>
                      <a:pt x="3074866" y="1024668"/>
                    </a:cubicBezTo>
                    <a:cubicBezTo>
                      <a:pt x="3076804" y="1025295"/>
                      <a:pt x="3078742" y="1027005"/>
                      <a:pt x="3078343" y="1029000"/>
                    </a:cubicBezTo>
                    <a:cubicBezTo>
                      <a:pt x="3080793" y="1029285"/>
                      <a:pt x="3080452" y="1024668"/>
                      <a:pt x="3082675" y="1023699"/>
                    </a:cubicBezTo>
                    <a:cubicBezTo>
                      <a:pt x="3084897" y="1022730"/>
                      <a:pt x="3086550" y="1025523"/>
                      <a:pt x="3088716" y="1025637"/>
                    </a:cubicBezTo>
                    <a:cubicBezTo>
                      <a:pt x="3089799" y="1025557"/>
                      <a:pt x="3090882" y="1025369"/>
                      <a:pt x="3091908" y="1025067"/>
                    </a:cubicBezTo>
                    <a:cubicBezTo>
                      <a:pt x="3094815" y="1025067"/>
                      <a:pt x="3096809" y="1028658"/>
                      <a:pt x="3095783" y="1031393"/>
                    </a:cubicBezTo>
                    <a:cubicBezTo>
                      <a:pt x="3094472" y="1034095"/>
                      <a:pt x="3091908" y="1035987"/>
                      <a:pt x="3088944" y="1036466"/>
                    </a:cubicBezTo>
                    <a:cubicBezTo>
                      <a:pt x="3087405" y="1036660"/>
                      <a:pt x="3085923" y="1037121"/>
                      <a:pt x="3084555" y="1037834"/>
                    </a:cubicBezTo>
                    <a:cubicBezTo>
                      <a:pt x="3083130" y="1038563"/>
                      <a:pt x="3082504" y="1040199"/>
                      <a:pt x="3082959" y="1041709"/>
                    </a:cubicBezTo>
                    <a:cubicBezTo>
                      <a:pt x="3083416" y="1042462"/>
                      <a:pt x="3083985" y="1043168"/>
                      <a:pt x="3084612" y="1043818"/>
                    </a:cubicBezTo>
                    <a:cubicBezTo>
                      <a:pt x="3087462" y="1047979"/>
                      <a:pt x="3079597" y="1052994"/>
                      <a:pt x="3081306" y="1057725"/>
                    </a:cubicBezTo>
                    <a:cubicBezTo>
                      <a:pt x="3083016" y="1062456"/>
                      <a:pt x="3088659" y="1060689"/>
                      <a:pt x="3092705" y="1062057"/>
                    </a:cubicBezTo>
                    <a:cubicBezTo>
                      <a:pt x="3096923" y="1063704"/>
                      <a:pt x="3099146" y="1068406"/>
                      <a:pt x="3097664" y="1072715"/>
                    </a:cubicBezTo>
                    <a:cubicBezTo>
                      <a:pt x="3093788" y="1075165"/>
                      <a:pt x="3087519" y="1069238"/>
                      <a:pt x="3084669" y="1072715"/>
                    </a:cubicBezTo>
                    <a:cubicBezTo>
                      <a:pt x="3083928" y="1073683"/>
                      <a:pt x="3083757" y="1074994"/>
                      <a:pt x="3082959" y="1075906"/>
                    </a:cubicBezTo>
                    <a:cubicBezTo>
                      <a:pt x="3081991" y="1076738"/>
                      <a:pt x="3080736" y="1077291"/>
                      <a:pt x="3079483" y="1077502"/>
                    </a:cubicBezTo>
                    <a:cubicBezTo>
                      <a:pt x="3069907" y="1080694"/>
                      <a:pt x="3068084" y="1095341"/>
                      <a:pt x="3058395" y="1098248"/>
                    </a:cubicBezTo>
                    <a:cubicBezTo>
                      <a:pt x="3055488" y="1098619"/>
                      <a:pt x="3052581" y="1099228"/>
                      <a:pt x="3049732" y="1100072"/>
                    </a:cubicBezTo>
                    <a:cubicBezTo>
                      <a:pt x="3046768" y="1101497"/>
                      <a:pt x="3045058" y="1104632"/>
                      <a:pt x="3042721" y="1106968"/>
                    </a:cubicBezTo>
                    <a:cubicBezTo>
                      <a:pt x="3040384" y="1109305"/>
                      <a:pt x="3036338" y="1110787"/>
                      <a:pt x="3034001" y="1108450"/>
                    </a:cubicBezTo>
                    <a:cubicBezTo>
                      <a:pt x="3034343" y="1111642"/>
                      <a:pt x="3034001" y="1115803"/>
                      <a:pt x="3031208" y="1116999"/>
                    </a:cubicBezTo>
                    <a:cubicBezTo>
                      <a:pt x="3029726" y="1117569"/>
                      <a:pt x="3027902" y="1116999"/>
                      <a:pt x="3026534" y="1118025"/>
                    </a:cubicBezTo>
                    <a:cubicBezTo>
                      <a:pt x="3025566" y="1118726"/>
                      <a:pt x="3024825" y="1119724"/>
                      <a:pt x="3024426" y="1120875"/>
                    </a:cubicBezTo>
                    <a:cubicBezTo>
                      <a:pt x="3021348" y="1126649"/>
                      <a:pt x="3019410" y="1132958"/>
                      <a:pt x="3018726" y="1139455"/>
                    </a:cubicBezTo>
                    <a:cubicBezTo>
                      <a:pt x="3018156" y="1149543"/>
                      <a:pt x="3023571" y="1159233"/>
                      <a:pt x="3023286" y="1169321"/>
                    </a:cubicBezTo>
                    <a:cubicBezTo>
                      <a:pt x="3023343" y="1170962"/>
                      <a:pt x="3022944" y="1172592"/>
                      <a:pt x="3022203" y="1174051"/>
                    </a:cubicBezTo>
                    <a:cubicBezTo>
                      <a:pt x="3019866" y="1176781"/>
                      <a:pt x="3016447" y="1178383"/>
                      <a:pt x="3012856" y="1178440"/>
                    </a:cubicBezTo>
                    <a:cubicBezTo>
                      <a:pt x="3004706" y="1179865"/>
                      <a:pt x="2996669" y="1182099"/>
                      <a:pt x="2988975" y="1185108"/>
                    </a:cubicBezTo>
                    <a:cubicBezTo>
                      <a:pt x="2988234" y="1185422"/>
                      <a:pt x="2987493" y="1185889"/>
                      <a:pt x="2986923" y="1186476"/>
                    </a:cubicBezTo>
                    <a:cubicBezTo>
                      <a:pt x="2988690" y="1189309"/>
                      <a:pt x="2989260" y="1192763"/>
                      <a:pt x="2988348" y="1195994"/>
                    </a:cubicBezTo>
                    <a:cubicBezTo>
                      <a:pt x="2987778" y="1199015"/>
                      <a:pt x="2986638" y="1201694"/>
                      <a:pt x="2986296" y="1204999"/>
                    </a:cubicBezTo>
                    <a:cubicBezTo>
                      <a:pt x="2985954" y="1208305"/>
                      <a:pt x="2986296" y="1210699"/>
                      <a:pt x="2986296" y="1213549"/>
                    </a:cubicBezTo>
                    <a:cubicBezTo>
                      <a:pt x="2986410" y="1216438"/>
                      <a:pt x="2985327" y="1219237"/>
                      <a:pt x="2983275" y="1221300"/>
                    </a:cubicBezTo>
                    <a:cubicBezTo>
                      <a:pt x="2981281" y="1222662"/>
                      <a:pt x="2979001" y="1223625"/>
                      <a:pt x="2976664" y="1224150"/>
                    </a:cubicBezTo>
                    <a:cubicBezTo>
                      <a:pt x="2974271" y="1224702"/>
                      <a:pt x="2972332" y="1226446"/>
                      <a:pt x="2971535" y="1228766"/>
                    </a:cubicBezTo>
                    <a:cubicBezTo>
                      <a:pt x="2971535" y="1230197"/>
                      <a:pt x="2971421" y="1231627"/>
                      <a:pt x="2971193" y="1233041"/>
                    </a:cubicBezTo>
                    <a:cubicBezTo>
                      <a:pt x="2970166" y="1235719"/>
                      <a:pt x="2966348" y="1235662"/>
                      <a:pt x="2963556" y="1235093"/>
                    </a:cubicBezTo>
                    <a:cubicBezTo>
                      <a:pt x="2963670" y="1237623"/>
                      <a:pt x="2962700" y="1240085"/>
                      <a:pt x="2960933" y="1241875"/>
                    </a:cubicBezTo>
                    <a:cubicBezTo>
                      <a:pt x="2959053" y="1243659"/>
                      <a:pt x="2956203" y="1243847"/>
                      <a:pt x="2954094" y="1242331"/>
                    </a:cubicBezTo>
                    <a:cubicBezTo>
                      <a:pt x="2950675" y="1239481"/>
                      <a:pt x="2953239" y="1233668"/>
                      <a:pt x="2951359" y="1229678"/>
                    </a:cubicBezTo>
                    <a:cubicBezTo>
                      <a:pt x="2950048" y="1226885"/>
                      <a:pt x="2946913" y="1225460"/>
                      <a:pt x="2945260" y="1222839"/>
                    </a:cubicBezTo>
                    <a:cubicBezTo>
                      <a:pt x="2944234" y="1220952"/>
                      <a:pt x="2943779" y="1218826"/>
                      <a:pt x="2943835" y="1216683"/>
                    </a:cubicBezTo>
                    <a:cubicBezTo>
                      <a:pt x="2944063" y="1210374"/>
                      <a:pt x="2944975" y="1204110"/>
                      <a:pt x="2946514" y="1197989"/>
                    </a:cubicBezTo>
                    <a:cubicBezTo>
                      <a:pt x="2949478" y="1182982"/>
                      <a:pt x="2950218" y="1167611"/>
                      <a:pt x="2948623" y="1152393"/>
                    </a:cubicBezTo>
                    <a:cubicBezTo>
                      <a:pt x="2947882" y="1149429"/>
                      <a:pt x="2948452" y="1146278"/>
                      <a:pt x="2950218" y="1143787"/>
                    </a:cubicBezTo>
                    <a:cubicBezTo>
                      <a:pt x="2950959" y="1143103"/>
                      <a:pt x="2951928" y="1142590"/>
                      <a:pt x="2952612" y="1141849"/>
                    </a:cubicBezTo>
                    <a:cubicBezTo>
                      <a:pt x="2953753" y="1140191"/>
                      <a:pt x="2954322" y="1138167"/>
                      <a:pt x="2954094" y="1136150"/>
                    </a:cubicBezTo>
                    <a:cubicBezTo>
                      <a:pt x="2954094" y="1130450"/>
                      <a:pt x="2954094" y="1124751"/>
                      <a:pt x="2954094" y="1119051"/>
                    </a:cubicBezTo>
                    <a:cubicBezTo>
                      <a:pt x="2953581" y="1113101"/>
                      <a:pt x="2954892" y="1107139"/>
                      <a:pt x="2957856" y="1101953"/>
                    </a:cubicBezTo>
                    <a:cubicBezTo>
                      <a:pt x="2960990" y="1102101"/>
                      <a:pt x="2963670" y="1099667"/>
                      <a:pt x="2963840" y="1096521"/>
                    </a:cubicBezTo>
                    <a:cubicBezTo>
                      <a:pt x="2963840" y="1095854"/>
                      <a:pt x="2963783" y="1095182"/>
                      <a:pt x="2963556" y="1094543"/>
                    </a:cubicBezTo>
                    <a:cubicBezTo>
                      <a:pt x="2961788" y="1090212"/>
                      <a:pt x="2967830" y="1085310"/>
                      <a:pt x="2968286" y="1080580"/>
                    </a:cubicBezTo>
                    <a:cubicBezTo>
                      <a:pt x="2968742" y="1075849"/>
                      <a:pt x="2963099" y="1073854"/>
                      <a:pt x="2958767" y="1072316"/>
                    </a:cubicBezTo>
                    <a:cubicBezTo>
                      <a:pt x="2954437" y="1070777"/>
                      <a:pt x="2950048" y="1065248"/>
                      <a:pt x="2953581" y="1062398"/>
                    </a:cubicBezTo>
                    <a:cubicBezTo>
                      <a:pt x="2950048" y="1064143"/>
                      <a:pt x="2945773" y="1062695"/>
                      <a:pt x="2944063" y="1059167"/>
                    </a:cubicBezTo>
                    <a:cubicBezTo>
                      <a:pt x="2942297" y="1055639"/>
                      <a:pt x="2943721" y="1051364"/>
                      <a:pt x="2947255" y="1049626"/>
                    </a:cubicBezTo>
                    <a:cubicBezTo>
                      <a:pt x="2949478" y="1048526"/>
                      <a:pt x="2952100" y="1048663"/>
                      <a:pt x="2954208" y="1049974"/>
                    </a:cubicBezTo>
                    <a:cubicBezTo>
                      <a:pt x="2952498" y="1038974"/>
                      <a:pt x="2955576" y="1024554"/>
                      <a:pt x="2966519" y="1022445"/>
                    </a:cubicBezTo>
                    <a:cubicBezTo>
                      <a:pt x="2970452" y="1021704"/>
                      <a:pt x="2974840" y="1022787"/>
                      <a:pt x="2978203" y="1020564"/>
                    </a:cubicBezTo>
                    <a:cubicBezTo>
                      <a:pt x="2981565" y="1018342"/>
                      <a:pt x="2981965" y="1015663"/>
                      <a:pt x="2984302" y="1013554"/>
                    </a:cubicBezTo>
                    <a:cubicBezTo>
                      <a:pt x="2986239" y="1012106"/>
                      <a:pt x="2988405" y="1010989"/>
                      <a:pt x="2990742" y="1010248"/>
                    </a:cubicBezTo>
                    <a:cubicBezTo>
                      <a:pt x="3003338" y="1005039"/>
                      <a:pt x="3013369" y="995093"/>
                      <a:pt x="3018726" y="982549"/>
                    </a:cubicBezTo>
                    <a:cubicBezTo>
                      <a:pt x="3019809" y="979927"/>
                      <a:pt x="3020949" y="976849"/>
                      <a:pt x="3023571" y="975880"/>
                    </a:cubicBezTo>
                    <a:cubicBezTo>
                      <a:pt x="3026193" y="974912"/>
                      <a:pt x="3031265" y="976963"/>
                      <a:pt x="3034343" y="974912"/>
                    </a:cubicBezTo>
                    <a:cubicBezTo>
                      <a:pt x="3037420" y="972860"/>
                      <a:pt x="3036622" y="966989"/>
                      <a:pt x="3040042" y="964709"/>
                    </a:cubicBezTo>
                    <a:cubicBezTo>
                      <a:pt x="3041638" y="963513"/>
                      <a:pt x="3043804" y="963627"/>
                      <a:pt x="3045742" y="962886"/>
                    </a:cubicBezTo>
                    <a:cubicBezTo>
                      <a:pt x="3049674" y="961233"/>
                      <a:pt x="3050985" y="956445"/>
                      <a:pt x="3053094" y="952741"/>
                    </a:cubicBezTo>
                    <a:cubicBezTo>
                      <a:pt x="3055203" y="949036"/>
                      <a:pt x="3060504" y="945901"/>
                      <a:pt x="3063353" y="949093"/>
                    </a:cubicBezTo>
                    <a:cubicBezTo>
                      <a:pt x="3068596" y="933305"/>
                      <a:pt x="3083359" y="922630"/>
                      <a:pt x="3100001" y="922533"/>
                    </a:cubicBezTo>
                    <a:cubicBezTo>
                      <a:pt x="3099317" y="919251"/>
                      <a:pt x="3100913" y="915911"/>
                      <a:pt x="3103877" y="914383"/>
                    </a:cubicBezTo>
                    <a:cubicBezTo>
                      <a:pt x="3106327" y="913129"/>
                      <a:pt x="3109576" y="913300"/>
                      <a:pt x="3111400" y="911248"/>
                    </a:cubicBezTo>
                    <a:cubicBezTo>
                      <a:pt x="3112540" y="909789"/>
                      <a:pt x="3113110" y="908011"/>
                      <a:pt x="3113167" y="906176"/>
                    </a:cubicBezTo>
                    <a:cubicBezTo>
                      <a:pt x="3113737" y="901559"/>
                      <a:pt x="3114306" y="896943"/>
                      <a:pt x="3114819" y="892326"/>
                    </a:cubicBezTo>
                    <a:cubicBezTo>
                      <a:pt x="3115275" y="885054"/>
                      <a:pt x="3117213" y="877958"/>
                      <a:pt x="3120519" y="871466"/>
                    </a:cubicBezTo>
                    <a:cubicBezTo>
                      <a:pt x="3123996" y="864912"/>
                      <a:pt x="3131120" y="861133"/>
                      <a:pt x="3138472" y="861948"/>
                    </a:cubicBezTo>
                    <a:cubicBezTo>
                      <a:pt x="3140353" y="862347"/>
                      <a:pt x="3142575" y="863088"/>
                      <a:pt x="3144172" y="861948"/>
                    </a:cubicBezTo>
                    <a:cubicBezTo>
                      <a:pt x="3146623" y="859896"/>
                      <a:pt x="3143659" y="856249"/>
                      <a:pt x="3140809" y="854653"/>
                    </a:cubicBezTo>
                    <a:cubicBezTo>
                      <a:pt x="3128270" y="848412"/>
                      <a:pt x="3113622" y="848201"/>
                      <a:pt x="3100913" y="854083"/>
                    </a:cubicBezTo>
                    <a:cubicBezTo>
                      <a:pt x="3098462" y="863772"/>
                      <a:pt x="3096011" y="873501"/>
                      <a:pt x="3093446" y="883264"/>
                    </a:cubicBezTo>
                    <a:cubicBezTo>
                      <a:pt x="3093162" y="884712"/>
                      <a:pt x="3092535" y="886074"/>
                      <a:pt x="3091680" y="887254"/>
                    </a:cubicBezTo>
                    <a:cubicBezTo>
                      <a:pt x="3089571" y="888850"/>
                      <a:pt x="3087006" y="889676"/>
                      <a:pt x="3084384" y="889590"/>
                    </a:cubicBezTo>
                    <a:cubicBezTo>
                      <a:pt x="3068141" y="891813"/>
                      <a:pt x="3058167" y="908114"/>
                      <a:pt x="3044488" y="916948"/>
                    </a:cubicBezTo>
                    <a:cubicBezTo>
                      <a:pt x="3041923" y="919148"/>
                      <a:pt x="3038390" y="919741"/>
                      <a:pt x="3035255" y="918487"/>
                    </a:cubicBezTo>
                    <a:cubicBezTo>
                      <a:pt x="3033488" y="917404"/>
                      <a:pt x="3032519" y="915295"/>
                      <a:pt x="3030638" y="914326"/>
                    </a:cubicBezTo>
                    <a:cubicBezTo>
                      <a:pt x="3028757" y="913357"/>
                      <a:pt x="3024368" y="914326"/>
                      <a:pt x="3021633" y="913072"/>
                    </a:cubicBezTo>
                    <a:cubicBezTo>
                      <a:pt x="3016903" y="910564"/>
                      <a:pt x="3020151" y="903041"/>
                      <a:pt x="3024711" y="900134"/>
                    </a:cubicBezTo>
                    <a:cubicBezTo>
                      <a:pt x="3029271" y="897228"/>
                      <a:pt x="3035312" y="894435"/>
                      <a:pt x="3035597" y="889191"/>
                    </a:cubicBezTo>
                    <a:cubicBezTo>
                      <a:pt x="3035939" y="881725"/>
                      <a:pt x="3025395" y="879787"/>
                      <a:pt x="3017985" y="880528"/>
                    </a:cubicBezTo>
                    <a:lnTo>
                      <a:pt x="2992509" y="883150"/>
                    </a:lnTo>
                    <a:lnTo>
                      <a:pt x="2962302" y="886171"/>
                    </a:lnTo>
                    <a:cubicBezTo>
                      <a:pt x="2960478" y="886222"/>
                      <a:pt x="2958711" y="886735"/>
                      <a:pt x="2957172" y="887653"/>
                    </a:cubicBezTo>
                    <a:cubicBezTo>
                      <a:pt x="2953068" y="890559"/>
                      <a:pt x="2955006" y="897114"/>
                      <a:pt x="2953125" y="901787"/>
                    </a:cubicBezTo>
                    <a:cubicBezTo>
                      <a:pt x="2952157" y="904004"/>
                      <a:pt x="2950618" y="905959"/>
                      <a:pt x="2948737" y="907487"/>
                    </a:cubicBezTo>
                    <a:cubicBezTo>
                      <a:pt x="2941499" y="914212"/>
                      <a:pt x="2933348" y="919963"/>
                      <a:pt x="2924628" y="924585"/>
                    </a:cubicBezTo>
                    <a:cubicBezTo>
                      <a:pt x="2920809" y="926101"/>
                      <a:pt x="2917446" y="928575"/>
                      <a:pt x="2914882" y="931767"/>
                    </a:cubicBezTo>
                    <a:cubicBezTo>
                      <a:pt x="2913799" y="934166"/>
                      <a:pt x="2912545" y="936509"/>
                      <a:pt x="2911177" y="938777"/>
                    </a:cubicBezTo>
                    <a:cubicBezTo>
                      <a:pt x="2908670" y="941855"/>
                      <a:pt x="2904395" y="942767"/>
                      <a:pt x="2901374" y="945331"/>
                    </a:cubicBezTo>
                    <a:cubicBezTo>
                      <a:pt x="2896814" y="949697"/>
                      <a:pt x="2896701" y="956913"/>
                      <a:pt x="2901089" y="961449"/>
                    </a:cubicBezTo>
                    <a:cubicBezTo>
                      <a:pt x="2903312" y="963769"/>
                      <a:pt x="2906390" y="965040"/>
                      <a:pt x="2909638" y="964938"/>
                    </a:cubicBezTo>
                    <a:cubicBezTo>
                      <a:pt x="2911918" y="970232"/>
                      <a:pt x="2911918" y="976228"/>
                      <a:pt x="2909638" y="981523"/>
                    </a:cubicBezTo>
                    <a:cubicBezTo>
                      <a:pt x="2893623" y="978160"/>
                      <a:pt x="2876582" y="974855"/>
                      <a:pt x="2861193" y="980440"/>
                    </a:cubicBezTo>
                    <a:cubicBezTo>
                      <a:pt x="2851732" y="984185"/>
                      <a:pt x="2843410" y="990403"/>
                      <a:pt x="2837141" y="998450"/>
                    </a:cubicBezTo>
                    <a:cubicBezTo>
                      <a:pt x="2835716" y="994347"/>
                      <a:pt x="2834291" y="990243"/>
                      <a:pt x="2832809" y="986140"/>
                    </a:cubicBezTo>
                    <a:cubicBezTo>
                      <a:pt x="2838908" y="985456"/>
                      <a:pt x="2847058" y="981295"/>
                      <a:pt x="2844208" y="975823"/>
                    </a:cubicBezTo>
                    <a:cubicBezTo>
                      <a:pt x="2843353" y="974524"/>
                      <a:pt x="2842385" y="973299"/>
                      <a:pt x="2841301" y="972176"/>
                    </a:cubicBezTo>
                    <a:cubicBezTo>
                      <a:pt x="2839250" y="969252"/>
                      <a:pt x="2839250" y="965354"/>
                      <a:pt x="2841301" y="962430"/>
                    </a:cubicBezTo>
                    <a:lnTo>
                      <a:pt x="2821410" y="964653"/>
                    </a:lnTo>
                    <a:cubicBezTo>
                      <a:pt x="2820271" y="964932"/>
                      <a:pt x="2819130" y="964829"/>
                      <a:pt x="2818048" y="964368"/>
                    </a:cubicBezTo>
                    <a:cubicBezTo>
                      <a:pt x="2816452" y="963570"/>
                      <a:pt x="2815939" y="961689"/>
                      <a:pt x="2815312" y="960036"/>
                    </a:cubicBezTo>
                    <a:cubicBezTo>
                      <a:pt x="2811950" y="950974"/>
                      <a:pt x="2801919" y="946340"/>
                      <a:pt x="2792856" y="949691"/>
                    </a:cubicBezTo>
                    <a:cubicBezTo>
                      <a:pt x="2788240" y="951390"/>
                      <a:pt x="2784592" y="954935"/>
                      <a:pt x="2782711" y="959466"/>
                    </a:cubicBezTo>
                    <a:cubicBezTo>
                      <a:pt x="2781172" y="963057"/>
                      <a:pt x="2780887" y="967103"/>
                      <a:pt x="2779178" y="970865"/>
                    </a:cubicBezTo>
                    <a:cubicBezTo>
                      <a:pt x="2777753" y="974649"/>
                      <a:pt x="2773706" y="976753"/>
                      <a:pt x="2769773" y="975766"/>
                    </a:cubicBezTo>
                    <a:cubicBezTo>
                      <a:pt x="2768406" y="975026"/>
                      <a:pt x="2767151" y="974017"/>
                      <a:pt x="2766126" y="972803"/>
                    </a:cubicBezTo>
                    <a:cubicBezTo>
                      <a:pt x="2757748" y="964670"/>
                      <a:pt x="2745380" y="962139"/>
                      <a:pt x="2734493" y="966305"/>
                    </a:cubicBezTo>
                    <a:cubicBezTo>
                      <a:pt x="2734209" y="971429"/>
                      <a:pt x="2730504" y="975721"/>
                      <a:pt x="2725488" y="976792"/>
                    </a:cubicBezTo>
                    <a:cubicBezTo>
                      <a:pt x="2720530" y="977773"/>
                      <a:pt x="2715400" y="976918"/>
                      <a:pt x="2711069" y="974399"/>
                    </a:cubicBezTo>
                    <a:cubicBezTo>
                      <a:pt x="2701323" y="969269"/>
                      <a:pt x="2691861" y="959238"/>
                      <a:pt x="2681432" y="963000"/>
                    </a:cubicBezTo>
                    <a:cubicBezTo>
                      <a:pt x="2668151" y="962487"/>
                      <a:pt x="2656011" y="961860"/>
                      <a:pt x="2642732" y="961290"/>
                    </a:cubicBezTo>
                    <a:cubicBezTo>
                      <a:pt x="2639255" y="960834"/>
                      <a:pt x="2635665" y="961370"/>
                      <a:pt x="2632473" y="962829"/>
                    </a:cubicBezTo>
                    <a:cubicBezTo>
                      <a:pt x="2628142" y="965336"/>
                      <a:pt x="2626773" y="970751"/>
                      <a:pt x="2623810" y="974912"/>
                    </a:cubicBezTo>
                    <a:cubicBezTo>
                      <a:pt x="2616229" y="986311"/>
                      <a:pt x="2599359" y="988419"/>
                      <a:pt x="2591949" y="999875"/>
                    </a:cubicBezTo>
                    <a:cubicBezTo>
                      <a:pt x="2589898" y="1004446"/>
                      <a:pt x="2587333" y="1008766"/>
                      <a:pt x="2584312" y="1012756"/>
                    </a:cubicBezTo>
                    <a:cubicBezTo>
                      <a:pt x="2578271" y="1018456"/>
                      <a:pt x="2568012" y="1017259"/>
                      <a:pt x="2561514" y="1022445"/>
                    </a:cubicBezTo>
                    <a:cubicBezTo>
                      <a:pt x="2555017" y="1027632"/>
                      <a:pt x="2554105" y="1037150"/>
                      <a:pt x="2548577" y="1043248"/>
                    </a:cubicBezTo>
                    <a:cubicBezTo>
                      <a:pt x="2543048" y="1049347"/>
                      <a:pt x="2534157" y="1050943"/>
                      <a:pt x="2529369" y="1057383"/>
                    </a:cubicBezTo>
                    <a:cubicBezTo>
                      <a:pt x="2526577" y="1062877"/>
                      <a:pt x="2524639" y="1068782"/>
                      <a:pt x="2523670" y="1074880"/>
                    </a:cubicBezTo>
                    <a:cubicBezTo>
                      <a:pt x="2518940" y="1089243"/>
                      <a:pt x="2505090" y="1098077"/>
                      <a:pt x="2492779" y="1106740"/>
                    </a:cubicBezTo>
                    <a:cubicBezTo>
                      <a:pt x="2487991" y="1109271"/>
                      <a:pt x="2484515" y="1113762"/>
                      <a:pt x="2483261" y="1119051"/>
                    </a:cubicBezTo>
                    <a:cubicBezTo>
                      <a:pt x="2483375" y="1124967"/>
                      <a:pt x="2487421" y="1130074"/>
                      <a:pt x="2493178" y="1131533"/>
                    </a:cubicBezTo>
                    <a:cubicBezTo>
                      <a:pt x="2498820" y="1132804"/>
                      <a:pt x="2504634" y="1132804"/>
                      <a:pt x="2510276" y="1131533"/>
                    </a:cubicBezTo>
                    <a:cubicBezTo>
                      <a:pt x="2508225" y="1137324"/>
                      <a:pt x="2507712" y="1143565"/>
                      <a:pt x="2508908" y="1149600"/>
                    </a:cubicBezTo>
                    <a:cubicBezTo>
                      <a:pt x="2510333" y="1155773"/>
                      <a:pt x="2516318" y="1159780"/>
                      <a:pt x="2522587" y="1158777"/>
                    </a:cubicBezTo>
                    <a:cubicBezTo>
                      <a:pt x="2520593" y="1152735"/>
                      <a:pt x="2520934" y="1143274"/>
                      <a:pt x="2527261" y="1143388"/>
                    </a:cubicBezTo>
                    <a:cubicBezTo>
                      <a:pt x="2533587" y="1143502"/>
                      <a:pt x="2533872" y="1152051"/>
                      <a:pt x="2532960" y="1157979"/>
                    </a:cubicBezTo>
                    <a:cubicBezTo>
                      <a:pt x="2532048" y="1163906"/>
                      <a:pt x="2535981" y="1172626"/>
                      <a:pt x="2541338" y="1169891"/>
                    </a:cubicBezTo>
                    <a:cubicBezTo>
                      <a:pt x="2544758" y="1168067"/>
                      <a:pt x="2544359" y="1163051"/>
                      <a:pt x="2543447" y="1159290"/>
                    </a:cubicBezTo>
                    <a:cubicBezTo>
                      <a:pt x="2551940" y="1158229"/>
                      <a:pt x="2558665" y="1151584"/>
                      <a:pt x="2559804" y="1143103"/>
                    </a:cubicBezTo>
                    <a:cubicBezTo>
                      <a:pt x="2566530" y="1142043"/>
                      <a:pt x="2573426" y="1142995"/>
                      <a:pt x="2579639" y="1145839"/>
                    </a:cubicBezTo>
                    <a:cubicBezTo>
                      <a:pt x="2585908" y="1148865"/>
                      <a:pt x="2589613" y="1155494"/>
                      <a:pt x="2588929" y="1162424"/>
                    </a:cubicBezTo>
                    <a:cubicBezTo>
                      <a:pt x="2594629" y="1159518"/>
                      <a:pt x="2600784" y="1166528"/>
                      <a:pt x="2603634" y="1172512"/>
                    </a:cubicBezTo>
                    <a:cubicBezTo>
                      <a:pt x="2606769" y="1178292"/>
                      <a:pt x="2608877" y="1184550"/>
                      <a:pt x="2609960" y="1191036"/>
                    </a:cubicBezTo>
                    <a:cubicBezTo>
                      <a:pt x="2610359" y="1201369"/>
                      <a:pt x="2608307" y="1211651"/>
                      <a:pt x="2603919" y="1221015"/>
                    </a:cubicBezTo>
                    <a:cubicBezTo>
                      <a:pt x="2602152" y="1225802"/>
                      <a:pt x="2599131" y="1231502"/>
                      <a:pt x="2594001" y="1231331"/>
                    </a:cubicBezTo>
                    <a:cubicBezTo>
                      <a:pt x="2595882" y="1257942"/>
                      <a:pt x="2595084" y="1284672"/>
                      <a:pt x="2591665" y="1311123"/>
                    </a:cubicBezTo>
                    <a:cubicBezTo>
                      <a:pt x="2591722" y="1317239"/>
                      <a:pt x="2588986" y="1323052"/>
                      <a:pt x="2584255" y="1326911"/>
                    </a:cubicBezTo>
                    <a:cubicBezTo>
                      <a:pt x="2581007" y="1328034"/>
                      <a:pt x="2577872" y="1329350"/>
                      <a:pt x="2574794" y="1330844"/>
                    </a:cubicBezTo>
                    <a:cubicBezTo>
                      <a:pt x="2569437" y="1334890"/>
                      <a:pt x="2570519" y="1344009"/>
                      <a:pt x="2565390" y="1348284"/>
                    </a:cubicBezTo>
                    <a:cubicBezTo>
                      <a:pt x="2562027" y="1351077"/>
                      <a:pt x="2556727" y="1351077"/>
                      <a:pt x="2553991" y="1354382"/>
                    </a:cubicBezTo>
                    <a:cubicBezTo>
                      <a:pt x="2551255" y="1357688"/>
                      <a:pt x="2552167" y="1363559"/>
                      <a:pt x="2551654" y="1368289"/>
                    </a:cubicBezTo>
                    <a:cubicBezTo>
                      <a:pt x="2550401" y="1374256"/>
                      <a:pt x="2547608" y="1379791"/>
                      <a:pt x="2543504" y="1384305"/>
                    </a:cubicBezTo>
                    <a:lnTo>
                      <a:pt x="2511302" y="1426709"/>
                    </a:lnTo>
                    <a:cubicBezTo>
                      <a:pt x="2506230" y="1433685"/>
                      <a:pt x="2500644" y="1440291"/>
                      <a:pt x="2494660" y="1446486"/>
                    </a:cubicBezTo>
                    <a:cubicBezTo>
                      <a:pt x="2491411" y="1449706"/>
                      <a:pt x="2487821" y="1452573"/>
                      <a:pt x="2484002" y="1455035"/>
                    </a:cubicBezTo>
                    <a:cubicBezTo>
                      <a:pt x="2479499" y="1457321"/>
                      <a:pt x="2475167" y="1459988"/>
                      <a:pt x="2471121" y="1463014"/>
                    </a:cubicBezTo>
                    <a:cubicBezTo>
                      <a:pt x="2465023" y="1468258"/>
                      <a:pt x="2462059" y="1476123"/>
                      <a:pt x="2457271" y="1482564"/>
                    </a:cubicBezTo>
                    <a:cubicBezTo>
                      <a:pt x="2452483" y="1489004"/>
                      <a:pt x="2443820" y="1493963"/>
                      <a:pt x="2436639" y="1490543"/>
                    </a:cubicBezTo>
                    <a:cubicBezTo>
                      <a:pt x="2434416" y="1489232"/>
                      <a:pt x="2432421" y="1487665"/>
                      <a:pt x="2430598" y="1485869"/>
                    </a:cubicBezTo>
                    <a:cubicBezTo>
                      <a:pt x="2420852" y="1477736"/>
                      <a:pt x="2407572" y="1475411"/>
                      <a:pt x="2395660" y="1479771"/>
                    </a:cubicBezTo>
                    <a:cubicBezTo>
                      <a:pt x="2393437" y="1480643"/>
                      <a:pt x="2391328" y="1481754"/>
                      <a:pt x="2389334" y="1483077"/>
                    </a:cubicBezTo>
                    <a:cubicBezTo>
                      <a:pt x="2386541" y="1475320"/>
                      <a:pt x="2384831" y="1467232"/>
                      <a:pt x="2384147" y="1459025"/>
                    </a:cubicBezTo>
                    <a:cubicBezTo>
                      <a:pt x="2383064" y="1447563"/>
                      <a:pt x="2386825" y="1436170"/>
                      <a:pt x="2394520" y="1427621"/>
                    </a:cubicBezTo>
                    <a:cubicBezTo>
                      <a:pt x="2396572" y="1425472"/>
                      <a:pt x="2399079" y="1423813"/>
                      <a:pt x="2401872" y="1422776"/>
                    </a:cubicBezTo>
                    <a:cubicBezTo>
                      <a:pt x="2407971" y="1420610"/>
                      <a:pt x="2414810" y="1422776"/>
                      <a:pt x="2421250" y="1421807"/>
                    </a:cubicBezTo>
                    <a:cubicBezTo>
                      <a:pt x="2436012" y="1419812"/>
                      <a:pt x="2444048" y="1403911"/>
                      <a:pt x="2449748" y="1390061"/>
                    </a:cubicBezTo>
                    <a:lnTo>
                      <a:pt x="2463598" y="1355579"/>
                    </a:lnTo>
                    <a:cubicBezTo>
                      <a:pt x="2465877" y="1351020"/>
                      <a:pt x="2467017" y="1345970"/>
                      <a:pt x="2466846" y="1340875"/>
                    </a:cubicBezTo>
                    <a:cubicBezTo>
                      <a:pt x="2466618" y="1335626"/>
                      <a:pt x="2462572" y="1331345"/>
                      <a:pt x="2457328" y="1330787"/>
                    </a:cubicBezTo>
                    <a:cubicBezTo>
                      <a:pt x="2454706" y="1331032"/>
                      <a:pt x="2452199" y="1331892"/>
                      <a:pt x="2449976" y="1333294"/>
                    </a:cubicBezTo>
                    <a:cubicBezTo>
                      <a:pt x="2439431" y="1338715"/>
                      <a:pt x="2428204" y="1342704"/>
                      <a:pt x="2416634" y="1345149"/>
                    </a:cubicBezTo>
                    <a:cubicBezTo>
                      <a:pt x="2409282" y="1347275"/>
                      <a:pt x="2401416" y="1346973"/>
                      <a:pt x="2394235" y="1344294"/>
                    </a:cubicBezTo>
                    <a:cubicBezTo>
                      <a:pt x="2383748" y="1339393"/>
                      <a:pt x="2379417" y="1327196"/>
                      <a:pt x="2371437" y="1318476"/>
                    </a:cubicBezTo>
                    <a:cubicBezTo>
                      <a:pt x="2363686" y="1311129"/>
                      <a:pt x="2354510" y="1305498"/>
                      <a:pt x="2344422" y="1301947"/>
                    </a:cubicBezTo>
                    <a:lnTo>
                      <a:pt x="2323049" y="1292657"/>
                    </a:lnTo>
                    <a:cubicBezTo>
                      <a:pt x="2321111" y="1291962"/>
                      <a:pt x="2319344" y="1290828"/>
                      <a:pt x="2317919" y="1289352"/>
                    </a:cubicBezTo>
                    <a:cubicBezTo>
                      <a:pt x="2316437" y="1286650"/>
                      <a:pt x="2315468" y="1283692"/>
                      <a:pt x="2315069" y="1280631"/>
                    </a:cubicBezTo>
                    <a:cubicBezTo>
                      <a:pt x="2314100" y="1278010"/>
                      <a:pt x="2312789" y="1275525"/>
                      <a:pt x="2311193" y="1273222"/>
                    </a:cubicBezTo>
                    <a:cubicBezTo>
                      <a:pt x="2304753" y="1262741"/>
                      <a:pt x="2300422" y="1251137"/>
                      <a:pt x="2298313" y="1239025"/>
                    </a:cubicBezTo>
                    <a:cubicBezTo>
                      <a:pt x="2297971" y="1236489"/>
                      <a:pt x="2297401" y="1233993"/>
                      <a:pt x="2296603" y="1231559"/>
                    </a:cubicBezTo>
                    <a:cubicBezTo>
                      <a:pt x="2294950" y="1228156"/>
                      <a:pt x="2292955" y="1224942"/>
                      <a:pt x="2290618" y="1221984"/>
                    </a:cubicBezTo>
                    <a:cubicBezTo>
                      <a:pt x="2285489" y="1214517"/>
                      <a:pt x="2282583" y="1205740"/>
                      <a:pt x="2277680" y="1198160"/>
                    </a:cubicBezTo>
                    <a:cubicBezTo>
                      <a:pt x="2266453" y="1182446"/>
                      <a:pt x="2249354" y="1171942"/>
                      <a:pt x="2230261" y="1169036"/>
                    </a:cubicBezTo>
                    <a:cubicBezTo>
                      <a:pt x="2211339" y="1166271"/>
                      <a:pt x="2192188" y="1166271"/>
                      <a:pt x="2173266" y="1169036"/>
                    </a:cubicBezTo>
                    <a:cubicBezTo>
                      <a:pt x="2167054" y="1169172"/>
                      <a:pt x="2160955" y="1170877"/>
                      <a:pt x="2155598" y="1173994"/>
                    </a:cubicBezTo>
                    <a:cubicBezTo>
                      <a:pt x="2150183" y="1177904"/>
                      <a:pt x="2148474" y="1185177"/>
                      <a:pt x="2151552" y="1191093"/>
                    </a:cubicBezTo>
                    <a:cubicBezTo>
                      <a:pt x="2159759" y="1195778"/>
                      <a:pt x="2162608" y="1206225"/>
                      <a:pt x="2157935" y="1214421"/>
                    </a:cubicBezTo>
                    <a:cubicBezTo>
                      <a:pt x="2157593" y="1214985"/>
                      <a:pt x="2157251" y="1215532"/>
                      <a:pt x="2156852" y="1216056"/>
                    </a:cubicBezTo>
                    <a:cubicBezTo>
                      <a:pt x="2154230" y="1219305"/>
                      <a:pt x="2150468" y="1221756"/>
                      <a:pt x="2148189" y="1225061"/>
                    </a:cubicBezTo>
                    <a:cubicBezTo>
                      <a:pt x="2146536" y="1228173"/>
                      <a:pt x="2145453" y="1231576"/>
                      <a:pt x="2145054" y="1235093"/>
                    </a:cubicBezTo>
                    <a:cubicBezTo>
                      <a:pt x="2141748" y="1252191"/>
                      <a:pt x="2135080" y="1269289"/>
                      <a:pt x="2121401" y="1279890"/>
                    </a:cubicBezTo>
                    <a:cubicBezTo>
                      <a:pt x="2112453" y="1286764"/>
                      <a:pt x="2101339" y="1290184"/>
                      <a:pt x="2090054" y="1289522"/>
                    </a:cubicBezTo>
                    <a:cubicBezTo>
                      <a:pt x="2085096" y="1288696"/>
                      <a:pt x="2080080" y="1288582"/>
                      <a:pt x="2075122" y="1289181"/>
                    </a:cubicBezTo>
                    <a:cubicBezTo>
                      <a:pt x="2073583" y="1285778"/>
                      <a:pt x="2070904" y="1283014"/>
                      <a:pt x="2067541" y="1281372"/>
                    </a:cubicBezTo>
                    <a:cubicBezTo>
                      <a:pt x="2063608" y="1279890"/>
                      <a:pt x="2059163" y="1281372"/>
                      <a:pt x="2055173" y="1279947"/>
                    </a:cubicBezTo>
                    <a:cubicBezTo>
                      <a:pt x="2052152" y="1278642"/>
                      <a:pt x="2049360" y="1276938"/>
                      <a:pt x="2046795" y="1274875"/>
                    </a:cubicBezTo>
                    <a:cubicBezTo>
                      <a:pt x="2034484" y="1267010"/>
                      <a:pt x="2018298" y="1271626"/>
                      <a:pt x="2005246" y="1278409"/>
                    </a:cubicBezTo>
                    <a:cubicBezTo>
                      <a:pt x="1992194" y="1285191"/>
                      <a:pt x="1979655" y="1294139"/>
                      <a:pt x="1965350" y="1294709"/>
                    </a:cubicBezTo>
                    <a:cubicBezTo>
                      <a:pt x="1960505" y="1294270"/>
                      <a:pt x="1955604" y="1294732"/>
                      <a:pt x="1950930" y="1296077"/>
                    </a:cubicBezTo>
                    <a:cubicBezTo>
                      <a:pt x="1947282" y="1297616"/>
                      <a:pt x="1944546" y="1300807"/>
                      <a:pt x="1940842" y="1302346"/>
                    </a:cubicBezTo>
                    <a:cubicBezTo>
                      <a:pt x="1929899" y="1306792"/>
                      <a:pt x="1918956" y="1294766"/>
                      <a:pt x="1907158" y="1294481"/>
                    </a:cubicBezTo>
                    <a:cubicBezTo>
                      <a:pt x="1902769" y="1295171"/>
                      <a:pt x="1898324" y="1295268"/>
                      <a:pt x="1893878" y="1294766"/>
                    </a:cubicBezTo>
                    <a:cubicBezTo>
                      <a:pt x="1890287" y="1293250"/>
                      <a:pt x="1887153" y="1290862"/>
                      <a:pt x="1884759" y="1287813"/>
                    </a:cubicBezTo>
                    <a:cubicBezTo>
                      <a:pt x="1865438" y="1269694"/>
                      <a:pt x="1839505" y="1260410"/>
                      <a:pt x="1813060" y="1262165"/>
                    </a:cubicBezTo>
                    <a:cubicBezTo>
                      <a:pt x="1807303" y="1261954"/>
                      <a:pt x="1801774" y="1264314"/>
                      <a:pt x="1797956" y="1268605"/>
                    </a:cubicBezTo>
                    <a:cubicBezTo>
                      <a:pt x="1797101" y="1270338"/>
                      <a:pt x="1796132" y="1272002"/>
                      <a:pt x="1794992" y="1273564"/>
                    </a:cubicBezTo>
                    <a:cubicBezTo>
                      <a:pt x="1791173" y="1277725"/>
                      <a:pt x="1784220" y="1275730"/>
                      <a:pt x="1779604" y="1272538"/>
                    </a:cubicBezTo>
                    <a:cubicBezTo>
                      <a:pt x="1774987" y="1269346"/>
                      <a:pt x="1770257" y="1265186"/>
                      <a:pt x="1764671" y="1265642"/>
                    </a:cubicBezTo>
                    <a:cubicBezTo>
                      <a:pt x="1764842" y="1261646"/>
                      <a:pt x="1761708" y="1258278"/>
                      <a:pt x="1757717" y="1258118"/>
                    </a:cubicBezTo>
                    <a:cubicBezTo>
                      <a:pt x="1757205" y="1258096"/>
                      <a:pt x="1756635" y="1258135"/>
                      <a:pt x="1756122" y="1258232"/>
                    </a:cubicBezTo>
                    <a:cubicBezTo>
                      <a:pt x="1754868" y="1249341"/>
                      <a:pt x="1753557" y="1240450"/>
                      <a:pt x="1752303" y="1231559"/>
                    </a:cubicBezTo>
                    <a:cubicBezTo>
                      <a:pt x="1727966" y="1231160"/>
                      <a:pt x="1705397" y="1219419"/>
                      <a:pt x="1683910" y="1207963"/>
                    </a:cubicBezTo>
                    <a:cubicBezTo>
                      <a:pt x="1671143" y="1218165"/>
                      <a:pt x="1657464" y="1230020"/>
                      <a:pt x="1655412" y="1246206"/>
                    </a:cubicBezTo>
                    <a:cubicBezTo>
                      <a:pt x="1654956" y="1248475"/>
                      <a:pt x="1655241" y="1250834"/>
                      <a:pt x="1656210" y="1252932"/>
                    </a:cubicBezTo>
                    <a:cubicBezTo>
                      <a:pt x="1657692" y="1255497"/>
                      <a:pt x="1660656" y="1256637"/>
                      <a:pt x="1662707" y="1258631"/>
                    </a:cubicBezTo>
                    <a:cubicBezTo>
                      <a:pt x="1670003" y="1265984"/>
                      <a:pt x="1661226" y="1279092"/>
                      <a:pt x="1651308" y="1281087"/>
                    </a:cubicBezTo>
                    <a:cubicBezTo>
                      <a:pt x="1641391" y="1283082"/>
                      <a:pt x="1630790" y="1279149"/>
                      <a:pt x="1620417" y="1279548"/>
                    </a:cubicBezTo>
                    <a:cubicBezTo>
                      <a:pt x="1617055" y="1280090"/>
                      <a:pt x="1613635" y="1280090"/>
                      <a:pt x="1610272" y="1279548"/>
                    </a:cubicBezTo>
                    <a:cubicBezTo>
                      <a:pt x="1603034" y="1277440"/>
                      <a:pt x="1596252" y="1268149"/>
                      <a:pt x="1590096" y="1272595"/>
                    </a:cubicBezTo>
                    <a:cubicBezTo>
                      <a:pt x="1588443" y="1266896"/>
                      <a:pt x="1586790" y="1261196"/>
                      <a:pt x="1585081" y="1255497"/>
                    </a:cubicBezTo>
                    <a:cubicBezTo>
                      <a:pt x="1571345" y="1263818"/>
                      <a:pt x="1552480" y="1248087"/>
                      <a:pt x="1538174" y="1255497"/>
                    </a:cubicBezTo>
                    <a:cubicBezTo>
                      <a:pt x="1530423" y="1259429"/>
                      <a:pt x="1524780" y="1269688"/>
                      <a:pt x="1516231" y="1267978"/>
                    </a:cubicBezTo>
                    <a:cubicBezTo>
                      <a:pt x="1512925" y="1267294"/>
                      <a:pt x="1508708" y="1265072"/>
                      <a:pt x="1506770" y="1267978"/>
                    </a:cubicBezTo>
                    <a:cubicBezTo>
                      <a:pt x="1505801" y="1269346"/>
                      <a:pt x="1506200" y="1271284"/>
                      <a:pt x="1506086" y="1272937"/>
                    </a:cubicBezTo>
                    <a:cubicBezTo>
                      <a:pt x="1505687" y="1277440"/>
                      <a:pt x="1501355" y="1280460"/>
                      <a:pt x="1497480" y="1282740"/>
                    </a:cubicBezTo>
                    <a:cubicBezTo>
                      <a:pt x="1485123" y="1291209"/>
                      <a:pt x="1471308" y="1297314"/>
                      <a:pt x="1456729" y="1300750"/>
                    </a:cubicBezTo>
                    <a:cubicBezTo>
                      <a:pt x="1456729" y="1301719"/>
                      <a:pt x="1456216" y="1302688"/>
                      <a:pt x="1455988" y="1303657"/>
                    </a:cubicBezTo>
                    <a:cubicBezTo>
                      <a:pt x="1455104" y="1301486"/>
                      <a:pt x="1453081" y="1299992"/>
                      <a:pt x="1450744" y="1299782"/>
                    </a:cubicBezTo>
                    <a:lnTo>
                      <a:pt x="1450117" y="1299782"/>
                    </a:lnTo>
                    <a:cubicBezTo>
                      <a:pt x="1447022" y="1293911"/>
                      <a:pt x="1441460" y="1289728"/>
                      <a:pt x="1434957" y="1288383"/>
                    </a:cubicBezTo>
                    <a:cubicBezTo>
                      <a:pt x="1424698" y="1286616"/>
                      <a:pt x="1411361" y="1290890"/>
                      <a:pt x="1405490" y="1282227"/>
                    </a:cubicBezTo>
                    <a:cubicBezTo>
                      <a:pt x="1404151" y="1279064"/>
                      <a:pt x="1402589" y="1275998"/>
                      <a:pt x="1400817" y="1273051"/>
                    </a:cubicBezTo>
                    <a:cubicBezTo>
                      <a:pt x="1398195" y="1270144"/>
                      <a:pt x="1393920" y="1269460"/>
                      <a:pt x="1390672" y="1267352"/>
                    </a:cubicBezTo>
                    <a:cubicBezTo>
                      <a:pt x="1383034" y="1262222"/>
                      <a:pt x="1382635" y="1249911"/>
                      <a:pt x="1374542" y="1245409"/>
                    </a:cubicBezTo>
                    <a:cubicBezTo>
                      <a:pt x="1367988" y="1241704"/>
                      <a:pt x="1359894" y="1245409"/>
                      <a:pt x="1352884" y="1247859"/>
                    </a:cubicBezTo>
                    <a:cubicBezTo>
                      <a:pt x="1346814" y="1250852"/>
                      <a:pt x="1339946" y="1251832"/>
                      <a:pt x="1333278" y="1250652"/>
                    </a:cubicBezTo>
                    <a:cubicBezTo>
                      <a:pt x="1326478" y="1249142"/>
                      <a:pt x="1322033" y="1242599"/>
                      <a:pt x="1323133" y="1235719"/>
                    </a:cubicBezTo>
                    <a:cubicBezTo>
                      <a:pt x="1320625" y="1231673"/>
                      <a:pt x="1314185" y="1234580"/>
                      <a:pt x="1311734" y="1238512"/>
                    </a:cubicBezTo>
                    <a:cubicBezTo>
                      <a:pt x="1309283" y="1242445"/>
                      <a:pt x="1307117" y="1247688"/>
                      <a:pt x="1302501" y="1248657"/>
                    </a:cubicBezTo>
                    <a:cubicBezTo>
                      <a:pt x="1297884" y="1249626"/>
                      <a:pt x="1292983" y="1244497"/>
                      <a:pt x="1290190" y="1239880"/>
                    </a:cubicBezTo>
                    <a:lnTo>
                      <a:pt x="1269444" y="1205683"/>
                    </a:lnTo>
                    <a:cubicBezTo>
                      <a:pt x="1267284" y="1202537"/>
                      <a:pt x="1265665" y="1199049"/>
                      <a:pt x="1264656" y="1195367"/>
                    </a:cubicBezTo>
                    <a:cubicBezTo>
                      <a:pt x="1264434" y="1192871"/>
                      <a:pt x="1263818" y="1190431"/>
                      <a:pt x="1262832" y="1188129"/>
                    </a:cubicBezTo>
                    <a:cubicBezTo>
                      <a:pt x="1260724" y="1184595"/>
                      <a:pt x="1255936" y="1183512"/>
                      <a:pt x="1253371" y="1180264"/>
                    </a:cubicBezTo>
                    <a:cubicBezTo>
                      <a:pt x="1249952" y="1175989"/>
                      <a:pt x="1251262" y="1169207"/>
                      <a:pt x="1247672" y="1165046"/>
                    </a:cubicBezTo>
                    <a:cubicBezTo>
                      <a:pt x="1243055" y="1159689"/>
                      <a:pt x="1232739" y="1161683"/>
                      <a:pt x="1229320" y="1155471"/>
                    </a:cubicBezTo>
                    <a:cubicBezTo>
                      <a:pt x="1226470" y="1150227"/>
                      <a:pt x="1230687" y="1142020"/>
                      <a:pt x="1225900" y="1138372"/>
                    </a:cubicBezTo>
                    <a:cubicBezTo>
                      <a:pt x="1222195" y="1135580"/>
                      <a:pt x="1217066" y="1138657"/>
                      <a:pt x="1213361" y="1141450"/>
                    </a:cubicBezTo>
                    <a:cubicBezTo>
                      <a:pt x="1198816" y="1152359"/>
                      <a:pt x="1182162" y="1160122"/>
                      <a:pt x="1164459" y="1164248"/>
                    </a:cubicBezTo>
                    <a:cubicBezTo>
                      <a:pt x="1163149" y="1160315"/>
                      <a:pt x="1161838" y="1156440"/>
                      <a:pt x="1160584" y="1152507"/>
                    </a:cubicBezTo>
                    <a:cubicBezTo>
                      <a:pt x="1152069" y="1155004"/>
                      <a:pt x="1142972" y="1151168"/>
                      <a:pt x="1138812" y="1143331"/>
                    </a:cubicBezTo>
                    <a:cubicBezTo>
                      <a:pt x="1131573" y="1139398"/>
                      <a:pt x="1122739" y="1150854"/>
                      <a:pt x="1115330" y="1147207"/>
                    </a:cubicBezTo>
                    <a:cubicBezTo>
                      <a:pt x="1107921" y="1143559"/>
                      <a:pt x="1111910" y="1134098"/>
                      <a:pt x="1111682" y="1126689"/>
                    </a:cubicBezTo>
                    <a:cubicBezTo>
                      <a:pt x="1110759" y="1118082"/>
                      <a:pt x="1105333" y="1110622"/>
                      <a:pt x="1097434" y="1107082"/>
                    </a:cubicBezTo>
                    <a:cubicBezTo>
                      <a:pt x="1089637" y="1103720"/>
                      <a:pt x="1081293" y="1101793"/>
                      <a:pt x="1072812" y="1101383"/>
                    </a:cubicBezTo>
                    <a:cubicBezTo>
                      <a:pt x="1068247" y="1100465"/>
                      <a:pt x="1063522" y="1100802"/>
                      <a:pt x="1059133" y="1102352"/>
                    </a:cubicBezTo>
                    <a:cubicBezTo>
                      <a:pt x="1054944" y="1105184"/>
                      <a:pt x="1051217" y="1108644"/>
                      <a:pt x="1048076" y="1112611"/>
                    </a:cubicBezTo>
                    <a:cubicBezTo>
                      <a:pt x="1040040" y="1120134"/>
                      <a:pt x="1028299" y="1121787"/>
                      <a:pt x="1017413" y="1123440"/>
                    </a:cubicBezTo>
                    <a:cubicBezTo>
                      <a:pt x="999004" y="1126233"/>
                      <a:pt x="980708" y="1130051"/>
                      <a:pt x="962470" y="1133870"/>
                    </a:cubicBezTo>
                    <a:cubicBezTo>
                      <a:pt x="952382" y="1135979"/>
                      <a:pt x="941268" y="1142590"/>
                      <a:pt x="931237" y="1144699"/>
                    </a:cubicBezTo>
                    <a:cubicBezTo>
                      <a:pt x="926279" y="1151139"/>
                      <a:pt x="916190" y="1149087"/>
                      <a:pt x="908439" y="1146580"/>
                    </a:cubicBezTo>
                    <a:cubicBezTo>
                      <a:pt x="900688" y="1144072"/>
                      <a:pt x="890201" y="1142761"/>
                      <a:pt x="886154" y="1149885"/>
                    </a:cubicBezTo>
                    <a:cubicBezTo>
                      <a:pt x="883304" y="1155243"/>
                      <a:pt x="888434" y="1161284"/>
                      <a:pt x="893222" y="1165103"/>
                    </a:cubicBezTo>
                    <a:cubicBezTo>
                      <a:pt x="898009" y="1168922"/>
                      <a:pt x="903651" y="1173994"/>
                      <a:pt x="901942" y="1179865"/>
                    </a:cubicBezTo>
                    <a:cubicBezTo>
                      <a:pt x="897992" y="1177898"/>
                      <a:pt x="893643" y="1176867"/>
                      <a:pt x="889232" y="1176844"/>
                    </a:cubicBezTo>
                    <a:cubicBezTo>
                      <a:pt x="884684" y="1176947"/>
                      <a:pt x="880797" y="1180150"/>
                      <a:pt x="879828" y="1184595"/>
                    </a:cubicBezTo>
                    <a:cubicBezTo>
                      <a:pt x="879970" y="1186704"/>
                      <a:pt x="879970" y="1188813"/>
                      <a:pt x="879828" y="1190922"/>
                    </a:cubicBezTo>
                    <a:cubicBezTo>
                      <a:pt x="878882" y="1192979"/>
                      <a:pt x="877656" y="1194900"/>
                      <a:pt x="876180" y="1196621"/>
                    </a:cubicBezTo>
                    <a:cubicBezTo>
                      <a:pt x="873963" y="1200075"/>
                      <a:pt x="873872" y="1204481"/>
                      <a:pt x="875952" y="1208020"/>
                    </a:cubicBezTo>
                    <a:lnTo>
                      <a:pt x="863356" y="1213719"/>
                    </a:lnTo>
                    <a:lnTo>
                      <a:pt x="863356" y="1222269"/>
                    </a:lnTo>
                    <a:cubicBezTo>
                      <a:pt x="869455" y="1228253"/>
                      <a:pt x="879657" y="1227968"/>
                      <a:pt x="886154" y="1233668"/>
                    </a:cubicBezTo>
                    <a:cubicBezTo>
                      <a:pt x="892161" y="1240034"/>
                      <a:pt x="891871" y="1250059"/>
                      <a:pt x="885505" y="1256067"/>
                    </a:cubicBezTo>
                    <a:cubicBezTo>
                      <a:pt x="884422" y="1257087"/>
                      <a:pt x="883202" y="1257953"/>
                      <a:pt x="881879" y="1258631"/>
                    </a:cubicBezTo>
                    <a:cubicBezTo>
                      <a:pt x="876779" y="1258740"/>
                      <a:pt x="872470" y="1254881"/>
                      <a:pt x="872019" y="1249797"/>
                    </a:cubicBezTo>
                    <a:lnTo>
                      <a:pt x="845859" y="1258574"/>
                    </a:lnTo>
                    <a:cubicBezTo>
                      <a:pt x="843465" y="1254961"/>
                      <a:pt x="841921" y="1250846"/>
                      <a:pt x="841356" y="1246548"/>
                    </a:cubicBezTo>
                    <a:cubicBezTo>
                      <a:pt x="833959" y="1249689"/>
                      <a:pt x="825415" y="1246281"/>
                      <a:pt x="822206" y="1238911"/>
                    </a:cubicBezTo>
                    <a:lnTo>
                      <a:pt x="797242" y="1246206"/>
                    </a:lnTo>
                    <a:cubicBezTo>
                      <a:pt x="796501" y="1244041"/>
                      <a:pt x="795703" y="1241818"/>
                      <a:pt x="794906" y="1239595"/>
                    </a:cubicBezTo>
                    <a:cubicBezTo>
                      <a:pt x="785542" y="1238204"/>
                      <a:pt x="776058" y="1241214"/>
                      <a:pt x="769201" y="1247745"/>
                    </a:cubicBezTo>
                    <a:cubicBezTo>
                      <a:pt x="766710" y="1250755"/>
                      <a:pt x="763747" y="1253331"/>
                      <a:pt x="760424" y="1255383"/>
                    </a:cubicBezTo>
                    <a:cubicBezTo>
                      <a:pt x="756890" y="1257036"/>
                      <a:pt x="751647" y="1255896"/>
                      <a:pt x="750792" y="1252134"/>
                    </a:cubicBezTo>
                    <a:cubicBezTo>
                      <a:pt x="747452" y="1253775"/>
                      <a:pt x="743685" y="1254311"/>
                      <a:pt x="740020" y="1253673"/>
                    </a:cubicBezTo>
                    <a:lnTo>
                      <a:pt x="740020" y="1242274"/>
                    </a:lnTo>
                    <a:cubicBezTo>
                      <a:pt x="732667" y="1242274"/>
                      <a:pt x="726341" y="1237486"/>
                      <a:pt x="720185" y="1233440"/>
                    </a:cubicBezTo>
                    <a:cubicBezTo>
                      <a:pt x="705481" y="1223694"/>
                      <a:pt x="686559" y="1217766"/>
                      <a:pt x="670144" y="1224264"/>
                    </a:cubicBezTo>
                    <a:cubicBezTo>
                      <a:pt x="665562" y="1226709"/>
                      <a:pt x="660677" y="1228527"/>
                      <a:pt x="655611" y="1229678"/>
                    </a:cubicBezTo>
                    <a:cubicBezTo>
                      <a:pt x="650766" y="1230191"/>
                      <a:pt x="645465" y="1228595"/>
                      <a:pt x="641305" y="1231046"/>
                    </a:cubicBezTo>
                    <a:cubicBezTo>
                      <a:pt x="635605" y="1234295"/>
                      <a:pt x="635263" y="1242445"/>
                      <a:pt x="629621" y="1245409"/>
                    </a:cubicBezTo>
                    <a:cubicBezTo>
                      <a:pt x="623978" y="1248372"/>
                      <a:pt x="618222" y="1244611"/>
                      <a:pt x="613548" y="1247460"/>
                    </a:cubicBezTo>
                    <a:cubicBezTo>
                      <a:pt x="610123" y="1250179"/>
                      <a:pt x="608442" y="1254545"/>
                      <a:pt x="609160" y="1258859"/>
                    </a:cubicBezTo>
                    <a:cubicBezTo>
                      <a:pt x="609821" y="1263031"/>
                      <a:pt x="609650" y="1267294"/>
                      <a:pt x="608647" y="1271398"/>
                    </a:cubicBezTo>
                    <a:cubicBezTo>
                      <a:pt x="607165" y="1275331"/>
                      <a:pt x="602035" y="1278295"/>
                      <a:pt x="598673" y="1275787"/>
                    </a:cubicBezTo>
                    <a:cubicBezTo>
                      <a:pt x="595310" y="1273279"/>
                      <a:pt x="596222" y="1268833"/>
                      <a:pt x="594683" y="1265357"/>
                    </a:cubicBezTo>
                    <a:cubicBezTo>
                      <a:pt x="591873" y="1260233"/>
                      <a:pt x="585815" y="1257839"/>
                      <a:pt x="580263" y="1259657"/>
                    </a:cubicBezTo>
                    <a:cubicBezTo>
                      <a:pt x="574951" y="1261624"/>
                      <a:pt x="570181" y="1264827"/>
                      <a:pt x="566357" y="1269004"/>
                    </a:cubicBezTo>
                    <a:cubicBezTo>
                      <a:pt x="566357" y="1274704"/>
                      <a:pt x="566357" y="1280859"/>
                      <a:pt x="566357" y="1286787"/>
                    </a:cubicBezTo>
                    <a:cubicBezTo>
                      <a:pt x="562401" y="1287374"/>
                      <a:pt x="559660" y="1291033"/>
                      <a:pt x="560201" y="1294994"/>
                    </a:cubicBezTo>
                    <a:cubicBezTo>
                      <a:pt x="560897" y="1298784"/>
                      <a:pt x="562606" y="1302312"/>
                      <a:pt x="565160" y="1305196"/>
                    </a:cubicBezTo>
                    <a:cubicBezTo>
                      <a:pt x="560794" y="1307054"/>
                      <a:pt x="557181" y="1310326"/>
                      <a:pt x="554901" y="1314486"/>
                    </a:cubicBezTo>
                    <a:cubicBezTo>
                      <a:pt x="561170" y="1313175"/>
                      <a:pt x="566300" y="1320186"/>
                      <a:pt x="568352" y="1325885"/>
                    </a:cubicBezTo>
                    <a:cubicBezTo>
                      <a:pt x="570403" y="1331585"/>
                      <a:pt x="573481" y="1338994"/>
                      <a:pt x="579751" y="1340305"/>
                    </a:cubicBezTo>
                    <a:cubicBezTo>
                      <a:pt x="582486" y="1340875"/>
                      <a:pt x="585450" y="1340305"/>
                      <a:pt x="588015" y="1340875"/>
                    </a:cubicBezTo>
                    <a:cubicBezTo>
                      <a:pt x="593258" y="1342357"/>
                      <a:pt x="595310" y="1348455"/>
                      <a:pt x="597305" y="1353528"/>
                    </a:cubicBezTo>
                    <a:cubicBezTo>
                      <a:pt x="599300" y="1358600"/>
                      <a:pt x="603745" y="1364129"/>
                      <a:pt x="608704" y="1362647"/>
                    </a:cubicBezTo>
                    <a:cubicBezTo>
                      <a:pt x="606988" y="1370369"/>
                      <a:pt x="606259" y="1378280"/>
                      <a:pt x="606538" y="1386186"/>
                    </a:cubicBezTo>
                    <a:cubicBezTo>
                      <a:pt x="590465" y="1391486"/>
                      <a:pt x="578041" y="1404424"/>
                      <a:pt x="566243" y="1416906"/>
                    </a:cubicBezTo>
                    <a:cubicBezTo>
                      <a:pt x="562185" y="1420189"/>
                      <a:pt x="559700" y="1425033"/>
                      <a:pt x="559403" y="1430242"/>
                    </a:cubicBezTo>
                    <a:cubicBezTo>
                      <a:pt x="560087" y="1437139"/>
                      <a:pt x="567839" y="1440900"/>
                      <a:pt x="571258" y="1446942"/>
                    </a:cubicBezTo>
                    <a:cubicBezTo>
                      <a:pt x="576502" y="1456289"/>
                      <a:pt x="570232" y="1468999"/>
                      <a:pt x="575305" y="1478460"/>
                    </a:cubicBezTo>
                    <a:cubicBezTo>
                      <a:pt x="577243" y="1482108"/>
                      <a:pt x="581004" y="1485128"/>
                      <a:pt x="581004" y="1489232"/>
                    </a:cubicBezTo>
                    <a:cubicBezTo>
                      <a:pt x="581289" y="1491683"/>
                      <a:pt x="580435" y="1494248"/>
                      <a:pt x="581403" y="1496527"/>
                    </a:cubicBezTo>
                    <a:cubicBezTo>
                      <a:pt x="582771" y="1499947"/>
                      <a:pt x="587103" y="1500745"/>
                      <a:pt x="590180" y="1502854"/>
                    </a:cubicBezTo>
                    <a:cubicBezTo>
                      <a:pt x="593623" y="1506216"/>
                      <a:pt x="596267" y="1510309"/>
                      <a:pt x="597932" y="1514823"/>
                    </a:cubicBezTo>
                    <a:cubicBezTo>
                      <a:pt x="600212" y="1518983"/>
                      <a:pt x="607222" y="1516874"/>
                      <a:pt x="609331" y="1521548"/>
                    </a:cubicBezTo>
                    <a:lnTo>
                      <a:pt x="601010" y="1527248"/>
                    </a:lnTo>
                    <a:cubicBezTo>
                      <a:pt x="600069" y="1528011"/>
                      <a:pt x="598952" y="1528524"/>
                      <a:pt x="597761" y="1528729"/>
                    </a:cubicBezTo>
                    <a:cubicBezTo>
                      <a:pt x="596370" y="1528741"/>
                      <a:pt x="594997" y="1528467"/>
                      <a:pt x="593714" y="1527931"/>
                    </a:cubicBezTo>
                    <a:cubicBezTo>
                      <a:pt x="590426" y="1527475"/>
                      <a:pt x="587086" y="1527475"/>
                      <a:pt x="583797" y="1527931"/>
                    </a:cubicBezTo>
                    <a:cubicBezTo>
                      <a:pt x="580446" y="1528239"/>
                      <a:pt x="577129" y="1527048"/>
                      <a:pt x="574735" y="1524683"/>
                    </a:cubicBezTo>
                    <a:cubicBezTo>
                      <a:pt x="574074" y="1523588"/>
                      <a:pt x="573247" y="1522608"/>
                      <a:pt x="572284" y="1521776"/>
                    </a:cubicBezTo>
                    <a:cubicBezTo>
                      <a:pt x="571156" y="1521223"/>
                      <a:pt x="569885" y="1521001"/>
                      <a:pt x="568637" y="1521149"/>
                    </a:cubicBezTo>
                    <a:cubicBezTo>
                      <a:pt x="564652" y="1521143"/>
                      <a:pt x="560674" y="1520875"/>
                      <a:pt x="556725" y="1520351"/>
                    </a:cubicBezTo>
                    <a:cubicBezTo>
                      <a:pt x="556576" y="1519274"/>
                      <a:pt x="556366" y="1518208"/>
                      <a:pt x="556098" y="1517159"/>
                    </a:cubicBezTo>
                    <a:cubicBezTo>
                      <a:pt x="555967" y="1516510"/>
                      <a:pt x="555670" y="1515900"/>
                      <a:pt x="555243" y="1515393"/>
                    </a:cubicBezTo>
                    <a:cubicBezTo>
                      <a:pt x="554604" y="1514948"/>
                      <a:pt x="553852" y="1514686"/>
                      <a:pt x="553077" y="1514652"/>
                    </a:cubicBezTo>
                    <a:cubicBezTo>
                      <a:pt x="547497" y="1513364"/>
                      <a:pt x="543582" y="1508348"/>
                      <a:pt x="543673" y="1502626"/>
                    </a:cubicBezTo>
                    <a:cubicBezTo>
                      <a:pt x="543958" y="1501526"/>
                      <a:pt x="543958" y="1500363"/>
                      <a:pt x="543673" y="1499263"/>
                    </a:cubicBezTo>
                    <a:cubicBezTo>
                      <a:pt x="543035" y="1498340"/>
                      <a:pt x="542145" y="1497627"/>
                      <a:pt x="541108" y="1497211"/>
                    </a:cubicBezTo>
                    <a:cubicBezTo>
                      <a:pt x="531522" y="1492566"/>
                      <a:pt x="521040" y="1490053"/>
                      <a:pt x="510388" y="1489859"/>
                    </a:cubicBezTo>
                    <a:cubicBezTo>
                      <a:pt x="506849" y="1490224"/>
                      <a:pt x="503275" y="1489591"/>
                      <a:pt x="500072" y="1488035"/>
                    </a:cubicBezTo>
                    <a:cubicBezTo>
                      <a:pt x="499263" y="1487380"/>
                      <a:pt x="498408" y="1486793"/>
                      <a:pt x="497507" y="1486268"/>
                    </a:cubicBezTo>
                    <a:cubicBezTo>
                      <a:pt x="493916" y="1484615"/>
                      <a:pt x="488958" y="1487408"/>
                      <a:pt x="486108" y="1484786"/>
                    </a:cubicBezTo>
                    <a:cubicBezTo>
                      <a:pt x="485270" y="1483852"/>
                      <a:pt x="484575" y="1482797"/>
                      <a:pt x="484056" y="1481652"/>
                    </a:cubicBezTo>
                    <a:cubicBezTo>
                      <a:pt x="480209" y="1476818"/>
                      <a:pt x="474105" y="1474373"/>
                      <a:pt x="467984" y="1475211"/>
                    </a:cubicBezTo>
                    <a:cubicBezTo>
                      <a:pt x="462005" y="1476123"/>
                      <a:pt x="455907" y="1475850"/>
                      <a:pt x="450031" y="1474413"/>
                    </a:cubicBezTo>
                    <a:cubicBezTo>
                      <a:pt x="448155" y="1473325"/>
                      <a:pt x="445972" y="1472880"/>
                      <a:pt x="443818" y="1473159"/>
                    </a:cubicBezTo>
                    <a:cubicBezTo>
                      <a:pt x="442416" y="1473826"/>
                      <a:pt x="441236" y="1474875"/>
                      <a:pt x="440398" y="1476180"/>
                    </a:cubicBezTo>
                    <a:cubicBezTo>
                      <a:pt x="439025" y="1477890"/>
                      <a:pt x="437537" y="1479509"/>
                      <a:pt x="435953" y="1481025"/>
                    </a:cubicBezTo>
                    <a:cubicBezTo>
                      <a:pt x="428937" y="1480523"/>
                      <a:pt x="422941" y="1475776"/>
                      <a:pt x="420849" y="1469056"/>
                    </a:cubicBezTo>
                    <a:cubicBezTo>
                      <a:pt x="411730" y="1472590"/>
                      <a:pt x="402839" y="1463869"/>
                      <a:pt x="396911" y="1456118"/>
                    </a:cubicBezTo>
                    <a:lnTo>
                      <a:pt x="393036" y="1450989"/>
                    </a:lnTo>
                    <a:cubicBezTo>
                      <a:pt x="389793" y="1446144"/>
                      <a:pt x="385655" y="1441966"/>
                      <a:pt x="380839" y="1438678"/>
                    </a:cubicBezTo>
                    <a:cubicBezTo>
                      <a:pt x="375042" y="1436027"/>
                      <a:pt x="369012" y="1433930"/>
                      <a:pt x="362828" y="1432408"/>
                    </a:cubicBezTo>
                    <a:cubicBezTo>
                      <a:pt x="356502" y="1430812"/>
                      <a:pt x="351572" y="1425860"/>
                      <a:pt x="350005" y="1419527"/>
                    </a:cubicBezTo>
                    <a:cubicBezTo>
                      <a:pt x="349207" y="1413144"/>
                      <a:pt x="357357" y="1406818"/>
                      <a:pt x="362201" y="1410978"/>
                    </a:cubicBezTo>
                    <a:lnTo>
                      <a:pt x="363399" y="1395419"/>
                    </a:lnTo>
                    <a:lnTo>
                      <a:pt x="370637" y="1393709"/>
                    </a:lnTo>
                    <a:cubicBezTo>
                      <a:pt x="376336" y="1392341"/>
                      <a:pt x="381352" y="1389548"/>
                      <a:pt x="382036" y="1383792"/>
                    </a:cubicBezTo>
                    <a:cubicBezTo>
                      <a:pt x="376895" y="1383444"/>
                      <a:pt x="371891" y="1381968"/>
                      <a:pt x="367388" y="1379460"/>
                    </a:cubicBezTo>
                    <a:lnTo>
                      <a:pt x="367388" y="1372678"/>
                    </a:lnTo>
                    <a:cubicBezTo>
                      <a:pt x="373942" y="1374730"/>
                      <a:pt x="383119" y="1370341"/>
                      <a:pt x="381865" y="1363616"/>
                    </a:cubicBezTo>
                    <a:lnTo>
                      <a:pt x="394119" y="1360424"/>
                    </a:lnTo>
                    <a:cubicBezTo>
                      <a:pt x="395943" y="1359911"/>
                      <a:pt x="398108" y="1359170"/>
                      <a:pt x="398621" y="1357346"/>
                    </a:cubicBezTo>
                    <a:cubicBezTo>
                      <a:pt x="399134" y="1355522"/>
                      <a:pt x="397367" y="1353470"/>
                      <a:pt x="395600" y="1352331"/>
                    </a:cubicBezTo>
                    <a:cubicBezTo>
                      <a:pt x="390984" y="1349395"/>
                      <a:pt x="385552" y="1348022"/>
                      <a:pt x="380098" y="1348398"/>
                    </a:cubicBezTo>
                    <a:cubicBezTo>
                      <a:pt x="377807" y="1348609"/>
                      <a:pt x="375550" y="1349088"/>
                      <a:pt x="373373" y="1349823"/>
                    </a:cubicBezTo>
                    <a:cubicBezTo>
                      <a:pt x="374358" y="1346580"/>
                      <a:pt x="376804" y="1343987"/>
                      <a:pt x="379984" y="1342813"/>
                    </a:cubicBezTo>
                    <a:cubicBezTo>
                      <a:pt x="381637" y="1342243"/>
                      <a:pt x="383575" y="1342129"/>
                      <a:pt x="384714" y="1340818"/>
                    </a:cubicBezTo>
                    <a:cubicBezTo>
                      <a:pt x="385854" y="1339507"/>
                      <a:pt x="385683" y="1337797"/>
                      <a:pt x="386424" y="1336429"/>
                    </a:cubicBezTo>
                    <a:cubicBezTo>
                      <a:pt x="388191" y="1332895"/>
                      <a:pt x="393207" y="1333408"/>
                      <a:pt x="397196" y="1333522"/>
                    </a:cubicBezTo>
                    <a:cubicBezTo>
                      <a:pt x="401346" y="1333773"/>
                      <a:pt x="405432" y="1332405"/>
                      <a:pt x="408595" y="1329704"/>
                    </a:cubicBezTo>
                    <a:cubicBezTo>
                      <a:pt x="411787" y="1326820"/>
                      <a:pt x="412710" y="1322192"/>
                      <a:pt x="410875" y="1318305"/>
                    </a:cubicBezTo>
                    <a:cubicBezTo>
                      <a:pt x="409963" y="1316652"/>
                      <a:pt x="408424" y="1315341"/>
                      <a:pt x="407626" y="1313574"/>
                    </a:cubicBezTo>
                    <a:cubicBezTo>
                      <a:pt x="405347" y="1308445"/>
                      <a:pt x="410248" y="1303201"/>
                      <a:pt x="413326" y="1298414"/>
                    </a:cubicBezTo>
                    <a:cubicBezTo>
                      <a:pt x="416860" y="1292714"/>
                      <a:pt x="417087" y="1284051"/>
                      <a:pt x="411388" y="1280745"/>
                    </a:cubicBezTo>
                    <a:cubicBezTo>
                      <a:pt x="404492" y="1276813"/>
                      <a:pt x="393720" y="1283139"/>
                      <a:pt x="388590" y="1276984"/>
                    </a:cubicBezTo>
                    <a:cubicBezTo>
                      <a:pt x="387450" y="1275616"/>
                      <a:pt x="386880" y="1273735"/>
                      <a:pt x="385797" y="1272310"/>
                    </a:cubicBezTo>
                    <a:cubicBezTo>
                      <a:pt x="383158" y="1269614"/>
                      <a:pt x="379471" y="1268218"/>
                      <a:pt x="375709" y="1268491"/>
                    </a:cubicBezTo>
                    <a:cubicBezTo>
                      <a:pt x="371976" y="1268799"/>
                      <a:pt x="368214" y="1268275"/>
                      <a:pt x="364709" y="1266953"/>
                    </a:cubicBezTo>
                    <a:cubicBezTo>
                      <a:pt x="361403" y="1265243"/>
                      <a:pt x="359010" y="1260569"/>
                      <a:pt x="361689" y="1257719"/>
                    </a:cubicBezTo>
                    <a:cubicBezTo>
                      <a:pt x="354211" y="1257309"/>
                      <a:pt x="346716" y="1257925"/>
                      <a:pt x="339404" y="1259543"/>
                    </a:cubicBezTo>
                    <a:cubicBezTo>
                      <a:pt x="331937" y="1260341"/>
                      <a:pt x="323217" y="1258745"/>
                      <a:pt x="319455" y="1252305"/>
                    </a:cubicBezTo>
                    <a:cubicBezTo>
                      <a:pt x="318373" y="1250424"/>
                      <a:pt x="317803" y="1248315"/>
                      <a:pt x="316891" y="1246605"/>
                    </a:cubicBezTo>
                    <a:cubicBezTo>
                      <a:pt x="312046" y="1235605"/>
                      <a:pt x="299222" y="1230989"/>
                      <a:pt x="287709" y="1227512"/>
                    </a:cubicBezTo>
                    <a:cubicBezTo>
                      <a:pt x="287709" y="1216113"/>
                      <a:pt x="287082" y="1202435"/>
                      <a:pt x="277393" y="1196222"/>
                    </a:cubicBezTo>
                    <a:cubicBezTo>
                      <a:pt x="269927" y="1191435"/>
                      <a:pt x="260295" y="1193144"/>
                      <a:pt x="251575" y="1195082"/>
                    </a:cubicBezTo>
                    <a:cubicBezTo>
                      <a:pt x="244792" y="1196564"/>
                      <a:pt x="238113" y="1198468"/>
                      <a:pt x="231570" y="1200782"/>
                    </a:cubicBezTo>
                    <a:cubicBezTo>
                      <a:pt x="231228" y="1195538"/>
                      <a:pt x="230715" y="1190238"/>
                      <a:pt x="229917" y="1184994"/>
                    </a:cubicBezTo>
                    <a:cubicBezTo>
                      <a:pt x="229119" y="1179751"/>
                      <a:pt x="228549" y="1173253"/>
                      <a:pt x="232995" y="1170461"/>
                    </a:cubicBezTo>
                    <a:cubicBezTo>
                      <a:pt x="237440" y="1167668"/>
                      <a:pt x="243026" y="1170802"/>
                      <a:pt x="247813" y="1169264"/>
                    </a:cubicBezTo>
                    <a:cubicBezTo>
                      <a:pt x="252555" y="1167263"/>
                      <a:pt x="255177" y="1162139"/>
                      <a:pt x="254026" y="1157124"/>
                    </a:cubicBezTo>
                    <a:cubicBezTo>
                      <a:pt x="252732" y="1152285"/>
                      <a:pt x="249711" y="1148090"/>
                      <a:pt x="245533" y="1145326"/>
                    </a:cubicBezTo>
                    <a:cubicBezTo>
                      <a:pt x="241544" y="1142305"/>
                      <a:pt x="237041" y="1140082"/>
                      <a:pt x="232995" y="1137176"/>
                    </a:cubicBezTo>
                    <a:cubicBezTo>
                      <a:pt x="224907" y="1131465"/>
                      <a:pt x="219555" y="1122648"/>
                      <a:pt x="218233" y="1112839"/>
                    </a:cubicBezTo>
                    <a:cubicBezTo>
                      <a:pt x="217549" y="1106227"/>
                      <a:pt x="219031" y="1099559"/>
                      <a:pt x="218233" y="1092948"/>
                    </a:cubicBezTo>
                    <a:cubicBezTo>
                      <a:pt x="217435" y="1086336"/>
                      <a:pt x="212533" y="1079383"/>
                      <a:pt x="206207" y="1079212"/>
                    </a:cubicBezTo>
                    <a:cubicBezTo>
                      <a:pt x="202480" y="1079628"/>
                      <a:pt x="198872" y="1080791"/>
                      <a:pt x="195606" y="1082632"/>
                    </a:cubicBezTo>
                    <a:cubicBezTo>
                      <a:pt x="192340" y="1084575"/>
                      <a:pt x="188271" y="1084575"/>
                      <a:pt x="185005" y="1082632"/>
                    </a:cubicBezTo>
                    <a:cubicBezTo>
                      <a:pt x="183238" y="1081207"/>
                      <a:pt x="182440" y="1078813"/>
                      <a:pt x="180844" y="1076932"/>
                    </a:cubicBezTo>
                    <a:cubicBezTo>
                      <a:pt x="176969" y="1073114"/>
                      <a:pt x="170414" y="1074823"/>
                      <a:pt x="165228" y="1073114"/>
                    </a:cubicBezTo>
                    <a:cubicBezTo>
                      <a:pt x="163176" y="1072430"/>
                      <a:pt x="161010" y="1071176"/>
                      <a:pt x="158958" y="1070549"/>
                    </a:cubicBezTo>
                    <a:cubicBezTo>
                      <a:pt x="158970" y="1068639"/>
                      <a:pt x="158839" y="1066736"/>
                      <a:pt x="158559" y="1064849"/>
                    </a:cubicBezTo>
                    <a:cubicBezTo>
                      <a:pt x="157875" y="1059492"/>
                      <a:pt x="155026" y="1053450"/>
                      <a:pt x="149611" y="1053108"/>
                    </a:cubicBezTo>
                    <a:cubicBezTo>
                      <a:pt x="147673" y="1044787"/>
                      <a:pt x="152575" y="1034585"/>
                      <a:pt x="146876" y="1028202"/>
                    </a:cubicBezTo>
                    <a:cubicBezTo>
                      <a:pt x="145171" y="1026366"/>
                      <a:pt x="142903" y="1025147"/>
                      <a:pt x="140435" y="1024725"/>
                    </a:cubicBezTo>
                    <a:cubicBezTo>
                      <a:pt x="142390" y="1021642"/>
                      <a:pt x="144048" y="1018376"/>
                      <a:pt x="145394" y="1014979"/>
                    </a:cubicBezTo>
                    <a:cubicBezTo>
                      <a:pt x="147149" y="1011571"/>
                      <a:pt x="148107" y="1007809"/>
                      <a:pt x="148186" y="1003979"/>
                    </a:cubicBezTo>
                    <a:cubicBezTo>
                      <a:pt x="147901" y="997254"/>
                      <a:pt x="142487" y="991440"/>
                      <a:pt x="142487" y="984715"/>
                    </a:cubicBezTo>
                    <a:cubicBezTo>
                      <a:pt x="143519" y="979357"/>
                      <a:pt x="146260" y="974478"/>
                      <a:pt x="150295" y="970808"/>
                    </a:cubicBezTo>
                    <a:cubicBezTo>
                      <a:pt x="153561" y="967491"/>
                      <a:pt x="155676" y="963216"/>
                      <a:pt x="156337" y="958611"/>
                    </a:cubicBezTo>
                    <a:cubicBezTo>
                      <a:pt x="157100" y="958098"/>
                      <a:pt x="157710" y="957391"/>
                      <a:pt x="158103" y="956559"/>
                    </a:cubicBezTo>
                    <a:cubicBezTo>
                      <a:pt x="159129" y="954279"/>
                      <a:pt x="158103" y="951487"/>
                      <a:pt x="159414" y="949264"/>
                    </a:cubicBezTo>
                    <a:cubicBezTo>
                      <a:pt x="160873" y="947332"/>
                      <a:pt x="163051" y="946078"/>
                      <a:pt x="165456" y="945787"/>
                    </a:cubicBezTo>
                    <a:cubicBezTo>
                      <a:pt x="174689" y="942926"/>
                      <a:pt x="184287" y="941410"/>
                      <a:pt x="193953" y="941285"/>
                    </a:cubicBezTo>
                    <a:cubicBezTo>
                      <a:pt x="196632" y="941285"/>
                      <a:pt x="200280" y="940658"/>
                      <a:pt x="200108" y="938036"/>
                    </a:cubicBezTo>
                    <a:cubicBezTo>
                      <a:pt x="200108" y="936725"/>
                      <a:pt x="198798" y="935756"/>
                      <a:pt x="197601" y="935243"/>
                    </a:cubicBezTo>
                    <a:cubicBezTo>
                      <a:pt x="193925" y="934058"/>
                      <a:pt x="190066" y="933516"/>
                      <a:pt x="186202" y="933647"/>
                    </a:cubicBezTo>
                    <a:cubicBezTo>
                      <a:pt x="182246" y="933727"/>
                      <a:pt x="178559" y="931653"/>
                      <a:pt x="176570" y="928233"/>
                    </a:cubicBezTo>
                    <a:cubicBezTo>
                      <a:pt x="176268" y="927184"/>
                      <a:pt x="175909" y="926158"/>
                      <a:pt x="175487" y="925155"/>
                    </a:cubicBezTo>
                    <a:cubicBezTo>
                      <a:pt x="174005" y="922647"/>
                      <a:pt x="170471" y="922419"/>
                      <a:pt x="167565" y="922476"/>
                    </a:cubicBezTo>
                    <a:cubicBezTo>
                      <a:pt x="166447" y="917512"/>
                      <a:pt x="163438" y="913181"/>
                      <a:pt x="159186" y="910394"/>
                    </a:cubicBezTo>
                    <a:lnTo>
                      <a:pt x="158844" y="910394"/>
                    </a:lnTo>
                    <a:cubicBezTo>
                      <a:pt x="161187" y="907282"/>
                      <a:pt x="163865" y="904432"/>
                      <a:pt x="166824" y="901901"/>
                    </a:cubicBezTo>
                    <a:cubicBezTo>
                      <a:pt x="169753" y="899963"/>
                      <a:pt x="172141" y="897319"/>
                      <a:pt x="173777" y="894207"/>
                    </a:cubicBezTo>
                    <a:cubicBezTo>
                      <a:pt x="177083" y="897114"/>
                      <a:pt x="182155" y="893124"/>
                      <a:pt x="183580" y="888964"/>
                    </a:cubicBezTo>
                    <a:cubicBezTo>
                      <a:pt x="185005" y="884803"/>
                      <a:pt x="185404" y="879730"/>
                      <a:pt x="189280" y="877565"/>
                    </a:cubicBezTo>
                    <a:cubicBezTo>
                      <a:pt x="191092" y="876664"/>
                      <a:pt x="193007" y="875974"/>
                      <a:pt x="194979" y="875513"/>
                    </a:cubicBezTo>
                    <a:cubicBezTo>
                      <a:pt x="200656" y="873347"/>
                      <a:pt x="204417" y="867910"/>
                      <a:pt x="204440" y="861834"/>
                    </a:cubicBezTo>
                    <a:cubicBezTo>
                      <a:pt x="207461" y="864342"/>
                      <a:pt x="212135" y="861834"/>
                      <a:pt x="214414" y="858642"/>
                    </a:cubicBezTo>
                    <a:cubicBezTo>
                      <a:pt x="216090" y="855092"/>
                      <a:pt x="218278" y="851809"/>
                      <a:pt x="220912" y="848896"/>
                    </a:cubicBezTo>
                    <a:cubicBezTo>
                      <a:pt x="222507" y="847642"/>
                      <a:pt x="224445" y="846958"/>
                      <a:pt x="226041" y="845704"/>
                    </a:cubicBezTo>
                    <a:cubicBezTo>
                      <a:pt x="229769" y="842068"/>
                      <a:pt x="230817" y="836483"/>
                      <a:pt x="228663" y="831741"/>
                    </a:cubicBezTo>
                    <a:cubicBezTo>
                      <a:pt x="226480" y="827136"/>
                      <a:pt x="223334" y="823049"/>
                      <a:pt x="219430" y="819772"/>
                    </a:cubicBezTo>
                    <a:cubicBezTo>
                      <a:pt x="214015" y="814414"/>
                      <a:pt x="208544" y="809114"/>
                      <a:pt x="203072" y="803813"/>
                    </a:cubicBezTo>
                    <a:cubicBezTo>
                      <a:pt x="201021" y="801819"/>
                      <a:pt x="198798" y="799140"/>
                      <a:pt x="199596" y="796404"/>
                    </a:cubicBezTo>
                    <a:cubicBezTo>
                      <a:pt x="200906" y="791731"/>
                      <a:pt x="208715" y="792699"/>
                      <a:pt x="210995" y="788596"/>
                    </a:cubicBezTo>
                    <a:cubicBezTo>
                      <a:pt x="206195" y="783187"/>
                      <a:pt x="200804" y="778331"/>
                      <a:pt x="194922" y="774119"/>
                    </a:cubicBezTo>
                    <a:cubicBezTo>
                      <a:pt x="199653" y="768705"/>
                      <a:pt x="202844" y="759528"/>
                      <a:pt x="197202" y="755026"/>
                    </a:cubicBezTo>
                    <a:cubicBezTo>
                      <a:pt x="195036" y="753316"/>
                      <a:pt x="191502" y="752632"/>
                      <a:pt x="190762" y="750067"/>
                    </a:cubicBezTo>
                    <a:cubicBezTo>
                      <a:pt x="188767" y="744995"/>
                      <a:pt x="197487" y="741404"/>
                      <a:pt x="197373" y="735990"/>
                    </a:cubicBezTo>
                    <a:cubicBezTo>
                      <a:pt x="197373" y="731943"/>
                      <a:pt x="192129" y="728694"/>
                      <a:pt x="193497" y="724933"/>
                    </a:cubicBezTo>
                    <a:cubicBezTo>
                      <a:pt x="194352" y="722710"/>
                      <a:pt x="196974" y="721855"/>
                      <a:pt x="198570" y="720088"/>
                    </a:cubicBezTo>
                    <a:cubicBezTo>
                      <a:pt x="200787" y="717050"/>
                      <a:pt x="200787" y="712924"/>
                      <a:pt x="198570" y="709886"/>
                    </a:cubicBezTo>
                    <a:cubicBezTo>
                      <a:pt x="196273" y="707008"/>
                      <a:pt x="193651" y="704409"/>
                      <a:pt x="190762" y="702135"/>
                    </a:cubicBezTo>
                    <a:cubicBezTo>
                      <a:pt x="186128" y="697723"/>
                      <a:pt x="182799" y="692126"/>
                      <a:pt x="181129" y="685948"/>
                    </a:cubicBezTo>
                    <a:cubicBezTo>
                      <a:pt x="180388" y="683594"/>
                      <a:pt x="180388" y="681064"/>
                      <a:pt x="181129" y="678710"/>
                    </a:cubicBezTo>
                    <a:cubicBezTo>
                      <a:pt x="182326" y="675461"/>
                      <a:pt x="185860" y="673011"/>
                      <a:pt x="185803" y="669591"/>
                    </a:cubicBezTo>
                    <a:cubicBezTo>
                      <a:pt x="185803" y="668052"/>
                      <a:pt x="185062" y="666627"/>
                      <a:pt x="185176" y="665088"/>
                    </a:cubicBezTo>
                    <a:cubicBezTo>
                      <a:pt x="185689" y="659389"/>
                      <a:pt x="196575" y="660415"/>
                      <a:pt x="198513" y="654943"/>
                    </a:cubicBezTo>
                    <a:cubicBezTo>
                      <a:pt x="199766" y="651580"/>
                      <a:pt x="196917" y="648218"/>
                      <a:pt x="194295" y="645710"/>
                    </a:cubicBezTo>
                    <a:lnTo>
                      <a:pt x="176627" y="629182"/>
                    </a:lnTo>
                    <a:cubicBezTo>
                      <a:pt x="173047" y="626269"/>
                      <a:pt x="170112" y="622639"/>
                      <a:pt x="168020" y="618524"/>
                    </a:cubicBezTo>
                    <a:cubicBezTo>
                      <a:pt x="165963" y="614277"/>
                      <a:pt x="166733" y="609199"/>
                      <a:pt x="169958" y="605757"/>
                    </a:cubicBezTo>
                    <a:cubicBezTo>
                      <a:pt x="170848" y="605118"/>
                      <a:pt x="171685" y="604412"/>
                      <a:pt x="172466" y="603648"/>
                    </a:cubicBezTo>
                    <a:cubicBezTo>
                      <a:pt x="176057" y="599430"/>
                      <a:pt x="172466" y="590197"/>
                      <a:pt x="177595" y="588943"/>
                    </a:cubicBezTo>
                    <a:cubicBezTo>
                      <a:pt x="181534" y="587809"/>
                      <a:pt x="184104" y="584019"/>
                      <a:pt x="183694" y="579938"/>
                    </a:cubicBezTo>
                    <a:cubicBezTo>
                      <a:pt x="187171" y="579938"/>
                      <a:pt x="190647" y="580394"/>
                      <a:pt x="194067" y="580793"/>
                    </a:cubicBezTo>
                    <a:cubicBezTo>
                      <a:pt x="196866" y="575116"/>
                      <a:pt x="200496" y="569890"/>
                      <a:pt x="204839" y="565290"/>
                    </a:cubicBezTo>
                    <a:cubicBezTo>
                      <a:pt x="206224" y="565387"/>
                      <a:pt x="207581" y="564869"/>
                      <a:pt x="208544" y="563866"/>
                    </a:cubicBezTo>
                    <a:cubicBezTo>
                      <a:pt x="209045" y="562874"/>
                      <a:pt x="209410" y="561819"/>
                      <a:pt x="209627" y="560731"/>
                    </a:cubicBezTo>
                    <a:lnTo>
                      <a:pt x="212419" y="558337"/>
                    </a:lnTo>
                    <a:cubicBezTo>
                      <a:pt x="213696" y="557910"/>
                      <a:pt x="215075" y="557910"/>
                      <a:pt x="216352" y="558337"/>
                    </a:cubicBezTo>
                    <a:cubicBezTo>
                      <a:pt x="218689" y="559591"/>
                      <a:pt x="220655" y="561438"/>
                      <a:pt x="222052" y="563695"/>
                    </a:cubicBezTo>
                    <a:cubicBezTo>
                      <a:pt x="226098" y="565860"/>
                      <a:pt x="230738" y="566664"/>
                      <a:pt x="235274" y="565974"/>
                    </a:cubicBezTo>
                    <a:cubicBezTo>
                      <a:pt x="239805" y="565023"/>
                      <a:pt x="242701" y="560583"/>
                      <a:pt x="241755" y="556052"/>
                    </a:cubicBezTo>
                    <a:cubicBezTo>
                      <a:pt x="241737" y="555995"/>
                      <a:pt x="241726" y="555943"/>
                      <a:pt x="241715" y="555886"/>
                    </a:cubicBezTo>
                    <a:cubicBezTo>
                      <a:pt x="247551" y="554769"/>
                      <a:pt x="253581" y="556251"/>
                      <a:pt x="258243" y="559933"/>
                    </a:cubicBezTo>
                    <a:cubicBezTo>
                      <a:pt x="255593" y="563125"/>
                      <a:pt x="251615" y="564909"/>
                      <a:pt x="247471" y="564777"/>
                    </a:cubicBezTo>
                    <a:cubicBezTo>
                      <a:pt x="245482" y="569833"/>
                      <a:pt x="247682" y="575572"/>
                      <a:pt x="252544" y="578000"/>
                    </a:cubicBezTo>
                    <a:cubicBezTo>
                      <a:pt x="257343" y="580172"/>
                      <a:pt x="262632" y="581055"/>
                      <a:pt x="267875" y="580565"/>
                    </a:cubicBezTo>
                    <a:lnTo>
                      <a:pt x="304979" y="580565"/>
                    </a:lnTo>
                    <a:cubicBezTo>
                      <a:pt x="304979" y="582959"/>
                      <a:pt x="304979" y="585353"/>
                      <a:pt x="304979" y="587746"/>
                    </a:cubicBezTo>
                    <a:cubicBezTo>
                      <a:pt x="307258" y="591964"/>
                      <a:pt x="313870" y="589342"/>
                      <a:pt x="318315" y="591109"/>
                    </a:cubicBezTo>
                    <a:cubicBezTo>
                      <a:pt x="319980" y="592032"/>
                      <a:pt x="321564" y="593104"/>
                      <a:pt x="323046" y="594301"/>
                    </a:cubicBezTo>
                    <a:cubicBezTo>
                      <a:pt x="328649" y="596723"/>
                      <a:pt x="334884" y="597282"/>
                      <a:pt x="340828" y="595897"/>
                    </a:cubicBezTo>
                    <a:cubicBezTo>
                      <a:pt x="346870" y="595384"/>
                      <a:pt x="354165" y="596410"/>
                      <a:pt x="356958" y="601596"/>
                    </a:cubicBezTo>
                    <a:cubicBezTo>
                      <a:pt x="358098" y="603876"/>
                      <a:pt x="358497" y="606783"/>
                      <a:pt x="360663" y="608036"/>
                    </a:cubicBezTo>
                    <a:cubicBezTo>
                      <a:pt x="362828" y="609290"/>
                      <a:pt x="365963" y="608036"/>
                      <a:pt x="368072" y="609461"/>
                    </a:cubicBezTo>
                    <a:cubicBezTo>
                      <a:pt x="370181" y="610886"/>
                      <a:pt x="370067" y="613109"/>
                      <a:pt x="370751" y="615161"/>
                    </a:cubicBezTo>
                    <a:cubicBezTo>
                      <a:pt x="372193" y="619595"/>
                      <a:pt x="376091" y="622781"/>
                      <a:pt x="380725" y="623311"/>
                    </a:cubicBezTo>
                    <a:cubicBezTo>
                      <a:pt x="381369" y="629638"/>
                      <a:pt x="385940" y="634870"/>
                      <a:pt x="392124" y="636363"/>
                    </a:cubicBezTo>
                    <a:cubicBezTo>
                      <a:pt x="397823" y="638244"/>
                      <a:pt x="404435" y="638073"/>
                      <a:pt x="410533" y="639498"/>
                    </a:cubicBezTo>
                    <a:cubicBezTo>
                      <a:pt x="416848" y="640455"/>
                      <a:pt x="422097" y="644849"/>
                      <a:pt x="424155" y="650897"/>
                    </a:cubicBezTo>
                    <a:cubicBezTo>
                      <a:pt x="428942" y="648503"/>
                      <a:pt x="432362" y="655741"/>
                      <a:pt x="436580" y="658990"/>
                    </a:cubicBezTo>
                    <a:cubicBezTo>
                      <a:pt x="438859" y="660700"/>
                      <a:pt x="441823" y="661327"/>
                      <a:pt x="443818" y="663378"/>
                    </a:cubicBezTo>
                    <a:cubicBezTo>
                      <a:pt x="446753" y="667186"/>
                      <a:pt x="446514" y="672555"/>
                      <a:pt x="443248" y="676088"/>
                    </a:cubicBezTo>
                    <a:cubicBezTo>
                      <a:pt x="439959" y="679394"/>
                      <a:pt x="435907" y="681839"/>
                      <a:pt x="431450" y="683213"/>
                    </a:cubicBezTo>
                    <a:lnTo>
                      <a:pt x="431450" y="691021"/>
                    </a:lnTo>
                    <a:cubicBezTo>
                      <a:pt x="428042" y="690360"/>
                      <a:pt x="424520" y="690536"/>
                      <a:pt x="421191" y="691534"/>
                    </a:cubicBezTo>
                    <a:cubicBezTo>
                      <a:pt x="417777" y="692622"/>
                      <a:pt x="415588" y="695951"/>
                      <a:pt x="415947" y="699513"/>
                    </a:cubicBezTo>
                    <a:cubicBezTo>
                      <a:pt x="411502" y="699513"/>
                      <a:pt x="406088" y="700311"/>
                      <a:pt x="404549" y="704415"/>
                    </a:cubicBezTo>
                    <a:cubicBezTo>
                      <a:pt x="403979" y="705839"/>
                      <a:pt x="403922" y="707606"/>
                      <a:pt x="402839" y="708689"/>
                    </a:cubicBezTo>
                    <a:cubicBezTo>
                      <a:pt x="401631" y="709601"/>
                      <a:pt x="400126" y="710029"/>
                      <a:pt x="398621" y="709886"/>
                    </a:cubicBezTo>
                    <a:lnTo>
                      <a:pt x="379300" y="710285"/>
                    </a:lnTo>
                    <a:cubicBezTo>
                      <a:pt x="375852" y="710673"/>
                      <a:pt x="372358" y="710103"/>
                      <a:pt x="369212" y="708632"/>
                    </a:cubicBezTo>
                    <a:cubicBezTo>
                      <a:pt x="367331" y="707549"/>
                      <a:pt x="365906" y="705782"/>
                      <a:pt x="363968" y="704814"/>
                    </a:cubicBezTo>
                    <a:cubicBezTo>
                      <a:pt x="360600" y="703742"/>
                      <a:pt x="357015" y="703525"/>
                      <a:pt x="353539" y="704187"/>
                    </a:cubicBezTo>
                    <a:cubicBezTo>
                      <a:pt x="346306" y="704278"/>
                      <a:pt x="339107" y="703098"/>
                      <a:pt x="332279" y="700710"/>
                    </a:cubicBezTo>
                    <a:cubicBezTo>
                      <a:pt x="324585" y="698373"/>
                      <a:pt x="316948" y="695694"/>
                      <a:pt x="309481" y="692788"/>
                    </a:cubicBezTo>
                    <a:cubicBezTo>
                      <a:pt x="300967" y="688861"/>
                      <a:pt x="291955" y="686119"/>
                      <a:pt x="282694" y="684637"/>
                    </a:cubicBezTo>
                    <a:cubicBezTo>
                      <a:pt x="279901" y="684854"/>
                      <a:pt x="277148" y="683879"/>
                      <a:pt x="275114" y="681959"/>
                    </a:cubicBezTo>
                    <a:cubicBezTo>
                      <a:pt x="274373" y="680876"/>
                      <a:pt x="274088" y="679565"/>
                      <a:pt x="273347" y="678539"/>
                    </a:cubicBezTo>
                    <a:cubicBezTo>
                      <a:pt x="271808" y="676487"/>
                      <a:pt x="268901" y="676202"/>
                      <a:pt x="266565" y="675119"/>
                    </a:cubicBezTo>
                    <a:cubicBezTo>
                      <a:pt x="262945" y="672800"/>
                      <a:pt x="259890" y="669705"/>
                      <a:pt x="257616" y="666057"/>
                    </a:cubicBezTo>
                    <a:cubicBezTo>
                      <a:pt x="255188" y="662239"/>
                      <a:pt x="250646" y="660329"/>
                      <a:pt x="246217" y="661270"/>
                    </a:cubicBezTo>
                    <a:cubicBezTo>
                      <a:pt x="242148" y="663475"/>
                      <a:pt x="240638" y="668559"/>
                      <a:pt x="242837" y="672629"/>
                    </a:cubicBezTo>
                    <a:cubicBezTo>
                      <a:pt x="242900" y="672737"/>
                      <a:pt x="242963" y="672845"/>
                      <a:pt x="243026" y="672953"/>
                    </a:cubicBezTo>
                    <a:cubicBezTo>
                      <a:pt x="245608" y="676772"/>
                      <a:pt x="249534" y="679479"/>
                      <a:pt x="254026" y="680534"/>
                    </a:cubicBezTo>
                    <a:cubicBezTo>
                      <a:pt x="251461" y="683213"/>
                      <a:pt x="253627" y="688000"/>
                      <a:pt x="256875" y="689824"/>
                    </a:cubicBezTo>
                    <a:cubicBezTo>
                      <a:pt x="260329" y="691175"/>
                      <a:pt x="263869" y="692275"/>
                      <a:pt x="267476" y="693130"/>
                    </a:cubicBezTo>
                    <a:cubicBezTo>
                      <a:pt x="270953" y="694497"/>
                      <a:pt x="274145" y="698145"/>
                      <a:pt x="272834" y="701679"/>
                    </a:cubicBezTo>
                    <a:cubicBezTo>
                      <a:pt x="278328" y="702237"/>
                      <a:pt x="283475" y="704603"/>
                      <a:pt x="287481" y="708404"/>
                    </a:cubicBezTo>
                    <a:cubicBezTo>
                      <a:pt x="291551" y="712257"/>
                      <a:pt x="297456" y="713448"/>
                      <a:pt x="302699" y="711482"/>
                    </a:cubicBezTo>
                    <a:lnTo>
                      <a:pt x="302015" y="728580"/>
                    </a:lnTo>
                    <a:cubicBezTo>
                      <a:pt x="302112" y="729925"/>
                      <a:pt x="301725" y="731253"/>
                      <a:pt x="300932" y="732342"/>
                    </a:cubicBezTo>
                    <a:cubicBezTo>
                      <a:pt x="299735" y="733653"/>
                      <a:pt x="297683" y="733596"/>
                      <a:pt x="296088" y="734394"/>
                    </a:cubicBezTo>
                    <a:cubicBezTo>
                      <a:pt x="292383" y="736218"/>
                      <a:pt x="292554" y="741632"/>
                      <a:pt x="293922" y="745793"/>
                    </a:cubicBezTo>
                    <a:cubicBezTo>
                      <a:pt x="295290" y="749953"/>
                      <a:pt x="297228" y="754114"/>
                      <a:pt x="295290" y="757762"/>
                    </a:cubicBezTo>
                    <a:cubicBezTo>
                      <a:pt x="299792" y="756508"/>
                      <a:pt x="303839" y="761409"/>
                      <a:pt x="304466" y="766083"/>
                    </a:cubicBezTo>
                    <a:cubicBezTo>
                      <a:pt x="305093" y="770756"/>
                      <a:pt x="303668" y="775430"/>
                      <a:pt x="304124" y="780104"/>
                    </a:cubicBezTo>
                    <a:cubicBezTo>
                      <a:pt x="304135" y="781198"/>
                      <a:pt x="304540" y="782247"/>
                      <a:pt x="305264" y="783067"/>
                    </a:cubicBezTo>
                    <a:cubicBezTo>
                      <a:pt x="306296" y="783791"/>
                      <a:pt x="307538" y="784150"/>
                      <a:pt x="308797" y="784093"/>
                    </a:cubicBezTo>
                    <a:lnTo>
                      <a:pt x="330228" y="785005"/>
                    </a:lnTo>
                    <a:cubicBezTo>
                      <a:pt x="333248" y="789565"/>
                      <a:pt x="336269" y="794067"/>
                      <a:pt x="339233" y="798627"/>
                    </a:cubicBezTo>
                    <a:cubicBezTo>
                      <a:pt x="339934" y="799864"/>
                      <a:pt x="340960" y="800890"/>
                      <a:pt x="342196" y="801591"/>
                    </a:cubicBezTo>
                    <a:cubicBezTo>
                      <a:pt x="343382" y="801819"/>
                      <a:pt x="344601" y="801819"/>
                      <a:pt x="345787" y="801591"/>
                    </a:cubicBezTo>
                    <a:cubicBezTo>
                      <a:pt x="351390" y="802018"/>
                      <a:pt x="356924" y="803129"/>
                      <a:pt x="362259" y="804896"/>
                    </a:cubicBezTo>
                    <a:cubicBezTo>
                      <a:pt x="367736" y="806589"/>
                      <a:pt x="373703" y="805067"/>
                      <a:pt x="377704" y="800964"/>
                    </a:cubicBezTo>
                    <a:cubicBezTo>
                      <a:pt x="373373" y="796689"/>
                      <a:pt x="379813" y="788596"/>
                      <a:pt x="376507" y="783523"/>
                    </a:cubicBezTo>
                    <a:cubicBezTo>
                      <a:pt x="371777" y="776228"/>
                      <a:pt x="356616" y="786373"/>
                      <a:pt x="352798" y="778565"/>
                    </a:cubicBezTo>
                    <a:cubicBezTo>
                      <a:pt x="351828" y="776570"/>
                      <a:pt x="352170" y="773834"/>
                      <a:pt x="350461" y="772352"/>
                    </a:cubicBezTo>
                    <a:cubicBezTo>
                      <a:pt x="348751" y="770870"/>
                      <a:pt x="344134" y="771725"/>
                      <a:pt x="342709" y="769218"/>
                    </a:cubicBezTo>
                    <a:cubicBezTo>
                      <a:pt x="342424" y="768289"/>
                      <a:pt x="342424" y="767297"/>
                      <a:pt x="342709" y="766368"/>
                    </a:cubicBezTo>
                    <a:cubicBezTo>
                      <a:pt x="343787" y="758212"/>
                      <a:pt x="348762" y="751093"/>
                      <a:pt x="356046" y="747275"/>
                    </a:cubicBezTo>
                    <a:cubicBezTo>
                      <a:pt x="363427" y="749247"/>
                      <a:pt x="369879" y="753744"/>
                      <a:pt x="374284" y="759984"/>
                    </a:cubicBezTo>
                    <a:cubicBezTo>
                      <a:pt x="375031" y="761267"/>
                      <a:pt x="376063" y="762361"/>
                      <a:pt x="377305" y="763176"/>
                    </a:cubicBezTo>
                    <a:cubicBezTo>
                      <a:pt x="378422" y="763649"/>
                      <a:pt x="379625" y="763900"/>
                      <a:pt x="380839" y="763917"/>
                    </a:cubicBezTo>
                    <a:cubicBezTo>
                      <a:pt x="396740" y="765342"/>
                      <a:pt x="411616" y="777311"/>
                      <a:pt x="427176" y="773663"/>
                    </a:cubicBezTo>
                    <a:cubicBezTo>
                      <a:pt x="428749" y="773407"/>
                      <a:pt x="430202" y="772671"/>
                      <a:pt x="431336" y="771554"/>
                    </a:cubicBezTo>
                    <a:cubicBezTo>
                      <a:pt x="433200" y="768442"/>
                      <a:pt x="432493" y="764441"/>
                      <a:pt x="429683" y="762150"/>
                    </a:cubicBezTo>
                    <a:cubicBezTo>
                      <a:pt x="427233" y="759699"/>
                      <a:pt x="423984" y="758104"/>
                      <a:pt x="421590" y="755425"/>
                    </a:cubicBezTo>
                    <a:cubicBezTo>
                      <a:pt x="419573" y="752815"/>
                      <a:pt x="418398" y="749657"/>
                      <a:pt x="418227" y="746363"/>
                    </a:cubicBezTo>
                    <a:cubicBezTo>
                      <a:pt x="417338" y="734035"/>
                      <a:pt x="424987" y="722693"/>
                      <a:pt x="436751" y="718891"/>
                    </a:cubicBezTo>
                    <a:cubicBezTo>
                      <a:pt x="439258" y="718150"/>
                      <a:pt x="442450" y="717523"/>
                      <a:pt x="443362" y="715130"/>
                    </a:cubicBezTo>
                    <a:cubicBezTo>
                      <a:pt x="444274" y="712736"/>
                      <a:pt x="443647" y="710570"/>
                      <a:pt x="445129" y="708974"/>
                    </a:cubicBezTo>
                    <a:cubicBezTo>
                      <a:pt x="446462" y="708057"/>
                      <a:pt x="448018" y="707509"/>
                      <a:pt x="449632" y="707378"/>
                    </a:cubicBezTo>
                    <a:cubicBezTo>
                      <a:pt x="456072" y="705896"/>
                      <a:pt x="459093" y="698544"/>
                      <a:pt x="464621" y="694953"/>
                    </a:cubicBezTo>
                    <a:cubicBezTo>
                      <a:pt x="470150" y="691363"/>
                      <a:pt x="479269" y="692332"/>
                      <a:pt x="486678" y="693985"/>
                    </a:cubicBezTo>
                    <a:cubicBezTo>
                      <a:pt x="491511" y="694213"/>
                      <a:pt x="495626" y="697564"/>
                      <a:pt x="496823" y="702249"/>
                    </a:cubicBezTo>
                    <a:cubicBezTo>
                      <a:pt x="499046" y="707606"/>
                      <a:pt x="501212" y="713021"/>
                      <a:pt x="503435" y="718435"/>
                    </a:cubicBezTo>
                    <a:lnTo>
                      <a:pt x="508849" y="718435"/>
                    </a:lnTo>
                    <a:cubicBezTo>
                      <a:pt x="506763" y="711197"/>
                      <a:pt x="510507" y="703548"/>
                      <a:pt x="517512" y="700767"/>
                    </a:cubicBezTo>
                    <a:lnTo>
                      <a:pt x="518880" y="692389"/>
                    </a:lnTo>
                    <a:cubicBezTo>
                      <a:pt x="520470" y="687316"/>
                      <a:pt x="519536" y="681788"/>
                      <a:pt x="516372" y="677513"/>
                    </a:cubicBezTo>
                    <a:cubicBezTo>
                      <a:pt x="512793" y="675171"/>
                      <a:pt x="508621" y="673905"/>
                      <a:pt x="504346" y="673865"/>
                    </a:cubicBezTo>
                    <a:cubicBezTo>
                      <a:pt x="500186" y="673181"/>
                      <a:pt x="495398" y="670560"/>
                      <a:pt x="495512" y="666285"/>
                    </a:cubicBezTo>
                    <a:cubicBezTo>
                      <a:pt x="495512" y="659788"/>
                      <a:pt x="505657" y="659218"/>
                      <a:pt x="509704" y="654088"/>
                    </a:cubicBezTo>
                    <a:cubicBezTo>
                      <a:pt x="513751" y="648959"/>
                      <a:pt x="509989" y="641036"/>
                      <a:pt x="508792" y="634254"/>
                    </a:cubicBezTo>
                    <a:cubicBezTo>
                      <a:pt x="507681" y="627814"/>
                      <a:pt x="509271" y="621197"/>
                      <a:pt x="513180" y="615959"/>
                    </a:cubicBezTo>
                    <a:lnTo>
                      <a:pt x="519678" y="614021"/>
                    </a:lnTo>
                    <a:cubicBezTo>
                      <a:pt x="525036" y="612892"/>
                      <a:pt x="530519" y="612528"/>
                      <a:pt x="535978" y="612938"/>
                    </a:cubicBezTo>
                    <a:cubicBezTo>
                      <a:pt x="539489" y="612590"/>
                      <a:pt x="543023" y="613246"/>
                      <a:pt x="546181" y="614819"/>
                    </a:cubicBezTo>
                    <a:cubicBezTo>
                      <a:pt x="549275" y="616569"/>
                      <a:pt x="550370" y="620496"/>
                      <a:pt x="548620" y="623596"/>
                    </a:cubicBezTo>
                    <a:cubicBezTo>
                      <a:pt x="548586" y="623653"/>
                      <a:pt x="548552" y="623710"/>
                      <a:pt x="548517" y="623767"/>
                    </a:cubicBezTo>
                    <a:cubicBezTo>
                      <a:pt x="551931" y="624696"/>
                      <a:pt x="555146" y="626263"/>
                      <a:pt x="557979" y="628384"/>
                    </a:cubicBezTo>
                    <a:cubicBezTo>
                      <a:pt x="560828" y="630606"/>
                      <a:pt x="562190" y="634237"/>
                      <a:pt x="561512" y="637788"/>
                    </a:cubicBezTo>
                    <a:cubicBezTo>
                      <a:pt x="564750" y="638284"/>
                      <a:pt x="567058" y="641190"/>
                      <a:pt x="566813" y="644456"/>
                    </a:cubicBezTo>
                    <a:cubicBezTo>
                      <a:pt x="560657" y="648047"/>
                      <a:pt x="552963" y="639840"/>
                      <a:pt x="546238" y="642176"/>
                    </a:cubicBezTo>
                    <a:cubicBezTo>
                      <a:pt x="543502" y="643145"/>
                      <a:pt x="541336" y="645767"/>
                      <a:pt x="538429" y="645995"/>
                    </a:cubicBezTo>
                    <a:cubicBezTo>
                      <a:pt x="535523" y="646223"/>
                      <a:pt x="533870" y="645083"/>
                      <a:pt x="532274" y="646508"/>
                    </a:cubicBezTo>
                    <a:cubicBezTo>
                      <a:pt x="531516" y="647317"/>
                      <a:pt x="531077" y="648366"/>
                      <a:pt x="531020" y="649472"/>
                    </a:cubicBezTo>
                    <a:cubicBezTo>
                      <a:pt x="530222" y="654761"/>
                      <a:pt x="529709" y="660090"/>
                      <a:pt x="529481" y="665430"/>
                    </a:cubicBezTo>
                    <a:cubicBezTo>
                      <a:pt x="529202" y="667151"/>
                      <a:pt x="529612" y="668913"/>
                      <a:pt x="530621" y="670332"/>
                    </a:cubicBezTo>
                    <a:cubicBezTo>
                      <a:pt x="532103" y="671985"/>
                      <a:pt x="534611" y="671871"/>
                      <a:pt x="536320" y="672896"/>
                    </a:cubicBezTo>
                    <a:cubicBezTo>
                      <a:pt x="539797" y="674891"/>
                      <a:pt x="539911" y="680021"/>
                      <a:pt x="542704" y="682985"/>
                    </a:cubicBezTo>
                    <a:cubicBezTo>
                      <a:pt x="545645" y="685373"/>
                      <a:pt x="549429" y="686461"/>
                      <a:pt x="553191" y="686005"/>
                    </a:cubicBezTo>
                    <a:cubicBezTo>
                      <a:pt x="565120" y="686005"/>
                      <a:pt x="577015" y="685891"/>
                      <a:pt x="588870" y="685663"/>
                    </a:cubicBezTo>
                    <a:lnTo>
                      <a:pt x="591776" y="664062"/>
                    </a:lnTo>
                    <a:cubicBezTo>
                      <a:pt x="591925" y="662655"/>
                      <a:pt x="592267" y="661270"/>
                      <a:pt x="592802" y="659959"/>
                    </a:cubicBezTo>
                    <a:cubicBezTo>
                      <a:pt x="595133" y="656630"/>
                      <a:pt x="599163" y="654920"/>
                      <a:pt x="603175" y="655570"/>
                    </a:cubicBezTo>
                    <a:cubicBezTo>
                      <a:pt x="607097" y="656203"/>
                      <a:pt x="611075" y="656357"/>
                      <a:pt x="615030" y="656026"/>
                    </a:cubicBezTo>
                    <a:cubicBezTo>
                      <a:pt x="615395" y="652988"/>
                      <a:pt x="616734" y="650150"/>
                      <a:pt x="618849" y="647933"/>
                    </a:cubicBezTo>
                    <a:cubicBezTo>
                      <a:pt x="620217" y="646952"/>
                      <a:pt x="621716" y="646166"/>
                      <a:pt x="623294" y="645596"/>
                    </a:cubicBezTo>
                    <a:cubicBezTo>
                      <a:pt x="628937" y="643020"/>
                      <a:pt x="633867" y="639104"/>
                      <a:pt x="637657" y="634197"/>
                    </a:cubicBezTo>
                    <a:cubicBezTo>
                      <a:pt x="638871" y="632254"/>
                      <a:pt x="640530" y="630629"/>
                      <a:pt x="642502" y="629467"/>
                    </a:cubicBezTo>
                    <a:cubicBezTo>
                      <a:pt x="644212" y="628891"/>
                      <a:pt x="646001" y="628606"/>
                      <a:pt x="647802" y="628612"/>
                    </a:cubicBezTo>
                    <a:cubicBezTo>
                      <a:pt x="659201" y="627757"/>
                      <a:pt x="669004" y="619606"/>
                      <a:pt x="679605" y="614705"/>
                    </a:cubicBezTo>
                    <a:cubicBezTo>
                      <a:pt x="681771" y="613736"/>
                      <a:pt x="684678" y="612995"/>
                      <a:pt x="686331" y="614705"/>
                    </a:cubicBezTo>
                    <a:cubicBezTo>
                      <a:pt x="687129" y="615742"/>
                      <a:pt x="687676" y="616951"/>
                      <a:pt x="687927" y="618239"/>
                    </a:cubicBezTo>
                    <a:cubicBezTo>
                      <a:pt x="690258" y="623607"/>
                      <a:pt x="696498" y="626075"/>
                      <a:pt x="701867" y="623750"/>
                    </a:cubicBezTo>
                    <a:cubicBezTo>
                      <a:pt x="702472" y="623488"/>
                      <a:pt x="703053" y="623169"/>
                      <a:pt x="703600" y="622798"/>
                    </a:cubicBezTo>
                    <a:cubicBezTo>
                      <a:pt x="700534" y="615583"/>
                      <a:pt x="703896" y="607250"/>
                      <a:pt x="711112" y="604184"/>
                    </a:cubicBezTo>
                    <a:cubicBezTo>
                      <a:pt x="711597" y="603979"/>
                      <a:pt x="712098" y="603802"/>
                      <a:pt x="712605" y="603648"/>
                    </a:cubicBezTo>
                    <a:cubicBezTo>
                      <a:pt x="714623" y="603414"/>
                      <a:pt x="716566" y="602753"/>
                      <a:pt x="718305" y="601710"/>
                    </a:cubicBezTo>
                    <a:cubicBezTo>
                      <a:pt x="720926" y="599544"/>
                      <a:pt x="722636" y="594244"/>
                      <a:pt x="725657" y="596011"/>
                    </a:cubicBezTo>
                    <a:cubicBezTo>
                      <a:pt x="726586" y="596683"/>
                      <a:pt x="727236" y="597681"/>
                      <a:pt x="727481" y="598803"/>
                    </a:cubicBezTo>
                    <a:cubicBezTo>
                      <a:pt x="728991" y="602417"/>
                      <a:pt x="729800" y="606287"/>
                      <a:pt x="729875" y="610202"/>
                    </a:cubicBezTo>
                    <a:cubicBezTo>
                      <a:pt x="729937" y="614260"/>
                      <a:pt x="727743" y="618016"/>
                      <a:pt x="724175" y="619948"/>
                    </a:cubicBezTo>
                    <a:cubicBezTo>
                      <a:pt x="721497" y="621088"/>
                      <a:pt x="718476" y="620746"/>
                      <a:pt x="715740" y="621715"/>
                    </a:cubicBezTo>
                    <a:cubicBezTo>
                      <a:pt x="713004" y="622684"/>
                      <a:pt x="710781" y="626275"/>
                      <a:pt x="712719" y="628384"/>
                    </a:cubicBezTo>
                    <a:cubicBezTo>
                      <a:pt x="716116" y="628349"/>
                      <a:pt x="718903" y="631074"/>
                      <a:pt x="718943" y="634471"/>
                    </a:cubicBezTo>
                    <a:cubicBezTo>
                      <a:pt x="718949" y="634995"/>
                      <a:pt x="718886" y="635514"/>
                      <a:pt x="718761" y="636021"/>
                    </a:cubicBezTo>
                    <a:cubicBezTo>
                      <a:pt x="725600" y="641720"/>
                      <a:pt x="735346" y="640352"/>
                      <a:pt x="743952" y="639042"/>
                    </a:cubicBezTo>
                    <a:cubicBezTo>
                      <a:pt x="745007" y="638973"/>
                      <a:pt x="746016" y="638597"/>
                      <a:pt x="746859" y="637959"/>
                    </a:cubicBezTo>
                    <a:cubicBezTo>
                      <a:pt x="749082" y="636021"/>
                      <a:pt x="746859" y="632259"/>
                      <a:pt x="748569" y="629524"/>
                    </a:cubicBezTo>
                    <a:cubicBezTo>
                      <a:pt x="750279" y="626788"/>
                      <a:pt x="752844" y="627244"/>
                      <a:pt x="754269" y="625420"/>
                    </a:cubicBezTo>
                    <a:cubicBezTo>
                      <a:pt x="754889" y="624548"/>
                      <a:pt x="755368" y="623590"/>
                      <a:pt x="755693" y="622570"/>
                    </a:cubicBezTo>
                    <a:cubicBezTo>
                      <a:pt x="759084" y="615092"/>
                      <a:pt x="767497" y="611285"/>
                      <a:pt x="775356" y="613679"/>
                    </a:cubicBezTo>
                    <a:cubicBezTo>
                      <a:pt x="779477" y="615469"/>
                      <a:pt x="783319" y="617851"/>
                      <a:pt x="786755" y="620746"/>
                    </a:cubicBezTo>
                    <a:cubicBezTo>
                      <a:pt x="790243" y="623613"/>
                      <a:pt x="794775" y="624873"/>
                      <a:pt x="799237" y="624223"/>
                    </a:cubicBezTo>
                    <a:cubicBezTo>
                      <a:pt x="803512" y="623140"/>
                      <a:pt x="806703" y="617555"/>
                      <a:pt x="803968" y="614021"/>
                    </a:cubicBezTo>
                    <a:cubicBezTo>
                      <a:pt x="807045" y="615389"/>
                      <a:pt x="810123" y="611969"/>
                      <a:pt x="811605" y="608891"/>
                    </a:cubicBezTo>
                    <a:cubicBezTo>
                      <a:pt x="813087" y="605814"/>
                      <a:pt x="815196" y="602109"/>
                      <a:pt x="818615" y="602394"/>
                    </a:cubicBezTo>
                    <a:cubicBezTo>
                      <a:pt x="824315" y="602907"/>
                      <a:pt x="827792" y="599430"/>
                      <a:pt x="833434" y="599487"/>
                    </a:cubicBezTo>
                    <a:cubicBezTo>
                      <a:pt x="839190" y="599299"/>
                      <a:pt x="844423" y="602810"/>
                      <a:pt x="846429" y="608207"/>
                    </a:cubicBezTo>
                    <a:lnTo>
                      <a:pt x="833377" y="620290"/>
                    </a:lnTo>
                    <a:cubicBezTo>
                      <a:pt x="843750" y="619036"/>
                      <a:pt x="852755" y="633741"/>
                      <a:pt x="861875" y="629068"/>
                    </a:cubicBezTo>
                    <a:lnTo>
                      <a:pt x="861875" y="615731"/>
                    </a:lnTo>
                    <a:cubicBezTo>
                      <a:pt x="871085" y="613964"/>
                      <a:pt x="879605" y="609615"/>
                      <a:pt x="886439" y="603192"/>
                    </a:cubicBezTo>
                    <a:cubicBezTo>
                      <a:pt x="884216" y="601197"/>
                      <a:pt x="881937" y="599145"/>
                      <a:pt x="879885" y="596923"/>
                    </a:cubicBezTo>
                    <a:cubicBezTo>
                      <a:pt x="875895" y="592739"/>
                      <a:pt x="872533" y="587997"/>
                      <a:pt x="869911" y="582845"/>
                    </a:cubicBezTo>
                    <a:cubicBezTo>
                      <a:pt x="866896" y="577687"/>
                      <a:pt x="865676" y="571674"/>
                      <a:pt x="866434" y="565746"/>
                    </a:cubicBezTo>
                    <a:cubicBezTo>
                      <a:pt x="858700" y="566225"/>
                      <a:pt x="850954" y="565165"/>
                      <a:pt x="843636" y="562612"/>
                    </a:cubicBezTo>
                    <a:cubicBezTo>
                      <a:pt x="836329" y="559956"/>
                      <a:pt x="831245" y="553270"/>
                      <a:pt x="830641" y="545513"/>
                    </a:cubicBezTo>
                    <a:cubicBezTo>
                      <a:pt x="842781" y="540270"/>
                      <a:pt x="855662" y="549902"/>
                      <a:pt x="866719" y="556912"/>
                    </a:cubicBezTo>
                    <a:cubicBezTo>
                      <a:pt x="874180" y="562310"/>
                      <a:pt x="883008" y="565507"/>
                      <a:pt x="892195" y="566145"/>
                    </a:cubicBezTo>
                    <a:cubicBezTo>
                      <a:pt x="897382" y="566145"/>
                      <a:pt x="903594" y="565119"/>
                      <a:pt x="907185" y="568596"/>
                    </a:cubicBezTo>
                    <a:cubicBezTo>
                      <a:pt x="908872" y="570608"/>
                      <a:pt x="910428" y="572723"/>
                      <a:pt x="911859" y="574923"/>
                    </a:cubicBezTo>
                    <a:cubicBezTo>
                      <a:pt x="916247" y="579881"/>
                      <a:pt x="923885" y="579710"/>
                      <a:pt x="930496" y="579368"/>
                    </a:cubicBezTo>
                    <a:cubicBezTo>
                      <a:pt x="941952" y="578228"/>
                      <a:pt x="953516" y="579060"/>
                      <a:pt x="964693" y="581819"/>
                    </a:cubicBezTo>
                    <a:cubicBezTo>
                      <a:pt x="972330" y="584315"/>
                      <a:pt x="979700" y="587558"/>
                      <a:pt x="986693" y="591508"/>
                    </a:cubicBezTo>
                    <a:cubicBezTo>
                      <a:pt x="1003290" y="599658"/>
                      <a:pt x="1019174" y="609193"/>
                      <a:pt x="1034170" y="620005"/>
                    </a:cubicBezTo>
                    <a:cubicBezTo>
                      <a:pt x="1040553" y="624850"/>
                      <a:pt x="1047677" y="630492"/>
                      <a:pt x="1055543" y="629296"/>
                    </a:cubicBezTo>
                    <a:cubicBezTo>
                      <a:pt x="1053895" y="623220"/>
                      <a:pt x="1057486" y="616956"/>
                      <a:pt x="1063562" y="615309"/>
                    </a:cubicBezTo>
                    <a:cubicBezTo>
                      <a:pt x="1063602" y="615298"/>
                      <a:pt x="1063647" y="615286"/>
                      <a:pt x="1063693" y="615275"/>
                    </a:cubicBezTo>
                    <a:cubicBezTo>
                      <a:pt x="1059874" y="609176"/>
                      <a:pt x="1055885" y="603192"/>
                      <a:pt x="1051667" y="597321"/>
                    </a:cubicBezTo>
                    <a:cubicBezTo>
                      <a:pt x="1048019" y="599031"/>
                      <a:pt x="1044258" y="594814"/>
                      <a:pt x="1043573" y="590881"/>
                    </a:cubicBezTo>
                    <a:cubicBezTo>
                      <a:pt x="1043556" y="586869"/>
                      <a:pt x="1042901" y="582890"/>
                      <a:pt x="1041636" y="579083"/>
                    </a:cubicBezTo>
                    <a:cubicBezTo>
                      <a:pt x="1038273" y="573042"/>
                      <a:pt x="1029781" y="573384"/>
                      <a:pt x="1022941" y="572415"/>
                    </a:cubicBezTo>
                    <a:cubicBezTo>
                      <a:pt x="1016102" y="571446"/>
                      <a:pt x="1008237" y="564436"/>
                      <a:pt x="1012455" y="558964"/>
                    </a:cubicBezTo>
                    <a:cubicBezTo>
                      <a:pt x="1018553" y="557767"/>
                      <a:pt x="1020548" y="549902"/>
                      <a:pt x="1019579" y="543803"/>
                    </a:cubicBezTo>
                    <a:cubicBezTo>
                      <a:pt x="1018610" y="537705"/>
                      <a:pt x="1016102" y="531379"/>
                      <a:pt x="1017983" y="525508"/>
                    </a:cubicBezTo>
                    <a:cubicBezTo>
                      <a:pt x="1020046" y="520817"/>
                      <a:pt x="1023460" y="516851"/>
                      <a:pt x="1027786" y="514109"/>
                    </a:cubicBezTo>
                    <a:lnTo>
                      <a:pt x="1053035" y="494503"/>
                    </a:lnTo>
                    <a:cubicBezTo>
                      <a:pt x="1060718" y="489128"/>
                      <a:pt x="1067574" y="482659"/>
                      <a:pt x="1073382" y="475296"/>
                    </a:cubicBezTo>
                    <a:cubicBezTo>
                      <a:pt x="1079343" y="465920"/>
                      <a:pt x="1083464" y="455496"/>
                      <a:pt x="1085522" y="444576"/>
                    </a:cubicBezTo>
                    <a:cubicBezTo>
                      <a:pt x="1086035" y="440227"/>
                      <a:pt x="1088047" y="436195"/>
                      <a:pt x="1091221" y="433177"/>
                    </a:cubicBezTo>
                    <a:cubicBezTo>
                      <a:pt x="1092943" y="432011"/>
                      <a:pt x="1094880" y="431197"/>
                      <a:pt x="1096921" y="430783"/>
                    </a:cubicBezTo>
                    <a:cubicBezTo>
                      <a:pt x="1111124" y="427039"/>
                      <a:pt x="1126165" y="428142"/>
                      <a:pt x="1139667" y="433918"/>
                    </a:cubicBezTo>
                    <a:cubicBezTo>
                      <a:pt x="1141850" y="434739"/>
                      <a:pt x="1143799" y="436068"/>
                      <a:pt x="1145366" y="437793"/>
                    </a:cubicBezTo>
                    <a:cubicBezTo>
                      <a:pt x="1152833" y="447140"/>
                      <a:pt x="1134993" y="461161"/>
                      <a:pt x="1141035" y="471477"/>
                    </a:cubicBezTo>
                    <a:cubicBezTo>
                      <a:pt x="1131573" y="478026"/>
                      <a:pt x="1125031" y="488000"/>
                      <a:pt x="1122796" y="499291"/>
                    </a:cubicBezTo>
                    <a:cubicBezTo>
                      <a:pt x="1134970" y="503280"/>
                      <a:pt x="1144654" y="512627"/>
                      <a:pt x="1149071" y="524653"/>
                    </a:cubicBezTo>
                    <a:cubicBezTo>
                      <a:pt x="1150000" y="526905"/>
                      <a:pt x="1150353" y="529355"/>
                      <a:pt x="1150097" y="531778"/>
                    </a:cubicBezTo>
                    <a:cubicBezTo>
                      <a:pt x="1149020" y="535152"/>
                      <a:pt x="1147207" y="538246"/>
                      <a:pt x="1144796" y="540840"/>
                    </a:cubicBezTo>
                    <a:cubicBezTo>
                      <a:pt x="1136304" y="552239"/>
                      <a:pt x="1137045" y="568311"/>
                      <a:pt x="1138185" y="582674"/>
                    </a:cubicBezTo>
                    <a:cubicBezTo>
                      <a:pt x="1138869" y="592249"/>
                      <a:pt x="1140180" y="602850"/>
                      <a:pt x="1147589" y="608891"/>
                    </a:cubicBezTo>
                    <a:cubicBezTo>
                      <a:pt x="1152946" y="613223"/>
                      <a:pt x="1161838" y="616529"/>
                      <a:pt x="1160584" y="623311"/>
                    </a:cubicBezTo>
                    <a:cubicBezTo>
                      <a:pt x="1159672" y="626138"/>
                      <a:pt x="1157848" y="628583"/>
                      <a:pt x="1155398" y="630264"/>
                    </a:cubicBezTo>
                    <a:cubicBezTo>
                      <a:pt x="1144585" y="639897"/>
                      <a:pt x="1135996" y="651757"/>
                      <a:pt x="1130206" y="665031"/>
                    </a:cubicBezTo>
                    <a:cubicBezTo>
                      <a:pt x="1128496" y="670195"/>
                      <a:pt x="1125954" y="675045"/>
                      <a:pt x="1122682" y="679394"/>
                    </a:cubicBezTo>
                    <a:cubicBezTo>
                      <a:pt x="1120044" y="681719"/>
                      <a:pt x="1117792" y="684455"/>
                      <a:pt x="1116014" y="687487"/>
                    </a:cubicBezTo>
                    <a:cubicBezTo>
                      <a:pt x="1115187" y="690200"/>
                      <a:pt x="1115011" y="693073"/>
                      <a:pt x="1115501" y="695865"/>
                    </a:cubicBezTo>
                    <a:cubicBezTo>
                      <a:pt x="1115603" y="700756"/>
                      <a:pt x="1116829" y="705549"/>
                      <a:pt x="1119092" y="709886"/>
                    </a:cubicBezTo>
                    <a:cubicBezTo>
                      <a:pt x="1121520" y="714303"/>
                      <a:pt x="1126649" y="716492"/>
                      <a:pt x="1131517" y="715187"/>
                    </a:cubicBezTo>
                    <a:cubicBezTo>
                      <a:pt x="1136247" y="713306"/>
                      <a:pt x="1138014" y="707663"/>
                      <a:pt x="1141206" y="703788"/>
                    </a:cubicBezTo>
                    <a:cubicBezTo>
                      <a:pt x="1145423" y="698487"/>
                      <a:pt x="1152604" y="696150"/>
                      <a:pt x="1157905" y="692389"/>
                    </a:cubicBezTo>
                    <a:cubicBezTo>
                      <a:pt x="1166523" y="685458"/>
                      <a:pt x="1173408" y="676618"/>
                      <a:pt x="1178024" y="666570"/>
                    </a:cubicBezTo>
                    <a:lnTo>
                      <a:pt x="1183382" y="657394"/>
                    </a:lnTo>
                    <a:cubicBezTo>
                      <a:pt x="1188169" y="649130"/>
                      <a:pt x="1193071" y="639441"/>
                      <a:pt x="1189651" y="630549"/>
                    </a:cubicBezTo>
                    <a:cubicBezTo>
                      <a:pt x="1187827" y="625762"/>
                      <a:pt x="1183952" y="621772"/>
                      <a:pt x="1183610" y="616643"/>
                    </a:cubicBezTo>
                    <a:cubicBezTo>
                      <a:pt x="1184083" y="611012"/>
                      <a:pt x="1188215" y="606367"/>
                      <a:pt x="1193755" y="605244"/>
                    </a:cubicBezTo>
                    <a:cubicBezTo>
                      <a:pt x="1199181" y="604286"/>
                      <a:pt x="1204749" y="604560"/>
                      <a:pt x="1210055" y="606042"/>
                    </a:cubicBezTo>
                    <a:lnTo>
                      <a:pt x="1212221" y="606441"/>
                    </a:lnTo>
                    <a:lnTo>
                      <a:pt x="1236102" y="611171"/>
                    </a:lnTo>
                    <a:cubicBezTo>
                      <a:pt x="1238536" y="614933"/>
                      <a:pt x="1239277" y="619544"/>
                      <a:pt x="1238154" y="623881"/>
                    </a:cubicBezTo>
                    <a:cubicBezTo>
                      <a:pt x="1235959" y="635679"/>
                      <a:pt x="1237270" y="647864"/>
                      <a:pt x="1241915" y="658933"/>
                    </a:cubicBezTo>
                    <a:cubicBezTo>
                      <a:pt x="1247615" y="669477"/>
                      <a:pt x="1260553" y="676943"/>
                      <a:pt x="1271552" y="672270"/>
                    </a:cubicBezTo>
                    <a:cubicBezTo>
                      <a:pt x="1274858" y="670902"/>
                      <a:pt x="1277993" y="667368"/>
                      <a:pt x="1276568" y="664062"/>
                    </a:cubicBezTo>
                    <a:cubicBezTo>
                      <a:pt x="1275417" y="662164"/>
                      <a:pt x="1273582" y="660779"/>
                      <a:pt x="1271439" y="660187"/>
                    </a:cubicBezTo>
                    <a:cubicBezTo>
                      <a:pt x="1264434" y="657884"/>
                      <a:pt x="1258147" y="653798"/>
                      <a:pt x="1253200" y="648332"/>
                    </a:cubicBezTo>
                    <a:cubicBezTo>
                      <a:pt x="1248270" y="642621"/>
                      <a:pt x="1247666" y="634351"/>
                      <a:pt x="1251718" y="627985"/>
                    </a:cubicBezTo>
                    <a:cubicBezTo>
                      <a:pt x="1253474" y="626206"/>
                      <a:pt x="1255092" y="624303"/>
                      <a:pt x="1256563" y="622285"/>
                    </a:cubicBezTo>
                    <a:cubicBezTo>
                      <a:pt x="1259698" y="616586"/>
                      <a:pt x="1255138" y="609575"/>
                      <a:pt x="1249667" y="606099"/>
                    </a:cubicBezTo>
                    <a:cubicBezTo>
                      <a:pt x="1243790" y="603426"/>
                      <a:pt x="1238245" y="600080"/>
                      <a:pt x="1233138" y="596125"/>
                    </a:cubicBezTo>
                    <a:cubicBezTo>
                      <a:pt x="1231309" y="593725"/>
                      <a:pt x="1229222" y="591525"/>
                      <a:pt x="1226926" y="589570"/>
                    </a:cubicBezTo>
                    <a:cubicBezTo>
                      <a:pt x="1224498" y="588237"/>
                      <a:pt x="1221774" y="587513"/>
                      <a:pt x="1219003" y="587461"/>
                    </a:cubicBezTo>
                    <a:cubicBezTo>
                      <a:pt x="1200902" y="585974"/>
                      <a:pt x="1182835" y="590636"/>
                      <a:pt x="1167708" y="600684"/>
                    </a:cubicBezTo>
                    <a:cubicBezTo>
                      <a:pt x="1166984" y="584230"/>
                      <a:pt x="1166266" y="567758"/>
                      <a:pt x="1165542" y="551270"/>
                    </a:cubicBezTo>
                    <a:cubicBezTo>
                      <a:pt x="1175522" y="549326"/>
                      <a:pt x="1182037" y="539654"/>
                      <a:pt x="1180087" y="529680"/>
                    </a:cubicBezTo>
                    <a:cubicBezTo>
                      <a:pt x="1179158" y="524915"/>
                      <a:pt x="1176389" y="520715"/>
                      <a:pt x="1172382" y="517985"/>
                    </a:cubicBezTo>
                    <a:cubicBezTo>
                      <a:pt x="1169674" y="516640"/>
                      <a:pt x="1167315" y="514691"/>
                      <a:pt x="1165485" y="512285"/>
                    </a:cubicBezTo>
                    <a:cubicBezTo>
                      <a:pt x="1163776" y="509265"/>
                      <a:pt x="1164574" y="505104"/>
                      <a:pt x="1162180" y="502539"/>
                    </a:cubicBezTo>
                    <a:cubicBezTo>
                      <a:pt x="1159786" y="499974"/>
                      <a:pt x="1156480" y="500202"/>
                      <a:pt x="1154657" y="497809"/>
                    </a:cubicBezTo>
                    <a:cubicBezTo>
                      <a:pt x="1151693" y="493933"/>
                      <a:pt x="1156138" y="488747"/>
                      <a:pt x="1160356" y="485954"/>
                    </a:cubicBezTo>
                    <a:lnTo>
                      <a:pt x="1187770" y="466804"/>
                    </a:lnTo>
                    <a:cubicBezTo>
                      <a:pt x="1190905" y="465122"/>
                      <a:pt x="1193333" y="462375"/>
                      <a:pt x="1194610" y="459052"/>
                    </a:cubicBezTo>
                    <a:cubicBezTo>
                      <a:pt x="1195009" y="457171"/>
                      <a:pt x="1195009" y="455234"/>
                      <a:pt x="1194610" y="453353"/>
                    </a:cubicBezTo>
                    <a:cubicBezTo>
                      <a:pt x="1193698" y="447368"/>
                      <a:pt x="1192786" y="441441"/>
                      <a:pt x="1191817" y="435456"/>
                    </a:cubicBezTo>
                    <a:cubicBezTo>
                      <a:pt x="1198827" y="430270"/>
                      <a:pt x="1209371" y="438078"/>
                      <a:pt x="1209941" y="446855"/>
                    </a:cubicBezTo>
                    <a:cubicBezTo>
                      <a:pt x="1210511" y="455633"/>
                      <a:pt x="1204869" y="463327"/>
                      <a:pt x="1199226" y="469653"/>
                    </a:cubicBezTo>
                    <a:cubicBezTo>
                      <a:pt x="1202806" y="471654"/>
                      <a:pt x="1204726" y="475700"/>
                      <a:pt x="1204014" y="479741"/>
                    </a:cubicBezTo>
                    <a:cubicBezTo>
                      <a:pt x="1203296" y="483651"/>
                      <a:pt x="1203085" y="487635"/>
                      <a:pt x="1203387" y="491596"/>
                    </a:cubicBezTo>
                    <a:cubicBezTo>
                      <a:pt x="1205114" y="497244"/>
                      <a:pt x="1209879" y="501434"/>
                      <a:pt x="1215698" y="502425"/>
                    </a:cubicBezTo>
                    <a:cubicBezTo>
                      <a:pt x="1221386" y="503263"/>
                      <a:pt x="1227182" y="503052"/>
                      <a:pt x="1232796" y="501798"/>
                    </a:cubicBezTo>
                    <a:cubicBezTo>
                      <a:pt x="1243973" y="514297"/>
                      <a:pt x="1259863" y="521547"/>
                      <a:pt x="1276625" y="521803"/>
                    </a:cubicBezTo>
                    <a:cubicBezTo>
                      <a:pt x="1278791" y="517016"/>
                      <a:pt x="1271781" y="513596"/>
                      <a:pt x="1266651" y="512741"/>
                    </a:cubicBezTo>
                    <a:cubicBezTo>
                      <a:pt x="1261522" y="511886"/>
                      <a:pt x="1254796" y="507042"/>
                      <a:pt x="1257988" y="503052"/>
                    </a:cubicBezTo>
                    <a:cubicBezTo>
                      <a:pt x="1244309" y="503565"/>
                      <a:pt x="1233195" y="492451"/>
                      <a:pt x="1224304" y="482021"/>
                    </a:cubicBezTo>
                    <a:cubicBezTo>
                      <a:pt x="1222133" y="480112"/>
                      <a:pt x="1220918" y="477330"/>
                      <a:pt x="1220998" y="474441"/>
                    </a:cubicBezTo>
                    <a:cubicBezTo>
                      <a:pt x="1222138" y="468741"/>
                      <a:pt x="1230687" y="469881"/>
                      <a:pt x="1235931" y="472446"/>
                    </a:cubicBezTo>
                    <a:lnTo>
                      <a:pt x="1266936" y="487835"/>
                    </a:lnTo>
                    <a:cubicBezTo>
                      <a:pt x="1272293" y="485441"/>
                      <a:pt x="1272635" y="477291"/>
                      <a:pt x="1268931" y="472674"/>
                    </a:cubicBezTo>
                    <a:cubicBezTo>
                      <a:pt x="1264822" y="468456"/>
                      <a:pt x="1259641" y="465436"/>
                      <a:pt x="1253941" y="463954"/>
                    </a:cubicBezTo>
                    <a:cubicBezTo>
                      <a:pt x="1248196" y="462449"/>
                      <a:pt x="1243175" y="458927"/>
                      <a:pt x="1239807" y="454037"/>
                    </a:cubicBezTo>
                    <a:cubicBezTo>
                      <a:pt x="1239060" y="452931"/>
                      <a:pt x="1238855" y="451552"/>
                      <a:pt x="1239237" y="450275"/>
                    </a:cubicBezTo>
                    <a:cubicBezTo>
                      <a:pt x="1239926" y="448981"/>
                      <a:pt x="1241089" y="448001"/>
                      <a:pt x="1242485" y="447539"/>
                    </a:cubicBezTo>
                    <a:lnTo>
                      <a:pt x="1250465" y="443835"/>
                    </a:lnTo>
                    <a:cubicBezTo>
                      <a:pt x="1252192" y="442837"/>
                      <a:pt x="1254181" y="442398"/>
                      <a:pt x="1256164" y="442581"/>
                    </a:cubicBezTo>
                    <a:cubicBezTo>
                      <a:pt x="1258034" y="443310"/>
                      <a:pt x="1259698" y="444484"/>
                      <a:pt x="1261009" y="446000"/>
                    </a:cubicBezTo>
                    <a:cubicBezTo>
                      <a:pt x="1271781" y="455291"/>
                      <a:pt x="1288822" y="448850"/>
                      <a:pt x="1302330" y="453410"/>
                    </a:cubicBezTo>
                    <a:cubicBezTo>
                      <a:pt x="1317889" y="458596"/>
                      <a:pt x="1325584" y="477177"/>
                      <a:pt x="1340801" y="483446"/>
                    </a:cubicBezTo>
                    <a:cubicBezTo>
                      <a:pt x="1344056" y="484996"/>
                      <a:pt x="1347766" y="485298"/>
                      <a:pt x="1351231" y="484301"/>
                    </a:cubicBezTo>
                    <a:cubicBezTo>
                      <a:pt x="1360522" y="481052"/>
                      <a:pt x="1360008" y="467886"/>
                      <a:pt x="1357729" y="458311"/>
                    </a:cubicBezTo>
                    <a:cubicBezTo>
                      <a:pt x="1345441" y="458163"/>
                      <a:pt x="1333546" y="453980"/>
                      <a:pt x="1323874" y="446399"/>
                    </a:cubicBezTo>
                    <a:cubicBezTo>
                      <a:pt x="1321793" y="445151"/>
                      <a:pt x="1320346" y="443077"/>
                      <a:pt x="1319884" y="440700"/>
                    </a:cubicBezTo>
                    <a:cubicBezTo>
                      <a:pt x="1319884" y="438363"/>
                      <a:pt x="1321537" y="436311"/>
                      <a:pt x="1321822" y="433975"/>
                    </a:cubicBezTo>
                    <a:cubicBezTo>
                      <a:pt x="1322449" y="428902"/>
                      <a:pt x="1316635" y="425596"/>
                      <a:pt x="1314698" y="420866"/>
                    </a:cubicBezTo>
                    <a:cubicBezTo>
                      <a:pt x="1312976" y="414192"/>
                      <a:pt x="1316858" y="407355"/>
                      <a:pt x="1323475" y="405420"/>
                    </a:cubicBezTo>
                    <a:cubicBezTo>
                      <a:pt x="1329961" y="403855"/>
                      <a:pt x="1336743" y="404032"/>
                      <a:pt x="1343138" y="405933"/>
                    </a:cubicBezTo>
                    <a:cubicBezTo>
                      <a:pt x="1349550" y="407725"/>
                      <a:pt x="1356332" y="407725"/>
                      <a:pt x="1362744" y="405933"/>
                    </a:cubicBezTo>
                    <a:cubicBezTo>
                      <a:pt x="1366962" y="403821"/>
                      <a:pt x="1371054" y="401461"/>
                      <a:pt x="1374998" y="398866"/>
                    </a:cubicBezTo>
                    <a:cubicBezTo>
                      <a:pt x="1382014" y="396004"/>
                      <a:pt x="1389532" y="394570"/>
                      <a:pt x="1397112" y="394648"/>
                    </a:cubicBezTo>
                    <a:cubicBezTo>
                      <a:pt x="1413310" y="393626"/>
                      <a:pt x="1429405" y="391397"/>
                      <a:pt x="1445273" y="387980"/>
                    </a:cubicBezTo>
                    <a:cubicBezTo>
                      <a:pt x="1447370" y="387736"/>
                      <a:pt x="1449353" y="386884"/>
                      <a:pt x="1450972" y="385529"/>
                    </a:cubicBezTo>
                    <a:cubicBezTo>
                      <a:pt x="1452562" y="383400"/>
                      <a:pt x="1453332" y="380769"/>
                      <a:pt x="1453138" y="378120"/>
                    </a:cubicBezTo>
                    <a:cubicBezTo>
                      <a:pt x="1453731" y="366638"/>
                      <a:pt x="1455121" y="355211"/>
                      <a:pt x="1457298" y="343923"/>
                    </a:cubicBezTo>
                    <a:cubicBezTo>
                      <a:pt x="1457646" y="341492"/>
                      <a:pt x="1458455" y="339150"/>
                      <a:pt x="1459692" y="337027"/>
                    </a:cubicBezTo>
                    <a:cubicBezTo>
                      <a:pt x="1463032" y="333346"/>
                      <a:pt x="1467626" y="331049"/>
                      <a:pt x="1472573" y="330586"/>
                    </a:cubicBezTo>
                    <a:cubicBezTo>
                      <a:pt x="1491079" y="326970"/>
                      <a:pt x="1508930" y="320572"/>
                      <a:pt x="1525521" y="311607"/>
                    </a:cubicBezTo>
                    <a:cubicBezTo>
                      <a:pt x="1536350" y="305338"/>
                      <a:pt x="1546381" y="297301"/>
                      <a:pt x="1558407" y="293768"/>
                    </a:cubicBezTo>
                    <a:cubicBezTo>
                      <a:pt x="1567127" y="291658"/>
                      <a:pt x="1576076" y="290795"/>
                      <a:pt x="1585024" y="291203"/>
                    </a:cubicBezTo>
                    <a:cubicBezTo>
                      <a:pt x="1592889" y="290715"/>
                      <a:pt x="1600697" y="291662"/>
                      <a:pt x="1608220" y="293996"/>
                    </a:cubicBezTo>
                    <a:cubicBezTo>
                      <a:pt x="1613179" y="296622"/>
                      <a:pt x="1618366" y="298833"/>
                      <a:pt x="1623666" y="300607"/>
                    </a:cubicBezTo>
                    <a:cubicBezTo>
                      <a:pt x="1636262" y="303286"/>
                      <a:pt x="1647718" y="293711"/>
                      <a:pt x="1657863" y="285503"/>
                    </a:cubicBezTo>
                    <a:cubicBezTo>
                      <a:pt x="1668008" y="277296"/>
                      <a:pt x="1681630" y="269773"/>
                      <a:pt x="1692744" y="276213"/>
                    </a:cubicBezTo>
                    <a:cubicBezTo>
                      <a:pt x="1703858" y="282654"/>
                      <a:pt x="1703515" y="301861"/>
                      <a:pt x="1694283" y="312006"/>
                    </a:cubicBezTo>
                    <a:cubicBezTo>
                      <a:pt x="1685050" y="322151"/>
                      <a:pt x="1671029" y="326027"/>
                      <a:pt x="1657977" y="330187"/>
                    </a:cubicBezTo>
                    <a:cubicBezTo>
                      <a:pt x="1651081" y="332353"/>
                      <a:pt x="1642645" y="338508"/>
                      <a:pt x="1646236" y="344778"/>
                    </a:cubicBezTo>
                    <a:cubicBezTo>
                      <a:pt x="1647604" y="347115"/>
                      <a:pt x="1650397" y="348483"/>
                      <a:pt x="1651308" y="351047"/>
                    </a:cubicBezTo>
                    <a:cubicBezTo>
                      <a:pt x="1652505" y="354695"/>
                      <a:pt x="1649314" y="359140"/>
                      <a:pt x="1651308" y="362446"/>
                    </a:cubicBezTo>
                    <a:cubicBezTo>
                      <a:pt x="1652847" y="363886"/>
                      <a:pt x="1654899" y="364629"/>
                      <a:pt x="1657008" y="364498"/>
                    </a:cubicBezTo>
                    <a:cubicBezTo>
                      <a:pt x="1665101" y="364897"/>
                      <a:pt x="1674106" y="364954"/>
                      <a:pt x="1679806" y="359311"/>
                    </a:cubicBezTo>
                    <a:cubicBezTo>
                      <a:pt x="1684479" y="354752"/>
                      <a:pt x="1685904" y="347343"/>
                      <a:pt x="1691205" y="343467"/>
                    </a:cubicBezTo>
                    <a:cubicBezTo>
                      <a:pt x="1695366" y="340446"/>
                      <a:pt x="1701008" y="340218"/>
                      <a:pt x="1705340" y="337369"/>
                    </a:cubicBezTo>
                    <a:cubicBezTo>
                      <a:pt x="1707904" y="335493"/>
                      <a:pt x="1710070" y="333177"/>
                      <a:pt x="1711780" y="330529"/>
                    </a:cubicBezTo>
                    <a:cubicBezTo>
                      <a:pt x="1720899" y="318218"/>
                      <a:pt x="1730588" y="304027"/>
                      <a:pt x="1728080" y="288923"/>
                    </a:cubicBezTo>
                    <a:cubicBezTo>
                      <a:pt x="1724946" y="274023"/>
                      <a:pt x="1711153" y="263819"/>
                      <a:pt x="1695992" y="265156"/>
                    </a:cubicBezTo>
                    <a:lnTo>
                      <a:pt x="1709386" y="262591"/>
                    </a:lnTo>
                    <a:cubicBezTo>
                      <a:pt x="1716682" y="261151"/>
                      <a:pt x="1724091" y="260444"/>
                      <a:pt x="1731557" y="260483"/>
                    </a:cubicBezTo>
                    <a:cubicBezTo>
                      <a:pt x="1729505" y="252218"/>
                      <a:pt x="1727738" y="242586"/>
                      <a:pt x="1732925" y="235861"/>
                    </a:cubicBezTo>
                    <a:cubicBezTo>
                      <a:pt x="1735889" y="233175"/>
                      <a:pt x="1739024" y="230645"/>
                      <a:pt x="1742272" y="228281"/>
                    </a:cubicBezTo>
                    <a:cubicBezTo>
                      <a:pt x="1745350" y="225631"/>
                      <a:pt x="1746261" y="221227"/>
                      <a:pt x="1744495" y="217566"/>
                    </a:cubicBezTo>
                    <a:cubicBezTo>
                      <a:pt x="1750878" y="216711"/>
                      <a:pt x="1758458" y="215001"/>
                      <a:pt x="1760624" y="208959"/>
                    </a:cubicBezTo>
                    <a:cubicBezTo>
                      <a:pt x="1760967" y="207518"/>
                      <a:pt x="1761536" y="206147"/>
                      <a:pt x="1762334" y="204913"/>
                    </a:cubicBezTo>
                    <a:cubicBezTo>
                      <a:pt x="1763474" y="203896"/>
                      <a:pt x="1764899" y="203275"/>
                      <a:pt x="1766381" y="203146"/>
                    </a:cubicBezTo>
                    <a:lnTo>
                      <a:pt x="1791630" y="198130"/>
                    </a:lnTo>
                    <a:cubicBezTo>
                      <a:pt x="1794878" y="197234"/>
                      <a:pt x="1798241" y="197040"/>
                      <a:pt x="1801547" y="197560"/>
                    </a:cubicBezTo>
                    <a:cubicBezTo>
                      <a:pt x="1805195" y="198916"/>
                      <a:pt x="1808671" y="200536"/>
                      <a:pt x="1812091" y="202405"/>
                    </a:cubicBezTo>
                    <a:cubicBezTo>
                      <a:pt x="1816479" y="204058"/>
                      <a:pt x="1821438" y="203830"/>
                      <a:pt x="1825827" y="205597"/>
                    </a:cubicBezTo>
                    <a:cubicBezTo>
                      <a:pt x="1830215" y="207364"/>
                      <a:pt x="1834091" y="212379"/>
                      <a:pt x="1831811" y="216540"/>
                    </a:cubicBezTo>
                    <a:cubicBezTo>
                      <a:pt x="1827309" y="220128"/>
                      <a:pt x="1821495" y="221731"/>
                      <a:pt x="1815795" y="220985"/>
                    </a:cubicBezTo>
                    <a:cubicBezTo>
                      <a:pt x="1810039" y="220247"/>
                      <a:pt x="1804282" y="222179"/>
                      <a:pt x="1800122" y="226229"/>
                    </a:cubicBezTo>
                    <a:cubicBezTo>
                      <a:pt x="1796645" y="230788"/>
                      <a:pt x="1801034" y="239509"/>
                      <a:pt x="1806220" y="237172"/>
                    </a:cubicBezTo>
                    <a:cubicBezTo>
                      <a:pt x="1809583" y="235633"/>
                      <a:pt x="1810552" y="230788"/>
                      <a:pt x="1814028" y="229591"/>
                    </a:cubicBezTo>
                    <a:cubicBezTo>
                      <a:pt x="1816365" y="229101"/>
                      <a:pt x="1818759" y="229487"/>
                      <a:pt x="1820811" y="230674"/>
                    </a:cubicBezTo>
                    <a:cubicBezTo>
                      <a:pt x="1832437" y="236568"/>
                      <a:pt x="1845547" y="238775"/>
                      <a:pt x="1858427" y="237001"/>
                    </a:cubicBezTo>
                    <a:cubicBezTo>
                      <a:pt x="1859454" y="239811"/>
                      <a:pt x="1859225" y="242944"/>
                      <a:pt x="1857744" y="245550"/>
                    </a:cubicBezTo>
                    <a:cubicBezTo>
                      <a:pt x="1856376" y="246788"/>
                      <a:pt x="1854837" y="247808"/>
                      <a:pt x="1853184" y="248571"/>
                    </a:cubicBezTo>
                    <a:cubicBezTo>
                      <a:pt x="1848624" y="252364"/>
                      <a:pt x="1845604" y="257728"/>
                      <a:pt x="1844749" y="263617"/>
                    </a:cubicBezTo>
                    <a:lnTo>
                      <a:pt x="1880086" y="264757"/>
                    </a:lnTo>
                    <a:cubicBezTo>
                      <a:pt x="1879572" y="254441"/>
                      <a:pt x="1892396" y="248286"/>
                      <a:pt x="1902884" y="249654"/>
                    </a:cubicBezTo>
                    <a:cubicBezTo>
                      <a:pt x="1913370" y="251021"/>
                      <a:pt x="1922432" y="256778"/>
                      <a:pt x="1932692" y="258260"/>
                    </a:cubicBezTo>
                    <a:cubicBezTo>
                      <a:pt x="1942950" y="259742"/>
                      <a:pt x="1953381" y="257006"/>
                      <a:pt x="1962557" y="261167"/>
                    </a:cubicBezTo>
                    <a:cubicBezTo>
                      <a:pt x="1968256" y="263617"/>
                      <a:pt x="1972702" y="268405"/>
                      <a:pt x="1978686" y="268519"/>
                    </a:cubicBezTo>
                    <a:cubicBezTo>
                      <a:pt x="1978686" y="271882"/>
                      <a:pt x="1978402" y="275187"/>
                      <a:pt x="1978288" y="278493"/>
                    </a:cubicBezTo>
                    <a:cubicBezTo>
                      <a:pt x="1985811" y="277122"/>
                      <a:pt x="1993277" y="281215"/>
                      <a:pt x="1996127" y="288296"/>
                    </a:cubicBezTo>
                    <a:lnTo>
                      <a:pt x="2007526" y="291773"/>
                    </a:lnTo>
                    <a:cubicBezTo>
                      <a:pt x="2007526" y="293996"/>
                      <a:pt x="2007526" y="296218"/>
                      <a:pt x="2007526" y="298441"/>
                    </a:cubicBezTo>
                    <a:cubicBezTo>
                      <a:pt x="2002453" y="299923"/>
                      <a:pt x="1996127" y="304483"/>
                      <a:pt x="1998977" y="308928"/>
                    </a:cubicBezTo>
                    <a:cubicBezTo>
                      <a:pt x="2000116" y="310695"/>
                      <a:pt x="2002510" y="311436"/>
                      <a:pt x="2003593" y="313317"/>
                    </a:cubicBezTo>
                    <a:cubicBezTo>
                      <a:pt x="2005645" y="316736"/>
                      <a:pt x="2001712" y="320897"/>
                      <a:pt x="1997893" y="321809"/>
                    </a:cubicBezTo>
                    <a:cubicBezTo>
                      <a:pt x="1994018" y="322090"/>
                      <a:pt x="1990142" y="322915"/>
                      <a:pt x="1986494" y="324260"/>
                    </a:cubicBezTo>
                    <a:cubicBezTo>
                      <a:pt x="1982106" y="326939"/>
                      <a:pt x="1980795" y="333208"/>
                      <a:pt x="1976008" y="335659"/>
                    </a:cubicBezTo>
                    <a:cubicBezTo>
                      <a:pt x="1973842" y="336279"/>
                      <a:pt x="1971676" y="337021"/>
                      <a:pt x="1969567" y="337881"/>
                    </a:cubicBezTo>
                    <a:cubicBezTo>
                      <a:pt x="1966832" y="339534"/>
                      <a:pt x="1965748" y="342897"/>
                      <a:pt x="1963868" y="345348"/>
                    </a:cubicBezTo>
                    <a:cubicBezTo>
                      <a:pt x="1960904" y="348466"/>
                      <a:pt x="1957142" y="350763"/>
                      <a:pt x="1953039" y="352016"/>
                    </a:cubicBezTo>
                    <a:lnTo>
                      <a:pt x="1930355" y="360565"/>
                    </a:lnTo>
                    <a:cubicBezTo>
                      <a:pt x="1923402" y="362694"/>
                      <a:pt x="1917132" y="366628"/>
                      <a:pt x="1912230" y="371964"/>
                    </a:cubicBezTo>
                    <a:cubicBezTo>
                      <a:pt x="1910350" y="374301"/>
                      <a:pt x="1908811" y="377208"/>
                      <a:pt x="1906018" y="378405"/>
                    </a:cubicBezTo>
                    <a:cubicBezTo>
                      <a:pt x="1904194" y="379146"/>
                      <a:pt x="1902143" y="379032"/>
                      <a:pt x="1900318" y="379602"/>
                    </a:cubicBezTo>
                    <a:cubicBezTo>
                      <a:pt x="1898038" y="380549"/>
                      <a:pt x="1895930" y="381900"/>
                      <a:pt x="1894163" y="383591"/>
                    </a:cubicBezTo>
                    <a:cubicBezTo>
                      <a:pt x="1887153" y="389040"/>
                      <a:pt x="1878547" y="392008"/>
                      <a:pt x="1869712" y="392026"/>
                    </a:cubicBezTo>
                    <a:cubicBezTo>
                      <a:pt x="1866521" y="392026"/>
                      <a:pt x="1862816" y="392026"/>
                      <a:pt x="1860821" y="394306"/>
                    </a:cubicBezTo>
                    <a:cubicBezTo>
                      <a:pt x="1859909" y="395833"/>
                      <a:pt x="1859168" y="397459"/>
                      <a:pt x="1858656" y="399151"/>
                    </a:cubicBezTo>
                    <a:cubicBezTo>
                      <a:pt x="1855919" y="404850"/>
                      <a:pt x="1848168" y="405648"/>
                      <a:pt x="1842640" y="408954"/>
                    </a:cubicBezTo>
                    <a:cubicBezTo>
                      <a:pt x="1836485" y="413705"/>
                      <a:pt x="1832096" y="420358"/>
                      <a:pt x="1830101" y="427876"/>
                    </a:cubicBezTo>
                    <a:cubicBezTo>
                      <a:pt x="1828619" y="431809"/>
                      <a:pt x="1828961" y="438420"/>
                      <a:pt x="1833178" y="437850"/>
                    </a:cubicBezTo>
                    <a:cubicBezTo>
                      <a:pt x="1837396" y="437280"/>
                      <a:pt x="1835231" y="428047"/>
                      <a:pt x="1839334" y="425026"/>
                    </a:cubicBezTo>
                    <a:cubicBezTo>
                      <a:pt x="1840702" y="424197"/>
                      <a:pt x="1842355" y="423838"/>
                      <a:pt x="1843951" y="424001"/>
                    </a:cubicBezTo>
                    <a:cubicBezTo>
                      <a:pt x="1850904" y="424420"/>
                      <a:pt x="1857915" y="424210"/>
                      <a:pt x="1864868" y="423374"/>
                    </a:cubicBezTo>
                    <a:cubicBezTo>
                      <a:pt x="1885215" y="419726"/>
                      <a:pt x="1902541" y="400576"/>
                      <a:pt x="1922888" y="404109"/>
                    </a:cubicBezTo>
                    <a:cubicBezTo>
                      <a:pt x="1925339" y="404804"/>
                      <a:pt x="1927847" y="405112"/>
                      <a:pt x="1930412" y="405021"/>
                    </a:cubicBezTo>
                    <a:cubicBezTo>
                      <a:pt x="1933033" y="404857"/>
                      <a:pt x="1935199" y="402764"/>
                      <a:pt x="1935370" y="400120"/>
                    </a:cubicBezTo>
                    <a:cubicBezTo>
                      <a:pt x="1935028" y="395047"/>
                      <a:pt x="1927163" y="396244"/>
                      <a:pt x="1922375" y="394420"/>
                    </a:cubicBezTo>
                    <a:cubicBezTo>
                      <a:pt x="1918215" y="392618"/>
                      <a:pt x="1916277" y="387835"/>
                      <a:pt x="1917987" y="383648"/>
                    </a:cubicBezTo>
                    <a:lnTo>
                      <a:pt x="1939531" y="378747"/>
                    </a:lnTo>
                    <a:cubicBezTo>
                      <a:pt x="1940671" y="378464"/>
                      <a:pt x="1941925" y="378464"/>
                      <a:pt x="1943064" y="378747"/>
                    </a:cubicBezTo>
                    <a:cubicBezTo>
                      <a:pt x="1944603" y="379234"/>
                      <a:pt x="1945914" y="380120"/>
                      <a:pt x="1946997" y="381311"/>
                    </a:cubicBezTo>
                    <a:cubicBezTo>
                      <a:pt x="1953210" y="386973"/>
                      <a:pt x="1960505" y="391265"/>
                      <a:pt x="1968484" y="393907"/>
                    </a:cubicBezTo>
                    <a:cubicBezTo>
                      <a:pt x="1968428" y="398691"/>
                      <a:pt x="1972246" y="402619"/>
                      <a:pt x="1977033" y="402680"/>
                    </a:cubicBezTo>
                    <a:cubicBezTo>
                      <a:pt x="1980168" y="402719"/>
                      <a:pt x="1983018" y="401090"/>
                      <a:pt x="1984614" y="398410"/>
                    </a:cubicBezTo>
                    <a:cubicBezTo>
                      <a:pt x="1985811" y="395390"/>
                      <a:pt x="1986723" y="392284"/>
                      <a:pt x="1987407" y="389120"/>
                    </a:cubicBezTo>
                    <a:cubicBezTo>
                      <a:pt x="1988546" y="386099"/>
                      <a:pt x="1992137" y="383420"/>
                      <a:pt x="1994872" y="385073"/>
                    </a:cubicBezTo>
                    <a:cubicBezTo>
                      <a:pt x="1997209" y="389608"/>
                      <a:pt x="1997609" y="394871"/>
                      <a:pt x="1996070" y="399721"/>
                    </a:cubicBezTo>
                    <a:cubicBezTo>
                      <a:pt x="1994474" y="404536"/>
                      <a:pt x="1994474" y="409724"/>
                      <a:pt x="1996070" y="414539"/>
                    </a:cubicBezTo>
                    <a:cubicBezTo>
                      <a:pt x="1998236" y="419099"/>
                      <a:pt x="2005303" y="421379"/>
                      <a:pt x="2008267" y="417332"/>
                    </a:cubicBezTo>
                    <a:cubicBezTo>
                      <a:pt x="2011230" y="413285"/>
                      <a:pt x="2007696" y="407244"/>
                      <a:pt x="2009578" y="402513"/>
                    </a:cubicBezTo>
                    <a:cubicBezTo>
                      <a:pt x="2011629" y="398842"/>
                      <a:pt x="2015733" y="396790"/>
                      <a:pt x="2019893" y="397327"/>
                    </a:cubicBezTo>
                    <a:cubicBezTo>
                      <a:pt x="2023997" y="397327"/>
                      <a:pt x="2027930" y="398923"/>
                      <a:pt x="2032033" y="399151"/>
                    </a:cubicBezTo>
                    <a:cubicBezTo>
                      <a:pt x="2036137" y="399104"/>
                      <a:pt x="2040184" y="398683"/>
                      <a:pt x="2044173" y="397897"/>
                    </a:cubicBezTo>
                    <a:cubicBezTo>
                      <a:pt x="2060759" y="395786"/>
                      <a:pt x="2077401" y="401058"/>
                      <a:pt x="2089769" y="412317"/>
                    </a:cubicBezTo>
                    <a:cubicBezTo>
                      <a:pt x="2094215" y="416477"/>
                      <a:pt x="2101168" y="409752"/>
                      <a:pt x="2106867" y="411291"/>
                    </a:cubicBezTo>
                    <a:cubicBezTo>
                      <a:pt x="2109261" y="412224"/>
                      <a:pt x="2111427" y="413574"/>
                      <a:pt x="2113365" y="415280"/>
                    </a:cubicBezTo>
                    <a:cubicBezTo>
                      <a:pt x="2116386" y="417224"/>
                      <a:pt x="2119577" y="418830"/>
                      <a:pt x="2122940" y="420068"/>
                    </a:cubicBezTo>
                    <a:cubicBezTo>
                      <a:pt x="2133712" y="425212"/>
                      <a:pt x="2145282" y="428579"/>
                      <a:pt x="2157137" y="430042"/>
                    </a:cubicBezTo>
                    <a:cubicBezTo>
                      <a:pt x="2178111" y="431467"/>
                      <a:pt x="2201023" y="421265"/>
                      <a:pt x="2219261" y="431752"/>
                    </a:cubicBezTo>
                    <a:cubicBezTo>
                      <a:pt x="2222168" y="426622"/>
                      <a:pt x="2216867" y="420353"/>
                      <a:pt x="2218406" y="414653"/>
                    </a:cubicBezTo>
                    <a:cubicBezTo>
                      <a:pt x="2219945" y="408954"/>
                      <a:pt x="2226442" y="407301"/>
                      <a:pt x="2231971" y="407472"/>
                    </a:cubicBezTo>
                    <a:cubicBezTo>
                      <a:pt x="2250380" y="407871"/>
                      <a:pt x="2266852" y="421436"/>
                      <a:pt x="2285204" y="420467"/>
                    </a:cubicBezTo>
                    <a:cubicBezTo>
                      <a:pt x="2285717" y="429298"/>
                      <a:pt x="2293298" y="436047"/>
                      <a:pt x="2302131" y="435542"/>
                    </a:cubicBezTo>
                    <a:cubicBezTo>
                      <a:pt x="2303784" y="435446"/>
                      <a:pt x="2305438" y="435091"/>
                      <a:pt x="2306976" y="434488"/>
                    </a:cubicBezTo>
                    <a:cubicBezTo>
                      <a:pt x="2311479" y="432322"/>
                      <a:pt x="2315810" y="427819"/>
                      <a:pt x="2320598" y="429244"/>
                    </a:cubicBezTo>
                    <a:cubicBezTo>
                      <a:pt x="2323676" y="430213"/>
                      <a:pt x="2325499" y="433291"/>
                      <a:pt x="2327722" y="435684"/>
                    </a:cubicBezTo>
                    <a:cubicBezTo>
                      <a:pt x="2330344" y="437903"/>
                      <a:pt x="2332795" y="440364"/>
                      <a:pt x="2334960" y="443037"/>
                    </a:cubicBezTo>
                    <a:cubicBezTo>
                      <a:pt x="2336785" y="446000"/>
                      <a:pt x="2336613" y="450674"/>
                      <a:pt x="2333421" y="452042"/>
                    </a:cubicBezTo>
                    <a:lnTo>
                      <a:pt x="2348012" y="457171"/>
                    </a:lnTo>
                    <a:cubicBezTo>
                      <a:pt x="2351033" y="459565"/>
                      <a:pt x="2347443" y="464752"/>
                      <a:pt x="2343567" y="464752"/>
                    </a:cubicBezTo>
                    <a:cubicBezTo>
                      <a:pt x="2339805" y="464113"/>
                      <a:pt x="2336157" y="462780"/>
                      <a:pt x="2332909" y="460819"/>
                    </a:cubicBezTo>
                    <a:cubicBezTo>
                      <a:pt x="2329375" y="459394"/>
                      <a:pt x="2324131" y="460078"/>
                      <a:pt x="2323276" y="463840"/>
                    </a:cubicBezTo>
                    <a:cubicBezTo>
                      <a:pt x="2322422" y="467601"/>
                      <a:pt x="2326013" y="470052"/>
                      <a:pt x="2328976" y="471990"/>
                    </a:cubicBezTo>
                    <a:cubicBezTo>
                      <a:pt x="2343054" y="481451"/>
                      <a:pt x="2353883" y="494970"/>
                      <a:pt x="2360095" y="510747"/>
                    </a:cubicBezTo>
                    <a:cubicBezTo>
                      <a:pt x="2365681" y="514451"/>
                      <a:pt x="2371950" y="516959"/>
                      <a:pt x="2378561" y="518099"/>
                    </a:cubicBezTo>
                    <a:lnTo>
                      <a:pt x="2381639" y="524767"/>
                    </a:lnTo>
                    <a:cubicBezTo>
                      <a:pt x="2387282" y="528535"/>
                      <a:pt x="2394007" y="530284"/>
                      <a:pt x="2400733" y="529726"/>
                    </a:cubicBezTo>
                    <a:cubicBezTo>
                      <a:pt x="2399422" y="526192"/>
                      <a:pt x="2398110" y="522715"/>
                      <a:pt x="2396857" y="519182"/>
                    </a:cubicBezTo>
                    <a:cubicBezTo>
                      <a:pt x="2406546" y="515483"/>
                      <a:pt x="2413043" y="506335"/>
                      <a:pt x="2413328" y="495985"/>
                    </a:cubicBezTo>
                    <a:cubicBezTo>
                      <a:pt x="2420338" y="491425"/>
                      <a:pt x="2429572" y="494617"/>
                      <a:pt x="2437437" y="497581"/>
                    </a:cubicBezTo>
                    <a:cubicBezTo>
                      <a:pt x="2454820" y="504186"/>
                      <a:pt x="2472831" y="509111"/>
                      <a:pt x="2491183" y="512285"/>
                    </a:cubicBezTo>
                    <a:cubicBezTo>
                      <a:pt x="2502582" y="514223"/>
                      <a:pt x="2514494" y="515306"/>
                      <a:pt x="2524126" y="509493"/>
                    </a:cubicBezTo>
                    <a:cubicBezTo>
                      <a:pt x="2526121" y="507902"/>
                      <a:pt x="2528514" y="506825"/>
                      <a:pt x="2531022" y="506358"/>
                    </a:cubicBezTo>
                    <a:cubicBezTo>
                      <a:pt x="2535696" y="506358"/>
                      <a:pt x="2540198" y="511373"/>
                      <a:pt x="2544245" y="509151"/>
                    </a:cubicBezTo>
                    <a:cubicBezTo>
                      <a:pt x="2546183" y="508068"/>
                      <a:pt x="2546981" y="505731"/>
                      <a:pt x="2548462" y="504135"/>
                    </a:cubicBezTo>
                    <a:cubicBezTo>
                      <a:pt x="2553365" y="498949"/>
                      <a:pt x="2562084" y="503679"/>
                      <a:pt x="2569095" y="502425"/>
                    </a:cubicBezTo>
                    <a:cubicBezTo>
                      <a:pt x="2573768" y="501029"/>
                      <a:pt x="2577929" y="498219"/>
                      <a:pt x="2581007" y="494389"/>
                    </a:cubicBezTo>
                    <a:lnTo>
                      <a:pt x="2588359" y="486809"/>
                    </a:lnTo>
                    <a:cubicBezTo>
                      <a:pt x="2581234" y="486484"/>
                      <a:pt x="2575022" y="481753"/>
                      <a:pt x="2572856" y="474954"/>
                    </a:cubicBezTo>
                    <a:cubicBezTo>
                      <a:pt x="2578556" y="474042"/>
                      <a:pt x="2585509" y="469254"/>
                      <a:pt x="2582147" y="464923"/>
                    </a:cubicBezTo>
                    <a:cubicBezTo>
                      <a:pt x="2580493" y="462757"/>
                      <a:pt x="2577245" y="462700"/>
                      <a:pt x="2575136" y="460990"/>
                    </a:cubicBezTo>
                    <a:cubicBezTo>
                      <a:pt x="2571831" y="458254"/>
                      <a:pt x="2573426" y="452384"/>
                      <a:pt x="2577017" y="449990"/>
                    </a:cubicBezTo>
                    <a:cubicBezTo>
                      <a:pt x="2580893" y="448029"/>
                      <a:pt x="2585224" y="447294"/>
                      <a:pt x="2589499" y="447881"/>
                    </a:cubicBezTo>
                    <a:cubicBezTo>
                      <a:pt x="2594629" y="447881"/>
                      <a:pt x="2598960" y="450218"/>
                      <a:pt x="2603805" y="448394"/>
                    </a:cubicBezTo>
                    <a:cubicBezTo>
                      <a:pt x="2603805" y="445203"/>
                      <a:pt x="2600727" y="442695"/>
                      <a:pt x="2600214" y="439617"/>
                    </a:cubicBezTo>
                    <a:cubicBezTo>
                      <a:pt x="2600100" y="435517"/>
                      <a:pt x="2603121" y="431992"/>
                      <a:pt x="2607167" y="431467"/>
                    </a:cubicBezTo>
                    <a:cubicBezTo>
                      <a:pt x="2611100" y="431105"/>
                      <a:pt x="2615090" y="431960"/>
                      <a:pt x="2618566" y="433918"/>
                    </a:cubicBezTo>
                    <a:cubicBezTo>
                      <a:pt x="2621986" y="435858"/>
                      <a:pt x="2625748" y="437243"/>
                      <a:pt x="2629623" y="438021"/>
                    </a:cubicBezTo>
                    <a:cubicBezTo>
                      <a:pt x="2632701" y="438182"/>
                      <a:pt x="2635836" y="437971"/>
                      <a:pt x="2638857" y="437394"/>
                    </a:cubicBezTo>
                    <a:cubicBezTo>
                      <a:pt x="2643929" y="436710"/>
                      <a:pt x="2649058" y="436482"/>
                      <a:pt x="2654188" y="436710"/>
                    </a:cubicBezTo>
                    <a:cubicBezTo>
                      <a:pt x="2658348" y="436608"/>
                      <a:pt x="2662395" y="437739"/>
                      <a:pt x="2665929" y="439959"/>
                    </a:cubicBezTo>
                    <a:cubicBezTo>
                      <a:pt x="2669463" y="442376"/>
                      <a:pt x="2670660" y="447009"/>
                      <a:pt x="2668779" y="450845"/>
                    </a:cubicBezTo>
                    <a:cubicBezTo>
                      <a:pt x="2671629" y="450486"/>
                      <a:pt x="2674535" y="450737"/>
                      <a:pt x="2677271" y="451586"/>
                    </a:cubicBezTo>
                    <a:cubicBezTo>
                      <a:pt x="2680064" y="452543"/>
                      <a:pt x="2681944" y="455228"/>
                      <a:pt x="2681830" y="458197"/>
                    </a:cubicBezTo>
                    <a:cubicBezTo>
                      <a:pt x="2681603" y="459018"/>
                      <a:pt x="2681603" y="459884"/>
                      <a:pt x="2681830" y="460705"/>
                    </a:cubicBezTo>
                    <a:cubicBezTo>
                      <a:pt x="2682173" y="461560"/>
                      <a:pt x="2683084" y="461902"/>
                      <a:pt x="2683882" y="462244"/>
                    </a:cubicBezTo>
                    <a:cubicBezTo>
                      <a:pt x="2692147" y="465253"/>
                      <a:pt x="2700810" y="467168"/>
                      <a:pt x="2709587" y="467943"/>
                    </a:cubicBezTo>
                    <a:cubicBezTo>
                      <a:pt x="2712608" y="469824"/>
                      <a:pt x="2710499" y="474954"/>
                      <a:pt x="2707136" y="476151"/>
                    </a:cubicBezTo>
                    <a:cubicBezTo>
                      <a:pt x="2703603" y="476761"/>
                      <a:pt x="2700069" y="476971"/>
                      <a:pt x="2696478" y="476778"/>
                    </a:cubicBezTo>
                    <a:cubicBezTo>
                      <a:pt x="2692888" y="477177"/>
                      <a:pt x="2689012" y="480254"/>
                      <a:pt x="2690152" y="483674"/>
                    </a:cubicBezTo>
                    <a:cubicBezTo>
                      <a:pt x="2695110" y="482876"/>
                      <a:pt x="2702007" y="483275"/>
                      <a:pt x="2702976" y="488234"/>
                    </a:cubicBezTo>
                    <a:cubicBezTo>
                      <a:pt x="2703603" y="491539"/>
                      <a:pt x="2701323" y="496156"/>
                      <a:pt x="2704287" y="497695"/>
                    </a:cubicBezTo>
                    <a:cubicBezTo>
                      <a:pt x="2705085" y="498031"/>
                      <a:pt x="2705939" y="498168"/>
                      <a:pt x="2706794" y="498094"/>
                    </a:cubicBezTo>
                    <a:cubicBezTo>
                      <a:pt x="2709359" y="498265"/>
                      <a:pt x="2711924" y="497877"/>
                      <a:pt x="2714318" y="496954"/>
                    </a:cubicBezTo>
                    <a:cubicBezTo>
                      <a:pt x="2716711" y="496048"/>
                      <a:pt x="2718307" y="493802"/>
                      <a:pt x="2718421" y="491254"/>
                    </a:cubicBezTo>
                    <a:cubicBezTo>
                      <a:pt x="2718079" y="490069"/>
                      <a:pt x="2717965" y="488832"/>
                      <a:pt x="2718079" y="487607"/>
                    </a:cubicBezTo>
                    <a:cubicBezTo>
                      <a:pt x="2718991" y="483959"/>
                      <a:pt x="2725146" y="486125"/>
                      <a:pt x="2728053" y="483731"/>
                    </a:cubicBezTo>
                    <a:cubicBezTo>
                      <a:pt x="2728908" y="482859"/>
                      <a:pt x="2729535" y="481782"/>
                      <a:pt x="2729877" y="480596"/>
                    </a:cubicBezTo>
                    <a:cubicBezTo>
                      <a:pt x="2731245" y="476618"/>
                      <a:pt x="2732157" y="472514"/>
                      <a:pt x="2732670" y="468342"/>
                    </a:cubicBezTo>
                    <a:cubicBezTo>
                      <a:pt x="2732727" y="466895"/>
                      <a:pt x="2733068" y="465470"/>
                      <a:pt x="2733582" y="464125"/>
                    </a:cubicBezTo>
                    <a:cubicBezTo>
                      <a:pt x="2735405" y="461133"/>
                      <a:pt x="2739281" y="460175"/>
                      <a:pt x="2742245" y="461982"/>
                    </a:cubicBezTo>
                    <a:cubicBezTo>
                      <a:pt x="2743157" y="462512"/>
                      <a:pt x="2743898" y="463247"/>
                      <a:pt x="2744410" y="464125"/>
                    </a:cubicBezTo>
                    <a:cubicBezTo>
                      <a:pt x="2746235" y="468057"/>
                      <a:pt x="2744012" y="474099"/>
                      <a:pt x="2747831" y="476208"/>
                    </a:cubicBezTo>
                    <a:cubicBezTo>
                      <a:pt x="2749654" y="476818"/>
                      <a:pt x="2751592" y="477148"/>
                      <a:pt x="2753530" y="477177"/>
                    </a:cubicBezTo>
                    <a:cubicBezTo>
                      <a:pt x="2757348" y="478146"/>
                      <a:pt x="2759230" y="482534"/>
                      <a:pt x="2763219" y="483902"/>
                    </a:cubicBezTo>
                    <a:cubicBezTo>
                      <a:pt x="2767208" y="485270"/>
                      <a:pt x="2771882" y="482534"/>
                      <a:pt x="2775815" y="480368"/>
                    </a:cubicBezTo>
                    <a:cubicBezTo>
                      <a:pt x="2783338" y="476219"/>
                      <a:pt x="2791887" y="474247"/>
                      <a:pt x="2800494" y="474669"/>
                    </a:cubicBezTo>
                    <a:cubicBezTo>
                      <a:pt x="2802317" y="477239"/>
                      <a:pt x="2801690" y="480796"/>
                      <a:pt x="2799126" y="482614"/>
                    </a:cubicBezTo>
                    <a:cubicBezTo>
                      <a:pt x="2799012" y="482705"/>
                      <a:pt x="2798841" y="482796"/>
                      <a:pt x="2798727" y="482876"/>
                    </a:cubicBezTo>
                    <a:cubicBezTo>
                      <a:pt x="2797017" y="483435"/>
                      <a:pt x="2795193" y="483873"/>
                      <a:pt x="2793426" y="484187"/>
                    </a:cubicBezTo>
                    <a:cubicBezTo>
                      <a:pt x="2791659" y="484814"/>
                      <a:pt x="2790006" y="486638"/>
                      <a:pt x="2790747" y="488348"/>
                    </a:cubicBezTo>
                    <a:cubicBezTo>
                      <a:pt x="2791146" y="489140"/>
                      <a:pt x="2791887" y="489733"/>
                      <a:pt x="2792742" y="490000"/>
                    </a:cubicBezTo>
                    <a:cubicBezTo>
                      <a:pt x="2798442" y="492052"/>
                      <a:pt x="2806421" y="486581"/>
                      <a:pt x="2809841" y="491482"/>
                    </a:cubicBezTo>
                    <a:cubicBezTo>
                      <a:pt x="2811436" y="493648"/>
                      <a:pt x="2810981" y="497182"/>
                      <a:pt x="2812918" y="498778"/>
                    </a:cubicBezTo>
                    <a:cubicBezTo>
                      <a:pt x="2816395" y="502026"/>
                      <a:pt x="2823120" y="497239"/>
                      <a:pt x="2826654" y="500544"/>
                    </a:cubicBezTo>
                    <a:cubicBezTo>
                      <a:pt x="2828706" y="502482"/>
                      <a:pt x="2828991" y="506928"/>
                      <a:pt x="2831841" y="506871"/>
                    </a:cubicBezTo>
                    <a:cubicBezTo>
                      <a:pt x="2833095" y="506871"/>
                      <a:pt x="2834064" y="505788"/>
                      <a:pt x="2835089" y="505047"/>
                    </a:cubicBezTo>
                    <a:cubicBezTo>
                      <a:pt x="2839079" y="502220"/>
                      <a:pt x="2844608" y="502915"/>
                      <a:pt x="2847799" y="506643"/>
                    </a:cubicBezTo>
                    <a:cubicBezTo>
                      <a:pt x="2848540" y="507925"/>
                      <a:pt x="2849509" y="509048"/>
                      <a:pt x="2850706" y="509949"/>
                    </a:cubicBezTo>
                    <a:cubicBezTo>
                      <a:pt x="2851789" y="510575"/>
                      <a:pt x="2853214" y="510632"/>
                      <a:pt x="2854182" y="511373"/>
                    </a:cubicBezTo>
                    <a:cubicBezTo>
                      <a:pt x="2856519" y="513197"/>
                      <a:pt x="2854980" y="517073"/>
                      <a:pt x="2855266" y="519752"/>
                    </a:cubicBezTo>
                    <a:cubicBezTo>
                      <a:pt x="2855892" y="523280"/>
                      <a:pt x="2859312" y="525622"/>
                      <a:pt x="2862846" y="524972"/>
                    </a:cubicBezTo>
                    <a:cubicBezTo>
                      <a:pt x="2863472" y="524858"/>
                      <a:pt x="2864042" y="524653"/>
                      <a:pt x="2864613" y="524368"/>
                    </a:cubicBezTo>
                    <a:cubicBezTo>
                      <a:pt x="2887411" y="524653"/>
                      <a:pt x="2910607" y="525565"/>
                      <a:pt x="2933462" y="527845"/>
                    </a:cubicBezTo>
                    <a:cubicBezTo>
                      <a:pt x="2939447" y="528232"/>
                      <a:pt x="2945431" y="529384"/>
                      <a:pt x="2951130" y="531265"/>
                    </a:cubicBezTo>
                    <a:cubicBezTo>
                      <a:pt x="2954607" y="532519"/>
                      <a:pt x="2957856" y="534399"/>
                      <a:pt x="2961447" y="535425"/>
                    </a:cubicBezTo>
                    <a:cubicBezTo>
                      <a:pt x="2969084" y="536793"/>
                      <a:pt x="2976949" y="536793"/>
                      <a:pt x="2984586" y="535425"/>
                    </a:cubicBezTo>
                    <a:cubicBezTo>
                      <a:pt x="2995928" y="534451"/>
                      <a:pt x="3007384" y="536046"/>
                      <a:pt x="3018042" y="540099"/>
                    </a:cubicBezTo>
                    <a:cubicBezTo>
                      <a:pt x="3023742" y="542436"/>
                      <a:pt x="3029955" y="548990"/>
                      <a:pt x="3026079" y="553778"/>
                    </a:cubicBezTo>
                    <a:cubicBezTo>
                      <a:pt x="3024996" y="555088"/>
                      <a:pt x="3023343" y="555886"/>
                      <a:pt x="3022317" y="557197"/>
                    </a:cubicBezTo>
                    <a:cubicBezTo>
                      <a:pt x="3017815" y="562897"/>
                      <a:pt x="3026820" y="571332"/>
                      <a:pt x="3023685" y="577715"/>
                    </a:cubicBezTo>
                    <a:cubicBezTo>
                      <a:pt x="3029726" y="581819"/>
                      <a:pt x="3037535" y="572586"/>
                      <a:pt x="3044545" y="574695"/>
                    </a:cubicBezTo>
                    <a:cubicBezTo>
                      <a:pt x="3049732" y="576290"/>
                      <a:pt x="3051156" y="582902"/>
                      <a:pt x="3050928" y="588316"/>
                    </a:cubicBezTo>
                    <a:cubicBezTo>
                      <a:pt x="3050700" y="593731"/>
                      <a:pt x="3049846" y="599715"/>
                      <a:pt x="3053436" y="603876"/>
                    </a:cubicBezTo>
                    <a:cubicBezTo>
                      <a:pt x="3055545" y="607467"/>
                      <a:pt x="3061245" y="603876"/>
                      <a:pt x="3061814" y="599601"/>
                    </a:cubicBezTo>
                    <a:cubicBezTo>
                      <a:pt x="3062384" y="595327"/>
                      <a:pt x="3061016" y="590824"/>
                      <a:pt x="3063524" y="587461"/>
                    </a:cubicBezTo>
                    <a:cubicBezTo>
                      <a:pt x="3065063" y="585752"/>
                      <a:pt x="3067001" y="584526"/>
                      <a:pt x="3069223" y="583928"/>
                    </a:cubicBezTo>
                    <a:cubicBezTo>
                      <a:pt x="3093617" y="575760"/>
                      <a:pt x="3120405" y="579271"/>
                      <a:pt x="3141835" y="593446"/>
                    </a:cubicBezTo>
                    <a:cubicBezTo>
                      <a:pt x="3143602" y="594791"/>
                      <a:pt x="3145539" y="595954"/>
                      <a:pt x="3147535" y="596923"/>
                    </a:cubicBezTo>
                    <a:cubicBezTo>
                      <a:pt x="3150156" y="597840"/>
                      <a:pt x="3152892" y="598359"/>
                      <a:pt x="3155628" y="598461"/>
                    </a:cubicBezTo>
                    <a:cubicBezTo>
                      <a:pt x="3170219" y="599772"/>
                      <a:pt x="3186291" y="600684"/>
                      <a:pt x="3197918" y="591793"/>
                    </a:cubicBezTo>
                    <a:cubicBezTo>
                      <a:pt x="3200768" y="589570"/>
                      <a:pt x="3204643" y="586777"/>
                      <a:pt x="3207436" y="589057"/>
                    </a:cubicBezTo>
                    <a:cubicBezTo>
                      <a:pt x="3208633" y="590026"/>
                      <a:pt x="3209089" y="591679"/>
                      <a:pt x="3210229" y="592705"/>
                    </a:cubicBezTo>
                    <a:cubicBezTo>
                      <a:pt x="3211369" y="593731"/>
                      <a:pt x="3215301" y="593959"/>
                      <a:pt x="3217980" y="594301"/>
                    </a:cubicBezTo>
                    <a:cubicBezTo>
                      <a:pt x="3226358" y="595270"/>
                      <a:pt x="3230633" y="604959"/>
                      <a:pt x="3237985" y="609176"/>
                    </a:cubicBezTo>
                    <a:cubicBezTo>
                      <a:pt x="3242373" y="611251"/>
                      <a:pt x="3247218" y="612322"/>
                      <a:pt x="3252063" y="612311"/>
                    </a:cubicBezTo>
                    <a:cubicBezTo>
                      <a:pt x="3258731" y="612767"/>
                      <a:pt x="3266369" y="612710"/>
                      <a:pt x="3270700" y="607638"/>
                    </a:cubicBezTo>
                    <a:cubicBezTo>
                      <a:pt x="3272695" y="605210"/>
                      <a:pt x="3273607" y="602035"/>
                      <a:pt x="3273094" y="598917"/>
                    </a:cubicBezTo>
                    <a:cubicBezTo>
                      <a:pt x="3272068" y="592477"/>
                      <a:pt x="3265855" y="588544"/>
                      <a:pt x="3260783" y="584384"/>
                    </a:cubicBezTo>
                    <a:cubicBezTo>
                      <a:pt x="3257078" y="581329"/>
                      <a:pt x="3253772" y="577807"/>
                      <a:pt x="3250980" y="573897"/>
                    </a:cubicBezTo>
                    <a:cubicBezTo>
                      <a:pt x="3249327" y="564247"/>
                      <a:pt x="3255825" y="555088"/>
                      <a:pt x="3265456" y="553436"/>
                    </a:cubicBezTo>
                    <a:cubicBezTo>
                      <a:pt x="3266767" y="553208"/>
                      <a:pt x="3268135" y="553133"/>
                      <a:pt x="3269446" y="553208"/>
                    </a:cubicBezTo>
                    <a:cubicBezTo>
                      <a:pt x="3267451" y="558337"/>
                      <a:pt x="3273949" y="562612"/>
                      <a:pt x="3279249" y="564037"/>
                    </a:cubicBezTo>
                    <a:cubicBezTo>
                      <a:pt x="3284550" y="565461"/>
                      <a:pt x="3291389" y="568197"/>
                      <a:pt x="3290933" y="573669"/>
                    </a:cubicBezTo>
                    <a:cubicBezTo>
                      <a:pt x="3303700" y="577100"/>
                      <a:pt x="3316923" y="578502"/>
                      <a:pt x="3330145" y="577829"/>
                    </a:cubicBezTo>
                    <a:cubicBezTo>
                      <a:pt x="3349581" y="577066"/>
                      <a:pt x="3368674" y="572677"/>
                      <a:pt x="3386456" y="564892"/>
                    </a:cubicBezTo>
                    <a:cubicBezTo>
                      <a:pt x="3388223" y="567895"/>
                      <a:pt x="3389306" y="571241"/>
                      <a:pt x="3389648" y="574695"/>
                    </a:cubicBezTo>
                    <a:cubicBezTo>
                      <a:pt x="3404922" y="574643"/>
                      <a:pt x="3420083" y="577704"/>
                      <a:pt x="3434161" y="583700"/>
                    </a:cubicBezTo>
                    <a:cubicBezTo>
                      <a:pt x="3431938" y="588088"/>
                      <a:pt x="3437694" y="592078"/>
                      <a:pt x="3442311" y="593674"/>
                    </a:cubicBezTo>
                    <a:lnTo>
                      <a:pt x="3457700" y="599031"/>
                    </a:lnTo>
                    <a:cubicBezTo>
                      <a:pt x="3459637" y="599556"/>
                      <a:pt x="3461461" y="600445"/>
                      <a:pt x="3463057" y="601653"/>
                    </a:cubicBezTo>
                    <a:cubicBezTo>
                      <a:pt x="3465508" y="603762"/>
                      <a:pt x="3466477" y="607096"/>
                      <a:pt x="3465622" y="610202"/>
                    </a:cubicBezTo>
                    <a:cubicBezTo>
                      <a:pt x="3469099" y="610031"/>
                      <a:pt x="3472518" y="610738"/>
                      <a:pt x="3475653" y="612254"/>
                    </a:cubicBezTo>
                    <a:cubicBezTo>
                      <a:pt x="3478844" y="613918"/>
                      <a:pt x="3480269" y="617663"/>
                      <a:pt x="3479073" y="621031"/>
                    </a:cubicBezTo>
                    <a:cubicBezTo>
                      <a:pt x="3477249" y="618467"/>
                      <a:pt x="3473373" y="622969"/>
                      <a:pt x="3475026" y="625705"/>
                    </a:cubicBezTo>
                    <a:cubicBezTo>
                      <a:pt x="3476679" y="628441"/>
                      <a:pt x="3479699" y="630150"/>
                      <a:pt x="3480726" y="633114"/>
                    </a:cubicBezTo>
                    <a:cubicBezTo>
                      <a:pt x="3481751" y="636078"/>
                      <a:pt x="3480383" y="639384"/>
                      <a:pt x="3482435" y="641492"/>
                    </a:cubicBezTo>
                    <a:cubicBezTo>
                      <a:pt x="3484488" y="643601"/>
                      <a:pt x="3488135" y="642233"/>
                      <a:pt x="3491441" y="642974"/>
                    </a:cubicBezTo>
                    <a:cubicBezTo>
                      <a:pt x="3495601" y="644057"/>
                      <a:pt x="3497140" y="648959"/>
                      <a:pt x="3500617" y="651637"/>
                    </a:cubicBezTo>
                    <a:cubicBezTo>
                      <a:pt x="3502783" y="653142"/>
                      <a:pt x="3505233" y="654168"/>
                      <a:pt x="3507855" y="654658"/>
                    </a:cubicBezTo>
                    <a:cubicBezTo>
                      <a:pt x="3524497" y="658767"/>
                      <a:pt x="3541653" y="660682"/>
                      <a:pt x="3558808" y="660358"/>
                    </a:cubicBezTo>
                    <a:cubicBezTo>
                      <a:pt x="3562798" y="660358"/>
                      <a:pt x="3567529" y="660358"/>
                      <a:pt x="3569523" y="663948"/>
                    </a:cubicBezTo>
                    <a:cubicBezTo>
                      <a:pt x="3571518" y="667539"/>
                      <a:pt x="3571746" y="671301"/>
                      <a:pt x="3574710" y="670446"/>
                    </a:cubicBezTo>
                    <a:cubicBezTo>
                      <a:pt x="3574938" y="678801"/>
                      <a:pt x="3576249" y="687094"/>
                      <a:pt x="3578585" y="695124"/>
                    </a:cubicBezTo>
                    <a:cubicBezTo>
                      <a:pt x="3579440" y="699080"/>
                      <a:pt x="3581435" y="702699"/>
                      <a:pt x="3584285" y="705554"/>
                    </a:cubicBezTo>
                    <a:cubicBezTo>
                      <a:pt x="3589471" y="709749"/>
                      <a:pt x="3597109" y="708940"/>
                      <a:pt x="3601270" y="703748"/>
                    </a:cubicBezTo>
                    <a:cubicBezTo>
                      <a:pt x="3601327" y="703708"/>
                      <a:pt x="3601327" y="703662"/>
                      <a:pt x="3601383" y="703617"/>
                    </a:cubicBezTo>
                    <a:cubicBezTo>
                      <a:pt x="3602181" y="702648"/>
                      <a:pt x="3602580" y="701434"/>
                      <a:pt x="3602523" y="700197"/>
                    </a:cubicBezTo>
                    <a:cubicBezTo>
                      <a:pt x="3602523" y="697461"/>
                      <a:pt x="3598990" y="696378"/>
                      <a:pt x="3596824" y="694782"/>
                    </a:cubicBezTo>
                    <a:cubicBezTo>
                      <a:pt x="3592891" y="691870"/>
                      <a:pt x="3592037" y="686302"/>
                      <a:pt x="3594943" y="682352"/>
                    </a:cubicBezTo>
                    <a:cubicBezTo>
                      <a:pt x="3597849" y="678396"/>
                      <a:pt x="3603436" y="677553"/>
                      <a:pt x="3607368" y="680471"/>
                    </a:cubicBezTo>
                    <a:cubicBezTo>
                      <a:pt x="3608736" y="681468"/>
                      <a:pt x="3609762" y="682836"/>
                      <a:pt x="3610389" y="684409"/>
                    </a:cubicBezTo>
                    <a:cubicBezTo>
                      <a:pt x="3610730" y="686182"/>
                      <a:pt x="3611414" y="687869"/>
                      <a:pt x="3612440" y="689368"/>
                    </a:cubicBezTo>
                    <a:cubicBezTo>
                      <a:pt x="3614663" y="691705"/>
                      <a:pt x="3618140" y="690622"/>
                      <a:pt x="3621559" y="690793"/>
                    </a:cubicBezTo>
                    <a:cubicBezTo>
                      <a:pt x="3626119" y="691163"/>
                      <a:pt x="3629880" y="694366"/>
                      <a:pt x="3631021" y="698772"/>
                    </a:cubicBezTo>
                    <a:cubicBezTo>
                      <a:pt x="3644243" y="701012"/>
                      <a:pt x="3657124" y="704836"/>
                      <a:pt x="3669435" y="710171"/>
                    </a:cubicBezTo>
                    <a:cubicBezTo>
                      <a:pt x="3671943" y="711083"/>
                      <a:pt x="3674736" y="712451"/>
                      <a:pt x="3675135" y="715016"/>
                    </a:cubicBezTo>
                    <a:cubicBezTo>
                      <a:pt x="3675135" y="716041"/>
                      <a:pt x="3675135" y="717124"/>
                      <a:pt x="3675135" y="718207"/>
                    </a:cubicBezTo>
                    <a:cubicBezTo>
                      <a:pt x="3675533" y="720487"/>
                      <a:pt x="3677529" y="722083"/>
                      <a:pt x="3678839" y="723907"/>
                    </a:cubicBezTo>
                    <a:cubicBezTo>
                      <a:pt x="3681119" y="727868"/>
                      <a:pt x="3680777" y="732804"/>
                      <a:pt x="3678041" y="736446"/>
                    </a:cubicBezTo>
                    <a:close/>
                    <a:moveTo>
                      <a:pt x="1926194" y="1106569"/>
                    </a:moveTo>
                    <a:cubicBezTo>
                      <a:pt x="1926194" y="1098818"/>
                      <a:pt x="1923059" y="1089471"/>
                      <a:pt x="1915365" y="1088388"/>
                    </a:cubicBezTo>
                    <a:cubicBezTo>
                      <a:pt x="1906759" y="1087191"/>
                      <a:pt x="1901173" y="1097393"/>
                      <a:pt x="1899749" y="1105999"/>
                    </a:cubicBezTo>
                    <a:cubicBezTo>
                      <a:pt x="1898324" y="1114606"/>
                      <a:pt x="1897640" y="1124865"/>
                      <a:pt x="1890230" y="1129424"/>
                    </a:cubicBezTo>
                    <a:cubicBezTo>
                      <a:pt x="1887666" y="1130963"/>
                      <a:pt x="1884531" y="1131647"/>
                      <a:pt x="1882194" y="1133414"/>
                    </a:cubicBezTo>
                    <a:cubicBezTo>
                      <a:pt x="1879402" y="1136087"/>
                      <a:pt x="1877236" y="1139415"/>
                      <a:pt x="1876039" y="1143103"/>
                    </a:cubicBezTo>
                    <a:cubicBezTo>
                      <a:pt x="1866464" y="1164590"/>
                      <a:pt x="1848739" y="1181398"/>
                      <a:pt x="1826738" y="1189839"/>
                    </a:cubicBezTo>
                    <a:cubicBezTo>
                      <a:pt x="1828904" y="1197499"/>
                      <a:pt x="1825427" y="1205626"/>
                      <a:pt x="1818474" y="1209445"/>
                    </a:cubicBezTo>
                    <a:cubicBezTo>
                      <a:pt x="1814142" y="1211155"/>
                      <a:pt x="1809583" y="1212215"/>
                      <a:pt x="1804909" y="1212580"/>
                    </a:cubicBezTo>
                    <a:cubicBezTo>
                      <a:pt x="1800179" y="1212956"/>
                      <a:pt x="1795790" y="1215167"/>
                      <a:pt x="1792712" y="1218735"/>
                    </a:cubicBezTo>
                    <a:cubicBezTo>
                      <a:pt x="1790091" y="1222149"/>
                      <a:pt x="1790718" y="1227056"/>
                      <a:pt x="1794137" y="1229684"/>
                    </a:cubicBezTo>
                    <a:cubicBezTo>
                      <a:pt x="1794537" y="1229986"/>
                      <a:pt x="1794935" y="1230254"/>
                      <a:pt x="1795391" y="1230476"/>
                    </a:cubicBezTo>
                    <a:cubicBezTo>
                      <a:pt x="1797272" y="1230960"/>
                      <a:pt x="1799210" y="1230960"/>
                      <a:pt x="1801090" y="1230476"/>
                    </a:cubicBezTo>
                    <a:cubicBezTo>
                      <a:pt x="1815169" y="1227683"/>
                      <a:pt x="1829930" y="1224776"/>
                      <a:pt x="1840987" y="1215144"/>
                    </a:cubicBezTo>
                    <a:cubicBezTo>
                      <a:pt x="1849023" y="1208134"/>
                      <a:pt x="1854551" y="1198046"/>
                      <a:pt x="1864355" y="1193771"/>
                    </a:cubicBezTo>
                    <a:cubicBezTo>
                      <a:pt x="1867318" y="1192865"/>
                      <a:pt x="1870225" y="1191680"/>
                      <a:pt x="1872961" y="1190238"/>
                    </a:cubicBezTo>
                    <a:cubicBezTo>
                      <a:pt x="1875754" y="1188722"/>
                      <a:pt x="1877179" y="1185519"/>
                      <a:pt x="1876438" y="1182429"/>
                    </a:cubicBezTo>
                    <a:cubicBezTo>
                      <a:pt x="1883562" y="1181010"/>
                      <a:pt x="1890801" y="1180321"/>
                      <a:pt x="1898038" y="1180378"/>
                    </a:cubicBezTo>
                    <a:cubicBezTo>
                      <a:pt x="1902256" y="1154103"/>
                      <a:pt x="1925168" y="1133072"/>
                      <a:pt x="1926023" y="1106569"/>
                    </a:cubicBezTo>
                    <a:close/>
                    <a:moveTo>
                      <a:pt x="2986980" y="1186989"/>
                    </a:moveTo>
                    <a:cubicBezTo>
                      <a:pt x="2986239" y="1187730"/>
                      <a:pt x="2985784" y="1188585"/>
                      <a:pt x="2986353" y="1189440"/>
                    </a:cubicBezTo>
                    <a:cubicBezTo>
                      <a:pt x="2986980" y="1188784"/>
                      <a:pt x="2987151" y="1187827"/>
                      <a:pt x="2986809" y="1186989"/>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9" name="Freihandform: Form 265">
                <a:extLst>
                  <a:ext uri="{FF2B5EF4-FFF2-40B4-BE49-F238E27FC236}">
                    <a16:creationId xmlns:a16="http://schemas.microsoft.com/office/drawing/2014/main" id="{FFC414CD-C333-DAAA-8118-7983A01800DA}"/>
                  </a:ext>
                </a:extLst>
              </p:cNvPr>
              <p:cNvSpPr/>
              <p:nvPr/>
            </p:nvSpPr>
            <p:spPr>
              <a:xfrm>
                <a:off x="1911322" y="3698019"/>
                <a:ext cx="228274" cy="84303"/>
              </a:xfrm>
              <a:custGeom>
                <a:avLst/>
                <a:gdLst>
                  <a:gd name="connsiteX0" fmla="*/ 14306 w 228274"/>
                  <a:gd name="connsiteY0" fmla="*/ 25591 h 84303"/>
                  <a:gd name="connsiteX1" fmla="*/ 20005 w 228274"/>
                  <a:gd name="connsiteY1" fmla="*/ 17098 h 84303"/>
                  <a:gd name="connsiteX2" fmla="*/ 29409 w 228274"/>
                  <a:gd name="connsiteY2" fmla="*/ 11684 h 84303"/>
                  <a:gd name="connsiteX3" fmla="*/ 32715 w 228274"/>
                  <a:gd name="connsiteY3" fmla="*/ 5699 h 84303"/>
                  <a:gd name="connsiteX4" fmla="*/ 50383 w 228274"/>
                  <a:gd name="connsiteY4" fmla="*/ 0 h 84303"/>
                  <a:gd name="connsiteX5" fmla="*/ 74150 w 228274"/>
                  <a:gd name="connsiteY5" fmla="*/ 342 h 84303"/>
                  <a:gd name="connsiteX6" fmla="*/ 88627 w 228274"/>
                  <a:gd name="connsiteY6" fmla="*/ 3135 h 84303"/>
                  <a:gd name="connsiteX7" fmla="*/ 97005 w 228274"/>
                  <a:gd name="connsiteY7" fmla="*/ 8834 h 84303"/>
                  <a:gd name="connsiteX8" fmla="*/ 111881 w 228274"/>
                  <a:gd name="connsiteY8" fmla="*/ 11285 h 84303"/>
                  <a:gd name="connsiteX9" fmla="*/ 114730 w 228274"/>
                  <a:gd name="connsiteY9" fmla="*/ 16984 h 84303"/>
                  <a:gd name="connsiteX10" fmla="*/ 130347 w 228274"/>
                  <a:gd name="connsiteY10" fmla="*/ 22114 h 84303"/>
                  <a:gd name="connsiteX11" fmla="*/ 134337 w 228274"/>
                  <a:gd name="connsiteY11" fmla="*/ 26731 h 84303"/>
                  <a:gd name="connsiteX12" fmla="*/ 142601 w 228274"/>
                  <a:gd name="connsiteY12" fmla="*/ 28725 h 84303"/>
                  <a:gd name="connsiteX13" fmla="*/ 159699 w 228274"/>
                  <a:gd name="connsiteY13" fmla="*/ 41093 h 84303"/>
                  <a:gd name="connsiteX14" fmla="*/ 161523 w 228274"/>
                  <a:gd name="connsiteY14" fmla="*/ 46166 h 84303"/>
                  <a:gd name="connsiteX15" fmla="*/ 182725 w 228274"/>
                  <a:gd name="connsiteY15" fmla="*/ 51466 h 84303"/>
                  <a:gd name="connsiteX16" fmla="*/ 211222 w 228274"/>
                  <a:gd name="connsiteY16" fmla="*/ 55456 h 84303"/>
                  <a:gd name="connsiteX17" fmla="*/ 217207 w 228274"/>
                  <a:gd name="connsiteY17" fmla="*/ 63264 h 84303"/>
                  <a:gd name="connsiteX18" fmla="*/ 228264 w 228274"/>
                  <a:gd name="connsiteY18" fmla="*/ 72440 h 84303"/>
                  <a:gd name="connsiteX19" fmla="*/ 218917 w 228274"/>
                  <a:gd name="connsiteY19" fmla="*/ 79736 h 84303"/>
                  <a:gd name="connsiteX20" fmla="*/ 166368 w 228274"/>
                  <a:gd name="connsiteY20" fmla="*/ 84238 h 84303"/>
                  <a:gd name="connsiteX21" fmla="*/ 156907 w 228274"/>
                  <a:gd name="connsiteY21" fmla="*/ 81217 h 84303"/>
                  <a:gd name="connsiteX22" fmla="*/ 154684 w 228274"/>
                  <a:gd name="connsiteY22" fmla="*/ 65316 h 84303"/>
                  <a:gd name="connsiteX23" fmla="*/ 129207 w 228274"/>
                  <a:gd name="connsiteY23" fmla="*/ 53404 h 84303"/>
                  <a:gd name="connsiteX24" fmla="*/ 120886 w 228274"/>
                  <a:gd name="connsiteY24" fmla="*/ 40238 h 84303"/>
                  <a:gd name="connsiteX25" fmla="*/ 109487 w 228274"/>
                  <a:gd name="connsiteY25" fmla="*/ 35508 h 84303"/>
                  <a:gd name="connsiteX26" fmla="*/ 82072 w 228274"/>
                  <a:gd name="connsiteY26" fmla="*/ 34140 h 84303"/>
                  <a:gd name="connsiteX27" fmla="*/ 71129 w 228274"/>
                  <a:gd name="connsiteY27" fmla="*/ 33342 h 84303"/>
                  <a:gd name="connsiteX28" fmla="*/ 66376 w 228274"/>
                  <a:gd name="connsiteY28" fmla="*/ 24457 h 84303"/>
                  <a:gd name="connsiteX29" fmla="*/ 66627 w 228274"/>
                  <a:gd name="connsiteY29" fmla="*/ 23767 h 84303"/>
                  <a:gd name="connsiteX30" fmla="*/ 59731 w 228274"/>
                  <a:gd name="connsiteY30" fmla="*/ 20746 h 84303"/>
                  <a:gd name="connsiteX31" fmla="*/ 55627 w 228274"/>
                  <a:gd name="connsiteY31" fmla="*/ 13679 h 84303"/>
                  <a:gd name="connsiteX32" fmla="*/ 41891 w 228274"/>
                  <a:gd name="connsiteY32" fmla="*/ 10829 h 84303"/>
                  <a:gd name="connsiteX33" fmla="*/ 29466 w 228274"/>
                  <a:gd name="connsiteY33" fmla="*/ 18979 h 84303"/>
                  <a:gd name="connsiteX34" fmla="*/ 0 w 228274"/>
                  <a:gd name="connsiteY34" fmla="*/ 33342 h 84303"/>
                  <a:gd name="connsiteX35" fmla="*/ 0 w 228274"/>
                  <a:gd name="connsiteY35" fmla="*/ 28383 h 84303"/>
                  <a:gd name="connsiteX36" fmla="*/ 14306 w 228274"/>
                  <a:gd name="connsiteY36" fmla="*/ 25591 h 8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8274" h="84303">
                    <a:moveTo>
                      <a:pt x="14306" y="25591"/>
                    </a:moveTo>
                    <a:cubicBezTo>
                      <a:pt x="13337" y="22114"/>
                      <a:pt x="16528" y="18751"/>
                      <a:pt x="20005" y="17098"/>
                    </a:cubicBezTo>
                    <a:cubicBezTo>
                      <a:pt x="23488" y="15981"/>
                      <a:pt x="26696" y="14135"/>
                      <a:pt x="29409" y="11684"/>
                    </a:cubicBezTo>
                    <a:cubicBezTo>
                      <a:pt x="30834" y="9860"/>
                      <a:pt x="31404" y="7580"/>
                      <a:pt x="32715" y="5699"/>
                    </a:cubicBezTo>
                    <a:cubicBezTo>
                      <a:pt x="36363" y="342"/>
                      <a:pt x="44114" y="0"/>
                      <a:pt x="50383" y="0"/>
                    </a:cubicBezTo>
                    <a:lnTo>
                      <a:pt x="74150" y="342"/>
                    </a:lnTo>
                    <a:cubicBezTo>
                      <a:pt x="79137" y="-11"/>
                      <a:pt x="84130" y="952"/>
                      <a:pt x="88627" y="3135"/>
                    </a:cubicBezTo>
                    <a:cubicBezTo>
                      <a:pt x="91135" y="5420"/>
                      <a:pt x="93956" y="7341"/>
                      <a:pt x="97005" y="8834"/>
                    </a:cubicBezTo>
                    <a:cubicBezTo>
                      <a:pt x="101964" y="10316"/>
                      <a:pt x="108404" y="7295"/>
                      <a:pt x="111881" y="11285"/>
                    </a:cubicBezTo>
                    <a:cubicBezTo>
                      <a:pt x="113192" y="12881"/>
                      <a:pt x="113477" y="15047"/>
                      <a:pt x="114730" y="16984"/>
                    </a:cubicBezTo>
                    <a:cubicBezTo>
                      <a:pt x="118207" y="21373"/>
                      <a:pt x="126129" y="18409"/>
                      <a:pt x="130347" y="22114"/>
                    </a:cubicBezTo>
                    <a:cubicBezTo>
                      <a:pt x="131886" y="23425"/>
                      <a:pt x="132684" y="25477"/>
                      <a:pt x="134337" y="26731"/>
                    </a:cubicBezTo>
                    <a:cubicBezTo>
                      <a:pt x="136879" y="28081"/>
                      <a:pt x="139723" y="28765"/>
                      <a:pt x="142601" y="28725"/>
                    </a:cubicBezTo>
                    <a:cubicBezTo>
                      <a:pt x="149537" y="30789"/>
                      <a:pt x="155567" y="35149"/>
                      <a:pt x="159699" y="41093"/>
                    </a:cubicBezTo>
                    <a:cubicBezTo>
                      <a:pt x="160953" y="42518"/>
                      <a:pt x="162264" y="44399"/>
                      <a:pt x="161523" y="46166"/>
                    </a:cubicBezTo>
                    <a:cubicBezTo>
                      <a:pt x="167998" y="49779"/>
                      <a:pt x="175310" y="51609"/>
                      <a:pt x="182725" y="51466"/>
                    </a:cubicBezTo>
                    <a:cubicBezTo>
                      <a:pt x="192756" y="51466"/>
                      <a:pt x="204611" y="48104"/>
                      <a:pt x="211222" y="55456"/>
                    </a:cubicBezTo>
                    <a:cubicBezTo>
                      <a:pt x="213041" y="58186"/>
                      <a:pt x="215041" y="60796"/>
                      <a:pt x="217207" y="63264"/>
                    </a:cubicBezTo>
                    <a:cubicBezTo>
                      <a:pt x="221083" y="66456"/>
                      <a:pt x="227979" y="67425"/>
                      <a:pt x="228264" y="72440"/>
                    </a:cubicBezTo>
                    <a:cubicBezTo>
                      <a:pt x="228549" y="77456"/>
                      <a:pt x="223191" y="78938"/>
                      <a:pt x="218917" y="79736"/>
                    </a:cubicBezTo>
                    <a:cubicBezTo>
                      <a:pt x="201608" y="83087"/>
                      <a:pt x="183996" y="84597"/>
                      <a:pt x="166368" y="84238"/>
                    </a:cubicBezTo>
                    <a:cubicBezTo>
                      <a:pt x="162931" y="84592"/>
                      <a:pt x="159505" y="83497"/>
                      <a:pt x="156907" y="81217"/>
                    </a:cubicBezTo>
                    <a:cubicBezTo>
                      <a:pt x="153430" y="77000"/>
                      <a:pt x="156907" y="70389"/>
                      <a:pt x="154684" y="65316"/>
                    </a:cubicBezTo>
                    <a:cubicBezTo>
                      <a:pt x="151150" y="56254"/>
                      <a:pt x="136331" y="60015"/>
                      <a:pt x="129207" y="53404"/>
                    </a:cubicBezTo>
                    <a:cubicBezTo>
                      <a:pt x="125388" y="49870"/>
                      <a:pt x="124591" y="43943"/>
                      <a:pt x="120886" y="40238"/>
                    </a:cubicBezTo>
                    <a:cubicBezTo>
                      <a:pt x="117671" y="37514"/>
                      <a:pt x="113687" y="35861"/>
                      <a:pt x="109487" y="35508"/>
                    </a:cubicBezTo>
                    <a:cubicBezTo>
                      <a:pt x="100442" y="33912"/>
                      <a:pt x="91231" y="33456"/>
                      <a:pt x="82072" y="34140"/>
                    </a:cubicBezTo>
                    <a:cubicBezTo>
                      <a:pt x="78413" y="34710"/>
                      <a:pt x="74669" y="34436"/>
                      <a:pt x="71129" y="33342"/>
                    </a:cubicBezTo>
                    <a:cubicBezTo>
                      <a:pt x="67362" y="32202"/>
                      <a:pt x="65236" y="28224"/>
                      <a:pt x="66376" y="24457"/>
                    </a:cubicBezTo>
                    <a:cubicBezTo>
                      <a:pt x="66450" y="24223"/>
                      <a:pt x="66530" y="23995"/>
                      <a:pt x="66627" y="23767"/>
                    </a:cubicBezTo>
                    <a:cubicBezTo>
                      <a:pt x="63908" y="24468"/>
                      <a:pt x="61059" y="23220"/>
                      <a:pt x="59731" y="20746"/>
                    </a:cubicBezTo>
                    <a:cubicBezTo>
                      <a:pt x="58192" y="18523"/>
                      <a:pt x="57394" y="15788"/>
                      <a:pt x="55627" y="13679"/>
                    </a:cubicBezTo>
                    <a:cubicBezTo>
                      <a:pt x="52019" y="10088"/>
                      <a:pt x="46627" y="8971"/>
                      <a:pt x="41891" y="10829"/>
                    </a:cubicBezTo>
                    <a:cubicBezTo>
                      <a:pt x="37240" y="12676"/>
                      <a:pt x="33011" y="15451"/>
                      <a:pt x="29466" y="18979"/>
                    </a:cubicBezTo>
                    <a:cubicBezTo>
                      <a:pt x="25044" y="30857"/>
                      <a:pt x="12083" y="37178"/>
                      <a:pt x="0" y="33342"/>
                    </a:cubicBezTo>
                    <a:lnTo>
                      <a:pt x="0" y="28383"/>
                    </a:lnTo>
                    <a:cubicBezTo>
                      <a:pt x="4354" y="25967"/>
                      <a:pt x="9364" y="24987"/>
                      <a:pt x="14306" y="2559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0" name="Freihandform: Form 266">
                <a:extLst>
                  <a:ext uri="{FF2B5EF4-FFF2-40B4-BE49-F238E27FC236}">
                    <a16:creationId xmlns:a16="http://schemas.microsoft.com/office/drawing/2014/main" id="{9A35F942-E11B-878A-AB19-7C36CECB731D}"/>
                  </a:ext>
                </a:extLst>
              </p:cNvPr>
              <p:cNvSpPr/>
              <p:nvPr/>
            </p:nvSpPr>
            <p:spPr>
              <a:xfrm>
                <a:off x="2048285" y="3650543"/>
                <a:ext cx="17158" cy="33478"/>
              </a:xfrm>
              <a:custGeom>
                <a:avLst/>
                <a:gdLst>
                  <a:gd name="connsiteX0" fmla="*/ 10995 w 17158"/>
                  <a:gd name="connsiteY0" fmla="*/ 4218 h 33478"/>
                  <a:gd name="connsiteX1" fmla="*/ 11793 w 17158"/>
                  <a:gd name="connsiteY1" fmla="*/ 7352 h 33478"/>
                  <a:gd name="connsiteX2" fmla="*/ 15269 w 17158"/>
                  <a:gd name="connsiteY2" fmla="*/ 15161 h 33478"/>
                  <a:gd name="connsiteX3" fmla="*/ 14927 w 17158"/>
                  <a:gd name="connsiteY3" fmla="*/ 33342 h 33478"/>
                  <a:gd name="connsiteX4" fmla="*/ 10254 w 17158"/>
                  <a:gd name="connsiteY4" fmla="*/ 31005 h 33478"/>
                  <a:gd name="connsiteX5" fmla="*/ 9684 w 17158"/>
                  <a:gd name="connsiteY5" fmla="*/ 28554 h 33478"/>
                  <a:gd name="connsiteX6" fmla="*/ 2902 w 17158"/>
                  <a:gd name="connsiteY6" fmla="*/ 20575 h 33478"/>
                  <a:gd name="connsiteX7" fmla="*/ 1990 w 17158"/>
                  <a:gd name="connsiteY7" fmla="*/ 0 h 33478"/>
                  <a:gd name="connsiteX8" fmla="*/ 9741 w 17158"/>
                  <a:gd name="connsiteY8" fmla="*/ 2793 h 33478"/>
                  <a:gd name="connsiteX9" fmla="*/ 10995 w 17158"/>
                  <a:gd name="connsiteY9" fmla="*/ 4218 h 3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58" h="33478">
                    <a:moveTo>
                      <a:pt x="10995" y="4218"/>
                    </a:moveTo>
                    <a:cubicBezTo>
                      <a:pt x="11434" y="5209"/>
                      <a:pt x="11702" y="6269"/>
                      <a:pt x="11793" y="7352"/>
                    </a:cubicBezTo>
                    <a:cubicBezTo>
                      <a:pt x="12631" y="10088"/>
                      <a:pt x="13799" y="12710"/>
                      <a:pt x="15269" y="15161"/>
                    </a:cubicBezTo>
                    <a:cubicBezTo>
                      <a:pt x="17902" y="20963"/>
                      <a:pt x="17777" y="27642"/>
                      <a:pt x="14927" y="33342"/>
                    </a:cubicBezTo>
                    <a:cubicBezTo>
                      <a:pt x="13001" y="33861"/>
                      <a:pt x="10995" y="32858"/>
                      <a:pt x="10254" y="31005"/>
                    </a:cubicBezTo>
                    <a:cubicBezTo>
                      <a:pt x="9969" y="30264"/>
                      <a:pt x="9912" y="29352"/>
                      <a:pt x="9684" y="28554"/>
                    </a:cubicBezTo>
                    <a:cubicBezTo>
                      <a:pt x="8829" y="25135"/>
                      <a:pt x="5181" y="23311"/>
                      <a:pt x="2902" y="20575"/>
                    </a:cubicBezTo>
                    <a:cubicBezTo>
                      <a:pt x="-1658" y="14876"/>
                      <a:pt x="52" y="6896"/>
                      <a:pt x="1990" y="0"/>
                    </a:cubicBezTo>
                    <a:cubicBezTo>
                      <a:pt x="4805" y="86"/>
                      <a:pt x="7518" y="1066"/>
                      <a:pt x="9741" y="2793"/>
                    </a:cubicBezTo>
                    <a:cubicBezTo>
                      <a:pt x="10248" y="3186"/>
                      <a:pt x="10670" y="3665"/>
                      <a:pt x="10995" y="42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1" name="Freihandform: Form 267">
                <a:extLst>
                  <a:ext uri="{FF2B5EF4-FFF2-40B4-BE49-F238E27FC236}">
                    <a16:creationId xmlns:a16="http://schemas.microsoft.com/office/drawing/2014/main" id="{6C3F92C1-8CDD-884E-D805-990BAFC36FE1}"/>
                  </a:ext>
                </a:extLst>
              </p:cNvPr>
              <p:cNvSpPr/>
              <p:nvPr/>
            </p:nvSpPr>
            <p:spPr>
              <a:xfrm>
                <a:off x="2047679" y="3812827"/>
                <a:ext cx="34556" cy="16662"/>
              </a:xfrm>
              <a:custGeom>
                <a:avLst/>
                <a:gdLst>
                  <a:gd name="connsiteX0" fmla="*/ 32176 w 34556"/>
                  <a:gd name="connsiteY0" fmla="*/ 13145 h 16662"/>
                  <a:gd name="connsiteX1" fmla="*/ 27901 w 34556"/>
                  <a:gd name="connsiteY1" fmla="*/ 15425 h 16662"/>
                  <a:gd name="connsiteX2" fmla="*/ 772 w 34556"/>
                  <a:gd name="connsiteY2" fmla="*/ 10011 h 16662"/>
                  <a:gd name="connsiteX3" fmla="*/ 2995 w 34556"/>
                  <a:gd name="connsiteY3" fmla="*/ 1290 h 16662"/>
                  <a:gd name="connsiteX4" fmla="*/ 9663 w 34556"/>
                  <a:gd name="connsiteY4" fmla="*/ 36 h 16662"/>
                  <a:gd name="connsiteX5" fmla="*/ 28015 w 34556"/>
                  <a:gd name="connsiteY5" fmla="*/ 36 h 16662"/>
                  <a:gd name="connsiteX6" fmla="*/ 34057 w 34556"/>
                  <a:gd name="connsiteY6" fmla="*/ 2259 h 16662"/>
                  <a:gd name="connsiteX7" fmla="*/ 34513 w 34556"/>
                  <a:gd name="connsiteY7" fmla="*/ 5166 h 16662"/>
                  <a:gd name="connsiteX8" fmla="*/ 32176 w 34556"/>
                  <a:gd name="connsiteY8" fmla="*/ 13145 h 1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6" h="16662">
                    <a:moveTo>
                      <a:pt x="32176" y="13145"/>
                    </a:moveTo>
                    <a:cubicBezTo>
                      <a:pt x="30945" y="14222"/>
                      <a:pt x="29480" y="15003"/>
                      <a:pt x="27901" y="15425"/>
                    </a:cubicBezTo>
                    <a:cubicBezTo>
                      <a:pt x="18520" y="18229"/>
                      <a:pt x="8358" y="16200"/>
                      <a:pt x="772" y="10011"/>
                    </a:cubicBezTo>
                    <a:cubicBezTo>
                      <a:pt x="-830" y="6961"/>
                      <a:pt x="133" y="3200"/>
                      <a:pt x="2995" y="1290"/>
                    </a:cubicBezTo>
                    <a:cubicBezTo>
                      <a:pt x="5069" y="299"/>
                      <a:pt x="7366" y="-135"/>
                      <a:pt x="9663" y="36"/>
                    </a:cubicBezTo>
                    <a:lnTo>
                      <a:pt x="28015" y="36"/>
                    </a:lnTo>
                    <a:cubicBezTo>
                      <a:pt x="30295" y="36"/>
                      <a:pt x="33031" y="36"/>
                      <a:pt x="34057" y="2259"/>
                    </a:cubicBezTo>
                    <a:cubicBezTo>
                      <a:pt x="34461" y="3171"/>
                      <a:pt x="34615" y="4174"/>
                      <a:pt x="34513" y="5166"/>
                    </a:cubicBezTo>
                    <a:cubicBezTo>
                      <a:pt x="34763" y="8027"/>
                      <a:pt x="33931" y="10877"/>
                      <a:pt x="32176" y="13145"/>
                    </a:cubicBezTo>
                    <a:close/>
                  </a:path>
                </a:pathLst>
              </a:custGeom>
              <a:solidFill>
                <a:schemeClr val="accent5"/>
              </a:solidFill>
              <a:ln w="3175" cap="flat">
                <a:solidFill>
                  <a:schemeClr val="accent2"/>
                </a:solidFill>
                <a:prstDash val="solid"/>
                <a:miter/>
              </a:ln>
            </p:spPr>
            <p:txBody>
              <a:bodyPr rtlCol="0" anchor="ctr"/>
              <a:lstStyle/>
              <a:p>
                <a:endParaRPr lang="en-US"/>
              </a:p>
            </p:txBody>
          </p:sp>
          <p:sp>
            <p:nvSpPr>
              <p:cNvPr id="552" name="Freihandform: Form 268">
                <a:extLst>
                  <a:ext uri="{FF2B5EF4-FFF2-40B4-BE49-F238E27FC236}">
                    <a16:creationId xmlns:a16="http://schemas.microsoft.com/office/drawing/2014/main" id="{DC0687E1-DAE9-B7FB-C0BA-8242B4E167FF}"/>
                  </a:ext>
                </a:extLst>
              </p:cNvPr>
              <p:cNvSpPr/>
              <p:nvPr/>
            </p:nvSpPr>
            <p:spPr>
              <a:xfrm>
                <a:off x="2291921" y="3809559"/>
                <a:ext cx="41759" cy="20219"/>
              </a:xfrm>
              <a:custGeom>
                <a:avLst/>
                <a:gdLst>
                  <a:gd name="connsiteX0" fmla="*/ 3204 w 41759"/>
                  <a:gd name="connsiteY0" fmla="*/ 2335 h 20219"/>
                  <a:gd name="connsiteX1" fmla="*/ 16313 w 41759"/>
                  <a:gd name="connsiteY1" fmla="*/ 968 h 20219"/>
                  <a:gd name="connsiteX2" fmla="*/ 35121 w 41759"/>
                  <a:gd name="connsiteY2" fmla="*/ 5413 h 20219"/>
                  <a:gd name="connsiteX3" fmla="*/ 41732 w 41759"/>
                  <a:gd name="connsiteY3" fmla="*/ 10258 h 20219"/>
                  <a:gd name="connsiteX4" fmla="*/ 37401 w 41759"/>
                  <a:gd name="connsiteY4" fmla="*/ 19434 h 20219"/>
                  <a:gd name="connsiteX5" fmla="*/ 26002 w 41759"/>
                  <a:gd name="connsiteY5" fmla="*/ 17496 h 20219"/>
                  <a:gd name="connsiteX6" fmla="*/ 17794 w 41759"/>
                  <a:gd name="connsiteY6" fmla="*/ 11284 h 20219"/>
                  <a:gd name="connsiteX7" fmla="*/ 12437 w 41759"/>
                  <a:gd name="connsiteY7" fmla="*/ 14931 h 20219"/>
                  <a:gd name="connsiteX8" fmla="*/ 10955 w 41759"/>
                  <a:gd name="connsiteY8" fmla="*/ 19320 h 20219"/>
                  <a:gd name="connsiteX9" fmla="*/ 1494 w 41759"/>
                  <a:gd name="connsiteY9" fmla="*/ 16869 h 20219"/>
                  <a:gd name="connsiteX10" fmla="*/ 867 w 41759"/>
                  <a:gd name="connsiteY10" fmla="*/ 6325 h 20219"/>
                  <a:gd name="connsiteX11" fmla="*/ 3204 w 41759"/>
                  <a:gd name="connsiteY11" fmla="*/ 2335 h 2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59" h="20219">
                    <a:moveTo>
                      <a:pt x="3204" y="2335"/>
                    </a:moveTo>
                    <a:cubicBezTo>
                      <a:pt x="6396" y="-970"/>
                      <a:pt x="11867" y="-115"/>
                      <a:pt x="16313" y="968"/>
                    </a:cubicBezTo>
                    <a:lnTo>
                      <a:pt x="35121" y="5413"/>
                    </a:lnTo>
                    <a:cubicBezTo>
                      <a:pt x="37971" y="6097"/>
                      <a:pt x="41333" y="7351"/>
                      <a:pt x="41732" y="10258"/>
                    </a:cubicBezTo>
                    <a:cubicBezTo>
                      <a:pt x="42131" y="13164"/>
                      <a:pt x="38028" y="15957"/>
                      <a:pt x="37401" y="19434"/>
                    </a:cubicBezTo>
                    <a:cubicBezTo>
                      <a:pt x="33525" y="20847"/>
                      <a:pt x="29193" y="20106"/>
                      <a:pt x="26002" y="17496"/>
                    </a:cubicBezTo>
                    <a:cubicBezTo>
                      <a:pt x="23266" y="15273"/>
                      <a:pt x="21271" y="11796"/>
                      <a:pt x="17794" y="11284"/>
                    </a:cubicBezTo>
                    <a:cubicBezTo>
                      <a:pt x="15355" y="11027"/>
                      <a:pt x="13093" y="12572"/>
                      <a:pt x="12437" y="14931"/>
                    </a:cubicBezTo>
                    <a:cubicBezTo>
                      <a:pt x="11924" y="16413"/>
                      <a:pt x="11411" y="17838"/>
                      <a:pt x="10955" y="19320"/>
                    </a:cubicBezTo>
                    <a:cubicBezTo>
                      <a:pt x="7655" y="21166"/>
                      <a:pt x="3483" y="20084"/>
                      <a:pt x="1494" y="16869"/>
                    </a:cubicBezTo>
                    <a:cubicBezTo>
                      <a:pt x="-250" y="13615"/>
                      <a:pt x="-478" y="9762"/>
                      <a:pt x="867" y="6325"/>
                    </a:cubicBezTo>
                    <a:cubicBezTo>
                      <a:pt x="1334" y="4837"/>
                      <a:pt x="2132" y="3470"/>
                      <a:pt x="3204" y="2335"/>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3" name="Freihandform: Form 269">
                <a:extLst>
                  <a:ext uri="{FF2B5EF4-FFF2-40B4-BE49-F238E27FC236}">
                    <a16:creationId xmlns:a16="http://schemas.microsoft.com/office/drawing/2014/main" id="{0733DE4F-15E5-BCDF-754E-D8504DFAF06F}"/>
                  </a:ext>
                </a:extLst>
              </p:cNvPr>
              <p:cNvSpPr/>
              <p:nvPr/>
            </p:nvSpPr>
            <p:spPr>
              <a:xfrm>
                <a:off x="2171066" y="1555992"/>
                <a:ext cx="1331530" cy="1077251"/>
              </a:xfrm>
              <a:custGeom>
                <a:avLst/>
                <a:gdLst>
                  <a:gd name="connsiteX0" fmla="*/ 36572 w 1331530"/>
                  <a:gd name="connsiteY0" fmla="*/ 361911 h 1077251"/>
                  <a:gd name="connsiteX1" fmla="*/ 52416 w 1331530"/>
                  <a:gd name="connsiteY1" fmla="*/ 352621 h 1077251"/>
                  <a:gd name="connsiteX2" fmla="*/ 72137 w 1331530"/>
                  <a:gd name="connsiteY2" fmla="*/ 354672 h 1077251"/>
                  <a:gd name="connsiteX3" fmla="*/ 108784 w 1331530"/>
                  <a:gd name="connsiteY3" fmla="*/ 345895 h 1077251"/>
                  <a:gd name="connsiteX4" fmla="*/ 126680 w 1331530"/>
                  <a:gd name="connsiteY4" fmla="*/ 353361 h 1077251"/>
                  <a:gd name="connsiteX5" fmla="*/ 144577 w 1331530"/>
                  <a:gd name="connsiteY5" fmla="*/ 350512 h 1077251"/>
                  <a:gd name="connsiteX6" fmla="*/ 139333 w 1331530"/>
                  <a:gd name="connsiteY6" fmla="*/ 343102 h 1077251"/>
                  <a:gd name="connsiteX7" fmla="*/ 145489 w 1331530"/>
                  <a:gd name="connsiteY7" fmla="*/ 338999 h 1077251"/>
                  <a:gd name="connsiteX8" fmla="*/ 116022 w 1331530"/>
                  <a:gd name="connsiteY8" fmla="*/ 323211 h 1077251"/>
                  <a:gd name="connsiteX9" fmla="*/ 102629 w 1331530"/>
                  <a:gd name="connsiteY9" fmla="*/ 331020 h 1077251"/>
                  <a:gd name="connsiteX10" fmla="*/ 59655 w 1331530"/>
                  <a:gd name="connsiteY10" fmla="*/ 326859 h 1077251"/>
                  <a:gd name="connsiteX11" fmla="*/ 665 w 1331530"/>
                  <a:gd name="connsiteY11" fmla="*/ 309475 h 1077251"/>
                  <a:gd name="connsiteX12" fmla="*/ 14173 w 1331530"/>
                  <a:gd name="connsiteY12" fmla="*/ 287647 h 1077251"/>
                  <a:gd name="connsiteX13" fmla="*/ 41701 w 1331530"/>
                  <a:gd name="connsiteY13" fmla="*/ 281206 h 1077251"/>
                  <a:gd name="connsiteX14" fmla="*/ 77722 w 1331530"/>
                  <a:gd name="connsiteY14" fmla="*/ 261657 h 1077251"/>
                  <a:gd name="connsiteX15" fmla="*/ 146116 w 1331530"/>
                  <a:gd name="connsiteY15" fmla="*/ 258123 h 1077251"/>
                  <a:gd name="connsiteX16" fmla="*/ 158313 w 1331530"/>
                  <a:gd name="connsiteY16" fmla="*/ 255046 h 1077251"/>
                  <a:gd name="connsiteX17" fmla="*/ 160478 w 1331530"/>
                  <a:gd name="connsiteY17" fmla="*/ 241253 h 1077251"/>
                  <a:gd name="connsiteX18" fmla="*/ 171250 w 1331530"/>
                  <a:gd name="connsiteY18" fmla="*/ 223413 h 1077251"/>
                  <a:gd name="connsiteX19" fmla="*/ 172333 w 1331530"/>
                  <a:gd name="connsiteY19" fmla="*/ 204263 h 1077251"/>
                  <a:gd name="connsiteX20" fmla="*/ 160934 w 1331530"/>
                  <a:gd name="connsiteY20" fmla="*/ 201357 h 1077251"/>
                  <a:gd name="connsiteX21" fmla="*/ 121038 w 1331530"/>
                  <a:gd name="connsiteY21" fmla="*/ 200901 h 1077251"/>
                  <a:gd name="connsiteX22" fmla="*/ 117162 w 1331530"/>
                  <a:gd name="connsiteY22" fmla="*/ 192180 h 1077251"/>
                  <a:gd name="connsiteX23" fmla="*/ 140302 w 1331530"/>
                  <a:gd name="connsiteY23" fmla="*/ 178616 h 1077251"/>
                  <a:gd name="connsiteX24" fmla="*/ 146914 w 1331530"/>
                  <a:gd name="connsiteY24" fmla="*/ 172916 h 1077251"/>
                  <a:gd name="connsiteX25" fmla="*/ 157173 w 1331530"/>
                  <a:gd name="connsiteY25" fmla="*/ 166590 h 1077251"/>
                  <a:gd name="connsiteX26" fmla="*/ 183447 w 1331530"/>
                  <a:gd name="connsiteY26" fmla="*/ 152227 h 1077251"/>
                  <a:gd name="connsiteX27" fmla="*/ 213199 w 1331530"/>
                  <a:gd name="connsiteY27" fmla="*/ 139688 h 1077251"/>
                  <a:gd name="connsiteX28" fmla="*/ 243748 w 1331530"/>
                  <a:gd name="connsiteY28" fmla="*/ 146414 h 1077251"/>
                  <a:gd name="connsiteX29" fmla="*/ 252069 w 1331530"/>
                  <a:gd name="connsiteY29" fmla="*/ 152113 h 1077251"/>
                  <a:gd name="connsiteX30" fmla="*/ 262556 w 1331530"/>
                  <a:gd name="connsiteY30" fmla="*/ 135471 h 1077251"/>
                  <a:gd name="connsiteX31" fmla="*/ 248592 w 1331530"/>
                  <a:gd name="connsiteY31" fmla="*/ 108911 h 1077251"/>
                  <a:gd name="connsiteX32" fmla="*/ 297950 w 1331530"/>
                  <a:gd name="connsiteY32" fmla="*/ 102357 h 1077251"/>
                  <a:gd name="connsiteX33" fmla="*/ 320748 w 1331530"/>
                  <a:gd name="connsiteY33" fmla="*/ 116263 h 1077251"/>
                  <a:gd name="connsiteX34" fmla="*/ 309349 w 1331530"/>
                  <a:gd name="connsiteY34" fmla="*/ 91585 h 1077251"/>
                  <a:gd name="connsiteX35" fmla="*/ 388229 w 1331530"/>
                  <a:gd name="connsiteY35" fmla="*/ 74885 h 1077251"/>
                  <a:gd name="connsiteX36" fmla="*/ 411369 w 1331530"/>
                  <a:gd name="connsiteY36" fmla="*/ 75569 h 1077251"/>
                  <a:gd name="connsiteX37" fmla="*/ 416214 w 1331530"/>
                  <a:gd name="connsiteY37" fmla="*/ 114326 h 1077251"/>
                  <a:gd name="connsiteX38" fmla="*/ 414105 w 1331530"/>
                  <a:gd name="connsiteY38" fmla="*/ 121792 h 1077251"/>
                  <a:gd name="connsiteX39" fmla="*/ 432172 w 1331530"/>
                  <a:gd name="connsiteY39" fmla="*/ 125497 h 1077251"/>
                  <a:gd name="connsiteX40" fmla="*/ 437473 w 1331530"/>
                  <a:gd name="connsiteY40" fmla="*/ 103326 h 1077251"/>
                  <a:gd name="connsiteX41" fmla="*/ 437017 w 1331530"/>
                  <a:gd name="connsiteY41" fmla="*/ 83092 h 1077251"/>
                  <a:gd name="connsiteX42" fmla="*/ 442146 w 1331530"/>
                  <a:gd name="connsiteY42" fmla="*/ 72491 h 1077251"/>
                  <a:gd name="connsiteX43" fmla="*/ 448701 w 1331530"/>
                  <a:gd name="connsiteY43" fmla="*/ 75398 h 1077251"/>
                  <a:gd name="connsiteX44" fmla="*/ 476913 w 1331530"/>
                  <a:gd name="connsiteY44" fmla="*/ 97170 h 1077251"/>
                  <a:gd name="connsiteX45" fmla="*/ 511110 w 1331530"/>
                  <a:gd name="connsiteY45" fmla="*/ 101103 h 1077251"/>
                  <a:gd name="connsiteX46" fmla="*/ 505752 w 1331530"/>
                  <a:gd name="connsiteY46" fmla="*/ 89704 h 1077251"/>
                  <a:gd name="connsiteX47" fmla="*/ 481416 w 1331530"/>
                  <a:gd name="connsiteY47" fmla="*/ 68388 h 1077251"/>
                  <a:gd name="connsiteX48" fmla="*/ 527012 w 1331530"/>
                  <a:gd name="connsiteY48" fmla="*/ 68958 h 1077251"/>
                  <a:gd name="connsiteX49" fmla="*/ 570612 w 1331530"/>
                  <a:gd name="connsiteY49" fmla="*/ 91186 h 1077251"/>
                  <a:gd name="connsiteX50" fmla="*/ 583721 w 1331530"/>
                  <a:gd name="connsiteY50" fmla="*/ 93636 h 1077251"/>
                  <a:gd name="connsiteX51" fmla="*/ 593410 w 1331530"/>
                  <a:gd name="connsiteY51" fmla="*/ 100647 h 1077251"/>
                  <a:gd name="connsiteX52" fmla="*/ 628861 w 1331530"/>
                  <a:gd name="connsiteY52" fmla="*/ 119683 h 1077251"/>
                  <a:gd name="connsiteX53" fmla="*/ 619856 w 1331530"/>
                  <a:gd name="connsiteY53" fmla="*/ 98196 h 1077251"/>
                  <a:gd name="connsiteX54" fmla="*/ 577053 w 1331530"/>
                  <a:gd name="connsiteY54" fmla="*/ 77165 h 1077251"/>
                  <a:gd name="connsiteX55" fmla="*/ 568903 w 1331530"/>
                  <a:gd name="connsiteY55" fmla="*/ 71466 h 1077251"/>
                  <a:gd name="connsiteX56" fmla="*/ 579903 w 1331530"/>
                  <a:gd name="connsiteY56" fmla="*/ 59554 h 1077251"/>
                  <a:gd name="connsiteX57" fmla="*/ 598996 w 1331530"/>
                  <a:gd name="connsiteY57" fmla="*/ 61548 h 1077251"/>
                  <a:gd name="connsiteX58" fmla="*/ 604296 w 1331530"/>
                  <a:gd name="connsiteY58" fmla="*/ 59155 h 1077251"/>
                  <a:gd name="connsiteX59" fmla="*/ 593296 w 1331530"/>
                  <a:gd name="connsiteY59" fmla="*/ 45704 h 1077251"/>
                  <a:gd name="connsiteX60" fmla="*/ 580131 w 1331530"/>
                  <a:gd name="connsiteY60" fmla="*/ 33222 h 1077251"/>
                  <a:gd name="connsiteX61" fmla="*/ 637125 w 1331530"/>
                  <a:gd name="connsiteY61" fmla="*/ 30429 h 1077251"/>
                  <a:gd name="connsiteX62" fmla="*/ 696514 w 1331530"/>
                  <a:gd name="connsiteY62" fmla="*/ 26041 h 1077251"/>
                  <a:gd name="connsiteX63" fmla="*/ 727006 w 1331530"/>
                  <a:gd name="connsiteY63" fmla="*/ 18688 h 1077251"/>
                  <a:gd name="connsiteX64" fmla="*/ 744104 w 1331530"/>
                  <a:gd name="connsiteY64" fmla="*/ 38580 h 1077251"/>
                  <a:gd name="connsiteX65" fmla="*/ 758068 w 1331530"/>
                  <a:gd name="connsiteY65" fmla="*/ 41030 h 1077251"/>
                  <a:gd name="connsiteX66" fmla="*/ 763768 w 1331530"/>
                  <a:gd name="connsiteY66" fmla="*/ 22336 h 1077251"/>
                  <a:gd name="connsiteX67" fmla="*/ 761545 w 1331530"/>
                  <a:gd name="connsiteY67" fmla="*/ 15554 h 1077251"/>
                  <a:gd name="connsiteX68" fmla="*/ 772146 w 1331530"/>
                  <a:gd name="connsiteY68" fmla="*/ 8828 h 1077251"/>
                  <a:gd name="connsiteX69" fmla="*/ 883742 w 1331530"/>
                  <a:gd name="connsiteY69" fmla="*/ 336 h 1077251"/>
                  <a:gd name="connsiteX70" fmla="*/ 956353 w 1331530"/>
                  <a:gd name="connsiteY70" fmla="*/ 6036 h 1077251"/>
                  <a:gd name="connsiteX71" fmla="*/ 980975 w 1331530"/>
                  <a:gd name="connsiteY71" fmla="*/ 13046 h 1077251"/>
                  <a:gd name="connsiteX72" fmla="*/ 1025487 w 1331530"/>
                  <a:gd name="connsiteY72" fmla="*/ 18118 h 1077251"/>
                  <a:gd name="connsiteX73" fmla="*/ 1054783 w 1331530"/>
                  <a:gd name="connsiteY73" fmla="*/ 27466 h 1077251"/>
                  <a:gd name="connsiteX74" fmla="*/ 1058202 w 1331530"/>
                  <a:gd name="connsiteY74" fmla="*/ 43709 h 1077251"/>
                  <a:gd name="connsiteX75" fmla="*/ 1120555 w 1331530"/>
                  <a:gd name="connsiteY75" fmla="*/ 48041 h 1077251"/>
                  <a:gd name="connsiteX76" fmla="*/ 1128819 w 1331530"/>
                  <a:gd name="connsiteY76" fmla="*/ 58642 h 1077251"/>
                  <a:gd name="connsiteX77" fmla="*/ 1074845 w 1331530"/>
                  <a:gd name="connsiteY77" fmla="*/ 71978 h 1077251"/>
                  <a:gd name="connsiteX78" fmla="*/ 1061337 w 1331530"/>
                  <a:gd name="connsiteY78" fmla="*/ 74885 h 1077251"/>
                  <a:gd name="connsiteX79" fmla="*/ 1045265 w 1331530"/>
                  <a:gd name="connsiteY79" fmla="*/ 76139 h 1077251"/>
                  <a:gd name="connsiteX80" fmla="*/ 962166 w 1331530"/>
                  <a:gd name="connsiteY80" fmla="*/ 79388 h 1077251"/>
                  <a:gd name="connsiteX81" fmla="*/ 947690 w 1331530"/>
                  <a:gd name="connsiteY81" fmla="*/ 90787 h 1077251"/>
                  <a:gd name="connsiteX82" fmla="*/ 886876 w 1331530"/>
                  <a:gd name="connsiteY82" fmla="*/ 101445 h 1077251"/>
                  <a:gd name="connsiteX83" fmla="*/ 881177 w 1331530"/>
                  <a:gd name="connsiteY83" fmla="*/ 118543 h 1077251"/>
                  <a:gd name="connsiteX84" fmla="*/ 1026399 w 1331530"/>
                  <a:gd name="connsiteY84" fmla="*/ 94605 h 1077251"/>
                  <a:gd name="connsiteX85" fmla="*/ 1039451 w 1331530"/>
                  <a:gd name="connsiteY85" fmla="*/ 100761 h 1077251"/>
                  <a:gd name="connsiteX86" fmla="*/ 1007990 w 1331530"/>
                  <a:gd name="connsiteY86" fmla="*/ 117859 h 1077251"/>
                  <a:gd name="connsiteX87" fmla="*/ 998700 w 1331530"/>
                  <a:gd name="connsiteY87" fmla="*/ 127092 h 1077251"/>
                  <a:gd name="connsiteX88" fmla="*/ 1010099 w 1331530"/>
                  <a:gd name="connsiteY88" fmla="*/ 138491 h 1077251"/>
                  <a:gd name="connsiteX89" fmla="*/ 1026855 w 1331530"/>
                  <a:gd name="connsiteY89" fmla="*/ 131937 h 1077251"/>
                  <a:gd name="connsiteX90" fmla="*/ 1080601 w 1331530"/>
                  <a:gd name="connsiteY90" fmla="*/ 97740 h 1077251"/>
                  <a:gd name="connsiteX91" fmla="*/ 1105964 w 1331530"/>
                  <a:gd name="connsiteY91" fmla="*/ 91471 h 1077251"/>
                  <a:gd name="connsiteX92" fmla="*/ 1117363 w 1331530"/>
                  <a:gd name="connsiteY92" fmla="*/ 113813 h 1077251"/>
                  <a:gd name="connsiteX93" fmla="*/ 1070172 w 1331530"/>
                  <a:gd name="connsiteY93" fmla="*/ 172745 h 1077251"/>
                  <a:gd name="connsiteX94" fmla="*/ 1092228 w 1331530"/>
                  <a:gd name="connsiteY94" fmla="*/ 167046 h 1077251"/>
                  <a:gd name="connsiteX95" fmla="*/ 1135658 w 1331530"/>
                  <a:gd name="connsiteY95" fmla="*/ 128289 h 1077251"/>
                  <a:gd name="connsiteX96" fmla="*/ 1158057 w 1331530"/>
                  <a:gd name="connsiteY96" fmla="*/ 116092 h 1077251"/>
                  <a:gd name="connsiteX97" fmla="*/ 1161021 w 1331530"/>
                  <a:gd name="connsiteY97" fmla="*/ 128403 h 1077251"/>
                  <a:gd name="connsiteX98" fmla="*/ 1184674 w 1331530"/>
                  <a:gd name="connsiteY98" fmla="*/ 124528 h 1077251"/>
                  <a:gd name="connsiteX99" fmla="*/ 1209410 w 1331530"/>
                  <a:gd name="connsiteY99" fmla="*/ 128061 h 1077251"/>
                  <a:gd name="connsiteX100" fmla="*/ 1217275 w 1331530"/>
                  <a:gd name="connsiteY100" fmla="*/ 108911 h 1077251"/>
                  <a:gd name="connsiteX101" fmla="*/ 1325565 w 1331530"/>
                  <a:gd name="connsiteY101" fmla="*/ 113357 h 1077251"/>
                  <a:gd name="connsiteX102" fmla="*/ 1330580 w 1331530"/>
                  <a:gd name="connsiteY102" fmla="*/ 117574 h 1077251"/>
                  <a:gd name="connsiteX103" fmla="*/ 1319182 w 1331530"/>
                  <a:gd name="connsiteY103" fmla="*/ 133932 h 1077251"/>
                  <a:gd name="connsiteX104" fmla="*/ 1292736 w 1331530"/>
                  <a:gd name="connsiteY104" fmla="*/ 145844 h 1077251"/>
                  <a:gd name="connsiteX105" fmla="*/ 1272731 w 1331530"/>
                  <a:gd name="connsiteY105" fmla="*/ 154393 h 1077251"/>
                  <a:gd name="connsiteX106" fmla="*/ 1184218 w 1331530"/>
                  <a:gd name="connsiteY106" fmla="*/ 170978 h 1077251"/>
                  <a:gd name="connsiteX107" fmla="*/ 1239902 w 1331530"/>
                  <a:gd name="connsiteY107" fmla="*/ 178046 h 1077251"/>
                  <a:gd name="connsiteX108" fmla="*/ 1239645 w 1331530"/>
                  <a:gd name="connsiteY108" fmla="*/ 188279 h 1077251"/>
                  <a:gd name="connsiteX109" fmla="*/ 1238933 w 1331530"/>
                  <a:gd name="connsiteY109" fmla="*/ 188875 h 1077251"/>
                  <a:gd name="connsiteX110" fmla="*/ 1227021 w 1331530"/>
                  <a:gd name="connsiteY110" fmla="*/ 192123 h 1077251"/>
                  <a:gd name="connsiteX111" fmla="*/ 1181425 w 1331530"/>
                  <a:gd name="connsiteY111" fmla="*/ 195201 h 1077251"/>
                  <a:gd name="connsiteX112" fmla="*/ 1146829 w 1331530"/>
                  <a:gd name="connsiteY112" fmla="*/ 214123 h 1077251"/>
                  <a:gd name="connsiteX113" fmla="*/ 1172135 w 1331530"/>
                  <a:gd name="connsiteY113" fmla="*/ 214522 h 1077251"/>
                  <a:gd name="connsiteX114" fmla="*/ 1196529 w 1331530"/>
                  <a:gd name="connsiteY114" fmla="*/ 202781 h 1077251"/>
                  <a:gd name="connsiteX115" fmla="*/ 1212487 w 1331530"/>
                  <a:gd name="connsiteY115" fmla="*/ 218626 h 1077251"/>
                  <a:gd name="connsiteX116" fmla="*/ 1187124 w 1331530"/>
                  <a:gd name="connsiteY116" fmla="*/ 221020 h 1077251"/>
                  <a:gd name="connsiteX117" fmla="*/ 1170767 w 1331530"/>
                  <a:gd name="connsiteY117" fmla="*/ 238973 h 1077251"/>
                  <a:gd name="connsiteX118" fmla="*/ 1170197 w 1331530"/>
                  <a:gd name="connsiteY118" fmla="*/ 253393 h 1077251"/>
                  <a:gd name="connsiteX119" fmla="*/ 1138109 w 1331530"/>
                  <a:gd name="connsiteY119" fmla="*/ 262056 h 1077251"/>
                  <a:gd name="connsiteX120" fmla="*/ 1116223 w 1331530"/>
                  <a:gd name="connsiteY120" fmla="*/ 327429 h 1077251"/>
                  <a:gd name="connsiteX121" fmla="*/ 1140161 w 1331530"/>
                  <a:gd name="connsiteY121" fmla="*/ 317113 h 1077251"/>
                  <a:gd name="connsiteX122" fmla="*/ 1165010 w 1331530"/>
                  <a:gd name="connsiteY122" fmla="*/ 310786 h 1077251"/>
                  <a:gd name="connsiteX123" fmla="*/ 1175726 w 1331530"/>
                  <a:gd name="connsiteY123" fmla="*/ 330507 h 1077251"/>
                  <a:gd name="connsiteX124" fmla="*/ 1157316 w 1331530"/>
                  <a:gd name="connsiteY124" fmla="*/ 329196 h 1077251"/>
                  <a:gd name="connsiteX125" fmla="*/ 1147399 w 1331530"/>
                  <a:gd name="connsiteY125" fmla="*/ 342931 h 1077251"/>
                  <a:gd name="connsiteX126" fmla="*/ 1161021 w 1331530"/>
                  <a:gd name="connsiteY126" fmla="*/ 342931 h 1077251"/>
                  <a:gd name="connsiteX127" fmla="*/ 1163985 w 1331530"/>
                  <a:gd name="connsiteY127" fmla="*/ 355185 h 1077251"/>
                  <a:gd name="connsiteX128" fmla="*/ 1196700 w 1331530"/>
                  <a:gd name="connsiteY128" fmla="*/ 344470 h 1077251"/>
                  <a:gd name="connsiteX129" fmla="*/ 1203539 w 1331530"/>
                  <a:gd name="connsiteY129" fmla="*/ 357750 h 1077251"/>
                  <a:gd name="connsiteX130" fmla="*/ 1197270 w 1331530"/>
                  <a:gd name="connsiteY130" fmla="*/ 370118 h 1077251"/>
                  <a:gd name="connsiteX131" fmla="*/ 1188663 w 1331530"/>
                  <a:gd name="connsiteY131" fmla="*/ 369548 h 1077251"/>
                  <a:gd name="connsiteX132" fmla="*/ 1170710 w 1331530"/>
                  <a:gd name="connsiteY132" fmla="*/ 364988 h 1077251"/>
                  <a:gd name="connsiteX133" fmla="*/ 1148197 w 1331530"/>
                  <a:gd name="connsiteY133" fmla="*/ 363165 h 1077251"/>
                  <a:gd name="connsiteX134" fmla="*/ 1135943 w 1331530"/>
                  <a:gd name="connsiteY134" fmla="*/ 379864 h 1077251"/>
                  <a:gd name="connsiteX135" fmla="*/ 1120441 w 1331530"/>
                  <a:gd name="connsiteY135" fmla="*/ 370460 h 1077251"/>
                  <a:gd name="connsiteX136" fmla="*/ 1108757 w 1331530"/>
                  <a:gd name="connsiteY136" fmla="*/ 380092 h 1077251"/>
                  <a:gd name="connsiteX137" fmla="*/ 1121523 w 1331530"/>
                  <a:gd name="connsiteY137" fmla="*/ 390579 h 1077251"/>
                  <a:gd name="connsiteX138" fmla="*/ 1146715 w 1331530"/>
                  <a:gd name="connsiteY138" fmla="*/ 405968 h 1077251"/>
                  <a:gd name="connsiteX139" fmla="*/ 1171736 w 1331530"/>
                  <a:gd name="connsiteY139" fmla="*/ 405968 h 1077251"/>
                  <a:gd name="connsiteX140" fmla="*/ 1184902 w 1331530"/>
                  <a:gd name="connsiteY140" fmla="*/ 430874 h 1077251"/>
                  <a:gd name="connsiteX141" fmla="*/ 1181368 w 1331530"/>
                  <a:gd name="connsiteY141" fmla="*/ 440677 h 1077251"/>
                  <a:gd name="connsiteX142" fmla="*/ 1173503 w 1331530"/>
                  <a:gd name="connsiteY142" fmla="*/ 444382 h 1077251"/>
                  <a:gd name="connsiteX143" fmla="*/ 1172078 w 1331530"/>
                  <a:gd name="connsiteY143" fmla="*/ 452019 h 1077251"/>
                  <a:gd name="connsiteX144" fmla="*/ 1162218 w 1331530"/>
                  <a:gd name="connsiteY144" fmla="*/ 449284 h 1077251"/>
                  <a:gd name="connsiteX145" fmla="*/ 1135145 w 1331530"/>
                  <a:gd name="connsiteY145" fmla="*/ 446548 h 1077251"/>
                  <a:gd name="connsiteX146" fmla="*/ 1141956 w 1331530"/>
                  <a:gd name="connsiteY146" fmla="*/ 468908 h 1077251"/>
                  <a:gd name="connsiteX147" fmla="*/ 1142840 w 1331530"/>
                  <a:gd name="connsiteY147" fmla="*/ 469346 h 1077251"/>
                  <a:gd name="connsiteX148" fmla="*/ 1150135 w 1331530"/>
                  <a:gd name="connsiteY148" fmla="*/ 473791 h 1077251"/>
                  <a:gd name="connsiteX149" fmla="*/ 1151845 w 1331530"/>
                  <a:gd name="connsiteY149" fmla="*/ 480916 h 1077251"/>
                  <a:gd name="connsiteX150" fmla="*/ 1157145 w 1331530"/>
                  <a:gd name="connsiteY150" fmla="*/ 482625 h 1077251"/>
                  <a:gd name="connsiteX151" fmla="*/ 1183819 w 1331530"/>
                  <a:gd name="connsiteY151" fmla="*/ 483195 h 1077251"/>
                  <a:gd name="connsiteX152" fmla="*/ 1178120 w 1331530"/>
                  <a:gd name="connsiteY152" fmla="*/ 495620 h 1077251"/>
                  <a:gd name="connsiteX153" fmla="*/ 1163301 w 1331530"/>
                  <a:gd name="connsiteY153" fmla="*/ 497216 h 1077251"/>
                  <a:gd name="connsiteX154" fmla="*/ 1121865 w 1331530"/>
                  <a:gd name="connsiteY154" fmla="*/ 488097 h 1077251"/>
                  <a:gd name="connsiteX155" fmla="*/ 1130529 w 1331530"/>
                  <a:gd name="connsiteY155" fmla="*/ 506791 h 1077251"/>
                  <a:gd name="connsiteX156" fmla="*/ 1149679 w 1331530"/>
                  <a:gd name="connsiteY156" fmla="*/ 516309 h 1077251"/>
                  <a:gd name="connsiteX157" fmla="*/ 1151731 w 1331530"/>
                  <a:gd name="connsiteY157" fmla="*/ 530444 h 1077251"/>
                  <a:gd name="connsiteX158" fmla="*/ 1100436 w 1331530"/>
                  <a:gd name="connsiteY158" fmla="*/ 539392 h 1077251"/>
                  <a:gd name="connsiteX159" fmla="*/ 1087789 w 1331530"/>
                  <a:gd name="connsiteY159" fmla="*/ 530899 h 1077251"/>
                  <a:gd name="connsiteX160" fmla="*/ 1085332 w 1331530"/>
                  <a:gd name="connsiteY160" fmla="*/ 531698 h 1077251"/>
                  <a:gd name="connsiteX161" fmla="*/ 1083280 w 1331530"/>
                  <a:gd name="connsiteY161" fmla="*/ 521781 h 1077251"/>
                  <a:gd name="connsiteX162" fmla="*/ 1066524 w 1331530"/>
                  <a:gd name="connsiteY162" fmla="*/ 522921 h 1077251"/>
                  <a:gd name="connsiteX163" fmla="*/ 1062933 w 1331530"/>
                  <a:gd name="connsiteY163" fmla="*/ 538024 h 1077251"/>
                  <a:gd name="connsiteX164" fmla="*/ 1046461 w 1331530"/>
                  <a:gd name="connsiteY164" fmla="*/ 540475 h 1077251"/>
                  <a:gd name="connsiteX165" fmla="*/ 1043897 w 1331530"/>
                  <a:gd name="connsiteY165" fmla="*/ 557574 h 1077251"/>
                  <a:gd name="connsiteX166" fmla="*/ 1060197 w 1331530"/>
                  <a:gd name="connsiteY166" fmla="*/ 562874 h 1077251"/>
                  <a:gd name="connsiteX167" fmla="*/ 1077296 w 1331530"/>
                  <a:gd name="connsiteY167" fmla="*/ 556776 h 1077251"/>
                  <a:gd name="connsiteX168" fmla="*/ 1111207 w 1331530"/>
                  <a:gd name="connsiteY168" fmla="*/ 557517 h 1077251"/>
                  <a:gd name="connsiteX169" fmla="*/ 1117705 w 1331530"/>
                  <a:gd name="connsiteY169" fmla="*/ 560594 h 1077251"/>
                  <a:gd name="connsiteX170" fmla="*/ 1118389 w 1331530"/>
                  <a:gd name="connsiteY170" fmla="*/ 578092 h 1077251"/>
                  <a:gd name="connsiteX171" fmla="*/ 1094964 w 1331530"/>
                  <a:gd name="connsiteY171" fmla="*/ 581568 h 1077251"/>
                  <a:gd name="connsiteX172" fmla="*/ 1077866 w 1331530"/>
                  <a:gd name="connsiteY172" fmla="*/ 571708 h 1077251"/>
                  <a:gd name="connsiteX173" fmla="*/ 1064358 w 1331530"/>
                  <a:gd name="connsiteY173" fmla="*/ 580200 h 1077251"/>
                  <a:gd name="connsiteX174" fmla="*/ 1067664 w 1331530"/>
                  <a:gd name="connsiteY174" fmla="*/ 584760 h 1077251"/>
                  <a:gd name="connsiteX175" fmla="*/ 1092855 w 1331530"/>
                  <a:gd name="connsiteY175" fmla="*/ 599294 h 1077251"/>
                  <a:gd name="connsiteX176" fmla="*/ 1105736 w 1331530"/>
                  <a:gd name="connsiteY176" fmla="*/ 610066 h 1077251"/>
                  <a:gd name="connsiteX177" fmla="*/ 1115425 w 1331530"/>
                  <a:gd name="connsiteY177" fmla="*/ 622947 h 1077251"/>
                  <a:gd name="connsiteX178" fmla="*/ 1123633 w 1331530"/>
                  <a:gd name="connsiteY178" fmla="*/ 624599 h 1077251"/>
                  <a:gd name="connsiteX179" fmla="*/ 1124259 w 1331530"/>
                  <a:gd name="connsiteY179" fmla="*/ 634345 h 1077251"/>
                  <a:gd name="connsiteX180" fmla="*/ 1120327 w 1331530"/>
                  <a:gd name="connsiteY180" fmla="*/ 659822 h 1077251"/>
                  <a:gd name="connsiteX181" fmla="*/ 1116451 w 1331530"/>
                  <a:gd name="connsiteY181" fmla="*/ 668200 h 1077251"/>
                  <a:gd name="connsiteX182" fmla="*/ 1096788 w 1331530"/>
                  <a:gd name="connsiteY182" fmla="*/ 662159 h 1077251"/>
                  <a:gd name="connsiteX183" fmla="*/ 1087042 w 1331530"/>
                  <a:gd name="connsiteY183" fmla="*/ 662159 h 1077251"/>
                  <a:gd name="connsiteX184" fmla="*/ 1079291 w 1331530"/>
                  <a:gd name="connsiteY184" fmla="*/ 650760 h 1077251"/>
                  <a:gd name="connsiteX185" fmla="*/ 1070912 w 1331530"/>
                  <a:gd name="connsiteY185" fmla="*/ 646428 h 1077251"/>
                  <a:gd name="connsiteX186" fmla="*/ 1057404 w 1331530"/>
                  <a:gd name="connsiteY186" fmla="*/ 633605 h 1077251"/>
                  <a:gd name="connsiteX187" fmla="*/ 1040306 w 1331530"/>
                  <a:gd name="connsiteY187" fmla="*/ 629216 h 1077251"/>
                  <a:gd name="connsiteX188" fmla="*/ 1039166 w 1331530"/>
                  <a:gd name="connsiteY188" fmla="*/ 650589 h 1077251"/>
                  <a:gd name="connsiteX189" fmla="*/ 1023436 w 1331530"/>
                  <a:gd name="connsiteY189" fmla="*/ 663185 h 1077251"/>
                  <a:gd name="connsiteX190" fmla="*/ 1019332 w 1331530"/>
                  <a:gd name="connsiteY190" fmla="*/ 676294 h 1077251"/>
                  <a:gd name="connsiteX191" fmla="*/ 1027083 w 1331530"/>
                  <a:gd name="connsiteY191" fmla="*/ 683019 h 1077251"/>
                  <a:gd name="connsiteX192" fmla="*/ 1029078 w 1331530"/>
                  <a:gd name="connsiteY192" fmla="*/ 678060 h 1077251"/>
                  <a:gd name="connsiteX193" fmla="*/ 1038824 w 1331530"/>
                  <a:gd name="connsiteY193" fmla="*/ 674014 h 1077251"/>
                  <a:gd name="connsiteX194" fmla="*/ 1049368 w 1331530"/>
                  <a:gd name="connsiteY194" fmla="*/ 678345 h 1077251"/>
                  <a:gd name="connsiteX195" fmla="*/ 1099866 w 1331530"/>
                  <a:gd name="connsiteY195" fmla="*/ 681195 h 1077251"/>
                  <a:gd name="connsiteX196" fmla="*/ 1108529 w 1331530"/>
                  <a:gd name="connsiteY196" fmla="*/ 688148 h 1077251"/>
                  <a:gd name="connsiteX197" fmla="*/ 1099695 w 1331530"/>
                  <a:gd name="connsiteY197" fmla="*/ 693392 h 1077251"/>
                  <a:gd name="connsiteX198" fmla="*/ 1058829 w 1331530"/>
                  <a:gd name="connsiteY198" fmla="*/ 708952 h 1077251"/>
                  <a:gd name="connsiteX199" fmla="*/ 1048513 w 1331530"/>
                  <a:gd name="connsiteY199" fmla="*/ 723998 h 1077251"/>
                  <a:gd name="connsiteX200" fmla="*/ 1033581 w 1331530"/>
                  <a:gd name="connsiteY200" fmla="*/ 726392 h 1077251"/>
                  <a:gd name="connsiteX201" fmla="*/ 1020244 w 1331530"/>
                  <a:gd name="connsiteY201" fmla="*/ 735397 h 1077251"/>
                  <a:gd name="connsiteX202" fmla="*/ 1008845 w 1331530"/>
                  <a:gd name="connsiteY202" fmla="*/ 736537 h 1077251"/>
                  <a:gd name="connsiteX203" fmla="*/ 996477 w 1331530"/>
                  <a:gd name="connsiteY203" fmla="*/ 741667 h 1077251"/>
                  <a:gd name="connsiteX204" fmla="*/ 959944 w 1331530"/>
                  <a:gd name="connsiteY204" fmla="*/ 741667 h 1077251"/>
                  <a:gd name="connsiteX205" fmla="*/ 953275 w 1331530"/>
                  <a:gd name="connsiteY205" fmla="*/ 743319 h 1077251"/>
                  <a:gd name="connsiteX206" fmla="*/ 943586 w 1331530"/>
                  <a:gd name="connsiteY206" fmla="*/ 761615 h 1077251"/>
                  <a:gd name="connsiteX207" fmla="*/ 912182 w 1331530"/>
                  <a:gd name="connsiteY207" fmla="*/ 763951 h 1077251"/>
                  <a:gd name="connsiteX208" fmla="*/ 908705 w 1331530"/>
                  <a:gd name="connsiteY208" fmla="*/ 755630 h 1077251"/>
                  <a:gd name="connsiteX209" fmla="*/ 892690 w 1331530"/>
                  <a:gd name="connsiteY209" fmla="*/ 753236 h 1077251"/>
                  <a:gd name="connsiteX210" fmla="*/ 889498 w 1331530"/>
                  <a:gd name="connsiteY210" fmla="*/ 772672 h 1077251"/>
                  <a:gd name="connsiteX211" fmla="*/ 863566 w 1331530"/>
                  <a:gd name="connsiteY211" fmla="*/ 789770 h 1077251"/>
                  <a:gd name="connsiteX212" fmla="*/ 859576 w 1331530"/>
                  <a:gd name="connsiteY212" fmla="*/ 813879 h 1077251"/>
                  <a:gd name="connsiteX213" fmla="*/ 831079 w 1331530"/>
                  <a:gd name="connsiteY213" fmla="*/ 837874 h 1077251"/>
                  <a:gd name="connsiteX214" fmla="*/ 793120 w 1331530"/>
                  <a:gd name="connsiteY214" fmla="*/ 851951 h 1077251"/>
                  <a:gd name="connsiteX215" fmla="*/ 772488 w 1331530"/>
                  <a:gd name="connsiteY215" fmla="*/ 857993 h 1077251"/>
                  <a:gd name="connsiteX216" fmla="*/ 760177 w 1331530"/>
                  <a:gd name="connsiteY216" fmla="*/ 831718 h 1077251"/>
                  <a:gd name="connsiteX217" fmla="*/ 752483 w 1331530"/>
                  <a:gd name="connsiteY217" fmla="*/ 858050 h 1077251"/>
                  <a:gd name="connsiteX218" fmla="*/ 723358 w 1331530"/>
                  <a:gd name="connsiteY218" fmla="*/ 860671 h 1077251"/>
                  <a:gd name="connsiteX219" fmla="*/ 719711 w 1331530"/>
                  <a:gd name="connsiteY219" fmla="*/ 886661 h 1077251"/>
                  <a:gd name="connsiteX220" fmla="*/ 695556 w 1331530"/>
                  <a:gd name="connsiteY220" fmla="*/ 872561 h 1077251"/>
                  <a:gd name="connsiteX221" fmla="*/ 691954 w 1331530"/>
                  <a:gd name="connsiteY221" fmla="*/ 873894 h 1077251"/>
                  <a:gd name="connsiteX222" fmla="*/ 704322 w 1331530"/>
                  <a:gd name="connsiteY222" fmla="*/ 887231 h 1077251"/>
                  <a:gd name="connsiteX223" fmla="*/ 712643 w 1331530"/>
                  <a:gd name="connsiteY223" fmla="*/ 902278 h 1077251"/>
                  <a:gd name="connsiteX224" fmla="*/ 703809 w 1331530"/>
                  <a:gd name="connsiteY224" fmla="*/ 899770 h 1077251"/>
                  <a:gd name="connsiteX225" fmla="*/ 714068 w 1331530"/>
                  <a:gd name="connsiteY225" fmla="*/ 912993 h 1077251"/>
                  <a:gd name="connsiteX226" fmla="*/ 696970 w 1331530"/>
                  <a:gd name="connsiteY226" fmla="*/ 918122 h 1077251"/>
                  <a:gd name="connsiteX227" fmla="*/ 705804 w 1331530"/>
                  <a:gd name="connsiteY227" fmla="*/ 929521 h 1077251"/>
                  <a:gd name="connsiteX228" fmla="*/ 690244 w 1331530"/>
                  <a:gd name="connsiteY228" fmla="*/ 941262 h 1077251"/>
                  <a:gd name="connsiteX229" fmla="*/ 692752 w 1331530"/>
                  <a:gd name="connsiteY229" fmla="*/ 959215 h 1077251"/>
                  <a:gd name="connsiteX230" fmla="*/ 674742 w 1331530"/>
                  <a:gd name="connsiteY230" fmla="*/ 969132 h 1077251"/>
                  <a:gd name="connsiteX231" fmla="*/ 658669 w 1331530"/>
                  <a:gd name="connsiteY231" fmla="*/ 974148 h 1077251"/>
                  <a:gd name="connsiteX232" fmla="*/ 662488 w 1331530"/>
                  <a:gd name="connsiteY232" fmla="*/ 991645 h 1077251"/>
                  <a:gd name="connsiteX233" fmla="*/ 670524 w 1331530"/>
                  <a:gd name="connsiteY233" fmla="*/ 1008288 h 1077251"/>
                  <a:gd name="connsiteX234" fmla="*/ 659752 w 1331530"/>
                  <a:gd name="connsiteY234" fmla="*/ 1019972 h 1077251"/>
                  <a:gd name="connsiteX235" fmla="*/ 660835 w 1331530"/>
                  <a:gd name="connsiteY235" fmla="*/ 1047614 h 1077251"/>
                  <a:gd name="connsiteX236" fmla="*/ 642939 w 1331530"/>
                  <a:gd name="connsiteY236" fmla="*/ 1066708 h 1077251"/>
                  <a:gd name="connsiteX237" fmla="*/ 638892 w 1331530"/>
                  <a:gd name="connsiteY237" fmla="*/ 1077251 h 1077251"/>
                  <a:gd name="connsiteX238" fmla="*/ 626581 w 1331530"/>
                  <a:gd name="connsiteY238" fmla="*/ 1065226 h 1077251"/>
                  <a:gd name="connsiteX239" fmla="*/ 602302 w 1331530"/>
                  <a:gd name="connsiteY239" fmla="*/ 1059526 h 1077251"/>
                  <a:gd name="connsiteX240" fmla="*/ 596602 w 1331530"/>
                  <a:gd name="connsiteY240" fmla="*/ 1050692 h 1077251"/>
                  <a:gd name="connsiteX241" fmla="*/ 566452 w 1331530"/>
                  <a:gd name="connsiteY241" fmla="*/ 1045562 h 1077251"/>
                  <a:gd name="connsiteX242" fmla="*/ 546960 w 1331530"/>
                  <a:gd name="connsiteY242" fmla="*/ 1034163 h 1077251"/>
                  <a:gd name="connsiteX243" fmla="*/ 525644 w 1331530"/>
                  <a:gd name="connsiteY243" fmla="*/ 1031257 h 1077251"/>
                  <a:gd name="connsiteX244" fmla="*/ 520856 w 1331530"/>
                  <a:gd name="connsiteY244" fmla="*/ 1008459 h 1077251"/>
                  <a:gd name="connsiteX245" fmla="*/ 503758 w 1331530"/>
                  <a:gd name="connsiteY245" fmla="*/ 990392 h 1077251"/>
                  <a:gd name="connsiteX246" fmla="*/ 500452 w 1331530"/>
                  <a:gd name="connsiteY246" fmla="*/ 953231 h 1077251"/>
                  <a:gd name="connsiteX247" fmla="*/ 484322 w 1331530"/>
                  <a:gd name="connsiteY247" fmla="*/ 948614 h 1077251"/>
                  <a:gd name="connsiteX248" fmla="*/ 479136 w 1331530"/>
                  <a:gd name="connsiteY248" fmla="*/ 933967 h 1077251"/>
                  <a:gd name="connsiteX249" fmla="*/ 466996 w 1331530"/>
                  <a:gd name="connsiteY249" fmla="*/ 926842 h 1077251"/>
                  <a:gd name="connsiteX250" fmla="*/ 459359 w 1331530"/>
                  <a:gd name="connsiteY250" fmla="*/ 913506 h 1077251"/>
                  <a:gd name="connsiteX251" fmla="*/ 449898 w 1331530"/>
                  <a:gd name="connsiteY251" fmla="*/ 906438 h 1077251"/>
                  <a:gd name="connsiteX252" fmla="*/ 457079 w 1331530"/>
                  <a:gd name="connsiteY252" fmla="*/ 891962 h 1077251"/>
                  <a:gd name="connsiteX253" fmla="*/ 448815 w 1331530"/>
                  <a:gd name="connsiteY253" fmla="*/ 867283 h 1077251"/>
                  <a:gd name="connsiteX254" fmla="*/ 426359 w 1331530"/>
                  <a:gd name="connsiteY254" fmla="*/ 850184 h 1077251"/>
                  <a:gd name="connsiteX255" fmla="*/ 429664 w 1331530"/>
                  <a:gd name="connsiteY255" fmla="*/ 826019 h 1077251"/>
                  <a:gd name="connsiteX256" fmla="*/ 443343 w 1331530"/>
                  <a:gd name="connsiteY256" fmla="*/ 822371 h 1077251"/>
                  <a:gd name="connsiteX257" fmla="*/ 431944 w 1331530"/>
                  <a:gd name="connsiteY257" fmla="*/ 805273 h 1077251"/>
                  <a:gd name="connsiteX258" fmla="*/ 415815 w 1331530"/>
                  <a:gd name="connsiteY258" fmla="*/ 789998 h 1077251"/>
                  <a:gd name="connsiteX259" fmla="*/ 422483 w 1331530"/>
                  <a:gd name="connsiteY259" fmla="*/ 782304 h 1077251"/>
                  <a:gd name="connsiteX260" fmla="*/ 433882 w 1331530"/>
                  <a:gd name="connsiteY260" fmla="*/ 757283 h 1077251"/>
                  <a:gd name="connsiteX261" fmla="*/ 469675 w 1331530"/>
                  <a:gd name="connsiteY261" fmla="*/ 744573 h 1077251"/>
                  <a:gd name="connsiteX262" fmla="*/ 479706 w 1331530"/>
                  <a:gd name="connsiteY262" fmla="*/ 748905 h 1077251"/>
                  <a:gd name="connsiteX263" fmla="*/ 491105 w 1331530"/>
                  <a:gd name="connsiteY263" fmla="*/ 706957 h 1077251"/>
                  <a:gd name="connsiteX264" fmla="*/ 456623 w 1331530"/>
                  <a:gd name="connsiteY264" fmla="*/ 675325 h 1077251"/>
                  <a:gd name="connsiteX265" fmla="*/ 413307 w 1331530"/>
                  <a:gd name="connsiteY265" fmla="*/ 652527 h 1077251"/>
                  <a:gd name="connsiteX266" fmla="*/ 482214 w 1331530"/>
                  <a:gd name="connsiteY266" fmla="*/ 669055 h 1077251"/>
                  <a:gd name="connsiteX267" fmla="*/ 471784 w 1331530"/>
                  <a:gd name="connsiteY267" fmla="*/ 648936 h 1077251"/>
                  <a:gd name="connsiteX268" fmla="*/ 437302 w 1331530"/>
                  <a:gd name="connsiteY268" fmla="*/ 631040 h 1077251"/>
                  <a:gd name="connsiteX269" fmla="*/ 433540 w 1331530"/>
                  <a:gd name="connsiteY269" fmla="*/ 603340 h 1077251"/>
                  <a:gd name="connsiteX270" fmla="*/ 405043 w 1331530"/>
                  <a:gd name="connsiteY270" fmla="*/ 609610 h 1077251"/>
                  <a:gd name="connsiteX271" fmla="*/ 392675 w 1331530"/>
                  <a:gd name="connsiteY271" fmla="*/ 616962 h 1077251"/>
                  <a:gd name="connsiteX272" fmla="*/ 386691 w 1331530"/>
                  <a:gd name="connsiteY272" fmla="*/ 609724 h 1077251"/>
                  <a:gd name="connsiteX273" fmla="*/ 381960 w 1331530"/>
                  <a:gd name="connsiteY273" fmla="*/ 584133 h 1077251"/>
                  <a:gd name="connsiteX274" fmla="*/ 383499 w 1331530"/>
                  <a:gd name="connsiteY274" fmla="*/ 577009 h 1077251"/>
                  <a:gd name="connsiteX275" fmla="*/ 401053 w 1331530"/>
                  <a:gd name="connsiteY275" fmla="*/ 564356 h 1077251"/>
                  <a:gd name="connsiteX276" fmla="*/ 385664 w 1331530"/>
                  <a:gd name="connsiteY276" fmla="*/ 552387 h 1077251"/>
                  <a:gd name="connsiteX277" fmla="*/ 386576 w 1331530"/>
                  <a:gd name="connsiteY277" fmla="*/ 546688 h 1077251"/>
                  <a:gd name="connsiteX278" fmla="*/ 370048 w 1331530"/>
                  <a:gd name="connsiteY278" fmla="*/ 517449 h 1077251"/>
                  <a:gd name="connsiteX279" fmla="*/ 363893 w 1331530"/>
                  <a:gd name="connsiteY279" fmla="*/ 488325 h 1077251"/>
                  <a:gd name="connsiteX280" fmla="*/ 350841 w 1331530"/>
                  <a:gd name="connsiteY280" fmla="*/ 476242 h 1077251"/>
                  <a:gd name="connsiteX281" fmla="*/ 330665 w 1331530"/>
                  <a:gd name="connsiteY281" fmla="*/ 460455 h 1077251"/>
                  <a:gd name="connsiteX282" fmla="*/ 320862 w 1331530"/>
                  <a:gd name="connsiteY282" fmla="*/ 448657 h 1077251"/>
                  <a:gd name="connsiteX283" fmla="*/ 319608 w 1331530"/>
                  <a:gd name="connsiteY283" fmla="*/ 440905 h 1077251"/>
                  <a:gd name="connsiteX284" fmla="*/ 283359 w 1331530"/>
                  <a:gd name="connsiteY284" fmla="*/ 416170 h 1077251"/>
                  <a:gd name="connsiteX285" fmla="*/ 279198 w 1331530"/>
                  <a:gd name="connsiteY285" fmla="*/ 409273 h 1077251"/>
                  <a:gd name="connsiteX286" fmla="*/ 273841 w 1331530"/>
                  <a:gd name="connsiteY286" fmla="*/ 408190 h 1077251"/>
                  <a:gd name="connsiteX287" fmla="*/ 199292 w 1331530"/>
                  <a:gd name="connsiteY287" fmla="*/ 390294 h 1077251"/>
                  <a:gd name="connsiteX288" fmla="*/ 195074 w 1331530"/>
                  <a:gd name="connsiteY288" fmla="*/ 401281 h 1077251"/>
                  <a:gd name="connsiteX289" fmla="*/ 193934 w 1331530"/>
                  <a:gd name="connsiteY289" fmla="*/ 401693 h 1077251"/>
                  <a:gd name="connsiteX290" fmla="*/ 181224 w 1331530"/>
                  <a:gd name="connsiteY290" fmla="*/ 398216 h 1077251"/>
                  <a:gd name="connsiteX291" fmla="*/ 168914 w 1331530"/>
                  <a:gd name="connsiteY291" fmla="*/ 399242 h 1077251"/>
                  <a:gd name="connsiteX292" fmla="*/ 166235 w 1331530"/>
                  <a:gd name="connsiteY292" fmla="*/ 407563 h 1077251"/>
                  <a:gd name="connsiteX293" fmla="*/ 152687 w 1331530"/>
                  <a:gd name="connsiteY293" fmla="*/ 409619 h 1077251"/>
                  <a:gd name="connsiteX294" fmla="*/ 152385 w 1331530"/>
                  <a:gd name="connsiteY294" fmla="*/ 409387 h 1077251"/>
                  <a:gd name="connsiteX295" fmla="*/ 144178 w 1331530"/>
                  <a:gd name="connsiteY295" fmla="*/ 396050 h 1077251"/>
                  <a:gd name="connsiteX296" fmla="*/ 132779 w 1331530"/>
                  <a:gd name="connsiteY296" fmla="*/ 396050 h 1077251"/>
                  <a:gd name="connsiteX297" fmla="*/ 131924 w 1331530"/>
                  <a:gd name="connsiteY297" fmla="*/ 417879 h 1077251"/>
                  <a:gd name="connsiteX298" fmla="*/ 105421 w 1331530"/>
                  <a:gd name="connsiteY298" fmla="*/ 410413 h 1077251"/>
                  <a:gd name="connsiteX299" fmla="*/ 76525 w 1331530"/>
                  <a:gd name="connsiteY299" fmla="*/ 398729 h 1077251"/>
                  <a:gd name="connsiteX300" fmla="*/ 65126 w 1331530"/>
                  <a:gd name="connsiteY300" fmla="*/ 385278 h 1077251"/>
                  <a:gd name="connsiteX301" fmla="*/ 79888 w 1331530"/>
                  <a:gd name="connsiteY301" fmla="*/ 384823 h 1077251"/>
                  <a:gd name="connsiteX302" fmla="*/ 80686 w 1331530"/>
                  <a:gd name="connsiteY302" fmla="*/ 372227 h 1077251"/>
                  <a:gd name="connsiteX303" fmla="*/ 36572 w 1331530"/>
                  <a:gd name="connsiteY303" fmla="*/ 361911 h 1077251"/>
                  <a:gd name="connsiteX304" fmla="*/ 397690 w 1331530"/>
                  <a:gd name="connsiteY304" fmla="*/ 686382 h 1077251"/>
                  <a:gd name="connsiteX305" fmla="*/ 395525 w 1331530"/>
                  <a:gd name="connsiteY305" fmla="*/ 693392 h 1077251"/>
                  <a:gd name="connsiteX306" fmla="*/ 409089 w 1331530"/>
                  <a:gd name="connsiteY306" fmla="*/ 708268 h 1077251"/>
                  <a:gd name="connsiteX307" fmla="*/ 428639 w 1331530"/>
                  <a:gd name="connsiteY307" fmla="*/ 725024 h 1077251"/>
                  <a:gd name="connsiteX308" fmla="*/ 444198 w 1331530"/>
                  <a:gd name="connsiteY308" fmla="*/ 721490 h 1077251"/>
                  <a:gd name="connsiteX309" fmla="*/ 451265 w 1331530"/>
                  <a:gd name="connsiteY309" fmla="*/ 716190 h 1077251"/>
                  <a:gd name="connsiteX310" fmla="*/ 452690 w 1331530"/>
                  <a:gd name="connsiteY310" fmla="*/ 707812 h 1077251"/>
                  <a:gd name="connsiteX311" fmla="*/ 446307 w 1331530"/>
                  <a:gd name="connsiteY311" fmla="*/ 697439 h 1077251"/>
                  <a:gd name="connsiteX312" fmla="*/ 439809 w 1331530"/>
                  <a:gd name="connsiteY312" fmla="*/ 689345 h 1077251"/>
                  <a:gd name="connsiteX313" fmla="*/ 421970 w 1331530"/>
                  <a:gd name="connsiteY313" fmla="*/ 677547 h 1077251"/>
                  <a:gd name="connsiteX314" fmla="*/ 409317 w 1331530"/>
                  <a:gd name="connsiteY314" fmla="*/ 674755 h 1077251"/>
                  <a:gd name="connsiteX315" fmla="*/ 397690 w 1331530"/>
                  <a:gd name="connsiteY315" fmla="*/ 686382 h 107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1331530" h="1077251">
                    <a:moveTo>
                      <a:pt x="36572" y="361911"/>
                    </a:moveTo>
                    <a:cubicBezTo>
                      <a:pt x="38111" y="355470"/>
                      <a:pt x="45748" y="352450"/>
                      <a:pt x="52416" y="352621"/>
                    </a:cubicBezTo>
                    <a:cubicBezTo>
                      <a:pt x="59085" y="352792"/>
                      <a:pt x="65525" y="355014"/>
                      <a:pt x="72137" y="354672"/>
                    </a:cubicBezTo>
                    <a:cubicBezTo>
                      <a:pt x="84789" y="353988"/>
                      <a:pt x="96245" y="343900"/>
                      <a:pt x="108784" y="345895"/>
                    </a:cubicBezTo>
                    <a:cubicBezTo>
                      <a:pt x="114997" y="347741"/>
                      <a:pt x="120998" y="350244"/>
                      <a:pt x="126680" y="353361"/>
                    </a:cubicBezTo>
                    <a:cubicBezTo>
                      <a:pt x="132779" y="355755"/>
                      <a:pt x="140872" y="355869"/>
                      <a:pt x="144577" y="350512"/>
                    </a:cubicBezTo>
                    <a:cubicBezTo>
                      <a:pt x="144577" y="347181"/>
                      <a:pt x="142474" y="344213"/>
                      <a:pt x="139333" y="343102"/>
                    </a:cubicBezTo>
                    <a:cubicBezTo>
                      <a:pt x="142582" y="343843"/>
                      <a:pt x="147882" y="341393"/>
                      <a:pt x="145489" y="338999"/>
                    </a:cubicBezTo>
                    <a:cubicBezTo>
                      <a:pt x="137908" y="329880"/>
                      <a:pt x="127364" y="319792"/>
                      <a:pt x="116022" y="323211"/>
                    </a:cubicBezTo>
                    <a:cubicBezTo>
                      <a:pt x="111298" y="325338"/>
                      <a:pt x="106806" y="327955"/>
                      <a:pt x="102629" y="331020"/>
                    </a:cubicBezTo>
                    <a:cubicBezTo>
                      <a:pt x="89520" y="338144"/>
                      <a:pt x="73333" y="332786"/>
                      <a:pt x="59655" y="326859"/>
                    </a:cubicBezTo>
                    <a:cubicBezTo>
                      <a:pt x="40561" y="319165"/>
                      <a:pt x="21468" y="309533"/>
                      <a:pt x="665" y="309475"/>
                    </a:cubicBezTo>
                    <a:cubicBezTo>
                      <a:pt x="-2356" y="300527"/>
                      <a:pt x="5396" y="291180"/>
                      <a:pt x="14173" y="287647"/>
                    </a:cubicBezTo>
                    <a:cubicBezTo>
                      <a:pt x="22950" y="284113"/>
                      <a:pt x="32696" y="284113"/>
                      <a:pt x="41701" y="281206"/>
                    </a:cubicBezTo>
                    <a:cubicBezTo>
                      <a:pt x="54753" y="277102"/>
                      <a:pt x="65183" y="267185"/>
                      <a:pt x="77722" y="261657"/>
                    </a:cubicBezTo>
                    <a:cubicBezTo>
                      <a:pt x="98867" y="252310"/>
                      <a:pt x="123318" y="256299"/>
                      <a:pt x="146116" y="258123"/>
                    </a:cubicBezTo>
                    <a:cubicBezTo>
                      <a:pt x="150442" y="259129"/>
                      <a:pt x="154984" y="257982"/>
                      <a:pt x="158313" y="255046"/>
                    </a:cubicBezTo>
                    <a:cubicBezTo>
                      <a:pt x="161333" y="251341"/>
                      <a:pt x="159794" y="245926"/>
                      <a:pt x="160478" y="241253"/>
                    </a:cubicBezTo>
                    <a:cubicBezTo>
                      <a:pt x="161447" y="234299"/>
                      <a:pt x="167147" y="229113"/>
                      <a:pt x="171250" y="223413"/>
                    </a:cubicBezTo>
                    <a:cubicBezTo>
                      <a:pt x="175354" y="217714"/>
                      <a:pt x="177634" y="208937"/>
                      <a:pt x="172333" y="204263"/>
                    </a:cubicBezTo>
                    <a:cubicBezTo>
                      <a:pt x="168988" y="202003"/>
                      <a:pt x="164958" y="200976"/>
                      <a:pt x="160934" y="201357"/>
                    </a:cubicBezTo>
                    <a:lnTo>
                      <a:pt x="121038" y="200901"/>
                    </a:lnTo>
                    <a:cubicBezTo>
                      <a:pt x="119784" y="197994"/>
                      <a:pt x="118473" y="195201"/>
                      <a:pt x="117162" y="192180"/>
                    </a:cubicBezTo>
                    <a:cubicBezTo>
                      <a:pt x="125603" y="189038"/>
                      <a:pt x="133434" y="184447"/>
                      <a:pt x="140302" y="178616"/>
                    </a:cubicBezTo>
                    <a:cubicBezTo>
                      <a:pt x="142525" y="176735"/>
                      <a:pt x="144634" y="174740"/>
                      <a:pt x="146914" y="172916"/>
                    </a:cubicBezTo>
                    <a:cubicBezTo>
                      <a:pt x="150168" y="170548"/>
                      <a:pt x="153599" y="168433"/>
                      <a:pt x="157173" y="166590"/>
                    </a:cubicBezTo>
                    <a:lnTo>
                      <a:pt x="183447" y="152227"/>
                    </a:lnTo>
                    <a:cubicBezTo>
                      <a:pt x="192669" y="146561"/>
                      <a:pt x="202700" y="142333"/>
                      <a:pt x="213199" y="139688"/>
                    </a:cubicBezTo>
                    <a:cubicBezTo>
                      <a:pt x="223874" y="137109"/>
                      <a:pt x="235142" y="139590"/>
                      <a:pt x="243748" y="146414"/>
                    </a:cubicBezTo>
                    <a:cubicBezTo>
                      <a:pt x="245971" y="149013"/>
                      <a:pt x="248843" y="150979"/>
                      <a:pt x="252069" y="152113"/>
                    </a:cubicBezTo>
                    <a:cubicBezTo>
                      <a:pt x="259649" y="153538"/>
                      <a:pt x="263468" y="143108"/>
                      <a:pt x="262556" y="135471"/>
                    </a:cubicBezTo>
                    <a:cubicBezTo>
                      <a:pt x="261085" y="125278"/>
                      <a:pt x="256155" y="115901"/>
                      <a:pt x="248592" y="108911"/>
                    </a:cubicBezTo>
                    <a:cubicBezTo>
                      <a:pt x="264209" y="101559"/>
                      <a:pt x="282789" y="94263"/>
                      <a:pt x="297950" y="102357"/>
                    </a:cubicBezTo>
                    <a:cubicBezTo>
                      <a:pt x="305872" y="106631"/>
                      <a:pt x="311913" y="114725"/>
                      <a:pt x="320748" y="116263"/>
                    </a:cubicBezTo>
                    <a:cubicBezTo>
                      <a:pt x="320708" y="106773"/>
                      <a:pt x="316547" y="97768"/>
                      <a:pt x="309349" y="91585"/>
                    </a:cubicBezTo>
                    <a:lnTo>
                      <a:pt x="388229" y="74885"/>
                    </a:lnTo>
                    <a:cubicBezTo>
                      <a:pt x="395981" y="73232"/>
                      <a:pt x="404473" y="71693"/>
                      <a:pt x="411369" y="75569"/>
                    </a:cubicBezTo>
                    <a:cubicBezTo>
                      <a:pt x="423908" y="82579"/>
                      <a:pt x="422084" y="101274"/>
                      <a:pt x="416214" y="114326"/>
                    </a:cubicBezTo>
                    <a:cubicBezTo>
                      <a:pt x="414914" y="116605"/>
                      <a:pt x="414190" y="119168"/>
                      <a:pt x="414105" y="121792"/>
                    </a:cubicBezTo>
                    <a:cubicBezTo>
                      <a:pt x="414561" y="129600"/>
                      <a:pt x="426872" y="131196"/>
                      <a:pt x="432172" y="125497"/>
                    </a:cubicBezTo>
                    <a:cubicBezTo>
                      <a:pt x="437473" y="119797"/>
                      <a:pt x="437872" y="111134"/>
                      <a:pt x="437473" y="103326"/>
                    </a:cubicBezTo>
                    <a:cubicBezTo>
                      <a:pt x="437473" y="96600"/>
                      <a:pt x="437473" y="89818"/>
                      <a:pt x="437017" y="83092"/>
                    </a:cubicBezTo>
                    <a:cubicBezTo>
                      <a:pt x="437017" y="78761"/>
                      <a:pt x="437872" y="73118"/>
                      <a:pt x="442146" y="72491"/>
                    </a:cubicBezTo>
                    <a:cubicBezTo>
                      <a:pt x="444643" y="72505"/>
                      <a:pt x="447019" y="73558"/>
                      <a:pt x="448701" y="75398"/>
                    </a:cubicBezTo>
                    <a:cubicBezTo>
                      <a:pt x="457318" y="83623"/>
                      <a:pt x="466774" y="90921"/>
                      <a:pt x="476913" y="97170"/>
                    </a:cubicBezTo>
                    <a:cubicBezTo>
                      <a:pt x="487184" y="103437"/>
                      <a:pt x="499688" y="104875"/>
                      <a:pt x="511110" y="101103"/>
                    </a:cubicBezTo>
                    <a:cubicBezTo>
                      <a:pt x="512763" y="96999"/>
                      <a:pt x="509115" y="92782"/>
                      <a:pt x="505752" y="89704"/>
                    </a:cubicBezTo>
                    <a:lnTo>
                      <a:pt x="481416" y="68388"/>
                    </a:lnTo>
                    <a:cubicBezTo>
                      <a:pt x="493157" y="56989"/>
                      <a:pt x="512991" y="60807"/>
                      <a:pt x="527012" y="68958"/>
                    </a:cubicBezTo>
                    <a:cubicBezTo>
                      <a:pt x="541032" y="77108"/>
                      <a:pt x="554369" y="88792"/>
                      <a:pt x="570612" y="91186"/>
                    </a:cubicBezTo>
                    <a:cubicBezTo>
                      <a:pt x="575070" y="91412"/>
                      <a:pt x="579481" y="92236"/>
                      <a:pt x="583721" y="93636"/>
                    </a:cubicBezTo>
                    <a:cubicBezTo>
                      <a:pt x="587306" y="95434"/>
                      <a:pt x="590583" y="97802"/>
                      <a:pt x="593410" y="100647"/>
                    </a:cubicBezTo>
                    <a:cubicBezTo>
                      <a:pt x="603584" y="109667"/>
                      <a:pt x="615724" y="116186"/>
                      <a:pt x="628861" y="119683"/>
                    </a:cubicBezTo>
                    <a:cubicBezTo>
                      <a:pt x="635586" y="113585"/>
                      <a:pt x="627550" y="102984"/>
                      <a:pt x="619856" y="98196"/>
                    </a:cubicBezTo>
                    <a:cubicBezTo>
                      <a:pt x="606320" y="89785"/>
                      <a:pt x="591980" y="82740"/>
                      <a:pt x="577053" y="77165"/>
                    </a:cubicBezTo>
                    <a:cubicBezTo>
                      <a:pt x="573707" y="76382"/>
                      <a:pt x="570789" y="74341"/>
                      <a:pt x="568903" y="71466"/>
                    </a:cubicBezTo>
                    <a:cubicBezTo>
                      <a:pt x="566224" y="65766"/>
                      <a:pt x="573519" y="59668"/>
                      <a:pt x="579903" y="59554"/>
                    </a:cubicBezTo>
                    <a:cubicBezTo>
                      <a:pt x="586286" y="59440"/>
                      <a:pt x="592612" y="62346"/>
                      <a:pt x="598996" y="61548"/>
                    </a:cubicBezTo>
                    <a:cubicBezTo>
                      <a:pt x="600996" y="61424"/>
                      <a:pt x="602883" y="60573"/>
                      <a:pt x="604296" y="59155"/>
                    </a:cubicBezTo>
                    <a:cubicBezTo>
                      <a:pt x="608799" y="53797"/>
                      <a:pt x="600193" y="47072"/>
                      <a:pt x="593296" y="45704"/>
                    </a:cubicBezTo>
                    <a:cubicBezTo>
                      <a:pt x="586400" y="44336"/>
                      <a:pt x="577167" y="39548"/>
                      <a:pt x="580131" y="33222"/>
                    </a:cubicBezTo>
                    <a:lnTo>
                      <a:pt x="637125" y="30429"/>
                    </a:lnTo>
                    <a:cubicBezTo>
                      <a:pt x="652970" y="17435"/>
                      <a:pt x="676338" y="29631"/>
                      <a:pt x="696514" y="26041"/>
                    </a:cubicBezTo>
                    <a:cubicBezTo>
                      <a:pt x="706830" y="24217"/>
                      <a:pt x="716519" y="18574"/>
                      <a:pt x="727006" y="18688"/>
                    </a:cubicBezTo>
                    <a:cubicBezTo>
                      <a:pt x="737493" y="18802"/>
                      <a:pt x="748949" y="29175"/>
                      <a:pt x="744104" y="38580"/>
                    </a:cubicBezTo>
                    <a:lnTo>
                      <a:pt x="758068" y="41030"/>
                    </a:lnTo>
                    <a:cubicBezTo>
                      <a:pt x="764098" y="36891"/>
                      <a:pt x="766464" y="29134"/>
                      <a:pt x="763768" y="22336"/>
                    </a:cubicBezTo>
                    <a:cubicBezTo>
                      <a:pt x="762525" y="20273"/>
                      <a:pt x="761761" y="17954"/>
                      <a:pt x="761545" y="15554"/>
                    </a:cubicBezTo>
                    <a:cubicBezTo>
                      <a:pt x="761944" y="10994"/>
                      <a:pt x="767643" y="9341"/>
                      <a:pt x="772146" y="8828"/>
                    </a:cubicBezTo>
                    <a:cubicBezTo>
                      <a:pt x="809232" y="4345"/>
                      <a:pt x="846427" y="1514"/>
                      <a:pt x="883742" y="336"/>
                    </a:cubicBezTo>
                    <a:cubicBezTo>
                      <a:pt x="908135" y="-405"/>
                      <a:pt x="932928" y="-462"/>
                      <a:pt x="956353" y="6036"/>
                    </a:cubicBezTo>
                    <a:cubicBezTo>
                      <a:pt x="964395" y="8920"/>
                      <a:pt x="972619" y="11262"/>
                      <a:pt x="980975" y="13046"/>
                    </a:cubicBezTo>
                    <a:cubicBezTo>
                      <a:pt x="995850" y="15269"/>
                      <a:pt x="1011980" y="11507"/>
                      <a:pt x="1025487" y="18118"/>
                    </a:cubicBezTo>
                    <a:cubicBezTo>
                      <a:pt x="1035177" y="22906"/>
                      <a:pt x="1045436" y="32823"/>
                      <a:pt x="1054783" y="27466"/>
                    </a:cubicBezTo>
                    <a:lnTo>
                      <a:pt x="1058202" y="43709"/>
                    </a:lnTo>
                    <a:cubicBezTo>
                      <a:pt x="1079085" y="42239"/>
                      <a:pt x="1100076" y="43697"/>
                      <a:pt x="1120555" y="48041"/>
                    </a:cubicBezTo>
                    <a:cubicBezTo>
                      <a:pt x="1125969" y="49181"/>
                      <a:pt x="1132752" y="54766"/>
                      <a:pt x="1128819" y="58642"/>
                    </a:cubicBezTo>
                    <a:lnTo>
                      <a:pt x="1074845" y="71978"/>
                    </a:lnTo>
                    <a:cubicBezTo>
                      <a:pt x="1070342" y="73118"/>
                      <a:pt x="1065897" y="74201"/>
                      <a:pt x="1061337" y="74885"/>
                    </a:cubicBezTo>
                    <a:cubicBezTo>
                      <a:pt x="1056008" y="75589"/>
                      <a:pt x="1050639" y="76007"/>
                      <a:pt x="1045265" y="76139"/>
                    </a:cubicBezTo>
                    <a:lnTo>
                      <a:pt x="962166" y="79388"/>
                    </a:lnTo>
                    <a:cubicBezTo>
                      <a:pt x="954985" y="79673"/>
                      <a:pt x="945068" y="83890"/>
                      <a:pt x="947690" y="90787"/>
                    </a:cubicBezTo>
                    <a:cubicBezTo>
                      <a:pt x="926807" y="86158"/>
                      <a:pt x="904938" y="89990"/>
                      <a:pt x="886876" y="101445"/>
                    </a:cubicBezTo>
                    <a:cubicBezTo>
                      <a:pt x="880778" y="105320"/>
                      <a:pt x="875135" y="114554"/>
                      <a:pt x="881177" y="118543"/>
                    </a:cubicBezTo>
                    <a:cubicBezTo>
                      <a:pt x="928346" y="104329"/>
                      <a:pt x="977162" y="96283"/>
                      <a:pt x="1026399" y="94605"/>
                    </a:cubicBezTo>
                    <a:cubicBezTo>
                      <a:pt x="1031700" y="94605"/>
                      <a:pt x="1038596" y="95574"/>
                      <a:pt x="1039451" y="100761"/>
                    </a:cubicBezTo>
                    <a:lnTo>
                      <a:pt x="1007990" y="117859"/>
                    </a:lnTo>
                    <a:cubicBezTo>
                      <a:pt x="1004000" y="120025"/>
                      <a:pt x="999612" y="122704"/>
                      <a:pt x="998700" y="127092"/>
                    </a:cubicBezTo>
                    <a:cubicBezTo>
                      <a:pt x="997446" y="133077"/>
                      <a:pt x="1003772" y="138491"/>
                      <a:pt x="1010099" y="138491"/>
                    </a:cubicBezTo>
                    <a:cubicBezTo>
                      <a:pt x="1016209" y="138001"/>
                      <a:pt x="1022033" y="135721"/>
                      <a:pt x="1026855" y="131937"/>
                    </a:cubicBezTo>
                    <a:lnTo>
                      <a:pt x="1080601" y="97740"/>
                    </a:lnTo>
                    <a:cubicBezTo>
                      <a:pt x="1088239" y="92782"/>
                      <a:pt x="1097700" y="87709"/>
                      <a:pt x="1105964" y="91471"/>
                    </a:cubicBezTo>
                    <a:cubicBezTo>
                      <a:pt x="1114228" y="95232"/>
                      <a:pt x="1116622" y="105092"/>
                      <a:pt x="1117363" y="113813"/>
                    </a:cubicBezTo>
                    <a:cubicBezTo>
                      <a:pt x="1098258" y="130500"/>
                      <a:pt x="1082277" y="150456"/>
                      <a:pt x="1070172" y="172745"/>
                    </a:cubicBezTo>
                    <a:cubicBezTo>
                      <a:pt x="1076954" y="177305"/>
                      <a:pt x="1085845" y="172061"/>
                      <a:pt x="1092228" y="167046"/>
                    </a:cubicBezTo>
                    <a:cubicBezTo>
                      <a:pt x="1107856" y="155477"/>
                      <a:pt x="1122390" y="142504"/>
                      <a:pt x="1135658" y="128289"/>
                    </a:cubicBezTo>
                    <a:cubicBezTo>
                      <a:pt x="1141358" y="121450"/>
                      <a:pt x="1149451" y="113357"/>
                      <a:pt x="1158057" y="116092"/>
                    </a:cubicBezTo>
                    <a:cubicBezTo>
                      <a:pt x="1159026" y="120196"/>
                      <a:pt x="1160052" y="124300"/>
                      <a:pt x="1161021" y="128403"/>
                    </a:cubicBezTo>
                    <a:cubicBezTo>
                      <a:pt x="1166721" y="121963"/>
                      <a:pt x="1176524" y="122362"/>
                      <a:pt x="1184674" y="124528"/>
                    </a:cubicBezTo>
                    <a:cubicBezTo>
                      <a:pt x="1192824" y="126693"/>
                      <a:pt x="1201259" y="130227"/>
                      <a:pt x="1209410" y="128061"/>
                    </a:cubicBezTo>
                    <a:cubicBezTo>
                      <a:pt x="1217560" y="125895"/>
                      <a:pt x="1223487" y="114611"/>
                      <a:pt x="1217275" y="108911"/>
                    </a:cubicBezTo>
                    <a:cubicBezTo>
                      <a:pt x="1251996" y="92944"/>
                      <a:pt x="1292268" y="94597"/>
                      <a:pt x="1325565" y="113357"/>
                    </a:cubicBezTo>
                    <a:cubicBezTo>
                      <a:pt x="1327571" y="114309"/>
                      <a:pt x="1329298" y="115761"/>
                      <a:pt x="1330580" y="117574"/>
                    </a:cubicBezTo>
                    <a:cubicBezTo>
                      <a:pt x="1334342" y="124072"/>
                      <a:pt x="1326192" y="130797"/>
                      <a:pt x="1319182" y="133932"/>
                    </a:cubicBezTo>
                    <a:lnTo>
                      <a:pt x="1292736" y="145844"/>
                    </a:lnTo>
                    <a:cubicBezTo>
                      <a:pt x="1286124" y="148864"/>
                      <a:pt x="1279513" y="151828"/>
                      <a:pt x="1272731" y="154393"/>
                    </a:cubicBezTo>
                    <a:cubicBezTo>
                      <a:pt x="1244575" y="165051"/>
                      <a:pt x="1214197" y="168072"/>
                      <a:pt x="1184218" y="170978"/>
                    </a:cubicBezTo>
                    <a:cubicBezTo>
                      <a:pt x="1201043" y="180816"/>
                      <a:pt x="1221151" y="183368"/>
                      <a:pt x="1239902" y="178046"/>
                    </a:cubicBezTo>
                    <a:cubicBezTo>
                      <a:pt x="1242655" y="180942"/>
                      <a:pt x="1242541" y="185524"/>
                      <a:pt x="1239645" y="188279"/>
                    </a:cubicBezTo>
                    <a:cubicBezTo>
                      <a:pt x="1239423" y="188493"/>
                      <a:pt x="1239184" y="188692"/>
                      <a:pt x="1238933" y="188875"/>
                    </a:cubicBezTo>
                    <a:cubicBezTo>
                      <a:pt x="1235382" y="191134"/>
                      <a:pt x="1231227" y="192268"/>
                      <a:pt x="1227021" y="192123"/>
                    </a:cubicBezTo>
                    <a:lnTo>
                      <a:pt x="1181425" y="195201"/>
                    </a:lnTo>
                    <a:cubicBezTo>
                      <a:pt x="1167233" y="196170"/>
                      <a:pt x="1149394" y="200160"/>
                      <a:pt x="1146829" y="214123"/>
                    </a:cubicBezTo>
                    <a:cubicBezTo>
                      <a:pt x="1153042" y="220792"/>
                      <a:pt x="1163928" y="218854"/>
                      <a:pt x="1172135" y="214522"/>
                    </a:cubicBezTo>
                    <a:cubicBezTo>
                      <a:pt x="1180342" y="210191"/>
                      <a:pt x="1187466" y="203807"/>
                      <a:pt x="1196529" y="202781"/>
                    </a:cubicBezTo>
                    <a:cubicBezTo>
                      <a:pt x="1205591" y="201755"/>
                      <a:pt x="1216135" y="210305"/>
                      <a:pt x="1212487" y="218626"/>
                    </a:cubicBezTo>
                    <a:cubicBezTo>
                      <a:pt x="1203955" y="217873"/>
                      <a:pt x="1195360" y="218685"/>
                      <a:pt x="1187124" y="221020"/>
                    </a:cubicBezTo>
                    <a:cubicBezTo>
                      <a:pt x="1178758" y="223501"/>
                      <a:pt x="1172460" y="230415"/>
                      <a:pt x="1170767" y="238973"/>
                    </a:cubicBezTo>
                    <a:cubicBezTo>
                      <a:pt x="1171006" y="243787"/>
                      <a:pt x="1170819" y="248613"/>
                      <a:pt x="1170197" y="253393"/>
                    </a:cubicBezTo>
                    <a:cubicBezTo>
                      <a:pt x="1166664" y="265134"/>
                      <a:pt x="1150078" y="264792"/>
                      <a:pt x="1138109" y="262056"/>
                    </a:cubicBezTo>
                    <a:cubicBezTo>
                      <a:pt x="1132068" y="284247"/>
                      <a:pt x="1124761" y="306073"/>
                      <a:pt x="1116223" y="327429"/>
                    </a:cubicBezTo>
                    <a:cubicBezTo>
                      <a:pt x="1124835" y="325705"/>
                      <a:pt x="1132991" y="322190"/>
                      <a:pt x="1140161" y="317113"/>
                    </a:cubicBezTo>
                    <a:cubicBezTo>
                      <a:pt x="1147382" y="312017"/>
                      <a:pt x="1156233" y="309765"/>
                      <a:pt x="1165010" y="310786"/>
                    </a:cubicBezTo>
                    <a:cubicBezTo>
                      <a:pt x="1173560" y="312724"/>
                      <a:pt x="1180399" y="323097"/>
                      <a:pt x="1175726" y="330507"/>
                    </a:cubicBezTo>
                    <a:cubicBezTo>
                      <a:pt x="1169798" y="328519"/>
                      <a:pt x="1163466" y="328068"/>
                      <a:pt x="1157316" y="329196"/>
                    </a:cubicBezTo>
                    <a:cubicBezTo>
                      <a:pt x="1151013" y="330605"/>
                      <a:pt x="1146755" y="336503"/>
                      <a:pt x="1147399" y="342931"/>
                    </a:cubicBezTo>
                    <a:lnTo>
                      <a:pt x="1161021" y="342931"/>
                    </a:lnTo>
                    <a:cubicBezTo>
                      <a:pt x="1162047" y="347035"/>
                      <a:pt x="1163016" y="351139"/>
                      <a:pt x="1163985" y="355185"/>
                    </a:cubicBezTo>
                    <a:lnTo>
                      <a:pt x="1196700" y="344470"/>
                    </a:lnTo>
                    <a:cubicBezTo>
                      <a:pt x="1199988" y="348300"/>
                      <a:pt x="1202331" y="352848"/>
                      <a:pt x="1203539" y="357750"/>
                    </a:cubicBezTo>
                    <a:cubicBezTo>
                      <a:pt x="1204662" y="362840"/>
                      <a:pt x="1202040" y="368014"/>
                      <a:pt x="1197270" y="370118"/>
                    </a:cubicBezTo>
                    <a:cubicBezTo>
                      <a:pt x="1194403" y="370699"/>
                      <a:pt x="1191428" y="370501"/>
                      <a:pt x="1188663" y="369548"/>
                    </a:cubicBezTo>
                    <a:lnTo>
                      <a:pt x="1170710" y="364988"/>
                    </a:lnTo>
                    <a:cubicBezTo>
                      <a:pt x="1163477" y="362502"/>
                      <a:pt x="1155738" y="361875"/>
                      <a:pt x="1148197" y="363165"/>
                    </a:cubicBezTo>
                    <a:cubicBezTo>
                      <a:pt x="1140463" y="364809"/>
                      <a:pt x="1135191" y="371992"/>
                      <a:pt x="1135943" y="379864"/>
                    </a:cubicBezTo>
                    <a:cubicBezTo>
                      <a:pt x="1131937" y="375125"/>
                      <a:pt x="1126493" y="371823"/>
                      <a:pt x="1120441" y="370460"/>
                    </a:cubicBezTo>
                    <a:cubicBezTo>
                      <a:pt x="1114741" y="369605"/>
                      <a:pt x="1107731" y="374336"/>
                      <a:pt x="1108757" y="380092"/>
                    </a:cubicBezTo>
                    <a:cubicBezTo>
                      <a:pt x="1109783" y="385848"/>
                      <a:pt x="1116508" y="387843"/>
                      <a:pt x="1121523" y="390579"/>
                    </a:cubicBezTo>
                    <a:cubicBezTo>
                      <a:pt x="1130301" y="395310"/>
                      <a:pt x="1136741" y="405113"/>
                      <a:pt x="1146715" y="405968"/>
                    </a:cubicBezTo>
                    <a:cubicBezTo>
                      <a:pt x="1155265" y="406709"/>
                      <a:pt x="1164954" y="400610"/>
                      <a:pt x="1171736" y="405968"/>
                    </a:cubicBezTo>
                    <a:cubicBezTo>
                      <a:pt x="1179653" y="411864"/>
                      <a:pt x="1184486" y="421013"/>
                      <a:pt x="1184902" y="430874"/>
                    </a:cubicBezTo>
                    <a:cubicBezTo>
                      <a:pt x="1185608" y="434542"/>
                      <a:pt x="1184252" y="438303"/>
                      <a:pt x="1181368" y="440677"/>
                    </a:cubicBezTo>
                    <a:cubicBezTo>
                      <a:pt x="1178803" y="442159"/>
                      <a:pt x="1174928" y="441817"/>
                      <a:pt x="1173503" y="444382"/>
                    </a:cubicBezTo>
                    <a:cubicBezTo>
                      <a:pt x="1172078" y="446947"/>
                      <a:pt x="1173503" y="450082"/>
                      <a:pt x="1172078" y="452019"/>
                    </a:cubicBezTo>
                    <a:cubicBezTo>
                      <a:pt x="1170653" y="453957"/>
                      <a:pt x="1165352" y="451335"/>
                      <a:pt x="1162218" y="449284"/>
                    </a:cubicBezTo>
                    <a:cubicBezTo>
                      <a:pt x="1154467" y="444268"/>
                      <a:pt x="1143752" y="449740"/>
                      <a:pt x="1135145" y="446548"/>
                    </a:cubicBezTo>
                    <a:cubicBezTo>
                      <a:pt x="1130854" y="454603"/>
                      <a:pt x="1133903" y="464615"/>
                      <a:pt x="1141956" y="468908"/>
                    </a:cubicBezTo>
                    <a:cubicBezTo>
                      <a:pt x="1142247" y="469063"/>
                      <a:pt x="1142543" y="469209"/>
                      <a:pt x="1142840" y="469346"/>
                    </a:cubicBezTo>
                    <a:cubicBezTo>
                      <a:pt x="1145518" y="470486"/>
                      <a:pt x="1148881" y="471113"/>
                      <a:pt x="1150135" y="473791"/>
                    </a:cubicBezTo>
                    <a:cubicBezTo>
                      <a:pt x="1151389" y="476470"/>
                      <a:pt x="1150135" y="479035"/>
                      <a:pt x="1151845" y="480916"/>
                    </a:cubicBezTo>
                    <a:cubicBezTo>
                      <a:pt x="1153293" y="482205"/>
                      <a:pt x="1155219" y="482826"/>
                      <a:pt x="1157145" y="482625"/>
                    </a:cubicBezTo>
                    <a:lnTo>
                      <a:pt x="1183819" y="483195"/>
                    </a:lnTo>
                    <a:cubicBezTo>
                      <a:pt x="1185358" y="488184"/>
                      <a:pt x="1182901" y="493532"/>
                      <a:pt x="1178120" y="495620"/>
                    </a:cubicBezTo>
                    <a:cubicBezTo>
                      <a:pt x="1173434" y="497550"/>
                      <a:pt x="1168294" y="498103"/>
                      <a:pt x="1163301" y="497216"/>
                    </a:cubicBezTo>
                    <a:cubicBezTo>
                      <a:pt x="1149166" y="495897"/>
                      <a:pt x="1135248" y="492834"/>
                      <a:pt x="1121865" y="488097"/>
                    </a:cubicBezTo>
                    <a:cubicBezTo>
                      <a:pt x="1121427" y="495389"/>
                      <a:pt x="1124681" y="502413"/>
                      <a:pt x="1130529" y="506791"/>
                    </a:cubicBezTo>
                    <a:cubicBezTo>
                      <a:pt x="1136325" y="511025"/>
                      <a:pt x="1142805" y="514243"/>
                      <a:pt x="1149679" y="516309"/>
                    </a:cubicBezTo>
                    <a:lnTo>
                      <a:pt x="1151731" y="530444"/>
                    </a:lnTo>
                    <a:cubicBezTo>
                      <a:pt x="1134975" y="535134"/>
                      <a:pt x="1117791" y="538132"/>
                      <a:pt x="1100436" y="539392"/>
                    </a:cubicBezTo>
                    <a:cubicBezTo>
                      <a:pt x="1099290" y="533555"/>
                      <a:pt x="1093625" y="529752"/>
                      <a:pt x="1087789" y="530899"/>
                    </a:cubicBezTo>
                    <a:cubicBezTo>
                      <a:pt x="1086939" y="531066"/>
                      <a:pt x="1086118" y="531334"/>
                      <a:pt x="1085332" y="531698"/>
                    </a:cubicBezTo>
                    <a:cubicBezTo>
                      <a:pt x="1085719" y="528258"/>
                      <a:pt x="1085001" y="524783"/>
                      <a:pt x="1083280" y="521781"/>
                    </a:cubicBezTo>
                    <a:cubicBezTo>
                      <a:pt x="1077672" y="521161"/>
                      <a:pt x="1071995" y="521547"/>
                      <a:pt x="1066524" y="522921"/>
                    </a:cubicBezTo>
                    <a:cubicBezTo>
                      <a:pt x="1069470" y="528118"/>
                      <a:pt x="1067903" y="534709"/>
                      <a:pt x="1062933" y="538024"/>
                    </a:cubicBezTo>
                    <a:cubicBezTo>
                      <a:pt x="1058026" y="541105"/>
                      <a:pt x="1052053" y="541995"/>
                      <a:pt x="1046461" y="540475"/>
                    </a:cubicBezTo>
                    <a:cubicBezTo>
                      <a:pt x="1043526" y="545663"/>
                      <a:pt x="1042614" y="551753"/>
                      <a:pt x="1043897" y="557574"/>
                    </a:cubicBezTo>
                    <a:cubicBezTo>
                      <a:pt x="1047750" y="562483"/>
                      <a:pt x="1054190" y="564577"/>
                      <a:pt x="1060197" y="562874"/>
                    </a:cubicBezTo>
                    <a:cubicBezTo>
                      <a:pt x="1066182" y="561620"/>
                      <a:pt x="1071596" y="558485"/>
                      <a:pt x="1077296" y="556776"/>
                    </a:cubicBezTo>
                    <a:cubicBezTo>
                      <a:pt x="1088507" y="554430"/>
                      <a:pt x="1100111" y="554683"/>
                      <a:pt x="1111207" y="557517"/>
                    </a:cubicBezTo>
                    <a:cubicBezTo>
                      <a:pt x="1113693" y="557653"/>
                      <a:pt x="1116024" y="558759"/>
                      <a:pt x="1117705" y="560594"/>
                    </a:cubicBezTo>
                    <a:cubicBezTo>
                      <a:pt x="1121239" y="565667"/>
                      <a:pt x="1113659" y="574159"/>
                      <a:pt x="1118389" y="578092"/>
                    </a:cubicBezTo>
                    <a:cubicBezTo>
                      <a:pt x="1110923" y="581055"/>
                      <a:pt x="1102658" y="583791"/>
                      <a:pt x="1094964" y="581568"/>
                    </a:cubicBezTo>
                    <a:cubicBezTo>
                      <a:pt x="1088695" y="579460"/>
                      <a:pt x="1084021" y="573931"/>
                      <a:pt x="1077866" y="571708"/>
                    </a:cubicBezTo>
                    <a:cubicBezTo>
                      <a:pt x="1071710" y="569485"/>
                      <a:pt x="1062363" y="573874"/>
                      <a:pt x="1064358" y="580200"/>
                    </a:cubicBezTo>
                    <a:cubicBezTo>
                      <a:pt x="1065059" y="581973"/>
                      <a:pt x="1066199" y="583540"/>
                      <a:pt x="1067664" y="584760"/>
                    </a:cubicBezTo>
                    <a:cubicBezTo>
                      <a:pt x="1074731" y="591770"/>
                      <a:pt x="1082881" y="599294"/>
                      <a:pt x="1092855" y="599294"/>
                    </a:cubicBezTo>
                    <a:cubicBezTo>
                      <a:pt x="1094337" y="604993"/>
                      <a:pt x="1100549" y="607558"/>
                      <a:pt x="1105736" y="610066"/>
                    </a:cubicBezTo>
                    <a:cubicBezTo>
                      <a:pt x="1110923" y="612573"/>
                      <a:pt x="1116565" y="617247"/>
                      <a:pt x="1115425" y="622947"/>
                    </a:cubicBezTo>
                    <a:cubicBezTo>
                      <a:pt x="1117477" y="620382"/>
                      <a:pt x="1122037" y="621750"/>
                      <a:pt x="1123633" y="624599"/>
                    </a:cubicBezTo>
                    <a:cubicBezTo>
                      <a:pt x="1124898" y="627694"/>
                      <a:pt x="1125120" y="631114"/>
                      <a:pt x="1124259" y="634345"/>
                    </a:cubicBezTo>
                    <a:lnTo>
                      <a:pt x="1120327" y="659822"/>
                    </a:lnTo>
                    <a:cubicBezTo>
                      <a:pt x="1120275" y="663037"/>
                      <a:pt x="1118868" y="666080"/>
                      <a:pt x="1116451" y="668200"/>
                    </a:cubicBezTo>
                    <a:cubicBezTo>
                      <a:pt x="1110410" y="672076"/>
                      <a:pt x="1103912" y="662843"/>
                      <a:pt x="1096788" y="662159"/>
                    </a:cubicBezTo>
                    <a:cubicBezTo>
                      <a:pt x="1093539" y="662159"/>
                      <a:pt x="1090063" y="663413"/>
                      <a:pt x="1087042" y="662159"/>
                    </a:cubicBezTo>
                    <a:cubicBezTo>
                      <a:pt x="1082710" y="660221"/>
                      <a:pt x="1082653" y="653952"/>
                      <a:pt x="1079291" y="650760"/>
                    </a:cubicBezTo>
                    <a:cubicBezTo>
                      <a:pt x="1076743" y="648885"/>
                      <a:pt x="1073916" y="647420"/>
                      <a:pt x="1070912" y="646428"/>
                    </a:cubicBezTo>
                    <a:cubicBezTo>
                      <a:pt x="1065754" y="642900"/>
                      <a:pt x="1061195" y="638569"/>
                      <a:pt x="1057404" y="633605"/>
                    </a:cubicBezTo>
                    <a:cubicBezTo>
                      <a:pt x="1052959" y="629159"/>
                      <a:pt x="1046005" y="625910"/>
                      <a:pt x="1040306" y="629216"/>
                    </a:cubicBezTo>
                    <a:cubicBezTo>
                      <a:pt x="1041446" y="636340"/>
                      <a:pt x="1041058" y="643624"/>
                      <a:pt x="1039166" y="650589"/>
                    </a:cubicBezTo>
                    <a:cubicBezTo>
                      <a:pt x="1037109" y="657691"/>
                      <a:pt x="1030811" y="662729"/>
                      <a:pt x="1023436" y="663185"/>
                    </a:cubicBezTo>
                    <a:cubicBezTo>
                      <a:pt x="1023436" y="667801"/>
                      <a:pt x="1020130" y="671734"/>
                      <a:pt x="1019332" y="676294"/>
                    </a:cubicBezTo>
                    <a:cubicBezTo>
                      <a:pt x="1018534" y="680853"/>
                      <a:pt x="1024006" y="686382"/>
                      <a:pt x="1027083" y="683019"/>
                    </a:cubicBezTo>
                    <a:cubicBezTo>
                      <a:pt x="1028280" y="681708"/>
                      <a:pt x="1028337" y="679713"/>
                      <a:pt x="1029078" y="678060"/>
                    </a:cubicBezTo>
                    <a:cubicBezTo>
                      <a:pt x="1031062" y="674692"/>
                      <a:pt x="1035034" y="673039"/>
                      <a:pt x="1038824" y="674014"/>
                    </a:cubicBezTo>
                    <a:cubicBezTo>
                      <a:pt x="1042495" y="675034"/>
                      <a:pt x="1046034" y="676493"/>
                      <a:pt x="1049368" y="678345"/>
                    </a:cubicBezTo>
                    <a:cubicBezTo>
                      <a:pt x="1064985" y="685014"/>
                      <a:pt x="1082995" y="679371"/>
                      <a:pt x="1099866" y="681195"/>
                    </a:cubicBezTo>
                    <a:cubicBezTo>
                      <a:pt x="1104026" y="681651"/>
                      <a:pt x="1109213" y="683988"/>
                      <a:pt x="1108529" y="688148"/>
                    </a:cubicBezTo>
                    <a:cubicBezTo>
                      <a:pt x="1107845" y="692309"/>
                      <a:pt x="1103399" y="692879"/>
                      <a:pt x="1099695" y="693392"/>
                    </a:cubicBezTo>
                    <a:cubicBezTo>
                      <a:pt x="1085070" y="695410"/>
                      <a:pt x="1071095" y="700733"/>
                      <a:pt x="1058829" y="708952"/>
                    </a:cubicBezTo>
                    <a:cubicBezTo>
                      <a:pt x="1053529" y="712485"/>
                      <a:pt x="1048058" y="717615"/>
                      <a:pt x="1048513" y="723998"/>
                    </a:cubicBezTo>
                    <a:cubicBezTo>
                      <a:pt x="1043532" y="721553"/>
                      <a:pt x="1037548" y="722516"/>
                      <a:pt x="1033581" y="726392"/>
                    </a:cubicBezTo>
                    <a:cubicBezTo>
                      <a:pt x="1029751" y="730216"/>
                      <a:pt x="1025225" y="733277"/>
                      <a:pt x="1020244" y="735397"/>
                    </a:cubicBezTo>
                    <a:cubicBezTo>
                      <a:pt x="1016653" y="736366"/>
                      <a:pt x="1012778" y="735796"/>
                      <a:pt x="1008845" y="736537"/>
                    </a:cubicBezTo>
                    <a:cubicBezTo>
                      <a:pt x="1004582" y="737888"/>
                      <a:pt x="1000444" y="739603"/>
                      <a:pt x="996477" y="741667"/>
                    </a:cubicBezTo>
                    <a:cubicBezTo>
                      <a:pt x="985078" y="745941"/>
                      <a:pt x="972198" y="741382"/>
                      <a:pt x="959944" y="741667"/>
                    </a:cubicBezTo>
                    <a:cubicBezTo>
                      <a:pt x="957612" y="741627"/>
                      <a:pt x="955315" y="742197"/>
                      <a:pt x="953275" y="743319"/>
                    </a:cubicBezTo>
                    <a:cubicBezTo>
                      <a:pt x="947576" y="747081"/>
                      <a:pt x="948488" y="756599"/>
                      <a:pt x="943586" y="761615"/>
                    </a:cubicBezTo>
                    <a:cubicBezTo>
                      <a:pt x="933692" y="755619"/>
                      <a:pt x="921079" y="756554"/>
                      <a:pt x="912182" y="763951"/>
                    </a:cubicBezTo>
                    <a:cubicBezTo>
                      <a:pt x="911042" y="761216"/>
                      <a:pt x="909845" y="758252"/>
                      <a:pt x="908705" y="755630"/>
                    </a:cubicBezTo>
                    <a:lnTo>
                      <a:pt x="892690" y="753236"/>
                    </a:lnTo>
                    <a:cubicBezTo>
                      <a:pt x="891607" y="759734"/>
                      <a:pt x="890524" y="766174"/>
                      <a:pt x="889498" y="772672"/>
                    </a:cubicBezTo>
                    <a:cubicBezTo>
                      <a:pt x="879923" y="778371"/>
                      <a:pt x="873141" y="784071"/>
                      <a:pt x="863566" y="789770"/>
                    </a:cubicBezTo>
                    <a:cubicBezTo>
                      <a:pt x="869265" y="796381"/>
                      <a:pt x="865104" y="806869"/>
                      <a:pt x="859576" y="813879"/>
                    </a:cubicBezTo>
                    <a:cubicBezTo>
                      <a:pt x="851739" y="823665"/>
                      <a:pt x="842055" y="831821"/>
                      <a:pt x="831079" y="837874"/>
                    </a:cubicBezTo>
                    <a:cubicBezTo>
                      <a:pt x="818967" y="843915"/>
                      <a:pt x="806240" y="848634"/>
                      <a:pt x="793120" y="851951"/>
                    </a:cubicBezTo>
                    <a:lnTo>
                      <a:pt x="772488" y="857993"/>
                    </a:lnTo>
                    <a:cubicBezTo>
                      <a:pt x="780752" y="848874"/>
                      <a:pt x="772488" y="831262"/>
                      <a:pt x="760177" y="831718"/>
                    </a:cubicBezTo>
                    <a:cubicBezTo>
                      <a:pt x="764662" y="841174"/>
                      <a:pt x="761357" y="852493"/>
                      <a:pt x="752483" y="858050"/>
                    </a:cubicBezTo>
                    <a:cubicBezTo>
                      <a:pt x="743626" y="863145"/>
                      <a:pt x="732979" y="864108"/>
                      <a:pt x="723358" y="860671"/>
                    </a:cubicBezTo>
                    <a:cubicBezTo>
                      <a:pt x="727029" y="869346"/>
                      <a:pt x="725627" y="879332"/>
                      <a:pt x="719711" y="886661"/>
                    </a:cubicBezTo>
                    <a:cubicBezTo>
                      <a:pt x="716935" y="876100"/>
                      <a:pt x="706117" y="869785"/>
                      <a:pt x="695556" y="872561"/>
                    </a:cubicBezTo>
                    <a:cubicBezTo>
                      <a:pt x="694314" y="872891"/>
                      <a:pt x="693106" y="873336"/>
                      <a:pt x="691954" y="873894"/>
                    </a:cubicBezTo>
                    <a:cubicBezTo>
                      <a:pt x="691954" y="880335"/>
                      <a:pt x="698737" y="884153"/>
                      <a:pt x="704322" y="887231"/>
                    </a:cubicBezTo>
                    <a:cubicBezTo>
                      <a:pt x="709908" y="890309"/>
                      <a:pt x="715721" y="896749"/>
                      <a:pt x="712643" y="902278"/>
                    </a:cubicBezTo>
                    <a:lnTo>
                      <a:pt x="703809" y="899770"/>
                    </a:lnTo>
                    <a:lnTo>
                      <a:pt x="714068" y="912993"/>
                    </a:lnTo>
                    <a:cubicBezTo>
                      <a:pt x="707867" y="910525"/>
                      <a:pt x="700788" y="912651"/>
                      <a:pt x="696970" y="918122"/>
                    </a:cubicBezTo>
                    <a:cubicBezTo>
                      <a:pt x="694006" y="923822"/>
                      <a:pt x="700162" y="932257"/>
                      <a:pt x="705804" y="929521"/>
                    </a:cubicBezTo>
                    <a:cubicBezTo>
                      <a:pt x="703427" y="936190"/>
                      <a:pt x="697312" y="940806"/>
                      <a:pt x="690244" y="941262"/>
                    </a:cubicBezTo>
                    <a:cubicBezTo>
                      <a:pt x="696628" y="944112"/>
                      <a:pt x="697027" y="953744"/>
                      <a:pt x="692752" y="959215"/>
                    </a:cubicBezTo>
                    <a:cubicBezTo>
                      <a:pt x="687896" y="964271"/>
                      <a:pt x="681616" y="967730"/>
                      <a:pt x="674742" y="969132"/>
                    </a:cubicBezTo>
                    <a:lnTo>
                      <a:pt x="658669" y="974148"/>
                    </a:lnTo>
                    <a:cubicBezTo>
                      <a:pt x="657085" y="980258"/>
                      <a:pt x="658504" y="986750"/>
                      <a:pt x="662488" y="991645"/>
                    </a:cubicBezTo>
                    <a:cubicBezTo>
                      <a:pt x="666449" y="996479"/>
                      <a:pt x="669208" y="1002178"/>
                      <a:pt x="670524" y="1008288"/>
                    </a:cubicBezTo>
                    <a:cubicBezTo>
                      <a:pt x="671037" y="1014443"/>
                      <a:pt x="665737" y="1021568"/>
                      <a:pt x="659752" y="1019972"/>
                    </a:cubicBezTo>
                    <a:cubicBezTo>
                      <a:pt x="661958" y="1029023"/>
                      <a:pt x="662328" y="1038421"/>
                      <a:pt x="660835" y="1047614"/>
                    </a:cubicBezTo>
                    <a:cubicBezTo>
                      <a:pt x="659182" y="1056967"/>
                      <a:pt x="652161" y="1064456"/>
                      <a:pt x="642939" y="1066708"/>
                    </a:cubicBezTo>
                    <a:cubicBezTo>
                      <a:pt x="641571" y="1070241"/>
                      <a:pt x="640203" y="1073775"/>
                      <a:pt x="638892" y="1077251"/>
                    </a:cubicBezTo>
                    <a:cubicBezTo>
                      <a:pt x="632611" y="1076345"/>
                      <a:pt x="627630" y="1071484"/>
                      <a:pt x="626581" y="1065226"/>
                    </a:cubicBezTo>
                    <a:cubicBezTo>
                      <a:pt x="617918" y="1066024"/>
                      <a:pt x="607659" y="1066195"/>
                      <a:pt x="602302" y="1059526"/>
                    </a:cubicBezTo>
                    <a:cubicBezTo>
                      <a:pt x="600193" y="1056790"/>
                      <a:pt x="599167" y="1053314"/>
                      <a:pt x="596602" y="1050692"/>
                    </a:cubicBezTo>
                    <a:cubicBezTo>
                      <a:pt x="589592" y="1042884"/>
                      <a:pt x="576711" y="1047899"/>
                      <a:pt x="566452" y="1045562"/>
                    </a:cubicBezTo>
                    <a:cubicBezTo>
                      <a:pt x="559322" y="1042963"/>
                      <a:pt x="552722" y="1039105"/>
                      <a:pt x="546960" y="1034163"/>
                    </a:cubicBezTo>
                    <a:cubicBezTo>
                      <a:pt x="540633" y="1029946"/>
                      <a:pt x="532027" y="1027153"/>
                      <a:pt x="525644" y="1031257"/>
                    </a:cubicBezTo>
                    <a:cubicBezTo>
                      <a:pt x="530032" y="1024132"/>
                      <a:pt x="526385" y="1014614"/>
                      <a:pt x="520856" y="1008459"/>
                    </a:cubicBezTo>
                    <a:cubicBezTo>
                      <a:pt x="514701" y="1002885"/>
                      <a:pt x="508984" y="996843"/>
                      <a:pt x="503758" y="990392"/>
                    </a:cubicBezTo>
                    <a:cubicBezTo>
                      <a:pt x="496918" y="979620"/>
                      <a:pt x="498058" y="965713"/>
                      <a:pt x="500452" y="953231"/>
                    </a:cubicBezTo>
                    <a:cubicBezTo>
                      <a:pt x="494792" y="952969"/>
                      <a:pt x="489270" y="951384"/>
                      <a:pt x="484322" y="948614"/>
                    </a:cubicBezTo>
                    <a:cubicBezTo>
                      <a:pt x="479341" y="945577"/>
                      <a:pt x="477175" y="939461"/>
                      <a:pt x="479136" y="933967"/>
                    </a:cubicBezTo>
                    <a:cubicBezTo>
                      <a:pt x="474348" y="936019"/>
                      <a:pt x="469276" y="931516"/>
                      <a:pt x="466996" y="926842"/>
                    </a:cubicBezTo>
                    <a:cubicBezTo>
                      <a:pt x="465497" y="921872"/>
                      <a:pt x="462881" y="917313"/>
                      <a:pt x="459359" y="913506"/>
                    </a:cubicBezTo>
                    <a:cubicBezTo>
                      <a:pt x="456167" y="911055"/>
                      <a:pt x="451323" y="910200"/>
                      <a:pt x="449898" y="906438"/>
                    </a:cubicBezTo>
                    <a:cubicBezTo>
                      <a:pt x="447846" y="901138"/>
                      <a:pt x="454172" y="896863"/>
                      <a:pt x="457079" y="891962"/>
                    </a:cubicBezTo>
                    <a:cubicBezTo>
                      <a:pt x="461923" y="883811"/>
                      <a:pt x="456224" y="873210"/>
                      <a:pt x="448815" y="867283"/>
                    </a:cubicBezTo>
                    <a:cubicBezTo>
                      <a:pt x="441405" y="861355"/>
                      <a:pt x="432229" y="857480"/>
                      <a:pt x="426359" y="850184"/>
                    </a:cubicBezTo>
                    <a:cubicBezTo>
                      <a:pt x="420488" y="842889"/>
                      <a:pt x="420659" y="829210"/>
                      <a:pt x="429664" y="826019"/>
                    </a:cubicBezTo>
                    <a:cubicBezTo>
                      <a:pt x="434224" y="824423"/>
                      <a:pt x="439980" y="826019"/>
                      <a:pt x="443343" y="822371"/>
                    </a:cubicBezTo>
                    <a:cubicBezTo>
                      <a:pt x="449043" y="816672"/>
                      <a:pt x="439867" y="807552"/>
                      <a:pt x="431944" y="805273"/>
                    </a:cubicBezTo>
                    <a:cubicBezTo>
                      <a:pt x="424022" y="802993"/>
                      <a:pt x="413136" y="797920"/>
                      <a:pt x="415815" y="789998"/>
                    </a:cubicBezTo>
                    <a:cubicBezTo>
                      <a:pt x="416898" y="786749"/>
                      <a:pt x="420089" y="784755"/>
                      <a:pt x="422483" y="782304"/>
                    </a:cubicBezTo>
                    <a:cubicBezTo>
                      <a:pt x="428867" y="775635"/>
                      <a:pt x="429437" y="765205"/>
                      <a:pt x="433882" y="757283"/>
                    </a:cubicBezTo>
                    <a:cubicBezTo>
                      <a:pt x="441143" y="744915"/>
                      <a:pt x="456241" y="739552"/>
                      <a:pt x="469675" y="744573"/>
                    </a:cubicBezTo>
                    <a:lnTo>
                      <a:pt x="479706" y="748905"/>
                    </a:lnTo>
                    <a:cubicBezTo>
                      <a:pt x="483467" y="734941"/>
                      <a:pt x="487172" y="720920"/>
                      <a:pt x="491105" y="706957"/>
                    </a:cubicBezTo>
                    <a:cubicBezTo>
                      <a:pt x="490250" y="690314"/>
                      <a:pt x="472581" y="680112"/>
                      <a:pt x="456623" y="675325"/>
                    </a:cubicBezTo>
                    <a:cubicBezTo>
                      <a:pt x="440665" y="670537"/>
                      <a:pt x="422426" y="666661"/>
                      <a:pt x="413307" y="652527"/>
                    </a:cubicBezTo>
                    <a:cubicBezTo>
                      <a:pt x="437404" y="651142"/>
                      <a:pt x="461371" y="656887"/>
                      <a:pt x="482214" y="669055"/>
                    </a:cubicBezTo>
                    <a:cubicBezTo>
                      <a:pt x="488711" y="662957"/>
                      <a:pt x="479706" y="653040"/>
                      <a:pt x="471784" y="648936"/>
                    </a:cubicBezTo>
                    <a:lnTo>
                      <a:pt x="437302" y="631040"/>
                    </a:lnTo>
                    <a:lnTo>
                      <a:pt x="433540" y="603340"/>
                    </a:lnTo>
                    <a:cubicBezTo>
                      <a:pt x="423629" y="599738"/>
                      <a:pt x="412526" y="602178"/>
                      <a:pt x="405043" y="609610"/>
                    </a:cubicBezTo>
                    <a:cubicBezTo>
                      <a:pt x="401509" y="613200"/>
                      <a:pt x="397577" y="618330"/>
                      <a:pt x="392675" y="616962"/>
                    </a:cubicBezTo>
                    <a:cubicBezTo>
                      <a:pt x="389671" y="615600"/>
                      <a:pt x="387466" y="612927"/>
                      <a:pt x="386691" y="609724"/>
                    </a:cubicBezTo>
                    <a:cubicBezTo>
                      <a:pt x="383619" y="601539"/>
                      <a:pt x="382017" y="592876"/>
                      <a:pt x="381960" y="584133"/>
                    </a:cubicBezTo>
                    <a:cubicBezTo>
                      <a:pt x="381738" y="581660"/>
                      <a:pt x="382273" y="579175"/>
                      <a:pt x="383499" y="577009"/>
                    </a:cubicBezTo>
                    <a:cubicBezTo>
                      <a:pt x="387887" y="570625"/>
                      <a:pt x="402250" y="572050"/>
                      <a:pt x="401053" y="564356"/>
                    </a:cubicBezTo>
                    <a:cubicBezTo>
                      <a:pt x="400027" y="557574"/>
                      <a:pt x="386975" y="559112"/>
                      <a:pt x="385664" y="552387"/>
                    </a:cubicBezTo>
                    <a:cubicBezTo>
                      <a:pt x="385476" y="550441"/>
                      <a:pt x="385790" y="548478"/>
                      <a:pt x="386576" y="546688"/>
                    </a:cubicBezTo>
                    <a:cubicBezTo>
                      <a:pt x="389723" y="534096"/>
                      <a:pt x="382456" y="521247"/>
                      <a:pt x="370048" y="517449"/>
                    </a:cubicBezTo>
                    <a:cubicBezTo>
                      <a:pt x="371729" y="507313"/>
                      <a:pt x="369535" y="496914"/>
                      <a:pt x="363893" y="488325"/>
                    </a:cubicBezTo>
                    <a:cubicBezTo>
                      <a:pt x="360034" y="483795"/>
                      <a:pt x="355657" y="479739"/>
                      <a:pt x="350841" y="476242"/>
                    </a:cubicBezTo>
                    <a:lnTo>
                      <a:pt x="330665" y="460455"/>
                    </a:lnTo>
                    <a:cubicBezTo>
                      <a:pt x="326236" y="457654"/>
                      <a:pt x="322805" y="453525"/>
                      <a:pt x="320862" y="448657"/>
                    </a:cubicBezTo>
                    <a:cubicBezTo>
                      <a:pt x="320178" y="446149"/>
                      <a:pt x="320292" y="443470"/>
                      <a:pt x="319608" y="440905"/>
                    </a:cubicBezTo>
                    <a:cubicBezTo>
                      <a:pt x="315504" y="426315"/>
                      <a:pt x="290084" y="429506"/>
                      <a:pt x="283359" y="416170"/>
                    </a:cubicBezTo>
                    <a:cubicBezTo>
                      <a:pt x="282105" y="413719"/>
                      <a:pt x="281535" y="410470"/>
                      <a:pt x="279198" y="409273"/>
                    </a:cubicBezTo>
                    <a:cubicBezTo>
                      <a:pt x="277545" y="408426"/>
                      <a:pt x="275693" y="408051"/>
                      <a:pt x="273841" y="408190"/>
                    </a:cubicBezTo>
                    <a:cubicBezTo>
                      <a:pt x="248193" y="407449"/>
                      <a:pt x="224996" y="390180"/>
                      <a:pt x="199292" y="390294"/>
                    </a:cubicBezTo>
                    <a:cubicBezTo>
                      <a:pt x="201161" y="394492"/>
                      <a:pt x="199275" y="399411"/>
                      <a:pt x="195074" y="401281"/>
                    </a:cubicBezTo>
                    <a:cubicBezTo>
                      <a:pt x="194704" y="401446"/>
                      <a:pt x="194322" y="401584"/>
                      <a:pt x="193934" y="401693"/>
                    </a:cubicBezTo>
                    <a:cubicBezTo>
                      <a:pt x="189432" y="401933"/>
                      <a:pt x="184975" y="400714"/>
                      <a:pt x="181224" y="398216"/>
                    </a:cubicBezTo>
                    <a:cubicBezTo>
                      <a:pt x="177121" y="396335"/>
                      <a:pt x="171478" y="395595"/>
                      <a:pt x="168914" y="399242"/>
                    </a:cubicBezTo>
                    <a:cubicBezTo>
                      <a:pt x="167204" y="401636"/>
                      <a:pt x="167546" y="404942"/>
                      <a:pt x="166235" y="407563"/>
                    </a:cubicBezTo>
                    <a:cubicBezTo>
                      <a:pt x="163060" y="411872"/>
                      <a:pt x="156996" y="412793"/>
                      <a:pt x="152687" y="409619"/>
                    </a:cubicBezTo>
                    <a:cubicBezTo>
                      <a:pt x="152585" y="409544"/>
                      <a:pt x="152482" y="409466"/>
                      <a:pt x="152385" y="409387"/>
                    </a:cubicBezTo>
                    <a:cubicBezTo>
                      <a:pt x="148430" y="405818"/>
                      <a:pt x="145580" y="401189"/>
                      <a:pt x="144178" y="396050"/>
                    </a:cubicBezTo>
                    <a:lnTo>
                      <a:pt x="132779" y="396050"/>
                    </a:lnTo>
                    <a:cubicBezTo>
                      <a:pt x="131753" y="403279"/>
                      <a:pt x="131468" y="410593"/>
                      <a:pt x="131924" y="417879"/>
                    </a:cubicBezTo>
                    <a:cubicBezTo>
                      <a:pt x="122736" y="416889"/>
                      <a:pt x="113777" y="414365"/>
                      <a:pt x="105421" y="410413"/>
                    </a:cubicBezTo>
                    <a:lnTo>
                      <a:pt x="76525" y="398729"/>
                    </a:lnTo>
                    <a:cubicBezTo>
                      <a:pt x="70484" y="396278"/>
                      <a:pt x="63188" y="391491"/>
                      <a:pt x="65126" y="385278"/>
                    </a:cubicBezTo>
                    <a:cubicBezTo>
                      <a:pt x="70033" y="386011"/>
                      <a:pt x="75032" y="385858"/>
                      <a:pt x="79888" y="384823"/>
                    </a:cubicBezTo>
                    <a:cubicBezTo>
                      <a:pt x="80805" y="380691"/>
                      <a:pt x="81079" y="376441"/>
                      <a:pt x="80686" y="372227"/>
                    </a:cubicBezTo>
                    <a:cubicBezTo>
                      <a:pt x="65981" y="369947"/>
                      <a:pt x="51960" y="362709"/>
                      <a:pt x="36572" y="361911"/>
                    </a:cubicBezTo>
                    <a:close/>
                    <a:moveTo>
                      <a:pt x="397690" y="686382"/>
                    </a:moveTo>
                    <a:cubicBezTo>
                      <a:pt x="396425" y="688513"/>
                      <a:pt x="395684" y="690918"/>
                      <a:pt x="395525" y="693392"/>
                    </a:cubicBezTo>
                    <a:cubicBezTo>
                      <a:pt x="395525" y="700345"/>
                      <a:pt x="403675" y="703822"/>
                      <a:pt x="409089" y="708268"/>
                    </a:cubicBezTo>
                    <a:cubicBezTo>
                      <a:pt x="415815" y="713967"/>
                      <a:pt x="420089" y="723143"/>
                      <a:pt x="428639" y="725024"/>
                    </a:cubicBezTo>
                    <a:cubicBezTo>
                      <a:pt x="434076" y="725697"/>
                      <a:pt x="439582" y="724448"/>
                      <a:pt x="444198" y="721490"/>
                    </a:cubicBezTo>
                    <a:cubicBezTo>
                      <a:pt x="446894" y="720225"/>
                      <a:pt x="449299" y="718418"/>
                      <a:pt x="451265" y="716190"/>
                    </a:cubicBezTo>
                    <a:cubicBezTo>
                      <a:pt x="453203" y="713853"/>
                      <a:pt x="453745" y="710656"/>
                      <a:pt x="452690" y="707812"/>
                    </a:cubicBezTo>
                    <a:cubicBezTo>
                      <a:pt x="450866" y="703993"/>
                      <a:pt x="445224" y="701542"/>
                      <a:pt x="446307" y="697439"/>
                    </a:cubicBezTo>
                    <a:cubicBezTo>
                      <a:pt x="443896" y="694948"/>
                      <a:pt x="441719" y="692241"/>
                      <a:pt x="439809" y="689345"/>
                    </a:cubicBezTo>
                    <a:cubicBezTo>
                      <a:pt x="434845" y="684102"/>
                      <a:pt x="428741" y="680067"/>
                      <a:pt x="421970" y="677547"/>
                    </a:cubicBezTo>
                    <a:cubicBezTo>
                      <a:pt x="418152" y="675302"/>
                      <a:pt x="413723" y="674322"/>
                      <a:pt x="409317" y="674755"/>
                    </a:cubicBezTo>
                    <a:cubicBezTo>
                      <a:pt x="403897" y="676698"/>
                      <a:pt x="399634" y="680961"/>
                      <a:pt x="397690" y="68638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4" name="Freihandform: Form 270">
                <a:extLst>
                  <a:ext uri="{FF2B5EF4-FFF2-40B4-BE49-F238E27FC236}">
                    <a16:creationId xmlns:a16="http://schemas.microsoft.com/office/drawing/2014/main" id="{B26C0450-B5DC-8358-AE1D-167236781069}"/>
                  </a:ext>
                </a:extLst>
              </p:cNvPr>
              <p:cNvSpPr/>
              <p:nvPr/>
            </p:nvSpPr>
            <p:spPr>
              <a:xfrm>
                <a:off x="3241017" y="2388050"/>
                <a:ext cx="237824" cy="104646"/>
              </a:xfrm>
              <a:custGeom>
                <a:avLst/>
                <a:gdLst>
                  <a:gd name="connsiteX0" fmla="*/ 226261 w 237824"/>
                  <a:gd name="connsiteY0" fmla="*/ 53635 h 104646"/>
                  <a:gd name="connsiteX1" fmla="*/ 223639 w 237824"/>
                  <a:gd name="connsiteY1" fmla="*/ 58651 h 104646"/>
                  <a:gd name="connsiteX2" fmla="*/ 213038 w 237824"/>
                  <a:gd name="connsiteY2" fmla="*/ 63723 h 104646"/>
                  <a:gd name="connsiteX3" fmla="*/ 169551 w 237824"/>
                  <a:gd name="connsiteY3" fmla="*/ 69765 h 104646"/>
                  <a:gd name="connsiteX4" fmla="*/ 154220 w 237824"/>
                  <a:gd name="connsiteY4" fmla="*/ 74666 h 104646"/>
                  <a:gd name="connsiteX5" fmla="*/ 136210 w 237824"/>
                  <a:gd name="connsiteY5" fmla="*/ 99345 h 104646"/>
                  <a:gd name="connsiteX6" fmla="*/ 122930 w 237824"/>
                  <a:gd name="connsiteY6" fmla="*/ 102366 h 104646"/>
                  <a:gd name="connsiteX7" fmla="*/ 91241 w 237824"/>
                  <a:gd name="connsiteY7" fmla="*/ 104417 h 104646"/>
                  <a:gd name="connsiteX8" fmla="*/ 80241 w 237824"/>
                  <a:gd name="connsiteY8" fmla="*/ 103847 h 104646"/>
                  <a:gd name="connsiteX9" fmla="*/ 64054 w 237824"/>
                  <a:gd name="connsiteY9" fmla="*/ 96552 h 104646"/>
                  <a:gd name="connsiteX10" fmla="*/ 52199 w 237824"/>
                  <a:gd name="connsiteY10" fmla="*/ 99402 h 104646"/>
                  <a:gd name="connsiteX11" fmla="*/ 40230 w 237824"/>
                  <a:gd name="connsiteY11" fmla="*/ 101739 h 104646"/>
                  <a:gd name="connsiteX12" fmla="*/ 33790 w 237824"/>
                  <a:gd name="connsiteY12" fmla="*/ 92904 h 104646"/>
                  <a:gd name="connsiteX13" fmla="*/ 43308 w 237824"/>
                  <a:gd name="connsiteY13" fmla="*/ 87946 h 104646"/>
                  <a:gd name="connsiteX14" fmla="*/ 54707 w 237824"/>
                  <a:gd name="connsiteY14" fmla="*/ 88231 h 104646"/>
                  <a:gd name="connsiteX15" fmla="*/ 59723 w 237824"/>
                  <a:gd name="connsiteY15" fmla="*/ 79625 h 104646"/>
                  <a:gd name="connsiteX16" fmla="*/ 44733 w 237824"/>
                  <a:gd name="connsiteY16" fmla="*/ 71474 h 104646"/>
                  <a:gd name="connsiteX17" fmla="*/ 40230 w 237824"/>
                  <a:gd name="connsiteY17" fmla="*/ 69537 h 104646"/>
                  <a:gd name="connsiteX18" fmla="*/ 33619 w 237824"/>
                  <a:gd name="connsiteY18" fmla="*/ 69537 h 104646"/>
                  <a:gd name="connsiteX19" fmla="*/ 5920 w 237824"/>
                  <a:gd name="connsiteY19" fmla="*/ 56998 h 104646"/>
                  <a:gd name="connsiteX20" fmla="*/ 38236 w 237824"/>
                  <a:gd name="connsiteY20" fmla="*/ 57283 h 104646"/>
                  <a:gd name="connsiteX21" fmla="*/ 42795 w 237824"/>
                  <a:gd name="connsiteY21" fmla="*/ 56656 h 104646"/>
                  <a:gd name="connsiteX22" fmla="*/ 46044 w 237824"/>
                  <a:gd name="connsiteY22" fmla="*/ 53863 h 104646"/>
                  <a:gd name="connsiteX23" fmla="*/ 50832 w 237824"/>
                  <a:gd name="connsiteY23" fmla="*/ 36480 h 104646"/>
                  <a:gd name="connsiteX24" fmla="*/ 34075 w 237824"/>
                  <a:gd name="connsiteY24" fmla="*/ 35055 h 104646"/>
                  <a:gd name="connsiteX25" fmla="*/ 11790 w 237824"/>
                  <a:gd name="connsiteY25" fmla="*/ 37734 h 104646"/>
                  <a:gd name="connsiteX26" fmla="*/ 2272 w 237824"/>
                  <a:gd name="connsiteY26" fmla="*/ 35055 h 104646"/>
                  <a:gd name="connsiteX27" fmla="*/ 1149 w 237824"/>
                  <a:gd name="connsiteY27" fmla="*/ 27076 h 104646"/>
                  <a:gd name="connsiteX28" fmla="*/ 1873 w 237824"/>
                  <a:gd name="connsiteY28" fmla="*/ 26278 h 104646"/>
                  <a:gd name="connsiteX29" fmla="*/ 7003 w 237824"/>
                  <a:gd name="connsiteY29" fmla="*/ 24739 h 104646"/>
                  <a:gd name="connsiteX30" fmla="*/ 12263 w 237824"/>
                  <a:gd name="connsiteY30" fmla="*/ 13944 h 104646"/>
                  <a:gd name="connsiteX31" fmla="*/ 12189 w 237824"/>
                  <a:gd name="connsiteY31" fmla="*/ 13739 h 104646"/>
                  <a:gd name="connsiteX32" fmla="*/ 18744 w 237824"/>
                  <a:gd name="connsiteY32" fmla="*/ 8723 h 104646"/>
                  <a:gd name="connsiteX33" fmla="*/ 27065 w 237824"/>
                  <a:gd name="connsiteY33" fmla="*/ 13568 h 104646"/>
                  <a:gd name="connsiteX34" fmla="*/ 35614 w 237824"/>
                  <a:gd name="connsiteY34" fmla="*/ 17386 h 104646"/>
                  <a:gd name="connsiteX35" fmla="*/ 34474 w 237824"/>
                  <a:gd name="connsiteY35" fmla="*/ 2853 h 104646"/>
                  <a:gd name="connsiteX36" fmla="*/ 36868 w 237824"/>
                  <a:gd name="connsiteY36" fmla="*/ 1941 h 104646"/>
                  <a:gd name="connsiteX37" fmla="*/ 48267 w 237824"/>
                  <a:gd name="connsiteY37" fmla="*/ 5418 h 104646"/>
                  <a:gd name="connsiteX38" fmla="*/ 54707 w 237824"/>
                  <a:gd name="connsiteY38" fmla="*/ 13910 h 104646"/>
                  <a:gd name="connsiteX39" fmla="*/ 63883 w 237824"/>
                  <a:gd name="connsiteY39" fmla="*/ 18298 h 104646"/>
                  <a:gd name="connsiteX40" fmla="*/ 63883 w 237824"/>
                  <a:gd name="connsiteY40" fmla="*/ 24625 h 104646"/>
                  <a:gd name="connsiteX41" fmla="*/ 59495 w 237824"/>
                  <a:gd name="connsiteY41" fmla="*/ 30723 h 104646"/>
                  <a:gd name="connsiteX42" fmla="*/ 62914 w 237824"/>
                  <a:gd name="connsiteY42" fmla="*/ 40070 h 104646"/>
                  <a:gd name="connsiteX43" fmla="*/ 72261 w 237824"/>
                  <a:gd name="connsiteY43" fmla="*/ 40070 h 104646"/>
                  <a:gd name="connsiteX44" fmla="*/ 80412 w 237824"/>
                  <a:gd name="connsiteY44" fmla="*/ 36765 h 104646"/>
                  <a:gd name="connsiteX45" fmla="*/ 81780 w 237824"/>
                  <a:gd name="connsiteY45" fmla="*/ 33231 h 104646"/>
                  <a:gd name="connsiteX46" fmla="*/ 89987 w 237824"/>
                  <a:gd name="connsiteY46" fmla="*/ 30495 h 104646"/>
                  <a:gd name="connsiteX47" fmla="*/ 86852 w 237824"/>
                  <a:gd name="connsiteY47" fmla="*/ 17443 h 104646"/>
                  <a:gd name="connsiteX48" fmla="*/ 99773 w 237824"/>
                  <a:gd name="connsiteY48" fmla="*/ 16229 h 104646"/>
                  <a:gd name="connsiteX49" fmla="*/ 100987 w 237824"/>
                  <a:gd name="connsiteY49" fmla="*/ 17443 h 104646"/>
                  <a:gd name="connsiteX50" fmla="*/ 103552 w 237824"/>
                  <a:gd name="connsiteY50" fmla="*/ 20293 h 104646"/>
                  <a:gd name="connsiteX51" fmla="*/ 108681 w 237824"/>
                  <a:gd name="connsiteY51" fmla="*/ 16133 h 104646"/>
                  <a:gd name="connsiteX52" fmla="*/ 111930 w 237824"/>
                  <a:gd name="connsiteY52" fmla="*/ 9635 h 104646"/>
                  <a:gd name="connsiteX53" fmla="*/ 121220 w 237824"/>
                  <a:gd name="connsiteY53" fmla="*/ 13454 h 104646"/>
                  <a:gd name="connsiteX54" fmla="*/ 129997 w 237824"/>
                  <a:gd name="connsiteY54" fmla="*/ 19837 h 104646"/>
                  <a:gd name="connsiteX55" fmla="*/ 139002 w 237824"/>
                  <a:gd name="connsiteY55" fmla="*/ 9863 h 104646"/>
                  <a:gd name="connsiteX56" fmla="*/ 150401 w 237824"/>
                  <a:gd name="connsiteY56" fmla="*/ 17671 h 104646"/>
                  <a:gd name="connsiteX57" fmla="*/ 161800 w 237824"/>
                  <a:gd name="connsiteY57" fmla="*/ 8381 h 104646"/>
                  <a:gd name="connsiteX58" fmla="*/ 173997 w 237824"/>
                  <a:gd name="connsiteY58" fmla="*/ 630 h 104646"/>
                  <a:gd name="connsiteX59" fmla="*/ 180551 w 237824"/>
                  <a:gd name="connsiteY59" fmla="*/ 11573 h 104646"/>
                  <a:gd name="connsiteX60" fmla="*/ 185681 w 237824"/>
                  <a:gd name="connsiteY60" fmla="*/ 15563 h 104646"/>
                  <a:gd name="connsiteX61" fmla="*/ 200272 w 237824"/>
                  <a:gd name="connsiteY61" fmla="*/ 30153 h 104646"/>
                  <a:gd name="connsiteX62" fmla="*/ 222101 w 237824"/>
                  <a:gd name="connsiteY62" fmla="*/ 33858 h 104646"/>
                  <a:gd name="connsiteX63" fmla="*/ 235666 w 237824"/>
                  <a:gd name="connsiteY63" fmla="*/ 39557 h 104646"/>
                  <a:gd name="connsiteX64" fmla="*/ 233842 w 237824"/>
                  <a:gd name="connsiteY64" fmla="*/ 51982 h 104646"/>
                  <a:gd name="connsiteX65" fmla="*/ 226261 w 237824"/>
                  <a:gd name="connsiteY65" fmla="*/ 53635 h 10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7824" h="104646">
                    <a:moveTo>
                      <a:pt x="226261" y="53635"/>
                    </a:moveTo>
                    <a:cubicBezTo>
                      <a:pt x="224779" y="54832"/>
                      <a:pt x="224551" y="56998"/>
                      <a:pt x="223639" y="58651"/>
                    </a:cubicBezTo>
                    <a:cubicBezTo>
                      <a:pt x="221080" y="61894"/>
                      <a:pt x="217165" y="63763"/>
                      <a:pt x="213038" y="63723"/>
                    </a:cubicBezTo>
                    <a:lnTo>
                      <a:pt x="169551" y="69765"/>
                    </a:lnTo>
                    <a:cubicBezTo>
                      <a:pt x="164103" y="70061"/>
                      <a:pt x="158825" y="71748"/>
                      <a:pt x="154220" y="74666"/>
                    </a:cubicBezTo>
                    <a:cubicBezTo>
                      <a:pt x="146013" y="80878"/>
                      <a:pt x="145044" y="94044"/>
                      <a:pt x="136210" y="99345"/>
                    </a:cubicBezTo>
                    <a:cubicBezTo>
                      <a:pt x="132095" y="101408"/>
                      <a:pt x="127535" y="102445"/>
                      <a:pt x="122930" y="102366"/>
                    </a:cubicBezTo>
                    <a:lnTo>
                      <a:pt x="91241" y="104417"/>
                    </a:lnTo>
                    <a:cubicBezTo>
                      <a:pt x="87570" y="104856"/>
                      <a:pt x="83848" y="104662"/>
                      <a:pt x="80241" y="103847"/>
                    </a:cubicBezTo>
                    <a:cubicBezTo>
                      <a:pt x="74541" y="102138"/>
                      <a:pt x="69982" y="97179"/>
                      <a:pt x="64054" y="96552"/>
                    </a:cubicBezTo>
                    <a:cubicBezTo>
                      <a:pt x="59922" y="96478"/>
                      <a:pt x="55841" y="97458"/>
                      <a:pt x="52199" y="99402"/>
                    </a:cubicBezTo>
                    <a:cubicBezTo>
                      <a:pt x="48523" y="101340"/>
                      <a:pt x="44363" y="102155"/>
                      <a:pt x="40230" y="101739"/>
                    </a:cubicBezTo>
                    <a:cubicBezTo>
                      <a:pt x="36019" y="101066"/>
                      <a:pt x="33140" y="97122"/>
                      <a:pt x="33790" y="92904"/>
                    </a:cubicBezTo>
                    <a:cubicBezTo>
                      <a:pt x="35580" y="89388"/>
                      <a:pt x="39404" y="87393"/>
                      <a:pt x="43308" y="87946"/>
                    </a:cubicBezTo>
                    <a:cubicBezTo>
                      <a:pt x="47081" y="88539"/>
                      <a:pt x="50911" y="88635"/>
                      <a:pt x="54707" y="88231"/>
                    </a:cubicBezTo>
                    <a:cubicBezTo>
                      <a:pt x="58469" y="87262"/>
                      <a:pt x="61775" y="82930"/>
                      <a:pt x="59723" y="79625"/>
                    </a:cubicBezTo>
                    <a:lnTo>
                      <a:pt x="44733" y="71474"/>
                    </a:lnTo>
                    <a:cubicBezTo>
                      <a:pt x="43337" y="70608"/>
                      <a:pt x="41820" y="69958"/>
                      <a:pt x="40230" y="69537"/>
                    </a:cubicBezTo>
                    <a:cubicBezTo>
                      <a:pt x="38036" y="69223"/>
                      <a:pt x="35813" y="69223"/>
                      <a:pt x="33619" y="69537"/>
                    </a:cubicBezTo>
                    <a:cubicBezTo>
                      <a:pt x="22910" y="70038"/>
                      <a:pt x="12611" y="65376"/>
                      <a:pt x="5920" y="56998"/>
                    </a:cubicBezTo>
                    <a:lnTo>
                      <a:pt x="38236" y="57283"/>
                    </a:lnTo>
                    <a:cubicBezTo>
                      <a:pt x="39780" y="57385"/>
                      <a:pt x="41336" y="57174"/>
                      <a:pt x="42795" y="56656"/>
                    </a:cubicBezTo>
                    <a:cubicBezTo>
                      <a:pt x="44055" y="55949"/>
                      <a:pt x="45155" y="54997"/>
                      <a:pt x="46044" y="53863"/>
                    </a:cubicBezTo>
                    <a:cubicBezTo>
                      <a:pt x="50376" y="48961"/>
                      <a:pt x="54935" y="41666"/>
                      <a:pt x="50832" y="36480"/>
                    </a:cubicBezTo>
                    <a:cubicBezTo>
                      <a:pt x="46728" y="31293"/>
                      <a:pt x="39831" y="33573"/>
                      <a:pt x="34075" y="35055"/>
                    </a:cubicBezTo>
                    <a:cubicBezTo>
                      <a:pt x="26814" y="36998"/>
                      <a:pt x="19308" y="37899"/>
                      <a:pt x="11790" y="37734"/>
                    </a:cubicBezTo>
                    <a:cubicBezTo>
                      <a:pt x="8405" y="37950"/>
                      <a:pt x="5048" y="37004"/>
                      <a:pt x="2272" y="35055"/>
                    </a:cubicBezTo>
                    <a:cubicBezTo>
                      <a:pt x="-242" y="33163"/>
                      <a:pt x="-749" y="29589"/>
                      <a:pt x="1149" y="27076"/>
                    </a:cubicBezTo>
                    <a:cubicBezTo>
                      <a:pt x="1366" y="26785"/>
                      <a:pt x="1605" y="26517"/>
                      <a:pt x="1873" y="26278"/>
                    </a:cubicBezTo>
                    <a:cubicBezTo>
                      <a:pt x="3503" y="25525"/>
                      <a:pt x="5230" y="25007"/>
                      <a:pt x="7003" y="24739"/>
                    </a:cubicBezTo>
                    <a:cubicBezTo>
                      <a:pt x="11437" y="23211"/>
                      <a:pt x="13791" y="18378"/>
                      <a:pt x="12263" y="13944"/>
                    </a:cubicBezTo>
                    <a:cubicBezTo>
                      <a:pt x="12240" y="13875"/>
                      <a:pt x="12218" y="13807"/>
                      <a:pt x="12189" y="13739"/>
                    </a:cubicBezTo>
                    <a:cubicBezTo>
                      <a:pt x="15261" y="13762"/>
                      <a:pt x="17963" y="11698"/>
                      <a:pt x="18744" y="8723"/>
                    </a:cubicBezTo>
                    <a:cubicBezTo>
                      <a:pt x="21878" y="7127"/>
                      <a:pt x="25070" y="10661"/>
                      <a:pt x="27065" y="13568"/>
                    </a:cubicBezTo>
                    <a:cubicBezTo>
                      <a:pt x="29060" y="16474"/>
                      <a:pt x="32764" y="19666"/>
                      <a:pt x="35614" y="17386"/>
                    </a:cubicBezTo>
                    <a:cubicBezTo>
                      <a:pt x="40117" y="14480"/>
                      <a:pt x="30370" y="6386"/>
                      <a:pt x="34474" y="2853"/>
                    </a:cubicBezTo>
                    <a:cubicBezTo>
                      <a:pt x="35164" y="2317"/>
                      <a:pt x="35996" y="1998"/>
                      <a:pt x="36868" y="1941"/>
                    </a:cubicBezTo>
                    <a:cubicBezTo>
                      <a:pt x="41000" y="1320"/>
                      <a:pt x="45183" y="2602"/>
                      <a:pt x="48267" y="5418"/>
                    </a:cubicBezTo>
                    <a:cubicBezTo>
                      <a:pt x="50603" y="8096"/>
                      <a:pt x="52758" y="10935"/>
                      <a:pt x="54707" y="13910"/>
                    </a:cubicBezTo>
                    <a:cubicBezTo>
                      <a:pt x="56736" y="16942"/>
                      <a:pt x="60253" y="18623"/>
                      <a:pt x="63883" y="18298"/>
                    </a:cubicBezTo>
                    <a:cubicBezTo>
                      <a:pt x="63883" y="20407"/>
                      <a:pt x="63883" y="22516"/>
                      <a:pt x="63883" y="24625"/>
                    </a:cubicBezTo>
                    <a:cubicBezTo>
                      <a:pt x="61204" y="22573"/>
                      <a:pt x="58184" y="27588"/>
                      <a:pt x="59495" y="30723"/>
                    </a:cubicBezTo>
                    <a:cubicBezTo>
                      <a:pt x="60806" y="33858"/>
                      <a:pt x="63598" y="36765"/>
                      <a:pt x="62914" y="40070"/>
                    </a:cubicBezTo>
                    <a:cubicBezTo>
                      <a:pt x="65992" y="39386"/>
                      <a:pt x="69184" y="39386"/>
                      <a:pt x="72261" y="40070"/>
                    </a:cubicBezTo>
                    <a:cubicBezTo>
                      <a:pt x="75339" y="40070"/>
                      <a:pt x="79158" y="39671"/>
                      <a:pt x="80412" y="36765"/>
                    </a:cubicBezTo>
                    <a:cubicBezTo>
                      <a:pt x="80925" y="35625"/>
                      <a:pt x="80925" y="34200"/>
                      <a:pt x="81780" y="33231"/>
                    </a:cubicBezTo>
                    <a:cubicBezTo>
                      <a:pt x="83717" y="30951"/>
                      <a:pt x="88163" y="32832"/>
                      <a:pt x="89987" y="30495"/>
                    </a:cubicBezTo>
                    <a:cubicBezTo>
                      <a:pt x="93008" y="26562"/>
                      <a:pt x="83033" y="20635"/>
                      <a:pt x="86852" y="17443"/>
                    </a:cubicBezTo>
                    <a:cubicBezTo>
                      <a:pt x="90084" y="13539"/>
                      <a:pt x="95869" y="12998"/>
                      <a:pt x="99773" y="16229"/>
                    </a:cubicBezTo>
                    <a:cubicBezTo>
                      <a:pt x="100212" y="16594"/>
                      <a:pt x="100622" y="16999"/>
                      <a:pt x="100987" y="17443"/>
                    </a:cubicBezTo>
                    <a:cubicBezTo>
                      <a:pt x="101785" y="18469"/>
                      <a:pt x="102355" y="19780"/>
                      <a:pt x="103552" y="20293"/>
                    </a:cubicBezTo>
                    <a:cubicBezTo>
                      <a:pt x="105831" y="21262"/>
                      <a:pt x="108054" y="18583"/>
                      <a:pt x="108681" y="16133"/>
                    </a:cubicBezTo>
                    <a:cubicBezTo>
                      <a:pt x="109308" y="13682"/>
                      <a:pt x="109707" y="10775"/>
                      <a:pt x="111930" y="9635"/>
                    </a:cubicBezTo>
                    <a:cubicBezTo>
                      <a:pt x="114438" y="6557"/>
                      <a:pt x="119282" y="9977"/>
                      <a:pt x="121220" y="13454"/>
                    </a:cubicBezTo>
                    <a:cubicBezTo>
                      <a:pt x="123158" y="16930"/>
                      <a:pt x="126350" y="21376"/>
                      <a:pt x="129997" y="19837"/>
                    </a:cubicBezTo>
                    <a:cubicBezTo>
                      <a:pt x="131308" y="15107"/>
                      <a:pt x="134158" y="9293"/>
                      <a:pt x="139002" y="9863"/>
                    </a:cubicBezTo>
                    <a:cubicBezTo>
                      <a:pt x="143847" y="10433"/>
                      <a:pt x="145728" y="16531"/>
                      <a:pt x="150401" y="17671"/>
                    </a:cubicBezTo>
                    <a:cubicBezTo>
                      <a:pt x="155075" y="18811"/>
                      <a:pt x="159577" y="13169"/>
                      <a:pt x="161800" y="8381"/>
                    </a:cubicBezTo>
                    <a:cubicBezTo>
                      <a:pt x="164023" y="3594"/>
                      <a:pt x="169209" y="-1878"/>
                      <a:pt x="173997" y="630"/>
                    </a:cubicBezTo>
                    <a:cubicBezTo>
                      <a:pt x="177816" y="2625"/>
                      <a:pt x="177873" y="8153"/>
                      <a:pt x="180551" y="11573"/>
                    </a:cubicBezTo>
                    <a:cubicBezTo>
                      <a:pt x="182028" y="13180"/>
                      <a:pt x="183760" y="14525"/>
                      <a:pt x="185681" y="15563"/>
                    </a:cubicBezTo>
                    <a:cubicBezTo>
                      <a:pt x="191517" y="19347"/>
                      <a:pt x="196487" y="24317"/>
                      <a:pt x="200272" y="30153"/>
                    </a:cubicBezTo>
                    <a:lnTo>
                      <a:pt x="222101" y="33858"/>
                    </a:lnTo>
                    <a:cubicBezTo>
                      <a:pt x="227127" y="34206"/>
                      <a:pt x="231898" y="36212"/>
                      <a:pt x="235666" y="39557"/>
                    </a:cubicBezTo>
                    <a:cubicBezTo>
                      <a:pt x="238971" y="43262"/>
                      <a:pt x="238572" y="50500"/>
                      <a:pt x="233842" y="51982"/>
                    </a:cubicBezTo>
                    <a:cubicBezTo>
                      <a:pt x="231106" y="52837"/>
                      <a:pt x="228142" y="52039"/>
                      <a:pt x="226261" y="536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5" name="Freihandform: Form 271">
                <a:extLst>
                  <a:ext uri="{FF2B5EF4-FFF2-40B4-BE49-F238E27FC236}">
                    <a16:creationId xmlns:a16="http://schemas.microsoft.com/office/drawing/2014/main" id="{8CFEBB35-1778-E2BE-E9DF-9CDD56B84F21}"/>
                  </a:ext>
                </a:extLst>
              </p:cNvPr>
              <p:cNvSpPr/>
              <p:nvPr/>
            </p:nvSpPr>
            <p:spPr>
              <a:xfrm>
                <a:off x="4013972" y="1740797"/>
                <a:ext cx="328648" cy="202329"/>
              </a:xfrm>
              <a:custGeom>
                <a:avLst/>
                <a:gdLst>
                  <a:gd name="connsiteX0" fmla="*/ 21145 w 328648"/>
                  <a:gd name="connsiteY0" fmla="*/ 36557 h 202329"/>
                  <a:gd name="connsiteX1" fmla="*/ 24166 w 328648"/>
                  <a:gd name="connsiteY1" fmla="*/ 42257 h 202329"/>
                  <a:gd name="connsiteX2" fmla="*/ 30720 w 328648"/>
                  <a:gd name="connsiteY2" fmla="*/ 39977 h 202329"/>
                  <a:gd name="connsiteX3" fmla="*/ 35736 w 328648"/>
                  <a:gd name="connsiteY3" fmla="*/ 34278 h 202329"/>
                  <a:gd name="connsiteX4" fmla="*/ 41435 w 328648"/>
                  <a:gd name="connsiteY4" fmla="*/ 33480 h 202329"/>
                  <a:gd name="connsiteX5" fmla="*/ 59332 w 328648"/>
                  <a:gd name="connsiteY5" fmla="*/ 28179 h 202329"/>
                  <a:gd name="connsiteX6" fmla="*/ 57679 w 328648"/>
                  <a:gd name="connsiteY6" fmla="*/ 36614 h 202329"/>
                  <a:gd name="connsiteX7" fmla="*/ 48731 w 328648"/>
                  <a:gd name="connsiteY7" fmla="*/ 40604 h 202329"/>
                  <a:gd name="connsiteX8" fmla="*/ 44684 w 328648"/>
                  <a:gd name="connsiteY8" fmla="*/ 48583 h 202329"/>
                  <a:gd name="connsiteX9" fmla="*/ 59047 w 328648"/>
                  <a:gd name="connsiteY9" fmla="*/ 47614 h 202329"/>
                  <a:gd name="connsiteX10" fmla="*/ 60472 w 328648"/>
                  <a:gd name="connsiteY10" fmla="*/ 57190 h 202329"/>
                  <a:gd name="connsiteX11" fmla="*/ 68394 w 328648"/>
                  <a:gd name="connsiteY11" fmla="*/ 61407 h 202329"/>
                  <a:gd name="connsiteX12" fmla="*/ 72497 w 328648"/>
                  <a:gd name="connsiteY12" fmla="*/ 35133 h 202329"/>
                  <a:gd name="connsiteX13" fmla="*/ 74492 w 328648"/>
                  <a:gd name="connsiteY13" fmla="*/ 32226 h 202329"/>
                  <a:gd name="connsiteX14" fmla="*/ 83041 w 328648"/>
                  <a:gd name="connsiteY14" fmla="*/ 35532 h 202329"/>
                  <a:gd name="connsiteX15" fmla="*/ 86803 w 328648"/>
                  <a:gd name="connsiteY15" fmla="*/ 45221 h 202329"/>
                  <a:gd name="connsiteX16" fmla="*/ 91705 w 328648"/>
                  <a:gd name="connsiteY16" fmla="*/ 45620 h 202329"/>
                  <a:gd name="connsiteX17" fmla="*/ 92161 w 328648"/>
                  <a:gd name="connsiteY17" fmla="*/ 56278 h 202329"/>
                  <a:gd name="connsiteX18" fmla="*/ 98538 w 328648"/>
                  <a:gd name="connsiteY18" fmla="*/ 61962 h 202329"/>
                  <a:gd name="connsiteX19" fmla="*/ 97860 w 328648"/>
                  <a:gd name="connsiteY19" fmla="*/ 65112 h 202329"/>
                  <a:gd name="connsiteX20" fmla="*/ 108290 w 328648"/>
                  <a:gd name="connsiteY20" fmla="*/ 71666 h 202329"/>
                  <a:gd name="connsiteX21" fmla="*/ 108290 w 328648"/>
                  <a:gd name="connsiteY21" fmla="*/ 76910 h 202329"/>
                  <a:gd name="connsiteX22" fmla="*/ 118378 w 328648"/>
                  <a:gd name="connsiteY22" fmla="*/ 76910 h 202329"/>
                  <a:gd name="connsiteX23" fmla="*/ 110513 w 328648"/>
                  <a:gd name="connsiteY23" fmla="*/ 62262 h 202329"/>
                  <a:gd name="connsiteX24" fmla="*/ 110513 w 328648"/>
                  <a:gd name="connsiteY24" fmla="*/ 50407 h 202329"/>
                  <a:gd name="connsiteX25" fmla="*/ 103104 w 328648"/>
                  <a:gd name="connsiteY25" fmla="*/ 40376 h 202329"/>
                  <a:gd name="connsiteX26" fmla="*/ 100539 w 328648"/>
                  <a:gd name="connsiteY26" fmla="*/ 28977 h 202329"/>
                  <a:gd name="connsiteX27" fmla="*/ 103845 w 328648"/>
                  <a:gd name="connsiteY27" fmla="*/ 26469 h 202329"/>
                  <a:gd name="connsiteX28" fmla="*/ 115756 w 328648"/>
                  <a:gd name="connsiteY28" fmla="*/ 22765 h 202329"/>
                  <a:gd name="connsiteX29" fmla="*/ 121456 w 328648"/>
                  <a:gd name="connsiteY29" fmla="*/ 31884 h 202329"/>
                  <a:gd name="connsiteX30" fmla="*/ 143627 w 328648"/>
                  <a:gd name="connsiteY30" fmla="*/ 34392 h 202329"/>
                  <a:gd name="connsiteX31" fmla="*/ 132627 w 328648"/>
                  <a:gd name="connsiteY31" fmla="*/ 45791 h 202329"/>
                  <a:gd name="connsiteX32" fmla="*/ 132969 w 328648"/>
                  <a:gd name="connsiteY32" fmla="*/ 50521 h 202329"/>
                  <a:gd name="connsiteX33" fmla="*/ 140663 w 328648"/>
                  <a:gd name="connsiteY33" fmla="*/ 61920 h 202329"/>
                  <a:gd name="connsiteX34" fmla="*/ 145565 w 328648"/>
                  <a:gd name="connsiteY34" fmla="*/ 46304 h 202329"/>
                  <a:gd name="connsiteX35" fmla="*/ 156764 w 328648"/>
                  <a:gd name="connsiteY35" fmla="*/ 53472 h 202329"/>
                  <a:gd name="connsiteX36" fmla="*/ 156964 w 328648"/>
                  <a:gd name="connsiteY36" fmla="*/ 54853 h 202329"/>
                  <a:gd name="connsiteX37" fmla="*/ 157534 w 328648"/>
                  <a:gd name="connsiteY37" fmla="*/ 59754 h 202329"/>
                  <a:gd name="connsiteX38" fmla="*/ 161808 w 328648"/>
                  <a:gd name="connsiteY38" fmla="*/ 61692 h 202329"/>
                  <a:gd name="connsiteX39" fmla="*/ 183751 w 328648"/>
                  <a:gd name="connsiteY39" fmla="*/ 64884 h 202329"/>
                  <a:gd name="connsiteX40" fmla="*/ 190248 w 328648"/>
                  <a:gd name="connsiteY40" fmla="*/ 73319 h 202329"/>
                  <a:gd name="connsiteX41" fmla="*/ 203072 w 328648"/>
                  <a:gd name="connsiteY41" fmla="*/ 72863 h 202329"/>
                  <a:gd name="connsiteX42" fmla="*/ 213388 w 328648"/>
                  <a:gd name="connsiteY42" fmla="*/ 80044 h 202329"/>
                  <a:gd name="connsiteX43" fmla="*/ 224787 w 328648"/>
                  <a:gd name="connsiteY43" fmla="*/ 83863 h 202329"/>
                  <a:gd name="connsiteX44" fmla="*/ 225756 w 328648"/>
                  <a:gd name="connsiteY44" fmla="*/ 96288 h 202329"/>
                  <a:gd name="connsiteX45" fmla="*/ 237155 w 328648"/>
                  <a:gd name="connsiteY45" fmla="*/ 100785 h 202329"/>
                  <a:gd name="connsiteX46" fmla="*/ 237155 w 328648"/>
                  <a:gd name="connsiteY46" fmla="*/ 100791 h 202329"/>
                  <a:gd name="connsiteX47" fmla="*/ 237782 w 328648"/>
                  <a:gd name="connsiteY47" fmla="*/ 113956 h 202329"/>
                  <a:gd name="connsiteX48" fmla="*/ 251347 w 328648"/>
                  <a:gd name="connsiteY48" fmla="*/ 113272 h 202329"/>
                  <a:gd name="connsiteX49" fmla="*/ 260067 w 328648"/>
                  <a:gd name="connsiteY49" fmla="*/ 120739 h 202329"/>
                  <a:gd name="connsiteX50" fmla="*/ 259269 w 328648"/>
                  <a:gd name="connsiteY50" fmla="*/ 122961 h 202329"/>
                  <a:gd name="connsiteX51" fmla="*/ 262689 w 328648"/>
                  <a:gd name="connsiteY51" fmla="*/ 125412 h 202329"/>
                  <a:gd name="connsiteX52" fmla="*/ 288222 w 328648"/>
                  <a:gd name="connsiteY52" fmla="*/ 130143 h 202329"/>
                  <a:gd name="connsiteX53" fmla="*/ 284290 w 328648"/>
                  <a:gd name="connsiteY53" fmla="*/ 140459 h 202329"/>
                  <a:gd name="connsiteX54" fmla="*/ 272891 w 328648"/>
                  <a:gd name="connsiteY54" fmla="*/ 146671 h 202329"/>
                  <a:gd name="connsiteX55" fmla="*/ 270839 w 328648"/>
                  <a:gd name="connsiteY55" fmla="*/ 151345 h 202329"/>
                  <a:gd name="connsiteX56" fmla="*/ 254767 w 328648"/>
                  <a:gd name="connsiteY56" fmla="*/ 154480 h 202329"/>
                  <a:gd name="connsiteX57" fmla="*/ 253000 w 328648"/>
                  <a:gd name="connsiteY57" fmla="*/ 147013 h 202329"/>
                  <a:gd name="connsiteX58" fmla="*/ 245077 w 328648"/>
                  <a:gd name="connsiteY58" fmla="*/ 144676 h 202329"/>
                  <a:gd name="connsiteX59" fmla="*/ 225585 w 328648"/>
                  <a:gd name="connsiteY59" fmla="*/ 149749 h 202329"/>
                  <a:gd name="connsiteX60" fmla="*/ 213218 w 328648"/>
                  <a:gd name="connsiteY60" fmla="*/ 155448 h 202329"/>
                  <a:gd name="connsiteX61" fmla="*/ 207518 w 328648"/>
                  <a:gd name="connsiteY61" fmla="*/ 146386 h 202329"/>
                  <a:gd name="connsiteX62" fmla="*/ 222451 w 328648"/>
                  <a:gd name="connsiteY62" fmla="*/ 138977 h 202329"/>
                  <a:gd name="connsiteX63" fmla="*/ 220028 w 328648"/>
                  <a:gd name="connsiteY63" fmla="*/ 124427 h 202329"/>
                  <a:gd name="connsiteX64" fmla="*/ 219544 w 328648"/>
                  <a:gd name="connsiteY64" fmla="*/ 124101 h 202329"/>
                  <a:gd name="connsiteX65" fmla="*/ 210767 w 328648"/>
                  <a:gd name="connsiteY65" fmla="*/ 122050 h 202329"/>
                  <a:gd name="connsiteX66" fmla="*/ 208145 w 328648"/>
                  <a:gd name="connsiteY66" fmla="*/ 115039 h 202329"/>
                  <a:gd name="connsiteX67" fmla="*/ 198171 w 328648"/>
                  <a:gd name="connsiteY67" fmla="*/ 114526 h 202329"/>
                  <a:gd name="connsiteX68" fmla="*/ 196746 w 328648"/>
                  <a:gd name="connsiteY68" fmla="*/ 103526 h 202329"/>
                  <a:gd name="connsiteX69" fmla="*/ 197316 w 328648"/>
                  <a:gd name="connsiteY69" fmla="*/ 100563 h 202329"/>
                  <a:gd name="connsiteX70" fmla="*/ 201876 w 328648"/>
                  <a:gd name="connsiteY70" fmla="*/ 98283 h 202329"/>
                  <a:gd name="connsiteX71" fmla="*/ 212192 w 328648"/>
                  <a:gd name="connsiteY71" fmla="*/ 98796 h 202329"/>
                  <a:gd name="connsiteX72" fmla="*/ 217891 w 328648"/>
                  <a:gd name="connsiteY72" fmla="*/ 91728 h 202329"/>
                  <a:gd name="connsiteX73" fmla="*/ 214699 w 328648"/>
                  <a:gd name="connsiteY73" fmla="*/ 88765 h 202329"/>
                  <a:gd name="connsiteX74" fmla="*/ 195321 w 328648"/>
                  <a:gd name="connsiteY74" fmla="*/ 85972 h 202329"/>
                  <a:gd name="connsiteX75" fmla="*/ 192015 w 328648"/>
                  <a:gd name="connsiteY75" fmla="*/ 89392 h 202329"/>
                  <a:gd name="connsiteX76" fmla="*/ 166026 w 328648"/>
                  <a:gd name="connsiteY76" fmla="*/ 96459 h 202329"/>
                  <a:gd name="connsiteX77" fmla="*/ 163461 w 328648"/>
                  <a:gd name="connsiteY77" fmla="*/ 110594 h 202329"/>
                  <a:gd name="connsiteX78" fmla="*/ 155425 w 328648"/>
                  <a:gd name="connsiteY78" fmla="*/ 120910 h 202329"/>
                  <a:gd name="connsiteX79" fmla="*/ 157021 w 328648"/>
                  <a:gd name="connsiteY79" fmla="*/ 136754 h 202329"/>
                  <a:gd name="connsiteX80" fmla="*/ 144083 w 328648"/>
                  <a:gd name="connsiteY80" fmla="*/ 146101 h 202329"/>
                  <a:gd name="connsiteX81" fmla="*/ 142658 w 328648"/>
                  <a:gd name="connsiteY81" fmla="*/ 152542 h 202329"/>
                  <a:gd name="connsiteX82" fmla="*/ 126585 w 328648"/>
                  <a:gd name="connsiteY82" fmla="*/ 175739 h 202329"/>
                  <a:gd name="connsiteX83" fmla="*/ 123850 w 328648"/>
                  <a:gd name="connsiteY83" fmla="*/ 193578 h 202329"/>
                  <a:gd name="connsiteX84" fmla="*/ 109544 w 328648"/>
                  <a:gd name="connsiteY84" fmla="*/ 202184 h 202329"/>
                  <a:gd name="connsiteX85" fmla="*/ 107891 w 328648"/>
                  <a:gd name="connsiteY85" fmla="*/ 194091 h 202329"/>
                  <a:gd name="connsiteX86" fmla="*/ 98487 w 328648"/>
                  <a:gd name="connsiteY86" fmla="*/ 194091 h 202329"/>
                  <a:gd name="connsiteX87" fmla="*/ 93073 w 328648"/>
                  <a:gd name="connsiteY87" fmla="*/ 187194 h 202329"/>
                  <a:gd name="connsiteX88" fmla="*/ 95238 w 328648"/>
                  <a:gd name="connsiteY88" fmla="*/ 179272 h 202329"/>
                  <a:gd name="connsiteX89" fmla="*/ 89026 w 328648"/>
                  <a:gd name="connsiteY89" fmla="*/ 173573 h 202329"/>
                  <a:gd name="connsiteX90" fmla="*/ 80591 w 328648"/>
                  <a:gd name="connsiteY90" fmla="*/ 171065 h 202329"/>
                  <a:gd name="connsiteX91" fmla="*/ 79223 w 328648"/>
                  <a:gd name="connsiteY91" fmla="*/ 163599 h 202329"/>
                  <a:gd name="connsiteX92" fmla="*/ 67824 w 328648"/>
                  <a:gd name="connsiteY92" fmla="*/ 163029 h 202329"/>
                  <a:gd name="connsiteX93" fmla="*/ 63812 w 328648"/>
                  <a:gd name="connsiteY93" fmla="*/ 153874 h 202329"/>
                  <a:gd name="connsiteX94" fmla="*/ 63891 w 328648"/>
                  <a:gd name="connsiteY94" fmla="*/ 153682 h 202329"/>
                  <a:gd name="connsiteX95" fmla="*/ 66684 w 328648"/>
                  <a:gd name="connsiteY95" fmla="*/ 151060 h 202329"/>
                  <a:gd name="connsiteX96" fmla="*/ 99114 w 328648"/>
                  <a:gd name="connsiteY96" fmla="*/ 143138 h 202329"/>
                  <a:gd name="connsiteX97" fmla="*/ 114673 w 328648"/>
                  <a:gd name="connsiteY97" fmla="*/ 144505 h 202329"/>
                  <a:gd name="connsiteX98" fmla="*/ 124306 w 328648"/>
                  <a:gd name="connsiteY98" fmla="*/ 134075 h 202329"/>
                  <a:gd name="connsiteX99" fmla="*/ 90109 w 328648"/>
                  <a:gd name="connsiteY99" fmla="*/ 130371 h 202329"/>
                  <a:gd name="connsiteX100" fmla="*/ 74891 w 328648"/>
                  <a:gd name="connsiteY100" fmla="*/ 138464 h 202329"/>
                  <a:gd name="connsiteX101" fmla="*/ 48104 w 328648"/>
                  <a:gd name="connsiteY101" fmla="*/ 133448 h 202329"/>
                  <a:gd name="connsiteX102" fmla="*/ 75860 w 328648"/>
                  <a:gd name="connsiteY102" fmla="*/ 122904 h 202329"/>
                  <a:gd name="connsiteX103" fmla="*/ 100254 w 328648"/>
                  <a:gd name="connsiteY103" fmla="*/ 107972 h 202329"/>
                  <a:gd name="connsiteX104" fmla="*/ 108290 w 328648"/>
                  <a:gd name="connsiteY104" fmla="*/ 107972 h 202329"/>
                  <a:gd name="connsiteX105" fmla="*/ 116611 w 328648"/>
                  <a:gd name="connsiteY105" fmla="*/ 93894 h 202329"/>
                  <a:gd name="connsiteX106" fmla="*/ 101223 w 328648"/>
                  <a:gd name="connsiteY106" fmla="*/ 95490 h 202329"/>
                  <a:gd name="connsiteX107" fmla="*/ 94611 w 328648"/>
                  <a:gd name="connsiteY107" fmla="*/ 98853 h 202329"/>
                  <a:gd name="connsiteX108" fmla="*/ 84717 w 328648"/>
                  <a:gd name="connsiteY108" fmla="*/ 80469 h 202329"/>
                  <a:gd name="connsiteX109" fmla="*/ 83213 w 328648"/>
                  <a:gd name="connsiteY109" fmla="*/ 80101 h 202329"/>
                  <a:gd name="connsiteX110" fmla="*/ 77513 w 328648"/>
                  <a:gd name="connsiteY110" fmla="*/ 92925 h 202329"/>
                  <a:gd name="connsiteX111" fmla="*/ 64119 w 328648"/>
                  <a:gd name="connsiteY111" fmla="*/ 95661 h 202329"/>
                  <a:gd name="connsiteX112" fmla="*/ 60243 w 328648"/>
                  <a:gd name="connsiteY112" fmla="*/ 112759 h 202329"/>
                  <a:gd name="connsiteX113" fmla="*/ 53689 w 328648"/>
                  <a:gd name="connsiteY113" fmla="*/ 113785 h 202329"/>
                  <a:gd name="connsiteX114" fmla="*/ 30891 w 328648"/>
                  <a:gd name="connsiteY114" fmla="*/ 109340 h 202329"/>
                  <a:gd name="connsiteX115" fmla="*/ 15161 w 328648"/>
                  <a:gd name="connsiteY115" fmla="*/ 100164 h 202329"/>
                  <a:gd name="connsiteX116" fmla="*/ 15617 w 328648"/>
                  <a:gd name="connsiteY116" fmla="*/ 94464 h 202329"/>
                  <a:gd name="connsiteX117" fmla="*/ 9461 w 328648"/>
                  <a:gd name="connsiteY117" fmla="*/ 82552 h 202329"/>
                  <a:gd name="connsiteX118" fmla="*/ 12710 w 328648"/>
                  <a:gd name="connsiteY118" fmla="*/ 76853 h 202329"/>
                  <a:gd name="connsiteX119" fmla="*/ 17213 w 328648"/>
                  <a:gd name="connsiteY119" fmla="*/ 74915 h 202329"/>
                  <a:gd name="connsiteX120" fmla="*/ 29238 w 328648"/>
                  <a:gd name="connsiteY120" fmla="*/ 62832 h 202329"/>
                  <a:gd name="connsiteX121" fmla="*/ 13052 w 328648"/>
                  <a:gd name="connsiteY121" fmla="*/ 61749 h 202329"/>
                  <a:gd name="connsiteX122" fmla="*/ 4446 w 328648"/>
                  <a:gd name="connsiteY122" fmla="*/ 65112 h 202329"/>
                  <a:gd name="connsiteX123" fmla="*/ 1767 w 328648"/>
                  <a:gd name="connsiteY123" fmla="*/ 59412 h 202329"/>
                  <a:gd name="connsiteX124" fmla="*/ 0 w 328648"/>
                  <a:gd name="connsiteY124" fmla="*/ 43511 h 202329"/>
                  <a:gd name="connsiteX125" fmla="*/ 10487 w 328648"/>
                  <a:gd name="connsiteY125" fmla="*/ 32511 h 202329"/>
                  <a:gd name="connsiteX126" fmla="*/ 21077 w 328648"/>
                  <a:gd name="connsiteY126" fmla="*/ 36407 h 202329"/>
                  <a:gd name="connsiteX127" fmla="*/ 21145 w 328648"/>
                  <a:gd name="connsiteY127" fmla="*/ 36557 h 202329"/>
                  <a:gd name="connsiteX128" fmla="*/ 286684 w 328648"/>
                  <a:gd name="connsiteY128" fmla="*/ 13418 h 202329"/>
                  <a:gd name="connsiteX129" fmla="*/ 282637 w 328648"/>
                  <a:gd name="connsiteY129" fmla="*/ 9257 h 202329"/>
                  <a:gd name="connsiteX130" fmla="*/ 269129 w 328648"/>
                  <a:gd name="connsiteY130" fmla="*/ 10739 h 202329"/>
                  <a:gd name="connsiteX131" fmla="*/ 255849 w 328648"/>
                  <a:gd name="connsiteY131" fmla="*/ 10055 h 202329"/>
                  <a:gd name="connsiteX132" fmla="*/ 251575 w 328648"/>
                  <a:gd name="connsiteY132" fmla="*/ 3444 h 202329"/>
                  <a:gd name="connsiteX133" fmla="*/ 240176 w 328648"/>
                  <a:gd name="connsiteY133" fmla="*/ 879 h 202329"/>
                  <a:gd name="connsiteX134" fmla="*/ 240176 w 328648"/>
                  <a:gd name="connsiteY134" fmla="*/ 7262 h 202329"/>
                  <a:gd name="connsiteX135" fmla="*/ 244792 w 328648"/>
                  <a:gd name="connsiteY135" fmla="*/ 12563 h 202329"/>
                  <a:gd name="connsiteX136" fmla="*/ 243881 w 328648"/>
                  <a:gd name="connsiteY136" fmla="*/ 18775 h 202329"/>
                  <a:gd name="connsiteX137" fmla="*/ 241829 w 328648"/>
                  <a:gd name="connsiteY137" fmla="*/ 15127 h 202329"/>
                  <a:gd name="connsiteX138" fmla="*/ 231114 w 328648"/>
                  <a:gd name="connsiteY138" fmla="*/ 12563 h 202329"/>
                  <a:gd name="connsiteX139" fmla="*/ 220969 w 328648"/>
                  <a:gd name="connsiteY139" fmla="*/ 6863 h 202329"/>
                  <a:gd name="connsiteX140" fmla="*/ 213275 w 328648"/>
                  <a:gd name="connsiteY140" fmla="*/ 10682 h 202329"/>
                  <a:gd name="connsiteX141" fmla="*/ 205580 w 328648"/>
                  <a:gd name="connsiteY141" fmla="*/ 9827 h 202329"/>
                  <a:gd name="connsiteX142" fmla="*/ 203984 w 328648"/>
                  <a:gd name="connsiteY142" fmla="*/ 1962 h 202329"/>
                  <a:gd name="connsiteX143" fmla="*/ 184834 w 328648"/>
                  <a:gd name="connsiteY143" fmla="*/ 3785 h 202329"/>
                  <a:gd name="connsiteX144" fmla="*/ 173435 w 328648"/>
                  <a:gd name="connsiteY144" fmla="*/ 7604 h 202329"/>
                  <a:gd name="connsiteX145" fmla="*/ 172181 w 328648"/>
                  <a:gd name="connsiteY145" fmla="*/ 13703 h 202329"/>
                  <a:gd name="connsiteX146" fmla="*/ 167964 w 328648"/>
                  <a:gd name="connsiteY146" fmla="*/ 13076 h 202329"/>
                  <a:gd name="connsiteX147" fmla="*/ 166083 w 328648"/>
                  <a:gd name="connsiteY147" fmla="*/ 8801 h 202329"/>
                  <a:gd name="connsiteX148" fmla="*/ 160098 w 328648"/>
                  <a:gd name="connsiteY148" fmla="*/ 6521 h 202329"/>
                  <a:gd name="connsiteX149" fmla="*/ 157476 w 328648"/>
                  <a:gd name="connsiteY149" fmla="*/ 252 h 202329"/>
                  <a:gd name="connsiteX150" fmla="*/ 149155 w 328648"/>
                  <a:gd name="connsiteY150" fmla="*/ 1791 h 202329"/>
                  <a:gd name="connsiteX151" fmla="*/ 154855 w 328648"/>
                  <a:gd name="connsiteY151" fmla="*/ 17464 h 202329"/>
                  <a:gd name="connsiteX152" fmla="*/ 158788 w 328648"/>
                  <a:gd name="connsiteY152" fmla="*/ 19858 h 202329"/>
                  <a:gd name="connsiteX153" fmla="*/ 158788 w 328648"/>
                  <a:gd name="connsiteY153" fmla="*/ 30174 h 202329"/>
                  <a:gd name="connsiteX154" fmla="*/ 168762 w 328648"/>
                  <a:gd name="connsiteY154" fmla="*/ 34392 h 202329"/>
                  <a:gd name="connsiteX155" fmla="*/ 201876 w 328648"/>
                  <a:gd name="connsiteY155" fmla="*/ 28692 h 202329"/>
                  <a:gd name="connsiteX156" fmla="*/ 230373 w 328648"/>
                  <a:gd name="connsiteY156" fmla="*/ 28122 h 202329"/>
                  <a:gd name="connsiteX157" fmla="*/ 231855 w 328648"/>
                  <a:gd name="connsiteY157" fmla="*/ 30117 h 202329"/>
                  <a:gd name="connsiteX158" fmla="*/ 229176 w 328648"/>
                  <a:gd name="connsiteY158" fmla="*/ 33024 h 202329"/>
                  <a:gd name="connsiteX159" fmla="*/ 224844 w 328648"/>
                  <a:gd name="connsiteY159" fmla="*/ 33651 h 202329"/>
                  <a:gd name="connsiteX160" fmla="*/ 218860 w 328648"/>
                  <a:gd name="connsiteY160" fmla="*/ 39977 h 202329"/>
                  <a:gd name="connsiteX161" fmla="*/ 211222 w 328648"/>
                  <a:gd name="connsiteY161" fmla="*/ 41630 h 202329"/>
                  <a:gd name="connsiteX162" fmla="*/ 196803 w 328648"/>
                  <a:gd name="connsiteY162" fmla="*/ 41630 h 202329"/>
                  <a:gd name="connsiteX163" fmla="*/ 188482 w 328648"/>
                  <a:gd name="connsiteY163" fmla="*/ 46475 h 202329"/>
                  <a:gd name="connsiteX164" fmla="*/ 190191 w 328648"/>
                  <a:gd name="connsiteY164" fmla="*/ 49666 h 202329"/>
                  <a:gd name="connsiteX165" fmla="*/ 213559 w 328648"/>
                  <a:gd name="connsiteY165" fmla="*/ 56392 h 202329"/>
                  <a:gd name="connsiteX166" fmla="*/ 232425 w 328648"/>
                  <a:gd name="connsiteY166" fmla="*/ 54682 h 202329"/>
                  <a:gd name="connsiteX167" fmla="*/ 249067 w 328648"/>
                  <a:gd name="connsiteY167" fmla="*/ 56335 h 202329"/>
                  <a:gd name="connsiteX168" fmla="*/ 256306 w 328648"/>
                  <a:gd name="connsiteY168" fmla="*/ 63801 h 202329"/>
                  <a:gd name="connsiteX169" fmla="*/ 262974 w 328648"/>
                  <a:gd name="connsiteY169" fmla="*/ 65283 h 202329"/>
                  <a:gd name="connsiteX170" fmla="*/ 272207 w 328648"/>
                  <a:gd name="connsiteY170" fmla="*/ 64827 h 202329"/>
                  <a:gd name="connsiteX171" fmla="*/ 278647 w 328648"/>
                  <a:gd name="connsiteY171" fmla="*/ 58728 h 202329"/>
                  <a:gd name="connsiteX172" fmla="*/ 279787 w 328648"/>
                  <a:gd name="connsiteY172" fmla="*/ 55765 h 202329"/>
                  <a:gd name="connsiteX173" fmla="*/ 281896 w 328648"/>
                  <a:gd name="connsiteY173" fmla="*/ 55366 h 202329"/>
                  <a:gd name="connsiteX174" fmla="*/ 297057 w 328648"/>
                  <a:gd name="connsiteY174" fmla="*/ 56620 h 202329"/>
                  <a:gd name="connsiteX175" fmla="*/ 308000 w 328648"/>
                  <a:gd name="connsiteY175" fmla="*/ 47671 h 202329"/>
                  <a:gd name="connsiteX176" fmla="*/ 315922 w 328648"/>
                  <a:gd name="connsiteY176" fmla="*/ 45620 h 202329"/>
                  <a:gd name="connsiteX177" fmla="*/ 318487 w 328648"/>
                  <a:gd name="connsiteY177" fmla="*/ 37013 h 202329"/>
                  <a:gd name="connsiteX178" fmla="*/ 325839 w 328648"/>
                  <a:gd name="connsiteY178" fmla="*/ 34677 h 202329"/>
                  <a:gd name="connsiteX179" fmla="*/ 328461 w 328648"/>
                  <a:gd name="connsiteY179" fmla="*/ 27894 h 202329"/>
                  <a:gd name="connsiteX180" fmla="*/ 322761 w 328648"/>
                  <a:gd name="connsiteY180" fmla="*/ 22480 h 202329"/>
                  <a:gd name="connsiteX181" fmla="*/ 320482 w 328648"/>
                  <a:gd name="connsiteY181" fmla="*/ 22480 h 202329"/>
                  <a:gd name="connsiteX182" fmla="*/ 310621 w 328648"/>
                  <a:gd name="connsiteY182" fmla="*/ 23734 h 202329"/>
                  <a:gd name="connsiteX183" fmla="*/ 308797 w 328648"/>
                  <a:gd name="connsiteY183" fmla="*/ 17578 h 202329"/>
                  <a:gd name="connsiteX184" fmla="*/ 293466 w 328648"/>
                  <a:gd name="connsiteY184" fmla="*/ 13076 h 202329"/>
                  <a:gd name="connsiteX185" fmla="*/ 286684 w 328648"/>
                  <a:gd name="connsiteY185" fmla="*/ 13418 h 20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328648" h="202329">
                    <a:moveTo>
                      <a:pt x="21145" y="36557"/>
                    </a:moveTo>
                    <a:cubicBezTo>
                      <a:pt x="22057" y="38609"/>
                      <a:pt x="22228" y="41231"/>
                      <a:pt x="24166" y="42257"/>
                    </a:cubicBezTo>
                    <a:cubicBezTo>
                      <a:pt x="26104" y="43283"/>
                      <a:pt x="29125" y="42257"/>
                      <a:pt x="30720" y="39977"/>
                    </a:cubicBezTo>
                    <a:cubicBezTo>
                      <a:pt x="32316" y="37697"/>
                      <a:pt x="33513" y="35646"/>
                      <a:pt x="35736" y="34278"/>
                    </a:cubicBezTo>
                    <a:cubicBezTo>
                      <a:pt x="37554" y="33593"/>
                      <a:pt x="39497" y="33320"/>
                      <a:pt x="41435" y="33480"/>
                    </a:cubicBezTo>
                    <a:cubicBezTo>
                      <a:pt x="47762" y="33308"/>
                      <a:pt x="53934" y="31480"/>
                      <a:pt x="59332" y="28179"/>
                    </a:cubicBezTo>
                    <a:cubicBezTo>
                      <a:pt x="61782" y="30345"/>
                      <a:pt x="60358" y="34677"/>
                      <a:pt x="57679" y="36614"/>
                    </a:cubicBezTo>
                    <a:cubicBezTo>
                      <a:pt x="54800" y="38162"/>
                      <a:pt x="51808" y="39496"/>
                      <a:pt x="48731" y="40604"/>
                    </a:cubicBezTo>
                    <a:cubicBezTo>
                      <a:pt x="45824" y="42143"/>
                      <a:pt x="43316" y="45563"/>
                      <a:pt x="44684" y="48583"/>
                    </a:cubicBezTo>
                    <a:lnTo>
                      <a:pt x="59047" y="47614"/>
                    </a:lnTo>
                    <a:cubicBezTo>
                      <a:pt x="58762" y="50874"/>
                      <a:pt x="59252" y="54153"/>
                      <a:pt x="60472" y="57190"/>
                    </a:cubicBezTo>
                    <a:cubicBezTo>
                      <a:pt x="61799" y="60276"/>
                      <a:pt x="65094" y="62028"/>
                      <a:pt x="68394" y="61407"/>
                    </a:cubicBezTo>
                    <a:cubicBezTo>
                      <a:pt x="67339" y="52438"/>
                      <a:pt x="68759" y="43352"/>
                      <a:pt x="72497" y="35133"/>
                    </a:cubicBezTo>
                    <a:cubicBezTo>
                      <a:pt x="72936" y="34028"/>
                      <a:pt x="73620" y="33035"/>
                      <a:pt x="74492" y="32226"/>
                    </a:cubicBezTo>
                    <a:cubicBezTo>
                      <a:pt x="77285" y="30117"/>
                      <a:pt x="81389" y="32226"/>
                      <a:pt x="83041" y="35532"/>
                    </a:cubicBezTo>
                    <a:cubicBezTo>
                      <a:pt x="84694" y="38837"/>
                      <a:pt x="84979" y="42257"/>
                      <a:pt x="86803" y="45221"/>
                    </a:cubicBezTo>
                    <a:lnTo>
                      <a:pt x="91705" y="45620"/>
                    </a:lnTo>
                    <a:cubicBezTo>
                      <a:pt x="91705" y="49210"/>
                      <a:pt x="91705" y="52744"/>
                      <a:pt x="92161" y="56278"/>
                    </a:cubicBezTo>
                    <a:cubicBezTo>
                      <a:pt x="95489" y="56086"/>
                      <a:pt x="98350" y="58630"/>
                      <a:pt x="98538" y="61962"/>
                    </a:cubicBezTo>
                    <a:cubicBezTo>
                      <a:pt x="98601" y="63054"/>
                      <a:pt x="98367" y="64143"/>
                      <a:pt x="97860" y="65112"/>
                    </a:cubicBezTo>
                    <a:cubicBezTo>
                      <a:pt x="100995" y="67800"/>
                      <a:pt x="104511" y="70009"/>
                      <a:pt x="108290" y="71666"/>
                    </a:cubicBezTo>
                    <a:lnTo>
                      <a:pt x="108290" y="76910"/>
                    </a:lnTo>
                    <a:lnTo>
                      <a:pt x="118378" y="76910"/>
                    </a:lnTo>
                    <a:cubicBezTo>
                      <a:pt x="120373" y="71210"/>
                      <a:pt x="112223" y="67791"/>
                      <a:pt x="110513" y="62262"/>
                    </a:cubicBezTo>
                    <a:cubicBezTo>
                      <a:pt x="109373" y="58443"/>
                      <a:pt x="111482" y="54283"/>
                      <a:pt x="110513" y="50407"/>
                    </a:cubicBezTo>
                    <a:cubicBezTo>
                      <a:pt x="109544" y="46532"/>
                      <a:pt x="106010" y="43454"/>
                      <a:pt x="103104" y="40376"/>
                    </a:cubicBezTo>
                    <a:cubicBezTo>
                      <a:pt x="100197" y="37298"/>
                      <a:pt x="97974" y="32454"/>
                      <a:pt x="100539" y="28977"/>
                    </a:cubicBezTo>
                    <a:cubicBezTo>
                      <a:pt x="101456" y="27923"/>
                      <a:pt x="102585" y="27070"/>
                      <a:pt x="103845" y="26469"/>
                    </a:cubicBezTo>
                    <a:cubicBezTo>
                      <a:pt x="107310" y="23974"/>
                      <a:pt x="111488" y="22674"/>
                      <a:pt x="115756" y="22765"/>
                    </a:cubicBezTo>
                    <a:cubicBezTo>
                      <a:pt x="119917" y="23392"/>
                      <a:pt x="123565" y="28464"/>
                      <a:pt x="121456" y="31884"/>
                    </a:cubicBezTo>
                    <a:cubicBezTo>
                      <a:pt x="128449" y="27119"/>
                      <a:pt x="137876" y="28184"/>
                      <a:pt x="143627" y="34392"/>
                    </a:cubicBezTo>
                    <a:cubicBezTo>
                      <a:pt x="143627" y="40091"/>
                      <a:pt x="134166" y="40490"/>
                      <a:pt x="132627" y="45791"/>
                    </a:cubicBezTo>
                    <a:cubicBezTo>
                      <a:pt x="132348" y="47371"/>
                      <a:pt x="132462" y="48998"/>
                      <a:pt x="132969" y="50521"/>
                    </a:cubicBezTo>
                    <a:cubicBezTo>
                      <a:pt x="134052" y="55195"/>
                      <a:pt x="135990" y="60780"/>
                      <a:pt x="140663" y="61920"/>
                    </a:cubicBezTo>
                    <a:cubicBezTo>
                      <a:pt x="142316" y="56734"/>
                      <a:pt x="143912" y="51547"/>
                      <a:pt x="145565" y="46304"/>
                    </a:cubicBezTo>
                    <a:cubicBezTo>
                      <a:pt x="150637" y="45190"/>
                      <a:pt x="155653" y="48400"/>
                      <a:pt x="156764" y="53472"/>
                    </a:cubicBezTo>
                    <a:cubicBezTo>
                      <a:pt x="156867" y="53927"/>
                      <a:pt x="156929" y="54388"/>
                      <a:pt x="156964" y="54853"/>
                    </a:cubicBezTo>
                    <a:cubicBezTo>
                      <a:pt x="156964" y="56506"/>
                      <a:pt x="156565" y="58386"/>
                      <a:pt x="157534" y="59754"/>
                    </a:cubicBezTo>
                    <a:cubicBezTo>
                      <a:pt x="158616" y="60984"/>
                      <a:pt x="160172" y="61690"/>
                      <a:pt x="161808" y="61692"/>
                    </a:cubicBezTo>
                    <a:lnTo>
                      <a:pt x="183751" y="64884"/>
                    </a:lnTo>
                    <a:cubicBezTo>
                      <a:pt x="181357" y="68418"/>
                      <a:pt x="185917" y="72977"/>
                      <a:pt x="190248" y="73319"/>
                    </a:cubicBezTo>
                    <a:cubicBezTo>
                      <a:pt x="194500" y="72799"/>
                      <a:pt x="198792" y="72646"/>
                      <a:pt x="203072" y="72863"/>
                    </a:cubicBezTo>
                    <a:cubicBezTo>
                      <a:pt x="207039" y="74393"/>
                      <a:pt x="210579" y="76856"/>
                      <a:pt x="213388" y="80044"/>
                    </a:cubicBezTo>
                    <a:cubicBezTo>
                      <a:pt x="216261" y="83222"/>
                      <a:pt x="220581" y="84670"/>
                      <a:pt x="224787" y="83863"/>
                    </a:cubicBezTo>
                    <a:lnTo>
                      <a:pt x="225756" y="96288"/>
                    </a:lnTo>
                    <a:cubicBezTo>
                      <a:pt x="230145" y="94383"/>
                      <a:pt x="235246" y="96396"/>
                      <a:pt x="237155" y="100785"/>
                    </a:cubicBezTo>
                    <a:cubicBezTo>
                      <a:pt x="237155" y="100787"/>
                      <a:pt x="237155" y="100789"/>
                      <a:pt x="237155" y="100791"/>
                    </a:cubicBezTo>
                    <a:cubicBezTo>
                      <a:pt x="238820" y="104988"/>
                      <a:pt x="239042" y="109620"/>
                      <a:pt x="237782" y="113956"/>
                    </a:cubicBezTo>
                    <a:cubicBezTo>
                      <a:pt x="242000" y="115837"/>
                      <a:pt x="246787" y="113671"/>
                      <a:pt x="251347" y="113272"/>
                    </a:cubicBezTo>
                    <a:cubicBezTo>
                      <a:pt x="255907" y="112873"/>
                      <a:pt x="261777" y="116464"/>
                      <a:pt x="260067" y="120739"/>
                    </a:cubicBezTo>
                    <a:cubicBezTo>
                      <a:pt x="259782" y="121480"/>
                      <a:pt x="259212" y="122164"/>
                      <a:pt x="259269" y="122961"/>
                    </a:cubicBezTo>
                    <a:cubicBezTo>
                      <a:pt x="259326" y="123759"/>
                      <a:pt x="261207" y="125184"/>
                      <a:pt x="262689" y="125412"/>
                    </a:cubicBezTo>
                    <a:lnTo>
                      <a:pt x="288222" y="130143"/>
                    </a:lnTo>
                    <a:cubicBezTo>
                      <a:pt x="291699" y="132822"/>
                      <a:pt x="288222" y="138635"/>
                      <a:pt x="284290" y="140459"/>
                    </a:cubicBezTo>
                    <a:cubicBezTo>
                      <a:pt x="280357" y="142283"/>
                      <a:pt x="275114" y="142910"/>
                      <a:pt x="272891" y="146671"/>
                    </a:cubicBezTo>
                    <a:cubicBezTo>
                      <a:pt x="272036" y="148153"/>
                      <a:pt x="271694" y="149863"/>
                      <a:pt x="270839" y="151345"/>
                    </a:cubicBezTo>
                    <a:cubicBezTo>
                      <a:pt x="267818" y="156360"/>
                      <a:pt x="260466" y="155733"/>
                      <a:pt x="254767" y="154480"/>
                    </a:cubicBezTo>
                    <a:cubicBezTo>
                      <a:pt x="256191" y="151907"/>
                      <a:pt x="255428" y="148673"/>
                      <a:pt x="253000" y="147013"/>
                    </a:cubicBezTo>
                    <a:cubicBezTo>
                      <a:pt x="250680" y="145401"/>
                      <a:pt x="247899" y="144581"/>
                      <a:pt x="245077" y="144676"/>
                    </a:cubicBezTo>
                    <a:cubicBezTo>
                      <a:pt x="238232" y="144479"/>
                      <a:pt x="231467" y="146239"/>
                      <a:pt x="225585" y="149749"/>
                    </a:cubicBezTo>
                    <a:cubicBezTo>
                      <a:pt x="222023" y="152685"/>
                      <a:pt x="217766" y="154648"/>
                      <a:pt x="213218" y="155448"/>
                    </a:cubicBezTo>
                    <a:cubicBezTo>
                      <a:pt x="208658" y="155448"/>
                      <a:pt x="204212" y="149749"/>
                      <a:pt x="207518" y="146386"/>
                    </a:cubicBezTo>
                    <a:cubicBezTo>
                      <a:pt x="213331" y="146192"/>
                      <a:pt x="218780" y="143490"/>
                      <a:pt x="222451" y="138977"/>
                    </a:cubicBezTo>
                    <a:cubicBezTo>
                      <a:pt x="225802" y="134290"/>
                      <a:pt x="224713" y="127776"/>
                      <a:pt x="220028" y="124427"/>
                    </a:cubicBezTo>
                    <a:cubicBezTo>
                      <a:pt x="219869" y="124314"/>
                      <a:pt x="219709" y="124206"/>
                      <a:pt x="219544" y="124101"/>
                    </a:cubicBezTo>
                    <a:cubicBezTo>
                      <a:pt x="216808" y="122790"/>
                      <a:pt x="213844" y="123189"/>
                      <a:pt x="210767" y="122050"/>
                    </a:cubicBezTo>
                    <a:cubicBezTo>
                      <a:pt x="207689" y="120910"/>
                      <a:pt x="205865" y="116977"/>
                      <a:pt x="208145" y="115039"/>
                    </a:cubicBezTo>
                    <a:lnTo>
                      <a:pt x="198171" y="114526"/>
                    </a:lnTo>
                    <a:cubicBezTo>
                      <a:pt x="197185" y="110944"/>
                      <a:pt x="196706" y="107241"/>
                      <a:pt x="196746" y="103526"/>
                    </a:cubicBezTo>
                    <a:cubicBezTo>
                      <a:pt x="196729" y="102509"/>
                      <a:pt x="196923" y="101501"/>
                      <a:pt x="197316" y="100563"/>
                    </a:cubicBezTo>
                    <a:cubicBezTo>
                      <a:pt x="198393" y="99127"/>
                      <a:pt x="200080" y="98283"/>
                      <a:pt x="201876" y="98283"/>
                    </a:cubicBezTo>
                    <a:cubicBezTo>
                      <a:pt x="205295" y="98283"/>
                      <a:pt x="208772" y="99252"/>
                      <a:pt x="212192" y="98796"/>
                    </a:cubicBezTo>
                    <a:cubicBezTo>
                      <a:pt x="215611" y="98340"/>
                      <a:pt x="219088" y="94863"/>
                      <a:pt x="217891" y="91728"/>
                    </a:cubicBezTo>
                    <a:cubicBezTo>
                      <a:pt x="217122" y="90465"/>
                      <a:pt x="216016" y="89440"/>
                      <a:pt x="214699" y="88765"/>
                    </a:cubicBezTo>
                    <a:cubicBezTo>
                      <a:pt x="209000" y="85117"/>
                      <a:pt x="200679" y="81469"/>
                      <a:pt x="195321" y="85972"/>
                    </a:cubicBezTo>
                    <a:cubicBezTo>
                      <a:pt x="194124" y="86998"/>
                      <a:pt x="193212" y="88309"/>
                      <a:pt x="192015" y="89392"/>
                    </a:cubicBezTo>
                    <a:cubicBezTo>
                      <a:pt x="185062" y="95433"/>
                      <a:pt x="171896" y="89392"/>
                      <a:pt x="166026" y="96459"/>
                    </a:cubicBezTo>
                    <a:cubicBezTo>
                      <a:pt x="163689" y="100778"/>
                      <a:pt x="162788" y="105729"/>
                      <a:pt x="163461" y="110594"/>
                    </a:cubicBezTo>
                    <a:cubicBezTo>
                      <a:pt x="163461" y="115495"/>
                      <a:pt x="160269" y="121366"/>
                      <a:pt x="155425" y="120910"/>
                    </a:cubicBezTo>
                    <a:cubicBezTo>
                      <a:pt x="158685" y="125550"/>
                      <a:pt x="159289" y="131556"/>
                      <a:pt x="157021" y="136754"/>
                    </a:cubicBezTo>
                    <a:cubicBezTo>
                      <a:pt x="154615" y="141898"/>
                      <a:pt x="149720" y="145433"/>
                      <a:pt x="144083" y="146101"/>
                    </a:cubicBezTo>
                    <a:lnTo>
                      <a:pt x="142658" y="152542"/>
                    </a:lnTo>
                    <a:cubicBezTo>
                      <a:pt x="132513" y="153625"/>
                      <a:pt x="127440" y="165537"/>
                      <a:pt x="126585" y="175739"/>
                    </a:cubicBezTo>
                    <a:cubicBezTo>
                      <a:pt x="126637" y="181793"/>
                      <a:pt x="125713" y="187817"/>
                      <a:pt x="123850" y="193578"/>
                    </a:cubicBezTo>
                    <a:cubicBezTo>
                      <a:pt x="121758" y="199505"/>
                      <a:pt x="115756" y="203115"/>
                      <a:pt x="109544" y="202184"/>
                    </a:cubicBezTo>
                    <a:cubicBezTo>
                      <a:pt x="108290" y="199679"/>
                      <a:pt x="107720" y="196887"/>
                      <a:pt x="107891" y="194091"/>
                    </a:cubicBezTo>
                    <a:cubicBezTo>
                      <a:pt x="104796" y="194804"/>
                      <a:pt x="101582" y="194804"/>
                      <a:pt x="98487" y="194091"/>
                    </a:cubicBezTo>
                    <a:cubicBezTo>
                      <a:pt x="95358" y="193238"/>
                      <a:pt x="93158" y="190436"/>
                      <a:pt x="93073" y="187194"/>
                    </a:cubicBezTo>
                    <a:cubicBezTo>
                      <a:pt x="93073" y="184459"/>
                      <a:pt x="95523" y="182008"/>
                      <a:pt x="95238" y="179272"/>
                    </a:cubicBezTo>
                    <a:cubicBezTo>
                      <a:pt x="94953" y="176537"/>
                      <a:pt x="91875" y="174542"/>
                      <a:pt x="89026" y="173573"/>
                    </a:cubicBezTo>
                    <a:cubicBezTo>
                      <a:pt x="86091" y="173216"/>
                      <a:pt x="83241" y="172368"/>
                      <a:pt x="80591" y="171065"/>
                    </a:cubicBezTo>
                    <a:cubicBezTo>
                      <a:pt x="78140" y="169469"/>
                      <a:pt x="76943" y="165366"/>
                      <a:pt x="79223" y="163599"/>
                    </a:cubicBezTo>
                    <a:cubicBezTo>
                      <a:pt x="75450" y="164503"/>
                      <a:pt x="71489" y="164305"/>
                      <a:pt x="67824" y="163029"/>
                    </a:cubicBezTo>
                    <a:cubicBezTo>
                      <a:pt x="64188" y="161608"/>
                      <a:pt x="62392" y="157510"/>
                      <a:pt x="63812" y="153874"/>
                    </a:cubicBezTo>
                    <a:cubicBezTo>
                      <a:pt x="63840" y="153810"/>
                      <a:pt x="63863" y="153745"/>
                      <a:pt x="63891" y="153682"/>
                    </a:cubicBezTo>
                    <a:cubicBezTo>
                      <a:pt x="64621" y="152614"/>
                      <a:pt x="65572" y="151719"/>
                      <a:pt x="66684" y="151060"/>
                    </a:cubicBezTo>
                    <a:cubicBezTo>
                      <a:pt x="76151" y="144521"/>
                      <a:pt x="87698" y="141701"/>
                      <a:pt x="99114" y="143138"/>
                    </a:cubicBezTo>
                    <a:cubicBezTo>
                      <a:pt x="104215" y="144299"/>
                      <a:pt x="109447" y="144759"/>
                      <a:pt x="114673" y="144505"/>
                    </a:cubicBezTo>
                    <a:cubicBezTo>
                      <a:pt x="119860" y="143651"/>
                      <a:pt x="124989" y="139262"/>
                      <a:pt x="124306" y="134075"/>
                    </a:cubicBezTo>
                    <a:cubicBezTo>
                      <a:pt x="114400" y="126781"/>
                      <a:pt x="101342" y="125366"/>
                      <a:pt x="90109" y="130371"/>
                    </a:cubicBezTo>
                    <a:cubicBezTo>
                      <a:pt x="84865" y="132765"/>
                      <a:pt x="80306" y="136469"/>
                      <a:pt x="74891" y="138464"/>
                    </a:cubicBezTo>
                    <a:cubicBezTo>
                      <a:pt x="65709" y="141761"/>
                      <a:pt x="55467" y="139843"/>
                      <a:pt x="48104" y="133448"/>
                    </a:cubicBezTo>
                    <a:cubicBezTo>
                      <a:pt x="55627" y="126837"/>
                      <a:pt x="67140" y="127749"/>
                      <a:pt x="75860" y="122904"/>
                    </a:cubicBezTo>
                    <a:cubicBezTo>
                      <a:pt x="84580" y="118060"/>
                      <a:pt x="90565" y="108086"/>
                      <a:pt x="100254" y="107972"/>
                    </a:cubicBezTo>
                    <a:cubicBezTo>
                      <a:pt x="102921" y="108288"/>
                      <a:pt x="105623" y="108288"/>
                      <a:pt x="108290" y="107972"/>
                    </a:cubicBezTo>
                    <a:cubicBezTo>
                      <a:pt x="113989" y="106547"/>
                      <a:pt x="115756" y="99651"/>
                      <a:pt x="116611" y="93894"/>
                    </a:cubicBezTo>
                    <a:cubicBezTo>
                      <a:pt x="112223" y="90702"/>
                      <a:pt x="106067" y="93039"/>
                      <a:pt x="101223" y="95490"/>
                    </a:cubicBezTo>
                    <a:lnTo>
                      <a:pt x="94611" y="98853"/>
                    </a:lnTo>
                    <a:cubicBezTo>
                      <a:pt x="96954" y="91044"/>
                      <a:pt x="92525" y="82814"/>
                      <a:pt x="84717" y="80469"/>
                    </a:cubicBezTo>
                    <a:cubicBezTo>
                      <a:pt x="84221" y="80320"/>
                      <a:pt x="83720" y="80197"/>
                      <a:pt x="83213" y="80101"/>
                    </a:cubicBezTo>
                    <a:cubicBezTo>
                      <a:pt x="83133" y="84972"/>
                      <a:pt x="81075" y="89601"/>
                      <a:pt x="77513" y="92925"/>
                    </a:cubicBezTo>
                    <a:cubicBezTo>
                      <a:pt x="73905" y="96253"/>
                      <a:pt x="68747" y="97306"/>
                      <a:pt x="64119" y="95661"/>
                    </a:cubicBezTo>
                    <a:cubicBezTo>
                      <a:pt x="65430" y="101816"/>
                      <a:pt x="65886" y="109910"/>
                      <a:pt x="60243" y="112759"/>
                    </a:cubicBezTo>
                    <a:cubicBezTo>
                      <a:pt x="58163" y="113586"/>
                      <a:pt x="55923" y="113937"/>
                      <a:pt x="53689" y="113785"/>
                    </a:cubicBezTo>
                    <a:cubicBezTo>
                      <a:pt x="45818" y="114567"/>
                      <a:pt x="37890" y="113021"/>
                      <a:pt x="30891" y="109340"/>
                    </a:cubicBezTo>
                    <a:cubicBezTo>
                      <a:pt x="26047" y="105863"/>
                      <a:pt x="21487" y="99366"/>
                      <a:pt x="15161" y="100164"/>
                    </a:cubicBezTo>
                    <a:cubicBezTo>
                      <a:pt x="15161" y="98340"/>
                      <a:pt x="15503" y="96516"/>
                      <a:pt x="15617" y="94464"/>
                    </a:cubicBezTo>
                    <a:cubicBezTo>
                      <a:pt x="11200" y="92248"/>
                      <a:pt x="8714" y="87437"/>
                      <a:pt x="9461" y="82552"/>
                    </a:cubicBezTo>
                    <a:cubicBezTo>
                      <a:pt x="9712" y="80286"/>
                      <a:pt x="10886" y="78223"/>
                      <a:pt x="12710" y="76853"/>
                    </a:cubicBezTo>
                    <a:cubicBezTo>
                      <a:pt x="14118" y="76010"/>
                      <a:pt x="15634" y="75358"/>
                      <a:pt x="17213" y="74915"/>
                    </a:cubicBezTo>
                    <a:cubicBezTo>
                      <a:pt x="22752" y="72778"/>
                      <a:pt x="27130" y="68384"/>
                      <a:pt x="29238" y="62832"/>
                    </a:cubicBezTo>
                    <a:cubicBezTo>
                      <a:pt x="24690" y="58892"/>
                      <a:pt x="18085" y="58450"/>
                      <a:pt x="13052" y="61749"/>
                    </a:cubicBezTo>
                    <a:cubicBezTo>
                      <a:pt x="10373" y="63630"/>
                      <a:pt x="7353" y="66651"/>
                      <a:pt x="4446" y="65112"/>
                    </a:cubicBezTo>
                    <a:cubicBezTo>
                      <a:pt x="2508" y="64086"/>
                      <a:pt x="2052" y="61578"/>
                      <a:pt x="1767" y="59412"/>
                    </a:cubicBezTo>
                    <a:cubicBezTo>
                      <a:pt x="1197" y="54112"/>
                      <a:pt x="570" y="48811"/>
                      <a:pt x="0" y="43511"/>
                    </a:cubicBezTo>
                    <a:cubicBezTo>
                      <a:pt x="5215" y="41987"/>
                      <a:pt x="9216" y="37791"/>
                      <a:pt x="10487" y="32511"/>
                    </a:cubicBezTo>
                    <a:cubicBezTo>
                      <a:pt x="14488" y="30662"/>
                      <a:pt x="19230" y="32407"/>
                      <a:pt x="21077" y="36407"/>
                    </a:cubicBezTo>
                    <a:cubicBezTo>
                      <a:pt x="21100" y="36457"/>
                      <a:pt x="21122" y="36507"/>
                      <a:pt x="21145" y="36557"/>
                    </a:cubicBezTo>
                    <a:close/>
                    <a:moveTo>
                      <a:pt x="286684" y="13418"/>
                    </a:moveTo>
                    <a:cubicBezTo>
                      <a:pt x="284518" y="13418"/>
                      <a:pt x="282352" y="11366"/>
                      <a:pt x="282637" y="9257"/>
                    </a:cubicBezTo>
                    <a:cubicBezTo>
                      <a:pt x="278112" y="7992"/>
                      <a:pt x="273273" y="8523"/>
                      <a:pt x="269129" y="10739"/>
                    </a:cubicBezTo>
                    <a:cubicBezTo>
                      <a:pt x="264900" y="12915"/>
                      <a:pt x="259833" y="12654"/>
                      <a:pt x="255849" y="10055"/>
                    </a:cubicBezTo>
                    <a:cubicBezTo>
                      <a:pt x="254276" y="7952"/>
                      <a:pt x="252846" y="5743"/>
                      <a:pt x="251575" y="3444"/>
                    </a:cubicBezTo>
                    <a:cubicBezTo>
                      <a:pt x="248788" y="118"/>
                      <a:pt x="244120" y="-931"/>
                      <a:pt x="240176" y="879"/>
                    </a:cubicBezTo>
                    <a:cubicBezTo>
                      <a:pt x="238574" y="2706"/>
                      <a:pt x="238574" y="5435"/>
                      <a:pt x="240176" y="7262"/>
                    </a:cubicBezTo>
                    <a:cubicBezTo>
                      <a:pt x="241544" y="9200"/>
                      <a:pt x="243539" y="10568"/>
                      <a:pt x="244792" y="12563"/>
                    </a:cubicBezTo>
                    <a:cubicBezTo>
                      <a:pt x="246047" y="14557"/>
                      <a:pt x="245989" y="17749"/>
                      <a:pt x="243881" y="18775"/>
                    </a:cubicBezTo>
                    <a:lnTo>
                      <a:pt x="241829" y="15127"/>
                    </a:lnTo>
                    <a:cubicBezTo>
                      <a:pt x="238694" y="17692"/>
                      <a:pt x="234020" y="15127"/>
                      <a:pt x="231114" y="12563"/>
                    </a:cubicBezTo>
                    <a:cubicBezTo>
                      <a:pt x="228207" y="9998"/>
                      <a:pt x="225015" y="6350"/>
                      <a:pt x="220969" y="6863"/>
                    </a:cubicBezTo>
                    <a:cubicBezTo>
                      <a:pt x="218176" y="7610"/>
                      <a:pt x="215560" y="8908"/>
                      <a:pt x="213275" y="10682"/>
                    </a:cubicBezTo>
                    <a:cubicBezTo>
                      <a:pt x="210767" y="12107"/>
                      <a:pt x="206891" y="12392"/>
                      <a:pt x="205580" y="9827"/>
                    </a:cubicBezTo>
                    <a:cubicBezTo>
                      <a:pt x="204269" y="7262"/>
                      <a:pt x="206093" y="3671"/>
                      <a:pt x="203984" y="1962"/>
                    </a:cubicBezTo>
                    <a:cubicBezTo>
                      <a:pt x="197766" y="3732"/>
                      <a:pt x="191274" y="4351"/>
                      <a:pt x="184834" y="3785"/>
                    </a:cubicBezTo>
                    <a:cubicBezTo>
                      <a:pt x="180446" y="3330"/>
                      <a:pt x="174461" y="3330"/>
                      <a:pt x="173435" y="7604"/>
                    </a:cubicBezTo>
                    <a:cubicBezTo>
                      <a:pt x="172922" y="9713"/>
                      <a:pt x="173834" y="12335"/>
                      <a:pt x="172181" y="13703"/>
                    </a:cubicBezTo>
                    <a:cubicBezTo>
                      <a:pt x="170819" y="14601"/>
                      <a:pt x="169001" y="14331"/>
                      <a:pt x="167964" y="13076"/>
                    </a:cubicBezTo>
                    <a:cubicBezTo>
                      <a:pt x="166989" y="11831"/>
                      <a:pt x="166339" y="10362"/>
                      <a:pt x="166083" y="8801"/>
                    </a:cubicBezTo>
                    <a:cubicBezTo>
                      <a:pt x="163809" y="9340"/>
                      <a:pt x="161438" y="8436"/>
                      <a:pt x="160098" y="6521"/>
                    </a:cubicBezTo>
                    <a:cubicBezTo>
                      <a:pt x="158799" y="4636"/>
                      <a:pt x="157904" y="2501"/>
                      <a:pt x="157476" y="252"/>
                    </a:cubicBezTo>
                    <a:cubicBezTo>
                      <a:pt x="154610" y="-322"/>
                      <a:pt x="151629" y="229"/>
                      <a:pt x="149155" y="1791"/>
                    </a:cubicBezTo>
                    <a:cubicBezTo>
                      <a:pt x="146630" y="7701"/>
                      <a:pt x="149121" y="14557"/>
                      <a:pt x="154855" y="17464"/>
                    </a:cubicBezTo>
                    <a:cubicBezTo>
                      <a:pt x="156337" y="17942"/>
                      <a:pt x="157682" y="18763"/>
                      <a:pt x="158788" y="19858"/>
                    </a:cubicBezTo>
                    <a:cubicBezTo>
                      <a:pt x="160896" y="22708"/>
                      <a:pt x="157818" y="26754"/>
                      <a:pt x="158788" y="30174"/>
                    </a:cubicBezTo>
                    <a:cubicBezTo>
                      <a:pt x="159756" y="33594"/>
                      <a:pt x="164829" y="34620"/>
                      <a:pt x="168762" y="34392"/>
                    </a:cubicBezTo>
                    <a:cubicBezTo>
                      <a:pt x="179978" y="33753"/>
                      <a:pt x="191092" y="31841"/>
                      <a:pt x="201876" y="28692"/>
                    </a:cubicBezTo>
                    <a:cubicBezTo>
                      <a:pt x="211280" y="25899"/>
                      <a:pt x="222279" y="22366"/>
                      <a:pt x="230373" y="28122"/>
                    </a:cubicBezTo>
                    <a:cubicBezTo>
                      <a:pt x="231114" y="28565"/>
                      <a:pt x="231644" y="29282"/>
                      <a:pt x="231855" y="30117"/>
                    </a:cubicBezTo>
                    <a:cubicBezTo>
                      <a:pt x="231855" y="31542"/>
                      <a:pt x="230601" y="32739"/>
                      <a:pt x="229176" y="33024"/>
                    </a:cubicBezTo>
                    <a:cubicBezTo>
                      <a:pt x="227717" y="33089"/>
                      <a:pt x="226264" y="33298"/>
                      <a:pt x="224844" y="33651"/>
                    </a:cubicBezTo>
                    <a:cubicBezTo>
                      <a:pt x="222109" y="34734"/>
                      <a:pt x="221197" y="38153"/>
                      <a:pt x="218860" y="39977"/>
                    </a:cubicBezTo>
                    <a:cubicBezTo>
                      <a:pt x="216563" y="41355"/>
                      <a:pt x="213878" y="41936"/>
                      <a:pt x="211222" y="41630"/>
                    </a:cubicBezTo>
                    <a:lnTo>
                      <a:pt x="196803" y="41630"/>
                    </a:lnTo>
                    <a:cubicBezTo>
                      <a:pt x="193155" y="41630"/>
                      <a:pt x="188197" y="42827"/>
                      <a:pt x="188482" y="46475"/>
                    </a:cubicBezTo>
                    <a:cubicBezTo>
                      <a:pt x="188687" y="47696"/>
                      <a:pt x="189291" y="48816"/>
                      <a:pt x="190191" y="49666"/>
                    </a:cubicBezTo>
                    <a:cubicBezTo>
                      <a:pt x="195891" y="55765"/>
                      <a:pt x="205181" y="56620"/>
                      <a:pt x="213559" y="56392"/>
                    </a:cubicBezTo>
                    <a:cubicBezTo>
                      <a:pt x="219880" y="56223"/>
                      <a:pt x="226178" y="55652"/>
                      <a:pt x="232425" y="54682"/>
                    </a:cubicBezTo>
                    <a:cubicBezTo>
                      <a:pt x="237970" y="52976"/>
                      <a:pt x="243966" y="53572"/>
                      <a:pt x="249067" y="56335"/>
                    </a:cubicBezTo>
                    <a:cubicBezTo>
                      <a:pt x="251803" y="58500"/>
                      <a:pt x="253285" y="62034"/>
                      <a:pt x="256306" y="63801"/>
                    </a:cubicBezTo>
                    <a:cubicBezTo>
                      <a:pt x="258374" y="64833"/>
                      <a:pt x="260666" y="65342"/>
                      <a:pt x="262974" y="65283"/>
                    </a:cubicBezTo>
                    <a:cubicBezTo>
                      <a:pt x="266051" y="65703"/>
                      <a:pt x="269186" y="65548"/>
                      <a:pt x="272207" y="64827"/>
                    </a:cubicBezTo>
                    <a:cubicBezTo>
                      <a:pt x="275279" y="64076"/>
                      <a:pt x="277730" y="61757"/>
                      <a:pt x="278647" y="58728"/>
                    </a:cubicBezTo>
                    <a:cubicBezTo>
                      <a:pt x="278647" y="57646"/>
                      <a:pt x="278647" y="56392"/>
                      <a:pt x="279787" y="55765"/>
                    </a:cubicBezTo>
                    <a:cubicBezTo>
                      <a:pt x="280426" y="55401"/>
                      <a:pt x="281167" y="55260"/>
                      <a:pt x="281896" y="55366"/>
                    </a:cubicBezTo>
                    <a:cubicBezTo>
                      <a:pt x="286900" y="56236"/>
                      <a:pt x="291978" y="56655"/>
                      <a:pt x="297057" y="56620"/>
                    </a:cubicBezTo>
                    <a:cubicBezTo>
                      <a:pt x="302334" y="56532"/>
                      <a:pt x="306865" y="52829"/>
                      <a:pt x="308000" y="47671"/>
                    </a:cubicBezTo>
                    <a:cubicBezTo>
                      <a:pt x="310781" y="49096"/>
                      <a:pt x="314183" y="48214"/>
                      <a:pt x="315922" y="45620"/>
                    </a:cubicBezTo>
                    <a:cubicBezTo>
                      <a:pt x="317495" y="43016"/>
                      <a:pt x="318378" y="40054"/>
                      <a:pt x="318487" y="37013"/>
                    </a:cubicBezTo>
                    <a:cubicBezTo>
                      <a:pt x="321097" y="36884"/>
                      <a:pt x="323633" y="36079"/>
                      <a:pt x="325839" y="34677"/>
                    </a:cubicBezTo>
                    <a:cubicBezTo>
                      <a:pt x="328056" y="33194"/>
                      <a:pt x="329105" y="30482"/>
                      <a:pt x="328461" y="27894"/>
                    </a:cubicBezTo>
                    <a:cubicBezTo>
                      <a:pt x="325725" y="28236"/>
                      <a:pt x="325383" y="23392"/>
                      <a:pt x="322761" y="22480"/>
                    </a:cubicBezTo>
                    <a:cubicBezTo>
                      <a:pt x="322009" y="22306"/>
                      <a:pt x="321234" y="22306"/>
                      <a:pt x="320482" y="22480"/>
                    </a:cubicBezTo>
                    <a:lnTo>
                      <a:pt x="310621" y="23734"/>
                    </a:lnTo>
                    <a:cubicBezTo>
                      <a:pt x="309994" y="21682"/>
                      <a:pt x="309425" y="19630"/>
                      <a:pt x="308797" y="17578"/>
                    </a:cubicBezTo>
                    <a:cubicBezTo>
                      <a:pt x="304688" y="13736"/>
                      <a:pt x="299000" y="12066"/>
                      <a:pt x="293466" y="13076"/>
                    </a:cubicBezTo>
                    <a:cubicBezTo>
                      <a:pt x="291237" y="13566"/>
                      <a:pt x="288946" y="13682"/>
                      <a:pt x="286684" y="134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6" name="Freihandform: Form 272">
                <a:extLst>
                  <a:ext uri="{FF2B5EF4-FFF2-40B4-BE49-F238E27FC236}">
                    <a16:creationId xmlns:a16="http://schemas.microsoft.com/office/drawing/2014/main" id="{04384F77-5936-1F9D-91C7-7F473AF50004}"/>
                  </a:ext>
                </a:extLst>
              </p:cNvPr>
              <p:cNvSpPr/>
              <p:nvPr/>
            </p:nvSpPr>
            <p:spPr>
              <a:xfrm>
                <a:off x="2433451" y="5589874"/>
                <a:ext cx="63883" cy="38043"/>
              </a:xfrm>
              <a:custGeom>
                <a:avLst/>
                <a:gdLst>
                  <a:gd name="connsiteX0" fmla="*/ 3705 w 63883"/>
                  <a:gd name="connsiteY0" fmla="*/ 17811 h 38043"/>
                  <a:gd name="connsiteX1" fmla="*/ 6782 w 63883"/>
                  <a:gd name="connsiteY1" fmla="*/ 16329 h 38043"/>
                  <a:gd name="connsiteX2" fmla="*/ 7751 w 63883"/>
                  <a:gd name="connsiteY2" fmla="*/ 8407 h 38043"/>
                  <a:gd name="connsiteX3" fmla="*/ 15446 w 63883"/>
                  <a:gd name="connsiteY3" fmla="*/ 3448 h 38043"/>
                  <a:gd name="connsiteX4" fmla="*/ 16585 w 63883"/>
                  <a:gd name="connsiteY4" fmla="*/ 484 h 38043"/>
                  <a:gd name="connsiteX5" fmla="*/ 18580 w 63883"/>
                  <a:gd name="connsiteY5" fmla="*/ 86 h 38043"/>
                  <a:gd name="connsiteX6" fmla="*/ 24622 w 63883"/>
                  <a:gd name="connsiteY6" fmla="*/ 86 h 38043"/>
                  <a:gd name="connsiteX7" fmla="*/ 26104 w 63883"/>
                  <a:gd name="connsiteY7" fmla="*/ 86 h 38043"/>
                  <a:gd name="connsiteX8" fmla="*/ 27357 w 63883"/>
                  <a:gd name="connsiteY8" fmla="*/ 1168 h 38043"/>
                  <a:gd name="connsiteX9" fmla="*/ 25819 w 63883"/>
                  <a:gd name="connsiteY9" fmla="*/ 8635 h 38043"/>
                  <a:gd name="connsiteX10" fmla="*/ 23881 w 63883"/>
                  <a:gd name="connsiteY10" fmla="*/ 9946 h 38043"/>
                  <a:gd name="connsiteX11" fmla="*/ 24166 w 63883"/>
                  <a:gd name="connsiteY11" fmla="*/ 19065 h 38043"/>
                  <a:gd name="connsiteX12" fmla="*/ 16528 w 63883"/>
                  <a:gd name="connsiteY12" fmla="*/ 22256 h 38043"/>
                  <a:gd name="connsiteX13" fmla="*/ 13451 w 63883"/>
                  <a:gd name="connsiteY13" fmla="*/ 27443 h 38043"/>
                  <a:gd name="connsiteX14" fmla="*/ 0 w 63883"/>
                  <a:gd name="connsiteY14" fmla="*/ 38044 h 38043"/>
                  <a:gd name="connsiteX15" fmla="*/ 456 w 63883"/>
                  <a:gd name="connsiteY15" fmla="*/ 25562 h 38043"/>
                  <a:gd name="connsiteX16" fmla="*/ 3705 w 63883"/>
                  <a:gd name="connsiteY16" fmla="*/ 17811 h 38043"/>
                  <a:gd name="connsiteX17" fmla="*/ 39839 w 63883"/>
                  <a:gd name="connsiteY17" fmla="*/ 14505 h 38043"/>
                  <a:gd name="connsiteX18" fmla="*/ 38414 w 63883"/>
                  <a:gd name="connsiteY18" fmla="*/ 18153 h 38043"/>
                  <a:gd name="connsiteX19" fmla="*/ 31632 w 63883"/>
                  <a:gd name="connsiteY19" fmla="*/ 20489 h 38043"/>
                  <a:gd name="connsiteX20" fmla="*/ 31062 w 63883"/>
                  <a:gd name="connsiteY20" fmla="*/ 26702 h 38043"/>
                  <a:gd name="connsiteX21" fmla="*/ 35793 w 63883"/>
                  <a:gd name="connsiteY21" fmla="*/ 25391 h 38043"/>
                  <a:gd name="connsiteX22" fmla="*/ 59046 w 63883"/>
                  <a:gd name="connsiteY22" fmla="*/ 26075 h 38043"/>
                  <a:gd name="connsiteX23" fmla="*/ 60927 w 63883"/>
                  <a:gd name="connsiteY23" fmla="*/ 25448 h 38043"/>
                  <a:gd name="connsiteX24" fmla="*/ 61212 w 63883"/>
                  <a:gd name="connsiteY24" fmla="*/ 24764 h 38043"/>
                  <a:gd name="connsiteX25" fmla="*/ 63549 w 63883"/>
                  <a:gd name="connsiteY25" fmla="*/ 15531 h 38043"/>
                  <a:gd name="connsiteX26" fmla="*/ 62922 w 63883"/>
                  <a:gd name="connsiteY26" fmla="*/ 10971 h 38043"/>
                  <a:gd name="connsiteX27" fmla="*/ 60300 w 63883"/>
                  <a:gd name="connsiteY27" fmla="*/ 10345 h 38043"/>
                  <a:gd name="connsiteX28" fmla="*/ 51751 w 63883"/>
                  <a:gd name="connsiteY28" fmla="*/ 10345 h 38043"/>
                  <a:gd name="connsiteX29" fmla="*/ 46337 w 63883"/>
                  <a:gd name="connsiteY29" fmla="*/ 11883 h 38043"/>
                  <a:gd name="connsiteX30" fmla="*/ 44798 w 63883"/>
                  <a:gd name="connsiteY30" fmla="*/ 13878 h 38043"/>
                  <a:gd name="connsiteX31" fmla="*/ 39839 w 63883"/>
                  <a:gd name="connsiteY31" fmla="*/ 14505 h 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883" h="38043">
                    <a:moveTo>
                      <a:pt x="3705" y="17811"/>
                    </a:moveTo>
                    <a:cubicBezTo>
                      <a:pt x="4730" y="17241"/>
                      <a:pt x="5984" y="17127"/>
                      <a:pt x="6782" y="16329"/>
                    </a:cubicBezTo>
                    <a:cubicBezTo>
                      <a:pt x="8834" y="14505"/>
                      <a:pt x="7067" y="11086"/>
                      <a:pt x="7751" y="8407"/>
                    </a:cubicBezTo>
                    <a:cubicBezTo>
                      <a:pt x="11211" y="8994"/>
                      <a:pt x="14551" y="6845"/>
                      <a:pt x="15446" y="3448"/>
                    </a:cubicBezTo>
                    <a:cubicBezTo>
                      <a:pt x="15446" y="2365"/>
                      <a:pt x="15730" y="1111"/>
                      <a:pt x="16585" y="484"/>
                    </a:cubicBezTo>
                    <a:cubicBezTo>
                      <a:pt x="17195" y="154"/>
                      <a:pt x="17891" y="11"/>
                      <a:pt x="18580" y="86"/>
                    </a:cubicBezTo>
                    <a:lnTo>
                      <a:pt x="24622" y="86"/>
                    </a:lnTo>
                    <a:cubicBezTo>
                      <a:pt x="25112" y="-29"/>
                      <a:pt x="25613" y="-29"/>
                      <a:pt x="26104" y="86"/>
                    </a:cubicBezTo>
                    <a:cubicBezTo>
                      <a:pt x="26622" y="313"/>
                      <a:pt x="27055" y="689"/>
                      <a:pt x="27357" y="1168"/>
                    </a:cubicBezTo>
                    <a:cubicBezTo>
                      <a:pt x="28828" y="3682"/>
                      <a:pt x="28167" y="6908"/>
                      <a:pt x="25819" y="8635"/>
                    </a:cubicBezTo>
                    <a:cubicBezTo>
                      <a:pt x="25123" y="8994"/>
                      <a:pt x="24473" y="9432"/>
                      <a:pt x="23881" y="9946"/>
                    </a:cubicBezTo>
                    <a:cubicBezTo>
                      <a:pt x="21772" y="12282"/>
                      <a:pt x="25591" y="16215"/>
                      <a:pt x="24166" y="19065"/>
                    </a:cubicBezTo>
                    <a:cubicBezTo>
                      <a:pt x="22741" y="21914"/>
                      <a:pt x="18922" y="20661"/>
                      <a:pt x="16528" y="22256"/>
                    </a:cubicBezTo>
                    <a:cubicBezTo>
                      <a:pt x="15012" y="23641"/>
                      <a:pt x="13941" y="25448"/>
                      <a:pt x="13451" y="27443"/>
                    </a:cubicBezTo>
                    <a:cubicBezTo>
                      <a:pt x="11017" y="33000"/>
                      <a:pt x="5973" y="36978"/>
                      <a:pt x="0" y="38044"/>
                    </a:cubicBezTo>
                    <a:cubicBezTo>
                      <a:pt x="0" y="33883"/>
                      <a:pt x="342" y="29723"/>
                      <a:pt x="456" y="25562"/>
                    </a:cubicBezTo>
                    <a:cubicBezTo>
                      <a:pt x="456" y="22769"/>
                      <a:pt x="1026" y="19179"/>
                      <a:pt x="3705" y="17811"/>
                    </a:cubicBezTo>
                    <a:close/>
                    <a:moveTo>
                      <a:pt x="39839" y="14505"/>
                    </a:moveTo>
                    <a:cubicBezTo>
                      <a:pt x="38813" y="15360"/>
                      <a:pt x="39155" y="17070"/>
                      <a:pt x="38414" y="18153"/>
                    </a:cubicBezTo>
                    <a:cubicBezTo>
                      <a:pt x="37047" y="20262"/>
                      <a:pt x="33570" y="18951"/>
                      <a:pt x="31632" y="20489"/>
                    </a:cubicBezTo>
                    <a:cubicBezTo>
                      <a:pt x="29694" y="22028"/>
                      <a:pt x="30378" y="24593"/>
                      <a:pt x="31062" y="26702"/>
                    </a:cubicBezTo>
                    <a:cubicBezTo>
                      <a:pt x="32361" y="25574"/>
                      <a:pt x="34100" y="25089"/>
                      <a:pt x="35793" y="25391"/>
                    </a:cubicBezTo>
                    <a:lnTo>
                      <a:pt x="59046" y="26075"/>
                    </a:lnTo>
                    <a:cubicBezTo>
                      <a:pt x="59730" y="26075"/>
                      <a:pt x="60528" y="26075"/>
                      <a:pt x="60927" y="25448"/>
                    </a:cubicBezTo>
                    <a:cubicBezTo>
                      <a:pt x="61087" y="25254"/>
                      <a:pt x="61190" y="25015"/>
                      <a:pt x="61212" y="24764"/>
                    </a:cubicBezTo>
                    <a:cubicBezTo>
                      <a:pt x="62010" y="21686"/>
                      <a:pt x="62751" y="18609"/>
                      <a:pt x="63549" y="15531"/>
                    </a:cubicBezTo>
                    <a:cubicBezTo>
                      <a:pt x="63948" y="13935"/>
                      <a:pt x="64233" y="11997"/>
                      <a:pt x="62922" y="10971"/>
                    </a:cubicBezTo>
                    <a:cubicBezTo>
                      <a:pt x="62141" y="10476"/>
                      <a:pt x="61218" y="10259"/>
                      <a:pt x="60300" y="10345"/>
                    </a:cubicBezTo>
                    <a:lnTo>
                      <a:pt x="51751" y="10345"/>
                    </a:lnTo>
                    <a:cubicBezTo>
                      <a:pt x="49808" y="10031"/>
                      <a:pt x="47824" y="10595"/>
                      <a:pt x="46337" y="11883"/>
                    </a:cubicBezTo>
                    <a:cubicBezTo>
                      <a:pt x="45824" y="12567"/>
                      <a:pt x="45539" y="13422"/>
                      <a:pt x="44798" y="13878"/>
                    </a:cubicBezTo>
                    <a:cubicBezTo>
                      <a:pt x="44057" y="14334"/>
                      <a:pt x="41150" y="13479"/>
                      <a:pt x="39839" y="1450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7" name="Freihandform: Form 273">
                <a:extLst>
                  <a:ext uri="{FF2B5EF4-FFF2-40B4-BE49-F238E27FC236}">
                    <a16:creationId xmlns:a16="http://schemas.microsoft.com/office/drawing/2014/main" id="{C0DD4BE9-58B5-3E4D-3B95-F103DDD06D1F}"/>
                  </a:ext>
                </a:extLst>
              </p:cNvPr>
              <p:cNvSpPr/>
              <p:nvPr/>
            </p:nvSpPr>
            <p:spPr>
              <a:xfrm>
                <a:off x="4465028" y="3372100"/>
                <a:ext cx="39879" cy="25573"/>
              </a:xfrm>
              <a:custGeom>
                <a:avLst/>
                <a:gdLst>
                  <a:gd name="connsiteX0" fmla="*/ 18295 w 39879"/>
                  <a:gd name="connsiteY0" fmla="*/ 9713 h 25573"/>
                  <a:gd name="connsiteX1" fmla="*/ 22798 w 39879"/>
                  <a:gd name="connsiteY1" fmla="*/ 8402 h 25573"/>
                  <a:gd name="connsiteX2" fmla="*/ 25933 w 39879"/>
                  <a:gd name="connsiteY2" fmla="*/ 7490 h 25573"/>
                  <a:gd name="connsiteX3" fmla="*/ 26389 w 39879"/>
                  <a:gd name="connsiteY3" fmla="*/ 5837 h 25573"/>
                  <a:gd name="connsiteX4" fmla="*/ 29637 w 39879"/>
                  <a:gd name="connsiteY4" fmla="*/ 707 h 25573"/>
                  <a:gd name="connsiteX5" fmla="*/ 39327 w 39879"/>
                  <a:gd name="connsiteY5" fmla="*/ 138 h 25573"/>
                  <a:gd name="connsiteX6" fmla="*/ 39668 w 39879"/>
                  <a:gd name="connsiteY6" fmla="*/ 6293 h 25573"/>
                  <a:gd name="connsiteX7" fmla="*/ 35166 w 39879"/>
                  <a:gd name="connsiteY7" fmla="*/ 9884 h 25573"/>
                  <a:gd name="connsiteX8" fmla="*/ 34596 w 39879"/>
                  <a:gd name="connsiteY8" fmla="*/ 9884 h 25573"/>
                  <a:gd name="connsiteX9" fmla="*/ 34596 w 39879"/>
                  <a:gd name="connsiteY9" fmla="*/ 10567 h 25573"/>
                  <a:gd name="connsiteX10" fmla="*/ 35508 w 39879"/>
                  <a:gd name="connsiteY10" fmla="*/ 15982 h 25573"/>
                  <a:gd name="connsiteX11" fmla="*/ 27529 w 39879"/>
                  <a:gd name="connsiteY11" fmla="*/ 17065 h 25573"/>
                  <a:gd name="connsiteX12" fmla="*/ 25875 w 39879"/>
                  <a:gd name="connsiteY12" fmla="*/ 24930 h 25573"/>
                  <a:gd name="connsiteX13" fmla="*/ 23311 w 39879"/>
                  <a:gd name="connsiteY13" fmla="*/ 25443 h 25573"/>
                  <a:gd name="connsiteX14" fmla="*/ 0 w 39879"/>
                  <a:gd name="connsiteY14" fmla="*/ 22650 h 25573"/>
                  <a:gd name="connsiteX15" fmla="*/ 1425 w 39879"/>
                  <a:gd name="connsiteY15" fmla="*/ 16951 h 25573"/>
                  <a:gd name="connsiteX16" fmla="*/ 1824 w 39879"/>
                  <a:gd name="connsiteY16" fmla="*/ 12334 h 25573"/>
                  <a:gd name="connsiteX17" fmla="*/ 4959 w 39879"/>
                  <a:gd name="connsiteY17" fmla="*/ 11479 h 25573"/>
                  <a:gd name="connsiteX18" fmla="*/ 12539 w 39879"/>
                  <a:gd name="connsiteY18" fmla="*/ 11479 h 25573"/>
                  <a:gd name="connsiteX19" fmla="*/ 15503 w 39879"/>
                  <a:gd name="connsiteY19" fmla="*/ 11137 h 25573"/>
                  <a:gd name="connsiteX20" fmla="*/ 18295 w 39879"/>
                  <a:gd name="connsiteY20" fmla="*/ 9713 h 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879" h="25573">
                    <a:moveTo>
                      <a:pt x="18295" y="9713"/>
                    </a:moveTo>
                    <a:cubicBezTo>
                      <a:pt x="19663" y="8909"/>
                      <a:pt x="21213" y="8459"/>
                      <a:pt x="22798" y="8402"/>
                    </a:cubicBezTo>
                    <a:cubicBezTo>
                      <a:pt x="23938" y="8402"/>
                      <a:pt x="25249" y="8402"/>
                      <a:pt x="25933" y="7490"/>
                    </a:cubicBezTo>
                    <a:cubicBezTo>
                      <a:pt x="26200" y="6977"/>
                      <a:pt x="26360" y="6413"/>
                      <a:pt x="26389" y="5837"/>
                    </a:cubicBezTo>
                    <a:cubicBezTo>
                      <a:pt x="26622" y="3717"/>
                      <a:pt x="27819" y="1824"/>
                      <a:pt x="29637" y="707"/>
                    </a:cubicBezTo>
                    <a:cubicBezTo>
                      <a:pt x="32544" y="-831"/>
                      <a:pt x="36078" y="707"/>
                      <a:pt x="39327" y="138"/>
                    </a:cubicBezTo>
                    <a:cubicBezTo>
                      <a:pt x="39919" y="2132"/>
                      <a:pt x="40039" y="4241"/>
                      <a:pt x="39668" y="6293"/>
                    </a:cubicBezTo>
                    <a:cubicBezTo>
                      <a:pt x="39229" y="8419"/>
                      <a:pt x="37337" y="9929"/>
                      <a:pt x="35166" y="9884"/>
                    </a:cubicBezTo>
                    <a:cubicBezTo>
                      <a:pt x="34978" y="9827"/>
                      <a:pt x="34784" y="9827"/>
                      <a:pt x="34596" y="9884"/>
                    </a:cubicBezTo>
                    <a:cubicBezTo>
                      <a:pt x="34482" y="10100"/>
                      <a:pt x="34482" y="10351"/>
                      <a:pt x="34596" y="10567"/>
                    </a:cubicBezTo>
                    <a:cubicBezTo>
                      <a:pt x="34881" y="12391"/>
                      <a:pt x="35223" y="14158"/>
                      <a:pt x="35508" y="15982"/>
                    </a:cubicBezTo>
                    <a:lnTo>
                      <a:pt x="27529" y="17065"/>
                    </a:lnTo>
                    <a:cubicBezTo>
                      <a:pt x="28155" y="19858"/>
                      <a:pt x="28440" y="23562"/>
                      <a:pt x="25875" y="24930"/>
                    </a:cubicBezTo>
                    <a:cubicBezTo>
                      <a:pt x="25061" y="25266"/>
                      <a:pt x="24189" y="25443"/>
                      <a:pt x="23311" y="25443"/>
                    </a:cubicBezTo>
                    <a:cubicBezTo>
                      <a:pt x="15434" y="25945"/>
                      <a:pt x="7535" y="24999"/>
                      <a:pt x="0" y="22650"/>
                    </a:cubicBezTo>
                    <a:cubicBezTo>
                      <a:pt x="1197" y="21009"/>
                      <a:pt x="1710" y="18963"/>
                      <a:pt x="1425" y="16951"/>
                    </a:cubicBezTo>
                    <a:cubicBezTo>
                      <a:pt x="1425" y="15355"/>
                      <a:pt x="741" y="13474"/>
                      <a:pt x="1824" y="12334"/>
                    </a:cubicBezTo>
                    <a:cubicBezTo>
                      <a:pt x="2719" y="11656"/>
                      <a:pt x="3842" y="11348"/>
                      <a:pt x="4959" y="11479"/>
                    </a:cubicBezTo>
                    <a:lnTo>
                      <a:pt x="12539" y="11479"/>
                    </a:lnTo>
                    <a:cubicBezTo>
                      <a:pt x="13536" y="11536"/>
                      <a:pt x="14540" y="11422"/>
                      <a:pt x="15503" y="11137"/>
                    </a:cubicBezTo>
                    <a:cubicBezTo>
                      <a:pt x="16466" y="10733"/>
                      <a:pt x="17400" y="10254"/>
                      <a:pt x="18295" y="97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8" name="Freihandform: Form 274">
                <a:extLst>
                  <a:ext uri="{FF2B5EF4-FFF2-40B4-BE49-F238E27FC236}">
                    <a16:creationId xmlns:a16="http://schemas.microsoft.com/office/drawing/2014/main" id="{6FA03EEC-C525-FD92-C805-951BAE2603B6}"/>
                  </a:ext>
                </a:extLst>
              </p:cNvPr>
              <p:cNvSpPr/>
              <p:nvPr/>
            </p:nvSpPr>
            <p:spPr>
              <a:xfrm>
                <a:off x="6572868" y="3104793"/>
                <a:ext cx="373141" cy="394810"/>
              </a:xfrm>
              <a:custGeom>
                <a:avLst/>
                <a:gdLst>
                  <a:gd name="connsiteX0" fmla="*/ 255333 w 373141"/>
                  <a:gd name="connsiteY0" fmla="*/ 64543 h 394810"/>
                  <a:gd name="connsiteX1" fmla="*/ 264908 w 373141"/>
                  <a:gd name="connsiteY1" fmla="*/ 53144 h 394810"/>
                  <a:gd name="connsiteX2" fmla="*/ 264110 w 373141"/>
                  <a:gd name="connsiteY2" fmla="*/ 37527 h 394810"/>
                  <a:gd name="connsiteX3" fmla="*/ 267644 w 373141"/>
                  <a:gd name="connsiteY3" fmla="*/ 24305 h 394810"/>
                  <a:gd name="connsiteX4" fmla="*/ 272089 w 373141"/>
                  <a:gd name="connsiteY4" fmla="*/ 22082 h 394810"/>
                  <a:gd name="connsiteX5" fmla="*/ 271007 w 373141"/>
                  <a:gd name="connsiteY5" fmla="*/ 11481 h 394810"/>
                  <a:gd name="connsiteX6" fmla="*/ 265649 w 373141"/>
                  <a:gd name="connsiteY6" fmla="*/ 1336 h 394810"/>
                  <a:gd name="connsiteX7" fmla="*/ 282634 w 373141"/>
                  <a:gd name="connsiteY7" fmla="*/ 7007 h 394810"/>
                  <a:gd name="connsiteX8" fmla="*/ 283887 w 373141"/>
                  <a:gd name="connsiteY8" fmla="*/ 11367 h 394810"/>
                  <a:gd name="connsiteX9" fmla="*/ 284628 w 373141"/>
                  <a:gd name="connsiteY9" fmla="*/ 14900 h 394810"/>
                  <a:gd name="connsiteX10" fmla="*/ 287877 w 373141"/>
                  <a:gd name="connsiteY10" fmla="*/ 15926 h 394810"/>
                  <a:gd name="connsiteX11" fmla="*/ 303209 w 373141"/>
                  <a:gd name="connsiteY11" fmla="*/ 31885 h 394810"/>
                  <a:gd name="connsiteX12" fmla="*/ 310390 w 373141"/>
                  <a:gd name="connsiteY12" fmla="*/ 32968 h 394810"/>
                  <a:gd name="connsiteX13" fmla="*/ 312783 w 373141"/>
                  <a:gd name="connsiteY13" fmla="*/ 35532 h 394810"/>
                  <a:gd name="connsiteX14" fmla="*/ 332675 w 373141"/>
                  <a:gd name="connsiteY14" fmla="*/ 38496 h 394810"/>
                  <a:gd name="connsiteX15" fmla="*/ 373141 w 373141"/>
                  <a:gd name="connsiteY15" fmla="*/ 32056 h 394810"/>
                  <a:gd name="connsiteX16" fmla="*/ 348405 w 373141"/>
                  <a:gd name="connsiteY16" fmla="*/ 49667 h 394810"/>
                  <a:gd name="connsiteX17" fmla="*/ 338545 w 373141"/>
                  <a:gd name="connsiteY17" fmla="*/ 68418 h 394810"/>
                  <a:gd name="connsiteX18" fmla="*/ 312043 w 373141"/>
                  <a:gd name="connsiteY18" fmla="*/ 74118 h 394810"/>
                  <a:gd name="connsiteX19" fmla="*/ 305489 w 373141"/>
                  <a:gd name="connsiteY19" fmla="*/ 87056 h 394810"/>
                  <a:gd name="connsiteX20" fmla="*/ 294090 w 373141"/>
                  <a:gd name="connsiteY20" fmla="*/ 93895 h 394810"/>
                  <a:gd name="connsiteX21" fmla="*/ 287934 w 373141"/>
                  <a:gd name="connsiteY21" fmla="*/ 87911 h 394810"/>
                  <a:gd name="connsiteX22" fmla="*/ 270835 w 373141"/>
                  <a:gd name="connsiteY22" fmla="*/ 79304 h 394810"/>
                  <a:gd name="connsiteX23" fmla="*/ 252369 w 373141"/>
                  <a:gd name="connsiteY23" fmla="*/ 76797 h 394810"/>
                  <a:gd name="connsiteX24" fmla="*/ 239204 w 373141"/>
                  <a:gd name="connsiteY24" fmla="*/ 88196 h 394810"/>
                  <a:gd name="connsiteX25" fmla="*/ 248266 w 373141"/>
                  <a:gd name="connsiteY25" fmla="*/ 96323 h 394810"/>
                  <a:gd name="connsiteX26" fmla="*/ 248038 w 373141"/>
                  <a:gd name="connsiteY26" fmla="*/ 98796 h 394810"/>
                  <a:gd name="connsiteX27" fmla="*/ 234929 w 373141"/>
                  <a:gd name="connsiteY27" fmla="*/ 104878 h 394810"/>
                  <a:gd name="connsiteX28" fmla="*/ 234701 w 373141"/>
                  <a:gd name="connsiteY28" fmla="*/ 104781 h 394810"/>
                  <a:gd name="connsiteX29" fmla="*/ 233219 w 373141"/>
                  <a:gd name="connsiteY29" fmla="*/ 93382 h 394810"/>
                  <a:gd name="connsiteX30" fmla="*/ 224898 w 373141"/>
                  <a:gd name="connsiteY30" fmla="*/ 83180 h 394810"/>
                  <a:gd name="connsiteX31" fmla="*/ 239090 w 373141"/>
                  <a:gd name="connsiteY31" fmla="*/ 72066 h 394810"/>
                  <a:gd name="connsiteX32" fmla="*/ 239090 w 373141"/>
                  <a:gd name="connsiteY32" fmla="*/ 68190 h 394810"/>
                  <a:gd name="connsiteX33" fmla="*/ 246100 w 373141"/>
                  <a:gd name="connsiteY33" fmla="*/ 63859 h 394810"/>
                  <a:gd name="connsiteX34" fmla="*/ 255333 w 373141"/>
                  <a:gd name="connsiteY34" fmla="*/ 64543 h 394810"/>
                  <a:gd name="connsiteX35" fmla="*/ 46220 w 373141"/>
                  <a:gd name="connsiteY35" fmla="*/ 333330 h 394810"/>
                  <a:gd name="connsiteX36" fmla="*/ 35675 w 373141"/>
                  <a:gd name="connsiteY36" fmla="*/ 326035 h 394810"/>
                  <a:gd name="connsiteX37" fmla="*/ 22567 w 373141"/>
                  <a:gd name="connsiteY37" fmla="*/ 325123 h 394810"/>
                  <a:gd name="connsiteX38" fmla="*/ 14644 w 373141"/>
                  <a:gd name="connsiteY38" fmla="*/ 326548 h 394810"/>
                  <a:gd name="connsiteX39" fmla="*/ 5753 w 373141"/>
                  <a:gd name="connsiteY39" fmla="*/ 339086 h 394810"/>
                  <a:gd name="connsiteX40" fmla="*/ 510 w 373141"/>
                  <a:gd name="connsiteY40" fmla="*/ 351853 h 394810"/>
                  <a:gd name="connsiteX41" fmla="*/ 7919 w 373141"/>
                  <a:gd name="connsiteY41" fmla="*/ 354817 h 394810"/>
                  <a:gd name="connsiteX42" fmla="*/ 13105 w 373141"/>
                  <a:gd name="connsiteY42" fmla="*/ 348263 h 394810"/>
                  <a:gd name="connsiteX43" fmla="*/ 13903 w 373141"/>
                  <a:gd name="connsiteY43" fmla="*/ 345926 h 394810"/>
                  <a:gd name="connsiteX44" fmla="*/ 15898 w 373141"/>
                  <a:gd name="connsiteY44" fmla="*/ 345299 h 394810"/>
                  <a:gd name="connsiteX45" fmla="*/ 23649 w 373141"/>
                  <a:gd name="connsiteY45" fmla="*/ 347294 h 394810"/>
                  <a:gd name="connsiteX46" fmla="*/ 24903 w 373141"/>
                  <a:gd name="connsiteY46" fmla="*/ 352651 h 394810"/>
                  <a:gd name="connsiteX47" fmla="*/ 23422 w 373141"/>
                  <a:gd name="connsiteY47" fmla="*/ 363594 h 394810"/>
                  <a:gd name="connsiteX48" fmla="*/ 14587 w 373141"/>
                  <a:gd name="connsiteY48" fmla="*/ 368952 h 394810"/>
                  <a:gd name="connsiteX49" fmla="*/ 17722 w 373141"/>
                  <a:gd name="connsiteY49" fmla="*/ 391464 h 394810"/>
                  <a:gd name="connsiteX50" fmla="*/ 18805 w 373141"/>
                  <a:gd name="connsiteY50" fmla="*/ 393972 h 394810"/>
                  <a:gd name="connsiteX51" fmla="*/ 20515 w 373141"/>
                  <a:gd name="connsiteY51" fmla="*/ 394428 h 394810"/>
                  <a:gd name="connsiteX52" fmla="*/ 31914 w 373141"/>
                  <a:gd name="connsiteY52" fmla="*/ 393288 h 394810"/>
                  <a:gd name="connsiteX53" fmla="*/ 39038 w 373141"/>
                  <a:gd name="connsiteY53" fmla="*/ 378527 h 394810"/>
                  <a:gd name="connsiteX54" fmla="*/ 41603 w 373141"/>
                  <a:gd name="connsiteY54" fmla="*/ 369066 h 394810"/>
                  <a:gd name="connsiteX55" fmla="*/ 45649 w 373141"/>
                  <a:gd name="connsiteY55" fmla="*/ 365361 h 394810"/>
                  <a:gd name="connsiteX56" fmla="*/ 52603 w 373141"/>
                  <a:gd name="connsiteY56" fmla="*/ 353107 h 394810"/>
                  <a:gd name="connsiteX57" fmla="*/ 52603 w 373141"/>
                  <a:gd name="connsiteY57" fmla="*/ 343019 h 394810"/>
                  <a:gd name="connsiteX58" fmla="*/ 49924 w 373141"/>
                  <a:gd name="connsiteY58" fmla="*/ 340625 h 394810"/>
                  <a:gd name="connsiteX59" fmla="*/ 46390 w 373141"/>
                  <a:gd name="connsiteY59" fmla="*/ 333330 h 394810"/>
                  <a:gd name="connsiteX60" fmla="*/ 97515 w 373141"/>
                  <a:gd name="connsiteY60" fmla="*/ 344729 h 394810"/>
                  <a:gd name="connsiteX61" fmla="*/ 101960 w 373141"/>
                  <a:gd name="connsiteY61" fmla="*/ 340226 h 394810"/>
                  <a:gd name="connsiteX62" fmla="*/ 100308 w 373141"/>
                  <a:gd name="connsiteY62" fmla="*/ 332760 h 394810"/>
                  <a:gd name="connsiteX63" fmla="*/ 109255 w 373141"/>
                  <a:gd name="connsiteY63" fmla="*/ 326149 h 394810"/>
                  <a:gd name="connsiteX64" fmla="*/ 114955 w 373141"/>
                  <a:gd name="connsiteY64" fmla="*/ 312812 h 394810"/>
                  <a:gd name="connsiteX65" fmla="*/ 105266 w 373141"/>
                  <a:gd name="connsiteY65" fmla="*/ 303123 h 394810"/>
                  <a:gd name="connsiteX66" fmla="*/ 93525 w 373141"/>
                  <a:gd name="connsiteY66" fmla="*/ 308252 h 394810"/>
                  <a:gd name="connsiteX67" fmla="*/ 88281 w 373141"/>
                  <a:gd name="connsiteY67" fmla="*/ 310304 h 394810"/>
                  <a:gd name="connsiteX68" fmla="*/ 86970 w 373141"/>
                  <a:gd name="connsiteY68" fmla="*/ 312755 h 394810"/>
                  <a:gd name="connsiteX69" fmla="*/ 69872 w 373141"/>
                  <a:gd name="connsiteY69" fmla="*/ 326206 h 394810"/>
                  <a:gd name="connsiteX70" fmla="*/ 63431 w 373141"/>
                  <a:gd name="connsiteY70" fmla="*/ 329226 h 394810"/>
                  <a:gd name="connsiteX71" fmla="*/ 62178 w 373141"/>
                  <a:gd name="connsiteY71" fmla="*/ 336920 h 394810"/>
                  <a:gd name="connsiteX72" fmla="*/ 62919 w 373141"/>
                  <a:gd name="connsiteY72" fmla="*/ 344900 h 394810"/>
                  <a:gd name="connsiteX73" fmla="*/ 64856 w 373141"/>
                  <a:gd name="connsiteY73" fmla="*/ 350599 h 394810"/>
                  <a:gd name="connsiteX74" fmla="*/ 75457 w 373141"/>
                  <a:gd name="connsiteY74" fmla="*/ 349174 h 394810"/>
                  <a:gd name="connsiteX75" fmla="*/ 90960 w 373141"/>
                  <a:gd name="connsiteY75" fmla="*/ 345356 h 394810"/>
                  <a:gd name="connsiteX76" fmla="*/ 97401 w 373141"/>
                  <a:gd name="connsiteY76" fmla="*/ 344900 h 394810"/>
                  <a:gd name="connsiteX77" fmla="*/ 260292 w 373141"/>
                  <a:gd name="connsiteY77" fmla="*/ 122449 h 394810"/>
                  <a:gd name="connsiteX78" fmla="*/ 249805 w 373141"/>
                  <a:gd name="connsiteY78" fmla="*/ 118745 h 394810"/>
                  <a:gd name="connsiteX79" fmla="*/ 240457 w 373141"/>
                  <a:gd name="connsiteY79" fmla="*/ 126610 h 394810"/>
                  <a:gd name="connsiteX80" fmla="*/ 226893 w 373141"/>
                  <a:gd name="connsiteY80" fmla="*/ 148325 h 394810"/>
                  <a:gd name="connsiteX81" fmla="*/ 232592 w 373141"/>
                  <a:gd name="connsiteY81" fmla="*/ 171750 h 394810"/>
                  <a:gd name="connsiteX82" fmla="*/ 224157 w 373141"/>
                  <a:gd name="connsiteY82" fmla="*/ 184232 h 394810"/>
                  <a:gd name="connsiteX83" fmla="*/ 223758 w 373141"/>
                  <a:gd name="connsiteY83" fmla="*/ 190615 h 394810"/>
                  <a:gd name="connsiteX84" fmla="*/ 211561 w 373141"/>
                  <a:gd name="connsiteY84" fmla="*/ 203553 h 394810"/>
                  <a:gd name="connsiteX85" fmla="*/ 207970 w 373141"/>
                  <a:gd name="connsiteY85" fmla="*/ 214154 h 394810"/>
                  <a:gd name="connsiteX86" fmla="*/ 202271 w 373141"/>
                  <a:gd name="connsiteY86" fmla="*/ 215408 h 394810"/>
                  <a:gd name="connsiteX87" fmla="*/ 193950 w 373141"/>
                  <a:gd name="connsiteY87" fmla="*/ 225895 h 394810"/>
                  <a:gd name="connsiteX88" fmla="*/ 184945 w 373141"/>
                  <a:gd name="connsiteY88" fmla="*/ 227434 h 394810"/>
                  <a:gd name="connsiteX89" fmla="*/ 178219 w 373141"/>
                  <a:gd name="connsiteY89" fmla="*/ 238833 h 394810"/>
                  <a:gd name="connsiteX90" fmla="*/ 173546 w 373141"/>
                  <a:gd name="connsiteY90" fmla="*/ 228004 h 394810"/>
                  <a:gd name="connsiteX91" fmla="*/ 159639 w 373141"/>
                  <a:gd name="connsiteY91" fmla="*/ 230112 h 394810"/>
                  <a:gd name="connsiteX92" fmla="*/ 151887 w 373141"/>
                  <a:gd name="connsiteY92" fmla="*/ 242936 h 394810"/>
                  <a:gd name="connsiteX93" fmla="*/ 149209 w 373141"/>
                  <a:gd name="connsiteY93" fmla="*/ 251542 h 394810"/>
                  <a:gd name="connsiteX94" fmla="*/ 146587 w 373141"/>
                  <a:gd name="connsiteY94" fmla="*/ 264708 h 394810"/>
                  <a:gd name="connsiteX95" fmla="*/ 136727 w 373141"/>
                  <a:gd name="connsiteY95" fmla="*/ 271548 h 394810"/>
                  <a:gd name="connsiteX96" fmla="*/ 136100 w 373141"/>
                  <a:gd name="connsiteY96" fmla="*/ 276620 h 394810"/>
                  <a:gd name="connsiteX97" fmla="*/ 129090 w 373141"/>
                  <a:gd name="connsiteY97" fmla="*/ 277931 h 394810"/>
                  <a:gd name="connsiteX98" fmla="*/ 122934 w 373141"/>
                  <a:gd name="connsiteY98" fmla="*/ 272687 h 394810"/>
                  <a:gd name="connsiteX99" fmla="*/ 102416 w 373141"/>
                  <a:gd name="connsiteY99" fmla="*/ 276392 h 394810"/>
                  <a:gd name="connsiteX100" fmla="*/ 99110 w 373141"/>
                  <a:gd name="connsiteY100" fmla="*/ 279014 h 394810"/>
                  <a:gd name="connsiteX101" fmla="*/ 95919 w 373141"/>
                  <a:gd name="connsiteY101" fmla="*/ 278273 h 394810"/>
                  <a:gd name="connsiteX102" fmla="*/ 64458 w 373141"/>
                  <a:gd name="connsiteY102" fmla="*/ 280097 h 394810"/>
                  <a:gd name="connsiteX103" fmla="*/ 57960 w 373141"/>
                  <a:gd name="connsiteY103" fmla="*/ 283289 h 394810"/>
                  <a:gd name="connsiteX104" fmla="*/ 53971 w 373141"/>
                  <a:gd name="connsiteY104" fmla="*/ 290071 h 394810"/>
                  <a:gd name="connsiteX105" fmla="*/ 48271 w 373141"/>
                  <a:gd name="connsiteY105" fmla="*/ 295770 h 394810"/>
                  <a:gd name="connsiteX106" fmla="*/ 25815 w 373141"/>
                  <a:gd name="connsiteY106" fmla="*/ 313439 h 394810"/>
                  <a:gd name="connsiteX107" fmla="*/ 42515 w 373141"/>
                  <a:gd name="connsiteY107" fmla="*/ 316573 h 394810"/>
                  <a:gd name="connsiteX108" fmla="*/ 68903 w 373141"/>
                  <a:gd name="connsiteY108" fmla="*/ 309050 h 394810"/>
                  <a:gd name="connsiteX109" fmla="*/ 77680 w 373141"/>
                  <a:gd name="connsiteY109" fmla="*/ 299418 h 394810"/>
                  <a:gd name="connsiteX110" fmla="*/ 101333 w 373141"/>
                  <a:gd name="connsiteY110" fmla="*/ 292579 h 394810"/>
                  <a:gd name="connsiteX111" fmla="*/ 115183 w 373141"/>
                  <a:gd name="connsiteY111" fmla="*/ 295998 h 394810"/>
                  <a:gd name="connsiteX112" fmla="*/ 120883 w 373141"/>
                  <a:gd name="connsiteY112" fmla="*/ 295998 h 394810"/>
                  <a:gd name="connsiteX113" fmla="*/ 126582 w 373141"/>
                  <a:gd name="connsiteY113" fmla="*/ 307055 h 394810"/>
                  <a:gd name="connsiteX114" fmla="*/ 124302 w 373141"/>
                  <a:gd name="connsiteY114" fmla="*/ 320506 h 394810"/>
                  <a:gd name="connsiteX115" fmla="*/ 139862 w 373141"/>
                  <a:gd name="connsiteY115" fmla="*/ 327402 h 394810"/>
                  <a:gd name="connsiteX116" fmla="*/ 145561 w 373141"/>
                  <a:gd name="connsiteY116" fmla="*/ 322330 h 394810"/>
                  <a:gd name="connsiteX117" fmla="*/ 155307 w 373141"/>
                  <a:gd name="connsiteY117" fmla="*/ 291838 h 394810"/>
                  <a:gd name="connsiteX118" fmla="*/ 168359 w 373141"/>
                  <a:gd name="connsiteY118" fmla="*/ 298164 h 394810"/>
                  <a:gd name="connsiteX119" fmla="*/ 171380 w 373141"/>
                  <a:gd name="connsiteY119" fmla="*/ 306086 h 394810"/>
                  <a:gd name="connsiteX120" fmla="*/ 197826 w 373141"/>
                  <a:gd name="connsiteY120" fmla="*/ 292921 h 394810"/>
                  <a:gd name="connsiteX121" fmla="*/ 203525 w 373141"/>
                  <a:gd name="connsiteY121" fmla="*/ 285169 h 394810"/>
                  <a:gd name="connsiteX122" fmla="*/ 212644 w 373141"/>
                  <a:gd name="connsiteY122" fmla="*/ 280496 h 394810"/>
                  <a:gd name="connsiteX123" fmla="*/ 219256 w 373141"/>
                  <a:gd name="connsiteY123" fmla="*/ 269781 h 394810"/>
                  <a:gd name="connsiteX124" fmla="*/ 229287 w 373141"/>
                  <a:gd name="connsiteY124" fmla="*/ 265221 h 394810"/>
                  <a:gd name="connsiteX125" fmla="*/ 239659 w 373141"/>
                  <a:gd name="connsiteY125" fmla="*/ 251656 h 394810"/>
                  <a:gd name="connsiteX126" fmla="*/ 248437 w 373141"/>
                  <a:gd name="connsiteY126" fmla="*/ 249548 h 394810"/>
                  <a:gd name="connsiteX127" fmla="*/ 249691 w 373141"/>
                  <a:gd name="connsiteY127" fmla="*/ 245615 h 394810"/>
                  <a:gd name="connsiteX128" fmla="*/ 249064 w 373141"/>
                  <a:gd name="connsiteY128" fmla="*/ 216206 h 394810"/>
                  <a:gd name="connsiteX129" fmla="*/ 249919 w 373141"/>
                  <a:gd name="connsiteY129" fmla="*/ 200019 h 394810"/>
                  <a:gd name="connsiteX130" fmla="*/ 260861 w 373141"/>
                  <a:gd name="connsiteY130" fmla="*/ 190900 h 394810"/>
                  <a:gd name="connsiteX131" fmla="*/ 274426 w 373141"/>
                  <a:gd name="connsiteY131" fmla="*/ 178304 h 394810"/>
                  <a:gd name="connsiteX132" fmla="*/ 276877 w 373141"/>
                  <a:gd name="connsiteY132" fmla="*/ 173631 h 394810"/>
                  <a:gd name="connsiteX133" fmla="*/ 269810 w 373141"/>
                  <a:gd name="connsiteY133" fmla="*/ 157387 h 394810"/>
                  <a:gd name="connsiteX134" fmla="*/ 269810 w 373141"/>
                  <a:gd name="connsiteY134" fmla="*/ 142454 h 394810"/>
                  <a:gd name="connsiteX135" fmla="*/ 265364 w 373141"/>
                  <a:gd name="connsiteY135" fmla="*/ 138693 h 394810"/>
                  <a:gd name="connsiteX136" fmla="*/ 260520 w 373141"/>
                  <a:gd name="connsiteY136" fmla="*/ 128890 h 394810"/>
                  <a:gd name="connsiteX137" fmla="*/ 260177 w 373141"/>
                  <a:gd name="connsiteY137" fmla="*/ 122620 h 39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73141" h="394810">
                    <a:moveTo>
                      <a:pt x="255333" y="64543"/>
                    </a:moveTo>
                    <a:cubicBezTo>
                      <a:pt x="260520" y="62993"/>
                      <a:pt x="264281" y="58513"/>
                      <a:pt x="264908" y="53144"/>
                    </a:cubicBezTo>
                    <a:cubicBezTo>
                      <a:pt x="265478" y="47929"/>
                      <a:pt x="265250" y="42657"/>
                      <a:pt x="264110" y="37527"/>
                    </a:cubicBezTo>
                    <a:cubicBezTo>
                      <a:pt x="263427" y="32740"/>
                      <a:pt x="263484" y="26755"/>
                      <a:pt x="267644" y="24305"/>
                    </a:cubicBezTo>
                    <a:cubicBezTo>
                      <a:pt x="269183" y="23689"/>
                      <a:pt x="270664" y="22948"/>
                      <a:pt x="272089" y="22082"/>
                    </a:cubicBezTo>
                    <a:cubicBezTo>
                      <a:pt x="275053" y="19517"/>
                      <a:pt x="273401" y="14558"/>
                      <a:pt x="271007" y="11481"/>
                    </a:cubicBezTo>
                    <a:cubicBezTo>
                      <a:pt x="268613" y="8403"/>
                      <a:pt x="265307" y="5268"/>
                      <a:pt x="265649" y="1336"/>
                    </a:cubicBezTo>
                    <a:cubicBezTo>
                      <a:pt x="271919" y="-1788"/>
                      <a:pt x="279499" y="754"/>
                      <a:pt x="282634" y="7007"/>
                    </a:cubicBezTo>
                    <a:cubicBezTo>
                      <a:pt x="283318" y="8369"/>
                      <a:pt x="283716" y="9851"/>
                      <a:pt x="283887" y="11367"/>
                    </a:cubicBezTo>
                    <a:cubicBezTo>
                      <a:pt x="283887" y="12620"/>
                      <a:pt x="283887" y="14045"/>
                      <a:pt x="284628" y="14900"/>
                    </a:cubicBezTo>
                    <a:cubicBezTo>
                      <a:pt x="285541" y="15618"/>
                      <a:pt x="286680" y="15983"/>
                      <a:pt x="287877" y="15926"/>
                    </a:cubicBezTo>
                    <a:cubicBezTo>
                      <a:pt x="296141" y="16946"/>
                      <a:pt x="302525" y="23609"/>
                      <a:pt x="303209" y="31885"/>
                    </a:cubicBezTo>
                    <a:cubicBezTo>
                      <a:pt x="305203" y="33310"/>
                      <a:pt x="308224" y="31885"/>
                      <a:pt x="310390" y="32968"/>
                    </a:cubicBezTo>
                    <a:cubicBezTo>
                      <a:pt x="311359" y="33663"/>
                      <a:pt x="312157" y="34535"/>
                      <a:pt x="312783" y="35532"/>
                    </a:cubicBezTo>
                    <a:cubicBezTo>
                      <a:pt x="317343" y="40947"/>
                      <a:pt x="325778" y="39921"/>
                      <a:pt x="332675" y="38496"/>
                    </a:cubicBezTo>
                    <a:cubicBezTo>
                      <a:pt x="346069" y="35760"/>
                      <a:pt x="359577" y="33612"/>
                      <a:pt x="373141" y="32056"/>
                    </a:cubicBezTo>
                    <a:cubicBezTo>
                      <a:pt x="368467" y="41768"/>
                      <a:pt x="359120" y="48408"/>
                      <a:pt x="348405" y="49667"/>
                    </a:cubicBezTo>
                    <a:cubicBezTo>
                      <a:pt x="350001" y="57470"/>
                      <a:pt x="345898" y="65318"/>
                      <a:pt x="338545" y="68418"/>
                    </a:cubicBezTo>
                    <a:cubicBezTo>
                      <a:pt x="329939" y="71724"/>
                      <a:pt x="318711" y="67734"/>
                      <a:pt x="312043" y="74118"/>
                    </a:cubicBezTo>
                    <a:cubicBezTo>
                      <a:pt x="309079" y="77993"/>
                      <a:pt x="306856" y="82376"/>
                      <a:pt x="305489" y="87056"/>
                    </a:cubicBezTo>
                    <a:cubicBezTo>
                      <a:pt x="303436" y="91444"/>
                      <a:pt x="298763" y="95662"/>
                      <a:pt x="294090" y="93895"/>
                    </a:cubicBezTo>
                    <a:cubicBezTo>
                      <a:pt x="291410" y="92869"/>
                      <a:pt x="289872" y="90076"/>
                      <a:pt x="287934" y="87911"/>
                    </a:cubicBezTo>
                    <a:cubicBezTo>
                      <a:pt x="283146" y="83493"/>
                      <a:pt x="277219" y="80507"/>
                      <a:pt x="270835" y="79304"/>
                    </a:cubicBezTo>
                    <a:cubicBezTo>
                      <a:pt x="264908" y="77150"/>
                      <a:pt x="258638" y="76295"/>
                      <a:pt x="252369" y="76797"/>
                    </a:cubicBezTo>
                    <a:cubicBezTo>
                      <a:pt x="245986" y="77395"/>
                      <a:pt x="240686" y="81977"/>
                      <a:pt x="239204" y="88196"/>
                    </a:cubicBezTo>
                    <a:cubicBezTo>
                      <a:pt x="243934" y="87939"/>
                      <a:pt x="247980" y="91575"/>
                      <a:pt x="248266" y="96323"/>
                    </a:cubicBezTo>
                    <a:cubicBezTo>
                      <a:pt x="248323" y="97155"/>
                      <a:pt x="248209" y="97987"/>
                      <a:pt x="248038" y="98796"/>
                    </a:cubicBezTo>
                    <a:cubicBezTo>
                      <a:pt x="246100" y="104091"/>
                      <a:pt x="240229" y="106810"/>
                      <a:pt x="234929" y="104878"/>
                    </a:cubicBezTo>
                    <a:cubicBezTo>
                      <a:pt x="234872" y="104844"/>
                      <a:pt x="234758" y="104815"/>
                      <a:pt x="234701" y="104781"/>
                    </a:cubicBezTo>
                    <a:cubicBezTo>
                      <a:pt x="238976" y="103128"/>
                      <a:pt x="236867" y="96403"/>
                      <a:pt x="233219" y="93382"/>
                    </a:cubicBezTo>
                    <a:cubicBezTo>
                      <a:pt x="229571" y="90361"/>
                      <a:pt x="224670" y="87683"/>
                      <a:pt x="224898" y="83180"/>
                    </a:cubicBezTo>
                    <a:cubicBezTo>
                      <a:pt x="226323" y="77082"/>
                      <a:pt x="237779" y="78221"/>
                      <a:pt x="239090" y="72066"/>
                    </a:cubicBezTo>
                    <a:cubicBezTo>
                      <a:pt x="239090" y="70812"/>
                      <a:pt x="239090" y="69444"/>
                      <a:pt x="239090" y="68190"/>
                    </a:cubicBezTo>
                    <a:cubicBezTo>
                      <a:pt x="239774" y="65341"/>
                      <a:pt x="243193" y="63973"/>
                      <a:pt x="246100" y="63859"/>
                    </a:cubicBezTo>
                    <a:cubicBezTo>
                      <a:pt x="249178" y="64360"/>
                      <a:pt x="252255" y="64594"/>
                      <a:pt x="255333" y="64543"/>
                    </a:cubicBezTo>
                    <a:close/>
                    <a:moveTo>
                      <a:pt x="46220" y="333330"/>
                    </a:moveTo>
                    <a:cubicBezTo>
                      <a:pt x="43826" y="329580"/>
                      <a:pt x="40007" y="326946"/>
                      <a:pt x="35675" y="326035"/>
                    </a:cubicBezTo>
                    <a:cubicBezTo>
                      <a:pt x="31343" y="325128"/>
                      <a:pt x="26955" y="324826"/>
                      <a:pt x="22567" y="325123"/>
                    </a:cubicBezTo>
                    <a:cubicBezTo>
                      <a:pt x="19831" y="324963"/>
                      <a:pt x="17152" y="325447"/>
                      <a:pt x="14644" y="326548"/>
                    </a:cubicBezTo>
                    <a:cubicBezTo>
                      <a:pt x="10027" y="328998"/>
                      <a:pt x="8945" y="334755"/>
                      <a:pt x="5753" y="339086"/>
                    </a:cubicBezTo>
                    <a:cubicBezTo>
                      <a:pt x="2561" y="343418"/>
                      <a:pt x="-1429" y="347408"/>
                      <a:pt x="510" y="351853"/>
                    </a:cubicBezTo>
                    <a:cubicBezTo>
                      <a:pt x="1935" y="354526"/>
                      <a:pt x="5069" y="355780"/>
                      <a:pt x="7919" y="354817"/>
                    </a:cubicBezTo>
                    <a:cubicBezTo>
                      <a:pt x="10711" y="353723"/>
                      <a:pt x="12707" y="351220"/>
                      <a:pt x="13105" y="348263"/>
                    </a:cubicBezTo>
                    <a:cubicBezTo>
                      <a:pt x="13105" y="347413"/>
                      <a:pt x="13391" y="346587"/>
                      <a:pt x="13903" y="345926"/>
                    </a:cubicBezTo>
                    <a:cubicBezTo>
                      <a:pt x="14473" y="345481"/>
                      <a:pt x="15157" y="345259"/>
                      <a:pt x="15898" y="345299"/>
                    </a:cubicBezTo>
                    <a:cubicBezTo>
                      <a:pt x="18634" y="344700"/>
                      <a:pt x="21540" y="345436"/>
                      <a:pt x="23649" y="347294"/>
                    </a:cubicBezTo>
                    <a:cubicBezTo>
                      <a:pt x="24618" y="348895"/>
                      <a:pt x="25074" y="350776"/>
                      <a:pt x="24903" y="352651"/>
                    </a:cubicBezTo>
                    <a:cubicBezTo>
                      <a:pt x="25245" y="356361"/>
                      <a:pt x="24733" y="360100"/>
                      <a:pt x="23422" y="363594"/>
                    </a:cubicBezTo>
                    <a:cubicBezTo>
                      <a:pt x="21997" y="367145"/>
                      <a:pt x="18406" y="369328"/>
                      <a:pt x="14587" y="368952"/>
                    </a:cubicBezTo>
                    <a:lnTo>
                      <a:pt x="17722" y="391464"/>
                    </a:lnTo>
                    <a:cubicBezTo>
                      <a:pt x="17722" y="392411"/>
                      <a:pt x="18121" y="393305"/>
                      <a:pt x="18805" y="393972"/>
                    </a:cubicBezTo>
                    <a:cubicBezTo>
                      <a:pt x="19318" y="394269"/>
                      <a:pt x="19887" y="394428"/>
                      <a:pt x="20515" y="394428"/>
                    </a:cubicBezTo>
                    <a:cubicBezTo>
                      <a:pt x="24333" y="395198"/>
                      <a:pt x="28323" y="394799"/>
                      <a:pt x="31914" y="393288"/>
                    </a:cubicBezTo>
                    <a:cubicBezTo>
                      <a:pt x="36530" y="389800"/>
                      <a:pt x="39152" y="384306"/>
                      <a:pt x="39038" y="378527"/>
                    </a:cubicBezTo>
                    <a:cubicBezTo>
                      <a:pt x="38924" y="375193"/>
                      <a:pt x="39836" y="371904"/>
                      <a:pt x="41603" y="369066"/>
                    </a:cubicBezTo>
                    <a:cubicBezTo>
                      <a:pt x="42856" y="367726"/>
                      <a:pt x="44224" y="366489"/>
                      <a:pt x="45649" y="365361"/>
                    </a:cubicBezTo>
                    <a:cubicBezTo>
                      <a:pt x="48898" y="361867"/>
                      <a:pt x="51292" y="357672"/>
                      <a:pt x="52603" y="353107"/>
                    </a:cubicBezTo>
                    <a:cubicBezTo>
                      <a:pt x="53857" y="349801"/>
                      <a:pt x="54996" y="345755"/>
                      <a:pt x="52603" y="343019"/>
                    </a:cubicBezTo>
                    <a:cubicBezTo>
                      <a:pt x="51805" y="342107"/>
                      <a:pt x="50779" y="341480"/>
                      <a:pt x="49924" y="340625"/>
                    </a:cubicBezTo>
                    <a:cubicBezTo>
                      <a:pt x="48442" y="338345"/>
                      <a:pt x="47245" y="335895"/>
                      <a:pt x="46390" y="333330"/>
                    </a:cubicBezTo>
                    <a:close/>
                    <a:moveTo>
                      <a:pt x="97515" y="344729"/>
                    </a:moveTo>
                    <a:cubicBezTo>
                      <a:pt x="99794" y="344262"/>
                      <a:pt x="101504" y="342489"/>
                      <a:pt x="101960" y="340226"/>
                    </a:cubicBezTo>
                    <a:cubicBezTo>
                      <a:pt x="101960" y="337661"/>
                      <a:pt x="100022" y="335325"/>
                      <a:pt x="100308" y="332760"/>
                    </a:cubicBezTo>
                    <a:cubicBezTo>
                      <a:pt x="100763" y="328884"/>
                      <a:pt x="106007" y="327972"/>
                      <a:pt x="109255" y="326149"/>
                    </a:cubicBezTo>
                    <a:cubicBezTo>
                      <a:pt x="113929" y="323493"/>
                      <a:pt x="116266" y="318032"/>
                      <a:pt x="114955" y="312812"/>
                    </a:cubicBezTo>
                    <a:cubicBezTo>
                      <a:pt x="110851" y="310623"/>
                      <a:pt x="107432" y="307249"/>
                      <a:pt x="105266" y="303123"/>
                    </a:cubicBezTo>
                    <a:cubicBezTo>
                      <a:pt x="101846" y="305756"/>
                      <a:pt x="97799" y="307511"/>
                      <a:pt x="93525" y="308252"/>
                    </a:cubicBezTo>
                    <a:cubicBezTo>
                      <a:pt x="91587" y="308315"/>
                      <a:pt x="89763" y="309039"/>
                      <a:pt x="88281" y="310304"/>
                    </a:cubicBezTo>
                    <a:cubicBezTo>
                      <a:pt x="87711" y="311034"/>
                      <a:pt x="87256" y="311866"/>
                      <a:pt x="86970" y="312755"/>
                    </a:cubicBezTo>
                    <a:cubicBezTo>
                      <a:pt x="83494" y="319520"/>
                      <a:pt x="77282" y="324433"/>
                      <a:pt x="69872" y="326206"/>
                    </a:cubicBezTo>
                    <a:cubicBezTo>
                      <a:pt x="67479" y="326548"/>
                      <a:pt x="65256" y="327596"/>
                      <a:pt x="63431" y="329226"/>
                    </a:cubicBezTo>
                    <a:cubicBezTo>
                      <a:pt x="62007" y="331523"/>
                      <a:pt x="61551" y="334293"/>
                      <a:pt x="62178" y="336920"/>
                    </a:cubicBezTo>
                    <a:cubicBezTo>
                      <a:pt x="62178" y="339599"/>
                      <a:pt x="62691" y="342221"/>
                      <a:pt x="62919" y="344900"/>
                    </a:cubicBezTo>
                    <a:cubicBezTo>
                      <a:pt x="62805" y="346974"/>
                      <a:pt x="63489" y="349015"/>
                      <a:pt x="64856" y="350599"/>
                    </a:cubicBezTo>
                    <a:cubicBezTo>
                      <a:pt x="67649" y="353221"/>
                      <a:pt x="72095" y="350941"/>
                      <a:pt x="75457" y="349174"/>
                    </a:cubicBezTo>
                    <a:cubicBezTo>
                      <a:pt x="80245" y="346672"/>
                      <a:pt x="85545" y="345361"/>
                      <a:pt x="90960" y="345356"/>
                    </a:cubicBezTo>
                    <a:cubicBezTo>
                      <a:pt x="93126" y="345498"/>
                      <a:pt x="95292" y="345344"/>
                      <a:pt x="97401" y="344900"/>
                    </a:cubicBezTo>
                    <a:close/>
                    <a:moveTo>
                      <a:pt x="260292" y="122449"/>
                    </a:moveTo>
                    <a:cubicBezTo>
                      <a:pt x="258240" y="118716"/>
                      <a:pt x="253737" y="117120"/>
                      <a:pt x="249805" y="118745"/>
                    </a:cubicBezTo>
                    <a:cubicBezTo>
                      <a:pt x="246043" y="120512"/>
                      <a:pt x="242851" y="123224"/>
                      <a:pt x="240457" y="126610"/>
                    </a:cubicBezTo>
                    <a:cubicBezTo>
                      <a:pt x="234530" y="132851"/>
                      <a:pt x="229914" y="140238"/>
                      <a:pt x="226893" y="148325"/>
                    </a:cubicBezTo>
                    <a:cubicBezTo>
                      <a:pt x="223929" y="156572"/>
                      <a:pt x="226152" y="165788"/>
                      <a:pt x="232592" y="171750"/>
                    </a:cubicBezTo>
                    <a:cubicBezTo>
                      <a:pt x="227691" y="174052"/>
                      <a:pt x="224499" y="178840"/>
                      <a:pt x="224157" y="184232"/>
                    </a:cubicBezTo>
                    <a:cubicBezTo>
                      <a:pt x="224271" y="186369"/>
                      <a:pt x="224157" y="188512"/>
                      <a:pt x="223758" y="190615"/>
                    </a:cubicBezTo>
                    <a:cubicBezTo>
                      <a:pt x="221991" y="196315"/>
                      <a:pt x="213727" y="197910"/>
                      <a:pt x="211561" y="203553"/>
                    </a:cubicBezTo>
                    <a:cubicBezTo>
                      <a:pt x="210193" y="207144"/>
                      <a:pt x="211561" y="212273"/>
                      <a:pt x="207970" y="214154"/>
                    </a:cubicBezTo>
                    <a:cubicBezTo>
                      <a:pt x="206318" y="215123"/>
                      <a:pt x="204266" y="214724"/>
                      <a:pt x="202271" y="215408"/>
                    </a:cubicBezTo>
                    <a:cubicBezTo>
                      <a:pt x="197996" y="217061"/>
                      <a:pt x="197826" y="223501"/>
                      <a:pt x="193950" y="225895"/>
                    </a:cubicBezTo>
                    <a:cubicBezTo>
                      <a:pt x="191328" y="227491"/>
                      <a:pt x="188250" y="226750"/>
                      <a:pt x="184945" y="227434"/>
                    </a:cubicBezTo>
                    <a:cubicBezTo>
                      <a:pt x="180043" y="228824"/>
                      <a:pt x="177079" y="233846"/>
                      <a:pt x="178219" y="238833"/>
                    </a:cubicBezTo>
                    <a:cubicBezTo>
                      <a:pt x="174173" y="236923"/>
                      <a:pt x="172121" y="232278"/>
                      <a:pt x="173546" y="228004"/>
                    </a:cubicBezTo>
                    <a:cubicBezTo>
                      <a:pt x="168929" y="225581"/>
                      <a:pt x="163286" y="226436"/>
                      <a:pt x="159639" y="230112"/>
                    </a:cubicBezTo>
                    <a:cubicBezTo>
                      <a:pt x="156162" y="233771"/>
                      <a:pt x="153483" y="238149"/>
                      <a:pt x="151887" y="242936"/>
                    </a:cubicBezTo>
                    <a:cubicBezTo>
                      <a:pt x="150577" y="245655"/>
                      <a:pt x="149665" y="248556"/>
                      <a:pt x="149209" y="251542"/>
                    </a:cubicBezTo>
                    <a:cubicBezTo>
                      <a:pt x="148696" y="256102"/>
                      <a:pt x="149893" y="261459"/>
                      <a:pt x="146587" y="264708"/>
                    </a:cubicBezTo>
                    <a:cubicBezTo>
                      <a:pt x="143281" y="267957"/>
                      <a:pt x="137867" y="267558"/>
                      <a:pt x="136727" y="271548"/>
                    </a:cubicBezTo>
                    <a:cubicBezTo>
                      <a:pt x="136214" y="273200"/>
                      <a:pt x="136727" y="275081"/>
                      <a:pt x="136100" y="276620"/>
                    </a:cubicBezTo>
                    <a:cubicBezTo>
                      <a:pt x="134504" y="278906"/>
                      <a:pt x="131369" y="279487"/>
                      <a:pt x="129090" y="277931"/>
                    </a:cubicBezTo>
                    <a:cubicBezTo>
                      <a:pt x="126924" y="276295"/>
                      <a:pt x="124872" y="274540"/>
                      <a:pt x="122934" y="272687"/>
                    </a:cubicBezTo>
                    <a:cubicBezTo>
                      <a:pt x="116152" y="268641"/>
                      <a:pt x="107375" y="270220"/>
                      <a:pt x="102416" y="276392"/>
                    </a:cubicBezTo>
                    <a:cubicBezTo>
                      <a:pt x="101675" y="277657"/>
                      <a:pt x="100535" y="278592"/>
                      <a:pt x="99110" y="279014"/>
                    </a:cubicBezTo>
                    <a:cubicBezTo>
                      <a:pt x="97971" y="279082"/>
                      <a:pt x="96887" y="278826"/>
                      <a:pt x="95919" y="278273"/>
                    </a:cubicBezTo>
                    <a:cubicBezTo>
                      <a:pt x="86002" y="274169"/>
                      <a:pt x="74773" y="277133"/>
                      <a:pt x="64458" y="280097"/>
                    </a:cubicBezTo>
                    <a:cubicBezTo>
                      <a:pt x="62064" y="280581"/>
                      <a:pt x="59841" y="281681"/>
                      <a:pt x="57960" y="283289"/>
                    </a:cubicBezTo>
                    <a:cubicBezTo>
                      <a:pt x="56364" y="285392"/>
                      <a:pt x="55053" y="287666"/>
                      <a:pt x="53971" y="290071"/>
                    </a:cubicBezTo>
                    <a:cubicBezTo>
                      <a:pt x="52432" y="292282"/>
                      <a:pt x="50494" y="294209"/>
                      <a:pt x="48271" y="295770"/>
                    </a:cubicBezTo>
                    <a:lnTo>
                      <a:pt x="25815" y="313439"/>
                    </a:lnTo>
                    <a:cubicBezTo>
                      <a:pt x="30888" y="316220"/>
                      <a:pt x="36758" y="317320"/>
                      <a:pt x="42515" y="316573"/>
                    </a:cubicBezTo>
                    <a:cubicBezTo>
                      <a:pt x="51634" y="315320"/>
                      <a:pt x="59613" y="309563"/>
                      <a:pt x="68903" y="309050"/>
                    </a:cubicBezTo>
                    <a:cubicBezTo>
                      <a:pt x="69302" y="304548"/>
                      <a:pt x="73748" y="301641"/>
                      <a:pt x="77680" y="299418"/>
                    </a:cubicBezTo>
                    <a:cubicBezTo>
                      <a:pt x="84577" y="294579"/>
                      <a:pt x="92898" y="292174"/>
                      <a:pt x="101333" y="292579"/>
                    </a:cubicBezTo>
                    <a:cubicBezTo>
                      <a:pt x="105836" y="294078"/>
                      <a:pt x="110509" y="295223"/>
                      <a:pt x="115183" y="295998"/>
                    </a:cubicBezTo>
                    <a:cubicBezTo>
                      <a:pt x="117064" y="295753"/>
                      <a:pt x="119001" y="295753"/>
                      <a:pt x="120883" y="295998"/>
                    </a:cubicBezTo>
                    <a:cubicBezTo>
                      <a:pt x="125328" y="297024"/>
                      <a:pt x="127209" y="302496"/>
                      <a:pt x="126582" y="307055"/>
                    </a:cubicBezTo>
                    <a:cubicBezTo>
                      <a:pt x="125556" y="311490"/>
                      <a:pt x="124815" y="315981"/>
                      <a:pt x="124302" y="320506"/>
                    </a:cubicBezTo>
                    <a:cubicBezTo>
                      <a:pt x="128463" y="324838"/>
                      <a:pt x="134219" y="329568"/>
                      <a:pt x="139862" y="327402"/>
                    </a:cubicBezTo>
                    <a:cubicBezTo>
                      <a:pt x="142199" y="326291"/>
                      <a:pt x="144193" y="324530"/>
                      <a:pt x="145561" y="322330"/>
                    </a:cubicBezTo>
                    <a:cubicBezTo>
                      <a:pt x="151944" y="313439"/>
                      <a:pt x="155364" y="302775"/>
                      <a:pt x="155307" y="291838"/>
                    </a:cubicBezTo>
                    <a:cubicBezTo>
                      <a:pt x="158499" y="295776"/>
                      <a:pt x="163286" y="298096"/>
                      <a:pt x="168359" y="298164"/>
                    </a:cubicBezTo>
                    <a:cubicBezTo>
                      <a:pt x="168758" y="301003"/>
                      <a:pt x="169784" y="303715"/>
                      <a:pt x="171380" y="306086"/>
                    </a:cubicBezTo>
                    <a:cubicBezTo>
                      <a:pt x="181297" y="308594"/>
                      <a:pt x="187623" y="293263"/>
                      <a:pt x="197826" y="292921"/>
                    </a:cubicBezTo>
                    <a:cubicBezTo>
                      <a:pt x="197142" y="289558"/>
                      <a:pt x="200219" y="286594"/>
                      <a:pt x="203525" y="285169"/>
                    </a:cubicBezTo>
                    <a:cubicBezTo>
                      <a:pt x="206830" y="284161"/>
                      <a:pt x="209908" y="282576"/>
                      <a:pt x="212644" y="280496"/>
                    </a:cubicBezTo>
                    <a:cubicBezTo>
                      <a:pt x="215551" y="277418"/>
                      <a:pt x="216007" y="272459"/>
                      <a:pt x="219256" y="269781"/>
                    </a:cubicBezTo>
                    <a:cubicBezTo>
                      <a:pt x="222504" y="267102"/>
                      <a:pt x="226380" y="267444"/>
                      <a:pt x="229287" y="265221"/>
                    </a:cubicBezTo>
                    <a:cubicBezTo>
                      <a:pt x="233903" y="261630"/>
                      <a:pt x="234131" y="253423"/>
                      <a:pt x="239659" y="251656"/>
                    </a:cubicBezTo>
                    <a:cubicBezTo>
                      <a:pt x="242566" y="250688"/>
                      <a:pt x="246441" y="251656"/>
                      <a:pt x="248437" y="249548"/>
                    </a:cubicBezTo>
                    <a:cubicBezTo>
                      <a:pt x="249291" y="248408"/>
                      <a:pt x="249691" y="247029"/>
                      <a:pt x="249691" y="245615"/>
                    </a:cubicBezTo>
                    <a:cubicBezTo>
                      <a:pt x="250660" y="235823"/>
                      <a:pt x="250432" y="225952"/>
                      <a:pt x="249064" y="216206"/>
                    </a:cubicBezTo>
                    <a:cubicBezTo>
                      <a:pt x="247639" y="210860"/>
                      <a:pt x="247923" y="205183"/>
                      <a:pt x="249919" y="200019"/>
                    </a:cubicBezTo>
                    <a:cubicBezTo>
                      <a:pt x="252769" y="196132"/>
                      <a:pt x="256530" y="193003"/>
                      <a:pt x="260861" y="190900"/>
                    </a:cubicBezTo>
                    <a:cubicBezTo>
                      <a:pt x="266105" y="187515"/>
                      <a:pt x="270664" y="183257"/>
                      <a:pt x="274426" y="178304"/>
                    </a:cubicBezTo>
                    <a:cubicBezTo>
                      <a:pt x="275623" y="176959"/>
                      <a:pt x="276421" y="175358"/>
                      <a:pt x="276877" y="173631"/>
                    </a:cubicBezTo>
                    <a:cubicBezTo>
                      <a:pt x="277960" y="167931"/>
                      <a:pt x="270778" y="163372"/>
                      <a:pt x="269810" y="157387"/>
                    </a:cubicBezTo>
                    <a:cubicBezTo>
                      <a:pt x="269069" y="152372"/>
                      <a:pt x="272774" y="146729"/>
                      <a:pt x="269810" y="142454"/>
                    </a:cubicBezTo>
                    <a:cubicBezTo>
                      <a:pt x="268555" y="140978"/>
                      <a:pt x="267017" y="139713"/>
                      <a:pt x="265364" y="138693"/>
                    </a:cubicBezTo>
                    <a:cubicBezTo>
                      <a:pt x="262400" y="136265"/>
                      <a:pt x="260690" y="132697"/>
                      <a:pt x="260520" y="128890"/>
                    </a:cubicBezTo>
                    <a:cubicBezTo>
                      <a:pt x="260690" y="126792"/>
                      <a:pt x="260577" y="124684"/>
                      <a:pt x="260177" y="12262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59" name="Freihandform: Form 275">
                <a:extLst>
                  <a:ext uri="{FF2B5EF4-FFF2-40B4-BE49-F238E27FC236}">
                    <a16:creationId xmlns:a16="http://schemas.microsoft.com/office/drawing/2014/main" id="{C615E034-5D1D-D059-2D82-5FE4B573E616}"/>
                  </a:ext>
                </a:extLst>
              </p:cNvPr>
              <p:cNvSpPr/>
              <p:nvPr/>
            </p:nvSpPr>
            <p:spPr>
              <a:xfrm>
                <a:off x="6365609" y="3650450"/>
                <a:ext cx="41544" cy="73681"/>
              </a:xfrm>
              <a:custGeom>
                <a:avLst/>
                <a:gdLst>
                  <a:gd name="connsiteX0" fmla="*/ 22364 w 41544"/>
                  <a:gd name="connsiteY0" fmla="*/ 55947 h 73681"/>
                  <a:gd name="connsiteX1" fmla="*/ 19172 w 41544"/>
                  <a:gd name="connsiteY1" fmla="*/ 70766 h 73681"/>
                  <a:gd name="connsiteX2" fmla="*/ 7773 w 41544"/>
                  <a:gd name="connsiteY2" fmla="*/ 73445 h 73681"/>
                  <a:gd name="connsiteX3" fmla="*/ 535 w 41544"/>
                  <a:gd name="connsiteY3" fmla="*/ 72647 h 73681"/>
                  <a:gd name="connsiteX4" fmla="*/ 1846 w 41544"/>
                  <a:gd name="connsiteY4" fmla="*/ 63585 h 73681"/>
                  <a:gd name="connsiteX5" fmla="*/ 8058 w 41544"/>
                  <a:gd name="connsiteY5" fmla="*/ 56346 h 73681"/>
                  <a:gd name="connsiteX6" fmla="*/ 18431 w 41544"/>
                  <a:gd name="connsiteY6" fmla="*/ 40730 h 73681"/>
                  <a:gd name="connsiteX7" fmla="*/ 19400 w 41544"/>
                  <a:gd name="connsiteY7" fmla="*/ 36512 h 73681"/>
                  <a:gd name="connsiteX8" fmla="*/ 12846 w 41544"/>
                  <a:gd name="connsiteY8" fmla="*/ 33321 h 73681"/>
                  <a:gd name="connsiteX9" fmla="*/ 9312 w 41544"/>
                  <a:gd name="connsiteY9" fmla="*/ 20081 h 73681"/>
                  <a:gd name="connsiteX10" fmla="*/ 9369 w 41544"/>
                  <a:gd name="connsiteY10" fmla="*/ 19984 h 73681"/>
                  <a:gd name="connsiteX11" fmla="*/ 20027 w 41544"/>
                  <a:gd name="connsiteY11" fmla="*/ 8585 h 73681"/>
                  <a:gd name="connsiteX12" fmla="*/ 28349 w 41544"/>
                  <a:gd name="connsiteY12" fmla="*/ 1518 h 73681"/>
                  <a:gd name="connsiteX13" fmla="*/ 38664 w 41544"/>
                  <a:gd name="connsiteY13" fmla="*/ 1518 h 73681"/>
                  <a:gd name="connsiteX14" fmla="*/ 40146 w 41544"/>
                  <a:gd name="connsiteY14" fmla="*/ 16336 h 73681"/>
                  <a:gd name="connsiteX15" fmla="*/ 33421 w 41544"/>
                  <a:gd name="connsiteY15" fmla="*/ 33093 h 73681"/>
                  <a:gd name="connsiteX16" fmla="*/ 31141 w 41544"/>
                  <a:gd name="connsiteY16" fmla="*/ 37082 h 73681"/>
                  <a:gd name="connsiteX17" fmla="*/ 28976 w 41544"/>
                  <a:gd name="connsiteY17" fmla="*/ 51445 h 73681"/>
                  <a:gd name="connsiteX18" fmla="*/ 22364 w 41544"/>
                  <a:gd name="connsiteY18" fmla="*/ 55947 h 7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544" h="73681">
                    <a:moveTo>
                      <a:pt x="22364" y="55947"/>
                    </a:moveTo>
                    <a:cubicBezTo>
                      <a:pt x="18830" y="59709"/>
                      <a:pt x="22364" y="66606"/>
                      <a:pt x="19172" y="70766"/>
                    </a:cubicBezTo>
                    <a:cubicBezTo>
                      <a:pt x="16836" y="74015"/>
                      <a:pt x="12048" y="73901"/>
                      <a:pt x="7773" y="73445"/>
                    </a:cubicBezTo>
                    <a:lnTo>
                      <a:pt x="535" y="72647"/>
                    </a:lnTo>
                    <a:cubicBezTo>
                      <a:pt x="-491" y="69592"/>
                      <a:pt x="-35" y="66224"/>
                      <a:pt x="1846" y="63585"/>
                    </a:cubicBezTo>
                    <a:cubicBezTo>
                      <a:pt x="3727" y="60992"/>
                      <a:pt x="5778" y="58569"/>
                      <a:pt x="8058" y="56346"/>
                    </a:cubicBezTo>
                    <a:cubicBezTo>
                      <a:pt x="12048" y="51519"/>
                      <a:pt x="15525" y="46287"/>
                      <a:pt x="18431" y="40730"/>
                    </a:cubicBezTo>
                    <a:cubicBezTo>
                      <a:pt x="19343" y="39527"/>
                      <a:pt x="19685" y="37994"/>
                      <a:pt x="19400" y="36512"/>
                    </a:cubicBezTo>
                    <a:cubicBezTo>
                      <a:pt x="18602" y="34119"/>
                      <a:pt x="15240" y="34232"/>
                      <a:pt x="12846" y="33321"/>
                    </a:cubicBezTo>
                    <a:cubicBezTo>
                      <a:pt x="8229" y="30642"/>
                      <a:pt x="6633" y="24714"/>
                      <a:pt x="9312" y="20081"/>
                    </a:cubicBezTo>
                    <a:cubicBezTo>
                      <a:pt x="9312" y="20047"/>
                      <a:pt x="9369" y="20018"/>
                      <a:pt x="9369" y="19984"/>
                    </a:cubicBezTo>
                    <a:cubicBezTo>
                      <a:pt x="12219" y="15595"/>
                      <a:pt x="15867" y="11737"/>
                      <a:pt x="20027" y="8585"/>
                    </a:cubicBezTo>
                    <a:cubicBezTo>
                      <a:pt x="22478" y="5895"/>
                      <a:pt x="25271" y="3524"/>
                      <a:pt x="28349" y="1518"/>
                    </a:cubicBezTo>
                    <a:cubicBezTo>
                      <a:pt x="31483" y="-506"/>
                      <a:pt x="35529" y="-506"/>
                      <a:pt x="38664" y="1518"/>
                    </a:cubicBezTo>
                    <a:cubicBezTo>
                      <a:pt x="42825" y="4823"/>
                      <a:pt x="41685" y="11264"/>
                      <a:pt x="40146" y="16336"/>
                    </a:cubicBezTo>
                    <a:cubicBezTo>
                      <a:pt x="38664" y="22201"/>
                      <a:pt x="36385" y="27838"/>
                      <a:pt x="33421" y="33093"/>
                    </a:cubicBezTo>
                    <a:cubicBezTo>
                      <a:pt x="32509" y="34312"/>
                      <a:pt x="31711" y="35657"/>
                      <a:pt x="31141" y="37082"/>
                    </a:cubicBezTo>
                    <a:cubicBezTo>
                      <a:pt x="29545" y="41756"/>
                      <a:pt x="32452" y="47854"/>
                      <a:pt x="28976" y="51445"/>
                    </a:cubicBezTo>
                    <a:cubicBezTo>
                      <a:pt x="27380" y="53668"/>
                      <a:pt x="24245" y="54238"/>
                      <a:pt x="22364" y="5594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0" name="Freihandform: Form 276">
                <a:extLst>
                  <a:ext uri="{FF2B5EF4-FFF2-40B4-BE49-F238E27FC236}">
                    <a16:creationId xmlns:a16="http://schemas.microsoft.com/office/drawing/2014/main" id="{A1371D6A-2F5B-B312-74D7-6C35419625A6}"/>
                  </a:ext>
                </a:extLst>
              </p:cNvPr>
              <p:cNvSpPr/>
              <p:nvPr/>
            </p:nvSpPr>
            <p:spPr>
              <a:xfrm>
                <a:off x="6302142" y="3814568"/>
                <a:ext cx="203201" cy="318432"/>
              </a:xfrm>
              <a:custGeom>
                <a:avLst/>
                <a:gdLst>
                  <a:gd name="connsiteX0" fmla="*/ 87883 w 203201"/>
                  <a:gd name="connsiteY0" fmla="*/ 82933 h 318432"/>
                  <a:gd name="connsiteX1" fmla="*/ 87883 w 203201"/>
                  <a:gd name="connsiteY1" fmla="*/ 88291 h 318432"/>
                  <a:gd name="connsiteX2" fmla="*/ 93925 w 203201"/>
                  <a:gd name="connsiteY2" fmla="*/ 94446 h 318432"/>
                  <a:gd name="connsiteX3" fmla="*/ 97857 w 203201"/>
                  <a:gd name="connsiteY3" fmla="*/ 107156 h 318432"/>
                  <a:gd name="connsiteX4" fmla="*/ 120655 w 203201"/>
                  <a:gd name="connsiteY4" fmla="*/ 113425 h 318432"/>
                  <a:gd name="connsiteX5" fmla="*/ 117350 w 203201"/>
                  <a:gd name="connsiteY5" fmla="*/ 125508 h 318432"/>
                  <a:gd name="connsiteX6" fmla="*/ 97971 w 203201"/>
                  <a:gd name="connsiteY6" fmla="*/ 119809 h 318432"/>
                  <a:gd name="connsiteX7" fmla="*/ 95748 w 203201"/>
                  <a:gd name="connsiteY7" fmla="*/ 115933 h 318432"/>
                  <a:gd name="connsiteX8" fmla="*/ 88453 w 203201"/>
                  <a:gd name="connsiteY8" fmla="*/ 112058 h 318432"/>
                  <a:gd name="connsiteX9" fmla="*/ 78137 w 203201"/>
                  <a:gd name="connsiteY9" fmla="*/ 115534 h 318432"/>
                  <a:gd name="connsiteX10" fmla="*/ 67992 w 203201"/>
                  <a:gd name="connsiteY10" fmla="*/ 114337 h 318432"/>
                  <a:gd name="connsiteX11" fmla="*/ 67251 w 203201"/>
                  <a:gd name="connsiteY11" fmla="*/ 106472 h 318432"/>
                  <a:gd name="connsiteX12" fmla="*/ 68733 w 203201"/>
                  <a:gd name="connsiteY12" fmla="*/ 98493 h 318432"/>
                  <a:gd name="connsiteX13" fmla="*/ 63432 w 203201"/>
                  <a:gd name="connsiteY13" fmla="*/ 93591 h 318432"/>
                  <a:gd name="connsiteX14" fmla="*/ 61494 w 203201"/>
                  <a:gd name="connsiteY14" fmla="*/ 77975 h 318432"/>
                  <a:gd name="connsiteX15" fmla="*/ 59671 w 203201"/>
                  <a:gd name="connsiteY15" fmla="*/ 62358 h 318432"/>
                  <a:gd name="connsiteX16" fmla="*/ 66282 w 203201"/>
                  <a:gd name="connsiteY16" fmla="*/ 57457 h 318432"/>
                  <a:gd name="connsiteX17" fmla="*/ 67878 w 203201"/>
                  <a:gd name="connsiteY17" fmla="*/ 47198 h 318432"/>
                  <a:gd name="connsiteX18" fmla="*/ 69815 w 203201"/>
                  <a:gd name="connsiteY18" fmla="*/ 12260 h 318432"/>
                  <a:gd name="connsiteX19" fmla="*/ 76940 w 203201"/>
                  <a:gd name="connsiteY19" fmla="*/ 1431 h 318432"/>
                  <a:gd name="connsiteX20" fmla="*/ 85033 w 203201"/>
                  <a:gd name="connsiteY20" fmla="*/ 63 h 318432"/>
                  <a:gd name="connsiteX21" fmla="*/ 104583 w 203201"/>
                  <a:gd name="connsiteY21" fmla="*/ 4394 h 318432"/>
                  <a:gd name="connsiteX22" fmla="*/ 108059 w 203201"/>
                  <a:gd name="connsiteY22" fmla="*/ 7073 h 318432"/>
                  <a:gd name="connsiteX23" fmla="*/ 108572 w 203201"/>
                  <a:gd name="connsiteY23" fmla="*/ 10265 h 318432"/>
                  <a:gd name="connsiteX24" fmla="*/ 108572 w 203201"/>
                  <a:gd name="connsiteY24" fmla="*/ 22918 h 318432"/>
                  <a:gd name="connsiteX25" fmla="*/ 118261 w 203201"/>
                  <a:gd name="connsiteY25" fmla="*/ 36882 h 318432"/>
                  <a:gd name="connsiteX26" fmla="*/ 111365 w 203201"/>
                  <a:gd name="connsiteY26" fmla="*/ 50845 h 318432"/>
                  <a:gd name="connsiteX27" fmla="*/ 107717 w 203201"/>
                  <a:gd name="connsiteY27" fmla="*/ 52213 h 318432"/>
                  <a:gd name="connsiteX28" fmla="*/ 107375 w 203201"/>
                  <a:gd name="connsiteY28" fmla="*/ 57913 h 318432"/>
                  <a:gd name="connsiteX29" fmla="*/ 99852 w 203201"/>
                  <a:gd name="connsiteY29" fmla="*/ 64068 h 318432"/>
                  <a:gd name="connsiteX30" fmla="*/ 90220 w 203201"/>
                  <a:gd name="connsiteY30" fmla="*/ 67602 h 318432"/>
                  <a:gd name="connsiteX31" fmla="*/ 87883 w 203201"/>
                  <a:gd name="connsiteY31" fmla="*/ 82933 h 318432"/>
                  <a:gd name="connsiteX32" fmla="*/ 67992 w 203201"/>
                  <a:gd name="connsiteY32" fmla="*/ 144260 h 318432"/>
                  <a:gd name="connsiteX33" fmla="*/ 69303 w 203201"/>
                  <a:gd name="connsiteY33" fmla="*/ 146083 h 318432"/>
                  <a:gd name="connsiteX34" fmla="*/ 74033 w 203201"/>
                  <a:gd name="connsiteY34" fmla="*/ 150244 h 318432"/>
                  <a:gd name="connsiteX35" fmla="*/ 77168 w 203201"/>
                  <a:gd name="connsiteY35" fmla="*/ 152980 h 318432"/>
                  <a:gd name="connsiteX36" fmla="*/ 79049 w 203201"/>
                  <a:gd name="connsiteY36" fmla="*/ 158679 h 318432"/>
                  <a:gd name="connsiteX37" fmla="*/ 83894 w 203201"/>
                  <a:gd name="connsiteY37" fmla="*/ 161586 h 318432"/>
                  <a:gd name="connsiteX38" fmla="*/ 89593 w 203201"/>
                  <a:gd name="connsiteY38" fmla="*/ 160161 h 318432"/>
                  <a:gd name="connsiteX39" fmla="*/ 94266 w 203201"/>
                  <a:gd name="connsiteY39" fmla="*/ 150073 h 318432"/>
                  <a:gd name="connsiteX40" fmla="*/ 91929 w 203201"/>
                  <a:gd name="connsiteY40" fmla="*/ 146767 h 318432"/>
                  <a:gd name="connsiteX41" fmla="*/ 78707 w 203201"/>
                  <a:gd name="connsiteY41" fmla="*/ 133146 h 318432"/>
                  <a:gd name="connsiteX42" fmla="*/ 76370 w 203201"/>
                  <a:gd name="connsiteY42" fmla="*/ 129840 h 318432"/>
                  <a:gd name="connsiteX43" fmla="*/ 68163 w 203201"/>
                  <a:gd name="connsiteY43" fmla="*/ 127332 h 318432"/>
                  <a:gd name="connsiteX44" fmla="*/ 67821 w 203201"/>
                  <a:gd name="connsiteY44" fmla="*/ 140726 h 318432"/>
                  <a:gd name="connsiteX45" fmla="*/ 67992 w 203201"/>
                  <a:gd name="connsiteY45" fmla="*/ 144260 h 318432"/>
                  <a:gd name="connsiteX46" fmla="*/ 145676 w 203201"/>
                  <a:gd name="connsiteY46" fmla="*/ 149503 h 318432"/>
                  <a:gd name="connsiteX47" fmla="*/ 141572 w 203201"/>
                  <a:gd name="connsiteY47" fmla="*/ 146197 h 318432"/>
                  <a:gd name="connsiteX48" fmla="*/ 137298 w 203201"/>
                  <a:gd name="connsiteY48" fmla="*/ 149902 h 318432"/>
                  <a:gd name="connsiteX49" fmla="*/ 137298 w 203201"/>
                  <a:gd name="connsiteY49" fmla="*/ 155944 h 318432"/>
                  <a:gd name="connsiteX50" fmla="*/ 139464 w 203201"/>
                  <a:gd name="connsiteY50" fmla="*/ 162042 h 318432"/>
                  <a:gd name="connsiteX51" fmla="*/ 140660 w 203201"/>
                  <a:gd name="connsiteY51" fmla="*/ 162897 h 318432"/>
                  <a:gd name="connsiteX52" fmla="*/ 143624 w 203201"/>
                  <a:gd name="connsiteY52" fmla="*/ 161472 h 318432"/>
                  <a:gd name="connsiteX53" fmla="*/ 145847 w 203201"/>
                  <a:gd name="connsiteY53" fmla="*/ 155032 h 318432"/>
                  <a:gd name="connsiteX54" fmla="*/ 145676 w 203201"/>
                  <a:gd name="connsiteY54" fmla="*/ 149503 h 318432"/>
                  <a:gd name="connsiteX55" fmla="*/ 158100 w 203201"/>
                  <a:gd name="connsiteY55" fmla="*/ 197265 h 318432"/>
                  <a:gd name="connsiteX56" fmla="*/ 158100 w 203201"/>
                  <a:gd name="connsiteY56" fmla="*/ 201026 h 318432"/>
                  <a:gd name="connsiteX57" fmla="*/ 159810 w 203201"/>
                  <a:gd name="connsiteY57" fmla="*/ 202622 h 318432"/>
                  <a:gd name="connsiteX58" fmla="*/ 168303 w 203201"/>
                  <a:gd name="connsiteY58" fmla="*/ 206099 h 318432"/>
                  <a:gd name="connsiteX59" fmla="*/ 170981 w 203201"/>
                  <a:gd name="connsiteY59" fmla="*/ 205130 h 318432"/>
                  <a:gd name="connsiteX60" fmla="*/ 171665 w 203201"/>
                  <a:gd name="connsiteY60" fmla="*/ 202622 h 318432"/>
                  <a:gd name="connsiteX61" fmla="*/ 171152 w 203201"/>
                  <a:gd name="connsiteY61" fmla="*/ 190140 h 318432"/>
                  <a:gd name="connsiteX62" fmla="*/ 179303 w 203201"/>
                  <a:gd name="connsiteY62" fmla="*/ 184441 h 318432"/>
                  <a:gd name="connsiteX63" fmla="*/ 181867 w 203201"/>
                  <a:gd name="connsiteY63" fmla="*/ 174524 h 318432"/>
                  <a:gd name="connsiteX64" fmla="*/ 180671 w 203201"/>
                  <a:gd name="connsiteY64" fmla="*/ 169109 h 318432"/>
                  <a:gd name="connsiteX65" fmla="*/ 179018 w 203201"/>
                  <a:gd name="connsiteY65" fmla="*/ 167228 h 318432"/>
                  <a:gd name="connsiteX66" fmla="*/ 157473 w 203201"/>
                  <a:gd name="connsiteY66" fmla="*/ 163068 h 318432"/>
                  <a:gd name="connsiteX67" fmla="*/ 153199 w 203201"/>
                  <a:gd name="connsiteY67" fmla="*/ 166203 h 318432"/>
                  <a:gd name="connsiteX68" fmla="*/ 152116 w 203201"/>
                  <a:gd name="connsiteY68" fmla="*/ 171218 h 318432"/>
                  <a:gd name="connsiteX69" fmla="*/ 153313 w 203201"/>
                  <a:gd name="connsiteY69" fmla="*/ 184042 h 318432"/>
                  <a:gd name="connsiteX70" fmla="*/ 158100 w 203201"/>
                  <a:gd name="connsiteY70" fmla="*/ 197265 h 318432"/>
                  <a:gd name="connsiteX71" fmla="*/ 121054 w 203201"/>
                  <a:gd name="connsiteY71" fmla="*/ 174866 h 318432"/>
                  <a:gd name="connsiteX72" fmla="*/ 117805 w 203201"/>
                  <a:gd name="connsiteY72" fmla="*/ 173783 h 318432"/>
                  <a:gd name="connsiteX73" fmla="*/ 114841 w 203201"/>
                  <a:gd name="connsiteY73" fmla="*/ 168425 h 318432"/>
                  <a:gd name="connsiteX74" fmla="*/ 107318 w 203201"/>
                  <a:gd name="connsiteY74" fmla="*/ 161871 h 318432"/>
                  <a:gd name="connsiteX75" fmla="*/ 98997 w 203201"/>
                  <a:gd name="connsiteY75" fmla="*/ 166602 h 318432"/>
                  <a:gd name="connsiteX76" fmla="*/ 98256 w 203201"/>
                  <a:gd name="connsiteY76" fmla="*/ 170078 h 318432"/>
                  <a:gd name="connsiteX77" fmla="*/ 93127 w 203201"/>
                  <a:gd name="connsiteY77" fmla="*/ 177032 h 318432"/>
                  <a:gd name="connsiteX78" fmla="*/ 93811 w 203201"/>
                  <a:gd name="connsiteY78" fmla="*/ 183358 h 318432"/>
                  <a:gd name="connsiteX79" fmla="*/ 102132 w 203201"/>
                  <a:gd name="connsiteY79" fmla="*/ 193446 h 318432"/>
                  <a:gd name="connsiteX80" fmla="*/ 115298 w 203201"/>
                  <a:gd name="connsiteY80" fmla="*/ 190596 h 318432"/>
                  <a:gd name="connsiteX81" fmla="*/ 120997 w 203201"/>
                  <a:gd name="connsiteY81" fmla="*/ 194985 h 318432"/>
                  <a:gd name="connsiteX82" fmla="*/ 122878 w 203201"/>
                  <a:gd name="connsiteY82" fmla="*/ 204845 h 318432"/>
                  <a:gd name="connsiteX83" fmla="*/ 116209 w 203201"/>
                  <a:gd name="connsiteY83" fmla="*/ 211912 h 318432"/>
                  <a:gd name="connsiteX84" fmla="*/ 112561 w 203201"/>
                  <a:gd name="connsiteY84" fmla="*/ 213394 h 318432"/>
                  <a:gd name="connsiteX85" fmla="*/ 112163 w 203201"/>
                  <a:gd name="connsiteY85" fmla="*/ 215617 h 318432"/>
                  <a:gd name="connsiteX86" fmla="*/ 113929 w 203201"/>
                  <a:gd name="connsiteY86" fmla="*/ 229638 h 318432"/>
                  <a:gd name="connsiteX87" fmla="*/ 115184 w 203201"/>
                  <a:gd name="connsiteY87" fmla="*/ 232259 h 318432"/>
                  <a:gd name="connsiteX88" fmla="*/ 120883 w 203201"/>
                  <a:gd name="connsiteY88" fmla="*/ 230664 h 318432"/>
                  <a:gd name="connsiteX89" fmla="*/ 123903 w 203201"/>
                  <a:gd name="connsiteY89" fmla="*/ 224679 h 318432"/>
                  <a:gd name="connsiteX90" fmla="*/ 137412 w 203201"/>
                  <a:gd name="connsiteY90" fmla="*/ 213679 h 318432"/>
                  <a:gd name="connsiteX91" fmla="*/ 138266 w 203201"/>
                  <a:gd name="connsiteY91" fmla="*/ 208835 h 318432"/>
                  <a:gd name="connsiteX92" fmla="*/ 146017 w 203201"/>
                  <a:gd name="connsiteY92" fmla="*/ 206726 h 318432"/>
                  <a:gd name="connsiteX93" fmla="*/ 142370 w 203201"/>
                  <a:gd name="connsiteY93" fmla="*/ 200228 h 318432"/>
                  <a:gd name="connsiteX94" fmla="*/ 141344 w 203201"/>
                  <a:gd name="connsiteY94" fmla="*/ 191565 h 318432"/>
                  <a:gd name="connsiteX95" fmla="*/ 133023 w 203201"/>
                  <a:gd name="connsiteY95" fmla="*/ 185866 h 318432"/>
                  <a:gd name="connsiteX96" fmla="*/ 129717 w 203201"/>
                  <a:gd name="connsiteY96" fmla="*/ 180793 h 318432"/>
                  <a:gd name="connsiteX97" fmla="*/ 121054 w 203201"/>
                  <a:gd name="connsiteY97" fmla="*/ 175094 h 318432"/>
                  <a:gd name="connsiteX98" fmla="*/ 143852 w 203201"/>
                  <a:gd name="connsiteY98" fmla="*/ 222399 h 318432"/>
                  <a:gd name="connsiteX99" fmla="*/ 144878 w 203201"/>
                  <a:gd name="connsiteY99" fmla="*/ 227187 h 318432"/>
                  <a:gd name="connsiteX100" fmla="*/ 148640 w 203201"/>
                  <a:gd name="connsiteY100" fmla="*/ 227643 h 318432"/>
                  <a:gd name="connsiteX101" fmla="*/ 152857 w 203201"/>
                  <a:gd name="connsiteY101" fmla="*/ 221089 h 318432"/>
                  <a:gd name="connsiteX102" fmla="*/ 160722 w 203201"/>
                  <a:gd name="connsiteY102" fmla="*/ 218980 h 318432"/>
                  <a:gd name="connsiteX103" fmla="*/ 161862 w 203201"/>
                  <a:gd name="connsiteY103" fmla="*/ 212140 h 318432"/>
                  <a:gd name="connsiteX104" fmla="*/ 158443 w 203201"/>
                  <a:gd name="connsiteY104" fmla="*/ 209917 h 318432"/>
                  <a:gd name="connsiteX105" fmla="*/ 149209 w 203201"/>
                  <a:gd name="connsiteY105" fmla="*/ 210203 h 318432"/>
                  <a:gd name="connsiteX106" fmla="*/ 146474 w 203201"/>
                  <a:gd name="connsiteY106" fmla="*/ 211684 h 318432"/>
                  <a:gd name="connsiteX107" fmla="*/ 144707 w 203201"/>
                  <a:gd name="connsiteY107" fmla="*/ 215788 h 318432"/>
                  <a:gd name="connsiteX108" fmla="*/ 144194 w 203201"/>
                  <a:gd name="connsiteY108" fmla="*/ 222399 h 318432"/>
                  <a:gd name="connsiteX109" fmla="*/ 197826 w 203201"/>
                  <a:gd name="connsiteY109" fmla="*/ 238757 h 318432"/>
                  <a:gd name="connsiteX110" fmla="*/ 195945 w 203201"/>
                  <a:gd name="connsiteY110" fmla="*/ 221659 h 318432"/>
                  <a:gd name="connsiteX111" fmla="*/ 194121 w 203201"/>
                  <a:gd name="connsiteY111" fmla="*/ 213166 h 318432"/>
                  <a:gd name="connsiteX112" fmla="*/ 188878 w 203201"/>
                  <a:gd name="connsiteY112" fmla="*/ 212254 h 318432"/>
                  <a:gd name="connsiteX113" fmla="*/ 160780 w 203201"/>
                  <a:gd name="connsiteY113" fmla="*/ 238757 h 318432"/>
                  <a:gd name="connsiteX114" fmla="*/ 157816 w 203201"/>
                  <a:gd name="connsiteY114" fmla="*/ 240011 h 318432"/>
                  <a:gd name="connsiteX115" fmla="*/ 157816 w 203201"/>
                  <a:gd name="connsiteY115" fmla="*/ 245710 h 318432"/>
                  <a:gd name="connsiteX116" fmla="*/ 153655 w 203201"/>
                  <a:gd name="connsiteY116" fmla="*/ 250840 h 318432"/>
                  <a:gd name="connsiteX117" fmla="*/ 146701 w 203201"/>
                  <a:gd name="connsiteY117" fmla="*/ 251524 h 318432"/>
                  <a:gd name="connsiteX118" fmla="*/ 142427 w 203201"/>
                  <a:gd name="connsiteY118" fmla="*/ 250498 h 318432"/>
                  <a:gd name="connsiteX119" fmla="*/ 139349 w 203201"/>
                  <a:gd name="connsiteY119" fmla="*/ 246337 h 318432"/>
                  <a:gd name="connsiteX120" fmla="*/ 129147 w 203201"/>
                  <a:gd name="connsiteY120" fmla="*/ 245083 h 318432"/>
                  <a:gd name="connsiteX121" fmla="*/ 120142 w 203201"/>
                  <a:gd name="connsiteY121" fmla="*/ 251410 h 318432"/>
                  <a:gd name="connsiteX122" fmla="*/ 108743 w 203201"/>
                  <a:gd name="connsiteY122" fmla="*/ 258306 h 318432"/>
                  <a:gd name="connsiteX123" fmla="*/ 94666 w 203201"/>
                  <a:gd name="connsiteY123" fmla="*/ 278596 h 318432"/>
                  <a:gd name="connsiteX124" fmla="*/ 94666 w 203201"/>
                  <a:gd name="connsiteY124" fmla="*/ 283441 h 318432"/>
                  <a:gd name="connsiteX125" fmla="*/ 104126 w 203201"/>
                  <a:gd name="connsiteY125" fmla="*/ 286450 h 318432"/>
                  <a:gd name="connsiteX126" fmla="*/ 105096 w 203201"/>
                  <a:gd name="connsiteY126" fmla="*/ 285834 h 318432"/>
                  <a:gd name="connsiteX127" fmla="*/ 110795 w 203201"/>
                  <a:gd name="connsiteY127" fmla="*/ 275119 h 318432"/>
                  <a:gd name="connsiteX128" fmla="*/ 112163 w 203201"/>
                  <a:gd name="connsiteY128" fmla="*/ 272042 h 318432"/>
                  <a:gd name="connsiteX129" fmla="*/ 115184 w 203201"/>
                  <a:gd name="connsiteY129" fmla="*/ 271301 h 318432"/>
                  <a:gd name="connsiteX130" fmla="*/ 126183 w 203201"/>
                  <a:gd name="connsiteY130" fmla="*/ 271301 h 318432"/>
                  <a:gd name="connsiteX131" fmla="*/ 138152 w 203201"/>
                  <a:gd name="connsiteY131" fmla="*/ 260517 h 318432"/>
                  <a:gd name="connsiteX132" fmla="*/ 145790 w 203201"/>
                  <a:gd name="connsiteY132" fmla="*/ 264006 h 318432"/>
                  <a:gd name="connsiteX133" fmla="*/ 146531 w 203201"/>
                  <a:gd name="connsiteY133" fmla="*/ 301223 h 318432"/>
                  <a:gd name="connsiteX134" fmla="*/ 155536 w 203201"/>
                  <a:gd name="connsiteY134" fmla="*/ 302591 h 318432"/>
                  <a:gd name="connsiteX135" fmla="*/ 164541 w 203201"/>
                  <a:gd name="connsiteY135" fmla="*/ 312394 h 318432"/>
                  <a:gd name="connsiteX136" fmla="*/ 169215 w 203201"/>
                  <a:gd name="connsiteY136" fmla="*/ 313477 h 318432"/>
                  <a:gd name="connsiteX137" fmla="*/ 172121 w 203201"/>
                  <a:gd name="connsiteY137" fmla="*/ 316441 h 318432"/>
                  <a:gd name="connsiteX138" fmla="*/ 182380 w 203201"/>
                  <a:gd name="connsiteY138" fmla="*/ 316184 h 318432"/>
                  <a:gd name="connsiteX139" fmla="*/ 183520 w 203201"/>
                  <a:gd name="connsiteY139" fmla="*/ 307835 h 318432"/>
                  <a:gd name="connsiteX140" fmla="*/ 177821 w 203201"/>
                  <a:gd name="connsiteY140" fmla="*/ 302135 h 318432"/>
                  <a:gd name="connsiteX141" fmla="*/ 175313 w 203201"/>
                  <a:gd name="connsiteY141" fmla="*/ 295182 h 318432"/>
                  <a:gd name="connsiteX142" fmla="*/ 177479 w 203201"/>
                  <a:gd name="connsiteY142" fmla="*/ 291876 h 318432"/>
                  <a:gd name="connsiteX143" fmla="*/ 175427 w 203201"/>
                  <a:gd name="connsiteY143" fmla="*/ 281902 h 318432"/>
                  <a:gd name="connsiteX144" fmla="*/ 188878 w 203201"/>
                  <a:gd name="connsiteY144" fmla="*/ 281161 h 318432"/>
                  <a:gd name="connsiteX145" fmla="*/ 201987 w 203201"/>
                  <a:gd name="connsiteY145" fmla="*/ 279337 h 318432"/>
                  <a:gd name="connsiteX146" fmla="*/ 200162 w 203201"/>
                  <a:gd name="connsiteY146" fmla="*/ 262239 h 318432"/>
                  <a:gd name="connsiteX147" fmla="*/ 202044 w 203201"/>
                  <a:gd name="connsiteY147" fmla="*/ 245596 h 318432"/>
                  <a:gd name="connsiteX148" fmla="*/ 197883 w 203201"/>
                  <a:gd name="connsiteY148" fmla="*/ 238757 h 318432"/>
                  <a:gd name="connsiteX149" fmla="*/ 53173 w 203201"/>
                  <a:gd name="connsiteY149" fmla="*/ 198861 h 318432"/>
                  <a:gd name="connsiteX150" fmla="*/ 55282 w 203201"/>
                  <a:gd name="connsiteY150" fmla="*/ 189969 h 318432"/>
                  <a:gd name="connsiteX151" fmla="*/ 52490 w 203201"/>
                  <a:gd name="connsiteY151" fmla="*/ 180394 h 318432"/>
                  <a:gd name="connsiteX152" fmla="*/ 43484 w 203201"/>
                  <a:gd name="connsiteY152" fmla="*/ 177544 h 318432"/>
                  <a:gd name="connsiteX153" fmla="*/ 28039 w 203201"/>
                  <a:gd name="connsiteY153" fmla="*/ 203534 h 318432"/>
                  <a:gd name="connsiteX154" fmla="*/ 23080 w 203201"/>
                  <a:gd name="connsiteY154" fmla="*/ 211741 h 318432"/>
                  <a:gd name="connsiteX155" fmla="*/ 5982 w 203201"/>
                  <a:gd name="connsiteY155" fmla="*/ 233627 h 318432"/>
                  <a:gd name="connsiteX156" fmla="*/ 738 w 203201"/>
                  <a:gd name="connsiteY156" fmla="*/ 247135 h 318432"/>
                  <a:gd name="connsiteX157" fmla="*/ 18920 w 203201"/>
                  <a:gd name="connsiteY157" fmla="*/ 234995 h 318432"/>
                  <a:gd name="connsiteX158" fmla="*/ 21427 w 203201"/>
                  <a:gd name="connsiteY158" fmla="*/ 230265 h 318432"/>
                  <a:gd name="connsiteX159" fmla="*/ 27753 w 203201"/>
                  <a:gd name="connsiteY159" fmla="*/ 226560 h 318432"/>
                  <a:gd name="connsiteX160" fmla="*/ 34023 w 203201"/>
                  <a:gd name="connsiteY160" fmla="*/ 214420 h 318432"/>
                  <a:gd name="connsiteX161" fmla="*/ 39437 w 203201"/>
                  <a:gd name="connsiteY161" fmla="*/ 211285 h 318432"/>
                  <a:gd name="connsiteX162" fmla="*/ 42458 w 203201"/>
                  <a:gd name="connsiteY162" fmla="*/ 207125 h 318432"/>
                  <a:gd name="connsiteX163" fmla="*/ 53002 w 203201"/>
                  <a:gd name="connsiteY163" fmla="*/ 199032 h 31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203201" h="318432">
                    <a:moveTo>
                      <a:pt x="87883" y="82933"/>
                    </a:moveTo>
                    <a:cubicBezTo>
                      <a:pt x="87541" y="84700"/>
                      <a:pt x="87541" y="86524"/>
                      <a:pt x="87883" y="88291"/>
                    </a:cubicBezTo>
                    <a:cubicBezTo>
                      <a:pt x="88624" y="91140"/>
                      <a:pt x="91702" y="92508"/>
                      <a:pt x="93925" y="94446"/>
                    </a:cubicBezTo>
                    <a:cubicBezTo>
                      <a:pt x="97515" y="97626"/>
                      <a:pt x="98997" y="102517"/>
                      <a:pt x="97857" y="107156"/>
                    </a:cubicBezTo>
                    <a:cubicBezTo>
                      <a:pt x="106008" y="105959"/>
                      <a:pt x="114272" y="108233"/>
                      <a:pt x="120655" y="113425"/>
                    </a:cubicBezTo>
                    <a:cubicBezTo>
                      <a:pt x="121111" y="117729"/>
                      <a:pt x="119914" y="122043"/>
                      <a:pt x="117350" y="125508"/>
                    </a:cubicBezTo>
                    <a:cubicBezTo>
                      <a:pt x="110282" y="125964"/>
                      <a:pt x="101846" y="125508"/>
                      <a:pt x="97971" y="119809"/>
                    </a:cubicBezTo>
                    <a:cubicBezTo>
                      <a:pt x="97116" y="118555"/>
                      <a:pt x="96603" y="117130"/>
                      <a:pt x="95748" y="115933"/>
                    </a:cubicBezTo>
                    <a:cubicBezTo>
                      <a:pt x="94038" y="113574"/>
                      <a:pt x="91360" y="112137"/>
                      <a:pt x="88453" y="112058"/>
                    </a:cubicBezTo>
                    <a:cubicBezTo>
                      <a:pt x="84805" y="112542"/>
                      <a:pt x="81328" y="113722"/>
                      <a:pt x="78137" y="115534"/>
                    </a:cubicBezTo>
                    <a:cubicBezTo>
                      <a:pt x="75002" y="118013"/>
                      <a:pt x="70443" y="117478"/>
                      <a:pt x="67992" y="114337"/>
                    </a:cubicBezTo>
                    <a:cubicBezTo>
                      <a:pt x="66168" y="112092"/>
                      <a:pt x="65940" y="109008"/>
                      <a:pt x="67251" y="106472"/>
                    </a:cubicBezTo>
                    <a:cubicBezTo>
                      <a:pt x="68220" y="103924"/>
                      <a:pt x="68733" y="101217"/>
                      <a:pt x="68733" y="98493"/>
                    </a:cubicBezTo>
                    <a:cubicBezTo>
                      <a:pt x="68733" y="95814"/>
                      <a:pt x="66111" y="92793"/>
                      <a:pt x="63432" y="93591"/>
                    </a:cubicBezTo>
                    <a:cubicBezTo>
                      <a:pt x="67080" y="89317"/>
                      <a:pt x="64344" y="82819"/>
                      <a:pt x="61494" y="77975"/>
                    </a:cubicBezTo>
                    <a:cubicBezTo>
                      <a:pt x="58645" y="73130"/>
                      <a:pt x="55795" y="66576"/>
                      <a:pt x="59671" y="62358"/>
                    </a:cubicBezTo>
                    <a:cubicBezTo>
                      <a:pt x="61551" y="60306"/>
                      <a:pt x="64515" y="59566"/>
                      <a:pt x="66282" y="57457"/>
                    </a:cubicBezTo>
                    <a:cubicBezTo>
                      <a:pt x="68163" y="54396"/>
                      <a:pt x="68790" y="50691"/>
                      <a:pt x="67878" y="47198"/>
                    </a:cubicBezTo>
                    <a:cubicBezTo>
                      <a:pt x="66282" y="35537"/>
                      <a:pt x="66966" y="23676"/>
                      <a:pt x="69815" y="12260"/>
                    </a:cubicBezTo>
                    <a:cubicBezTo>
                      <a:pt x="70613" y="7843"/>
                      <a:pt x="73236" y="3939"/>
                      <a:pt x="76940" y="1431"/>
                    </a:cubicBezTo>
                    <a:cubicBezTo>
                      <a:pt x="79448" y="291"/>
                      <a:pt x="82241" y="-182"/>
                      <a:pt x="85033" y="63"/>
                    </a:cubicBezTo>
                    <a:cubicBezTo>
                      <a:pt x="91759" y="245"/>
                      <a:pt x="98427" y="1716"/>
                      <a:pt x="104583" y="4394"/>
                    </a:cubicBezTo>
                    <a:cubicBezTo>
                      <a:pt x="106008" y="4856"/>
                      <a:pt x="107261" y="5802"/>
                      <a:pt x="108059" y="7073"/>
                    </a:cubicBezTo>
                    <a:cubicBezTo>
                      <a:pt x="108515" y="8076"/>
                      <a:pt x="108686" y="9176"/>
                      <a:pt x="108572" y="10265"/>
                    </a:cubicBezTo>
                    <a:lnTo>
                      <a:pt x="108572" y="22918"/>
                    </a:lnTo>
                    <a:cubicBezTo>
                      <a:pt x="113075" y="26566"/>
                      <a:pt x="116437" y="31404"/>
                      <a:pt x="118261" y="36882"/>
                    </a:cubicBezTo>
                    <a:cubicBezTo>
                      <a:pt x="119971" y="42627"/>
                      <a:pt x="117007" y="48731"/>
                      <a:pt x="111365" y="50845"/>
                    </a:cubicBezTo>
                    <a:cubicBezTo>
                      <a:pt x="110111" y="51130"/>
                      <a:pt x="108572" y="51187"/>
                      <a:pt x="107717" y="52213"/>
                    </a:cubicBezTo>
                    <a:cubicBezTo>
                      <a:pt x="106862" y="53239"/>
                      <a:pt x="107717" y="56032"/>
                      <a:pt x="107375" y="57913"/>
                    </a:cubicBezTo>
                    <a:cubicBezTo>
                      <a:pt x="107375" y="61389"/>
                      <a:pt x="103271" y="63612"/>
                      <a:pt x="99852" y="64068"/>
                    </a:cubicBezTo>
                    <a:cubicBezTo>
                      <a:pt x="96375" y="64262"/>
                      <a:pt x="93013" y="65493"/>
                      <a:pt x="90220" y="67602"/>
                    </a:cubicBezTo>
                    <a:cubicBezTo>
                      <a:pt x="86515" y="71591"/>
                      <a:pt x="88510" y="77747"/>
                      <a:pt x="87883" y="82933"/>
                    </a:cubicBezTo>
                    <a:close/>
                    <a:moveTo>
                      <a:pt x="67992" y="144260"/>
                    </a:moveTo>
                    <a:cubicBezTo>
                      <a:pt x="68334" y="144938"/>
                      <a:pt x="68790" y="145553"/>
                      <a:pt x="69303" y="146083"/>
                    </a:cubicBezTo>
                    <a:cubicBezTo>
                      <a:pt x="70670" y="147674"/>
                      <a:pt x="72267" y="149076"/>
                      <a:pt x="74033" y="150244"/>
                    </a:cubicBezTo>
                    <a:cubicBezTo>
                      <a:pt x="75230" y="150934"/>
                      <a:pt x="76313" y="151863"/>
                      <a:pt x="77168" y="152980"/>
                    </a:cubicBezTo>
                    <a:cubicBezTo>
                      <a:pt x="78251" y="154633"/>
                      <a:pt x="78137" y="156798"/>
                      <a:pt x="79049" y="158679"/>
                    </a:cubicBezTo>
                    <a:cubicBezTo>
                      <a:pt x="80132" y="160366"/>
                      <a:pt x="81898" y="161449"/>
                      <a:pt x="83894" y="161586"/>
                    </a:cubicBezTo>
                    <a:cubicBezTo>
                      <a:pt x="85888" y="161706"/>
                      <a:pt x="87883" y="161210"/>
                      <a:pt x="89593" y="160161"/>
                    </a:cubicBezTo>
                    <a:cubicBezTo>
                      <a:pt x="93297" y="158309"/>
                      <a:pt x="95236" y="154114"/>
                      <a:pt x="94266" y="150073"/>
                    </a:cubicBezTo>
                    <a:cubicBezTo>
                      <a:pt x="93697" y="148842"/>
                      <a:pt x="92899" y="147719"/>
                      <a:pt x="91929" y="146767"/>
                    </a:cubicBezTo>
                    <a:cubicBezTo>
                      <a:pt x="87142" y="142601"/>
                      <a:pt x="82753" y="138041"/>
                      <a:pt x="78707" y="133146"/>
                    </a:cubicBezTo>
                    <a:cubicBezTo>
                      <a:pt x="78023" y="131977"/>
                      <a:pt x="77225" y="130872"/>
                      <a:pt x="76370" y="129840"/>
                    </a:cubicBezTo>
                    <a:cubicBezTo>
                      <a:pt x="74261" y="127663"/>
                      <a:pt x="71127" y="126717"/>
                      <a:pt x="68163" y="127332"/>
                    </a:cubicBezTo>
                    <a:cubicBezTo>
                      <a:pt x="68334" y="131801"/>
                      <a:pt x="68220" y="136275"/>
                      <a:pt x="67821" y="140726"/>
                    </a:cubicBezTo>
                    <a:cubicBezTo>
                      <a:pt x="67593" y="141900"/>
                      <a:pt x="67650" y="143108"/>
                      <a:pt x="67992" y="144260"/>
                    </a:cubicBezTo>
                    <a:close/>
                    <a:moveTo>
                      <a:pt x="145676" y="149503"/>
                    </a:moveTo>
                    <a:cubicBezTo>
                      <a:pt x="145106" y="147662"/>
                      <a:pt x="143510" y="146351"/>
                      <a:pt x="141572" y="146197"/>
                    </a:cubicBezTo>
                    <a:cubicBezTo>
                      <a:pt x="139521" y="146386"/>
                      <a:pt x="137753" y="147879"/>
                      <a:pt x="137298" y="149902"/>
                    </a:cubicBezTo>
                    <a:cubicBezTo>
                      <a:pt x="136898" y="151891"/>
                      <a:pt x="136898" y="153954"/>
                      <a:pt x="137298" y="155944"/>
                    </a:cubicBezTo>
                    <a:cubicBezTo>
                      <a:pt x="137468" y="158138"/>
                      <a:pt x="138209" y="160247"/>
                      <a:pt x="139464" y="162042"/>
                    </a:cubicBezTo>
                    <a:cubicBezTo>
                      <a:pt x="139748" y="162441"/>
                      <a:pt x="140204" y="162743"/>
                      <a:pt x="140660" y="162897"/>
                    </a:cubicBezTo>
                    <a:cubicBezTo>
                      <a:pt x="141857" y="163062"/>
                      <a:pt x="142997" y="162504"/>
                      <a:pt x="143624" y="161472"/>
                    </a:cubicBezTo>
                    <a:cubicBezTo>
                      <a:pt x="144878" y="159534"/>
                      <a:pt x="145619" y="157328"/>
                      <a:pt x="145847" y="155032"/>
                    </a:cubicBezTo>
                    <a:cubicBezTo>
                      <a:pt x="146246" y="153202"/>
                      <a:pt x="146189" y="151304"/>
                      <a:pt x="145676" y="149503"/>
                    </a:cubicBezTo>
                    <a:close/>
                    <a:moveTo>
                      <a:pt x="158100" y="197265"/>
                    </a:moveTo>
                    <a:cubicBezTo>
                      <a:pt x="157702" y="198490"/>
                      <a:pt x="157702" y="199801"/>
                      <a:pt x="158100" y="201026"/>
                    </a:cubicBezTo>
                    <a:cubicBezTo>
                      <a:pt x="158500" y="201710"/>
                      <a:pt x="159126" y="202263"/>
                      <a:pt x="159810" y="202622"/>
                    </a:cubicBezTo>
                    <a:cubicBezTo>
                      <a:pt x="162261" y="204566"/>
                      <a:pt x="165225" y="205768"/>
                      <a:pt x="168303" y="206099"/>
                    </a:cubicBezTo>
                    <a:cubicBezTo>
                      <a:pt x="169272" y="206173"/>
                      <a:pt x="170240" y="205820"/>
                      <a:pt x="170981" y="205130"/>
                    </a:cubicBezTo>
                    <a:cubicBezTo>
                      <a:pt x="171495" y="204389"/>
                      <a:pt x="171722" y="203511"/>
                      <a:pt x="171665" y="202622"/>
                    </a:cubicBezTo>
                    <a:cubicBezTo>
                      <a:pt x="171836" y="198456"/>
                      <a:pt x="171665" y="194278"/>
                      <a:pt x="171152" y="190140"/>
                    </a:cubicBezTo>
                    <a:cubicBezTo>
                      <a:pt x="174515" y="189411"/>
                      <a:pt x="177479" y="187353"/>
                      <a:pt x="179303" y="184441"/>
                    </a:cubicBezTo>
                    <a:cubicBezTo>
                      <a:pt x="181012" y="181415"/>
                      <a:pt x="181867" y="177995"/>
                      <a:pt x="181867" y="174524"/>
                    </a:cubicBezTo>
                    <a:cubicBezTo>
                      <a:pt x="181981" y="172643"/>
                      <a:pt x="181583" y="170762"/>
                      <a:pt x="180671" y="169109"/>
                    </a:cubicBezTo>
                    <a:cubicBezTo>
                      <a:pt x="180214" y="168408"/>
                      <a:pt x="179644" y="167770"/>
                      <a:pt x="179018" y="167228"/>
                    </a:cubicBezTo>
                    <a:cubicBezTo>
                      <a:pt x="173147" y="162013"/>
                      <a:pt x="164883" y="160418"/>
                      <a:pt x="157473" y="163068"/>
                    </a:cubicBezTo>
                    <a:cubicBezTo>
                      <a:pt x="155764" y="163609"/>
                      <a:pt x="154225" y="164715"/>
                      <a:pt x="153199" y="166203"/>
                    </a:cubicBezTo>
                    <a:cubicBezTo>
                      <a:pt x="152401" y="167753"/>
                      <a:pt x="152059" y="169480"/>
                      <a:pt x="152116" y="171218"/>
                    </a:cubicBezTo>
                    <a:cubicBezTo>
                      <a:pt x="151660" y="175527"/>
                      <a:pt x="152059" y="179893"/>
                      <a:pt x="153313" y="184042"/>
                    </a:cubicBezTo>
                    <a:cubicBezTo>
                      <a:pt x="154966" y="188317"/>
                      <a:pt x="158728" y="192477"/>
                      <a:pt x="158100" y="197265"/>
                    </a:cubicBezTo>
                    <a:close/>
                    <a:moveTo>
                      <a:pt x="121054" y="174866"/>
                    </a:moveTo>
                    <a:cubicBezTo>
                      <a:pt x="119914" y="174689"/>
                      <a:pt x="118831" y="174319"/>
                      <a:pt x="117805" y="173783"/>
                    </a:cubicBezTo>
                    <a:cubicBezTo>
                      <a:pt x="116095" y="172643"/>
                      <a:pt x="115639" y="170363"/>
                      <a:pt x="114841" y="168425"/>
                    </a:cubicBezTo>
                    <a:cubicBezTo>
                      <a:pt x="113588" y="165125"/>
                      <a:pt x="110738" y="162663"/>
                      <a:pt x="107318" y="161871"/>
                    </a:cubicBezTo>
                    <a:cubicBezTo>
                      <a:pt x="103785" y="161250"/>
                      <a:pt x="100308" y="163233"/>
                      <a:pt x="98997" y="166602"/>
                    </a:cubicBezTo>
                    <a:cubicBezTo>
                      <a:pt x="98655" y="167741"/>
                      <a:pt x="98655" y="168938"/>
                      <a:pt x="98256" y="170078"/>
                    </a:cubicBezTo>
                    <a:cubicBezTo>
                      <a:pt x="97230" y="172757"/>
                      <a:pt x="94095" y="174296"/>
                      <a:pt x="93127" y="177032"/>
                    </a:cubicBezTo>
                    <a:cubicBezTo>
                      <a:pt x="92670" y="179158"/>
                      <a:pt x="92899" y="181375"/>
                      <a:pt x="93811" y="183358"/>
                    </a:cubicBezTo>
                    <a:cubicBezTo>
                      <a:pt x="95293" y="187747"/>
                      <a:pt x="97572" y="192876"/>
                      <a:pt x="102132" y="193446"/>
                    </a:cubicBezTo>
                    <a:cubicBezTo>
                      <a:pt x="106692" y="194016"/>
                      <a:pt x="110852" y="189684"/>
                      <a:pt x="115298" y="190596"/>
                    </a:cubicBezTo>
                    <a:cubicBezTo>
                      <a:pt x="117748" y="191183"/>
                      <a:pt x="119800" y="192779"/>
                      <a:pt x="120997" y="194985"/>
                    </a:cubicBezTo>
                    <a:cubicBezTo>
                      <a:pt x="122878" y="197903"/>
                      <a:pt x="123562" y="201437"/>
                      <a:pt x="122878" y="204845"/>
                    </a:cubicBezTo>
                    <a:cubicBezTo>
                      <a:pt x="122137" y="208259"/>
                      <a:pt x="119572" y="210989"/>
                      <a:pt x="116209" y="211912"/>
                    </a:cubicBezTo>
                    <a:cubicBezTo>
                      <a:pt x="114898" y="212197"/>
                      <a:pt x="113359" y="212254"/>
                      <a:pt x="112561" y="213394"/>
                    </a:cubicBezTo>
                    <a:cubicBezTo>
                      <a:pt x="112220" y="214084"/>
                      <a:pt x="112106" y="214853"/>
                      <a:pt x="112163" y="215617"/>
                    </a:cubicBezTo>
                    <a:cubicBezTo>
                      <a:pt x="112220" y="220342"/>
                      <a:pt x="112847" y="225044"/>
                      <a:pt x="113929" y="229638"/>
                    </a:cubicBezTo>
                    <a:cubicBezTo>
                      <a:pt x="114043" y="230624"/>
                      <a:pt x="114500" y="231541"/>
                      <a:pt x="115184" y="232259"/>
                    </a:cubicBezTo>
                    <a:cubicBezTo>
                      <a:pt x="116836" y="233798"/>
                      <a:pt x="119629" y="232544"/>
                      <a:pt x="120883" y="230664"/>
                    </a:cubicBezTo>
                    <a:cubicBezTo>
                      <a:pt x="122137" y="228783"/>
                      <a:pt x="122536" y="226446"/>
                      <a:pt x="123903" y="224679"/>
                    </a:cubicBezTo>
                    <a:cubicBezTo>
                      <a:pt x="127438" y="219835"/>
                      <a:pt x="136614" y="219664"/>
                      <a:pt x="137412" y="213679"/>
                    </a:cubicBezTo>
                    <a:cubicBezTo>
                      <a:pt x="137412" y="212026"/>
                      <a:pt x="137412" y="210089"/>
                      <a:pt x="138266" y="208835"/>
                    </a:cubicBezTo>
                    <a:cubicBezTo>
                      <a:pt x="140090" y="206726"/>
                      <a:pt x="143966" y="208835"/>
                      <a:pt x="146017" y="206726"/>
                    </a:cubicBezTo>
                    <a:cubicBezTo>
                      <a:pt x="148070" y="204617"/>
                      <a:pt x="144935" y="201539"/>
                      <a:pt x="142370" y="200228"/>
                    </a:cubicBezTo>
                    <a:cubicBezTo>
                      <a:pt x="145220" y="198405"/>
                      <a:pt x="143966" y="193731"/>
                      <a:pt x="141344" y="191565"/>
                    </a:cubicBezTo>
                    <a:cubicBezTo>
                      <a:pt x="138437" y="189850"/>
                      <a:pt x="135645" y="187946"/>
                      <a:pt x="133023" y="185866"/>
                    </a:cubicBezTo>
                    <a:cubicBezTo>
                      <a:pt x="131826" y="184253"/>
                      <a:pt x="130686" y="182560"/>
                      <a:pt x="129717" y="180793"/>
                    </a:cubicBezTo>
                    <a:cubicBezTo>
                      <a:pt x="127608" y="177909"/>
                      <a:pt x="124531" y="175886"/>
                      <a:pt x="121054" y="175094"/>
                    </a:cubicBezTo>
                    <a:close/>
                    <a:moveTo>
                      <a:pt x="143852" y="222399"/>
                    </a:moveTo>
                    <a:cubicBezTo>
                      <a:pt x="143909" y="224046"/>
                      <a:pt x="144251" y="225665"/>
                      <a:pt x="144878" y="227187"/>
                    </a:cubicBezTo>
                    <a:lnTo>
                      <a:pt x="148640" y="227643"/>
                    </a:lnTo>
                    <a:cubicBezTo>
                      <a:pt x="150691" y="225990"/>
                      <a:pt x="150748" y="222627"/>
                      <a:pt x="152857" y="221089"/>
                    </a:cubicBezTo>
                    <a:cubicBezTo>
                      <a:pt x="154966" y="219550"/>
                      <a:pt x="158557" y="220747"/>
                      <a:pt x="160722" y="218980"/>
                    </a:cubicBezTo>
                    <a:cubicBezTo>
                      <a:pt x="162888" y="217213"/>
                      <a:pt x="162318" y="214534"/>
                      <a:pt x="161862" y="212140"/>
                    </a:cubicBezTo>
                    <a:cubicBezTo>
                      <a:pt x="160494" y="212140"/>
                      <a:pt x="159582" y="210773"/>
                      <a:pt x="158443" y="209917"/>
                    </a:cubicBezTo>
                    <a:cubicBezTo>
                      <a:pt x="155479" y="208561"/>
                      <a:pt x="152059" y="208669"/>
                      <a:pt x="149209" y="210203"/>
                    </a:cubicBezTo>
                    <a:cubicBezTo>
                      <a:pt x="148183" y="210487"/>
                      <a:pt x="147272" y="210995"/>
                      <a:pt x="146474" y="211684"/>
                    </a:cubicBezTo>
                    <a:cubicBezTo>
                      <a:pt x="145505" y="212841"/>
                      <a:pt x="144878" y="214272"/>
                      <a:pt x="144707" y="215788"/>
                    </a:cubicBezTo>
                    <a:cubicBezTo>
                      <a:pt x="144251" y="217959"/>
                      <a:pt x="144080" y="220182"/>
                      <a:pt x="144194" y="222399"/>
                    </a:cubicBezTo>
                    <a:close/>
                    <a:moveTo>
                      <a:pt x="197826" y="238757"/>
                    </a:moveTo>
                    <a:cubicBezTo>
                      <a:pt x="195546" y="233365"/>
                      <a:pt x="194862" y="227421"/>
                      <a:pt x="195945" y="221659"/>
                    </a:cubicBezTo>
                    <a:cubicBezTo>
                      <a:pt x="196287" y="218638"/>
                      <a:pt x="196515" y="215047"/>
                      <a:pt x="194121" y="213166"/>
                    </a:cubicBezTo>
                    <a:cubicBezTo>
                      <a:pt x="192582" y="212123"/>
                      <a:pt x="190702" y="211787"/>
                      <a:pt x="188878" y="212254"/>
                    </a:cubicBezTo>
                    <a:cubicBezTo>
                      <a:pt x="175826" y="214648"/>
                      <a:pt x="173717" y="235679"/>
                      <a:pt x="160780" y="238757"/>
                    </a:cubicBezTo>
                    <a:cubicBezTo>
                      <a:pt x="159696" y="238882"/>
                      <a:pt x="158671" y="239315"/>
                      <a:pt x="157816" y="240011"/>
                    </a:cubicBezTo>
                    <a:cubicBezTo>
                      <a:pt x="156562" y="241493"/>
                      <a:pt x="157816" y="243658"/>
                      <a:pt x="157816" y="245710"/>
                    </a:cubicBezTo>
                    <a:cubicBezTo>
                      <a:pt x="157587" y="248093"/>
                      <a:pt x="155935" y="250105"/>
                      <a:pt x="153655" y="250840"/>
                    </a:cubicBezTo>
                    <a:cubicBezTo>
                      <a:pt x="151375" y="251495"/>
                      <a:pt x="149038" y="251729"/>
                      <a:pt x="146701" y="251524"/>
                    </a:cubicBezTo>
                    <a:cubicBezTo>
                      <a:pt x="145220" y="251598"/>
                      <a:pt x="143738" y="251244"/>
                      <a:pt x="142427" y="250498"/>
                    </a:cubicBezTo>
                    <a:cubicBezTo>
                      <a:pt x="141002" y="249472"/>
                      <a:pt x="140489" y="247705"/>
                      <a:pt x="139349" y="246337"/>
                    </a:cubicBezTo>
                    <a:cubicBezTo>
                      <a:pt x="136557" y="243761"/>
                      <a:pt x="132453" y="243259"/>
                      <a:pt x="129147" y="245083"/>
                    </a:cubicBezTo>
                    <a:cubicBezTo>
                      <a:pt x="125956" y="246890"/>
                      <a:pt x="122935" y="249010"/>
                      <a:pt x="120142" y="251410"/>
                    </a:cubicBezTo>
                    <a:cubicBezTo>
                      <a:pt x="116494" y="254031"/>
                      <a:pt x="112277" y="255798"/>
                      <a:pt x="108743" y="258306"/>
                    </a:cubicBezTo>
                    <a:cubicBezTo>
                      <a:pt x="101733" y="263116"/>
                      <a:pt x="96717" y="270338"/>
                      <a:pt x="94666" y="278596"/>
                    </a:cubicBezTo>
                    <a:cubicBezTo>
                      <a:pt x="94266" y="280181"/>
                      <a:pt x="94266" y="281856"/>
                      <a:pt x="94666" y="283441"/>
                    </a:cubicBezTo>
                    <a:cubicBezTo>
                      <a:pt x="96432" y="286883"/>
                      <a:pt x="100650" y="288228"/>
                      <a:pt x="104126" y="286450"/>
                    </a:cubicBezTo>
                    <a:cubicBezTo>
                      <a:pt x="104469" y="286273"/>
                      <a:pt x="104810" y="286068"/>
                      <a:pt x="105096" y="285834"/>
                    </a:cubicBezTo>
                    <a:cubicBezTo>
                      <a:pt x="108287" y="283139"/>
                      <a:pt x="110339" y="279297"/>
                      <a:pt x="110795" y="275119"/>
                    </a:cubicBezTo>
                    <a:cubicBezTo>
                      <a:pt x="110909" y="273968"/>
                      <a:pt x="111365" y="272880"/>
                      <a:pt x="112163" y="272042"/>
                    </a:cubicBezTo>
                    <a:cubicBezTo>
                      <a:pt x="113075" y="271455"/>
                      <a:pt x="114100" y="271193"/>
                      <a:pt x="115184" y="271301"/>
                    </a:cubicBezTo>
                    <a:lnTo>
                      <a:pt x="126183" y="271301"/>
                    </a:lnTo>
                    <a:cubicBezTo>
                      <a:pt x="126526" y="265014"/>
                      <a:pt x="131883" y="260187"/>
                      <a:pt x="138152" y="260517"/>
                    </a:cubicBezTo>
                    <a:cubicBezTo>
                      <a:pt x="141059" y="260671"/>
                      <a:pt x="143795" y="261914"/>
                      <a:pt x="145790" y="264006"/>
                    </a:cubicBezTo>
                    <a:cubicBezTo>
                      <a:pt x="143396" y="276322"/>
                      <a:pt x="143624" y="289009"/>
                      <a:pt x="146531" y="301223"/>
                    </a:cubicBezTo>
                    <a:cubicBezTo>
                      <a:pt x="149266" y="302773"/>
                      <a:pt x="152458" y="303264"/>
                      <a:pt x="155536" y="302591"/>
                    </a:cubicBezTo>
                    <a:cubicBezTo>
                      <a:pt x="157530" y="306752"/>
                      <a:pt x="160096" y="311311"/>
                      <a:pt x="164541" y="312394"/>
                    </a:cubicBezTo>
                    <a:cubicBezTo>
                      <a:pt x="166137" y="312525"/>
                      <a:pt x="167733" y="312890"/>
                      <a:pt x="169215" y="313477"/>
                    </a:cubicBezTo>
                    <a:cubicBezTo>
                      <a:pt x="170297" y="314332"/>
                      <a:pt x="171266" y="315329"/>
                      <a:pt x="172121" y="316441"/>
                    </a:cubicBezTo>
                    <a:cubicBezTo>
                      <a:pt x="175028" y="319193"/>
                      <a:pt x="179587" y="319080"/>
                      <a:pt x="182380" y="316184"/>
                    </a:cubicBezTo>
                    <a:cubicBezTo>
                      <a:pt x="184489" y="313939"/>
                      <a:pt x="184945" y="310582"/>
                      <a:pt x="183520" y="307835"/>
                    </a:cubicBezTo>
                    <a:cubicBezTo>
                      <a:pt x="181924" y="305652"/>
                      <a:pt x="179987" y="303725"/>
                      <a:pt x="177821" y="302135"/>
                    </a:cubicBezTo>
                    <a:cubicBezTo>
                      <a:pt x="175655" y="300533"/>
                      <a:pt x="174686" y="297792"/>
                      <a:pt x="175313" y="295182"/>
                    </a:cubicBezTo>
                    <a:cubicBezTo>
                      <a:pt x="175940" y="294025"/>
                      <a:pt x="176681" y="292919"/>
                      <a:pt x="177479" y="291876"/>
                    </a:cubicBezTo>
                    <a:cubicBezTo>
                      <a:pt x="179132" y="288741"/>
                      <a:pt x="177479" y="284923"/>
                      <a:pt x="175427" y="281902"/>
                    </a:cubicBezTo>
                    <a:cubicBezTo>
                      <a:pt x="178789" y="278539"/>
                      <a:pt x="184318" y="279850"/>
                      <a:pt x="188878" y="281161"/>
                    </a:cubicBezTo>
                    <a:cubicBezTo>
                      <a:pt x="193437" y="282472"/>
                      <a:pt x="199251" y="283156"/>
                      <a:pt x="201987" y="279337"/>
                    </a:cubicBezTo>
                    <a:cubicBezTo>
                      <a:pt x="205406" y="274493"/>
                      <a:pt x="200562" y="268223"/>
                      <a:pt x="200162" y="262239"/>
                    </a:cubicBezTo>
                    <a:cubicBezTo>
                      <a:pt x="199764" y="256254"/>
                      <a:pt x="203640" y="250840"/>
                      <a:pt x="202044" y="245596"/>
                    </a:cubicBezTo>
                    <a:cubicBezTo>
                      <a:pt x="200903" y="243174"/>
                      <a:pt x="199536" y="240883"/>
                      <a:pt x="197883" y="238757"/>
                    </a:cubicBezTo>
                    <a:close/>
                    <a:moveTo>
                      <a:pt x="53173" y="198861"/>
                    </a:moveTo>
                    <a:cubicBezTo>
                      <a:pt x="54826" y="196216"/>
                      <a:pt x="55567" y="193087"/>
                      <a:pt x="55282" y="189969"/>
                    </a:cubicBezTo>
                    <a:cubicBezTo>
                      <a:pt x="55339" y="186567"/>
                      <a:pt x="54370" y="183221"/>
                      <a:pt x="52490" y="180394"/>
                    </a:cubicBezTo>
                    <a:cubicBezTo>
                      <a:pt x="50438" y="177562"/>
                      <a:pt x="46790" y="176405"/>
                      <a:pt x="43484" y="177544"/>
                    </a:cubicBezTo>
                    <a:cubicBezTo>
                      <a:pt x="41375" y="187695"/>
                      <a:pt x="35961" y="196849"/>
                      <a:pt x="28039" y="203534"/>
                    </a:cubicBezTo>
                    <a:cubicBezTo>
                      <a:pt x="25246" y="205409"/>
                      <a:pt x="23422" y="208407"/>
                      <a:pt x="23080" y="211741"/>
                    </a:cubicBezTo>
                    <a:cubicBezTo>
                      <a:pt x="20344" y="220747"/>
                      <a:pt x="12650" y="227130"/>
                      <a:pt x="5982" y="233627"/>
                    </a:cubicBezTo>
                    <a:cubicBezTo>
                      <a:pt x="2220" y="237218"/>
                      <a:pt x="-1655" y="242518"/>
                      <a:pt x="738" y="247135"/>
                    </a:cubicBezTo>
                    <a:cubicBezTo>
                      <a:pt x="8603" y="246907"/>
                      <a:pt x="15670" y="242194"/>
                      <a:pt x="18920" y="234995"/>
                    </a:cubicBezTo>
                    <a:cubicBezTo>
                      <a:pt x="19489" y="233285"/>
                      <a:pt x="20344" y="231684"/>
                      <a:pt x="21427" y="230265"/>
                    </a:cubicBezTo>
                    <a:cubicBezTo>
                      <a:pt x="23194" y="228555"/>
                      <a:pt x="25873" y="228156"/>
                      <a:pt x="27753" y="226560"/>
                    </a:cubicBezTo>
                    <a:cubicBezTo>
                      <a:pt x="31231" y="223539"/>
                      <a:pt x="30490" y="217384"/>
                      <a:pt x="34023" y="214420"/>
                    </a:cubicBezTo>
                    <a:cubicBezTo>
                      <a:pt x="35619" y="213109"/>
                      <a:pt x="37899" y="212710"/>
                      <a:pt x="39437" y="211285"/>
                    </a:cubicBezTo>
                    <a:cubicBezTo>
                      <a:pt x="40577" y="209997"/>
                      <a:pt x="41603" y="208601"/>
                      <a:pt x="42458" y="207125"/>
                    </a:cubicBezTo>
                    <a:cubicBezTo>
                      <a:pt x="45194" y="203591"/>
                      <a:pt x="50495" y="202679"/>
                      <a:pt x="53002" y="199032"/>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1" name="Freihandform: Form 277">
                <a:extLst>
                  <a:ext uri="{FF2B5EF4-FFF2-40B4-BE49-F238E27FC236}">
                    <a16:creationId xmlns:a16="http://schemas.microsoft.com/office/drawing/2014/main" id="{BC51F1F9-A770-BE51-1617-8DC2369F8BAC}"/>
                  </a:ext>
                </a:extLst>
              </p:cNvPr>
              <p:cNvSpPr/>
              <p:nvPr/>
            </p:nvSpPr>
            <p:spPr>
              <a:xfrm>
                <a:off x="7617708" y="4658361"/>
                <a:ext cx="62461" cy="51687"/>
              </a:xfrm>
              <a:custGeom>
                <a:avLst/>
                <a:gdLst>
                  <a:gd name="connsiteX0" fmla="*/ 51280 w 62461"/>
                  <a:gd name="connsiteY0" fmla="*/ 15237 h 51687"/>
                  <a:gd name="connsiteX1" fmla="*/ 33782 w 62461"/>
                  <a:gd name="connsiteY1" fmla="*/ 16718 h 51687"/>
                  <a:gd name="connsiteX2" fmla="*/ 34694 w 62461"/>
                  <a:gd name="connsiteY2" fmla="*/ 5320 h 51687"/>
                  <a:gd name="connsiteX3" fmla="*/ 45466 w 62461"/>
                  <a:gd name="connsiteY3" fmla="*/ 76 h 51687"/>
                  <a:gd name="connsiteX4" fmla="*/ 57606 w 62461"/>
                  <a:gd name="connsiteY4" fmla="*/ 931 h 51687"/>
                  <a:gd name="connsiteX5" fmla="*/ 62279 w 62461"/>
                  <a:gd name="connsiteY5" fmla="*/ 3382 h 51687"/>
                  <a:gd name="connsiteX6" fmla="*/ 60342 w 62461"/>
                  <a:gd name="connsiteY6" fmla="*/ 8340 h 51687"/>
                  <a:gd name="connsiteX7" fmla="*/ 55269 w 62461"/>
                  <a:gd name="connsiteY7" fmla="*/ 11190 h 51687"/>
                  <a:gd name="connsiteX8" fmla="*/ 51280 w 62461"/>
                  <a:gd name="connsiteY8" fmla="*/ 15237 h 51687"/>
                  <a:gd name="connsiteX9" fmla="*/ 1010 w 62461"/>
                  <a:gd name="connsiteY9" fmla="*/ 33418 h 51687"/>
                  <a:gd name="connsiteX10" fmla="*/ 2036 w 62461"/>
                  <a:gd name="connsiteY10" fmla="*/ 44133 h 51687"/>
                  <a:gd name="connsiteX11" fmla="*/ 25746 w 62461"/>
                  <a:gd name="connsiteY11" fmla="*/ 48772 h 51687"/>
                  <a:gd name="connsiteX12" fmla="*/ 29964 w 62461"/>
                  <a:gd name="connsiteY12" fmla="*/ 44760 h 51687"/>
                  <a:gd name="connsiteX13" fmla="*/ 29394 w 62461"/>
                  <a:gd name="connsiteY13" fmla="*/ 31138 h 51687"/>
                  <a:gd name="connsiteX14" fmla="*/ 7052 w 62461"/>
                  <a:gd name="connsiteY14" fmla="*/ 29029 h 51687"/>
                  <a:gd name="connsiteX15" fmla="*/ 1010 w 62461"/>
                  <a:gd name="connsiteY15" fmla="*/ 33133 h 5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61" h="51687">
                    <a:moveTo>
                      <a:pt x="51280" y="15237"/>
                    </a:moveTo>
                    <a:cubicBezTo>
                      <a:pt x="46663" y="19169"/>
                      <a:pt x="39881" y="18029"/>
                      <a:pt x="33782" y="16718"/>
                    </a:cubicBezTo>
                    <a:cubicBezTo>
                      <a:pt x="31616" y="13122"/>
                      <a:pt x="31958" y="8523"/>
                      <a:pt x="34694" y="5320"/>
                    </a:cubicBezTo>
                    <a:cubicBezTo>
                      <a:pt x="37487" y="2242"/>
                      <a:pt x="41305" y="361"/>
                      <a:pt x="45466" y="76"/>
                    </a:cubicBezTo>
                    <a:cubicBezTo>
                      <a:pt x="49512" y="-152"/>
                      <a:pt x="53617" y="133"/>
                      <a:pt x="57606" y="931"/>
                    </a:cubicBezTo>
                    <a:cubicBezTo>
                      <a:pt x="59429" y="931"/>
                      <a:pt x="61538" y="1672"/>
                      <a:pt x="62279" y="3382"/>
                    </a:cubicBezTo>
                    <a:cubicBezTo>
                      <a:pt x="62850" y="5280"/>
                      <a:pt x="62052" y="7314"/>
                      <a:pt x="60342" y="8340"/>
                    </a:cubicBezTo>
                    <a:cubicBezTo>
                      <a:pt x="58745" y="9423"/>
                      <a:pt x="56808" y="9993"/>
                      <a:pt x="55269" y="11190"/>
                    </a:cubicBezTo>
                    <a:cubicBezTo>
                      <a:pt x="53730" y="12387"/>
                      <a:pt x="52704" y="13698"/>
                      <a:pt x="51280" y="15237"/>
                    </a:cubicBezTo>
                    <a:close/>
                    <a:moveTo>
                      <a:pt x="1010" y="33418"/>
                    </a:moveTo>
                    <a:cubicBezTo>
                      <a:pt x="-643" y="36906"/>
                      <a:pt x="-244" y="41027"/>
                      <a:pt x="2036" y="44133"/>
                    </a:cubicBezTo>
                    <a:cubicBezTo>
                      <a:pt x="7337" y="51970"/>
                      <a:pt x="17938" y="54044"/>
                      <a:pt x="25746" y="48772"/>
                    </a:cubicBezTo>
                    <a:cubicBezTo>
                      <a:pt x="27398" y="47684"/>
                      <a:pt x="28823" y="46327"/>
                      <a:pt x="29964" y="44760"/>
                    </a:cubicBezTo>
                    <a:cubicBezTo>
                      <a:pt x="30476" y="40217"/>
                      <a:pt x="30305" y="35624"/>
                      <a:pt x="29394" y="31138"/>
                    </a:cubicBezTo>
                    <a:cubicBezTo>
                      <a:pt x="22611" y="27137"/>
                      <a:pt x="14461" y="26368"/>
                      <a:pt x="7052" y="29029"/>
                    </a:cubicBezTo>
                    <a:cubicBezTo>
                      <a:pt x="4658" y="29696"/>
                      <a:pt x="2492" y="31138"/>
                      <a:pt x="1010" y="3313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2" name="Freihandform: Form 278">
                <a:extLst>
                  <a:ext uri="{FF2B5EF4-FFF2-40B4-BE49-F238E27FC236}">
                    <a16:creationId xmlns:a16="http://schemas.microsoft.com/office/drawing/2014/main" id="{8431247F-1B6A-1BB6-B2A1-35FE7A676B37}"/>
                  </a:ext>
                </a:extLst>
              </p:cNvPr>
              <p:cNvSpPr/>
              <p:nvPr/>
            </p:nvSpPr>
            <p:spPr>
              <a:xfrm>
                <a:off x="7333558" y="4752810"/>
                <a:ext cx="63310" cy="52517"/>
              </a:xfrm>
              <a:custGeom>
                <a:avLst/>
                <a:gdLst>
                  <a:gd name="connsiteX0" fmla="*/ 25549 w 63310"/>
                  <a:gd name="connsiteY0" fmla="*/ 17679 h 52517"/>
                  <a:gd name="connsiteX1" fmla="*/ 44642 w 63310"/>
                  <a:gd name="connsiteY1" fmla="*/ 28508 h 52517"/>
                  <a:gd name="connsiteX2" fmla="*/ 62653 w 63310"/>
                  <a:gd name="connsiteY2" fmla="*/ 45036 h 52517"/>
                  <a:gd name="connsiteX3" fmla="*/ 61512 w 63310"/>
                  <a:gd name="connsiteY3" fmla="*/ 52047 h 52517"/>
                  <a:gd name="connsiteX4" fmla="*/ 56725 w 63310"/>
                  <a:gd name="connsiteY4" fmla="*/ 52047 h 52517"/>
                  <a:gd name="connsiteX5" fmla="*/ 48631 w 63310"/>
                  <a:gd name="connsiteY5" fmla="*/ 49026 h 52517"/>
                  <a:gd name="connsiteX6" fmla="*/ 42020 w 63310"/>
                  <a:gd name="connsiteY6" fmla="*/ 45493 h 52517"/>
                  <a:gd name="connsiteX7" fmla="*/ 20989 w 63310"/>
                  <a:gd name="connsiteY7" fmla="*/ 33580 h 52517"/>
                  <a:gd name="connsiteX8" fmla="*/ 6911 w 63310"/>
                  <a:gd name="connsiteY8" fmla="*/ 23835 h 52517"/>
                  <a:gd name="connsiteX9" fmla="*/ 15 w 63310"/>
                  <a:gd name="connsiteY9" fmla="*/ 8617 h 52517"/>
                  <a:gd name="connsiteX10" fmla="*/ 5715 w 63310"/>
                  <a:gd name="connsiteY10" fmla="*/ 11 h 52517"/>
                  <a:gd name="connsiteX11" fmla="*/ 14150 w 63310"/>
                  <a:gd name="connsiteY11" fmla="*/ 4798 h 52517"/>
                  <a:gd name="connsiteX12" fmla="*/ 19564 w 63310"/>
                  <a:gd name="connsiteY12" fmla="*/ 13462 h 52517"/>
                  <a:gd name="connsiteX13" fmla="*/ 25549 w 63310"/>
                  <a:gd name="connsiteY13" fmla="*/ 17679 h 5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10" h="52517">
                    <a:moveTo>
                      <a:pt x="25549" y="17679"/>
                    </a:moveTo>
                    <a:lnTo>
                      <a:pt x="44642" y="28508"/>
                    </a:lnTo>
                    <a:cubicBezTo>
                      <a:pt x="51880" y="32669"/>
                      <a:pt x="59632" y="37342"/>
                      <a:pt x="62653" y="45036"/>
                    </a:cubicBezTo>
                    <a:cubicBezTo>
                      <a:pt x="63621" y="47430"/>
                      <a:pt x="63735" y="50736"/>
                      <a:pt x="61512" y="52047"/>
                    </a:cubicBezTo>
                    <a:cubicBezTo>
                      <a:pt x="59973" y="52674"/>
                      <a:pt x="58264" y="52674"/>
                      <a:pt x="56725" y="52047"/>
                    </a:cubicBezTo>
                    <a:cubicBezTo>
                      <a:pt x="53932" y="51261"/>
                      <a:pt x="51254" y="50252"/>
                      <a:pt x="48631" y="49026"/>
                    </a:cubicBezTo>
                    <a:cubicBezTo>
                      <a:pt x="46352" y="47943"/>
                      <a:pt x="44186" y="46746"/>
                      <a:pt x="42020" y="45493"/>
                    </a:cubicBezTo>
                    <a:lnTo>
                      <a:pt x="20989" y="33580"/>
                    </a:lnTo>
                    <a:cubicBezTo>
                      <a:pt x="15859" y="30976"/>
                      <a:pt x="11129" y="27699"/>
                      <a:pt x="6911" y="23835"/>
                    </a:cubicBezTo>
                    <a:cubicBezTo>
                      <a:pt x="2694" y="19890"/>
                      <a:pt x="186" y="14408"/>
                      <a:pt x="15" y="8617"/>
                    </a:cubicBezTo>
                    <a:cubicBezTo>
                      <a:pt x="-213" y="4804"/>
                      <a:pt x="2124" y="1310"/>
                      <a:pt x="5715" y="11"/>
                    </a:cubicBezTo>
                    <a:cubicBezTo>
                      <a:pt x="9191" y="-160"/>
                      <a:pt x="12497" y="1704"/>
                      <a:pt x="14150" y="4798"/>
                    </a:cubicBezTo>
                    <a:cubicBezTo>
                      <a:pt x="15689" y="7830"/>
                      <a:pt x="17512" y="10731"/>
                      <a:pt x="19564" y="13462"/>
                    </a:cubicBezTo>
                    <a:cubicBezTo>
                      <a:pt x="21331" y="15171"/>
                      <a:pt x="23326" y="16591"/>
                      <a:pt x="25549" y="176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3" name="Freihandform: Form 279">
                <a:extLst>
                  <a:ext uri="{FF2B5EF4-FFF2-40B4-BE49-F238E27FC236}">
                    <a16:creationId xmlns:a16="http://schemas.microsoft.com/office/drawing/2014/main" id="{5FDF756B-8239-9B4F-5EE1-EB222FA44352}"/>
                  </a:ext>
                </a:extLst>
              </p:cNvPr>
              <p:cNvSpPr/>
              <p:nvPr/>
            </p:nvSpPr>
            <p:spPr>
              <a:xfrm>
                <a:off x="7379816" y="5121213"/>
                <a:ext cx="243382" cy="331913"/>
              </a:xfrm>
              <a:custGeom>
                <a:avLst/>
                <a:gdLst>
                  <a:gd name="connsiteX0" fmla="*/ 77834 w 243382"/>
                  <a:gd name="connsiteY0" fmla="*/ 236322 h 331913"/>
                  <a:gd name="connsiteX1" fmla="*/ 101259 w 243382"/>
                  <a:gd name="connsiteY1" fmla="*/ 211130 h 331913"/>
                  <a:gd name="connsiteX2" fmla="*/ 116819 w 243382"/>
                  <a:gd name="connsiteY2" fmla="*/ 178700 h 331913"/>
                  <a:gd name="connsiteX3" fmla="*/ 118699 w 243382"/>
                  <a:gd name="connsiteY3" fmla="*/ 168897 h 331913"/>
                  <a:gd name="connsiteX4" fmla="*/ 136596 w 243382"/>
                  <a:gd name="connsiteY4" fmla="*/ 164964 h 331913"/>
                  <a:gd name="connsiteX5" fmla="*/ 138135 w 243382"/>
                  <a:gd name="connsiteY5" fmla="*/ 175907 h 331913"/>
                  <a:gd name="connsiteX6" fmla="*/ 169197 w 243382"/>
                  <a:gd name="connsiteY6" fmla="*/ 180239 h 331913"/>
                  <a:gd name="connsiteX7" fmla="*/ 170280 w 243382"/>
                  <a:gd name="connsiteY7" fmla="*/ 199218 h 331913"/>
                  <a:gd name="connsiteX8" fmla="*/ 158311 w 243382"/>
                  <a:gd name="connsiteY8" fmla="*/ 215063 h 331913"/>
                  <a:gd name="connsiteX9" fmla="*/ 142808 w 243382"/>
                  <a:gd name="connsiteY9" fmla="*/ 231249 h 331913"/>
                  <a:gd name="connsiteX10" fmla="*/ 131979 w 243382"/>
                  <a:gd name="connsiteY10" fmla="*/ 240368 h 331913"/>
                  <a:gd name="connsiteX11" fmla="*/ 122518 w 243382"/>
                  <a:gd name="connsiteY11" fmla="*/ 245327 h 331913"/>
                  <a:gd name="connsiteX12" fmla="*/ 112658 w 243382"/>
                  <a:gd name="connsiteY12" fmla="*/ 262767 h 331913"/>
                  <a:gd name="connsiteX13" fmla="*/ 97383 w 243382"/>
                  <a:gd name="connsiteY13" fmla="*/ 277244 h 331913"/>
                  <a:gd name="connsiteX14" fmla="*/ 96814 w 243382"/>
                  <a:gd name="connsiteY14" fmla="*/ 284539 h 331913"/>
                  <a:gd name="connsiteX15" fmla="*/ 90031 w 243382"/>
                  <a:gd name="connsiteY15" fmla="*/ 293430 h 331913"/>
                  <a:gd name="connsiteX16" fmla="*/ 72134 w 243382"/>
                  <a:gd name="connsiteY16" fmla="*/ 308534 h 331913"/>
                  <a:gd name="connsiteX17" fmla="*/ 22208 w 243382"/>
                  <a:gd name="connsiteY17" fmla="*/ 331731 h 331913"/>
                  <a:gd name="connsiteX18" fmla="*/ 264 w 243382"/>
                  <a:gd name="connsiteY18" fmla="*/ 308192 h 331913"/>
                  <a:gd name="connsiteX19" fmla="*/ 23404 w 243382"/>
                  <a:gd name="connsiteY19" fmla="*/ 288415 h 331913"/>
                  <a:gd name="connsiteX20" fmla="*/ 29560 w 243382"/>
                  <a:gd name="connsiteY20" fmla="*/ 273767 h 331913"/>
                  <a:gd name="connsiteX21" fmla="*/ 47228 w 243382"/>
                  <a:gd name="connsiteY21" fmla="*/ 268068 h 331913"/>
                  <a:gd name="connsiteX22" fmla="*/ 65067 w 243382"/>
                  <a:gd name="connsiteY22" fmla="*/ 244757 h 331913"/>
                  <a:gd name="connsiteX23" fmla="*/ 77834 w 243382"/>
                  <a:gd name="connsiteY23" fmla="*/ 236322 h 331913"/>
                  <a:gd name="connsiteX24" fmla="*/ 178088 w 243382"/>
                  <a:gd name="connsiteY24" fmla="*/ 188047 h 331913"/>
                  <a:gd name="connsiteX25" fmla="*/ 190000 w 243382"/>
                  <a:gd name="connsiteY25" fmla="*/ 190726 h 331913"/>
                  <a:gd name="connsiteX26" fmla="*/ 188632 w 243382"/>
                  <a:gd name="connsiteY26" fmla="*/ 176990 h 331913"/>
                  <a:gd name="connsiteX27" fmla="*/ 183331 w 243382"/>
                  <a:gd name="connsiteY27" fmla="*/ 176021 h 331913"/>
                  <a:gd name="connsiteX28" fmla="*/ 177917 w 243382"/>
                  <a:gd name="connsiteY28" fmla="*/ 187990 h 331913"/>
                  <a:gd name="connsiteX29" fmla="*/ 184357 w 243382"/>
                  <a:gd name="connsiteY29" fmla="*/ 70980 h 331913"/>
                  <a:gd name="connsiteX30" fmla="*/ 175979 w 243382"/>
                  <a:gd name="connsiteY30" fmla="*/ 82721 h 331913"/>
                  <a:gd name="connsiteX31" fmla="*/ 173871 w 243382"/>
                  <a:gd name="connsiteY31" fmla="*/ 107741 h 331913"/>
                  <a:gd name="connsiteX32" fmla="*/ 158482 w 243382"/>
                  <a:gd name="connsiteY32" fmla="*/ 114068 h 331913"/>
                  <a:gd name="connsiteX33" fmla="*/ 154663 w 243382"/>
                  <a:gd name="connsiteY33" fmla="*/ 131052 h 331913"/>
                  <a:gd name="connsiteX34" fmla="*/ 155290 w 243382"/>
                  <a:gd name="connsiteY34" fmla="*/ 131964 h 331913"/>
                  <a:gd name="connsiteX35" fmla="*/ 167886 w 243382"/>
                  <a:gd name="connsiteY35" fmla="*/ 132363 h 331913"/>
                  <a:gd name="connsiteX36" fmla="*/ 186010 w 243382"/>
                  <a:gd name="connsiteY36" fmla="*/ 149462 h 331913"/>
                  <a:gd name="connsiteX37" fmla="*/ 194560 w 243382"/>
                  <a:gd name="connsiteY37" fmla="*/ 152596 h 331913"/>
                  <a:gd name="connsiteX38" fmla="*/ 194560 w 243382"/>
                  <a:gd name="connsiteY38" fmla="*/ 158581 h 331913"/>
                  <a:gd name="connsiteX39" fmla="*/ 200259 w 243382"/>
                  <a:gd name="connsiteY39" fmla="*/ 160290 h 331913"/>
                  <a:gd name="connsiteX40" fmla="*/ 209036 w 243382"/>
                  <a:gd name="connsiteY40" fmla="*/ 141710 h 331913"/>
                  <a:gd name="connsiteX41" fmla="*/ 208523 w 243382"/>
                  <a:gd name="connsiteY41" fmla="*/ 119596 h 331913"/>
                  <a:gd name="connsiteX42" fmla="*/ 239357 w 243382"/>
                  <a:gd name="connsiteY42" fmla="*/ 104208 h 331913"/>
                  <a:gd name="connsiteX43" fmla="*/ 243233 w 243382"/>
                  <a:gd name="connsiteY43" fmla="*/ 99534 h 331913"/>
                  <a:gd name="connsiteX44" fmla="*/ 237533 w 243382"/>
                  <a:gd name="connsiteY44" fmla="*/ 89959 h 331913"/>
                  <a:gd name="connsiteX45" fmla="*/ 225223 w 243382"/>
                  <a:gd name="connsiteY45" fmla="*/ 88420 h 331913"/>
                  <a:gd name="connsiteX46" fmla="*/ 214508 w 243382"/>
                  <a:gd name="connsiteY46" fmla="*/ 83120 h 331913"/>
                  <a:gd name="connsiteX47" fmla="*/ 213140 w 243382"/>
                  <a:gd name="connsiteY47" fmla="*/ 74855 h 331913"/>
                  <a:gd name="connsiteX48" fmla="*/ 213140 w 243382"/>
                  <a:gd name="connsiteY48" fmla="*/ 61804 h 331913"/>
                  <a:gd name="connsiteX49" fmla="*/ 211943 w 243382"/>
                  <a:gd name="connsiteY49" fmla="*/ 55534 h 331913"/>
                  <a:gd name="connsiteX50" fmla="*/ 206813 w 243382"/>
                  <a:gd name="connsiteY50" fmla="*/ 53933 h 331913"/>
                  <a:gd name="connsiteX51" fmla="*/ 206243 w 243382"/>
                  <a:gd name="connsiteY51" fmla="*/ 54280 h 331913"/>
                  <a:gd name="connsiteX52" fmla="*/ 202425 w 243382"/>
                  <a:gd name="connsiteY52" fmla="*/ 66705 h 331913"/>
                  <a:gd name="connsiteX53" fmla="*/ 197637 w 243382"/>
                  <a:gd name="connsiteY53" fmla="*/ 66705 h 331913"/>
                  <a:gd name="connsiteX54" fmla="*/ 196440 w 243382"/>
                  <a:gd name="connsiteY54" fmla="*/ 62488 h 331913"/>
                  <a:gd name="connsiteX55" fmla="*/ 183902 w 243382"/>
                  <a:gd name="connsiteY55" fmla="*/ 65850 h 331913"/>
                  <a:gd name="connsiteX56" fmla="*/ 184357 w 243382"/>
                  <a:gd name="connsiteY56" fmla="*/ 71037 h 331913"/>
                  <a:gd name="connsiteX57" fmla="*/ 138363 w 243382"/>
                  <a:gd name="connsiteY57" fmla="*/ 2073 h 331913"/>
                  <a:gd name="connsiteX58" fmla="*/ 146114 w 243382"/>
                  <a:gd name="connsiteY58" fmla="*/ 15353 h 331913"/>
                  <a:gd name="connsiteX59" fmla="*/ 168912 w 243382"/>
                  <a:gd name="connsiteY59" fmla="*/ 54850 h 331913"/>
                  <a:gd name="connsiteX60" fmla="*/ 180881 w 243382"/>
                  <a:gd name="connsiteY60" fmla="*/ 42711 h 331913"/>
                  <a:gd name="connsiteX61" fmla="*/ 172958 w 243382"/>
                  <a:gd name="connsiteY61" fmla="*/ 26353 h 331913"/>
                  <a:gd name="connsiteX62" fmla="*/ 164751 w 243382"/>
                  <a:gd name="connsiteY62" fmla="*/ 4239 h 331913"/>
                  <a:gd name="connsiteX63" fmla="*/ 150902 w 243382"/>
                  <a:gd name="connsiteY63" fmla="*/ 363 h 33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43382" h="331913">
                    <a:moveTo>
                      <a:pt x="77834" y="236322"/>
                    </a:moveTo>
                    <a:cubicBezTo>
                      <a:pt x="87068" y="229402"/>
                      <a:pt x="95046" y="220870"/>
                      <a:pt x="101259" y="211130"/>
                    </a:cubicBezTo>
                    <a:cubicBezTo>
                      <a:pt x="108384" y="201327"/>
                      <a:pt x="115793" y="190840"/>
                      <a:pt x="116819" y="178700"/>
                    </a:cubicBezTo>
                    <a:cubicBezTo>
                      <a:pt x="116648" y="175332"/>
                      <a:pt x="117332" y="171975"/>
                      <a:pt x="118699" y="168897"/>
                    </a:cubicBezTo>
                    <a:cubicBezTo>
                      <a:pt x="122176" y="163197"/>
                      <a:pt x="130098" y="163824"/>
                      <a:pt x="136596" y="164964"/>
                    </a:cubicBezTo>
                    <a:lnTo>
                      <a:pt x="138135" y="175907"/>
                    </a:lnTo>
                    <a:cubicBezTo>
                      <a:pt x="148907" y="173171"/>
                      <a:pt x="162529" y="171347"/>
                      <a:pt x="169197" y="180239"/>
                    </a:cubicBezTo>
                    <a:cubicBezTo>
                      <a:pt x="172844" y="185944"/>
                      <a:pt x="173244" y="193137"/>
                      <a:pt x="170280" y="199218"/>
                    </a:cubicBezTo>
                    <a:cubicBezTo>
                      <a:pt x="167259" y="205157"/>
                      <a:pt x="163213" y="210520"/>
                      <a:pt x="158311" y="215063"/>
                    </a:cubicBezTo>
                    <a:cubicBezTo>
                      <a:pt x="153124" y="220762"/>
                      <a:pt x="147938" y="225834"/>
                      <a:pt x="142808" y="231249"/>
                    </a:cubicBezTo>
                    <a:cubicBezTo>
                      <a:pt x="139674" y="234834"/>
                      <a:pt x="136026" y="237912"/>
                      <a:pt x="131979" y="240368"/>
                    </a:cubicBezTo>
                    <a:cubicBezTo>
                      <a:pt x="128673" y="241651"/>
                      <a:pt x="125482" y="243315"/>
                      <a:pt x="122518" y="245327"/>
                    </a:cubicBezTo>
                    <a:cubicBezTo>
                      <a:pt x="117446" y="249715"/>
                      <a:pt x="116819" y="257638"/>
                      <a:pt x="112658" y="262767"/>
                    </a:cubicBezTo>
                    <a:cubicBezTo>
                      <a:pt x="108497" y="267897"/>
                      <a:pt x="98979" y="270234"/>
                      <a:pt x="97383" y="277244"/>
                    </a:cubicBezTo>
                    <a:cubicBezTo>
                      <a:pt x="96814" y="279637"/>
                      <a:pt x="97383" y="282145"/>
                      <a:pt x="96814" y="284539"/>
                    </a:cubicBezTo>
                    <a:cubicBezTo>
                      <a:pt x="95560" y="288164"/>
                      <a:pt x="93223" y="291287"/>
                      <a:pt x="90031" y="293430"/>
                    </a:cubicBezTo>
                    <a:cubicBezTo>
                      <a:pt x="84331" y="298446"/>
                      <a:pt x="78062" y="303462"/>
                      <a:pt x="72134" y="308534"/>
                    </a:cubicBezTo>
                    <a:cubicBezTo>
                      <a:pt x="57715" y="320674"/>
                      <a:pt x="41016" y="333612"/>
                      <a:pt x="22208" y="331731"/>
                    </a:cubicBezTo>
                    <a:cubicBezTo>
                      <a:pt x="10238" y="330477"/>
                      <a:pt x="-1959" y="320047"/>
                      <a:pt x="264" y="308192"/>
                    </a:cubicBezTo>
                    <a:cubicBezTo>
                      <a:pt x="2260" y="297762"/>
                      <a:pt x="13544" y="292290"/>
                      <a:pt x="23404" y="288415"/>
                    </a:cubicBezTo>
                    <a:cubicBezTo>
                      <a:pt x="19301" y="283741"/>
                      <a:pt x="23917" y="276218"/>
                      <a:pt x="29560" y="273767"/>
                    </a:cubicBezTo>
                    <a:cubicBezTo>
                      <a:pt x="35202" y="271316"/>
                      <a:pt x="41928" y="271316"/>
                      <a:pt x="47228" y="268068"/>
                    </a:cubicBezTo>
                    <a:cubicBezTo>
                      <a:pt x="55721" y="263052"/>
                      <a:pt x="57943" y="251653"/>
                      <a:pt x="65067" y="244757"/>
                    </a:cubicBezTo>
                    <a:cubicBezTo>
                      <a:pt x="69057" y="241565"/>
                      <a:pt x="73332" y="238738"/>
                      <a:pt x="77834" y="236322"/>
                    </a:cubicBezTo>
                    <a:close/>
                    <a:moveTo>
                      <a:pt x="178088" y="188047"/>
                    </a:moveTo>
                    <a:cubicBezTo>
                      <a:pt x="179855" y="192151"/>
                      <a:pt x="185668" y="191752"/>
                      <a:pt x="190000" y="190726"/>
                    </a:cubicBezTo>
                    <a:cubicBezTo>
                      <a:pt x="191254" y="186132"/>
                      <a:pt x="190741" y="181247"/>
                      <a:pt x="188632" y="176990"/>
                    </a:cubicBezTo>
                    <a:lnTo>
                      <a:pt x="183331" y="176021"/>
                    </a:lnTo>
                    <a:cubicBezTo>
                      <a:pt x="180767" y="179840"/>
                      <a:pt x="176264" y="183773"/>
                      <a:pt x="177917" y="187990"/>
                    </a:cubicBezTo>
                    <a:close/>
                    <a:moveTo>
                      <a:pt x="184357" y="70980"/>
                    </a:moveTo>
                    <a:cubicBezTo>
                      <a:pt x="184357" y="75881"/>
                      <a:pt x="178316" y="78446"/>
                      <a:pt x="175979" y="82721"/>
                    </a:cubicBezTo>
                    <a:cubicBezTo>
                      <a:pt x="171875" y="90301"/>
                      <a:pt x="179456" y="101187"/>
                      <a:pt x="173871" y="107741"/>
                    </a:cubicBezTo>
                    <a:cubicBezTo>
                      <a:pt x="170280" y="112073"/>
                      <a:pt x="163383" y="111332"/>
                      <a:pt x="158482" y="114068"/>
                    </a:cubicBezTo>
                    <a:cubicBezTo>
                      <a:pt x="152725" y="117699"/>
                      <a:pt x="151016" y="125307"/>
                      <a:pt x="154663" y="131052"/>
                    </a:cubicBezTo>
                    <a:cubicBezTo>
                      <a:pt x="154834" y="131366"/>
                      <a:pt x="155062" y="131668"/>
                      <a:pt x="155290" y="131964"/>
                    </a:cubicBezTo>
                    <a:lnTo>
                      <a:pt x="167886" y="132363"/>
                    </a:lnTo>
                    <a:cubicBezTo>
                      <a:pt x="169025" y="141682"/>
                      <a:pt x="176663" y="148869"/>
                      <a:pt x="186010" y="149462"/>
                    </a:cubicBezTo>
                    <a:cubicBezTo>
                      <a:pt x="189316" y="149462"/>
                      <a:pt x="193705" y="149462"/>
                      <a:pt x="194560" y="152596"/>
                    </a:cubicBezTo>
                    <a:cubicBezTo>
                      <a:pt x="195130" y="154534"/>
                      <a:pt x="193819" y="156700"/>
                      <a:pt x="194560" y="158581"/>
                    </a:cubicBezTo>
                    <a:cubicBezTo>
                      <a:pt x="195813" y="160462"/>
                      <a:pt x="198207" y="161186"/>
                      <a:pt x="200259" y="160290"/>
                    </a:cubicBezTo>
                    <a:cubicBezTo>
                      <a:pt x="207441" y="158182"/>
                      <a:pt x="209720" y="148891"/>
                      <a:pt x="209036" y="141710"/>
                    </a:cubicBezTo>
                    <a:cubicBezTo>
                      <a:pt x="208352" y="134529"/>
                      <a:pt x="205959" y="126607"/>
                      <a:pt x="208523" y="119596"/>
                    </a:cubicBezTo>
                    <a:cubicBezTo>
                      <a:pt x="219808" y="116775"/>
                      <a:pt x="230295" y="111520"/>
                      <a:pt x="239357" y="104208"/>
                    </a:cubicBezTo>
                    <a:cubicBezTo>
                      <a:pt x="241067" y="103045"/>
                      <a:pt x="242378" y="101426"/>
                      <a:pt x="243233" y="99534"/>
                    </a:cubicBezTo>
                    <a:cubicBezTo>
                      <a:pt x="244031" y="95362"/>
                      <a:pt x="241580" y="91264"/>
                      <a:pt x="237533" y="89959"/>
                    </a:cubicBezTo>
                    <a:cubicBezTo>
                      <a:pt x="233544" y="88842"/>
                      <a:pt x="229383" y="88323"/>
                      <a:pt x="225223" y="88420"/>
                    </a:cubicBezTo>
                    <a:cubicBezTo>
                      <a:pt x="221005" y="88455"/>
                      <a:pt x="217015" y="86483"/>
                      <a:pt x="214508" y="83120"/>
                    </a:cubicBezTo>
                    <a:cubicBezTo>
                      <a:pt x="213310" y="80544"/>
                      <a:pt x="212855" y="77683"/>
                      <a:pt x="213140" y="74855"/>
                    </a:cubicBezTo>
                    <a:lnTo>
                      <a:pt x="213140" y="61804"/>
                    </a:lnTo>
                    <a:cubicBezTo>
                      <a:pt x="213368" y="59643"/>
                      <a:pt x="212912" y="57467"/>
                      <a:pt x="211943" y="55534"/>
                    </a:cubicBezTo>
                    <a:cubicBezTo>
                      <a:pt x="210974" y="53671"/>
                      <a:pt x="208637" y="52953"/>
                      <a:pt x="206813" y="53933"/>
                    </a:cubicBezTo>
                    <a:cubicBezTo>
                      <a:pt x="206586" y="54035"/>
                      <a:pt x="206414" y="54149"/>
                      <a:pt x="206243" y="54280"/>
                    </a:cubicBezTo>
                    <a:cubicBezTo>
                      <a:pt x="206016" y="58675"/>
                      <a:pt x="204704" y="62944"/>
                      <a:pt x="202425" y="66705"/>
                    </a:cubicBezTo>
                    <a:lnTo>
                      <a:pt x="197637" y="66705"/>
                    </a:lnTo>
                    <a:cubicBezTo>
                      <a:pt x="197979" y="65189"/>
                      <a:pt x="197523" y="63605"/>
                      <a:pt x="196440" y="62488"/>
                    </a:cubicBezTo>
                    <a:cubicBezTo>
                      <a:pt x="191710" y="61120"/>
                      <a:pt x="185041" y="61006"/>
                      <a:pt x="183902" y="65850"/>
                    </a:cubicBezTo>
                    <a:cubicBezTo>
                      <a:pt x="183959" y="67589"/>
                      <a:pt x="184072" y="69321"/>
                      <a:pt x="184357" y="71037"/>
                    </a:cubicBezTo>
                    <a:close/>
                    <a:moveTo>
                      <a:pt x="138363" y="2073"/>
                    </a:moveTo>
                    <a:lnTo>
                      <a:pt x="146114" y="15353"/>
                    </a:lnTo>
                    <a:cubicBezTo>
                      <a:pt x="153694" y="28502"/>
                      <a:pt x="161331" y="41667"/>
                      <a:pt x="168912" y="54850"/>
                    </a:cubicBezTo>
                    <a:cubicBezTo>
                      <a:pt x="175352" y="56275"/>
                      <a:pt x="181337" y="49151"/>
                      <a:pt x="180881" y="42711"/>
                    </a:cubicBezTo>
                    <a:cubicBezTo>
                      <a:pt x="179570" y="36703"/>
                      <a:pt x="176891" y="31095"/>
                      <a:pt x="172958" y="26353"/>
                    </a:cubicBezTo>
                    <a:cubicBezTo>
                      <a:pt x="168798" y="19605"/>
                      <a:pt x="166005" y="12087"/>
                      <a:pt x="164751" y="4239"/>
                    </a:cubicBezTo>
                    <a:cubicBezTo>
                      <a:pt x="162472" y="-378"/>
                      <a:pt x="156031" y="-378"/>
                      <a:pt x="150902" y="3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4" name="Freihandform: Form 280">
                <a:extLst>
                  <a:ext uri="{FF2B5EF4-FFF2-40B4-BE49-F238E27FC236}">
                    <a16:creationId xmlns:a16="http://schemas.microsoft.com/office/drawing/2014/main" id="{C2D6278C-4FC6-96CB-CE73-93B2D7B6C030}"/>
                  </a:ext>
                </a:extLst>
              </p:cNvPr>
              <p:cNvSpPr/>
              <p:nvPr/>
            </p:nvSpPr>
            <p:spPr>
              <a:xfrm>
                <a:off x="5240825" y="5520342"/>
                <a:ext cx="65090" cy="37113"/>
              </a:xfrm>
              <a:custGeom>
                <a:avLst/>
                <a:gdLst>
                  <a:gd name="connsiteX0" fmla="*/ 13808 w 65090"/>
                  <a:gd name="connsiteY0" fmla="*/ 31260 h 37113"/>
                  <a:gd name="connsiteX1" fmla="*/ 2922 w 65090"/>
                  <a:gd name="connsiteY1" fmla="*/ 24705 h 37113"/>
                  <a:gd name="connsiteX2" fmla="*/ 1098 w 65090"/>
                  <a:gd name="connsiteY2" fmla="*/ 12736 h 37113"/>
                  <a:gd name="connsiteX3" fmla="*/ 51539 w 65090"/>
                  <a:gd name="connsiteY3" fmla="*/ 4586 h 37113"/>
                  <a:gd name="connsiteX4" fmla="*/ 63735 w 65090"/>
                  <a:gd name="connsiteY4" fmla="*/ 16669 h 37113"/>
                  <a:gd name="connsiteX5" fmla="*/ 61114 w 65090"/>
                  <a:gd name="connsiteY5" fmla="*/ 32856 h 37113"/>
                  <a:gd name="connsiteX6" fmla="*/ 46352 w 65090"/>
                  <a:gd name="connsiteY6" fmla="*/ 37016 h 37113"/>
                  <a:gd name="connsiteX7" fmla="*/ 13808 w 65090"/>
                  <a:gd name="connsiteY7" fmla="*/ 31260 h 3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090" h="37113">
                    <a:moveTo>
                      <a:pt x="13808" y="31260"/>
                    </a:moveTo>
                    <a:cubicBezTo>
                      <a:pt x="9693" y="30006"/>
                      <a:pt x="5954" y="27754"/>
                      <a:pt x="2922" y="24705"/>
                    </a:cubicBezTo>
                    <a:cubicBezTo>
                      <a:pt x="-144" y="21496"/>
                      <a:pt x="-874" y="16715"/>
                      <a:pt x="1098" y="12736"/>
                    </a:cubicBezTo>
                    <a:cubicBezTo>
                      <a:pt x="14435" y="-498"/>
                      <a:pt x="34714" y="-3775"/>
                      <a:pt x="51539" y="4586"/>
                    </a:cubicBezTo>
                    <a:cubicBezTo>
                      <a:pt x="56850" y="7122"/>
                      <a:pt x="61148" y="11380"/>
                      <a:pt x="63735" y="16669"/>
                    </a:cubicBezTo>
                    <a:cubicBezTo>
                      <a:pt x="66249" y="22095"/>
                      <a:pt x="65206" y="28501"/>
                      <a:pt x="61114" y="32856"/>
                    </a:cubicBezTo>
                    <a:cubicBezTo>
                      <a:pt x="56885" y="36041"/>
                      <a:pt x="51618" y="37523"/>
                      <a:pt x="46352" y="37016"/>
                    </a:cubicBezTo>
                    <a:cubicBezTo>
                      <a:pt x="35255" y="36953"/>
                      <a:pt x="24249" y="35004"/>
                      <a:pt x="13808" y="3126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5" name="Freihandform: Form 281">
                <a:extLst>
                  <a:ext uri="{FF2B5EF4-FFF2-40B4-BE49-F238E27FC236}">
                    <a16:creationId xmlns:a16="http://schemas.microsoft.com/office/drawing/2014/main" id="{856E095C-EA65-D258-7C60-C11BFC3BDBC8}"/>
                  </a:ext>
                </a:extLst>
              </p:cNvPr>
              <p:cNvSpPr/>
              <p:nvPr/>
            </p:nvSpPr>
            <p:spPr>
              <a:xfrm>
                <a:off x="6207209" y="4525956"/>
                <a:ext cx="876298" cy="834203"/>
              </a:xfrm>
              <a:custGeom>
                <a:avLst/>
                <a:gdLst>
                  <a:gd name="connsiteX0" fmla="*/ 60220 w 876298"/>
                  <a:gd name="connsiteY0" fmla="*/ 604170 h 834203"/>
                  <a:gd name="connsiteX1" fmla="*/ 42210 w 876298"/>
                  <a:gd name="connsiteY1" fmla="*/ 579206 h 834203"/>
                  <a:gd name="connsiteX2" fmla="*/ 36510 w 876298"/>
                  <a:gd name="connsiteY2" fmla="*/ 574304 h 834203"/>
                  <a:gd name="connsiteX3" fmla="*/ 41526 w 876298"/>
                  <a:gd name="connsiteY3" fmla="*/ 570771 h 834203"/>
                  <a:gd name="connsiteX4" fmla="*/ 55661 w 876298"/>
                  <a:gd name="connsiteY4" fmla="*/ 551791 h 834203"/>
                  <a:gd name="connsiteX5" fmla="*/ 53552 w 876298"/>
                  <a:gd name="connsiteY5" fmla="*/ 527113 h 834203"/>
                  <a:gd name="connsiteX6" fmla="*/ 62500 w 876298"/>
                  <a:gd name="connsiteY6" fmla="*/ 522325 h 834203"/>
                  <a:gd name="connsiteX7" fmla="*/ 56801 w 876298"/>
                  <a:gd name="connsiteY7" fmla="*/ 511268 h 834203"/>
                  <a:gd name="connsiteX8" fmla="*/ 49790 w 876298"/>
                  <a:gd name="connsiteY8" fmla="*/ 501009 h 834203"/>
                  <a:gd name="connsiteX9" fmla="*/ 47682 w 876298"/>
                  <a:gd name="connsiteY9" fmla="*/ 489610 h 834203"/>
                  <a:gd name="connsiteX10" fmla="*/ 40443 w 876298"/>
                  <a:gd name="connsiteY10" fmla="*/ 486134 h 834203"/>
                  <a:gd name="connsiteX11" fmla="*/ 32236 w 876298"/>
                  <a:gd name="connsiteY11" fmla="*/ 458377 h 834203"/>
                  <a:gd name="connsiteX12" fmla="*/ 31381 w 876298"/>
                  <a:gd name="connsiteY12" fmla="*/ 428056 h 834203"/>
                  <a:gd name="connsiteX13" fmla="*/ 24143 w 876298"/>
                  <a:gd name="connsiteY13" fmla="*/ 420761 h 834203"/>
                  <a:gd name="connsiteX14" fmla="*/ 10635 w 876298"/>
                  <a:gd name="connsiteY14" fmla="*/ 395341 h 834203"/>
                  <a:gd name="connsiteX15" fmla="*/ 8526 w 876298"/>
                  <a:gd name="connsiteY15" fmla="*/ 382688 h 834203"/>
                  <a:gd name="connsiteX16" fmla="*/ 17474 w 876298"/>
                  <a:gd name="connsiteY16" fmla="*/ 375108 h 834203"/>
                  <a:gd name="connsiteX17" fmla="*/ 23174 w 876298"/>
                  <a:gd name="connsiteY17" fmla="*/ 376875 h 834203"/>
                  <a:gd name="connsiteX18" fmla="*/ 30469 w 876298"/>
                  <a:gd name="connsiteY18" fmla="*/ 369978 h 834203"/>
                  <a:gd name="connsiteX19" fmla="*/ 19070 w 876298"/>
                  <a:gd name="connsiteY19" fmla="*/ 351740 h 834203"/>
                  <a:gd name="connsiteX20" fmla="*/ 1972 w 876298"/>
                  <a:gd name="connsiteY20" fmla="*/ 337263 h 834203"/>
                  <a:gd name="connsiteX21" fmla="*/ 18158 w 876298"/>
                  <a:gd name="connsiteY21" fmla="*/ 299419 h 834203"/>
                  <a:gd name="connsiteX22" fmla="*/ 51899 w 876298"/>
                  <a:gd name="connsiteY22" fmla="*/ 270922 h 834203"/>
                  <a:gd name="connsiteX23" fmla="*/ 102397 w 876298"/>
                  <a:gd name="connsiteY23" fmla="*/ 240714 h 834203"/>
                  <a:gd name="connsiteX24" fmla="*/ 116759 w 876298"/>
                  <a:gd name="connsiteY24" fmla="*/ 233020 h 834203"/>
                  <a:gd name="connsiteX25" fmla="*/ 150614 w 876298"/>
                  <a:gd name="connsiteY25" fmla="*/ 218657 h 834203"/>
                  <a:gd name="connsiteX26" fmla="*/ 166801 w 876298"/>
                  <a:gd name="connsiteY26" fmla="*/ 209709 h 834203"/>
                  <a:gd name="connsiteX27" fmla="*/ 168169 w 876298"/>
                  <a:gd name="connsiteY27" fmla="*/ 203041 h 834203"/>
                  <a:gd name="connsiteX28" fmla="*/ 176775 w 876298"/>
                  <a:gd name="connsiteY28" fmla="*/ 194663 h 834203"/>
                  <a:gd name="connsiteX29" fmla="*/ 202878 w 876298"/>
                  <a:gd name="connsiteY29" fmla="*/ 166735 h 834203"/>
                  <a:gd name="connsiteX30" fmla="*/ 199573 w 876298"/>
                  <a:gd name="connsiteY30" fmla="*/ 149124 h 834203"/>
                  <a:gd name="connsiteX31" fmla="*/ 208521 w 876298"/>
                  <a:gd name="connsiteY31" fmla="*/ 134590 h 834203"/>
                  <a:gd name="connsiteX32" fmla="*/ 221914 w 876298"/>
                  <a:gd name="connsiteY32" fmla="*/ 139959 h 834203"/>
                  <a:gd name="connsiteX33" fmla="*/ 222427 w 876298"/>
                  <a:gd name="connsiteY33" fmla="*/ 141486 h 834203"/>
                  <a:gd name="connsiteX34" fmla="*/ 222427 w 876298"/>
                  <a:gd name="connsiteY34" fmla="*/ 146217 h 834203"/>
                  <a:gd name="connsiteX35" fmla="*/ 231888 w 876298"/>
                  <a:gd name="connsiteY35" fmla="*/ 150919 h 834203"/>
                  <a:gd name="connsiteX36" fmla="*/ 236391 w 876298"/>
                  <a:gd name="connsiteY36" fmla="*/ 146730 h 834203"/>
                  <a:gd name="connsiteX37" fmla="*/ 231147 w 876298"/>
                  <a:gd name="connsiteY37" fmla="*/ 133621 h 834203"/>
                  <a:gd name="connsiteX38" fmla="*/ 231547 w 876298"/>
                  <a:gd name="connsiteY38" fmla="*/ 120741 h 834203"/>
                  <a:gd name="connsiteX39" fmla="*/ 239697 w 876298"/>
                  <a:gd name="connsiteY39" fmla="*/ 129290 h 834203"/>
                  <a:gd name="connsiteX40" fmla="*/ 250583 w 876298"/>
                  <a:gd name="connsiteY40" fmla="*/ 127922 h 834203"/>
                  <a:gd name="connsiteX41" fmla="*/ 247505 w 876298"/>
                  <a:gd name="connsiteY41" fmla="*/ 100621 h 834203"/>
                  <a:gd name="connsiteX42" fmla="*/ 262666 w 876298"/>
                  <a:gd name="connsiteY42" fmla="*/ 85324 h 834203"/>
                  <a:gd name="connsiteX43" fmla="*/ 262267 w 876298"/>
                  <a:gd name="connsiteY43" fmla="*/ 82041 h 834203"/>
                  <a:gd name="connsiteX44" fmla="*/ 283982 w 876298"/>
                  <a:gd name="connsiteY44" fmla="*/ 77709 h 834203"/>
                  <a:gd name="connsiteX45" fmla="*/ 315101 w 876298"/>
                  <a:gd name="connsiteY45" fmla="*/ 70243 h 834203"/>
                  <a:gd name="connsiteX46" fmla="*/ 329577 w 876298"/>
                  <a:gd name="connsiteY46" fmla="*/ 83124 h 834203"/>
                  <a:gd name="connsiteX47" fmla="*/ 334764 w 876298"/>
                  <a:gd name="connsiteY47" fmla="*/ 99196 h 834203"/>
                  <a:gd name="connsiteX48" fmla="*/ 344795 w 876298"/>
                  <a:gd name="connsiteY48" fmla="*/ 92608 h 834203"/>
                  <a:gd name="connsiteX49" fmla="*/ 344966 w 876298"/>
                  <a:gd name="connsiteY49" fmla="*/ 91445 h 834203"/>
                  <a:gd name="connsiteX50" fmla="*/ 368391 w 876298"/>
                  <a:gd name="connsiteY50" fmla="*/ 98854 h 834203"/>
                  <a:gd name="connsiteX51" fmla="*/ 367764 w 876298"/>
                  <a:gd name="connsiteY51" fmla="*/ 64658 h 834203"/>
                  <a:gd name="connsiteX52" fmla="*/ 385888 w 876298"/>
                  <a:gd name="connsiteY52" fmla="*/ 35362 h 834203"/>
                  <a:gd name="connsiteX53" fmla="*/ 424588 w 876298"/>
                  <a:gd name="connsiteY53" fmla="*/ 22880 h 834203"/>
                  <a:gd name="connsiteX54" fmla="*/ 418888 w 876298"/>
                  <a:gd name="connsiteY54" fmla="*/ 995 h 834203"/>
                  <a:gd name="connsiteX55" fmla="*/ 440774 w 876298"/>
                  <a:gd name="connsiteY55" fmla="*/ 17181 h 834203"/>
                  <a:gd name="connsiteX56" fmla="*/ 482494 w 876298"/>
                  <a:gd name="connsiteY56" fmla="*/ 34279 h 834203"/>
                  <a:gd name="connsiteX57" fmla="*/ 501189 w 876298"/>
                  <a:gd name="connsiteY57" fmla="*/ 24020 h 834203"/>
                  <a:gd name="connsiteX58" fmla="*/ 503924 w 876298"/>
                  <a:gd name="connsiteY58" fmla="*/ 33880 h 834203"/>
                  <a:gd name="connsiteX59" fmla="*/ 518059 w 876298"/>
                  <a:gd name="connsiteY59" fmla="*/ 24761 h 834203"/>
                  <a:gd name="connsiteX60" fmla="*/ 518914 w 876298"/>
                  <a:gd name="connsiteY60" fmla="*/ 44026 h 834203"/>
                  <a:gd name="connsiteX61" fmla="*/ 502899 w 876298"/>
                  <a:gd name="connsiteY61" fmla="*/ 48243 h 834203"/>
                  <a:gd name="connsiteX62" fmla="*/ 493266 w 876298"/>
                  <a:gd name="connsiteY62" fmla="*/ 59642 h 834203"/>
                  <a:gd name="connsiteX63" fmla="*/ 500847 w 876298"/>
                  <a:gd name="connsiteY63" fmla="*/ 77139 h 834203"/>
                  <a:gd name="connsiteX64" fmla="*/ 486370 w 876298"/>
                  <a:gd name="connsiteY64" fmla="*/ 84212 h 834203"/>
                  <a:gd name="connsiteX65" fmla="*/ 485800 w 876298"/>
                  <a:gd name="connsiteY65" fmla="*/ 86772 h 834203"/>
                  <a:gd name="connsiteX66" fmla="*/ 496800 w 876298"/>
                  <a:gd name="connsiteY66" fmla="*/ 90533 h 834203"/>
                  <a:gd name="connsiteX67" fmla="*/ 515722 w 876298"/>
                  <a:gd name="connsiteY67" fmla="*/ 109512 h 834203"/>
                  <a:gd name="connsiteX68" fmla="*/ 536012 w 876298"/>
                  <a:gd name="connsiteY68" fmla="*/ 127808 h 834203"/>
                  <a:gd name="connsiteX69" fmla="*/ 577219 w 876298"/>
                  <a:gd name="connsiteY69" fmla="*/ 151632 h 834203"/>
                  <a:gd name="connsiteX70" fmla="*/ 577619 w 876298"/>
                  <a:gd name="connsiteY70" fmla="*/ 160409 h 834203"/>
                  <a:gd name="connsiteX71" fmla="*/ 602582 w 876298"/>
                  <a:gd name="connsiteY71" fmla="*/ 162062 h 834203"/>
                  <a:gd name="connsiteX72" fmla="*/ 610789 w 876298"/>
                  <a:gd name="connsiteY72" fmla="*/ 143424 h 834203"/>
                  <a:gd name="connsiteX73" fmla="*/ 614266 w 876298"/>
                  <a:gd name="connsiteY73" fmla="*/ 132481 h 834203"/>
                  <a:gd name="connsiteX74" fmla="*/ 629370 w 876298"/>
                  <a:gd name="connsiteY74" fmla="*/ 50010 h 834203"/>
                  <a:gd name="connsiteX75" fmla="*/ 628914 w 876298"/>
                  <a:gd name="connsiteY75" fmla="*/ 29948 h 834203"/>
                  <a:gd name="connsiteX76" fmla="*/ 663566 w 876298"/>
                  <a:gd name="connsiteY76" fmla="*/ 61010 h 834203"/>
                  <a:gd name="connsiteX77" fmla="*/ 663566 w 876298"/>
                  <a:gd name="connsiteY77" fmla="*/ 76626 h 834203"/>
                  <a:gd name="connsiteX78" fmla="*/ 698847 w 876298"/>
                  <a:gd name="connsiteY78" fmla="*/ 90932 h 834203"/>
                  <a:gd name="connsiteX79" fmla="*/ 704147 w 876298"/>
                  <a:gd name="connsiteY79" fmla="*/ 125870 h 834203"/>
                  <a:gd name="connsiteX80" fmla="*/ 717199 w 876298"/>
                  <a:gd name="connsiteY80" fmla="*/ 143766 h 834203"/>
                  <a:gd name="connsiteX81" fmla="*/ 717597 w 876298"/>
                  <a:gd name="connsiteY81" fmla="*/ 156191 h 834203"/>
                  <a:gd name="connsiteX82" fmla="*/ 727971 w 876298"/>
                  <a:gd name="connsiteY82" fmla="*/ 191186 h 834203"/>
                  <a:gd name="connsiteX83" fmla="*/ 733670 w 876298"/>
                  <a:gd name="connsiteY83" fmla="*/ 196885 h 834203"/>
                  <a:gd name="connsiteX84" fmla="*/ 744385 w 876298"/>
                  <a:gd name="connsiteY84" fmla="*/ 201160 h 834203"/>
                  <a:gd name="connsiteX85" fmla="*/ 792033 w 876298"/>
                  <a:gd name="connsiteY85" fmla="*/ 263113 h 834203"/>
                  <a:gd name="connsiteX86" fmla="*/ 805541 w 876298"/>
                  <a:gd name="connsiteY86" fmla="*/ 280212 h 834203"/>
                  <a:gd name="connsiteX87" fmla="*/ 810898 w 876298"/>
                  <a:gd name="connsiteY87" fmla="*/ 278616 h 834203"/>
                  <a:gd name="connsiteX88" fmla="*/ 824805 w 876298"/>
                  <a:gd name="connsiteY88" fmla="*/ 289160 h 834203"/>
                  <a:gd name="connsiteX89" fmla="*/ 822810 w 876298"/>
                  <a:gd name="connsiteY89" fmla="*/ 308139 h 834203"/>
                  <a:gd name="connsiteX90" fmla="*/ 839909 w 876298"/>
                  <a:gd name="connsiteY90" fmla="*/ 315377 h 834203"/>
                  <a:gd name="connsiteX91" fmla="*/ 849597 w 876298"/>
                  <a:gd name="connsiteY91" fmla="*/ 332875 h 834203"/>
                  <a:gd name="connsiteX92" fmla="*/ 868520 w 876298"/>
                  <a:gd name="connsiteY92" fmla="*/ 359947 h 834203"/>
                  <a:gd name="connsiteX93" fmla="*/ 873307 w 876298"/>
                  <a:gd name="connsiteY93" fmla="*/ 446009 h 834203"/>
                  <a:gd name="connsiteX94" fmla="*/ 863105 w 876298"/>
                  <a:gd name="connsiteY94" fmla="*/ 537999 h 834203"/>
                  <a:gd name="connsiteX95" fmla="*/ 844810 w 876298"/>
                  <a:gd name="connsiteY95" fmla="*/ 550937 h 834203"/>
                  <a:gd name="connsiteX96" fmla="*/ 831644 w 876298"/>
                  <a:gd name="connsiteY96" fmla="*/ 570771 h 834203"/>
                  <a:gd name="connsiteX97" fmla="*/ 823779 w 876298"/>
                  <a:gd name="connsiteY97" fmla="*/ 589123 h 834203"/>
                  <a:gd name="connsiteX98" fmla="*/ 811468 w 876298"/>
                  <a:gd name="connsiteY98" fmla="*/ 620470 h 834203"/>
                  <a:gd name="connsiteX99" fmla="*/ 802748 w 876298"/>
                  <a:gd name="connsiteY99" fmla="*/ 674330 h 834203"/>
                  <a:gd name="connsiteX100" fmla="*/ 751053 w 876298"/>
                  <a:gd name="connsiteY100" fmla="*/ 693822 h 834203"/>
                  <a:gd name="connsiteX101" fmla="*/ 730364 w 876298"/>
                  <a:gd name="connsiteY101" fmla="*/ 707558 h 834203"/>
                  <a:gd name="connsiteX102" fmla="*/ 697763 w 876298"/>
                  <a:gd name="connsiteY102" fmla="*/ 683620 h 834203"/>
                  <a:gd name="connsiteX103" fmla="*/ 680665 w 876298"/>
                  <a:gd name="connsiteY103" fmla="*/ 696330 h 834203"/>
                  <a:gd name="connsiteX104" fmla="*/ 662883 w 876298"/>
                  <a:gd name="connsiteY104" fmla="*/ 706589 h 834203"/>
                  <a:gd name="connsiteX105" fmla="*/ 653194 w 876298"/>
                  <a:gd name="connsiteY105" fmla="*/ 689035 h 834203"/>
                  <a:gd name="connsiteX106" fmla="*/ 626919 w 876298"/>
                  <a:gd name="connsiteY106" fmla="*/ 672563 h 834203"/>
                  <a:gd name="connsiteX107" fmla="*/ 621904 w 876298"/>
                  <a:gd name="connsiteY107" fmla="*/ 664470 h 834203"/>
                  <a:gd name="connsiteX108" fmla="*/ 599733 w 876298"/>
                  <a:gd name="connsiteY108" fmla="*/ 658771 h 834203"/>
                  <a:gd name="connsiteX109" fmla="*/ 593235 w 876298"/>
                  <a:gd name="connsiteY109" fmla="*/ 649595 h 834203"/>
                  <a:gd name="connsiteX110" fmla="*/ 584800 w 876298"/>
                  <a:gd name="connsiteY110" fmla="*/ 649196 h 834203"/>
                  <a:gd name="connsiteX111" fmla="*/ 572204 w 876298"/>
                  <a:gd name="connsiteY111" fmla="*/ 621040 h 834203"/>
                  <a:gd name="connsiteX112" fmla="*/ 561774 w 876298"/>
                  <a:gd name="connsiteY112" fmla="*/ 615341 h 834203"/>
                  <a:gd name="connsiteX113" fmla="*/ 550375 w 876298"/>
                  <a:gd name="connsiteY113" fmla="*/ 582569 h 834203"/>
                  <a:gd name="connsiteX114" fmla="*/ 525297 w 876298"/>
                  <a:gd name="connsiteY114" fmla="*/ 607418 h 834203"/>
                  <a:gd name="connsiteX115" fmla="*/ 528774 w 876298"/>
                  <a:gd name="connsiteY115" fmla="*/ 580745 h 834203"/>
                  <a:gd name="connsiteX116" fmla="*/ 544049 w 876298"/>
                  <a:gd name="connsiteY116" fmla="*/ 556066 h 834203"/>
                  <a:gd name="connsiteX117" fmla="*/ 542168 w 876298"/>
                  <a:gd name="connsiteY117" fmla="*/ 549512 h 834203"/>
                  <a:gd name="connsiteX118" fmla="*/ 526722 w 876298"/>
                  <a:gd name="connsiteY118" fmla="*/ 553160 h 834203"/>
                  <a:gd name="connsiteX119" fmla="*/ 509624 w 876298"/>
                  <a:gd name="connsiteY119" fmla="*/ 578522 h 834203"/>
                  <a:gd name="connsiteX120" fmla="*/ 484033 w 876298"/>
                  <a:gd name="connsiteY120" fmla="*/ 592885 h 834203"/>
                  <a:gd name="connsiteX121" fmla="*/ 459412 w 876298"/>
                  <a:gd name="connsiteY121" fmla="*/ 543128 h 834203"/>
                  <a:gd name="connsiteX122" fmla="*/ 450862 w 876298"/>
                  <a:gd name="connsiteY122" fmla="*/ 531729 h 834203"/>
                  <a:gd name="connsiteX123" fmla="*/ 431883 w 876298"/>
                  <a:gd name="connsiteY123" fmla="*/ 521299 h 834203"/>
                  <a:gd name="connsiteX124" fmla="*/ 368391 w 876298"/>
                  <a:gd name="connsiteY124" fmla="*/ 508989 h 834203"/>
                  <a:gd name="connsiteX125" fmla="*/ 301308 w 876298"/>
                  <a:gd name="connsiteY125" fmla="*/ 529906 h 834203"/>
                  <a:gd name="connsiteX126" fmla="*/ 260728 w 876298"/>
                  <a:gd name="connsiteY126" fmla="*/ 519704 h 834203"/>
                  <a:gd name="connsiteX127" fmla="*/ 237531 w 876298"/>
                  <a:gd name="connsiteY127" fmla="*/ 522895 h 834203"/>
                  <a:gd name="connsiteX128" fmla="*/ 188573 w 876298"/>
                  <a:gd name="connsiteY128" fmla="*/ 547745 h 834203"/>
                  <a:gd name="connsiteX129" fmla="*/ 60220 w 876298"/>
                  <a:gd name="connsiteY129" fmla="*/ 604170 h 834203"/>
                  <a:gd name="connsiteX130" fmla="*/ 522562 w 876298"/>
                  <a:gd name="connsiteY130" fmla="*/ 615568 h 834203"/>
                  <a:gd name="connsiteX131" fmla="*/ 509567 w 876298"/>
                  <a:gd name="connsiteY131" fmla="*/ 629076 h 834203"/>
                  <a:gd name="connsiteX132" fmla="*/ 510821 w 876298"/>
                  <a:gd name="connsiteY132" fmla="*/ 633408 h 834203"/>
                  <a:gd name="connsiteX133" fmla="*/ 523074 w 876298"/>
                  <a:gd name="connsiteY133" fmla="*/ 637512 h 834203"/>
                  <a:gd name="connsiteX134" fmla="*/ 533903 w 876298"/>
                  <a:gd name="connsiteY134" fmla="*/ 635574 h 834203"/>
                  <a:gd name="connsiteX135" fmla="*/ 538292 w 876298"/>
                  <a:gd name="connsiteY135" fmla="*/ 626341 h 834203"/>
                  <a:gd name="connsiteX136" fmla="*/ 536696 w 876298"/>
                  <a:gd name="connsiteY136" fmla="*/ 623776 h 834203"/>
                  <a:gd name="connsiteX137" fmla="*/ 522562 w 876298"/>
                  <a:gd name="connsiteY137" fmla="*/ 615683 h 834203"/>
                  <a:gd name="connsiteX138" fmla="*/ 714463 w 876298"/>
                  <a:gd name="connsiteY138" fmla="*/ 758055 h 834203"/>
                  <a:gd name="connsiteX139" fmla="*/ 704204 w 876298"/>
                  <a:gd name="connsiteY139" fmla="*/ 756972 h 834203"/>
                  <a:gd name="connsiteX140" fmla="*/ 693660 w 876298"/>
                  <a:gd name="connsiteY140" fmla="*/ 764211 h 834203"/>
                  <a:gd name="connsiteX141" fmla="*/ 700727 w 876298"/>
                  <a:gd name="connsiteY141" fmla="*/ 772190 h 834203"/>
                  <a:gd name="connsiteX142" fmla="*/ 719365 w 876298"/>
                  <a:gd name="connsiteY142" fmla="*/ 797211 h 834203"/>
                  <a:gd name="connsiteX143" fmla="*/ 728085 w 876298"/>
                  <a:gd name="connsiteY143" fmla="*/ 823485 h 834203"/>
                  <a:gd name="connsiteX144" fmla="*/ 732701 w 876298"/>
                  <a:gd name="connsiteY144" fmla="*/ 833802 h 834203"/>
                  <a:gd name="connsiteX145" fmla="*/ 738401 w 876298"/>
                  <a:gd name="connsiteY145" fmla="*/ 833802 h 834203"/>
                  <a:gd name="connsiteX146" fmla="*/ 761199 w 876298"/>
                  <a:gd name="connsiteY146" fmla="*/ 830610 h 834203"/>
                  <a:gd name="connsiteX147" fmla="*/ 762966 w 876298"/>
                  <a:gd name="connsiteY147" fmla="*/ 814309 h 834203"/>
                  <a:gd name="connsiteX148" fmla="*/ 763991 w 876298"/>
                  <a:gd name="connsiteY148" fmla="*/ 810491 h 834203"/>
                  <a:gd name="connsiteX149" fmla="*/ 767696 w 876298"/>
                  <a:gd name="connsiteY149" fmla="*/ 807584 h 834203"/>
                  <a:gd name="connsiteX150" fmla="*/ 774365 w 876298"/>
                  <a:gd name="connsiteY150" fmla="*/ 788092 h 834203"/>
                  <a:gd name="connsiteX151" fmla="*/ 771287 w 876298"/>
                  <a:gd name="connsiteY151" fmla="*/ 781195 h 834203"/>
                  <a:gd name="connsiteX152" fmla="*/ 769748 w 876298"/>
                  <a:gd name="connsiteY152" fmla="*/ 767345 h 834203"/>
                  <a:gd name="connsiteX153" fmla="*/ 763535 w 876298"/>
                  <a:gd name="connsiteY153" fmla="*/ 755434 h 834203"/>
                  <a:gd name="connsiteX154" fmla="*/ 745753 w 876298"/>
                  <a:gd name="connsiteY154" fmla="*/ 760791 h 834203"/>
                  <a:gd name="connsiteX155" fmla="*/ 728312 w 876298"/>
                  <a:gd name="connsiteY155" fmla="*/ 767916 h 834203"/>
                  <a:gd name="connsiteX156" fmla="*/ 714463 w 876298"/>
                  <a:gd name="connsiteY156" fmla="*/ 758169 h 834203"/>
                  <a:gd name="connsiteX157" fmla="*/ 378194 w 876298"/>
                  <a:gd name="connsiteY157" fmla="*/ 9487 h 834203"/>
                  <a:gd name="connsiteX158" fmla="*/ 372495 w 876298"/>
                  <a:gd name="connsiteY158" fmla="*/ 12108 h 834203"/>
                  <a:gd name="connsiteX159" fmla="*/ 370670 w 876298"/>
                  <a:gd name="connsiteY159" fmla="*/ 17808 h 834203"/>
                  <a:gd name="connsiteX160" fmla="*/ 386231 w 876298"/>
                  <a:gd name="connsiteY160" fmla="*/ 20544 h 834203"/>
                  <a:gd name="connsiteX161" fmla="*/ 397002 w 876298"/>
                  <a:gd name="connsiteY161" fmla="*/ 16212 h 834203"/>
                  <a:gd name="connsiteX162" fmla="*/ 394950 w 876298"/>
                  <a:gd name="connsiteY162" fmla="*/ 11254 h 834203"/>
                  <a:gd name="connsiteX163" fmla="*/ 385318 w 876298"/>
                  <a:gd name="connsiteY163" fmla="*/ 8062 h 834203"/>
                  <a:gd name="connsiteX164" fmla="*/ 378023 w 876298"/>
                  <a:gd name="connsiteY164" fmla="*/ 9601 h 83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876298" h="834203">
                    <a:moveTo>
                      <a:pt x="60220" y="604170"/>
                    </a:moveTo>
                    <a:cubicBezTo>
                      <a:pt x="60106" y="592873"/>
                      <a:pt x="52868" y="582877"/>
                      <a:pt x="42210" y="579206"/>
                    </a:cubicBezTo>
                    <a:cubicBezTo>
                      <a:pt x="39645" y="578351"/>
                      <a:pt x="36510" y="576983"/>
                      <a:pt x="36510" y="574304"/>
                    </a:cubicBezTo>
                    <a:cubicBezTo>
                      <a:pt x="36510" y="571626"/>
                      <a:pt x="39474" y="571455"/>
                      <a:pt x="41526" y="570771"/>
                    </a:cubicBezTo>
                    <a:cubicBezTo>
                      <a:pt x="49334" y="567482"/>
                      <a:pt x="54749" y="560215"/>
                      <a:pt x="55661" y="551791"/>
                    </a:cubicBezTo>
                    <a:cubicBezTo>
                      <a:pt x="56458" y="543504"/>
                      <a:pt x="55775" y="535143"/>
                      <a:pt x="53552" y="527113"/>
                    </a:cubicBezTo>
                    <a:cubicBezTo>
                      <a:pt x="56630" y="530020"/>
                      <a:pt x="62101" y="526486"/>
                      <a:pt x="62500" y="522325"/>
                    </a:cubicBezTo>
                    <a:cubicBezTo>
                      <a:pt x="62215" y="517999"/>
                      <a:pt x="60163" y="513987"/>
                      <a:pt x="56801" y="511268"/>
                    </a:cubicBezTo>
                    <a:cubicBezTo>
                      <a:pt x="53552" y="508550"/>
                      <a:pt x="51158" y="505004"/>
                      <a:pt x="49790" y="501009"/>
                    </a:cubicBezTo>
                    <a:cubicBezTo>
                      <a:pt x="48992" y="497191"/>
                      <a:pt x="50246" y="492688"/>
                      <a:pt x="47682" y="489610"/>
                    </a:cubicBezTo>
                    <a:cubicBezTo>
                      <a:pt x="45573" y="487906"/>
                      <a:pt x="43065" y="486715"/>
                      <a:pt x="40443" y="486134"/>
                    </a:cubicBezTo>
                    <a:cubicBezTo>
                      <a:pt x="30868" y="481916"/>
                      <a:pt x="30127" y="468636"/>
                      <a:pt x="32236" y="458377"/>
                    </a:cubicBezTo>
                    <a:cubicBezTo>
                      <a:pt x="34344" y="448118"/>
                      <a:pt x="37536" y="436491"/>
                      <a:pt x="31381" y="428056"/>
                    </a:cubicBezTo>
                    <a:cubicBezTo>
                      <a:pt x="29158" y="425446"/>
                      <a:pt x="26764" y="423006"/>
                      <a:pt x="24143" y="420761"/>
                    </a:cubicBezTo>
                    <a:cubicBezTo>
                      <a:pt x="17817" y="413385"/>
                      <a:pt x="13200" y="404705"/>
                      <a:pt x="10635" y="395341"/>
                    </a:cubicBezTo>
                    <a:cubicBezTo>
                      <a:pt x="8868" y="391374"/>
                      <a:pt x="8127" y="387020"/>
                      <a:pt x="8526" y="382688"/>
                    </a:cubicBezTo>
                    <a:cubicBezTo>
                      <a:pt x="9096" y="378220"/>
                      <a:pt x="12971" y="374925"/>
                      <a:pt x="17474" y="375108"/>
                    </a:cubicBezTo>
                    <a:cubicBezTo>
                      <a:pt x="19469" y="375450"/>
                      <a:pt x="21179" y="376704"/>
                      <a:pt x="23174" y="376875"/>
                    </a:cubicBezTo>
                    <a:cubicBezTo>
                      <a:pt x="26993" y="376744"/>
                      <a:pt x="30127" y="373791"/>
                      <a:pt x="30469" y="369978"/>
                    </a:cubicBezTo>
                    <a:cubicBezTo>
                      <a:pt x="31609" y="362512"/>
                      <a:pt x="25397" y="355901"/>
                      <a:pt x="19070" y="351740"/>
                    </a:cubicBezTo>
                    <a:cubicBezTo>
                      <a:pt x="12744" y="347579"/>
                      <a:pt x="5334" y="343989"/>
                      <a:pt x="1972" y="337263"/>
                    </a:cubicBezTo>
                    <a:cubicBezTo>
                      <a:pt x="-4811" y="324098"/>
                      <a:pt x="7216" y="309393"/>
                      <a:pt x="18158" y="299419"/>
                    </a:cubicBezTo>
                    <a:cubicBezTo>
                      <a:pt x="28930" y="289354"/>
                      <a:pt x="40158" y="279841"/>
                      <a:pt x="51899" y="270922"/>
                    </a:cubicBezTo>
                    <a:cubicBezTo>
                      <a:pt x="68029" y="259711"/>
                      <a:pt x="84899" y="249617"/>
                      <a:pt x="102397" y="240714"/>
                    </a:cubicBezTo>
                    <a:lnTo>
                      <a:pt x="116759" y="233020"/>
                    </a:lnTo>
                    <a:cubicBezTo>
                      <a:pt x="127303" y="226688"/>
                      <a:pt x="138702" y="221855"/>
                      <a:pt x="150614" y="218657"/>
                    </a:cubicBezTo>
                    <a:cubicBezTo>
                      <a:pt x="156940" y="217233"/>
                      <a:pt x="164635" y="215808"/>
                      <a:pt x="166801" y="209709"/>
                    </a:cubicBezTo>
                    <a:cubicBezTo>
                      <a:pt x="167541" y="207600"/>
                      <a:pt x="167428" y="205206"/>
                      <a:pt x="168169" y="203041"/>
                    </a:cubicBezTo>
                    <a:cubicBezTo>
                      <a:pt x="170106" y="199410"/>
                      <a:pt x="173070" y="196475"/>
                      <a:pt x="176775" y="194663"/>
                    </a:cubicBezTo>
                    <a:cubicBezTo>
                      <a:pt x="187546" y="187533"/>
                      <a:pt x="196495" y="177969"/>
                      <a:pt x="202878" y="166735"/>
                    </a:cubicBezTo>
                    <a:cubicBezTo>
                      <a:pt x="200712" y="161116"/>
                      <a:pt x="199573" y="155148"/>
                      <a:pt x="199573" y="149124"/>
                    </a:cubicBezTo>
                    <a:cubicBezTo>
                      <a:pt x="199629" y="142997"/>
                      <a:pt x="203049" y="137400"/>
                      <a:pt x="208521" y="134590"/>
                    </a:cubicBezTo>
                    <a:cubicBezTo>
                      <a:pt x="213707" y="132373"/>
                      <a:pt x="219691" y="134778"/>
                      <a:pt x="221914" y="139959"/>
                    </a:cubicBezTo>
                    <a:cubicBezTo>
                      <a:pt x="222143" y="140455"/>
                      <a:pt x="222314" y="140962"/>
                      <a:pt x="222427" y="141486"/>
                    </a:cubicBezTo>
                    <a:cubicBezTo>
                      <a:pt x="222427" y="143082"/>
                      <a:pt x="222427" y="144678"/>
                      <a:pt x="222427" y="146217"/>
                    </a:cubicBezTo>
                    <a:cubicBezTo>
                      <a:pt x="223739" y="150127"/>
                      <a:pt x="227956" y="152230"/>
                      <a:pt x="231888" y="150919"/>
                    </a:cubicBezTo>
                    <a:cubicBezTo>
                      <a:pt x="233940" y="150235"/>
                      <a:pt x="235536" y="148713"/>
                      <a:pt x="236391" y="146730"/>
                    </a:cubicBezTo>
                    <a:cubicBezTo>
                      <a:pt x="237531" y="141999"/>
                      <a:pt x="233826" y="137668"/>
                      <a:pt x="231147" y="133621"/>
                    </a:cubicBezTo>
                    <a:cubicBezTo>
                      <a:pt x="228469" y="129575"/>
                      <a:pt x="227272" y="123077"/>
                      <a:pt x="231547" y="120741"/>
                    </a:cubicBezTo>
                    <a:cubicBezTo>
                      <a:pt x="233599" y="124177"/>
                      <a:pt x="236334" y="127101"/>
                      <a:pt x="239697" y="129290"/>
                    </a:cubicBezTo>
                    <a:cubicBezTo>
                      <a:pt x="243230" y="131416"/>
                      <a:pt x="247733" y="130851"/>
                      <a:pt x="250583" y="127922"/>
                    </a:cubicBezTo>
                    <a:cubicBezTo>
                      <a:pt x="256568" y="120342"/>
                      <a:pt x="241862" y="108487"/>
                      <a:pt x="247505" y="100621"/>
                    </a:cubicBezTo>
                    <a:cubicBezTo>
                      <a:pt x="255883" y="100576"/>
                      <a:pt x="262666" y="93731"/>
                      <a:pt x="262666" y="85324"/>
                    </a:cubicBezTo>
                    <a:cubicBezTo>
                      <a:pt x="262609" y="84218"/>
                      <a:pt x="262495" y="83118"/>
                      <a:pt x="262267" y="82041"/>
                    </a:cubicBezTo>
                    <a:cubicBezTo>
                      <a:pt x="269790" y="84110"/>
                      <a:pt x="277827" y="82503"/>
                      <a:pt x="283982" y="77709"/>
                    </a:cubicBezTo>
                    <a:cubicBezTo>
                      <a:pt x="292759" y="70699"/>
                      <a:pt x="306210" y="63461"/>
                      <a:pt x="315101" y="70243"/>
                    </a:cubicBezTo>
                    <a:cubicBezTo>
                      <a:pt x="315671" y="77732"/>
                      <a:pt x="322054" y="83420"/>
                      <a:pt x="329577" y="83124"/>
                    </a:cubicBezTo>
                    <a:cubicBezTo>
                      <a:pt x="329179" y="88949"/>
                      <a:pt x="331059" y="94699"/>
                      <a:pt x="334764" y="99196"/>
                    </a:cubicBezTo>
                    <a:cubicBezTo>
                      <a:pt x="339380" y="100148"/>
                      <a:pt x="343826" y="97202"/>
                      <a:pt x="344795" y="92608"/>
                    </a:cubicBezTo>
                    <a:cubicBezTo>
                      <a:pt x="344909" y="92226"/>
                      <a:pt x="344966" y="91838"/>
                      <a:pt x="344966" y="91445"/>
                    </a:cubicBezTo>
                    <a:lnTo>
                      <a:pt x="368391" y="98854"/>
                    </a:lnTo>
                    <a:cubicBezTo>
                      <a:pt x="358473" y="91559"/>
                      <a:pt x="362692" y="76057"/>
                      <a:pt x="367764" y="64658"/>
                    </a:cubicBezTo>
                    <a:cubicBezTo>
                      <a:pt x="371925" y="53857"/>
                      <a:pt x="378080" y="43928"/>
                      <a:pt x="385888" y="35362"/>
                    </a:cubicBezTo>
                    <a:cubicBezTo>
                      <a:pt x="396205" y="25542"/>
                      <a:pt x="410453" y="20954"/>
                      <a:pt x="424588" y="22880"/>
                    </a:cubicBezTo>
                    <a:cubicBezTo>
                      <a:pt x="426526" y="15089"/>
                      <a:pt x="424417" y="6842"/>
                      <a:pt x="418888" y="995"/>
                    </a:cubicBezTo>
                    <a:cubicBezTo>
                      <a:pt x="428634" y="-3223"/>
                      <a:pt x="439862" y="6694"/>
                      <a:pt x="440774" y="17181"/>
                    </a:cubicBezTo>
                    <a:cubicBezTo>
                      <a:pt x="456961" y="12889"/>
                      <a:pt x="474002" y="19877"/>
                      <a:pt x="482494" y="34279"/>
                    </a:cubicBezTo>
                    <a:lnTo>
                      <a:pt x="501189" y="24020"/>
                    </a:lnTo>
                    <a:cubicBezTo>
                      <a:pt x="500733" y="27542"/>
                      <a:pt x="501758" y="31088"/>
                      <a:pt x="503924" y="33880"/>
                    </a:cubicBezTo>
                    <a:cubicBezTo>
                      <a:pt x="506432" y="28335"/>
                      <a:pt x="511961" y="24773"/>
                      <a:pt x="518059" y="24761"/>
                    </a:cubicBezTo>
                    <a:lnTo>
                      <a:pt x="518914" y="44026"/>
                    </a:lnTo>
                    <a:cubicBezTo>
                      <a:pt x="513784" y="46163"/>
                      <a:pt x="508427" y="47582"/>
                      <a:pt x="502899" y="48243"/>
                    </a:cubicBezTo>
                    <a:cubicBezTo>
                      <a:pt x="497541" y="49668"/>
                      <a:pt x="492012" y="54342"/>
                      <a:pt x="493266" y="59642"/>
                    </a:cubicBezTo>
                    <a:cubicBezTo>
                      <a:pt x="494805" y="66424"/>
                      <a:pt x="505805" y="72295"/>
                      <a:pt x="500847" y="77139"/>
                    </a:cubicBezTo>
                    <a:cubicBezTo>
                      <a:pt x="494919" y="75093"/>
                      <a:pt x="488422" y="78262"/>
                      <a:pt x="486370" y="84212"/>
                    </a:cubicBezTo>
                    <a:cubicBezTo>
                      <a:pt x="486085" y="85045"/>
                      <a:pt x="485914" y="85899"/>
                      <a:pt x="485800" y="86772"/>
                    </a:cubicBezTo>
                    <a:lnTo>
                      <a:pt x="496800" y="90533"/>
                    </a:lnTo>
                    <a:cubicBezTo>
                      <a:pt x="493096" y="100051"/>
                      <a:pt x="505748" y="107290"/>
                      <a:pt x="515722" y="109512"/>
                    </a:cubicBezTo>
                    <a:cubicBezTo>
                      <a:pt x="525697" y="111735"/>
                      <a:pt x="538520" y="117891"/>
                      <a:pt x="536012" y="127808"/>
                    </a:cubicBezTo>
                    <a:cubicBezTo>
                      <a:pt x="551173" y="132926"/>
                      <a:pt x="565194" y="141031"/>
                      <a:pt x="577219" y="151632"/>
                    </a:cubicBezTo>
                    <a:lnTo>
                      <a:pt x="577619" y="160409"/>
                    </a:lnTo>
                    <a:lnTo>
                      <a:pt x="602582" y="162062"/>
                    </a:lnTo>
                    <a:cubicBezTo>
                      <a:pt x="597908" y="156362"/>
                      <a:pt x="606743" y="149637"/>
                      <a:pt x="610789" y="143424"/>
                    </a:cubicBezTo>
                    <a:cubicBezTo>
                      <a:pt x="612614" y="140033"/>
                      <a:pt x="613810" y="136317"/>
                      <a:pt x="614266" y="132481"/>
                    </a:cubicBezTo>
                    <a:cubicBezTo>
                      <a:pt x="619281" y="105010"/>
                      <a:pt x="624297" y="77521"/>
                      <a:pt x="629370" y="50010"/>
                    </a:cubicBezTo>
                    <a:cubicBezTo>
                      <a:pt x="631251" y="43433"/>
                      <a:pt x="631137" y="36428"/>
                      <a:pt x="628914" y="29948"/>
                    </a:cubicBezTo>
                    <a:cubicBezTo>
                      <a:pt x="644702" y="35248"/>
                      <a:pt x="663452" y="44425"/>
                      <a:pt x="663566" y="61010"/>
                    </a:cubicBezTo>
                    <a:cubicBezTo>
                      <a:pt x="663566" y="66310"/>
                      <a:pt x="661629" y="71782"/>
                      <a:pt x="663566" y="76626"/>
                    </a:cubicBezTo>
                    <a:cubicBezTo>
                      <a:pt x="668753" y="88823"/>
                      <a:pt x="689784" y="81300"/>
                      <a:pt x="698847" y="90932"/>
                    </a:cubicBezTo>
                    <a:cubicBezTo>
                      <a:pt x="707909" y="100564"/>
                      <a:pt x="698847" y="114927"/>
                      <a:pt x="704147" y="125870"/>
                    </a:cubicBezTo>
                    <a:cubicBezTo>
                      <a:pt x="707282" y="132652"/>
                      <a:pt x="714976" y="136699"/>
                      <a:pt x="717199" y="143766"/>
                    </a:cubicBezTo>
                    <a:cubicBezTo>
                      <a:pt x="718111" y="147847"/>
                      <a:pt x="718225" y="152059"/>
                      <a:pt x="717597" y="156191"/>
                    </a:cubicBezTo>
                    <a:cubicBezTo>
                      <a:pt x="716971" y="168696"/>
                      <a:pt x="720675" y="181029"/>
                      <a:pt x="727971" y="191186"/>
                    </a:cubicBezTo>
                    <a:cubicBezTo>
                      <a:pt x="729510" y="193403"/>
                      <a:pt x="731447" y="195329"/>
                      <a:pt x="733670" y="196885"/>
                    </a:cubicBezTo>
                    <a:cubicBezTo>
                      <a:pt x="737033" y="198823"/>
                      <a:pt x="740623" y="200259"/>
                      <a:pt x="744385" y="201160"/>
                    </a:cubicBezTo>
                    <a:cubicBezTo>
                      <a:pt x="770260" y="209823"/>
                      <a:pt x="786505" y="236383"/>
                      <a:pt x="792033" y="263113"/>
                    </a:cubicBezTo>
                    <a:cubicBezTo>
                      <a:pt x="793686" y="271036"/>
                      <a:pt x="797732" y="281522"/>
                      <a:pt x="805541" y="280212"/>
                    </a:cubicBezTo>
                    <a:cubicBezTo>
                      <a:pt x="807364" y="280212"/>
                      <a:pt x="809074" y="279015"/>
                      <a:pt x="810898" y="278616"/>
                    </a:cubicBezTo>
                    <a:cubicBezTo>
                      <a:pt x="817566" y="278086"/>
                      <a:pt x="823494" y="282622"/>
                      <a:pt x="824805" y="289160"/>
                    </a:cubicBezTo>
                    <a:cubicBezTo>
                      <a:pt x="825774" y="295555"/>
                      <a:pt x="825090" y="302086"/>
                      <a:pt x="822810" y="308139"/>
                    </a:cubicBezTo>
                    <a:lnTo>
                      <a:pt x="839909" y="315377"/>
                    </a:lnTo>
                    <a:cubicBezTo>
                      <a:pt x="837116" y="321989"/>
                      <a:pt x="844183" y="328201"/>
                      <a:pt x="849597" y="332875"/>
                    </a:cubicBezTo>
                    <a:cubicBezTo>
                      <a:pt x="857918" y="340301"/>
                      <a:pt x="864416" y="349569"/>
                      <a:pt x="868520" y="359947"/>
                    </a:cubicBezTo>
                    <a:cubicBezTo>
                      <a:pt x="879577" y="386792"/>
                      <a:pt x="876556" y="416942"/>
                      <a:pt x="873307" y="446009"/>
                    </a:cubicBezTo>
                    <a:cubicBezTo>
                      <a:pt x="869888" y="476672"/>
                      <a:pt x="866468" y="507336"/>
                      <a:pt x="863105" y="537999"/>
                    </a:cubicBezTo>
                    <a:cubicBezTo>
                      <a:pt x="854841" y="537868"/>
                      <a:pt x="847432" y="543100"/>
                      <a:pt x="844810" y="550937"/>
                    </a:cubicBezTo>
                    <a:cubicBezTo>
                      <a:pt x="842530" y="558403"/>
                      <a:pt x="834722" y="563589"/>
                      <a:pt x="831644" y="570771"/>
                    </a:cubicBezTo>
                    <a:lnTo>
                      <a:pt x="823779" y="589123"/>
                    </a:lnTo>
                    <a:cubicBezTo>
                      <a:pt x="819334" y="599439"/>
                      <a:pt x="814888" y="609755"/>
                      <a:pt x="811468" y="620470"/>
                    </a:cubicBezTo>
                    <a:cubicBezTo>
                      <a:pt x="805826" y="637876"/>
                      <a:pt x="802919" y="656041"/>
                      <a:pt x="802748" y="674330"/>
                    </a:cubicBezTo>
                    <a:cubicBezTo>
                      <a:pt x="783598" y="673749"/>
                      <a:pt x="765017" y="680759"/>
                      <a:pt x="751053" y="693822"/>
                    </a:cubicBezTo>
                    <a:cubicBezTo>
                      <a:pt x="744898" y="699522"/>
                      <a:pt x="738800" y="707045"/>
                      <a:pt x="730364" y="707558"/>
                    </a:cubicBezTo>
                    <a:cubicBezTo>
                      <a:pt x="716515" y="708356"/>
                      <a:pt x="709390" y="691201"/>
                      <a:pt x="697763" y="683620"/>
                    </a:cubicBezTo>
                    <a:cubicBezTo>
                      <a:pt x="690354" y="682025"/>
                      <a:pt x="684712" y="689833"/>
                      <a:pt x="680665" y="696330"/>
                    </a:cubicBezTo>
                    <a:cubicBezTo>
                      <a:pt x="676619" y="702827"/>
                      <a:pt x="669608" y="710009"/>
                      <a:pt x="662883" y="706589"/>
                    </a:cubicBezTo>
                    <a:cubicBezTo>
                      <a:pt x="656158" y="703169"/>
                      <a:pt x="657183" y="694620"/>
                      <a:pt x="653194" y="689035"/>
                    </a:cubicBezTo>
                    <a:cubicBezTo>
                      <a:pt x="647494" y="680371"/>
                      <a:pt x="632846" y="681284"/>
                      <a:pt x="626919" y="672563"/>
                    </a:cubicBezTo>
                    <a:cubicBezTo>
                      <a:pt x="625551" y="669685"/>
                      <a:pt x="623898" y="666966"/>
                      <a:pt x="621904" y="664470"/>
                    </a:cubicBezTo>
                    <a:cubicBezTo>
                      <a:pt x="616204" y="659227"/>
                      <a:pt x="604805" y="664470"/>
                      <a:pt x="599733" y="658771"/>
                    </a:cubicBezTo>
                    <a:cubicBezTo>
                      <a:pt x="597167" y="655978"/>
                      <a:pt x="596712" y="651190"/>
                      <a:pt x="593235" y="649595"/>
                    </a:cubicBezTo>
                    <a:cubicBezTo>
                      <a:pt x="590671" y="648397"/>
                      <a:pt x="587536" y="649595"/>
                      <a:pt x="584800" y="649196"/>
                    </a:cubicBezTo>
                    <a:cubicBezTo>
                      <a:pt x="574028" y="647486"/>
                      <a:pt x="579613" y="629076"/>
                      <a:pt x="572204" y="621040"/>
                    </a:cubicBezTo>
                    <a:cubicBezTo>
                      <a:pt x="569069" y="618572"/>
                      <a:pt x="565536" y="616646"/>
                      <a:pt x="561774" y="615341"/>
                    </a:cubicBezTo>
                    <a:cubicBezTo>
                      <a:pt x="550147" y="608957"/>
                      <a:pt x="545188" y="594800"/>
                      <a:pt x="550375" y="582569"/>
                    </a:cubicBezTo>
                    <a:lnTo>
                      <a:pt x="525297" y="607418"/>
                    </a:lnTo>
                    <a:cubicBezTo>
                      <a:pt x="518173" y="600522"/>
                      <a:pt x="522505" y="588382"/>
                      <a:pt x="528774" y="580745"/>
                    </a:cubicBezTo>
                    <a:cubicBezTo>
                      <a:pt x="535044" y="573108"/>
                      <a:pt x="543479" y="565926"/>
                      <a:pt x="544049" y="556066"/>
                    </a:cubicBezTo>
                    <a:cubicBezTo>
                      <a:pt x="544277" y="553718"/>
                      <a:pt x="543593" y="551370"/>
                      <a:pt x="542168" y="549512"/>
                    </a:cubicBezTo>
                    <a:cubicBezTo>
                      <a:pt x="538178" y="545009"/>
                      <a:pt x="530769" y="548657"/>
                      <a:pt x="526722" y="553160"/>
                    </a:cubicBezTo>
                    <a:cubicBezTo>
                      <a:pt x="519940" y="560797"/>
                      <a:pt x="515722" y="570258"/>
                      <a:pt x="509624" y="578522"/>
                    </a:cubicBezTo>
                    <a:cubicBezTo>
                      <a:pt x="503526" y="586786"/>
                      <a:pt x="494235" y="593797"/>
                      <a:pt x="484033" y="592885"/>
                    </a:cubicBezTo>
                    <a:cubicBezTo>
                      <a:pt x="477308" y="575621"/>
                      <a:pt x="469043" y="558973"/>
                      <a:pt x="459412" y="543128"/>
                    </a:cubicBezTo>
                    <a:cubicBezTo>
                      <a:pt x="457075" y="538956"/>
                      <a:pt x="454225" y="535126"/>
                      <a:pt x="450862" y="531729"/>
                    </a:cubicBezTo>
                    <a:cubicBezTo>
                      <a:pt x="445220" y="527096"/>
                      <a:pt x="438780" y="523556"/>
                      <a:pt x="431883" y="521299"/>
                    </a:cubicBezTo>
                    <a:cubicBezTo>
                      <a:pt x="411593" y="513206"/>
                      <a:pt x="389878" y="504999"/>
                      <a:pt x="368391" y="508989"/>
                    </a:cubicBezTo>
                    <a:cubicBezTo>
                      <a:pt x="345137" y="513320"/>
                      <a:pt x="324847" y="531787"/>
                      <a:pt x="301308" y="529906"/>
                    </a:cubicBezTo>
                    <a:cubicBezTo>
                      <a:pt x="287344" y="528880"/>
                      <a:pt x="274634" y="520957"/>
                      <a:pt x="260728" y="519704"/>
                    </a:cubicBezTo>
                    <a:cubicBezTo>
                      <a:pt x="252863" y="519276"/>
                      <a:pt x="244997" y="520359"/>
                      <a:pt x="237531" y="522895"/>
                    </a:cubicBezTo>
                    <a:cubicBezTo>
                      <a:pt x="220318" y="529313"/>
                      <a:pt x="203904" y="537645"/>
                      <a:pt x="188573" y="547745"/>
                    </a:cubicBezTo>
                    <a:cubicBezTo>
                      <a:pt x="147935" y="571090"/>
                      <a:pt x="104904" y="590006"/>
                      <a:pt x="60220" y="604170"/>
                    </a:cubicBezTo>
                    <a:close/>
                    <a:moveTo>
                      <a:pt x="522562" y="615568"/>
                    </a:moveTo>
                    <a:cubicBezTo>
                      <a:pt x="515266" y="615785"/>
                      <a:pt x="509510" y="621787"/>
                      <a:pt x="509567" y="629076"/>
                    </a:cubicBezTo>
                    <a:cubicBezTo>
                      <a:pt x="509624" y="630604"/>
                      <a:pt x="510023" y="632097"/>
                      <a:pt x="510821" y="633408"/>
                    </a:cubicBezTo>
                    <a:cubicBezTo>
                      <a:pt x="513271" y="637227"/>
                      <a:pt x="518572" y="637569"/>
                      <a:pt x="523074" y="637512"/>
                    </a:cubicBezTo>
                    <a:cubicBezTo>
                      <a:pt x="526779" y="637688"/>
                      <a:pt x="530484" y="637027"/>
                      <a:pt x="533903" y="635574"/>
                    </a:cubicBezTo>
                    <a:cubicBezTo>
                      <a:pt x="537380" y="633909"/>
                      <a:pt x="539204" y="630068"/>
                      <a:pt x="538292" y="626341"/>
                    </a:cubicBezTo>
                    <a:cubicBezTo>
                      <a:pt x="537894" y="625417"/>
                      <a:pt x="537323" y="624551"/>
                      <a:pt x="536696" y="623776"/>
                    </a:cubicBezTo>
                    <a:cubicBezTo>
                      <a:pt x="533448" y="619091"/>
                      <a:pt x="528261" y="616122"/>
                      <a:pt x="522562" y="615683"/>
                    </a:cubicBezTo>
                    <a:close/>
                    <a:moveTo>
                      <a:pt x="714463" y="758055"/>
                    </a:moveTo>
                    <a:cubicBezTo>
                      <a:pt x="711157" y="756864"/>
                      <a:pt x="707680" y="756494"/>
                      <a:pt x="704204" y="756972"/>
                    </a:cubicBezTo>
                    <a:cubicBezTo>
                      <a:pt x="699531" y="757371"/>
                      <a:pt x="693546" y="759480"/>
                      <a:pt x="693660" y="764211"/>
                    </a:cubicBezTo>
                    <a:cubicBezTo>
                      <a:pt x="693660" y="767916"/>
                      <a:pt x="697592" y="769910"/>
                      <a:pt x="700727" y="772190"/>
                    </a:cubicBezTo>
                    <a:cubicBezTo>
                      <a:pt x="709105" y="778693"/>
                      <a:pt x="715546" y="787339"/>
                      <a:pt x="719365" y="797211"/>
                    </a:cubicBezTo>
                    <a:cubicBezTo>
                      <a:pt x="723696" y="805435"/>
                      <a:pt x="726603" y="814309"/>
                      <a:pt x="728085" y="823485"/>
                    </a:cubicBezTo>
                    <a:cubicBezTo>
                      <a:pt x="728541" y="827418"/>
                      <a:pt x="729053" y="832205"/>
                      <a:pt x="732701" y="833802"/>
                    </a:cubicBezTo>
                    <a:cubicBezTo>
                      <a:pt x="734582" y="834337"/>
                      <a:pt x="736520" y="834337"/>
                      <a:pt x="738401" y="833802"/>
                    </a:cubicBezTo>
                    <a:lnTo>
                      <a:pt x="761199" y="830610"/>
                    </a:lnTo>
                    <a:cubicBezTo>
                      <a:pt x="761768" y="825195"/>
                      <a:pt x="762396" y="819724"/>
                      <a:pt x="762966" y="814309"/>
                    </a:cubicBezTo>
                    <a:cubicBezTo>
                      <a:pt x="763023" y="812976"/>
                      <a:pt x="763364" y="811670"/>
                      <a:pt x="763991" y="810491"/>
                    </a:cubicBezTo>
                    <a:cubicBezTo>
                      <a:pt x="765017" y="809276"/>
                      <a:pt x="766271" y="808285"/>
                      <a:pt x="767696" y="807584"/>
                    </a:cubicBezTo>
                    <a:cubicBezTo>
                      <a:pt x="774022" y="803304"/>
                      <a:pt x="776758" y="795347"/>
                      <a:pt x="774365" y="788092"/>
                    </a:cubicBezTo>
                    <a:cubicBezTo>
                      <a:pt x="773510" y="785755"/>
                      <a:pt x="772142" y="783589"/>
                      <a:pt x="771287" y="781195"/>
                    </a:cubicBezTo>
                    <a:cubicBezTo>
                      <a:pt x="770204" y="776653"/>
                      <a:pt x="769691" y="772008"/>
                      <a:pt x="769748" y="767345"/>
                    </a:cubicBezTo>
                    <a:cubicBezTo>
                      <a:pt x="769748" y="762592"/>
                      <a:pt x="767468" y="758141"/>
                      <a:pt x="763535" y="755434"/>
                    </a:cubicBezTo>
                    <a:cubicBezTo>
                      <a:pt x="757836" y="752356"/>
                      <a:pt x="750826" y="756574"/>
                      <a:pt x="745753" y="760791"/>
                    </a:cubicBezTo>
                    <a:cubicBezTo>
                      <a:pt x="740681" y="765009"/>
                      <a:pt x="734354" y="769796"/>
                      <a:pt x="728312" y="767916"/>
                    </a:cubicBezTo>
                    <a:cubicBezTo>
                      <a:pt x="722271" y="766035"/>
                      <a:pt x="719650" y="760563"/>
                      <a:pt x="714463" y="758169"/>
                    </a:cubicBezTo>
                    <a:close/>
                    <a:moveTo>
                      <a:pt x="378194" y="9487"/>
                    </a:moveTo>
                    <a:cubicBezTo>
                      <a:pt x="376142" y="9965"/>
                      <a:pt x="374204" y="10860"/>
                      <a:pt x="372495" y="12108"/>
                    </a:cubicBezTo>
                    <a:cubicBezTo>
                      <a:pt x="370728" y="13431"/>
                      <a:pt x="369987" y="15716"/>
                      <a:pt x="370670" y="17808"/>
                    </a:cubicBezTo>
                    <a:cubicBezTo>
                      <a:pt x="375686" y="19461"/>
                      <a:pt x="380930" y="20378"/>
                      <a:pt x="386231" y="20544"/>
                    </a:cubicBezTo>
                    <a:cubicBezTo>
                      <a:pt x="390334" y="21176"/>
                      <a:pt x="394495" y="19512"/>
                      <a:pt x="397002" y="16212"/>
                    </a:cubicBezTo>
                    <a:cubicBezTo>
                      <a:pt x="398085" y="14559"/>
                      <a:pt x="396546" y="12394"/>
                      <a:pt x="394950" y="11254"/>
                    </a:cubicBezTo>
                    <a:cubicBezTo>
                      <a:pt x="392158" y="9150"/>
                      <a:pt x="388795" y="8028"/>
                      <a:pt x="385318" y="8062"/>
                    </a:cubicBezTo>
                    <a:cubicBezTo>
                      <a:pt x="382810" y="8216"/>
                      <a:pt x="380360" y="8734"/>
                      <a:pt x="378023" y="960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6" name="Freihandform: Form 282">
                <a:extLst>
                  <a:ext uri="{FF2B5EF4-FFF2-40B4-BE49-F238E27FC236}">
                    <a16:creationId xmlns:a16="http://schemas.microsoft.com/office/drawing/2014/main" id="{8A8EFE61-107F-4599-550B-E1FC2E50F5A2}"/>
                  </a:ext>
                </a:extLst>
              </p:cNvPr>
              <p:cNvSpPr/>
              <p:nvPr/>
            </p:nvSpPr>
            <p:spPr>
              <a:xfrm>
                <a:off x="5504354" y="4036183"/>
                <a:ext cx="43956" cy="82630"/>
              </a:xfrm>
              <a:custGeom>
                <a:avLst/>
                <a:gdLst>
                  <a:gd name="connsiteX0" fmla="*/ 372 w 43956"/>
                  <a:gd name="connsiteY0" fmla="*/ 56639 h 82630"/>
                  <a:gd name="connsiteX1" fmla="*/ 372 w 43956"/>
                  <a:gd name="connsiteY1" fmla="*/ 17369 h 82630"/>
                  <a:gd name="connsiteX2" fmla="*/ 8579 w 43956"/>
                  <a:gd name="connsiteY2" fmla="*/ 16629 h 82630"/>
                  <a:gd name="connsiteX3" fmla="*/ 8579 w 43956"/>
                  <a:gd name="connsiteY3" fmla="*/ 5230 h 82630"/>
                  <a:gd name="connsiteX4" fmla="*/ 9035 w 43956"/>
                  <a:gd name="connsiteY4" fmla="*/ 1639 h 82630"/>
                  <a:gd name="connsiteX5" fmla="*/ 16843 w 43956"/>
                  <a:gd name="connsiteY5" fmla="*/ 1012 h 82630"/>
                  <a:gd name="connsiteX6" fmla="*/ 22030 w 43956"/>
                  <a:gd name="connsiteY6" fmla="*/ 5401 h 82630"/>
                  <a:gd name="connsiteX7" fmla="*/ 22429 w 43956"/>
                  <a:gd name="connsiteY7" fmla="*/ 7737 h 82630"/>
                  <a:gd name="connsiteX8" fmla="*/ 26647 w 43956"/>
                  <a:gd name="connsiteY8" fmla="*/ 10872 h 82630"/>
                  <a:gd name="connsiteX9" fmla="*/ 28573 w 43956"/>
                  <a:gd name="connsiteY9" fmla="*/ 21502 h 82630"/>
                  <a:gd name="connsiteX10" fmla="*/ 28470 w 43956"/>
                  <a:gd name="connsiteY10" fmla="*/ 21644 h 82630"/>
                  <a:gd name="connsiteX11" fmla="*/ 35937 w 43956"/>
                  <a:gd name="connsiteY11" fmla="*/ 28313 h 82630"/>
                  <a:gd name="connsiteX12" fmla="*/ 36734 w 43956"/>
                  <a:gd name="connsiteY12" fmla="*/ 31333 h 82630"/>
                  <a:gd name="connsiteX13" fmla="*/ 41123 w 43956"/>
                  <a:gd name="connsiteY13" fmla="*/ 34981 h 82630"/>
                  <a:gd name="connsiteX14" fmla="*/ 43859 w 43956"/>
                  <a:gd name="connsiteY14" fmla="*/ 44214 h 82630"/>
                  <a:gd name="connsiteX15" fmla="*/ 35025 w 43956"/>
                  <a:gd name="connsiteY15" fmla="*/ 78411 h 82630"/>
                  <a:gd name="connsiteX16" fmla="*/ 30921 w 43956"/>
                  <a:gd name="connsiteY16" fmla="*/ 82458 h 82630"/>
                  <a:gd name="connsiteX17" fmla="*/ 24595 w 43956"/>
                  <a:gd name="connsiteY17" fmla="*/ 79779 h 82630"/>
                  <a:gd name="connsiteX18" fmla="*/ 24082 w 43956"/>
                  <a:gd name="connsiteY18" fmla="*/ 72540 h 82630"/>
                  <a:gd name="connsiteX19" fmla="*/ 16274 w 43956"/>
                  <a:gd name="connsiteY19" fmla="*/ 71173 h 82630"/>
                  <a:gd name="connsiteX20" fmla="*/ 12740 w 43956"/>
                  <a:gd name="connsiteY20" fmla="*/ 64618 h 82630"/>
                  <a:gd name="connsiteX21" fmla="*/ 1341 w 43956"/>
                  <a:gd name="connsiteY21" fmla="*/ 61597 h 82630"/>
                  <a:gd name="connsiteX22" fmla="*/ 372 w 43956"/>
                  <a:gd name="connsiteY22" fmla="*/ 56639 h 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956" h="82630">
                    <a:moveTo>
                      <a:pt x="372" y="56639"/>
                    </a:moveTo>
                    <a:cubicBezTo>
                      <a:pt x="-124" y="43530"/>
                      <a:pt x="-124" y="30438"/>
                      <a:pt x="372" y="17369"/>
                    </a:cubicBezTo>
                    <a:cubicBezTo>
                      <a:pt x="3130" y="17580"/>
                      <a:pt x="5900" y="17330"/>
                      <a:pt x="8579" y="16629"/>
                    </a:cubicBezTo>
                    <a:cubicBezTo>
                      <a:pt x="8870" y="12833"/>
                      <a:pt x="8870" y="9026"/>
                      <a:pt x="8579" y="5230"/>
                    </a:cubicBezTo>
                    <a:cubicBezTo>
                      <a:pt x="8380" y="4016"/>
                      <a:pt x="8539" y="2768"/>
                      <a:pt x="9035" y="1639"/>
                    </a:cubicBezTo>
                    <a:cubicBezTo>
                      <a:pt x="10517" y="-812"/>
                      <a:pt x="14165" y="-71"/>
                      <a:pt x="16843" y="1012"/>
                    </a:cubicBezTo>
                    <a:cubicBezTo>
                      <a:pt x="19522" y="2095"/>
                      <a:pt x="21517" y="3121"/>
                      <a:pt x="22030" y="5401"/>
                    </a:cubicBezTo>
                    <a:cubicBezTo>
                      <a:pt x="22104" y="6187"/>
                      <a:pt x="22235" y="6968"/>
                      <a:pt x="22429" y="7737"/>
                    </a:cubicBezTo>
                    <a:cubicBezTo>
                      <a:pt x="23056" y="9390"/>
                      <a:pt x="25108" y="9960"/>
                      <a:pt x="26647" y="10872"/>
                    </a:cubicBezTo>
                    <a:cubicBezTo>
                      <a:pt x="30112" y="13277"/>
                      <a:pt x="30978" y="18031"/>
                      <a:pt x="28573" y="21502"/>
                    </a:cubicBezTo>
                    <a:cubicBezTo>
                      <a:pt x="28539" y="21547"/>
                      <a:pt x="28505" y="21599"/>
                      <a:pt x="28470" y="21644"/>
                    </a:cubicBezTo>
                    <a:cubicBezTo>
                      <a:pt x="32061" y="22191"/>
                      <a:pt x="34985" y="24807"/>
                      <a:pt x="35937" y="28313"/>
                    </a:cubicBezTo>
                    <a:cubicBezTo>
                      <a:pt x="36079" y="29350"/>
                      <a:pt x="36347" y="30364"/>
                      <a:pt x="36734" y="31333"/>
                    </a:cubicBezTo>
                    <a:cubicBezTo>
                      <a:pt x="37704" y="32986"/>
                      <a:pt x="39698" y="33670"/>
                      <a:pt x="41123" y="34981"/>
                    </a:cubicBezTo>
                    <a:cubicBezTo>
                      <a:pt x="43295" y="37534"/>
                      <a:pt x="44286" y="40886"/>
                      <a:pt x="43859" y="44214"/>
                    </a:cubicBezTo>
                    <a:cubicBezTo>
                      <a:pt x="44013" y="56194"/>
                      <a:pt x="40958" y="68004"/>
                      <a:pt x="35025" y="78411"/>
                    </a:cubicBezTo>
                    <a:cubicBezTo>
                      <a:pt x="34181" y="80206"/>
                      <a:pt x="32728" y="81642"/>
                      <a:pt x="30921" y="82458"/>
                    </a:cubicBezTo>
                    <a:cubicBezTo>
                      <a:pt x="28453" y="83079"/>
                      <a:pt x="25866" y="81984"/>
                      <a:pt x="24595" y="79779"/>
                    </a:cubicBezTo>
                    <a:cubicBezTo>
                      <a:pt x="23455" y="77533"/>
                      <a:pt x="23272" y="74923"/>
                      <a:pt x="24082" y="72540"/>
                    </a:cubicBezTo>
                    <a:cubicBezTo>
                      <a:pt x="21409" y="72700"/>
                      <a:pt x="18736" y="72233"/>
                      <a:pt x="16274" y="71173"/>
                    </a:cubicBezTo>
                    <a:cubicBezTo>
                      <a:pt x="13760" y="70027"/>
                      <a:pt x="12312" y="67348"/>
                      <a:pt x="12740" y="64618"/>
                    </a:cubicBezTo>
                    <a:cubicBezTo>
                      <a:pt x="8579" y="65188"/>
                      <a:pt x="3336" y="65302"/>
                      <a:pt x="1341" y="61597"/>
                    </a:cubicBezTo>
                    <a:cubicBezTo>
                      <a:pt x="617" y="60047"/>
                      <a:pt x="287" y="58349"/>
                      <a:pt x="372" y="56639"/>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67" name="Freihandform: Form 283">
                <a:extLst>
                  <a:ext uri="{FF2B5EF4-FFF2-40B4-BE49-F238E27FC236}">
                    <a16:creationId xmlns:a16="http://schemas.microsoft.com/office/drawing/2014/main" id="{B2F285BE-C64A-A7A6-D006-F6D10BEDCE0F}"/>
                  </a:ext>
                </a:extLst>
              </p:cNvPr>
              <p:cNvSpPr/>
              <p:nvPr/>
            </p:nvSpPr>
            <p:spPr>
              <a:xfrm>
                <a:off x="4702024" y="4546522"/>
                <a:ext cx="151854" cy="328040"/>
              </a:xfrm>
              <a:custGeom>
                <a:avLst/>
                <a:gdLst>
                  <a:gd name="connsiteX0" fmla="*/ 94257 w 151854"/>
                  <a:gd name="connsiteY0" fmla="*/ 54864 h 328040"/>
                  <a:gd name="connsiteX1" fmla="*/ 95283 w 151854"/>
                  <a:gd name="connsiteY1" fmla="*/ 37766 h 328040"/>
                  <a:gd name="connsiteX2" fmla="*/ 98760 w 151854"/>
                  <a:gd name="connsiteY2" fmla="*/ 29274 h 328040"/>
                  <a:gd name="connsiteX3" fmla="*/ 108448 w 151854"/>
                  <a:gd name="connsiteY3" fmla="*/ 28589 h 328040"/>
                  <a:gd name="connsiteX4" fmla="*/ 115915 w 151854"/>
                  <a:gd name="connsiteY4" fmla="*/ 18958 h 328040"/>
                  <a:gd name="connsiteX5" fmla="*/ 118024 w 151854"/>
                  <a:gd name="connsiteY5" fmla="*/ 6248 h 328040"/>
                  <a:gd name="connsiteX6" fmla="*/ 127941 w 151854"/>
                  <a:gd name="connsiteY6" fmla="*/ 149 h 328040"/>
                  <a:gd name="connsiteX7" fmla="*/ 132842 w 151854"/>
                  <a:gd name="connsiteY7" fmla="*/ 4652 h 328040"/>
                  <a:gd name="connsiteX8" fmla="*/ 142759 w 151854"/>
                  <a:gd name="connsiteY8" fmla="*/ 41584 h 328040"/>
                  <a:gd name="connsiteX9" fmla="*/ 143728 w 151854"/>
                  <a:gd name="connsiteY9" fmla="*/ 55548 h 328040"/>
                  <a:gd name="connsiteX10" fmla="*/ 149713 w 151854"/>
                  <a:gd name="connsiteY10" fmla="*/ 63242 h 328040"/>
                  <a:gd name="connsiteX11" fmla="*/ 149713 w 151854"/>
                  <a:gd name="connsiteY11" fmla="*/ 83419 h 328040"/>
                  <a:gd name="connsiteX12" fmla="*/ 148288 w 151854"/>
                  <a:gd name="connsiteY12" fmla="*/ 86325 h 328040"/>
                  <a:gd name="connsiteX13" fmla="*/ 140821 w 151854"/>
                  <a:gd name="connsiteY13" fmla="*/ 84615 h 328040"/>
                  <a:gd name="connsiteX14" fmla="*/ 135122 w 151854"/>
                  <a:gd name="connsiteY14" fmla="*/ 78289 h 328040"/>
                  <a:gd name="connsiteX15" fmla="*/ 123723 w 151854"/>
                  <a:gd name="connsiteY15" fmla="*/ 85129 h 328040"/>
                  <a:gd name="connsiteX16" fmla="*/ 126573 w 151854"/>
                  <a:gd name="connsiteY16" fmla="*/ 99776 h 328040"/>
                  <a:gd name="connsiteX17" fmla="*/ 137630 w 151854"/>
                  <a:gd name="connsiteY17" fmla="*/ 108781 h 328040"/>
                  <a:gd name="connsiteX18" fmla="*/ 125148 w 151854"/>
                  <a:gd name="connsiteY18" fmla="*/ 112657 h 328040"/>
                  <a:gd name="connsiteX19" fmla="*/ 124008 w 151854"/>
                  <a:gd name="connsiteY19" fmla="*/ 151014 h 328040"/>
                  <a:gd name="connsiteX20" fmla="*/ 119448 w 151854"/>
                  <a:gd name="connsiteY20" fmla="*/ 168113 h 328040"/>
                  <a:gd name="connsiteX21" fmla="*/ 112552 w 151854"/>
                  <a:gd name="connsiteY21" fmla="*/ 179170 h 328040"/>
                  <a:gd name="connsiteX22" fmla="*/ 112552 w 151854"/>
                  <a:gd name="connsiteY22" fmla="*/ 184869 h 328040"/>
                  <a:gd name="connsiteX23" fmla="*/ 99728 w 151854"/>
                  <a:gd name="connsiteY23" fmla="*/ 201227 h 328040"/>
                  <a:gd name="connsiteX24" fmla="*/ 99102 w 151854"/>
                  <a:gd name="connsiteY24" fmla="*/ 208351 h 328040"/>
                  <a:gd name="connsiteX25" fmla="*/ 95112 w 151854"/>
                  <a:gd name="connsiteY25" fmla="*/ 215133 h 328040"/>
                  <a:gd name="connsiteX26" fmla="*/ 89982 w 151854"/>
                  <a:gd name="connsiteY26" fmla="*/ 260729 h 328040"/>
                  <a:gd name="connsiteX27" fmla="*/ 80008 w 151854"/>
                  <a:gd name="connsiteY27" fmla="*/ 276973 h 328040"/>
                  <a:gd name="connsiteX28" fmla="*/ 72542 w 151854"/>
                  <a:gd name="connsiteY28" fmla="*/ 286662 h 328040"/>
                  <a:gd name="connsiteX29" fmla="*/ 45184 w 151854"/>
                  <a:gd name="connsiteY29" fmla="*/ 325817 h 328040"/>
                  <a:gd name="connsiteX30" fmla="*/ 40625 w 151854"/>
                  <a:gd name="connsiteY30" fmla="*/ 328040 h 328040"/>
                  <a:gd name="connsiteX31" fmla="*/ 36578 w 151854"/>
                  <a:gd name="connsiteY31" fmla="*/ 326672 h 328040"/>
                  <a:gd name="connsiteX32" fmla="*/ 24438 w 151854"/>
                  <a:gd name="connsiteY32" fmla="*/ 325361 h 328040"/>
                  <a:gd name="connsiteX33" fmla="*/ 17656 w 151854"/>
                  <a:gd name="connsiteY33" fmla="*/ 317097 h 328040"/>
                  <a:gd name="connsiteX34" fmla="*/ 7340 w 151854"/>
                  <a:gd name="connsiteY34" fmla="*/ 314703 h 328040"/>
                  <a:gd name="connsiteX35" fmla="*/ 2495 w 151854"/>
                  <a:gd name="connsiteY35" fmla="*/ 306040 h 328040"/>
                  <a:gd name="connsiteX36" fmla="*/ 4946 w 151854"/>
                  <a:gd name="connsiteY36" fmla="*/ 300341 h 328040"/>
                  <a:gd name="connsiteX37" fmla="*/ 4946 w 151854"/>
                  <a:gd name="connsiteY37" fmla="*/ 292703 h 328040"/>
                  <a:gd name="connsiteX38" fmla="*/ 273 w 151854"/>
                  <a:gd name="connsiteY38" fmla="*/ 222999 h 328040"/>
                  <a:gd name="connsiteX39" fmla="*/ 1298 w 151854"/>
                  <a:gd name="connsiteY39" fmla="*/ 217584 h 328040"/>
                  <a:gd name="connsiteX40" fmla="*/ 10247 w 151854"/>
                  <a:gd name="connsiteY40" fmla="*/ 211372 h 328040"/>
                  <a:gd name="connsiteX41" fmla="*/ 13723 w 151854"/>
                  <a:gd name="connsiteY41" fmla="*/ 202423 h 328040"/>
                  <a:gd name="connsiteX42" fmla="*/ 22956 w 151854"/>
                  <a:gd name="connsiteY42" fmla="*/ 200258 h 328040"/>
                  <a:gd name="connsiteX43" fmla="*/ 24268 w 151854"/>
                  <a:gd name="connsiteY43" fmla="*/ 176206 h 328040"/>
                  <a:gd name="connsiteX44" fmla="*/ 12527 w 151854"/>
                  <a:gd name="connsiteY44" fmla="*/ 172957 h 328040"/>
                  <a:gd name="connsiteX45" fmla="*/ 7625 w 151854"/>
                  <a:gd name="connsiteY45" fmla="*/ 162527 h 328040"/>
                  <a:gd name="connsiteX46" fmla="*/ 9050 w 151854"/>
                  <a:gd name="connsiteY46" fmla="*/ 158139 h 328040"/>
                  <a:gd name="connsiteX47" fmla="*/ 2609 w 151854"/>
                  <a:gd name="connsiteY47" fmla="*/ 144745 h 328040"/>
                  <a:gd name="connsiteX48" fmla="*/ 7454 w 151854"/>
                  <a:gd name="connsiteY48" fmla="*/ 132434 h 328040"/>
                  <a:gd name="connsiteX49" fmla="*/ 9962 w 151854"/>
                  <a:gd name="connsiteY49" fmla="*/ 111346 h 328040"/>
                  <a:gd name="connsiteX50" fmla="*/ 19822 w 151854"/>
                  <a:gd name="connsiteY50" fmla="*/ 93791 h 328040"/>
                  <a:gd name="connsiteX51" fmla="*/ 32817 w 151854"/>
                  <a:gd name="connsiteY51" fmla="*/ 92823 h 328040"/>
                  <a:gd name="connsiteX52" fmla="*/ 56070 w 151854"/>
                  <a:gd name="connsiteY52" fmla="*/ 78061 h 328040"/>
                  <a:gd name="connsiteX53" fmla="*/ 66330 w 151854"/>
                  <a:gd name="connsiteY53" fmla="*/ 76294 h 328040"/>
                  <a:gd name="connsiteX54" fmla="*/ 80008 w 151854"/>
                  <a:gd name="connsiteY54" fmla="*/ 67175 h 328040"/>
                  <a:gd name="connsiteX55" fmla="*/ 92547 w 151854"/>
                  <a:gd name="connsiteY55" fmla="*/ 62046 h 328040"/>
                  <a:gd name="connsiteX56" fmla="*/ 94257 w 151854"/>
                  <a:gd name="connsiteY56" fmla="*/ 54864 h 32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1854" h="328040">
                    <a:moveTo>
                      <a:pt x="94257" y="54864"/>
                    </a:moveTo>
                    <a:lnTo>
                      <a:pt x="95283" y="37766"/>
                    </a:lnTo>
                    <a:cubicBezTo>
                      <a:pt x="95283" y="34574"/>
                      <a:pt x="96024" y="30869"/>
                      <a:pt x="98760" y="29274"/>
                    </a:cubicBezTo>
                    <a:cubicBezTo>
                      <a:pt x="101495" y="27678"/>
                      <a:pt x="105257" y="29274"/>
                      <a:pt x="108448" y="28589"/>
                    </a:cubicBezTo>
                    <a:cubicBezTo>
                      <a:pt x="112586" y="27091"/>
                      <a:pt x="115493" y="23341"/>
                      <a:pt x="115915" y="18958"/>
                    </a:cubicBezTo>
                    <a:cubicBezTo>
                      <a:pt x="116240" y="14666"/>
                      <a:pt x="116947" y="10414"/>
                      <a:pt x="118024" y="6248"/>
                    </a:cubicBezTo>
                    <a:cubicBezTo>
                      <a:pt x="119266" y="1967"/>
                      <a:pt x="123558" y="-671"/>
                      <a:pt x="127941" y="149"/>
                    </a:cubicBezTo>
                    <a:cubicBezTo>
                      <a:pt x="130021" y="1073"/>
                      <a:pt x="131742" y="2657"/>
                      <a:pt x="132842" y="4652"/>
                    </a:cubicBezTo>
                    <a:cubicBezTo>
                      <a:pt x="140183" y="15509"/>
                      <a:pt x="143671" y="28510"/>
                      <a:pt x="142759" y="41584"/>
                    </a:cubicBezTo>
                    <a:cubicBezTo>
                      <a:pt x="141808" y="46241"/>
                      <a:pt x="142144" y="51068"/>
                      <a:pt x="143728" y="55548"/>
                    </a:cubicBezTo>
                    <a:cubicBezTo>
                      <a:pt x="145592" y="58210"/>
                      <a:pt x="147587" y="60780"/>
                      <a:pt x="149713" y="63242"/>
                    </a:cubicBezTo>
                    <a:cubicBezTo>
                      <a:pt x="152568" y="69666"/>
                      <a:pt x="152568" y="76995"/>
                      <a:pt x="149713" y="83419"/>
                    </a:cubicBezTo>
                    <a:cubicBezTo>
                      <a:pt x="149473" y="84484"/>
                      <a:pt x="148983" y="85482"/>
                      <a:pt x="148288" y="86325"/>
                    </a:cubicBezTo>
                    <a:cubicBezTo>
                      <a:pt x="146179" y="88263"/>
                      <a:pt x="142588" y="86781"/>
                      <a:pt x="140821" y="84615"/>
                    </a:cubicBezTo>
                    <a:cubicBezTo>
                      <a:pt x="139055" y="82450"/>
                      <a:pt x="137630" y="79600"/>
                      <a:pt x="135122" y="78289"/>
                    </a:cubicBezTo>
                    <a:cubicBezTo>
                      <a:pt x="130620" y="75952"/>
                      <a:pt x="124920" y="80170"/>
                      <a:pt x="123723" y="85129"/>
                    </a:cubicBezTo>
                    <a:cubicBezTo>
                      <a:pt x="123176" y="90184"/>
                      <a:pt x="124168" y="95290"/>
                      <a:pt x="126573" y="99776"/>
                    </a:cubicBezTo>
                    <a:cubicBezTo>
                      <a:pt x="131913" y="99816"/>
                      <a:pt x="136507" y="103561"/>
                      <a:pt x="137630" y="108781"/>
                    </a:cubicBezTo>
                    <a:cubicBezTo>
                      <a:pt x="133675" y="110668"/>
                      <a:pt x="129474" y="111973"/>
                      <a:pt x="125148" y="112657"/>
                    </a:cubicBezTo>
                    <a:cubicBezTo>
                      <a:pt x="125422" y="125452"/>
                      <a:pt x="125040" y="138259"/>
                      <a:pt x="124008" y="151014"/>
                    </a:cubicBezTo>
                    <a:cubicBezTo>
                      <a:pt x="123980" y="157010"/>
                      <a:pt x="122407" y="162898"/>
                      <a:pt x="119448" y="168113"/>
                    </a:cubicBezTo>
                    <a:cubicBezTo>
                      <a:pt x="116941" y="171761"/>
                      <a:pt x="113008" y="174781"/>
                      <a:pt x="112552" y="179170"/>
                    </a:cubicBezTo>
                    <a:cubicBezTo>
                      <a:pt x="112552" y="181050"/>
                      <a:pt x="112552" y="182931"/>
                      <a:pt x="112552" y="184869"/>
                    </a:cubicBezTo>
                    <a:cubicBezTo>
                      <a:pt x="111640" y="191880"/>
                      <a:pt x="101495" y="194330"/>
                      <a:pt x="99728" y="201227"/>
                    </a:cubicBezTo>
                    <a:cubicBezTo>
                      <a:pt x="99158" y="203563"/>
                      <a:pt x="99728" y="206014"/>
                      <a:pt x="99102" y="208351"/>
                    </a:cubicBezTo>
                    <a:cubicBezTo>
                      <a:pt x="98127" y="210802"/>
                      <a:pt x="96782" y="213093"/>
                      <a:pt x="95112" y="215133"/>
                    </a:cubicBezTo>
                    <a:cubicBezTo>
                      <a:pt x="86676" y="228185"/>
                      <a:pt x="94713" y="246025"/>
                      <a:pt x="89982" y="260729"/>
                    </a:cubicBezTo>
                    <a:cubicBezTo>
                      <a:pt x="87629" y="266685"/>
                      <a:pt x="84254" y="272179"/>
                      <a:pt x="80008" y="276973"/>
                    </a:cubicBezTo>
                    <a:lnTo>
                      <a:pt x="72542" y="286662"/>
                    </a:lnTo>
                    <a:cubicBezTo>
                      <a:pt x="66882" y="301817"/>
                      <a:pt x="57467" y="315290"/>
                      <a:pt x="45184" y="325817"/>
                    </a:cubicBezTo>
                    <a:cubicBezTo>
                      <a:pt x="43976" y="327077"/>
                      <a:pt x="42363" y="327863"/>
                      <a:pt x="40625" y="328040"/>
                    </a:cubicBezTo>
                    <a:cubicBezTo>
                      <a:pt x="39206" y="327835"/>
                      <a:pt x="37832" y="327373"/>
                      <a:pt x="36578" y="326672"/>
                    </a:cubicBezTo>
                    <a:cubicBezTo>
                      <a:pt x="32583" y="325829"/>
                      <a:pt x="28519" y="325390"/>
                      <a:pt x="24438" y="325361"/>
                    </a:cubicBezTo>
                    <a:cubicBezTo>
                      <a:pt x="20392" y="324677"/>
                      <a:pt x="16117" y="320859"/>
                      <a:pt x="17656" y="317097"/>
                    </a:cubicBezTo>
                    <a:cubicBezTo>
                      <a:pt x="14094" y="317000"/>
                      <a:pt x="10583" y="316185"/>
                      <a:pt x="7340" y="314703"/>
                    </a:cubicBezTo>
                    <a:cubicBezTo>
                      <a:pt x="4080" y="313107"/>
                      <a:pt x="2148" y="309653"/>
                      <a:pt x="2495" y="306040"/>
                    </a:cubicBezTo>
                    <a:cubicBezTo>
                      <a:pt x="3213" y="304097"/>
                      <a:pt x="4029" y="302199"/>
                      <a:pt x="4946" y="300341"/>
                    </a:cubicBezTo>
                    <a:cubicBezTo>
                      <a:pt x="5545" y="297833"/>
                      <a:pt x="5545" y="295217"/>
                      <a:pt x="4946" y="292703"/>
                    </a:cubicBezTo>
                    <a:cubicBezTo>
                      <a:pt x="882" y="269706"/>
                      <a:pt x="-685" y="246332"/>
                      <a:pt x="273" y="222999"/>
                    </a:cubicBezTo>
                    <a:cubicBezTo>
                      <a:pt x="204" y="221141"/>
                      <a:pt x="558" y="219288"/>
                      <a:pt x="1298" y="217584"/>
                    </a:cubicBezTo>
                    <a:cubicBezTo>
                      <a:pt x="3008" y="214335"/>
                      <a:pt x="6998" y="213196"/>
                      <a:pt x="10247" y="211372"/>
                    </a:cubicBezTo>
                    <a:cubicBezTo>
                      <a:pt x="13495" y="209548"/>
                      <a:pt x="15946" y="205159"/>
                      <a:pt x="13723" y="202423"/>
                    </a:cubicBezTo>
                    <a:lnTo>
                      <a:pt x="22956" y="200258"/>
                    </a:lnTo>
                    <a:cubicBezTo>
                      <a:pt x="22335" y="192216"/>
                      <a:pt x="22780" y="184134"/>
                      <a:pt x="24268" y="176206"/>
                    </a:cubicBezTo>
                    <a:cubicBezTo>
                      <a:pt x="20152" y="176058"/>
                      <a:pt x="16128" y="174946"/>
                      <a:pt x="12527" y="172957"/>
                    </a:cubicBezTo>
                    <a:cubicBezTo>
                      <a:pt x="8884" y="170837"/>
                      <a:pt x="6935" y="166682"/>
                      <a:pt x="7625" y="162527"/>
                    </a:cubicBezTo>
                    <a:cubicBezTo>
                      <a:pt x="8212" y="161102"/>
                      <a:pt x="8685" y="159638"/>
                      <a:pt x="9050" y="158139"/>
                    </a:cubicBezTo>
                    <a:cubicBezTo>
                      <a:pt x="9677" y="153123"/>
                      <a:pt x="3350" y="149760"/>
                      <a:pt x="2609" y="144745"/>
                    </a:cubicBezTo>
                    <a:cubicBezTo>
                      <a:pt x="1869" y="139729"/>
                      <a:pt x="5459" y="136481"/>
                      <a:pt x="7454" y="132434"/>
                    </a:cubicBezTo>
                    <a:cubicBezTo>
                      <a:pt x="10589" y="125994"/>
                      <a:pt x="9563" y="118470"/>
                      <a:pt x="9962" y="111346"/>
                    </a:cubicBezTo>
                    <a:cubicBezTo>
                      <a:pt x="10361" y="104222"/>
                      <a:pt x="13039" y="96014"/>
                      <a:pt x="19822" y="93791"/>
                    </a:cubicBezTo>
                    <a:cubicBezTo>
                      <a:pt x="24130" y="93210"/>
                      <a:pt x="28468" y="92885"/>
                      <a:pt x="32817" y="92823"/>
                    </a:cubicBezTo>
                    <a:cubicBezTo>
                      <a:pt x="41936" y="91056"/>
                      <a:pt x="47122" y="80455"/>
                      <a:pt x="56070" y="78061"/>
                    </a:cubicBezTo>
                    <a:cubicBezTo>
                      <a:pt x="59433" y="77149"/>
                      <a:pt x="63024" y="77434"/>
                      <a:pt x="66330" y="76294"/>
                    </a:cubicBezTo>
                    <a:cubicBezTo>
                      <a:pt x="71516" y="74471"/>
                      <a:pt x="74936" y="69284"/>
                      <a:pt x="80008" y="67175"/>
                    </a:cubicBezTo>
                    <a:cubicBezTo>
                      <a:pt x="85081" y="65066"/>
                      <a:pt x="89811" y="65750"/>
                      <a:pt x="92547" y="62046"/>
                    </a:cubicBezTo>
                    <a:cubicBezTo>
                      <a:pt x="93790" y="59862"/>
                      <a:pt x="94382" y="57372"/>
                      <a:pt x="94257" y="548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8" name="Freihandform: Form 284">
                <a:extLst>
                  <a:ext uri="{FF2B5EF4-FFF2-40B4-BE49-F238E27FC236}">
                    <a16:creationId xmlns:a16="http://schemas.microsoft.com/office/drawing/2014/main" id="{BAADB872-917F-54AB-5FC9-A0636EEA6297}"/>
                  </a:ext>
                </a:extLst>
              </p:cNvPr>
              <p:cNvSpPr/>
              <p:nvPr/>
            </p:nvSpPr>
            <p:spPr>
              <a:xfrm>
                <a:off x="673738" y="1591448"/>
                <a:ext cx="1935893" cy="1590788"/>
              </a:xfrm>
              <a:custGeom>
                <a:avLst/>
                <a:gdLst>
                  <a:gd name="connsiteX0" fmla="*/ 1686075 w 1935893"/>
                  <a:gd name="connsiteY0" fmla="*/ 1376184 h 1590788"/>
                  <a:gd name="connsiteX1" fmla="*/ 1689723 w 1935893"/>
                  <a:gd name="connsiteY1" fmla="*/ 1373905 h 1590788"/>
                  <a:gd name="connsiteX2" fmla="*/ 1705682 w 1935893"/>
                  <a:gd name="connsiteY2" fmla="*/ 1376697 h 1590788"/>
                  <a:gd name="connsiteX3" fmla="*/ 1721982 w 1935893"/>
                  <a:gd name="connsiteY3" fmla="*/ 1382397 h 1590788"/>
                  <a:gd name="connsiteX4" fmla="*/ 1725801 w 1935893"/>
                  <a:gd name="connsiteY4" fmla="*/ 1384506 h 1590788"/>
                  <a:gd name="connsiteX5" fmla="*/ 1726827 w 1935893"/>
                  <a:gd name="connsiteY5" fmla="*/ 1391516 h 1590788"/>
                  <a:gd name="connsiteX6" fmla="*/ 1703003 w 1935893"/>
                  <a:gd name="connsiteY6" fmla="*/ 1390490 h 1590788"/>
                  <a:gd name="connsiteX7" fmla="*/ 1694625 w 1935893"/>
                  <a:gd name="connsiteY7" fmla="*/ 1380060 h 1590788"/>
                  <a:gd name="connsiteX8" fmla="*/ 1688925 w 1935893"/>
                  <a:gd name="connsiteY8" fmla="*/ 1380573 h 1590788"/>
                  <a:gd name="connsiteX9" fmla="*/ 1686075 w 1935893"/>
                  <a:gd name="connsiteY9" fmla="*/ 1376184 h 1590788"/>
                  <a:gd name="connsiteX10" fmla="*/ 1805422 w 1935893"/>
                  <a:gd name="connsiteY10" fmla="*/ 1404169 h 1590788"/>
                  <a:gd name="connsiteX11" fmla="*/ 1805821 w 1935893"/>
                  <a:gd name="connsiteY11" fmla="*/ 1418190 h 1590788"/>
                  <a:gd name="connsiteX12" fmla="*/ 1796873 w 1935893"/>
                  <a:gd name="connsiteY12" fmla="*/ 1426283 h 1590788"/>
                  <a:gd name="connsiteX13" fmla="*/ 1793396 w 1935893"/>
                  <a:gd name="connsiteY13" fmla="*/ 1443381 h 1590788"/>
                  <a:gd name="connsiteX14" fmla="*/ 1809298 w 1935893"/>
                  <a:gd name="connsiteY14" fmla="*/ 1436314 h 1590788"/>
                  <a:gd name="connsiteX15" fmla="*/ 1830044 w 1935893"/>
                  <a:gd name="connsiteY15" fmla="*/ 1433920 h 1590788"/>
                  <a:gd name="connsiteX16" fmla="*/ 1833863 w 1935893"/>
                  <a:gd name="connsiteY16" fmla="*/ 1429246 h 1590788"/>
                  <a:gd name="connsiteX17" fmla="*/ 1862816 w 1935893"/>
                  <a:gd name="connsiteY17" fmla="*/ 1424003 h 1590788"/>
                  <a:gd name="connsiteX18" fmla="*/ 1868174 w 1935893"/>
                  <a:gd name="connsiteY18" fmla="*/ 1426055 h 1590788"/>
                  <a:gd name="connsiteX19" fmla="*/ 1871308 w 1935893"/>
                  <a:gd name="connsiteY19" fmla="*/ 1430671 h 1590788"/>
                  <a:gd name="connsiteX20" fmla="*/ 1886925 w 1935893"/>
                  <a:gd name="connsiteY20" fmla="*/ 1438081 h 1590788"/>
                  <a:gd name="connsiteX21" fmla="*/ 1886925 w 1935893"/>
                  <a:gd name="connsiteY21" fmla="*/ 1444065 h 1590788"/>
                  <a:gd name="connsiteX22" fmla="*/ 1890686 w 1935893"/>
                  <a:gd name="connsiteY22" fmla="*/ 1445718 h 1590788"/>
                  <a:gd name="connsiteX23" fmla="*/ 1912116 w 1935893"/>
                  <a:gd name="connsiteY23" fmla="*/ 1447371 h 1590788"/>
                  <a:gd name="connsiteX24" fmla="*/ 1917360 w 1935893"/>
                  <a:gd name="connsiteY24" fmla="*/ 1461050 h 1590788"/>
                  <a:gd name="connsiteX25" fmla="*/ 1929363 w 1935893"/>
                  <a:gd name="connsiteY25" fmla="*/ 1460628 h 1590788"/>
                  <a:gd name="connsiteX26" fmla="*/ 1930241 w 1935893"/>
                  <a:gd name="connsiteY26" fmla="*/ 1459511 h 1590788"/>
                  <a:gd name="connsiteX27" fmla="*/ 1931438 w 1935893"/>
                  <a:gd name="connsiteY27" fmla="*/ 1454381 h 1590788"/>
                  <a:gd name="connsiteX28" fmla="*/ 1935313 w 1935893"/>
                  <a:gd name="connsiteY28" fmla="*/ 1440360 h 1590788"/>
                  <a:gd name="connsiteX29" fmla="*/ 1917303 w 1935893"/>
                  <a:gd name="connsiteY29" fmla="*/ 1434091 h 1590788"/>
                  <a:gd name="connsiteX30" fmla="*/ 1920609 w 1935893"/>
                  <a:gd name="connsiteY30" fmla="*/ 1426340 h 1590788"/>
                  <a:gd name="connsiteX31" fmla="*/ 1927334 w 1935893"/>
                  <a:gd name="connsiteY31" fmla="*/ 1420127 h 1590788"/>
                  <a:gd name="connsiteX32" fmla="*/ 1922153 w 1935893"/>
                  <a:gd name="connsiteY32" fmla="*/ 1413949 h 1590788"/>
                  <a:gd name="connsiteX33" fmla="*/ 1918500 w 1935893"/>
                  <a:gd name="connsiteY33" fmla="*/ 1414884 h 1590788"/>
                  <a:gd name="connsiteX34" fmla="*/ 1915764 w 1935893"/>
                  <a:gd name="connsiteY34" fmla="*/ 1419215 h 1590788"/>
                  <a:gd name="connsiteX35" fmla="*/ 1911318 w 1935893"/>
                  <a:gd name="connsiteY35" fmla="*/ 1420526 h 1590788"/>
                  <a:gd name="connsiteX36" fmla="*/ 1908184 w 1935893"/>
                  <a:gd name="connsiteY36" fmla="*/ 1406278 h 1590788"/>
                  <a:gd name="connsiteX37" fmla="*/ 1911717 w 1935893"/>
                  <a:gd name="connsiteY37" fmla="*/ 1403371 h 1590788"/>
                  <a:gd name="connsiteX38" fmla="*/ 1915194 w 1935893"/>
                  <a:gd name="connsiteY38" fmla="*/ 1389692 h 1590788"/>
                  <a:gd name="connsiteX39" fmla="*/ 1907557 w 1935893"/>
                  <a:gd name="connsiteY39" fmla="*/ 1390490 h 1590788"/>
                  <a:gd name="connsiteX40" fmla="*/ 1901117 w 1935893"/>
                  <a:gd name="connsiteY40" fmla="*/ 1395791 h 1590788"/>
                  <a:gd name="connsiteX41" fmla="*/ 1889581 w 1935893"/>
                  <a:gd name="connsiteY41" fmla="*/ 1390997 h 1590788"/>
                  <a:gd name="connsiteX42" fmla="*/ 1889262 w 1935893"/>
                  <a:gd name="connsiteY42" fmla="*/ 1390091 h 1590788"/>
                  <a:gd name="connsiteX43" fmla="*/ 1880370 w 1935893"/>
                  <a:gd name="connsiteY43" fmla="*/ 1387583 h 1590788"/>
                  <a:gd name="connsiteX44" fmla="*/ 1875640 w 1935893"/>
                  <a:gd name="connsiteY44" fmla="*/ 1378407 h 1590788"/>
                  <a:gd name="connsiteX45" fmla="*/ 1866863 w 1935893"/>
                  <a:gd name="connsiteY45" fmla="*/ 1375215 h 1590788"/>
                  <a:gd name="connsiteX46" fmla="*/ 1865894 w 1935893"/>
                  <a:gd name="connsiteY46" fmla="*/ 1367863 h 1590788"/>
                  <a:gd name="connsiteX47" fmla="*/ 1857230 w 1935893"/>
                  <a:gd name="connsiteY47" fmla="*/ 1372822 h 1590788"/>
                  <a:gd name="connsiteX48" fmla="*/ 1848339 w 1935893"/>
                  <a:gd name="connsiteY48" fmla="*/ 1376925 h 1590788"/>
                  <a:gd name="connsiteX49" fmla="*/ 1854837 w 1935893"/>
                  <a:gd name="connsiteY49" fmla="*/ 1358117 h 1590788"/>
                  <a:gd name="connsiteX50" fmla="*/ 1854096 w 1935893"/>
                  <a:gd name="connsiteY50" fmla="*/ 1352874 h 1590788"/>
                  <a:gd name="connsiteX51" fmla="*/ 1864241 w 1935893"/>
                  <a:gd name="connsiteY51" fmla="*/ 1339537 h 1590788"/>
                  <a:gd name="connsiteX52" fmla="*/ 1869940 w 1935893"/>
                  <a:gd name="connsiteY52" fmla="*/ 1324832 h 1590788"/>
                  <a:gd name="connsiteX53" fmla="*/ 1857060 w 1935893"/>
                  <a:gd name="connsiteY53" fmla="*/ 1326713 h 1590788"/>
                  <a:gd name="connsiteX54" fmla="*/ 1848111 w 1935893"/>
                  <a:gd name="connsiteY54" fmla="*/ 1337029 h 1590788"/>
                  <a:gd name="connsiteX55" fmla="*/ 1840588 w 1935893"/>
                  <a:gd name="connsiteY55" fmla="*/ 1348428 h 1590788"/>
                  <a:gd name="connsiteX56" fmla="*/ 1829189 w 1935893"/>
                  <a:gd name="connsiteY56" fmla="*/ 1368148 h 1590788"/>
                  <a:gd name="connsiteX57" fmla="*/ 1824401 w 1935893"/>
                  <a:gd name="connsiteY57" fmla="*/ 1394537 h 1590788"/>
                  <a:gd name="connsiteX58" fmla="*/ 1806055 w 1935893"/>
                  <a:gd name="connsiteY58" fmla="*/ 1402060 h 1590788"/>
                  <a:gd name="connsiteX59" fmla="*/ 1805365 w 1935893"/>
                  <a:gd name="connsiteY59" fmla="*/ 1404169 h 1590788"/>
                  <a:gd name="connsiteX60" fmla="*/ 1759827 w 1935893"/>
                  <a:gd name="connsiteY60" fmla="*/ 1475241 h 1590788"/>
                  <a:gd name="connsiteX61" fmla="*/ 1752246 w 1935893"/>
                  <a:gd name="connsiteY61" fmla="*/ 1489775 h 1590788"/>
                  <a:gd name="connsiteX62" fmla="*/ 1717479 w 1935893"/>
                  <a:gd name="connsiteY62" fmla="*/ 1500148 h 1590788"/>
                  <a:gd name="connsiteX63" fmla="*/ 1684308 w 1935893"/>
                  <a:gd name="connsiteY63" fmla="*/ 1480941 h 1590788"/>
                  <a:gd name="connsiteX64" fmla="*/ 1663163 w 1935893"/>
                  <a:gd name="connsiteY64" fmla="*/ 1445376 h 1590788"/>
                  <a:gd name="connsiteX65" fmla="*/ 1648459 w 1935893"/>
                  <a:gd name="connsiteY65" fmla="*/ 1441785 h 1590788"/>
                  <a:gd name="connsiteX66" fmla="*/ 1655754 w 1935893"/>
                  <a:gd name="connsiteY66" fmla="*/ 1405537 h 1590788"/>
                  <a:gd name="connsiteX67" fmla="*/ 1632956 w 1935893"/>
                  <a:gd name="connsiteY67" fmla="*/ 1400977 h 1590788"/>
                  <a:gd name="connsiteX68" fmla="*/ 1611355 w 1935893"/>
                  <a:gd name="connsiteY68" fmla="*/ 1414485 h 1590788"/>
                  <a:gd name="connsiteX69" fmla="*/ 1585651 w 1935893"/>
                  <a:gd name="connsiteY69" fmla="*/ 1422635 h 1590788"/>
                  <a:gd name="connsiteX70" fmla="*/ 1570775 w 1935893"/>
                  <a:gd name="connsiteY70" fmla="*/ 1437739 h 1590788"/>
                  <a:gd name="connsiteX71" fmla="*/ 1573568 w 1935893"/>
                  <a:gd name="connsiteY71" fmla="*/ 1439562 h 1590788"/>
                  <a:gd name="connsiteX72" fmla="*/ 1593345 w 1935893"/>
                  <a:gd name="connsiteY72" fmla="*/ 1448283 h 1590788"/>
                  <a:gd name="connsiteX73" fmla="*/ 1597620 w 1935893"/>
                  <a:gd name="connsiteY73" fmla="*/ 1447428 h 1590788"/>
                  <a:gd name="connsiteX74" fmla="*/ 1601609 w 1935893"/>
                  <a:gd name="connsiteY74" fmla="*/ 1449195 h 1590788"/>
                  <a:gd name="connsiteX75" fmla="*/ 1610614 w 1935893"/>
                  <a:gd name="connsiteY75" fmla="*/ 1461563 h 1590788"/>
                  <a:gd name="connsiteX76" fmla="*/ 1606283 w 1935893"/>
                  <a:gd name="connsiteY76" fmla="*/ 1474785 h 1590788"/>
                  <a:gd name="connsiteX77" fmla="*/ 1610728 w 1935893"/>
                  <a:gd name="connsiteY77" fmla="*/ 1482366 h 1590788"/>
                  <a:gd name="connsiteX78" fmla="*/ 1612951 w 1935893"/>
                  <a:gd name="connsiteY78" fmla="*/ 1490573 h 1590788"/>
                  <a:gd name="connsiteX79" fmla="*/ 1611298 w 1935893"/>
                  <a:gd name="connsiteY79" fmla="*/ 1493707 h 1590788"/>
                  <a:gd name="connsiteX80" fmla="*/ 1616086 w 1935893"/>
                  <a:gd name="connsiteY80" fmla="*/ 1500547 h 1590788"/>
                  <a:gd name="connsiteX81" fmla="*/ 1617397 w 1935893"/>
                  <a:gd name="connsiteY81" fmla="*/ 1504480 h 1590788"/>
                  <a:gd name="connsiteX82" fmla="*/ 1619277 w 1935893"/>
                  <a:gd name="connsiteY82" fmla="*/ 1523402 h 1590788"/>
                  <a:gd name="connsiteX83" fmla="*/ 1649143 w 1935893"/>
                  <a:gd name="connsiteY83" fmla="*/ 1503682 h 1590788"/>
                  <a:gd name="connsiteX84" fmla="*/ 1659972 w 1935893"/>
                  <a:gd name="connsiteY84" fmla="*/ 1502713 h 1590788"/>
                  <a:gd name="connsiteX85" fmla="*/ 1669547 w 1935893"/>
                  <a:gd name="connsiteY85" fmla="*/ 1489604 h 1590788"/>
                  <a:gd name="connsiteX86" fmla="*/ 1680946 w 1935893"/>
                  <a:gd name="connsiteY86" fmla="*/ 1495303 h 1590788"/>
                  <a:gd name="connsiteX87" fmla="*/ 1688811 w 1935893"/>
                  <a:gd name="connsiteY87" fmla="*/ 1506987 h 1590788"/>
                  <a:gd name="connsiteX88" fmla="*/ 1695594 w 1935893"/>
                  <a:gd name="connsiteY88" fmla="*/ 1511091 h 1590788"/>
                  <a:gd name="connsiteX89" fmla="*/ 1695594 w 1935893"/>
                  <a:gd name="connsiteY89" fmla="*/ 1517873 h 1590788"/>
                  <a:gd name="connsiteX90" fmla="*/ 1655982 w 1935893"/>
                  <a:gd name="connsiteY90" fmla="*/ 1522205 h 1590788"/>
                  <a:gd name="connsiteX91" fmla="*/ 1649770 w 1935893"/>
                  <a:gd name="connsiteY91" fmla="*/ 1556402 h 1590788"/>
                  <a:gd name="connsiteX92" fmla="*/ 1669889 w 1935893"/>
                  <a:gd name="connsiteY92" fmla="*/ 1555946 h 1590788"/>
                  <a:gd name="connsiteX93" fmla="*/ 1685163 w 1935893"/>
                  <a:gd name="connsiteY93" fmla="*/ 1534972 h 1590788"/>
                  <a:gd name="connsiteX94" fmla="*/ 1702832 w 1935893"/>
                  <a:gd name="connsiteY94" fmla="*/ 1530697 h 1590788"/>
                  <a:gd name="connsiteX95" fmla="*/ 1715713 w 1935893"/>
                  <a:gd name="connsiteY95" fmla="*/ 1524257 h 1590788"/>
                  <a:gd name="connsiteX96" fmla="*/ 1753671 w 1935893"/>
                  <a:gd name="connsiteY96" fmla="*/ 1500205 h 1590788"/>
                  <a:gd name="connsiteX97" fmla="*/ 1773049 w 1935893"/>
                  <a:gd name="connsiteY97" fmla="*/ 1469314 h 1590788"/>
                  <a:gd name="connsiteX98" fmla="*/ 1759656 w 1935893"/>
                  <a:gd name="connsiteY98" fmla="*/ 1475241 h 1590788"/>
                  <a:gd name="connsiteX99" fmla="*/ 341000 w 1935893"/>
                  <a:gd name="connsiteY99" fmla="*/ 562984 h 1590788"/>
                  <a:gd name="connsiteX100" fmla="*/ 361461 w 1935893"/>
                  <a:gd name="connsiteY100" fmla="*/ 564807 h 1590788"/>
                  <a:gd name="connsiteX101" fmla="*/ 367901 w 1935893"/>
                  <a:gd name="connsiteY101" fmla="*/ 565548 h 1590788"/>
                  <a:gd name="connsiteX102" fmla="*/ 374854 w 1935893"/>
                  <a:gd name="connsiteY102" fmla="*/ 569652 h 1590788"/>
                  <a:gd name="connsiteX103" fmla="*/ 388077 w 1935893"/>
                  <a:gd name="connsiteY103" fmla="*/ 591994 h 1590788"/>
                  <a:gd name="connsiteX104" fmla="*/ 396398 w 1935893"/>
                  <a:gd name="connsiteY104" fmla="*/ 611087 h 1590788"/>
                  <a:gd name="connsiteX105" fmla="*/ 402098 w 1935893"/>
                  <a:gd name="connsiteY105" fmla="*/ 609719 h 1590788"/>
                  <a:gd name="connsiteX106" fmla="*/ 401585 w 1935893"/>
                  <a:gd name="connsiteY106" fmla="*/ 601113 h 1590788"/>
                  <a:gd name="connsiteX107" fmla="*/ 410362 w 1935893"/>
                  <a:gd name="connsiteY107" fmla="*/ 598263 h 1590788"/>
                  <a:gd name="connsiteX108" fmla="*/ 417543 w 1935893"/>
                  <a:gd name="connsiteY108" fmla="*/ 598263 h 1590788"/>
                  <a:gd name="connsiteX109" fmla="*/ 420108 w 1935893"/>
                  <a:gd name="connsiteY109" fmla="*/ 595984 h 1590788"/>
                  <a:gd name="connsiteX110" fmla="*/ 446668 w 1935893"/>
                  <a:gd name="connsiteY110" fmla="*/ 590284 h 1590788"/>
                  <a:gd name="connsiteX111" fmla="*/ 449404 w 1935893"/>
                  <a:gd name="connsiteY111" fmla="*/ 589486 h 1590788"/>
                  <a:gd name="connsiteX112" fmla="*/ 450144 w 1935893"/>
                  <a:gd name="connsiteY112" fmla="*/ 580766 h 1590788"/>
                  <a:gd name="connsiteX113" fmla="*/ 456699 w 1935893"/>
                  <a:gd name="connsiteY113" fmla="*/ 567942 h 1590788"/>
                  <a:gd name="connsiteX114" fmla="*/ 460403 w 1935893"/>
                  <a:gd name="connsiteY114" fmla="*/ 552896 h 1590788"/>
                  <a:gd name="connsiteX115" fmla="*/ 475336 w 1935893"/>
                  <a:gd name="connsiteY115" fmla="*/ 552155 h 1590788"/>
                  <a:gd name="connsiteX116" fmla="*/ 484626 w 1935893"/>
                  <a:gd name="connsiteY116" fmla="*/ 541782 h 1590788"/>
                  <a:gd name="connsiteX117" fmla="*/ 488787 w 1935893"/>
                  <a:gd name="connsiteY117" fmla="*/ 528844 h 1590788"/>
                  <a:gd name="connsiteX118" fmla="*/ 489528 w 1935893"/>
                  <a:gd name="connsiteY118" fmla="*/ 522745 h 1590788"/>
                  <a:gd name="connsiteX119" fmla="*/ 493289 w 1935893"/>
                  <a:gd name="connsiteY119" fmla="*/ 518585 h 1590788"/>
                  <a:gd name="connsiteX120" fmla="*/ 523668 w 1935893"/>
                  <a:gd name="connsiteY120" fmla="*/ 510035 h 1590788"/>
                  <a:gd name="connsiteX121" fmla="*/ 526517 w 1935893"/>
                  <a:gd name="connsiteY121" fmla="*/ 506673 h 1590788"/>
                  <a:gd name="connsiteX122" fmla="*/ 533756 w 1935893"/>
                  <a:gd name="connsiteY122" fmla="*/ 505419 h 1590788"/>
                  <a:gd name="connsiteX123" fmla="*/ 541108 w 1935893"/>
                  <a:gd name="connsiteY123" fmla="*/ 496756 h 1590788"/>
                  <a:gd name="connsiteX124" fmla="*/ 556668 w 1935893"/>
                  <a:gd name="connsiteY124" fmla="*/ 490600 h 1590788"/>
                  <a:gd name="connsiteX125" fmla="*/ 558890 w 1935893"/>
                  <a:gd name="connsiteY125" fmla="*/ 485756 h 1590788"/>
                  <a:gd name="connsiteX126" fmla="*/ 555756 w 1935893"/>
                  <a:gd name="connsiteY126" fmla="*/ 483020 h 1590788"/>
                  <a:gd name="connsiteX127" fmla="*/ 527771 w 1935893"/>
                  <a:gd name="connsiteY127" fmla="*/ 469113 h 1590788"/>
                  <a:gd name="connsiteX128" fmla="*/ 501611 w 1935893"/>
                  <a:gd name="connsiteY128" fmla="*/ 461761 h 1590788"/>
                  <a:gd name="connsiteX129" fmla="*/ 497735 w 1935893"/>
                  <a:gd name="connsiteY129" fmla="*/ 462844 h 1590788"/>
                  <a:gd name="connsiteX130" fmla="*/ 494144 w 1935893"/>
                  <a:gd name="connsiteY130" fmla="*/ 465922 h 1590788"/>
                  <a:gd name="connsiteX131" fmla="*/ 486678 w 1935893"/>
                  <a:gd name="connsiteY131" fmla="*/ 468087 h 1590788"/>
                  <a:gd name="connsiteX132" fmla="*/ 481492 w 1935893"/>
                  <a:gd name="connsiteY132" fmla="*/ 462388 h 1590788"/>
                  <a:gd name="connsiteX133" fmla="*/ 458694 w 1935893"/>
                  <a:gd name="connsiteY133" fmla="*/ 463129 h 1590788"/>
                  <a:gd name="connsiteX134" fmla="*/ 450372 w 1935893"/>
                  <a:gd name="connsiteY134" fmla="*/ 459196 h 1590788"/>
                  <a:gd name="connsiteX135" fmla="*/ 448150 w 1935893"/>
                  <a:gd name="connsiteY135" fmla="*/ 452528 h 1590788"/>
                  <a:gd name="connsiteX136" fmla="*/ 441937 w 1935893"/>
                  <a:gd name="connsiteY136" fmla="*/ 451616 h 1590788"/>
                  <a:gd name="connsiteX137" fmla="*/ 436238 w 1935893"/>
                  <a:gd name="connsiteY137" fmla="*/ 445916 h 1590788"/>
                  <a:gd name="connsiteX138" fmla="*/ 432590 w 1935893"/>
                  <a:gd name="connsiteY138" fmla="*/ 445631 h 1590788"/>
                  <a:gd name="connsiteX139" fmla="*/ 413668 w 1935893"/>
                  <a:gd name="connsiteY139" fmla="*/ 447398 h 1590788"/>
                  <a:gd name="connsiteX140" fmla="*/ 405233 w 1935893"/>
                  <a:gd name="connsiteY140" fmla="*/ 449222 h 1590788"/>
                  <a:gd name="connsiteX141" fmla="*/ 400274 w 1935893"/>
                  <a:gd name="connsiteY141" fmla="*/ 455891 h 1590788"/>
                  <a:gd name="connsiteX142" fmla="*/ 400730 w 1935893"/>
                  <a:gd name="connsiteY142" fmla="*/ 465010 h 1590788"/>
                  <a:gd name="connsiteX143" fmla="*/ 390756 w 1935893"/>
                  <a:gd name="connsiteY143" fmla="*/ 469968 h 1590788"/>
                  <a:gd name="connsiteX144" fmla="*/ 388419 w 1935893"/>
                  <a:gd name="connsiteY144" fmla="*/ 475668 h 1590788"/>
                  <a:gd name="connsiteX145" fmla="*/ 380041 w 1935893"/>
                  <a:gd name="connsiteY145" fmla="*/ 477435 h 1590788"/>
                  <a:gd name="connsiteX146" fmla="*/ 379357 w 1935893"/>
                  <a:gd name="connsiteY146" fmla="*/ 480968 h 1590788"/>
                  <a:gd name="connsiteX147" fmla="*/ 373657 w 1935893"/>
                  <a:gd name="connsiteY147" fmla="*/ 495388 h 1590788"/>
                  <a:gd name="connsiteX148" fmla="*/ 370637 w 1935893"/>
                  <a:gd name="connsiteY148" fmla="*/ 496528 h 1590788"/>
                  <a:gd name="connsiteX149" fmla="*/ 368984 w 1935893"/>
                  <a:gd name="connsiteY149" fmla="*/ 498979 h 1590788"/>
                  <a:gd name="connsiteX150" fmla="*/ 362715 w 1935893"/>
                  <a:gd name="connsiteY150" fmla="*/ 501201 h 1590788"/>
                  <a:gd name="connsiteX151" fmla="*/ 362715 w 1935893"/>
                  <a:gd name="connsiteY151" fmla="*/ 524740 h 1590788"/>
                  <a:gd name="connsiteX152" fmla="*/ 359865 w 1935893"/>
                  <a:gd name="connsiteY152" fmla="*/ 532092 h 1590788"/>
                  <a:gd name="connsiteX153" fmla="*/ 351031 w 1935893"/>
                  <a:gd name="connsiteY153" fmla="*/ 532662 h 1590788"/>
                  <a:gd name="connsiteX154" fmla="*/ 347554 w 1935893"/>
                  <a:gd name="connsiteY154" fmla="*/ 545087 h 1590788"/>
                  <a:gd name="connsiteX155" fmla="*/ 343051 w 1935893"/>
                  <a:gd name="connsiteY155" fmla="*/ 547139 h 1590788"/>
                  <a:gd name="connsiteX156" fmla="*/ 334673 w 1935893"/>
                  <a:gd name="connsiteY156" fmla="*/ 554890 h 1590788"/>
                  <a:gd name="connsiteX157" fmla="*/ 334103 w 1935893"/>
                  <a:gd name="connsiteY157" fmla="*/ 557968 h 1590788"/>
                  <a:gd name="connsiteX158" fmla="*/ 341000 w 1935893"/>
                  <a:gd name="connsiteY158" fmla="*/ 562984 h 1590788"/>
                  <a:gd name="connsiteX159" fmla="*/ 844320 w 1935893"/>
                  <a:gd name="connsiteY159" fmla="*/ 660274 h 1590788"/>
                  <a:gd name="connsiteX160" fmla="*/ 853097 w 1935893"/>
                  <a:gd name="connsiteY160" fmla="*/ 649502 h 1590788"/>
                  <a:gd name="connsiteX161" fmla="*/ 877719 w 1935893"/>
                  <a:gd name="connsiteY161" fmla="*/ 658336 h 1590788"/>
                  <a:gd name="connsiteX162" fmla="*/ 874698 w 1935893"/>
                  <a:gd name="connsiteY162" fmla="*/ 640724 h 1590788"/>
                  <a:gd name="connsiteX163" fmla="*/ 858740 w 1935893"/>
                  <a:gd name="connsiteY163" fmla="*/ 630465 h 1590788"/>
                  <a:gd name="connsiteX164" fmla="*/ 817760 w 1935893"/>
                  <a:gd name="connsiteY164" fmla="*/ 611543 h 1590788"/>
                  <a:gd name="connsiteX165" fmla="*/ 802087 w 1935893"/>
                  <a:gd name="connsiteY165" fmla="*/ 593476 h 1590788"/>
                  <a:gd name="connsiteX166" fmla="*/ 804139 w 1935893"/>
                  <a:gd name="connsiteY166" fmla="*/ 585269 h 1590788"/>
                  <a:gd name="connsiteX167" fmla="*/ 795818 w 1935893"/>
                  <a:gd name="connsiteY167" fmla="*/ 566346 h 1590788"/>
                  <a:gd name="connsiteX168" fmla="*/ 783507 w 1935893"/>
                  <a:gd name="connsiteY168" fmla="*/ 550787 h 1590788"/>
                  <a:gd name="connsiteX169" fmla="*/ 784362 w 1935893"/>
                  <a:gd name="connsiteY169" fmla="*/ 530098 h 1590788"/>
                  <a:gd name="connsiteX170" fmla="*/ 788636 w 1935893"/>
                  <a:gd name="connsiteY170" fmla="*/ 514424 h 1590788"/>
                  <a:gd name="connsiteX171" fmla="*/ 797926 w 1935893"/>
                  <a:gd name="connsiteY171" fmla="*/ 500061 h 1590788"/>
                  <a:gd name="connsiteX172" fmla="*/ 797071 w 1935893"/>
                  <a:gd name="connsiteY172" fmla="*/ 484160 h 1590788"/>
                  <a:gd name="connsiteX173" fmla="*/ 766294 w 1935893"/>
                  <a:gd name="connsiteY173" fmla="*/ 485471 h 1590788"/>
                  <a:gd name="connsiteX174" fmla="*/ 757118 w 1935893"/>
                  <a:gd name="connsiteY174" fmla="*/ 487238 h 1590788"/>
                  <a:gd name="connsiteX175" fmla="*/ 753242 w 1935893"/>
                  <a:gd name="connsiteY175" fmla="*/ 494989 h 1590788"/>
                  <a:gd name="connsiteX176" fmla="*/ 758942 w 1935893"/>
                  <a:gd name="connsiteY176" fmla="*/ 500346 h 1590788"/>
                  <a:gd name="connsiteX177" fmla="*/ 771481 w 1935893"/>
                  <a:gd name="connsiteY177" fmla="*/ 510150 h 1590788"/>
                  <a:gd name="connsiteX178" fmla="*/ 778719 w 1935893"/>
                  <a:gd name="connsiteY178" fmla="*/ 524626 h 1590788"/>
                  <a:gd name="connsiteX179" fmla="*/ 770968 w 1935893"/>
                  <a:gd name="connsiteY179" fmla="*/ 523657 h 1590788"/>
                  <a:gd name="connsiteX180" fmla="*/ 766237 w 1935893"/>
                  <a:gd name="connsiteY180" fmla="*/ 516248 h 1590788"/>
                  <a:gd name="connsiteX181" fmla="*/ 736429 w 1935893"/>
                  <a:gd name="connsiteY181" fmla="*/ 506217 h 1590788"/>
                  <a:gd name="connsiteX182" fmla="*/ 735118 w 1935893"/>
                  <a:gd name="connsiteY182" fmla="*/ 506217 h 1590788"/>
                  <a:gd name="connsiteX183" fmla="*/ 722294 w 1935893"/>
                  <a:gd name="connsiteY183" fmla="*/ 509637 h 1590788"/>
                  <a:gd name="connsiteX184" fmla="*/ 725258 w 1935893"/>
                  <a:gd name="connsiteY184" fmla="*/ 529699 h 1590788"/>
                  <a:gd name="connsiteX185" fmla="*/ 734833 w 1935893"/>
                  <a:gd name="connsiteY185" fmla="*/ 548963 h 1590788"/>
                  <a:gd name="connsiteX186" fmla="*/ 733180 w 1935893"/>
                  <a:gd name="connsiteY186" fmla="*/ 559450 h 1590788"/>
                  <a:gd name="connsiteX187" fmla="*/ 743325 w 1935893"/>
                  <a:gd name="connsiteY187" fmla="*/ 571818 h 1590788"/>
                  <a:gd name="connsiteX188" fmla="*/ 739108 w 1935893"/>
                  <a:gd name="connsiteY188" fmla="*/ 578486 h 1590788"/>
                  <a:gd name="connsiteX189" fmla="*/ 718761 w 1935893"/>
                  <a:gd name="connsiteY189" fmla="*/ 574668 h 1590788"/>
                  <a:gd name="connsiteX190" fmla="*/ 717336 w 1935893"/>
                  <a:gd name="connsiteY190" fmla="*/ 568113 h 1590788"/>
                  <a:gd name="connsiteX191" fmla="*/ 713175 w 1935893"/>
                  <a:gd name="connsiteY191" fmla="*/ 563440 h 1590788"/>
                  <a:gd name="connsiteX192" fmla="*/ 712776 w 1935893"/>
                  <a:gd name="connsiteY192" fmla="*/ 554320 h 1590788"/>
                  <a:gd name="connsiteX193" fmla="*/ 692144 w 1935893"/>
                  <a:gd name="connsiteY193" fmla="*/ 523771 h 1590788"/>
                  <a:gd name="connsiteX194" fmla="*/ 677268 w 1935893"/>
                  <a:gd name="connsiteY194" fmla="*/ 517901 h 1590788"/>
                  <a:gd name="connsiteX195" fmla="*/ 672253 w 1935893"/>
                  <a:gd name="connsiteY195" fmla="*/ 529927 h 1590788"/>
                  <a:gd name="connsiteX196" fmla="*/ 681315 w 1935893"/>
                  <a:gd name="connsiteY196" fmla="*/ 531807 h 1590788"/>
                  <a:gd name="connsiteX197" fmla="*/ 688143 w 1935893"/>
                  <a:gd name="connsiteY197" fmla="*/ 545064 h 1590788"/>
                  <a:gd name="connsiteX198" fmla="*/ 687015 w 1935893"/>
                  <a:gd name="connsiteY198" fmla="*/ 547481 h 1590788"/>
                  <a:gd name="connsiteX199" fmla="*/ 659999 w 1935893"/>
                  <a:gd name="connsiteY199" fmla="*/ 545201 h 1590788"/>
                  <a:gd name="connsiteX200" fmla="*/ 656066 w 1935893"/>
                  <a:gd name="connsiteY200" fmla="*/ 550388 h 1590788"/>
                  <a:gd name="connsiteX201" fmla="*/ 650367 w 1935893"/>
                  <a:gd name="connsiteY201" fmla="*/ 551129 h 1590788"/>
                  <a:gd name="connsiteX202" fmla="*/ 644269 w 1935893"/>
                  <a:gd name="connsiteY202" fmla="*/ 524341 h 1590788"/>
                  <a:gd name="connsiteX203" fmla="*/ 614745 w 1935893"/>
                  <a:gd name="connsiteY203" fmla="*/ 518642 h 1590788"/>
                  <a:gd name="connsiteX204" fmla="*/ 609787 w 1935893"/>
                  <a:gd name="connsiteY204" fmla="*/ 520295 h 1590788"/>
                  <a:gd name="connsiteX205" fmla="*/ 608077 w 1935893"/>
                  <a:gd name="connsiteY205" fmla="*/ 525994 h 1590788"/>
                  <a:gd name="connsiteX206" fmla="*/ 611155 w 1935893"/>
                  <a:gd name="connsiteY206" fmla="*/ 543548 h 1590788"/>
                  <a:gd name="connsiteX207" fmla="*/ 581460 w 1935893"/>
                  <a:gd name="connsiteY207" fmla="*/ 539445 h 1590788"/>
                  <a:gd name="connsiteX208" fmla="*/ 577471 w 1935893"/>
                  <a:gd name="connsiteY208" fmla="*/ 536538 h 1590788"/>
                  <a:gd name="connsiteX209" fmla="*/ 583170 w 1935893"/>
                  <a:gd name="connsiteY209" fmla="*/ 532092 h 1590788"/>
                  <a:gd name="connsiteX210" fmla="*/ 591434 w 1935893"/>
                  <a:gd name="connsiteY210" fmla="*/ 532092 h 1590788"/>
                  <a:gd name="connsiteX211" fmla="*/ 592745 w 1935893"/>
                  <a:gd name="connsiteY211" fmla="*/ 525994 h 1590788"/>
                  <a:gd name="connsiteX212" fmla="*/ 597533 w 1935893"/>
                  <a:gd name="connsiteY212" fmla="*/ 519782 h 1590788"/>
                  <a:gd name="connsiteX213" fmla="*/ 591035 w 1935893"/>
                  <a:gd name="connsiteY213" fmla="*/ 510662 h 1590788"/>
                  <a:gd name="connsiteX214" fmla="*/ 590237 w 1935893"/>
                  <a:gd name="connsiteY214" fmla="*/ 503082 h 1590788"/>
                  <a:gd name="connsiteX215" fmla="*/ 578839 w 1935893"/>
                  <a:gd name="connsiteY215" fmla="*/ 500232 h 1590788"/>
                  <a:gd name="connsiteX216" fmla="*/ 566072 w 1935893"/>
                  <a:gd name="connsiteY216" fmla="*/ 502113 h 1590788"/>
                  <a:gd name="connsiteX217" fmla="*/ 556554 w 1935893"/>
                  <a:gd name="connsiteY217" fmla="*/ 513113 h 1590788"/>
                  <a:gd name="connsiteX218" fmla="*/ 542533 w 1935893"/>
                  <a:gd name="connsiteY218" fmla="*/ 519326 h 1590788"/>
                  <a:gd name="connsiteX219" fmla="*/ 538087 w 1935893"/>
                  <a:gd name="connsiteY219" fmla="*/ 523201 h 1590788"/>
                  <a:gd name="connsiteX220" fmla="*/ 531932 w 1935893"/>
                  <a:gd name="connsiteY220" fmla="*/ 526108 h 1590788"/>
                  <a:gd name="connsiteX221" fmla="*/ 505543 w 1935893"/>
                  <a:gd name="connsiteY221" fmla="*/ 535968 h 1590788"/>
                  <a:gd name="connsiteX222" fmla="*/ 502580 w 1935893"/>
                  <a:gd name="connsiteY222" fmla="*/ 545372 h 1590788"/>
                  <a:gd name="connsiteX223" fmla="*/ 495911 w 1935893"/>
                  <a:gd name="connsiteY223" fmla="*/ 553579 h 1590788"/>
                  <a:gd name="connsiteX224" fmla="*/ 494315 w 1935893"/>
                  <a:gd name="connsiteY224" fmla="*/ 564978 h 1590788"/>
                  <a:gd name="connsiteX225" fmla="*/ 489300 w 1935893"/>
                  <a:gd name="connsiteY225" fmla="*/ 566574 h 1590788"/>
                  <a:gd name="connsiteX226" fmla="*/ 488958 w 1935893"/>
                  <a:gd name="connsiteY226" fmla="*/ 576605 h 1590788"/>
                  <a:gd name="connsiteX227" fmla="*/ 499958 w 1935893"/>
                  <a:gd name="connsiteY227" fmla="*/ 580481 h 1590788"/>
                  <a:gd name="connsiteX228" fmla="*/ 510673 w 1935893"/>
                  <a:gd name="connsiteY228" fmla="*/ 584927 h 1590788"/>
                  <a:gd name="connsiteX229" fmla="*/ 514377 w 1935893"/>
                  <a:gd name="connsiteY229" fmla="*/ 589714 h 1590788"/>
                  <a:gd name="connsiteX230" fmla="*/ 529367 w 1935893"/>
                  <a:gd name="connsiteY230" fmla="*/ 590113 h 1590788"/>
                  <a:gd name="connsiteX231" fmla="*/ 533414 w 1935893"/>
                  <a:gd name="connsiteY231" fmla="*/ 580886 h 1590788"/>
                  <a:gd name="connsiteX232" fmla="*/ 533585 w 1935893"/>
                  <a:gd name="connsiteY232" fmla="*/ 580823 h 1590788"/>
                  <a:gd name="connsiteX233" fmla="*/ 544984 w 1935893"/>
                  <a:gd name="connsiteY233" fmla="*/ 580481 h 1590788"/>
                  <a:gd name="connsiteX234" fmla="*/ 564020 w 1935893"/>
                  <a:gd name="connsiteY234" fmla="*/ 583502 h 1590788"/>
                  <a:gd name="connsiteX235" fmla="*/ 559688 w 1935893"/>
                  <a:gd name="connsiteY235" fmla="*/ 591595 h 1590788"/>
                  <a:gd name="connsiteX236" fmla="*/ 524580 w 1935893"/>
                  <a:gd name="connsiteY236" fmla="*/ 597750 h 1590788"/>
                  <a:gd name="connsiteX237" fmla="*/ 517341 w 1935893"/>
                  <a:gd name="connsiteY237" fmla="*/ 598548 h 1590788"/>
                  <a:gd name="connsiteX238" fmla="*/ 512326 w 1935893"/>
                  <a:gd name="connsiteY238" fmla="*/ 604932 h 1590788"/>
                  <a:gd name="connsiteX239" fmla="*/ 505372 w 1935893"/>
                  <a:gd name="connsiteY239" fmla="*/ 606699 h 1590788"/>
                  <a:gd name="connsiteX240" fmla="*/ 505714 w 1935893"/>
                  <a:gd name="connsiteY240" fmla="*/ 613082 h 1590788"/>
                  <a:gd name="connsiteX241" fmla="*/ 520020 w 1935893"/>
                  <a:gd name="connsiteY241" fmla="*/ 622372 h 1590788"/>
                  <a:gd name="connsiteX242" fmla="*/ 573880 w 1935893"/>
                  <a:gd name="connsiteY242" fmla="*/ 616673 h 1590788"/>
                  <a:gd name="connsiteX243" fmla="*/ 606082 w 1935893"/>
                  <a:gd name="connsiteY243" fmla="*/ 618952 h 1590788"/>
                  <a:gd name="connsiteX244" fmla="*/ 614574 w 1935893"/>
                  <a:gd name="connsiteY244" fmla="*/ 622087 h 1590788"/>
                  <a:gd name="connsiteX245" fmla="*/ 618564 w 1935893"/>
                  <a:gd name="connsiteY245" fmla="*/ 627046 h 1590788"/>
                  <a:gd name="connsiteX246" fmla="*/ 633098 w 1935893"/>
                  <a:gd name="connsiteY246" fmla="*/ 629040 h 1590788"/>
                  <a:gd name="connsiteX247" fmla="*/ 642445 w 1935893"/>
                  <a:gd name="connsiteY247" fmla="*/ 637590 h 1590788"/>
                  <a:gd name="connsiteX248" fmla="*/ 633725 w 1935893"/>
                  <a:gd name="connsiteY248" fmla="*/ 641351 h 1590788"/>
                  <a:gd name="connsiteX249" fmla="*/ 602719 w 1935893"/>
                  <a:gd name="connsiteY249" fmla="*/ 642548 h 1590788"/>
                  <a:gd name="connsiteX250" fmla="*/ 588927 w 1935893"/>
                  <a:gd name="connsiteY250" fmla="*/ 643118 h 1590788"/>
                  <a:gd name="connsiteX251" fmla="*/ 529481 w 1935893"/>
                  <a:gd name="connsiteY251" fmla="*/ 643460 h 1590788"/>
                  <a:gd name="connsiteX252" fmla="*/ 523212 w 1935893"/>
                  <a:gd name="connsiteY252" fmla="*/ 653491 h 1590788"/>
                  <a:gd name="connsiteX253" fmla="*/ 517512 w 1935893"/>
                  <a:gd name="connsiteY253" fmla="*/ 657880 h 1590788"/>
                  <a:gd name="connsiteX254" fmla="*/ 529880 w 1935893"/>
                  <a:gd name="connsiteY254" fmla="*/ 661129 h 1590788"/>
                  <a:gd name="connsiteX255" fmla="*/ 531077 w 1935893"/>
                  <a:gd name="connsiteY255" fmla="*/ 666828 h 1590788"/>
                  <a:gd name="connsiteX256" fmla="*/ 580890 w 1935893"/>
                  <a:gd name="connsiteY256" fmla="*/ 675377 h 1590788"/>
                  <a:gd name="connsiteX257" fmla="*/ 600725 w 1935893"/>
                  <a:gd name="connsiteY257" fmla="*/ 675377 h 1590788"/>
                  <a:gd name="connsiteX258" fmla="*/ 605854 w 1935893"/>
                  <a:gd name="connsiteY258" fmla="*/ 677999 h 1590788"/>
                  <a:gd name="connsiteX259" fmla="*/ 607963 w 1935893"/>
                  <a:gd name="connsiteY259" fmla="*/ 683698 h 1590788"/>
                  <a:gd name="connsiteX260" fmla="*/ 610756 w 1935893"/>
                  <a:gd name="connsiteY260" fmla="*/ 699258 h 1590788"/>
                  <a:gd name="connsiteX261" fmla="*/ 613035 w 1935893"/>
                  <a:gd name="connsiteY261" fmla="*/ 705584 h 1590788"/>
                  <a:gd name="connsiteX262" fmla="*/ 624434 w 1935893"/>
                  <a:gd name="connsiteY262" fmla="*/ 709346 h 1590788"/>
                  <a:gd name="connsiteX263" fmla="*/ 677325 w 1935893"/>
                  <a:gd name="connsiteY263" fmla="*/ 707636 h 1590788"/>
                  <a:gd name="connsiteX264" fmla="*/ 684051 w 1935893"/>
                  <a:gd name="connsiteY264" fmla="*/ 700569 h 1590788"/>
                  <a:gd name="connsiteX265" fmla="*/ 695051 w 1935893"/>
                  <a:gd name="connsiteY265" fmla="*/ 698916 h 1590788"/>
                  <a:gd name="connsiteX266" fmla="*/ 699610 w 1935893"/>
                  <a:gd name="connsiteY266" fmla="*/ 694242 h 1590788"/>
                  <a:gd name="connsiteX267" fmla="*/ 714486 w 1935893"/>
                  <a:gd name="connsiteY267" fmla="*/ 691108 h 1590788"/>
                  <a:gd name="connsiteX268" fmla="*/ 741388 w 1935893"/>
                  <a:gd name="connsiteY268" fmla="*/ 686434 h 1590788"/>
                  <a:gd name="connsiteX269" fmla="*/ 758486 w 1935893"/>
                  <a:gd name="connsiteY269" fmla="*/ 673667 h 1590788"/>
                  <a:gd name="connsiteX270" fmla="*/ 782367 w 1935893"/>
                  <a:gd name="connsiteY270" fmla="*/ 689455 h 1590788"/>
                  <a:gd name="connsiteX271" fmla="*/ 796558 w 1935893"/>
                  <a:gd name="connsiteY271" fmla="*/ 692419 h 1590788"/>
                  <a:gd name="connsiteX272" fmla="*/ 802885 w 1935893"/>
                  <a:gd name="connsiteY272" fmla="*/ 701025 h 1590788"/>
                  <a:gd name="connsiteX273" fmla="*/ 813942 w 1935893"/>
                  <a:gd name="connsiteY273" fmla="*/ 703077 h 1590788"/>
                  <a:gd name="connsiteX274" fmla="*/ 843465 w 1935893"/>
                  <a:gd name="connsiteY274" fmla="*/ 700911 h 1590788"/>
                  <a:gd name="connsiteX275" fmla="*/ 852413 w 1935893"/>
                  <a:gd name="connsiteY275" fmla="*/ 698460 h 1590788"/>
                  <a:gd name="connsiteX276" fmla="*/ 864268 w 1935893"/>
                  <a:gd name="connsiteY276" fmla="*/ 689797 h 1590788"/>
                  <a:gd name="connsiteX277" fmla="*/ 859139 w 1935893"/>
                  <a:gd name="connsiteY277" fmla="*/ 669507 h 1590788"/>
                  <a:gd name="connsiteX278" fmla="*/ 857600 w 1935893"/>
                  <a:gd name="connsiteY278" fmla="*/ 667398 h 1590788"/>
                  <a:gd name="connsiteX279" fmla="*/ 843465 w 1935893"/>
                  <a:gd name="connsiteY279" fmla="*/ 673097 h 1590788"/>
                  <a:gd name="connsiteX280" fmla="*/ 831131 w 1935893"/>
                  <a:gd name="connsiteY280" fmla="*/ 667512 h 1590788"/>
                  <a:gd name="connsiteX281" fmla="*/ 830698 w 1935893"/>
                  <a:gd name="connsiteY281" fmla="*/ 662268 h 1590788"/>
                  <a:gd name="connsiteX282" fmla="*/ 844434 w 1935893"/>
                  <a:gd name="connsiteY282" fmla="*/ 660502 h 1590788"/>
                  <a:gd name="connsiteX283" fmla="*/ 429113 w 1935893"/>
                  <a:gd name="connsiteY283" fmla="*/ 384818 h 1590788"/>
                  <a:gd name="connsiteX284" fmla="*/ 431735 w 1935893"/>
                  <a:gd name="connsiteY284" fmla="*/ 384818 h 1590788"/>
                  <a:gd name="connsiteX285" fmla="*/ 432932 w 1935893"/>
                  <a:gd name="connsiteY285" fmla="*/ 382652 h 1590788"/>
                  <a:gd name="connsiteX286" fmla="*/ 438632 w 1935893"/>
                  <a:gd name="connsiteY286" fmla="*/ 373875 h 1590788"/>
                  <a:gd name="connsiteX287" fmla="*/ 447716 w 1935893"/>
                  <a:gd name="connsiteY287" fmla="*/ 376075 h 1590788"/>
                  <a:gd name="connsiteX288" fmla="*/ 447865 w 1935893"/>
                  <a:gd name="connsiteY288" fmla="*/ 376326 h 1590788"/>
                  <a:gd name="connsiteX289" fmla="*/ 448549 w 1935893"/>
                  <a:gd name="connsiteY289" fmla="*/ 382538 h 1590788"/>
                  <a:gd name="connsiteX290" fmla="*/ 456955 w 1935893"/>
                  <a:gd name="connsiteY290" fmla="*/ 388516 h 1590788"/>
                  <a:gd name="connsiteX291" fmla="*/ 463025 w 1935893"/>
                  <a:gd name="connsiteY291" fmla="*/ 381740 h 1590788"/>
                  <a:gd name="connsiteX292" fmla="*/ 463025 w 1935893"/>
                  <a:gd name="connsiteY292" fmla="*/ 374274 h 1590788"/>
                  <a:gd name="connsiteX293" fmla="*/ 471802 w 1935893"/>
                  <a:gd name="connsiteY293" fmla="*/ 370227 h 1590788"/>
                  <a:gd name="connsiteX294" fmla="*/ 482061 w 1935893"/>
                  <a:gd name="connsiteY294" fmla="*/ 370227 h 1590788"/>
                  <a:gd name="connsiteX295" fmla="*/ 490326 w 1935893"/>
                  <a:gd name="connsiteY295" fmla="*/ 358828 h 1590788"/>
                  <a:gd name="connsiteX296" fmla="*/ 494657 w 1935893"/>
                  <a:gd name="connsiteY296" fmla="*/ 345036 h 1590788"/>
                  <a:gd name="connsiteX297" fmla="*/ 511756 w 1935893"/>
                  <a:gd name="connsiteY297" fmla="*/ 340077 h 1590788"/>
                  <a:gd name="connsiteX298" fmla="*/ 515574 w 1935893"/>
                  <a:gd name="connsiteY298" fmla="*/ 343212 h 1590788"/>
                  <a:gd name="connsiteX299" fmla="*/ 517227 w 1935893"/>
                  <a:gd name="connsiteY299" fmla="*/ 360310 h 1590788"/>
                  <a:gd name="connsiteX300" fmla="*/ 531271 w 1935893"/>
                  <a:gd name="connsiteY300" fmla="*/ 355800 h 1590788"/>
                  <a:gd name="connsiteX301" fmla="*/ 532388 w 1935893"/>
                  <a:gd name="connsiteY301" fmla="*/ 350165 h 1590788"/>
                  <a:gd name="connsiteX302" fmla="*/ 532388 w 1935893"/>
                  <a:gd name="connsiteY302" fmla="*/ 348056 h 1590788"/>
                  <a:gd name="connsiteX303" fmla="*/ 539227 w 1935893"/>
                  <a:gd name="connsiteY303" fmla="*/ 346632 h 1590788"/>
                  <a:gd name="connsiteX304" fmla="*/ 545668 w 1935893"/>
                  <a:gd name="connsiteY304" fmla="*/ 339963 h 1590788"/>
                  <a:gd name="connsiteX305" fmla="*/ 550284 w 1935893"/>
                  <a:gd name="connsiteY305" fmla="*/ 331585 h 1590788"/>
                  <a:gd name="connsiteX306" fmla="*/ 552621 w 1935893"/>
                  <a:gd name="connsiteY306" fmla="*/ 329818 h 1590788"/>
                  <a:gd name="connsiteX307" fmla="*/ 550569 w 1935893"/>
                  <a:gd name="connsiteY307" fmla="*/ 323264 h 1590788"/>
                  <a:gd name="connsiteX308" fmla="*/ 547378 w 1935893"/>
                  <a:gd name="connsiteY308" fmla="*/ 316880 h 1590788"/>
                  <a:gd name="connsiteX309" fmla="*/ 557979 w 1935893"/>
                  <a:gd name="connsiteY309" fmla="*/ 315228 h 1590788"/>
                  <a:gd name="connsiteX310" fmla="*/ 552279 w 1935893"/>
                  <a:gd name="connsiteY310" fmla="*/ 301207 h 1590788"/>
                  <a:gd name="connsiteX311" fmla="*/ 536434 w 1935893"/>
                  <a:gd name="connsiteY311" fmla="*/ 298186 h 1590788"/>
                  <a:gd name="connsiteX312" fmla="*/ 527885 w 1935893"/>
                  <a:gd name="connsiteY312" fmla="*/ 317963 h 1590788"/>
                  <a:gd name="connsiteX313" fmla="*/ 512782 w 1935893"/>
                  <a:gd name="connsiteY313" fmla="*/ 312891 h 1590788"/>
                  <a:gd name="connsiteX314" fmla="*/ 510787 w 1935893"/>
                  <a:gd name="connsiteY314" fmla="*/ 309072 h 1590788"/>
                  <a:gd name="connsiteX315" fmla="*/ 506911 w 1935893"/>
                  <a:gd name="connsiteY315" fmla="*/ 307932 h 1590788"/>
                  <a:gd name="connsiteX316" fmla="*/ 489186 w 1935893"/>
                  <a:gd name="connsiteY316" fmla="*/ 312207 h 1590788"/>
                  <a:gd name="connsiteX317" fmla="*/ 481321 w 1935893"/>
                  <a:gd name="connsiteY317" fmla="*/ 315911 h 1590788"/>
                  <a:gd name="connsiteX318" fmla="*/ 477787 w 1935893"/>
                  <a:gd name="connsiteY318" fmla="*/ 323606 h 1590788"/>
                  <a:gd name="connsiteX319" fmla="*/ 464678 w 1935893"/>
                  <a:gd name="connsiteY319" fmla="*/ 332668 h 1590788"/>
                  <a:gd name="connsiteX320" fmla="*/ 461201 w 1935893"/>
                  <a:gd name="connsiteY320" fmla="*/ 347601 h 1590788"/>
                  <a:gd name="connsiteX321" fmla="*/ 460688 w 1935893"/>
                  <a:gd name="connsiteY321" fmla="*/ 352103 h 1590788"/>
                  <a:gd name="connsiteX322" fmla="*/ 453222 w 1935893"/>
                  <a:gd name="connsiteY322" fmla="*/ 356321 h 1590788"/>
                  <a:gd name="connsiteX323" fmla="*/ 428316 w 1935893"/>
                  <a:gd name="connsiteY323" fmla="*/ 364585 h 1590788"/>
                  <a:gd name="connsiteX324" fmla="*/ 418398 w 1935893"/>
                  <a:gd name="connsiteY324" fmla="*/ 371994 h 1590788"/>
                  <a:gd name="connsiteX325" fmla="*/ 419709 w 1935893"/>
                  <a:gd name="connsiteY325" fmla="*/ 383393 h 1590788"/>
                  <a:gd name="connsiteX326" fmla="*/ 502694 w 1935893"/>
                  <a:gd name="connsiteY326" fmla="*/ 392284 h 1590788"/>
                  <a:gd name="connsiteX327" fmla="*/ 514093 w 1935893"/>
                  <a:gd name="connsiteY327" fmla="*/ 387155 h 1590788"/>
                  <a:gd name="connsiteX328" fmla="*/ 513694 w 1935893"/>
                  <a:gd name="connsiteY328" fmla="*/ 377580 h 1590788"/>
                  <a:gd name="connsiteX329" fmla="*/ 510274 w 1935893"/>
                  <a:gd name="connsiteY329" fmla="*/ 372849 h 1590788"/>
                  <a:gd name="connsiteX330" fmla="*/ 507025 w 1935893"/>
                  <a:gd name="connsiteY330" fmla="*/ 371367 h 1590788"/>
                  <a:gd name="connsiteX331" fmla="*/ 501326 w 1935893"/>
                  <a:gd name="connsiteY331" fmla="*/ 379062 h 1590788"/>
                  <a:gd name="connsiteX332" fmla="*/ 496481 w 1935893"/>
                  <a:gd name="connsiteY332" fmla="*/ 381740 h 1590788"/>
                  <a:gd name="connsiteX333" fmla="*/ 485595 w 1935893"/>
                  <a:gd name="connsiteY333" fmla="*/ 385274 h 1590788"/>
                  <a:gd name="connsiteX334" fmla="*/ 484341 w 1935893"/>
                  <a:gd name="connsiteY334" fmla="*/ 393766 h 1590788"/>
                  <a:gd name="connsiteX335" fmla="*/ 482517 w 1935893"/>
                  <a:gd name="connsiteY335" fmla="*/ 395761 h 1590788"/>
                  <a:gd name="connsiteX336" fmla="*/ 483942 w 1935893"/>
                  <a:gd name="connsiteY336" fmla="*/ 400264 h 1590788"/>
                  <a:gd name="connsiteX337" fmla="*/ 488844 w 1935893"/>
                  <a:gd name="connsiteY337" fmla="*/ 401803 h 1590788"/>
                  <a:gd name="connsiteX338" fmla="*/ 496538 w 1935893"/>
                  <a:gd name="connsiteY338" fmla="*/ 400948 h 1590788"/>
                  <a:gd name="connsiteX339" fmla="*/ 497450 w 1935893"/>
                  <a:gd name="connsiteY339" fmla="*/ 394735 h 1590788"/>
                  <a:gd name="connsiteX340" fmla="*/ 502694 w 1935893"/>
                  <a:gd name="connsiteY340" fmla="*/ 392284 h 1590788"/>
                  <a:gd name="connsiteX341" fmla="*/ 557409 w 1935893"/>
                  <a:gd name="connsiteY341" fmla="*/ 366295 h 1590788"/>
                  <a:gd name="connsiteX342" fmla="*/ 544699 w 1935893"/>
                  <a:gd name="connsiteY342" fmla="*/ 370797 h 1590788"/>
                  <a:gd name="connsiteX343" fmla="*/ 546523 w 1935893"/>
                  <a:gd name="connsiteY343" fmla="*/ 376497 h 1590788"/>
                  <a:gd name="connsiteX344" fmla="*/ 552222 w 1935893"/>
                  <a:gd name="connsiteY344" fmla="*/ 379347 h 1590788"/>
                  <a:gd name="connsiteX345" fmla="*/ 567269 w 1935893"/>
                  <a:gd name="connsiteY345" fmla="*/ 388580 h 1590788"/>
                  <a:gd name="connsiteX346" fmla="*/ 539170 w 1935893"/>
                  <a:gd name="connsiteY346" fmla="*/ 388124 h 1590788"/>
                  <a:gd name="connsiteX347" fmla="*/ 530222 w 1935893"/>
                  <a:gd name="connsiteY347" fmla="*/ 393367 h 1590788"/>
                  <a:gd name="connsiteX348" fmla="*/ 536263 w 1935893"/>
                  <a:gd name="connsiteY348" fmla="*/ 398098 h 1590788"/>
                  <a:gd name="connsiteX349" fmla="*/ 564761 w 1935893"/>
                  <a:gd name="connsiteY349" fmla="*/ 401119 h 1590788"/>
                  <a:gd name="connsiteX350" fmla="*/ 554901 w 1935893"/>
                  <a:gd name="connsiteY350" fmla="*/ 407217 h 1590788"/>
                  <a:gd name="connsiteX351" fmla="*/ 527999 w 1935893"/>
                  <a:gd name="connsiteY351" fmla="*/ 409611 h 1590788"/>
                  <a:gd name="connsiteX352" fmla="*/ 520932 w 1935893"/>
                  <a:gd name="connsiteY352" fmla="*/ 411606 h 1590788"/>
                  <a:gd name="connsiteX353" fmla="*/ 519946 w 1935893"/>
                  <a:gd name="connsiteY353" fmla="*/ 418059 h 1590788"/>
                  <a:gd name="connsiteX354" fmla="*/ 520020 w 1935893"/>
                  <a:gd name="connsiteY354" fmla="*/ 418160 h 1590788"/>
                  <a:gd name="connsiteX355" fmla="*/ 523668 w 1935893"/>
                  <a:gd name="connsiteY355" fmla="*/ 419414 h 1590788"/>
                  <a:gd name="connsiteX356" fmla="*/ 548460 w 1935893"/>
                  <a:gd name="connsiteY356" fmla="*/ 422891 h 1590788"/>
                  <a:gd name="connsiteX357" fmla="*/ 581346 w 1935893"/>
                  <a:gd name="connsiteY357" fmla="*/ 416792 h 1590788"/>
                  <a:gd name="connsiteX358" fmla="*/ 588927 w 1935893"/>
                  <a:gd name="connsiteY358" fmla="*/ 405393 h 1590788"/>
                  <a:gd name="connsiteX359" fmla="*/ 600839 w 1935893"/>
                  <a:gd name="connsiteY359" fmla="*/ 401404 h 1590788"/>
                  <a:gd name="connsiteX360" fmla="*/ 604258 w 1935893"/>
                  <a:gd name="connsiteY360" fmla="*/ 411948 h 1590788"/>
                  <a:gd name="connsiteX361" fmla="*/ 597476 w 1935893"/>
                  <a:gd name="connsiteY361" fmla="*/ 421808 h 1590788"/>
                  <a:gd name="connsiteX362" fmla="*/ 611041 w 1935893"/>
                  <a:gd name="connsiteY362" fmla="*/ 421808 h 1590788"/>
                  <a:gd name="connsiteX363" fmla="*/ 623408 w 1935893"/>
                  <a:gd name="connsiteY363" fmla="*/ 414740 h 1590788"/>
                  <a:gd name="connsiteX364" fmla="*/ 651906 w 1935893"/>
                  <a:gd name="connsiteY364" fmla="*/ 413657 h 1590788"/>
                  <a:gd name="connsiteX365" fmla="*/ 651906 w 1935893"/>
                  <a:gd name="connsiteY365" fmla="*/ 420497 h 1590788"/>
                  <a:gd name="connsiteX366" fmla="*/ 644269 w 1935893"/>
                  <a:gd name="connsiteY366" fmla="*/ 421466 h 1590788"/>
                  <a:gd name="connsiteX367" fmla="*/ 641761 w 1935893"/>
                  <a:gd name="connsiteY367" fmla="*/ 428248 h 1590788"/>
                  <a:gd name="connsiteX368" fmla="*/ 624206 w 1935893"/>
                  <a:gd name="connsiteY368" fmla="*/ 434404 h 1590788"/>
                  <a:gd name="connsiteX369" fmla="*/ 614517 w 1935893"/>
                  <a:gd name="connsiteY369" fmla="*/ 436854 h 1590788"/>
                  <a:gd name="connsiteX370" fmla="*/ 588015 w 1935893"/>
                  <a:gd name="connsiteY370" fmla="*/ 440901 h 1590788"/>
                  <a:gd name="connsiteX371" fmla="*/ 591719 w 1935893"/>
                  <a:gd name="connsiteY371" fmla="*/ 450533 h 1590788"/>
                  <a:gd name="connsiteX372" fmla="*/ 601864 w 1935893"/>
                  <a:gd name="connsiteY372" fmla="*/ 454238 h 1590788"/>
                  <a:gd name="connsiteX373" fmla="*/ 638113 w 1935893"/>
                  <a:gd name="connsiteY373" fmla="*/ 453383 h 1590788"/>
                  <a:gd name="connsiteX374" fmla="*/ 644838 w 1935893"/>
                  <a:gd name="connsiteY374" fmla="*/ 449849 h 1590788"/>
                  <a:gd name="connsiteX375" fmla="*/ 646890 w 1935893"/>
                  <a:gd name="connsiteY375" fmla="*/ 446543 h 1590788"/>
                  <a:gd name="connsiteX376" fmla="*/ 657377 w 1935893"/>
                  <a:gd name="connsiteY376" fmla="*/ 444891 h 1590788"/>
                  <a:gd name="connsiteX377" fmla="*/ 661709 w 1935893"/>
                  <a:gd name="connsiteY377" fmla="*/ 436797 h 1590788"/>
                  <a:gd name="connsiteX378" fmla="*/ 666155 w 1935893"/>
                  <a:gd name="connsiteY378" fmla="*/ 435714 h 1590788"/>
                  <a:gd name="connsiteX379" fmla="*/ 682113 w 1935893"/>
                  <a:gd name="connsiteY379" fmla="*/ 425797 h 1590788"/>
                  <a:gd name="connsiteX380" fmla="*/ 693512 w 1935893"/>
                  <a:gd name="connsiteY380" fmla="*/ 424258 h 1590788"/>
                  <a:gd name="connsiteX381" fmla="*/ 748113 w 1935893"/>
                  <a:gd name="connsiteY381" fmla="*/ 424258 h 1590788"/>
                  <a:gd name="connsiteX382" fmla="*/ 762305 w 1935893"/>
                  <a:gd name="connsiteY382" fmla="*/ 422606 h 1590788"/>
                  <a:gd name="connsiteX383" fmla="*/ 772051 w 1935893"/>
                  <a:gd name="connsiteY383" fmla="*/ 412916 h 1590788"/>
                  <a:gd name="connsiteX384" fmla="*/ 773248 w 1935893"/>
                  <a:gd name="connsiteY384" fmla="*/ 407217 h 1590788"/>
                  <a:gd name="connsiteX385" fmla="*/ 776952 w 1935893"/>
                  <a:gd name="connsiteY385" fmla="*/ 402828 h 1590788"/>
                  <a:gd name="connsiteX386" fmla="*/ 774672 w 1935893"/>
                  <a:gd name="connsiteY386" fmla="*/ 380771 h 1590788"/>
                  <a:gd name="connsiteX387" fmla="*/ 762020 w 1935893"/>
                  <a:gd name="connsiteY387" fmla="*/ 374901 h 1590788"/>
                  <a:gd name="connsiteX388" fmla="*/ 744294 w 1935893"/>
                  <a:gd name="connsiteY388" fmla="*/ 389435 h 1590788"/>
                  <a:gd name="connsiteX389" fmla="*/ 739450 w 1935893"/>
                  <a:gd name="connsiteY389" fmla="*/ 388409 h 1590788"/>
                  <a:gd name="connsiteX390" fmla="*/ 736828 w 1935893"/>
                  <a:gd name="connsiteY390" fmla="*/ 386870 h 1590788"/>
                  <a:gd name="connsiteX391" fmla="*/ 735973 w 1935893"/>
                  <a:gd name="connsiteY391" fmla="*/ 383849 h 1590788"/>
                  <a:gd name="connsiteX392" fmla="*/ 720356 w 1935893"/>
                  <a:gd name="connsiteY392" fmla="*/ 366751 h 1590788"/>
                  <a:gd name="connsiteX393" fmla="*/ 720356 w 1935893"/>
                  <a:gd name="connsiteY393" fmla="*/ 360082 h 1590788"/>
                  <a:gd name="connsiteX394" fmla="*/ 708502 w 1935893"/>
                  <a:gd name="connsiteY394" fmla="*/ 354383 h 1590788"/>
                  <a:gd name="connsiteX395" fmla="*/ 705367 w 1935893"/>
                  <a:gd name="connsiteY395" fmla="*/ 348227 h 1590788"/>
                  <a:gd name="connsiteX396" fmla="*/ 688268 w 1935893"/>
                  <a:gd name="connsiteY396" fmla="*/ 346974 h 1590788"/>
                  <a:gd name="connsiteX397" fmla="*/ 684336 w 1935893"/>
                  <a:gd name="connsiteY397" fmla="*/ 349310 h 1590788"/>
                  <a:gd name="connsiteX398" fmla="*/ 682911 w 1935893"/>
                  <a:gd name="connsiteY398" fmla="*/ 352331 h 1590788"/>
                  <a:gd name="connsiteX399" fmla="*/ 679548 w 1935893"/>
                  <a:gd name="connsiteY399" fmla="*/ 368917 h 1590788"/>
                  <a:gd name="connsiteX400" fmla="*/ 696077 w 1935893"/>
                  <a:gd name="connsiteY400" fmla="*/ 375015 h 1590788"/>
                  <a:gd name="connsiteX401" fmla="*/ 688439 w 1935893"/>
                  <a:gd name="connsiteY401" fmla="*/ 380714 h 1590788"/>
                  <a:gd name="connsiteX402" fmla="*/ 689693 w 1935893"/>
                  <a:gd name="connsiteY402" fmla="*/ 390917 h 1590788"/>
                  <a:gd name="connsiteX403" fmla="*/ 699724 w 1935893"/>
                  <a:gd name="connsiteY403" fmla="*/ 396616 h 1590788"/>
                  <a:gd name="connsiteX404" fmla="*/ 706564 w 1935893"/>
                  <a:gd name="connsiteY404" fmla="*/ 405165 h 1590788"/>
                  <a:gd name="connsiteX405" fmla="*/ 660569 w 1935893"/>
                  <a:gd name="connsiteY405" fmla="*/ 402486 h 1590788"/>
                  <a:gd name="connsiteX406" fmla="*/ 658745 w 1935893"/>
                  <a:gd name="connsiteY406" fmla="*/ 401689 h 1590788"/>
                  <a:gd name="connsiteX407" fmla="*/ 657662 w 1935893"/>
                  <a:gd name="connsiteY407" fmla="*/ 398839 h 1590788"/>
                  <a:gd name="connsiteX408" fmla="*/ 646263 w 1935893"/>
                  <a:gd name="connsiteY408" fmla="*/ 391486 h 1590788"/>
                  <a:gd name="connsiteX409" fmla="*/ 648999 w 1935893"/>
                  <a:gd name="connsiteY409" fmla="*/ 384305 h 1590788"/>
                  <a:gd name="connsiteX410" fmla="*/ 634294 w 1935893"/>
                  <a:gd name="connsiteY410" fmla="*/ 375756 h 1590788"/>
                  <a:gd name="connsiteX411" fmla="*/ 593942 w 1935893"/>
                  <a:gd name="connsiteY411" fmla="*/ 365098 h 1590788"/>
                  <a:gd name="connsiteX412" fmla="*/ 591662 w 1935893"/>
                  <a:gd name="connsiteY412" fmla="*/ 363559 h 1590788"/>
                  <a:gd name="connsiteX413" fmla="*/ 590693 w 1935893"/>
                  <a:gd name="connsiteY413" fmla="*/ 360025 h 1590788"/>
                  <a:gd name="connsiteX414" fmla="*/ 578725 w 1935893"/>
                  <a:gd name="connsiteY414" fmla="*/ 349709 h 1590788"/>
                  <a:gd name="connsiteX415" fmla="*/ 566129 w 1935893"/>
                  <a:gd name="connsiteY415" fmla="*/ 354212 h 1590788"/>
                  <a:gd name="connsiteX416" fmla="*/ 562424 w 1935893"/>
                  <a:gd name="connsiteY416" fmla="*/ 357005 h 1590788"/>
                  <a:gd name="connsiteX417" fmla="*/ 557580 w 1935893"/>
                  <a:gd name="connsiteY417" fmla="*/ 366295 h 1590788"/>
                  <a:gd name="connsiteX418" fmla="*/ 579921 w 1935893"/>
                  <a:gd name="connsiteY418" fmla="*/ 286502 h 1590788"/>
                  <a:gd name="connsiteX419" fmla="*/ 582942 w 1935893"/>
                  <a:gd name="connsiteY419" fmla="*/ 291233 h 1590788"/>
                  <a:gd name="connsiteX420" fmla="*/ 599243 w 1935893"/>
                  <a:gd name="connsiteY420" fmla="*/ 297445 h 1590788"/>
                  <a:gd name="connsiteX421" fmla="*/ 602833 w 1935893"/>
                  <a:gd name="connsiteY421" fmla="*/ 297046 h 1590788"/>
                  <a:gd name="connsiteX422" fmla="*/ 605512 w 1935893"/>
                  <a:gd name="connsiteY422" fmla="*/ 290435 h 1590788"/>
                  <a:gd name="connsiteX423" fmla="*/ 602092 w 1935893"/>
                  <a:gd name="connsiteY423" fmla="*/ 284735 h 1590788"/>
                  <a:gd name="connsiteX424" fmla="*/ 596678 w 1935893"/>
                  <a:gd name="connsiteY424" fmla="*/ 280632 h 1590788"/>
                  <a:gd name="connsiteX425" fmla="*/ 578839 w 1935893"/>
                  <a:gd name="connsiteY425" fmla="*/ 276528 h 1590788"/>
                  <a:gd name="connsiteX426" fmla="*/ 576103 w 1935893"/>
                  <a:gd name="connsiteY426" fmla="*/ 277554 h 1590788"/>
                  <a:gd name="connsiteX427" fmla="*/ 576103 w 1935893"/>
                  <a:gd name="connsiteY427" fmla="*/ 282570 h 1590788"/>
                  <a:gd name="connsiteX428" fmla="*/ 579921 w 1935893"/>
                  <a:gd name="connsiteY428" fmla="*/ 286616 h 1590788"/>
                  <a:gd name="connsiteX429" fmla="*/ 675160 w 1935893"/>
                  <a:gd name="connsiteY429" fmla="*/ 284507 h 1590788"/>
                  <a:gd name="connsiteX430" fmla="*/ 690377 w 1935893"/>
                  <a:gd name="connsiteY430" fmla="*/ 281715 h 1590788"/>
                  <a:gd name="connsiteX431" fmla="*/ 688439 w 1935893"/>
                  <a:gd name="connsiteY431" fmla="*/ 276357 h 1590788"/>
                  <a:gd name="connsiteX432" fmla="*/ 682170 w 1935893"/>
                  <a:gd name="connsiteY432" fmla="*/ 275502 h 1590788"/>
                  <a:gd name="connsiteX433" fmla="*/ 635776 w 1935893"/>
                  <a:gd name="connsiteY433" fmla="*/ 277497 h 1590788"/>
                  <a:gd name="connsiteX434" fmla="*/ 633383 w 1935893"/>
                  <a:gd name="connsiteY434" fmla="*/ 278124 h 1590788"/>
                  <a:gd name="connsiteX435" fmla="*/ 632756 w 1935893"/>
                  <a:gd name="connsiteY435" fmla="*/ 284849 h 1590788"/>
                  <a:gd name="connsiteX436" fmla="*/ 627056 w 1935893"/>
                  <a:gd name="connsiteY436" fmla="*/ 289010 h 1590788"/>
                  <a:gd name="connsiteX437" fmla="*/ 619875 w 1935893"/>
                  <a:gd name="connsiteY437" fmla="*/ 291062 h 1590788"/>
                  <a:gd name="connsiteX438" fmla="*/ 617538 w 1935893"/>
                  <a:gd name="connsiteY438" fmla="*/ 295906 h 1590788"/>
                  <a:gd name="connsiteX439" fmla="*/ 624833 w 1935893"/>
                  <a:gd name="connsiteY439" fmla="*/ 307989 h 1590788"/>
                  <a:gd name="connsiteX440" fmla="*/ 639139 w 1935893"/>
                  <a:gd name="connsiteY440" fmla="*/ 311751 h 1590788"/>
                  <a:gd name="connsiteX441" fmla="*/ 651393 w 1935893"/>
                  <a:gd name="connsiteY441" fmla="*/ 313404 h 1590788"/>
                  <a:gd name="connsiteX442" fmla="*/ 657092 w 1935893"/>
                  <a:gd name="connsiteY442" fmla="*/ 313404 h 1590788"/>
                  <a:gd name="connsiteX443" fmla="*/ 661481 w 1935893"/>
                  <a:gd name="connsiteY443" fmla="*/ 309870 h 1590788"/>
                  <a:gd name="connsiteX444" fmla="*/ 673165 w 1935893"/>
                  <a:gd name="connsiteY444" fmla="*/ 303601 h 1590788"/>
                  <a:gd name="connsiteX445" fmla="*/ 680745 w 1935893"/>
                  <a:gd name="connsiteY445" fmla="*/ 299953 h 1590788"/>
                  <a:gd name="connsiteX446" fmla="*/ 677781 w 1935893"/>
                  <a:gd name="connsiteY446" fmla="*/ 293114 h 1590788"/>
                  <a:gd name="connsiteX447" fmla="*/ 669745 w 1935893"/>
                  <a:gd name="connsiteY447" fmla="*/ 291917 h 1590788"/>
                  <a:gd name="connsiteX448" fmla="*/ 670258 w 1935893"/>
                  <a:gd name="connsiteY448" fmla="*/ 286901 h 1590788"/>
                  <a:gd name="connsiteX449" fmla="*/ 675160 w 1935893"/>
                  <a:gd name="connsiteY449" fmla="*/ 284621 h 1590788"/>
                  <a:gd name="connsiteX450" fmla="*/ 649626 w 1935893"/>
                  <a:gd name="connsiteY450" fmla="*/ 262222 h 1590788"/>
                  <a:gd name="connsiteX451" fmla="*/ 654813 w 1935893"/>
                  <a:gd name="connsiteY451" fmla="*/ 260285 h 1590788"/>
                  <a:gd name="connsiteX452" fmla="*/ 652989 w 1935893"/>
                  <a:gd name="connsiteY452" fmla="*/ 255383 h 1590788"/>
                  <a:gd name="connsiteX453" fmla="*/ 647916 w 1935893"/>
                  <a:gd name="connsiteY453" fmla="*/ 252647 h 1590788"/>
                  <a:gd name="connsiteX454" fmla="*/ 644952 w 1935893"/>
                  <a:gd name="connsiteY454" fmla="*/ 250083 h 1590788"/>
                  <a:gd name="connsiteX455" fmla="*/ 634408 w 1935893"/>
                  <a:gd name="connsiteY455" fmla="*/ 247347 h 1590788"/>
                  <a:gd name="connsiteX456" fmla="*/ 623807 w 1935893"/>
                  <a:gd name="connsiteY456" fmla="*/ 250823 h 1590788"/>
                  <a:gd name="connsiteX457" fmla="*/ 612408 w 1935893"/>
                  <a:gd name="connsiteY457" fmla="*/ 257777 h 1590788"/>
                  <a:gd name="connsiteX458" fmla="*/ 607906 w 1935893"/>
                  <a:gd name="connsiteY458" fmla="*/ 259202 h 1590788"/>
                  <a:gd name="connsiteX459" fmla="*/ 630191 w 1935893"/>
                  <a:gd name="connsiteY459" fmla="*/ 262051 h 1590788"/>
                  <a:gd name="connsiteX460" fmla="*/ 702688 w 1935893"/>
                  <a:gd name="connsiteY460" fmla="*/ 261197 h 1590788"/>
                  <a:gd name="connsiteX461" fmla="*/ 692999 w 1935893"/>
                  <a:gd name="connsiteY461" fmla="*/ 249228 h 1590788"/>
                  <a:gd name="connsiteX462" fmla="*/ 677667 w 1935893"/>
                  <a:gd name="connsiteY462" fmla="*/ 248316 h 1590788"/>
                  <a:gd name="connsiteX463" fmla="*/ 674362 w 1935893"/>
                  <a:gd name="connsiteY463" fmla="*/ 250197 h 1590788"/>
                  <a:gd name="connsiteX464" fmla="*/ 671626 w 1935893"/>
                  <a:gd name="connsiteY464" fmla="*/ 253844 h 1590788"/>
                  <a:gd name="connsiteX465" fmla="*/ 665926 w 1935893"/>
                  <a:gd name="connsiteY465" fmla="*/ 258860 h 1590788"/>
                  <a:gd name="connsiteX466" fmla="*/ 677325 w 1935893"/>
                  <a:gd name="connsiteY466" fmla="*/ 263077 h 1590788"/>
                  <a:gd name="connsiteX467" fmla="*/ 702688 w 1935893"/>
                  <a:gd name="connsiteY467" fmla="*/ 261311 h 1590788"/>
                  <a:gd name="connsiteX468" fmla="*/ 779859 w 1935893"/>
                  <a:gd name="connsiteY468" fmla="*/ 309870 h 1590788"/>
                  <a:gd name="connsiteX469" fmla="*/ 782538 w 1935893"/>
                  <a:gd name="connsiteY469" fmla="*/ 311922 h 1590788"/>
                  <a:gd name="connsiteX470" fmla="*/ 787496 w 1935893"/>
                  <a:gd name="connsiteY470" fmla="*/ 318704 h 1590788"/>
                  <a:gd name="connsiteX471" fmla="*/ 796159 w 1935893"/>
                  <a:gd name="connsiteY471" fmla="*/ 320300 h 1590788"/>
                  <a:gd name="connsiteX472" fmla="*/ 805564 w 1935893"/>
                  <a:gd name="connsiteY472" fmla="*/ 318248 h 1590788"/>
                  <a:gd name="connsiteX473" fmla="*/ 808470 w 1935893"/>
                  <a:gd name="connsiteY473" fmla="*/ 309756 h 1590788"/>
                  <a:gd name="connsiteX474" fmla="*/ 805621 w 1935893"/>
                  <a:gd name="connsiteY474" fmla="*/ 306678 h 1590788"/>
                  <a:gd name="connsiteX475" fmla="*/ 789092 w 1935893"/>
                  <a:gd name="connsiteY475" fmla="*/ 293228 h 1590788"/>
                  <a:gd name="connsiteX476" fmla="*/ 781569 w 1935893"/>
                  <a:gd name="connsiteY476" fmla="*/ 288098 h 1590788"/>
                  <a:gd name="connsiteX477" fmla="*/ 772621 w 1935893"/>
                  <a:gd name="connsiteY477" fmla="*/ 287357 h 1590788"/>
                  <a:gd name="connsiteX478" fmla="*/ 770455 w 1935893"/>
                  <a:gd name="connsiteY478" fmla="*/ 299896 h 1590788"/>
                  <a:gd name="connsiteX479" fmla="*/ 779859 w 1935893"/>
                  <a:gd name="connsiteY479" fmla="*/ 309870 h 1590788"/>
                  <a:gd name="connsiteX480" fmla="*/ 820097 w 1935893"/>
                  <a:gd name="connsiteY480" fmla="*/ 421808 h 1590788"/>
                  <a:gd name="connsiteX481" fmla="*/ 821351 w 1935893"/>
                  <a:gd name="connsiteY481" fmla="*/ 421409 h 1590788"/>
                  <a:gd name="connsiteX482" fmla="*/ 821864 w 1935893"/>
                  <a:gd name="connsiteY482" fmla="*/ 419756 h 1590788"/>
                  <a:gd name="connsiteX483" fmla="*/ 821864 w 1935893"/>
                  <a:gd name="connsiteY483" fmla="*/ 406134 h 1590788"/>
                  <a:gd name="connsiteX484" fmla="*/ 811263 w 1935893"/>
                  <a:gd name="connsiteY484" fmla="*/ 405564 h 1590788"/>
                  <a:gd name="connsiteX485" fmla="*/ 804937 w 1935893"/>
                  <a:gd name="connsiteY485" fmla="*/ 405564 h 1590788"/>
                  <a:gd name="connsiteX486" fmla="*/ 798781 w 1935893"/>
                  <a:gd name="connsiteY486" fmla="*/ 410409 h 1590788"/>
                  <a:gd name="connsiteX487" fmla="*/ 801574 w 1935893"/>
                  <a:gd name="connsiteY487" fmla="*/ 417590 h 1590788"/>
                  <a:gd name="connsiteX488" fmla="*/ 820268 w 1935893"/>
                  <a:gd name="connsiteY488" fmla="*/ 421808 h 1590788"/>
                  <a:gd name="connsiteX489" fmla="*/ 927532 w 1935893"/>
                  <a:gd name="connsiteY489" fmla="*/ 355124 h 1590788"/>
                  <a:gd name="connsiteX490" fmla="*/ 918185 w 1935893"/>
                  <a:gd name="connsiteY490" fmla="*/ 353072 h 1590788"/>
                  <a:gd name="connsiteX491" fmla="*/ 909636 w 1935893"/>
                  <a:gd name="connsiteY491" fmla="*/ 347373 h 1590788"/>
                  <a:gd name="connsiteX492" fmla="*/ 904278 w 1935893"/>
                  <a:gd name="connsiteY492" fmla="*/ 347373 h 1590788"/>
                  <a:gd name="connsiteX493" fmla="*/ 901087 w 1935893"/>
                  <a:gd name="connsiteY493" fmla="*/ 341103 h 1590788"/>
                  <a:gd name="connsiteX494" fmla="*/ 895387 w 1935893"/>
                  <a:gd name="connsiteY494" fmla="*/ 338880 h 1590788"/>
                  <a:gd name="connsiteX495" fmla="*/ 887294 w 1935893"/>
                  <a:gd name="connsiteY495" fmla="*/ 332440 h 1590788"/>
                  <a:gd name="connsiteX496" fmla="*/ 884216 w 1935893"/>
                  <a:gd name="connsiteY496" fmla="*/ 334777 h 1590788"/>
                  <a:gd name="connsiteX497" fmla="*/ 886724 w 1935893"/>
                  <a:gd name="connsiteY497" fmla="*/ 348683 h 1590788"/>
                  <a:gd name="connsiteX498" fmla="*/ 896014 w 1935893"/>
                  <a:gd name="connsiteY498" fmla="*/ 360481 h 1590788"/>
                  <a:gd name="connsiteX499" fmla="*/ 897781 w 1935893"/>
                  <a:gd name="connsiteY499" fmla="*/ 363958 h 1590788"/>
                  <a:gd name="connsiteX500" fmla="*/ 901030 w 1935893"/>
                  <a:gd name="connsiteY500" fmla="*/ 366523 h 1590788"/>
                  <a:gd name="connsiteX501" fmla="*/ 909978 w 1935893"/>
                  <a:gd name="connsiteY501" fmla="*/ 372222 h 1590788"/>
                  <a:gd name="connsiteX502" fmla="*/ 895330 w 1935893"/>
                  <a:gd name="connsiteY502" fmla="*/ 375015 h 1590788"/>
                  <a:gd name="connsiteX503" fmla="*/ 891056 w 1935893"/>
                  <a:gd name="connsiteY503" fmla="*/ 373362 h 1590788"/>
                  <a:gd name="connsiteX504" fmla="*/ 886610 w 1935893"/>
                  <a:gd name="connsiteY504" fmla="*/ 365896 h 1590788"/>
                  <a:gd name="connsiteX505" fmla="*/ 880056 w 1935893"/>
                  <a:gd name="connsiteY505" fmla="*/ 362761 h 1590788"/>
                  <a:gd name="connsiteX506" fmla="*/ 870310 w 1935893"/>
                  <a:gd name="connsiteY506" fmla="*/ 356549 h 1590788"/>
                  <a:gd name="connsiteX507" fmla="*/ 860222 w 1935893"/>
                  <a:gd name="connsiteY507" fmla="*/ 358771 h 1590788"/>
                  <a:gd name="connsiteX508" fmla="*/ 862843 w 1935893"/>
                  <a:gd name="connsiteY508" fmla="*/ 367150 h 1590788"/>
                  <a:gd name="connsiteX509" fmla="*/ 868201 w 1935893"/>
                  <a:gd name="connsiteY509" fmla="*/ 374616 h 1590788"/>
                  <a:gd name="connsiteX510" fmla="*/ 866377 w 1935893"/>
                  <a:gd name="connsiteY510" fmla="*/ 383678 h 1590788"/>
                  <a:gd name="connsiteX511" fmla="*/ 862216 w 1935893"/>
                  <a:gd name="connsiteY511" fmla="*/ 387440 h 1590788"/>
                  <a:gd name="connsiteX512" fmla="*/ 859139 w 1935893"/>
                  <a:gd name="connsiteY512" fmla="*/ 385046 h 1590788"/>
                  <a:gd name="connsiteX513" fmla="*/ 830641 w 1935893"/>
                  <a:gd name="connsiteY513" fmla="*/ 346461 h 1590788"/>
                  <a:gd name="connsiteX514" fmla="*/ 826766 w 1935893"/>
                  <a:gd name="connsiteY514" fmla="*/ 342756 h 1590788"/>
                  <a:gd name="connsiteX515" fmla="*/ 822320 w 1935893"/>
                  <a:gd name="connsiteY515" fmla="*/ 342072 h 1590788"/>
                  <a:gd name="connsiteX516" fmla="*/ 810921 w 1935893"/>
                  <a:gd name="connsiteY516" fmla="*/ 342072 h 1590788"/>
                  <a:gd name="connsiteX517" fmla="*/ 805621 w 1935893"/>
                  <a:gd name="connsiteY517" fmla="*/ 343155 h 1590788"/>
                  <a:gd name="connsiteX518" fmla="*/ 803569 w 1935893"/>
                  <a:gd name="connsiteY518" fmla="*/ 348854 h 1590788"/>
                  <a:gd name="connsiteX519" fmla="*/ 811320 w 1935893"/>
                  <a:gd name="connsiteY519" fmla="*/ 364756 h 1590788"/>
                  <a:gd name="connsiteX520" fmla="*/ 820610 w 1935893"/>
                  <a:gd name="connsiteY520" fmla="*/ 371196 h 1590788"/>
                  <a:gd name="connsiteX521" fmla="*/ 824258 w 1935893"/>
                  <a:gd name="connsiteY521" fmla="*/ 381227 h 1590788"/>
                  <a:gd name="connsiteX522" fmla="*/ 832750 w 1935893"/>
                  <a:gd name="connsiteY522" fmla="*/ 383564 h 1590788"/>
                  <a:gd name="connsiteX523" fmla="*/ 838906 w 1935893"/>
                  <a:gd name="connsiteY523" fmla="*/ 392455 h 1590788"/>
                  <a:gd name="connsiteX524" fmla="*/ 851729 w 1935893"/>
                  <a:gd name="connsiteY524" fmla="*/ 394450 h 1590788"/>
                  <a:gd name="connsiteX525" fmla="*/ 854693 w 1935893"/>
                  <a:gd name="connsiteY525" fmla="*/ 397414 h 1590788"/>
                  <a:gd name="connsiteX526" fmla="*/ 874584 w 1935893"/>
                  <a:gd name="connsiteY526" fmla="*/ 395875 h 1590788"/>
                  <a:gd name="connsiteX527" fmla="*/ 887237 w 1935893"/>
                  <a:gd name="connsiteY527" fmla="*/ 390176 h 1590788"/>
                  <a:gd name="connsiteX528" fmla="*/ 899548 w 1935893"/>
                  <a:gd name="connsiteY528" fmla="*/ 390176 h 1590788"/>
                  <a:gd name="connsiteX529" fmla="*/ 902284 w 1935893"/>
                  <a:gd name="connsiteY529" fmla="*/ 388580 h 1590788"/>
                  <a:gd name="connsiteX530" fmla="*/ 904222 w 1935893"/>
                  <a:gd name="connsiteY530" fmla="*/ 390347 h 1590788"/>
                  <a:gd name="connsiteX531" fmla="*/ 897969 w 1935893"/>
                  <a:gd name="connsiteY531" fmla="*/ 406337 h 1590788"/>
                  <a:gd name="connsiteX532" fmla="*/ 897496 w 1935893"/>
                  <a:gd name="connsiteY532" fmla="*/ 406533 h 1590788"/>
                  <a:gd name="connsiteX533" fmla="*/ 893507 w 1935893"/>
                  <a:gd name="connsiteY533" fmla="*/ 408186 h 1590788"/>
                  <a:gd name="connsiteX534" fmla="*/ 893108 w 1935893"/>
                  <a:gd name="connsiteY534" fmla="*/ 416450 h 1590788"/>
                  <a:gd name="connsiteX535" fmla="*/ 894589 w 1935893"/>
                  <a:gd name="connsiteY535" fmla="*/ 420725 h 1590788"/>
                  <a:gd name="connsiteX536" fmla="*/ 898978 w 1935893"/>
                  <a:gd name="connsiteY536" fmla="*/ 428077 h 1590788"/>
                  <a:gd name="connsiteX537" fmla="*/ 924170 w 1935893"/>
                  <a:gd name="connsiteY537" fmla="*/ 426538 h 1590788"/>
                  <a:gd name="connsiteX538" fmla="*/ 930781 w 1935893"/>
                  <a:gd name="connsiteY538" fmla="*/ 428362 h 1590788"/>
                  <a:gd name="connsiteX539" fmla="*/ 938589 w 1935893"/>
                  <a:gd name="connsiteY539" fmla="*/ 422150 h 1590788"/>
                  <a:gd name="connsiteX540" fmla="*/ 948335 w 1935893"/>
                  <a:gd name="connsiteY540" fmla="*/ 420269 h 1590788"/>
                  <a:gd name="connsiteX541" fmla="*/ 955973 w 1935893"/>
                  <a:gd name="connsiteY541" fmla="*/ 416792 h 1590788"/>
                  <a:gd name="connsiteX542" fmla="*/ 954080 w 1935893"/>
                  <a:gd name="connsiteY542" fmla="*/ 408213 h 1590788"/>
                  <a:gd name="connsiteX543" fmla="*/ 952097 w 1935893"/>
                  <a:gd name="connsiteY543" fmla="*/ 407388 h 1590788"/>
                  <a:gd name="connsiteX544" fmla="*/ 956771 w 1935893"/>
                  <a:gd name="connsiteY544" fmla="*/ 399808 h 1590788"/>
                  <a:gd name="connsiteX545" fmla="*/ 949863 w 1935893"/>
                  <a:gd name="connsiteY545" fmla="*/ 387139 h 1590788"/>
                  <a:gd name="connsiteX546" fmla="*/ 950843 w 1935893"/>
                  <a:gd name="connsiteY546" fmla="*/ 384875 h 1590788"/>
                  <a:gd name="connsiteX547" fmla="*/ 955688 w 1935893"/>
                  <a:gd name="connsiteY547" fmla="*/ 378834 h 1590788"/>
                  <a:gd name="connsiteX548" fmla="*/ 956429 w 1935893"/>
                  <a:gd name="connsiteY548" fmla="*/ 371595 h 1590788"/>
                  <a:gd name="connsiteX549" fmla="*/ 949931 w 1935893"/>
                  <a:gd name="connsiteY549" fmla="*/ 367378 h 1590788"/>
                  <a:gd name="connsiteX550" fmla="*/ 948164 w 1935893"/>
                  <a:gd name="connsiteY550" fmla="*/ 358942 h 1590788"/>
                  <a:gd name="connsiteX551" fmla="*/ 945714 w 1935893"/>
                  <a:gd name="connsiteY551" fmla="*/ 354668 h 1590788"/>
                  <a:gd name="connsiteX552" fmla="*/ 941895 w 1935893"/>
                  <a:gd name="connsiteY552" fmla="*/ 348968 h 1590788"/>
                  <a:gd name="connsiteX553" fmla="*/ 934657 w 1935893"/>
                  <a:gd name="connsiteY553" fmla="*/ 344124 h 1590788"/>
                  <a:gd name="connsiteX554" fmla="*/ 929527 w 1935893"/>
                  <a:gd name="connsiteY554" fmla="*/ 350906 h 1590788"/>
                  <a:gd name="connsiteX555" fmla="*/ 927703 w 1935893"/>
                  <a:gd name="connsiteY555" fmla="*/ 355124 h 1590788"/>
                  <a:gd name="connsiteX556" fmla="*/ 779346 w 1935893"/>
                  <a:gd name="connsiteY556" fmla="*/ 224036 h 1590788"/>
                  <a:gd name="connsiteX557" fmla="*/ 786641 w 1935893"/>
                  <a:gd name="connsiteY557" fmla="*/ 225461 h 1590788"/>
                  <a:gd name="connsiteX558" fmla="*/ 814227 w 1935893"/>
                  <a:gd name="connsiteY558" fmla="*/ 229792 h 1590788"/>
                  <a:gd name="connsiteX559" fmla="*/ 824828 w 1935893"/>
                  <a:gd name="connsiteY559" fmla="*/ 234580 h 1590788"/>
                  <a:gd name="connsiteX560" fmla="*/ 827792 w 1935893"/>
                  <a:gd name="connsiteY560" fmla="*/ 245124 h 1590788"/>
                  <a:gd name="connsiteX561" fmla="*/ 795932 w 1935893"/>
                  <a:gd name="connsiteY561" fmla="*/ 251165 h 1590788"/>
                  <a:gd name="connsiteX562" fmla="*/ 791600 w 1935893"/>
                  <a:gd name="connsiteY562" fmla="*/ 258005 h 1590788"/>
                  <a:gd name="connsiteX563" fmla="*/ 800035 w 1935893"/>
                  <a:gd name="connsiteY563" fmla="*/ 263362 h 1590788"/>
                  <a:gd name="connsiteX564" fmla="*/ 831040 w 1935893"/>
                  <a:gd name="connsiteY564" fmla="*/ 260228 h 1590788"/>
                  <a:gd name="connsiteX565" fmla="*/ 835999 w 1935893"/>
                  <a:gd name="connsiteY565" fmla="*/ 256808 h 1590788"/>
                  <a:gd name="connsiteX566" fmla="*/ 840444 w 1935893"/>
                  <a:gd name="connsiteY566" fmla="*/ 255611 h 1590788"/>
                  <a:gd name="connsiteX567" fmla="*/ 863242 w 1935893"/>
                  <a:gd name="connsiteY567" fmla="*/ 261311 h 1590788"/>
                  <a:gd name="connsiteX568" fmla="*/ 872988 w 1935893"/>
                  <a:gd name="connsiteY568" fmla="*/ 267010 h 1590788"/>
                  <a:gd name="connsiteX569" fmla="*/ 878289 w 1935893"/>
                  <a:gd name="connsiteY569" fmla="*/ 268264 h 1590788"/>
                  <a:gd name="connsiteX570" fmla="*/ 881082 w 1935893"/>
                  <a:gd name="connsiteY570" fmla="*/ 273963 h 1590788"/>
                  <a:gd name="connsiteX571" fmla="*/ 889802 w 1935893"/>
                  <a:gd name="connsiteY571" fmla="*/ 281145 h 1590788"/>
                  <a:gd name="connsiteX572" fmla="*/ 893108 w 1935893"/>
                  <a:gd name="connsiteY572" fmla="*/ 281829 h 1590788"/>
                  <a:gd name="connsiteX573" fmla="*/ 896755 w 1935893"/>
                  <a:gd name="connsiteY573" fmla="*/ 284678 h 1590788"/>
                  <a:gd name="connsiteX574" fmla="*/ 906729 w 1935893"/>
                  <a:gd name="connsiteY574" fmla="*/ 288098 h 1590788"/>
                  <a:gd name="connsiteX575" fmla="*/ 912429 w 1935893"/>
                  <a:gd name="connsiteY575" fmla="*/ 280176 h 1590788"/>
                  <a:gd name="connsiteX576" fmla="*/ 921377 w 1935893"/>
                  <a:gd name="connsiteY576" fmla="*/ 278466 h 1590788"/>
                  <a:gd name="connsiteX577" fmla="*/ 922859 w 1935893"/>
                  <a:gd name="connsiteY577" fmla="*/ 273792 h 1590788"/>
                  <a:gd name="connsiteX578" fmla="*/ 915677 w 1935893"/>
                  <a:gd name="connsiteY578" fmla="*/ 262393 h 1590788"/>
                  <a:gd name="connsiteX579" fmla="*/ 912885 w 1935893"/>
                  <a:gd name="connsiteY579" fmla="*/ 260456 h 1590788"/>
                  <a:gd name="connsiteX580" fmla="*/ 911745 w 1935893"/>
                  <a:gd name="connsiteY580" fmla="*/ 253844 h 1590788"/>
                  <a:gd name="connsiteX581" fmla="*/ 899434 w 1935893"/>
                  <a:gd name="connsiteY581" fmla="*/ 241761 h 1590788"/>
                  <a:gd name="connsiteX582" fmla="*/ 882678 w 1935893"/>
                  <a:gd name="connsiteY582" fmla="*/ 234865 h 1590788"/>
                  <a:gd name="connsiteX583" fmla="*/ 873672 w 1935893"/>
                  <a:gd name="connsiteY583" fmla="*/ 224150 h 1590788"/>
                  <a:gd name="connsiteX584" fmla="*/ 861133 w 1935893"/>
                  <a:gd name="connsiteY584" fmla="*/ 220787 h 1590788"/>
                  <a:gd name="connsiteX585" fmla="*/ 851102 w 1935893"/>
                  <a:gd name="connsiteY585" fmla="*/ 227855 h 1590788"/>
                  <a:gd name="connsiteX586" fmla="*/ 846600 w 1935893"/>
                  <a:gd name="connsiteY586" fmla="*/ 219590 h 1590788"/>
                  <a:gd name="connsiteX587" fmla="*/ 840273 w 1935893"/>
                  <a:gd name="connsiteY587" fmla="*/ 213891 h 1590788"/>
                  <a:gd name="connsiteX588" fmla="*/ 833662 w 1935893"/>
                  <a:gd name="connsiteY588" fmla="*/ 208191 h 1590788"/>
                  <a:gd name="connsiteX589" fmla="*/ 779802 w 1935893"/>
                  <a:gd name="connsiteY589" fmla="*/ 214290 h 1590788"/>
                  <a:gd name="connsiteX590" fmla="*/ 776097 w 1935893"/>
                  <a:gd name="connsiteY590" fmla="*/ 218052 h 1590788"/>
                  <a:gd name="connsiteX591" fmla="*/ 779403 w 1935893"/>
                  <a:gd name="connsiteY591" fmla="*/ 224036 h 1590788"/>
                  <a:gd name="connsiteX592" fmla="*/ 914025 w 1935893"/>
                  <a:gd name="connsiteY592" fmla="*/ 182430 h 1590788"/>
                  <a:gd name="connsiteX593" fmla="*/ 916133 w 1935893"/>
                  <a:gd name="connsiteY593" fmla="*/ 183798 h 1590788"/>
                  <a:gd name="connsiteX594" fmla="*/ 920180 w 1935893"/>
                  <a:gd name="connsiteY594" fmla="*/ 192974 h 1590788"/>
                  <a:gd name="connsiteX595" fmla="*/ 924056 w 1935893"/>
                  <a:gd name="connsiteY595" fmla="*/ 192974 h 1590788"/>
                  <a:gd name="connsiteX596" fmla="*/ 926507 w 1935893"/>
                  <a:gd name="connsiteY596" fmla="*/ 191777 h 1590788"/>
                  <a:gd name="connsiteX597" fmla="*/ 927019 w 1935893"/>
                  <a:gd name="connsiteY597" fmla="*/ 189212 h 1590788"/>
                  <a:gd name="connsiteX598" fmla="*/ 929983 w 1935893"/>
                  <a:gd name="connsiteY598" fmla="*/ 184938 h 1590788"/>
                  <a:gd name="connsiteX599" fmla="*/ 929983 w 1935893"/>
                  <a:gd name="connsiteY599" fmla="*/ 178782 h 1590788"/>
                  <a:gd name="connsiteX600" fmla="*/ 926507 w 1935893"/>
                  <a:gd name="connsiteY600" fmla="*/ 173482 h 1590788"/>
                  <a:gd name="connsiteX601" fmla="*/ 922574 w 1935893"/>
                  <a:gd name="connsiteY601" fmla="*/ 168637 h 1590788"/>
                  <a:gd name="connsiteX602" fmla="*/ 921434 w 1935893"/>
                  <a:gd name="connsiteY602" fmla="*/ 167554 h 1590788"/>
                  <a:gd name="connsiteX603" fmla="*/ 919610 w 1935893"/>
                  <a:gd name="connsiteY603" fmla="*/ 166984 h 1590788"/>
                  <a:gd name="connsiteX604" fmla="*/ 903595 w 1935893"/>
                  <a:gd name="connsiteY604" fmla="*/ 165730 h 1590788"/>
                  <a:gd name="connsiteX605" fmla="*/ 901657 w 1935893"/>
                  <a:gd name="connsiteY605" fmla="*/ 166129 h 1590788"/>
                  <a:gd name="connsiteX606" fmla="*/ 901030 w 1935893"/>
                  <a:gd name="connsiteY606" fmla="*/ 166984 h 1590788"/>
                  <a:gd name="connsiteX607" fmla="*/ 903994 w 1935893"/>
                  <a:gd name="connsiteY607" fmla="*/ 177015 h 1590788"/>
                  <a:gd name="connsiteX608" fmla="*/ 914082 w 1935893"/>
                  <a:gd name="connsiteY608" fmla="*/ 182430 h 1590788"/>
                  <a:gd name="connsiteX609" fmla="*/ 955232 w 1935893"/>
                  <a:gd name="connsiteY609" fmla="*/ 271741 h 1590788"/>
                  <a:gd name="connsiteX610" fmla="*/ 956771 w 1935893"/>
                  <a:gd name="connsiteY610" fmla="*/ 279606 h 1590788"/>
                  <a:gd name="connsiteX611" fmla="*/ 965263 w 1935893"/>
                  <a:gd name="connsiteY611" fmla="*/ 285305 h 1590788"/>
                  <a:gd name="connsiteX612" fmla="*/ 985838 w 1935893"/>
                  <a:gd name="connsiteY612" fmla="*/ 285305 h 1590788"/>
                  <a:gd name="connsiteX613" fmla="*/ 991538 w 1935893"/>
                  <a:gd name="connsiteY613" fmla="*/ 281145 h 1590788"/>
                  <a:gd name="connsiteX614" fmla="*/ 1006983 w 1935893"/>
                  <a:gd name="connsiteY614" fmla="*/ 279492 h 1590788"/>
                  <a:gd name="connsiteX615" fmla="*/ 1012397 w 1935893"/>
                  <a:gd name="connsiteY615" fmla="*/ 271513 h 1590788"/>
                  <a:gd name="connsiteX616" fmla="*/ 1011999 w 1935893"/>
                  <a:gd name="connsiteY616" fmla="*/ 261595 h 1590788"/>
                  <a:gd name="connsiteX617" fmla="*/ 1009377 w 1935893"/>
                  <a:gd name="connsiteY617" fmla="*/ 252419 h 1590788"/>
                  <a:gd name="connsiteX618" fmla="*/ 1001512 w 1935893"/>
                  <a:gd name="connsiteY618" fmla="*/ 247974 h 1590788"/>
                  <a:gd name="connsiteX619" fmla="*/ 998206 w 1935893"/>
                  <a:gd name="connsiteY619" fmla="*/ 249114 h 1590788"/>
                  <a:gd name="connsiteX620" fmla="*/ 985382 w 1935893"/>
                  <a:gd name="connsiteY620" fmla="*/ 254813 h 1590788"/>
                  <a:gd name="connsiteX621" fmla="*/ 980594 w 1935893"/>
                  <a:gd name="connsiteY621" fmla="*/ 255839 h 1590788"/>
                  <a:gd name="connsiteX622" fmla="*/ 974895 w 1935893"/>
                  <a:gd name="connsiteY622" fmla="*/ 249684 h 1590788"/>
                  <a:gd name="connsiteX623" fmla="*/ 965491 w 1935893"/>
                  <a:gd name="connsiteY623" fmla="*/ 246492 h 1590788"/>
                  <a:gd name="connsiteX624" fmla="*/ 959791 w 1935893"/>
                  <a:gd name="connsiteY624" fmla="*/ 238057 h 1590788"/>
                  <a:gd name="connsiteX625" fmla="*/ 950216 w 1935893"/>
                  <a:gd name="connsiteY625" fmla="*/ 236119 h 1590788"/>
                  <a:gd name="connsiteX626" fmla="*/ 945201 w 1935893"/>
                  <a:gd name="connsiteY626" fmla="*/ 247917 h 1590788"/>
                  <a:gd name="connsiteX627" fmla="*/ 952040 w 1935893"/>
                  <a:gd name="connsiteY627" fmla="*/ 266554 h 1590788"/>
                  <a:gd name="connsiteX628" fmla="*/ 955289 w 1935893"/>
                  <a:gd name="connsiteY628" fmla="*/ 271741 h 1590788"/>
                  <a:gd name="connsiteX629" fmla="*/ 1021403 w 1935893"/>
                  <a:gd name="connsiteY629" fmla="*/ 309015 h 1590788"/>
                  <a:gd name="connsiteX630" fmla="*/ 1025506 w 1935893"/>
                  <a:gd name="connsiteY630" fmla="*/ 306222 h 1590788"/>
                  <a:gd name="connsiteX631" fmla="*/ 1027957 w 1935893"/>
                  <a:gd name="connsiteY631" fmla="*/ 305937 h 1590788"/>
                  <a:gd name="connsiteX632" fmla="*/ 1039698 w 1935893"/>
                  <a:gd name="connsiteY632" fmla="*/ 301549 h 1590788"/>
                  <a:gd name="connsiteX633" fmla="*/ 1045397 w 1935893"/>
                  <a:gd name="connsiteY633" fmla="*/ 297616 h 1590788"/>
                  <a:gd name="connsiteX634" fmla="*/ 1047335 w 1935893"/>
                  <a:gd name="connsiteY634" fmla="*/ 291290 h 1590788"/>
                  <a:gd name="connsiteX635" fmla="*/ 1024081 w 1935893"/>
                  <a:gd name="connsiteY635" fmla="*/ 288440 h 1590788"/>
                  <a:gd name="connsiteX636" fmla="*/ 1021289 w 1935893"/>
                  <a:gd name="connsiteY636" fmla="*/ 289181 h 1590788"/>
                  <a:gd name="connsiteX637" fmla="*/ 1019978 w 1935893"/>
                  <a:gd name="connsiteY637" fmla="*/ 291119 h 1590788"/>
                  <a:gd name="connsiteX638" fmla="*/ 1010916 w 1935893"/>
                  <a:gd name="connsiteY638" fmla="*/ 293741 h 1590788"/>
                  <a:gd name="connsiteX639" fmla="*/ 1001169 w 1935893"/>
                  <a:gd name="connsiteY639" fmla="*/ 294139 h 1590788"/>
                  <a:gd name="connsiteX640" fmla="*/ 991195 w 1935893"/>
                  <a:gd name="connsiteY640" fmla="*/ 297388 h 1590788"/>
                  <a:gd name="connsiteX641" fmla="*/ 988631 w 1935893"/>
                  <a:gd name="connsiteY641" fmla="*/ 306792 h 1590788"/>
                  <a:gd name="connsiteX642" fmla="*/ 1004931 w 1935893"/>
                  <a:gd name="connsiteY642" fmla="*/ 312492 h 1590788"/>
                  <a:gd name="connsiteX643" fmla="*/ 1021460 w 1935893"/>
                  <a:gd name="connsiteY643" fmla="*/ 309015 h 1590788"/>
                  <a:gd name="connsiteX644" fmla="*/ 1088086 w 1935893"/>
                  <a:gd name="connsiteY644" fmla="*/ 433834 h 1590788"/>
                  <a:gd name="connsiteX645" fmla="*/ 1104615 w 1935893"/>
                  <a:gd name="connsiteY645" fmla="*/ 438450 h 1590788"/>
                  <a:gd name="connsiteX646" fmla="*/ 1109232 w 1935893"/>
                  <a:gd name="connsiteY646" fmla="*/ 446828 h 1590788"/>
                  <a:gd name="connsiteX647" fmla="*/ 1118636 w 1935893"/>
                  <a:gd name="connsiteY647" fmla="*/ 447455 h 1590788"/>
                  <a:gd name="connsiteX648" fmla="*/ 1137729 w 1935893"/>
                  <a:gd name="connsiteY648" fmla="*/ 432808 h 1590788"/>
                  <a:gd name="connsiteX649" fmla="*/ 1140978 w 1935893"/>
                  <a:gd name="connsiteY649" fmla="*/ 428875 h 1590788"/>
                  <a:gd name="connsiteX650" fmla="*/ 1153801 w 1935893"/>
                  <a:gd name="connsiteY650" fmla="*/ 434574 h 1590788"/>
                  <a:gd name="connsiteX651" fmla="*/ 1162807 w 1935893"/>
                  <a:gd name="connsiteY651" fmla="*/ 447170 h 1590788"/>
                  <a:gd name="connsiteX652" fmla="*/ 1183268 w 1935893"/>
                  <a:gd name="connsiteY652" fmla="*/ 445859 h 1590788"/>
                  <a:gd name="connsiteX653" fmla="*/ 1211765 w 1935893"/>
                  <a:gd name="connsiteY653" fmla="*/ 450704 h 1590788"/>
                  <a:gd name="connsiteX654" fmla="*/ 1243511 w 1935893"/>
                  <a:gd name="connsiteY654" fmla="*/ 445631 h 1590788"/>
                  <a:gd name="connsiteX655" fmla="*/ 1251490 w 1935893"/>
                  <a:gd name="connsiteY655" fmla="*/ 442098 h 1590788"/>
                  <a:gd name="connsiteX656" fmla="*/ 1265055 w 1935893"/>
                  <a:gd name="connsiteY656" fmla="*/ 429559 h 1590788"/>
                  <a:gd name="connsiteX657" fmla="*/ 1288708 w 1935893"/>
                  <a:gd name="connsiteY657" fmla="*/ 443466 h 1590788"/>
                  <a:gd name="connsiteX658" fmla="*/ 1311506 w 1935893"/>
                  <a:gd name="connsiteY658" fmla="*/ 432922 h 1590788"/>
                  <a:gd name="connsiteX659" fmla="*/ 1320169 w 1935893"/>
                  <a:gd name="connsiteY659" fmla="*/ 430357 h 1590788"/>
                  <a:gd name="connsiteX660" fmla="*/ 1336299 w 1935893"/>
                  <a:gd name="connsiteY660" fmla="*/ 419357 h 1590788"/>
                  <a:gd name="connsiteX661" fmla="*/ 1341998 w 1935893"/>
                  <a:gd name="connsiteY661" fmla="*/ 409440 h 1590788"/>
                  <a:gd name="connsiteX662" fmla="*/ 1333563 w 1935893"/>
                  <a:gd name="connsiteY662" fmla="*/ 400150 h 1590788"/>
                  <a:gd name="connsiteX663" fmla="*/ 1258615 w 1935893"/>
                  <a:gd name="connsiteY663" fmla="*/ 390005 h 1590788"/>
                  <a:gd name="connsiteX664" fmla="*/ 1226641 w 1935893"/>
                  <a:gd name="connsiteY664" fmla="*/ 395305 h 1590788"/>
                  <a:gd name="connsiteX665" fmla="*/ 1210967 w 1935893"/>
                  <a:gd name="connsiteY665" fmla="*/ 402486 h 1590788"/>
                  <a:gd name="connsiteX666" fmla="*/ 1170444 w 1935893"/>
                  <a:gd name="connsiteY666" fmla="*/ 397300 h 1590788"/>
                  <a:gd name="connsiteX667" fmla="*/ 1154315 w 1935893"/>
                  <a:gd name="connsiteY667" fmla="*/ 404709 h 1590788"/>
                  <a:gd name="connsiteX668" fmla="*/ 1145708 w 1935893"/>
                  <a:gd name="connsiteY668" fmla="*/ 391315 h 1590788"/>
                  <a:gd name="connsiteX669" fmla="*/ 1121485 w 1935893"/>
                  <a:gd name="connsiteY669" fmla="*/ 388238 h 1590788"/>
                  <a:gd name="connsiteX670" fmla="*/ 1114304 w 1935893"/>
                  <a:gd name="connsiteY670" fmla="*/ 382538 h 1590788"/>
                  <a:gd name="connsiteX671" fmla="*/ 1124563 w 1935893"/>
                  <a:gd name="connsiteY671" fmla="*/ 372051 h 1590788"/>
                  <a:gd name="connsiteX672" fmla="*/ 1131915 w 1935893"/>
                  <a:gd name="connsiteY672" fmla="*/ 360652 h 1590788"/>
                  <a:gd name="connsiteX673" fmla="*/ 1116527 w 1935893"/>
                  <a:gd name="connsiteY673" fmla="*/ 356948 h 1590788"/>
                  <a:gd name="connsiteX674" fmla="*/ 1111682 w 1935893"/>
                  <a:gd name="connsiteY674" fmla="*/ 351647 h 1590788"/>
                  <a:gd name="connsiteX675" fmla="*/ 1101252 w 1935893"/>
                  <a:gd name="connsiteY675" fmla="*/ 348398 h 1590788"/>
                  <a:gd name="connsiteX676" fmla="*/ 1062268 w 1935893"/>
                  <a:gd name="connsiteY676" fmla="*/ 345435 h 1590788"/>
                  <a:gd name="connsiteX677" fmla="*/ 1055714 w 1935893"/>
                  <a:gd name="connsiteY677" fmla="*/ 344238 h 1590788"/>
                  <a:gd name="connsiteX678" fmla="*/ 1049330 w 1935893"/>
                  <a:gd name="connsiteY678" fmla="*/ 341274 h 1590788"/>
                  <a:gd name="connsiteX679" fmla="*/ 1039185 w 1935893"/>
                  <a:gd name="connsiteY679" fmla="*/ 340704 h 1590788"/>
                  <a:gd name="connsiteX680" fmla="*/ 1033486 w 1935893"/>
                  <a:gd name="connsiteY680" fmla="*/ 336942 h 1590788"/>
                  <a:gd name="connsiteX681" fmla="*/ 983387 w 1935893"/>
                  <a:gd name="connsiteY681" fmla="*/ 328963 h 1590788"/>
                  <a:gd name="connsiteX682" fmla="*/ 976548 w 1935893"/>
                  <a:gd name="connsiteY682" fmla="*/ 334036 h 1590788"/>
                  <a:gd name="connsiteX683" fmla="*/ 979454 w 1935893"/>
                  <a:gd name="connsiteY683" fmla="*/ 344751 h 1590788"/>
                  <a:gd name="connsiteX684" fmla="*/ 990853 w 1935893"/>
                  <a:gd name="connsiteY684" fmla="*/ 345606 h 1590788"/>
                  <a:gd name="connsiteX685" fmla="*/ 999403 w 1935893"/>
                  <a:gd name="connsiteY685" fmla="*/ 356093 h 1590788"/>
                  <a:gd name="connsiteX686" fmla="*/ 1006641 w 1935893"/>
                  <a:gd name="connsiteY686" fmla="*/ 357005 h 1590788"/>
                  <a:gd name="connsiteX687" fmla="*/ 1010859 w 1935893"/>
                  <a:gd name="connsiteY687" fmla="*/ 360424 h 1590788"/>
                  <a:gd name="connsiteX688" fmla="*/ 1029325 w 1935893"/>
                  <a:gd name="connsiteY688" fmla="*/ 364699 h 1590788"/>
                  <a:gd name="connsiteX689" fmla="*/ 1041465 w 1935893"/>
                  <a:gd name="connsiteY689" fmla="*/ 358999 h 1590788"/>
                  <a:gd name="connsiteX690" fmla="*/ 1054175 w 1935893"/>
                  <a:gd name="connsiteY690" fmla="*/ 359341 h 1590788"/>
                  <a:gd name="connsiteX691" fmla="*/ 1065118 w 1935893"/>
                  <a:gd name="connsiteY691" fmla="*/ 376440 h 1590788"/>
                  <a:gd name="connsiteX692" fmla="*/ 1070190 w 1935893"/>
                  <a:gd name="connsiteY692" fmla="*/ 378492 h 1590788"/>
                  <a:gd name="connsiteX693" fmla="*/ 1075548 w 1935893"/>
                  <a:gd name="connsiteY693" fmla="*/ 389264 h 1590788"/>
                  <a:gd name="connsiteX694" fmla="*/ 1074693 w 1935893"/>
                  <a:gd name="connsiteY694" fmla="*/ 414398 h 1590788"/>
                  <a:gd name="connsiteX695" fmla="*/ 1088144 w 1935893"/>
                  <a:gd name="connsiteY695" fmla="*/ 433834 h 1590788"/>
                  <a:gd name="connsiteX696" fmla="*/ 978771 w 1935893"/>
                  <a:gd name="connsiteY696" fmla="*/ 536424 h 1590788"/>
                  <a:gd name="connsiteX697" fmla="*/ 982646 w 1935893"/>
                  <a:gd name="connsiteY697" fmla="*/ 528673 h 1590788"/>
                  <a:gd name="connsiteX698" fmla="*/ 974918 w 1935893"/>
                  <a:gd name="connsiteY698" fmla="*/ 511822 h 1590788"/>
                  <a:gd name="connsiteX699" fmla="*/ 965548 w 1935893"/>
                  <a:gd name="connsiteY699" fmla="*/ 511916 h 1590788"/>
                  <a:gd name="connsiteX700" fmla="*/ 975237 w 1935893"/>
                  <a:gd name="connsiteY700" fmla="*/ 529642 h 1590788"/>
                  <a:gd name="connsiteX701" fmla="*/ 969822 w 1935893"/>
                  <a:gd name="connsiteY701" fmla="*/ 535341 h 1590788"/>
                  <a:gd name="connsiteX702" fmla="*/ 961615 w 1935893"/>
                  <a:gd name="connsiteY702" fmla="*/ 533973 h 1590788"/>
                  <a:gd name="connsiteX703" fmla="*/ 956657 w 1935893"/>
                  <a:gd name="connsiteY703" fmla="*/ 528274 h 1590788"/>
                  <a:gd name="connsiteX704" fmla="*/ 955688 w 1935893"/>
                  <a:gd name="connsiteY704" fmla="*/ 518813 h 1590788"/>
                  <a:gd name="connsiteX705" fmla="*/ 937905 w 1935893"/>
                  <a:gd name="connsiteY705" fmla="*/ 514595 h 1590788"/>
                  <a:gd name="connsiteX706" fmla="*/ 935512 w 1935893"/>
                  <a:gd name="connsiteY706" fmla="*/ 505191 h 1590788"/>
                  <a:gd name="connsiteX707" fmla="*/ 943434 w 1935893"/>
                  <a:gd name="connsiteY707" fmla="*/ 498808 h 1590788"/>
                  <a:gd name="connsiteX708" fmla="*/ 955289 w 1935893"/>
                  <a:gd name="connsiteY708" fmla="*/ 496927 h 1590788"/>
                  <a:gd name="connsiteX709" fmla="*/ 963952 w 1935893"/>
                  <a:gd name="connsiteY709" fmla="*/ 485528 h 1590788"/>
                  <a:gd name="connsiteX710" fmla="*/ 954326 w 1935893"/>
                  <a:gd name="connsiteY710" fmla="*/ 476945 h 1590788"/>
                  <a:gd name="connsiteX711" fmla="*/ 953465 w 1935893"/>
                  <a:gd name="connsiteY711" fmla="*/ 477036 h 1590788"/>
                  <a:gd name="connsiteX712" fmla="*/ 948848 w 1935893"/>
                  <a:gd name="connsiteY712" fmla="*/ 471336 h 1590788"/>
                  <a:gd name="connsiteX713" fmla="*/ 938874 w 1935893"/>
                  <a:gd name="connsiteY713" fmla="*/ 467688 h 1590788"/>
                  <a:gd name="connsiteX714" fmla="*/ 930040 w 1935893"/>
                  <a:gd name="connsiteY714" fmla="*/ 472419 h 1590788"/>
                  <a:gd name="connsiteX715" fmla="*/ 927532 w 1935893"/>
                  <a:gd name="connsiteY715" fmla="*/ 482906 h 1590788"/>
                  <a:gd name="connsiteX716" fmla="*/ 900688 w 1935893"/>
                  <a:gd name="connsiteY716" fmla="*/ 479201 h 1590788"/>
                  <a:gd name="connsiteX717" fmla="*/ 880626 w 1935893"/>
                  <a:gd name="connsiteY717" fmla="*/ 486269 h 1590788"/>
                  <a:gd name="connsiteX718" fmla="*/ 873843 w 1935893"/>
                  <a:gd name="connsiteY718" fmla="*/ 496585 h 1590788"/>
                  <a:gd name="connsiteX719" fmla="*/ 882051 w 1935893"/>
                  <a:gd name="connsiteY719" fmla="*/ 500973 h 1590788"/>
                  <a:gd name="connsiteX720" fmla="*/ 901771 w 1935893"/>
                  <a:gd name="connsiteY720" fmla="*/ 503994 h 1590788"/>
                  <a:gd name="connsiteX721" fmla="*/ 905532 w 1935893"/>
                  <a:gd name="connsiteY721" fmla="*/ 505191 h 1590788"/>
                  <a:gd name="connsiteX722" fmla="*/ 907242 w 1935893"/>
                  <a:gd name="connsiteY722" fmla="*/ 507300 h 1590788"/>
                  <a:gd name="connsiteX723" fmla="*/ 902546 w 1935893"/>
                  <a:gd name="connsiteY723" fmla="*/ 519742 h 1590788"/>
                  <a:gd name="connsiteX724" fmla="*/ 901885 w 1935893"/>
                  <a:gd name="connsiteY724" fmla="*/ 520010 h 1590788"/>
                  <a:gd name="connsiteX725" fmla="*/ 896698 w 1935893"/>
                  <a:gd name="connsiteY725" fmla="*/ 521605 h 1590788"/>
                  <a:gd name="connsiteX726" fmla="*/ 890600 w 1935893"/>
                  <a:gd name="connsiteY726" fmla="*/ 533004 h 1590788"/>
                  <a:gd name="connsiteX727" fmla="*/ 884102 w 1935893"/>
                  <a:gd name="connsiteY727" fmla="*/ 533004 h 1590788"/>
                  <a:gd name="connsiteX728" fmla="*/ 864610 w 1935893"/>
                  <a:gd name="connsiteY728" fmla="*/ 522631 h 1590788"/>
                  <a:gd name="connsiteX729" fmla="*/ 861988 w 1935893"/>
                  <a:gd name="connsiteY729" fmla="*/ 519668 h 1590788"/>
                  <a:gd name="connsiteX730" fmla="*/ 857942 w 1935893"/>
                  <a:gd name="connsiteY730" fmla="*/ 518927 h 1590788"/>
                  <a:gd name="connsiteX731" fmla="*/ 851900 w 1935893"/>
                  <a:gd name="connsiteY731" fmla="*/ 518927 h 1590788"/>
                  <a:gd name="connsiteX732" fmla="*/ 849051 w 1935893"/>
                  <a:gd name="connsiteY732" fmla="*/ 519725 h 1590788"/>
                  <a:gd name="connsiteX733" fmla="*/ 848253 w 1935893"/>
                  <a:gd name="connsiteY733" fmla="*/ 521947 h 1590788"/>
                  <a:gd name="connsiteX734" fmla="*/ 853952 w 1935893"/>
                  <a:gd name="connsiteY734" fmla="*/ 538305 h 1590788"/>
                  <a:gd name="connsiteX735" fmla="*/ 867859 w 1935893"/>
                  <a:gd name="connsiteY735" fmla="*/ 549191 h 1590788"/>
                  <a:gd name="connsiteX736" fmla="*/ 885755 w 1935893"/>
                  <a:gd name="connsiteY736" fmla="*/ 558025 h 1590788"/>
                  <a:gd name="connsiteX737" fmla="*/ 896641 w 1935893"/>
                  <a:gd name="connsiteY737" fmla="*/ 566916 h 1590788"/>
                  <a:gd name="connsiteX738" fmla="*/ 897211 w 1935893"/>
                  <a:gd name="connsiteY738" fmla="*/ 571476 h 1590788"/>
                  <a:gd name="connsiteX739" fmla="*/ 907584 w 1935893"/>
                  <a:gd name="connsiteY739" fmla="*/ 582875 h 1590788"/>
                  <a:gd name="connsiteX740" fmla="*/ 916076 w 1935893"/>
                  <a:gd name="connsiteY740" fmla="*/ 592279 h 1590788"/>
                  <a:gd name="connsiteX741" fmla="*/ 927475 w 1935893"/>
                  <a:gd name="connsiteY741" fmla="*/ 595528 h 1590788"/>
                  <a:gd name="connsiteX742" fmla="*/ 933175 w 1935893"/>
                  <a:gd name="connsiteY742" fmla="*/ 590854 h 1590788"/>
                  <a:gd name="connsiteX743" fmla="*/ 940413 w 1935893"/>
                  <a:gd name="connsiteY743" fmla="*/ 577916 h 1590788"/>
                  <a:gd name="connsiteX744" fmla="*/ 941097 w 1935893"/>
                  <a:gd name="connsiteY744" fmla="*/ 574440 h 1590788"/>
                  <a:gd name="connsiteX745" fmla="*/ 951014 w 1935893"/>
                  <a:gd name="connsiteY745" fmla="*/ 572901 h 1590788"/>
                  <a:gd name="connsiteX746" fmla="*/ 969253 w 1935893"/>
                  <a:gd name="connsiteY746" fmla="*/ 565776 h 1590788"/>
                  <a:gd name="connsiteX747" fmla="*/ 976890 w 1935893"/>
                  <a:gd name="connsiteY747" fmla="*/ 547253 h 1590788"/>
                  <a:gd name="connsiteX748" fmla="*/ 978828 w 1935893"/>
                  <a:gd name="connsiteY748" fmla="*/ 536310 h 1590788"/>
                  <a:gd name="connsiteX749" fmla="*/ 1009833 w 1935893"/>
                  <a:gd name="connsiteY749" fmla="*/ 440502 h 1590788"/>
                  <a:gd name="connsiteX750" fmla="*/ 1022657 w 1935893"/>
                  <a:gd name="connsiteY750" fmla="*/ 440502 h 1590788"/>
                  <a:gd name="connsiteX751" fmla="*/ 1026190 w 1935893"/>
                  <a:gd name="connsiteY751" fmla="*/ 442725 h 1590788"/>
                  <a:gd name="connsiteX752" fmla="*/ 1034340 w 1935893"/>
                  <a:gd name="connsiteY752" fmla="*/ 441756 h 1590788"/>
                  <a:gd name="connsiteX753" fmla="*/ 1047164 w 1935893"/>
                  <a:gd name="connsiteY753" fmla="*/ 431155 h 1590788"/>
                  <a:gd name="connsiteX754" fmla="*/ 1039413 w 1935893"/>
                  <a:gd name="connsiteY754" fmla="*/ 415880 h 1590788"/>
                  <a:gd name="connsiteX755" fmla="*/ 1019693 w 1935893"/>
                  <a:gd name="connsiteY755" fmla="*/ 401347 h 1590788"/>
                  <a:gd name="connsiteX756" fmla="*/ 1016387 w 1935893"/>
                  <a:gd name="connsiteY756" fmla="*/ 400492 h 1590788"/>
                  <a:gd name="connsiteX757" fmla="*/ 1013936 w 1935893"/>
                  <a:gd name="connsiteY757" fmla="*/ 402657 h 1590788"/>
                  <a:gd name="connsiteX758" fmla="*/ 1000828 w 1935893"/>
                  <a:gd name="connsiteY758" fmla="*/ 404595 h 1590788"/>
                  <a:gd name="connsiteX759" fmla="*/ 992905 w 1935893"/>
                  <a:gd name="connsiteY759" fmla="*/ 413201 h 1590788"/>
                  <a:gd name="connsiteX760" fmla="*/ 976206 w 1935893"/>
                  <a:gd name="connsiteY760" fmla="*/ 422150 h 1590788"/>
                  <a:gd name="connsiteX761" fmla="*/ 980652 w 1935893"/>
                  <a:gd name="connsiteY761" fmla="*/ 431269 h 1590788"/>
                  <a:gd name="connsiteX762" fmla="*/ 991195 w 1935893"/>
                  <a:gd name="connsiteY762" fmla="*/ 434517 h 1590788"/>
                  <a:gd name="connsiteX763" fmla="*/ 1009890 w 1935893"/>
                  <a:gd name="connsiteY763" fmla="*/ 440388 h 1590788"/>
                  <a:gd name="connsiteX764" fmla="*/ 1125817 w 1935893"/>
                  <a:gd name="connsiteY764" fmla="*/ 311010 h 1590788"/>
                  <a:gd name="connsiteX765" fmla="*/ 1129807 w 1935893"/>
                  <a:gd name="connsiteY765" fmla="*/ 309870 h 1590788"/>
                  <a:gd name="connsiteX766" fmla="*/ 1131289 w 1935893"/>
                  <a:gd name="connsiteY766" fmla="*/ 306336 h 1590788"/>
                  <a:gd name="connsiteX767" fmla="*/ 1130662 w 1935893"/>
                  <a:gd name="connsiteY767" fmla="*/ 305367 h 1590788"/>
                  <a:gd name="connsiteX768" fmla="*/ 1100397 w 1935893"/>
                  <a:gd name="connsiteY768" fmla="*/ 297274 h 1590788"/>
                  <a:gd name="connsiteX769" fmla="*/ 1098118 w 1935893"/>
                  <a:gd name="connsiteY769" fmla="*/ 298870 h 1590788"/>
                  <a:gd name="connsiteX770" fmla="*/ 1096636 w 1935893"/>
                  <a:gd name="connsiteY770" fmla="*/ 302632 h 1590788"/>
                  <a:gd name="connsiteX771" fmla="*/ 1090252 w 1935893"/>
                  <a:gd name="connsiteY771" fmla="*/ 305994 h 1590788"/>
                  <a:gd name="connsiteX772" fmla="*/ 1098209 w 1935893"/>
                  <a:gd name="connsiteY772" fmla="*/ 315205 h 1590788"/>
                  <a:gd name="connsiteX773" fmla="*/ 1098802 w 1935893"/>
                  <a:gd name="connsiteY773" fmla="*/ 315228 h 1590788"/>
                  <a:gd name="connsiteX774" fmla="*/ 1102392 w 1935893"/>
                  <a:gd name="connsiteY774" fmla="*/ 315740 h 1590788"/>
                  <a:gd name="connsiteX775" fmla="*/ 1103475 w 1935893"/>
                  <a:gd name="connsiteY775" fmla="*/ 317735 h 1590788"/>
                  <a:gd name="connsiteX776" fmla="*/ 1110144 w 1935893"/>
                  <a:gd name="connsiteY776" fmla="*/ 320414 h 1590788"/>
                  <a:gd name="connsiteX777" fmla="*/ 1116356 w 1935893"/>
                  <a:gd name="connsiteY777" fmla="*/ 320414 h 1590788"/>
                  <a:gd name="connsiteX778" fmla="*/ 1119263 w 1935893"/>
                  <a:gd name="connsiteY778" fmla="*/ 319331 h 1590788"/>
                  <a:gd name="connsiteX779" fmla="*/ 1119719 w 1935893"/>
                  <a:gd name="connsiteY779" fmla="*/ 314886 h 1590788"/>
                  <a:gd name="connsiteX780" fmla="*/ 1125874 w 1935893"/>
                  <a:gd name="connsiteY780" fmla="*/ 310896 h 1590788"/>
                  <a:gd name="connsiteX781" fmla="*/ 1108719 w 1935893"/>
                  <a:gd name="connsiteY781" fmla="*/ 102238 h 1590788"/>
                  <a:gd name="connsiteX782" fmla="*/ 1118693 w 1935893"/>
                  <a:gd name="connsiteY782" fmla="*/ 112212 h 1590788"/>
                  <a:gd name="connsiteX783" fmla="*/ 1151066 w 1935893"/>
                  <a:gd name="connsiteY783" fmla="*/ 130394 h 1590788"/>
                  <a:gd name="connsiteX784" fmla="*/ 1184294 w 1935893"/>
                  <a:gd name="connsiteY784" fmla="*/ 121787 h 1590788"/>
                  <a:gd name="connsiteX785" fmla="*/ 1187371 w 1935893"/>
                  <a:gd name="connsiteY785" fmla="*/ 117456 h 1590788"/>
                  <a:gd name="connsiteX786" fmla="*/ 1198200 w 1935893"/>
                  <a:gd name="connsiteY786" fmla="*/ 124010 h 1590788"/>
                  <a:gd name="connsiteX787" fmla="*/ 1202988 w 1935893"/>
                  <a:gd name="connsiteY787" fmla="*/ 137917 h 1590788"/>
                  <a:gd name="connsiteX788" fmla="*/ 1216895 w 1935893"/>
                  <a:gd name="connsiteY788" fmla="*/ 141052 h 1590788"/>
                  <a:gd name="connsiteX789" fmla="*/ 1252630 w 1935893"/>
                  <a:gd name="connsiteY789" fmla="*/ 139000 h 1590788"/>
                  <a:gd name="connsiteX790" fmla="*/ 1260097 w 1935893"/>
                  <a:gd name="connsiteY790" fmla="*/ 137119 h 1590788"/>
                  <a:gd name="connsiteX791" fmla="*/ 1264086 w 1935893"/>
                  <a:gd name="connsiteY791" fmla="*/ 132958 h 1590788"/>
                  <a:gd name="connsiteX792" fmla="*/ 1274858 w 1935893"/>
                  <a:gd name="connsiteY792" fmla="*/ 130679 h 1590788"/>
                  <a:gd name="connsiteX793" fmla="*/ 1314413 w 1935893"/>
                  <a:gd name="connsiteY793" fmla="*/ 129482 h 1590788"/>
                  <a:gd name="connsiteX794" fmla="*/ 1321309 w 1935893"/>
                  <a:gd name="connsiteY794" fmla="*/ 127544 h 1590788"/>
                  <a:gd name="connsiteX795" fmla="*/ 1325869 w 1935893"/>
                  <a:gd name="connsiteY795" fmla="*/ 122984 h 1590788"/>
                  <a:gd name="connsiteX796" fmla="*/ 1348211 w 1935893"/>
                  <a:gd name="connsiteY796" fmla="*/ 112953 h 1590788"/>
                  <a:gd name="connsiteX797" fmla="*/ 1355677 w 1935893"/>
                  <a:gd name="connsiteY797" fmla="*/ 98990 h 1590788"/>
                  <a:gd name="connsiteX798" fmla="*/ 1357592 w 1935893"/>
                  <a:gd name="connsiteY798" fmla="*/ 130124 h 1590788"/>
                  <a:gd name="connsiteX799" fmla="*/ 1353796 w 1935893"/>
                  <a:gd name="connsiteY799" fmla="*/ 133528 h 1590788"/>
                  <a:gd name="connsiteX800" fmla="*/ 1348097 w 1935893"/>
                  <a:gd name="connsiteY800" fmla="*/ 137290 h 1590788"/>
                  <a:gd name="connsiteX801" fmla="*/ 1345076 w 1935893"/>
                  <a:gd name="connsiteY801" fmla="*/ 141109 h 1590788"/>
                  <a:gd name="connsiteX802" fmla="*/ 1326154 w 1935893"/>
                  <a:gd name="connsiteY802" fmla="*/ 147663 h 1590788"/>
                  <a:gd name="connsiteX803" fmla="*/ 1285060 w 1935893"/>
                  <a:gd name="connsiteY803" fmla="*/ 150627 h 1590788"/>
                  <a:gd name="connsiteX804" fmla="*/ 1277195 w 1935893"/>
                  <a:gd name="connsiteY804" fmla="*/ 154445 h 1590788"/>
                  <a:gd name="connsiteX805" fmla="*/ 1283692 w 1935893"/>
                  <a:gd name="connsiteY805" fmla="*/ 162197 h 1590788"/>
                  <a:gd name="connsiteX806" fmla="*/ 1294066 w 1935893"/>
                  <a:gd name="connsiteY806" fmla="*/ 166357 h 1590788"/>
                  <a:gd name="connsiteX807" fmla="*/ 1297599 w 1935893"/>
                  <a:gd name="connsiteY807" fmla="*/ 171715 h 1590788"/>
                  <a:gd name="connsiteX808" fmla="*/ 1301931 w 1935893"/>
                  <a:gd name="connsiteY808" fmla="*/ 172741 h 1590788"/>
                  <a:gd name="connsiteX809" fmla="*/ 1311620 w 1935893"/>
                  <a:gd name="connsiteY809" fmla="*/ 178440 h 1590788"/>
                  <a:gd name="connsiteX810" fmla="*/ 1304826 w 1935893"/>
                  <a:gd name="connsiteY810" fmla="*/ 193060 h 1590788"/>
                  <a:gd name="connsiteX811" fmla="*/ 1290988 w 1935893"/>
                  <a:gd name="connsiteY811" fmla="*/ 187958 h 1590788"/>
                  <a:gd name="connsiteX812" fmla="*/ 1287055 w 1935893"/>
                  <a:gd name="connsiteY812" fmla="*/ 182658 h 1590788"/>
                  <a:gd name="connsiteX813" fmla="*/ 1275200 w 1935893"/>
                  <a:gd name="connsiteY813" fmla="*/ 179523 h 1590788"/>
                  <a:gd name="connsiteX814" fmla="*/ 1269501 w 1935893"/>
                  <a:gd name="connsiteY814" fmla="*/ 169321 h 1590788"/>
                  <a:gd name="connsiteX815" fmla="*/ 1253884 w 1935893"/>
                  <a:gd name="connsiteY815" fmla="*/ 162311 h 1590788"/>
                  <a:gd name="connsiteX816" fmla="*/ 1252003 w 1935893"/>
                  <a:gd name="connsiteY816" fmla="*/ 158093 h 1590788"/>
                  <a:gd name="connsiteX817" fmla="*/ 1247045 w 1935893"/>
                  <a:gd name="connsiteY817" fmla="*/ 155414 h 1590788"/>
                  <a:gd name="connsiteX818" fmla="*/ 1218548 w 1935893"/>
                  <a:gd name="connsiteY818" fmla="*/ 150342 h 1590788"/>
                  <a:gd name="connsiteX819" fmla="*/ 1202931 w 1935893"/>
                  <a:gd name="connsiteY819" fmla="*/ 152394 h 1590788"/>
                  <a:gd name="connsiteX820" fmla="*/ 1194097 w 1935893"/>
                  <a:gd name="connsiteY820" fmla="*/ 165958 h 1590788"/>
                  <a:gd name="connsiteX821" fmla="*/ 1214427 w 1935893"/>
                  <a:gd name="connsiteY821" fmla="*/ 189828 h 1590788"/>
                  <a:gd name="connsiteX822" fmla="*/ 1215869 w 1935893"/>
                  <a:gd name="connsiteY822" fmla="*/ 189896 h 1590788"/>
                  <a:gd name="connsiteX823" fmla="*/ 1223677 w 1935893"/>
                  <a:gd name="connsiteY823" fmla="*/ 191093 h 1590788"/>
                  <a:gd name="connsiteX824" fmla="*/ 1225957 w 1935893"/>
                  <a:gd name="connsiteY824" fmla="*/ 194513 h 1590788"/>
                  <a:gd name="connsiteX825" fmla="*/ 1234620 w 1935893"/>
                  <a:gd name="connsiteY825" fmla="*/ 202321 h 1590788"/>
                  <a:gd name="connsiteX826" fmla="*/ 1237071 w 1935893"/>
                  <a:gd name="connsiteY826" fmla="*/ 212751 h 1590788"/>
                  <a:gd name="connsiteX827" fmla="*/ 1253713 w 1935893"/>
                  <a:gd name="connsiteY827" fmla="*/ 221642 h 1590788"/>
                  <a:gd name="connsiteX828" fmla="*/ 1257019 w 1935893"/>
                  <a:gd name="connsiteY828" fmla="*/ 223637 h 1590788"/>
                  <a:gd name="connsiteX829" fmla="*/ 1278734 w 1935893"/>
                  <a:gd name="connsiteY829" fmla="*/ 236746 h 1590788"/>
                  <a:gd name="connsiteX830" fmla="*/ 1284433 w 1935893"/>
                  <a:gd name="connsiteY830" fmla="*/ 247518 h 1590788"/>
                  <a:gd name="connsiteX831" fmla="*/ 1280786 w 1935893"/>
                  <a:gd name="connsiteY831" fmla="*/ 256466 h 1590788"/>
                  <a:gd name="connsiteX832" fmla="*/ 1274459 w 1935893"/>
                  <a:gd name="connsiteY832" fmla="*/ 255041 h 1590788"/>
                  <a:gd name="connsiteX833" fmla="*/ 1235532 w 1935893"/>
                  <a:gd name="connsiteY833" fmla="*/ 237943 h 1590788"/>
                  <a:gd name="connsiteX834" fmla="*/ 1220827 w 1935893"/>
                  <a:gd name="connsiteY834" fmla="*/ 234637 h 1590788"/>
                  <a:gd name="connsiteX835" fmla="*/ 1201506 w 1935893"/>
                  <a:gd name="connsiteY835" fmla="*/ 240336 h 1590788"/>
                  <a:gd name="connsiteX836" fmla="*/ 1191019 w 1935893"/>
                  <a:gd name="connsiteY836" fmla="*/ 245694 h 1590788"/>
                  <a:gd name="connsiteX837" fmla="*/ 1178537 w 1935893"/>
                  <a:gd name="connsiteY837" fmla="*/ 247119 h 1590788"/>
                  <a:gd name="connsiteX838" fmla="*/ 1169361 w 1935893"/>
                  <a:gd name="connsiteY838" fmla="*/ 269233 h 1590788"/>
                  <a:gd name="connsiteX839" fmla="*/ 1192159 w 1935893"/>
                  <a:gd name="connsiteY839" fmla="*/ 271057 h 1590788"/>
                  <a:gd name="connsiteX840" fmla="*/ 1214159 w 1935893"/>
                  <a:gd name="connsiteY840" fmla="*/ 267751 h 1590788"/>
                  <a:gd name="connsiteX841" fmla="*/ 1223506 w 1935893"/>
                  <a:gd name="connsiteY841" fmla="*/ 257150 h 1590788"/>
                  <a:gd name="connsiteX842" fmla="*/ 1236273 w 1935893"/>
                  <a:gd name="connsiteY842" fmla="*/ 254186 h 1590788"/>
                  <a:gd name="connsiteX843" fmla="*/ 1228328 w 1935893"/>
                  <a:gd name="connsiteY843" fmla="*/ 265448 h 1590788"/>
                  <a:gd name="connsiteX844" fmla="*/ 1226983 w 1935893"/>
                  <a:gd name="connsiteY844" fmla="*/ 265585 h 1590788"/>
                  <a:gd name="connsiteX845" fmla="*/ 1226983 w 1935893"/>
                  <a:gd name="connsiteY845" fmla="*/ 272823 h 1590788"/>
                  <a:gd name="connsiteX846" fmla="*/ 1216746 w 1935893"/>
                  <a:gd name="connsiteY846" fmla="*/ 278633 h 1590788"/>
                  <a:gd name="connsiteX847" fmla="*/ 1222560 w 1935893"/>
                  <a:gd name="connsiteY847" fmla="*/ 288867 h 1590788"/>
                  <a:gd name="connsiteX848" fmla="*/ 1223164 w 1935893"/>
                  <a:gd name="connsiteY848" fmla="*/ 289010 h 1590788"/>
                  <a:gd name="connsiteX849" fmla="*/ 1230459 w 1935893"/>
                  <a:gd name="connsiteY849" fmla="*/ 289523 h 1590788"/>
                  <a:gd name="connsiteX850" fmla="*/ 1236159 w 1935893"/>
                  <a:gd name="connsiteY850" fmla="*/ 294652 h 1590788"/>
                  <a:gd name="connsiteX851" fmla="*/ 1248299 w 1935893"/>
                  <a:gd name="connsiteY851" fmla="*/ 310326 h 1590788"/>
                  <a:gd name="connsiteX852" fmla="*/ 1238724 w 1935893"/>
                  <a:gd name="connsiteY852" fmla="*/ 313974 h 1590788"/>
                  <a:gd name="connsiteX853" fmla="*/ 1239693 w 1935893"/>
                  <a:gd name="connsiteY853" fmla="*/ 320699 h 1590788"/>
                  <a:gd name="connsiteX854" fmla="*/ 1224988 w 1935893"/>
                  <a:gd name="connsiteY854" fmla="*/ 319559 h 1590788"/>
                  <a:gd name="connsiteX855" fmla="*/ 1221511 w 1935893"/>
                  <a:gd name="connsiteY855" fmla="*/ 317963 h 1590788"/>
                  <a:gd name="connsiteX856" fmla="*/ 1220029 w 1935893"/>
                  <a:gd name="connsiteY856" fmla="*/ 313860 h 1590788"/>
                  <a:gd name="connsiteX857" fmla="*/ 1208118 w 1935893"/>
                  <a:gd name="connsiteY857" fmla="*/ 303373 h 1590788"/>
                  <a:gd name="connsiteX858" fmla="*/ 1199910 w 1935893"/>
                  <a:gd name="connsiteY858" fmla="*/ 290093 h 1590788"/>
                  <a:gd name="connsiteX859" fmla="*/ 1183952 w 1935893"/>
                  <a:gd name="connsiteY859" fmla="*/ 285989 h 1590788"/>
                  <a:gd name="connsiteX860" fmla="*/ 1172553 w 1935893"/>
                  <a:gd name="connsiteY860" fmla="*/ 284564 h 1590788"/>
                  <a:gd name="connsiteX861" fmla="*/ 1167537 w 1935893"/>
                  <a:gd name="connsiteY861" fmla="*/ 284564 h 1590788"/>
                  <a:gd name="connsiteX862" fmla="*/ 1160413 w 1935893"/>
                  <a:gd name="connsiteY862" fmla="*/ 295963 h 1590788"/>
                  <a:gd name="connsiteX863" fmla="*/ 1171071 w 1935893"/>
                  <a:gd name="connsiteY863" fmla="*/ 305196 h 1590788"/>
                  <a:gd name="connsiteX864" fmla="*/ 1178651 w 1935893"/>
                  <a:gd name="connsiteY864" fmla="*/ 306165 h 1590788"/>
                  <a:gd name="connsiteX865" fmla="*/ 1185263 w 1935893"/>
                  <a:gd name="connsiteY865" fmla="*/ 320015 h 1590788"/>
                  <a:gd name="connsiteX866" fmla="*/ 1184522 w 1935893"/>
                  <a:gd name="connsiteY866" fmla="*/ 323606 h 1590788"/>
                  <a:gd name="connsiteX867" fmla="*/ 1179962 w 1935893"/>
                  <a:gd name="connsiteY867" fmla="*/ 325202 h 1590788"/>
                  <a:gd name="connsiteX868" fmla="*/ 1143656 w 1935893"/>
                  <a:gd name="connsiteY868" fmla="*/ 326341 h 1590788"/>
                  <a:gd name="connsiteX869" fmla="*/ 1135620 w 1935893"/>
                  <a:gd name="connsiteY869" fmla="*/ 327709 h 1590788"/>
                  <a:gd name="connsiteX870" fmla="*/ 1129043 w 1935893"/>
                  <a:gd name="connsiteY870" fmla="*/ 335449 h 1590788"/>
                  <a:gd name="connsiteX871" fmla="*/ 1128040 w 1935893"/>
                  <a:gd name="connsiteY871" fmla="*/ 335461 h 1590788"/>
                  <a:gd name="connsiteX872" fmla="*/ 1133055 w 1935893"/>
                  <a:gd name="connsiteY872" fmla="*/ 346860 h 1590788"/>
                  <a:gd name="connsiteX873" fmla="*/ 1146335 w 1935893"/>
                  <a:gd name="connsiteY873" fmla="*/ 348968 h 1590788"/>
                  <a:gd name="connsiteX874" fmla="*/ 1192786 w 1935893"/>
                  <a:gd name="connsiteY874" fmla="*/ 348341 h 1590788"/>
                  <a:gd name="connsiteX875" fmla="*/ 1199739 w 1935893"/>
                  <a:gd name="connsiteY875" fmla="*/ 350336 h 1590788"/>
                  <a:gd name="connsiteX876" fmla="*/ 1202532 w 1935893"/>
                  <a:gd name="connsiteY876" fmla="*/ 357860 h 1590788"/>
                  <a:gd name="connsiteX877" fmla="*/ 1217237 w 1935893"/>
                  <a:gd name="connsiteY877" fmla="*/ 359854 h 1590788"/>
                  <a:gd name="connsiteX878" fmla="*/ 1221454 w 1935893"/>
                  <a:gd name="connsiteY878" fmla="*/ 362989 h 1590788"/>
                  <a:gd name="connsiteX879" fmla="*/ 1228465 w 1935893"/>
                  <a:gd name="connsiteY879" fmla="*/ 362590 h 1590788"/>
                  <a:gd name="connsiteX880" fmla="*/ 1246247 w 1935893"/>
                  <a:gd name="connsiteY880" fmla="*/ 351191 h 1590788"/>
                  <a:gd name="connsiteX881" fmla="*/ 1249724 w 1935893"/>
                  <a:gd name="connsiteY881" fmla="*/ 345492 h 1590788"/>
                  <a:gd name="connsiteX882" fmla="*/ 1256563 w 1935893"/>
                  <a:gd name="connsiteY882" fmla="*/ 343896 h 1590788"/>
                  <a:gd name="connsiteX883" fmla="*/ 1309625 w 1935893"/>
                  <a:gd name="connsiteY883" fmla="*/ 355295 h 1590788"/>
                  <a:gd name="connsiteX884" fmla="*/ 1321936 w 1935893"/>
                  <a:gd name="connsiteY884" fmla="*/ 365326 h 1590788"/>
                  <a:gd name="connsiteX885" fmla="*/ 1336926 w 1935893"/>
                  <a:gd name="connsiteY885" fmla="*/ 365326 h 1590788"/>
                  <a:gd name="connsiteX886" fmla="*/ 1341884 w 1935893"/>
                  <a:gd name="connsiteY886" fmla="*/ 360538 h 1590788"/>
                  <a:gd name="connsiteX887" fmla="*/ 1358128 w 1935893"/>
                  <a:gd name="connsiteY887" fmla="*/ 357803 h 1590788"/>
                  <a:gd name="connsiteX888" fmla="*/ 1361604 w 1935893"/>
                  <a:gd name="connsiteY888" fmla="*/ 353528 h 1590788"/>
                  <a:gd name="connsiteX889" fmla="*/ 1378418 w 1935893"/>
                  <a:gd name="connsiteY889" fmla="*/ 352046 h 1590788"/>
                  <a:gd name="connsiteX890" fmla="*/ 1389817 w 1935893"/>
                  <a:gd name="connsiteY890" fmla="*/ 336544 h 1590788"/>
                  <a:gd name="connsiteX891" fmla="*/ 1374656 w 1935893"/>
                  <a:gd name="connsiteY891" fmla="*/ 323606 h 1590788"/>
                  <a:gd name="connsiteX892" fmla="*/ 1367019 w 1935893"/>
                  <a:gd name="connsiteY892" fmla="*/ 327994 h 1590788"/>
                  <a:gd name="connsiteX893" fmla="*/ 1367019 w 1935893"/>
                  <a:gd name="connsiteY893" fmla="*/ 331642 h 1590788"/>
                  <a:gd name="connsiteX894" fmla="*/ 1361576 w 1935893"/>
                  <a:gd name="connsiteY894" fmla="*/ 334787 h 1590788"/>
                  <a:gd name="connsiteX895" fmla="*/ 1360464 w 1935893"/>
                  <a:gd name="connsiteY895" fmla="*/ 334321 h 1590788"/>
                  <a:gd name="connsiteX896" fmla="*/ 1357786 w 1935893"/>
                  <a:gd name="connsiteY896" fmla="*/ 331072 h 1590788"/>
                  <a:gd name="connsiteX897" fmla="*/ 1334247 w 1935893"/>
                  <a:gd name="connsiteY897" fmla="*/ 323777 h 1590788"/>
                  <a:gd name="connsiteX898" fmla="*/ 1308941 w 1935893"/>
                  <a:gd name="connsiteY898" fmla="*/ 322181 h 1590788"/>
                  <a:gd name="connsiteX899" fmla="*/ 1300050 w 1935893"/>
                  <a:gd name="connsiteY899" fmla="*/ 323207 h 1590788"/>
                  <a:gd name="connsiteX900" fmla="*/ 1298055 w 1935893"/>
                  <a:gd name="connsiteY900" fmla="*/ 312606 h 1590788"/>
                  <a:gd name="connsiteX901" fmla="*/ 1301247 w 1935893"/>
                  <a:gd name="connsiteY901" fmla="*/ 305538 h 1590788"/>
                  <a:gd name="connsiteX902" fmla="*/ 1307516 w 1935893"/>
                  <a:gd name="connsiteY902" fmla="*/ 305538 h 1590788"/>
                  <a:gd name="connsiteX903" fmla="*/ 1379444 w 1935893"/>
                  <a:gd name="connsiteY903" fmla="*/ 304171 h 1590788"/>
                  <a:gd name="connsiteX904" fmla="*/ 1373744 w 1935893"/>
                  <a:gd name="connsiteY904" fmla="*/ 275217 h 1590788"/>
                  <a:gd name="connsiteX905" fmla="*/ 1387993 w 1935893"/>
                  <a:gd name="connsiteY905" fmla="*/ 270829 h 1590788"/>
                  <a:gd name="connsiteX906" fmla="*/ 1408169 w 1935893"/>
                  <a:gd name="connsiteY906" fmla="*/ 271912 h 1590788"/>
                  <a:gd name="connsiteX907" fmla="*/ 1421905 w 1935893"/>
                  <a:gd name="connsiteY907" fmla="*/ 270031 h 1590788"/>
                  <a:gd name="connsiteX908" fmla="*/ 1425872 w 1935893"/>
                  <a:gd name="connsiteY908" fmla="*/ 258354 h 1590788"/>
                  <a:gd name="connsiteX909" fmla="*/ 1425780 w 1935893"/>
                  <a:gd name="connsiteY909" fmla="*/ 258176 h 1590788"/>
                  <a:gd name="connsiteX910" fmla="*/ 1438262 w 1935893"/>
                  <a:gd name="connsiteY910" fmla="*/ 244896 h 1590788"/>
                  <a:gd name="connsiteX911" fmla="*/ 1450915 w 1935893"/>
                  <a:gd name="connsiteY911" fmla="*/ 223238 h 1590788"/>
                  <a:gd name="connsiteX912" fmla="*/ 1398708 w 1935893"/>
                  <a:gd name="connsiteY912" fmla="*/ 221015 h 1590788"/>
                  <a:gd name="connsiteX913" fmla="*/ 1388848 w 1935893"/>
                  <a:gd name="connsiteY913" fmla="*/ 216399 h 1590788"/>
                  <a:gd name="connsiteX914" fmla="*/ 1397625 w 1935893"/>
                  <a:gd name="connsiteY914" fmla="*/ 206881 h 1590788"/>
                  <a:gd name="connsiteX915" fmla="*/ 1444418 w 1935893"/>
                  <a:gd name="connsiteY915" fmla="*/ 201865 h 1590788"/>
                  <a:gd name="connsiteX916" fmla="*/ 1465278 w 1935893"/>
                  <a:gd name="connsiteY916" fmla="*/ 201067 h 1590788"/>
                  <a:gd name="connsiteX917" fmla="*/ 1474625 w 1935893"/>
                  <a:gd name="connsiteY917" fmla="*/ 184653 h 1590788"/>
                  <a:gd name="connsiteX918" fmla="*/ 1480609 w 1935893"/>
                  <a:gd name="connsiteY918" fmla="*/ 182544 h 1590788"/>
                  <a:gd name="connsiteX919" fmla="*/ 1507055 w 1935893"/>
                  <a:gd name="connsiteY919" fmla="*/ 184881 h 1590788"/>
                  <a:gd name="connsiteX920" fmla="*/ 1515148 w 1935893"/>
                  <a:gd name="connsiteY920" fmla="*/ 184368 h 1590788"/>
                  <a:gd name="connsiteX921" fmla="*/ 1521703 w 1935893"/>
                  <a:gd name="connsiteY921" fmla="*/ 176844 h 1590788"/>
                  <a:gd name="connsiteX922" fmla="*/ 1539656 w 1935893"/>
                  <a:gd name="connsiteY922" fmla="*/ 151083 h 1590788"/>
                  <a:gd name="connsiteX923" fmla="*/ 1564620 w 1935893"/>
                  <a:gd name="connsiteY923" fmla="*/ 142704 h 1590788"/>
                  <a:gd name="connsiteX924" fmla="*/ 1603946 w 1935893"/>
                  <a:gd name="connsiteY924" fmla="*/ 127430 h 1590788"/>
                  <a:gd name="connsiteX925" fmla="*/ 1630904 w 1935893"/>
                  <a:gd name="connsiteY925" fmla="*/ 108052 h 1590788"/>
                  <a:gd name="connsiteX926" fmla="*/ 1682200 w 1935893"/>
                  <a:gd name="connsiteY926" fmla="*/ 95513 h 1590788"/>
                  <a:gd name="connsiteX927" fmla="*/ 1657008 w 1935893"/>
                  <a:gd name="connsiteY927" fmla="*/ 84513 h 1590788"/>
                  <a:gd name="connsiteX928" fmla="*/ 1628226 w 1935893"/>
                  <a:gd name="connsiteY928" fmla="*/ 88730 h 1590788"/>
                  <a:gd name="connsiteX929" fmla="*/ 1615630 w 1935893"/>
                  <a:gd name="connsiteY929" fmla="*/ 79155 h 1590788"/>
                  <a:gd name="connsiteX930" fmla="*/ 1626288 w 1935893"/>
                  <a:gd name="connsiteY930" fmla="*/ 73456 h 1590788"/>
                  <a:gd name="connsiteX931" fmla="*/ 1692744 w 1935893"/>
                  <a:gd name="connsiteY931" fmla="*/ 67756 h 1590788"/>
                  <a:gd name="connsiteX932" fmla="*/ 1752474 w 1935893"/>
                  <a:gd name="connsiteY932" fmla="*/ 40342 h 1590788"/>
                  <a:gd name="connsiteX933" fmla="*/ 1756008 w 1935893"/>
                  <a:gd name="connsiteY933" fmla="*/ 28943 h 1590788"/>
                  <a:gd name="connsiteX934" fmla="*/ 1729619 w 1935893"/>
                  <a:gd name="connsiteY934" fmla="*/ 35668 h 1590788"/>
                  <a:gd name="connsiteX935" fmla="*/ 1675816 w 1935893"/>
                  <a:gd name="connsiteY935" fmla="*/ 7171 h 1590788"/>
                  <a:gd name="connsiteX936" fmla="*/ 1661226 w 1935893"/>
                  <a:gd name="connsiteY936" fmla="*/ 9394 h 1590788"/>
                  <a:gd name="connsiteX937" fmla="*/ 1628511 w 1935893"/>
                  <a:gd name="connsiteY937" fmla="*/ 18342 h 1590788"/>
                  <a:gd name="connsiteX938" fmla="*/ 1623666 w 1935893"/>
                  <a:gd name="connsiteY938" fmla="*/ 18342 h 1590788"/>
                  <a:gd name="connsiteX939" fmla="*/ 1619562 w 1935893"/>
                  <a:gd name="connsiteY939" fmla="*/ 13212 h 1590788"/>
                  <a:gd name="connsiteX940" fmla="*/ 1583792 w 1935893"/>
                  <a:gd name="connsiteY940" fmla="*/ 3460 h 1590788"/>
                  <a:gd name="connsiteX941" fmla="*/ 1581718 w 1935893"/>
                  <a:gd name="connsiteY941" fmla="*/ 4777 h 1590788"/>
                  <a:gd name="connsiteX942" fmla="*/ 1562283 w 1935893"/>
                  <a:gd name="connsiteY942" fmla="*/ 18456 h 1590788"/>
                  <a:gd name="connsiteX943" fmla="*/ 1544728 w 1935893"/>
                  <a:gd name="connsiteY943" fmla="*/ 8995 h 1590788"/>
                  <a:gd name="connsiteX944" fmla="*/ 1518112 w 1935893"/>
                  <a:gd name="connsiteY944" fmla="*/ 6316 h 1590788"/>
                  <a:gd name="connsiteX945" fmla="*/ 1506713 w 1935893"/>
                  <a:gd name="connsiteY945" fmla="*/ 11503 h 1590788"/>
                  <a:gd name="connsiteX946" fmla="*/ 1491096 w 1935893"/>
                  <a:gd name="connsiteY946" fmla="*/ 13497 h 1590788"/>
                  <a:gd name="connsiteX947" fmla="*/ 1435298 w 1935893"/>
                  <a:gd name="connsiteY947" fmla="*/ 14922 h 1590788"/>
                  <a:gd name="connsiteX948" fmla="*/ 1425723 w 1935893"/>
                  <a:gd name="connsiteY948" fmla="*/ 12927 h 1590788"/>
                  <a:gd name="connsiteX949" fmla="*/ 1420651 w 1935893"/>
                  <a:gd name="connsiteY949" fmla="*/ 5689 h 1590788"/>
                  <a:gd name="connsiteX950" fmla="*/ 1399261 w 1935893"/>
                  <a:gd name="connsiteY950" fmla="*/ 4249 h 1590788"/>
                  <a:gd name="connsiteX951" fmla="*/ 1394889 w 1935893"/>
                  <a:gd name="connsiteY951" fmla="*/ 10762 h 1590788"/>
                  <a:gd name="connsiteX952" fmla="*/ 1393293 w 1935893"/>
                  <a:gd name="connsiteY952" fmla="*/ 15549 h 1590788"/>
                  <a:gd name="connsiteX953" fmla="*/ 1380527 w 1935893"/>
                  <a:gd name="connsiteY953" fmla="*/ 10420 h 1590788"/>
                  <a:gd name="connsiteX954" fmla="*/ 1340226 w 1935893"/>
                  <a:gd name="connsiteY954" fmla="*/ 10175 h 1590788"/>
                  <a:gd name="connsiteX955" fmla="*/ 1337096 w 1935893"/>
                  <a:gd name="connsiteY955" fmla="*/ 13839 h 1590788"/>
                  <a:gd name="connsiteX956" fmla="*/ 1318756 w 1935893"/>
                  <a:gd name="connsiteY956" fmla="*/ 16547 h 1590788"/>
                  <a:gd name="connsiteX957" fmla="*/ 1317091 w 1935893"/>
                  <a:gd name="connsiteY957" fmla="*/ 19539 h 1590788"/>
                  <a:gd name="connsiteX958" fmla="*/ 1315552 w 1935893"/>
                  <a:gd name="connsiteY958" fmla="*/ 25238 h 1590788"/>
                  <a:gd name="connsiteX959" fmla="*/ 1282895 w 1935893"/>
                  <a:gd name="connsiteY959" fmla="*/ 33902 h 1590788"/>
                  <a:gd name="connsiteX960" fmla="*/ 1277993 w 1935893"/>
                  <a:gd name="connsiteY960" fmla="*/ 43306 h 1590788"/>
                  <a:gd name="connsiteX961" fmla="*/ 1260496 w 1935893"/>
                  <a:gd name="connsiteY961" fmla="*/ 44731 h 1590788"/>
                  <a:gd name="connsiteX962" fmla="*/ 1245050 w 1935893"/>
                  <a:gd name="connsiteY962" fmla="*/ 33332 h 1590788"/>
                  <a:gd name="connsiteX963" fmla="*/ 1210853 w 1935893"/>
                  <a:gd name="connsiteY963" fmla="*/ 35440 h 1590788"/>
                  <a:gd name="connsiteX964" fmla="*/ 1191817 w 1935893"/>
                  <a:gd name="connsiteY964" fmla="*/ 65249 h 1590788"/>
                  <a:gd name="connsiteX965" fmla="*/ 1177910 w 1935893"/>
                  <a:gd name="connsiteY965" fmla="*/ 65249 h 1590788"/>
                  <a:gd name="connsiteX966" fmla="*/ 1160812 w 1935893"/>
                  <a:gd name="connsiteY966" fmla="*/ 50544 h 1590788"/>
                  <a:gd name="connsiteX967" fmla="*/ 1139952 w 1935893"/>
                  <a:gd name="connsiteY967" fmla="*/ 61430 h 1590788"/>
                  <a:gd name="connsiteX968" fmla="*/ 1136817 w 1935893"/>
                  <a:gd name="connsiteY968" fmla="*/ 65021 h 1590788"/>
                  <a:gd name="connsiteX969" fmla="*/ 1118009 w 1935893"/>
                  <a:gd name="connsiteY969" fmla="*/ 70264 h 1590788"/>
                  <a:gd name="connsiteX970" fmla="*/ 1119206 w 1935893"/>
                  <a:gd name="connsiteY970" fmla="*/ 79782 h 1590788"/>
                  <a:gd name="connsiteX971" fmla="*/ 1124905 w 1935893"/>
                  <a:gd name="connsiteY971" fmla="*/ 88218 h 1590788"/>
                  <a:gd name="connsiteX972" fmla="*/ 1118362 w 1935893"/>
                  <a:gd name="connsiteY972" fmla="*/ 102951 h 1590788"/>
                  <a:gd name="connsiteX973" fmla="*/ 1108662 w 1935893"/>
                  <a:gd name="connsiteY973" fmla="*/ 102238 h 1590788"/>
                  <a:gd name="connsiteX974" fmla="*/ 1089739 w 1935893"/>
                  <a:gd name="connsiteY974" fmla="*/ 82803 h 1590788"/>
                  <a:gd name="connsiteX975" fmla="*/ 1095781 w 1935893"/>
                  <a:gd name="connsiteY975" fmla="*/ 84342 h 1590788"/>
                  <a:gd name="connsiteX976" fmla="*/ 1099656 w 1935893"/>
                  <a:gd name="connsiteY976" fmla="*/ 80181 h 1590788"/>
                  <a:gd name="connsiteX977" fmla="*/ 1105014 w 1935893"/>
                  <a:gd name="connsiteY977" fmla="*/ 80922 h 1590788"/>
                  <a:gd name="connsiteX978" fmla="*/ 1110200 w 1935893"/>
                  <a:gd name="connsiteY978" fmla="*/ 80922 h 1590788"/>
                  <a:gd name="connsiteX979" fmla="*/ 1108947 w 1935893"/>
                  <a:gd name="connsiteY979" fmla="*/ 74881 h 1590788"/>
                  <a:gd name="connsiteX980" fmla="*/ 1106040 w 1935893"/>
                  <a:gd name="connsiteY980" fmla="*/ 71746 h 1590788"/>
                  <a:gd name="connsiteX981" fmla="*/ 1097662 w 1935893"/>
                  <a:gd name="connsiteY981" fmla="*/ 69865 h 1590788"/>
                  <a:gd name="connsiteX982" fmla="*/ 1091050 w 1935893"/>
                  <a:gd name="connsiteY982" fmla="*/ 69865 h 1590788"/>
                  <a:gd name="connsiteX983" fmla="*/ 1085351 w 1935893"/>
                  <a:gd name="connsiteY983" fmla="*/ 79155 h 1590788"/>
                  <a:gd name="connsiteX984" fmla="*/ 1089739 w 1935893"/>
                  <a:gd name="connsiteY984" fmla="*/ 82689 h 1590788"/>
                  <a:gd name="connsiteX985" fmla="*/ 980594 w 1935893"/>
                  <a:gd name="connsiteY985" fmla="*/ 183114 h 1590788"/>
                  <a:gd name="connsiteX986" fmla="*/ 991423 w 1935893"/>
                  <a:gd name="connsiteY986" fmla="*/ 186590 h 1590788"/>
                  <a:gd name="connsiteX987" fmla="*/ 992734 w 1935893"/>
                  <a:gd name="connsiteY987" fmla="*/ 194228 h 1590788"/>
                  <a:gd name="connsiteX988" fmla="*/ 997693 w 1935893"/>
                  <a:gd name="connsiteY988" fmla="*/ 198730 h 1590788"/>
                  <a:gd name="connsiteX989" fmla="*/ 998645 w 1935893"/>
                  <a:gd name="connsiteY989" fmla="*/ 205596 h 1590788"/>
                  <a:gd name="connsiteX990" fmla="*/ 999118 w 1935893"/>
                  <a:gd name="connsiteY990" fmla="*/ 205912 h 1590788"/>
                  <a:gd name="connsiteX991" fmla="*/ 1007325 w 1935893"/>
                  <a:gd name="connsiteY991" fmla="*/ 207280 h 1590788"/>
                  <a:gd name="connsiteX992" fmla="*/ 1057594 w 1935893"/>
                  <a:gd name="connsiteY992" fmla="*/ 201580 h 1590788"/>
                  <a:gd name="connsiteX993" fmla="*/ 1070190 w 1935893"/>
                  <a:gd name="connsiteY993" fmla="*/ 201580 h 1590788"/>
                  <a:gd name="connsiteX994" fmla="*/ 1073268 w 1935893"/>
                  <a:gd name="connsiteY994" fmla="*/ 212010 h 1590788"/>
                  <a:gd name="connsiteX995" fmla="*/ 1060558 w 1935893"/>
                  <a:gd name="connsiteY995" fmla="*/ 216057 h 1590788"/>
                  <a:gd name="connsiteX996" fmla="*/ 1057651 w 1935893"/>
                  <a:gd name="connsiteY996" fmla="*/ 219932 h 1590788"/>
                  <a:gd name="connsiteX997" fmla="*/ 1039185 w 1935893"/>
                  <a:gd name="connsiteY997" fmla="*/ 223295 h 1590788"/>
                  <a:gd name="connsiteX998" fmla="*/ 1034967 w 1935893"/>
                  <a:gd name="connsiteY998" fmla="*/ 228596 h 1590788"/>
                  <a:gd name="connsiteX999" fmla="*/ 1040667 w 1935893"/>
                  <a:gd name="connsiteY999" fmla="*/ 239994 h 1590788"/>
                  <a:gd name="connsiteX1000" fmla="*/ 1053833 w 1935893"/>
                  <a:gd name="connsiteY1000" fmla="*/ 243186 h 1590788"/>
                  <a:gd name="connsiteX1001" fmla="*/ 1057537 w 1935893"/>
                  <a:gd name="connsiteY1001" fmla="*/ 249513 h 1590788"/>
                  <a:gd name="connsiteX1002" fmla="*/ 1065118 w 1935893"/>
                  <a:gd name="connsiteY1002" fmla="*/ 253160 h 1590788"/>
                  <a:gd name="connsiteX1003" fmla="*/ 1066429 w 1935893"/>
                  <a:gd name="connsiteY1003" fmla="*/ 257834 h 1590788"/>
                  <a:gd name="connsiteX1004" fmla="*/ 1083527 w 1935893"/>
                  <a:gd name="connsiteY1004" fmla="*/ 264502 h 1590788"/>
                  <a:gd name="connsiteX1005" fmla="*/ 1087403 w 1935893"/>
                  <a:gd name="connsiteY1005" fmla="*/ 271741 h 1590788"/>
                  <a:gd name="connsiteX1006" fmla="*/ 1096237 w 1935893"/>
                  <a:gd name="connsiteY1006" fmla="*/ 272766 h 1590788"/>
                  <a:gd name="connsiteX1007" fmla="*/ 1107123 w 1935893"/>
                  <a:gd name="connsiteY1007" fmla="*/ 272310 h 1590788"/>
                  <a:gd name="connsiteX1008" fmla="*/ 1112822 w 1935893"/>
                  <a:gd name="connsiteY1008" fmla="*/ 270373 h 1590788"/>
                  <a:gd name="connsiteX1009" fmla="*/ 1114475 w 1935893"/>
                  <a:gd name="connsiteY1009" fmla="*/ 267010 h 1590788"/>
                  <a:gd name="connsiteX1010" fmla="*/ 1121543 w 1935893"/>
                  <a:gd name="connsiteY1010" fmla="*/ 263077 h 1590788"/>
                  <a:gd name="connsiteX1011" fmla="*/ 1132941 w 1935893"/>
                  <a:gd name="connsiteY1011" fmla="*/ 262165 h 1590788"/>
                  <a:gd name="connsiteX1012" fmla="*/ 1140066 w 1935893"/>
                  <a:gd name="connsiteY1012" fmla="*/ 270316 h 1590788"/>
                  <a:gd name="connsiteX1013" fmla="*/ 1149299 w 1935893"/>
                  <a:gd name="connsiteY1013" fmla="*/ 270316 h 1590788"/>
                  <a:gd name="connsiteX1014" fmla="*/ 1153288 w 1935893"/>
                  <a:gd name="connsiteY1014" fmla="*/ 261481 h 1590788"/>
                  <a:gd name="connsiteX1015" fmla="*/ 1152548 w 1935893"/>
                  <a:gd name="connsiteY1015" fmla="*/ 253046 h 1590788"/>
                  <a:gd name="connsiteX1016" fmla="*/ 1163947 w 1935893"/>
                  <a:gd name="connsiteY1016" fmla="*/ 235948 h 1590788"/>
                  <a:gd name="connsiteX1017" fmla="*/ 1167936 w 1935893"/>
                  <a:gd name="connsiteY1017" fmla="*/ 233896 h 1590788"/>
                  <a:gd name="connsiteX1018" fmla="*/ 1170216 w 1935893"/>
                  <a:gd name="connsiteY1018" fmla="*/ 229621 h 1590788"/>
                  <a:gd name="connsiteX1019" fmla="*/ 1181102 w 1935893"/>
                  <a:gd name="connsiteY1019" fmla="*/ 226031 h 1590788"/>
                  <a:gd name="connsiteX1020" fmla="*/ 1189765 w 1935893"/>
                  <a:gd name="connsiteY1020" fmla="*/ 215658 h 1590788"/>
                  <a:gd name="connsiteX1021" fmla="*/ 1196434 w 1935893"/>
                  <a:gd name="connsiteY1021" fmla="*/ 214803 h 1590788"/>
                  <a:gd name="connsiteX1022" fmla="*/ 1211024 w 1935893"/>
                  <a:gd name="connsiteY1022" fmla="*/ 214803 h 1590788"/>
                  <a:gd name="connsiteX1023" fmla="*/ 1217864 w 1935893"/>
                  <a:gd name="connsiteY1023" fmla="*/ 203746 h 1590788"/>
                  <a:gd name="connsiteX1024" fmla="*/ 1205667 w 1935893"/>
                  <a:gd name="connsiteY1024" fmla="*/ 198388 h 1590788"/>
                  <a:gd name="connsiteX1025" fmla="*/ 1178708 w 1935893"/>
                  <a:gd name="connsiteY1025" fmla="*/ 197191 h 1590788"/>
                  <a:gd name="connsiteX1026" fmla="*/ 1176029 w 1935893"/>
                  <a:gd name="connsiteY1026" fmla="*/ 196564 h 1590788"/>
                  <a:gd name="connsiteX1027" fmla="*/ 1174377 w 1935893"/>
                  <a:gd name="connsiteY1027" fmla="*/ 193544 h 1590788"/>
                  <a:gd name="connsiteX1028" fmla="*/ 1171755 w 1935893"/>
                  <a:gd name="connsiteY1028" fmla="*/ 183798 h 1590788"/>
                  <a:gd name="connsiteX1029" fmla="*/ 1181387 w 1935893"/>
                  <a:gd name="connsiteY1029" fmla="*/ 181290 h 1590788"/>
                  <a:gd name="connsiteX1030" fmla="*/ 1176485 w 1935893"/>
                  <a:gd name="connsiteY1030" fmla="*/ 172570 h 1590788"/>
                  <a:gd name="connsiteX1031" fmla="*/ 1167480 w 1935893"/>
                  <a:gd name="connsiteY1031" fmla="*/ 166357 h 1590788"/>
                  <a:gd name="connsiteX1032" fmla="*/ 1167024 w 1935893"/>
                  <a:gd name="connsiteY1032" fmla="*/ 154958 h 1590788"/>
                  <a:gd name="connsiteX1033" fmla="*/ 1159615 w 1935893"/>
                  <a:gd name="connsiteY1033" fmla="*/ 149943 h 1590788"/>
                  <a:gd name="connsiteX1034" fmla="*/ 1158988 w 1935893"/>
                  <a:gd name="connsiteY1034" fmla="*/ 165160 h 1590788"/>
                  <a:gd name="connsiteX1035" fmla="*/ 1146905 w 1935893"/>
                  <a:gd name="connsiteY1035" fmla="*/ 165160 h 1590788"/>
                  <a:gd name="connsiteX1036" fmla="*/ 1139097 w 1935893"/>
                  <a:gd name="connsiteY1036" fmla="*/ 156782 h 1590788"/>
                  <a:gd name="connsiteX1037" fmla="*/ 1138698 w 1935893"/>
                  <a:gd name="connsiteY1037" fmla="*/ 153647 h 1590788"/>
                  <a:gd name="connsiteX1038" fmla="*/ 1131631 w 1935893"/>
                  <a:gd name="connsiteY1038" fmla="*/ 148917 h 1590788"/>
                  <a:gd name="connsiteX1039" fmla="*/ 1129636 w 1935893"/>
                  <a:gd name="connsiteY1039" fmla="*/ 141394 h 1590788"/>
                  <a:gd name="connsiteX1040" fmla="*/ 1127413 w 1935893"/>
                  <a:gd name="connsiteY1040" fmla="*/ 140026 h 1590788"/>
                  <a:gd name="connsiteX1041" fmla="*/ 1104615 w 1935893"/>
                  <a:gd name="connsiteY1041" fmla="*/ 130679 h 1590788"/>
                  <a:gd name="connsiteX1042" fmla="*/ 1098916 w 1935893"/>
                  <a:gd name="connsiteY1042" fmla="*/ 128912 h 1590788"/>
                  <a:gd name="connsiteX1043" fmla="*/ 1090594 w 1935893"/>
                  <a:gd name="connsiteY1043" fmla="*/ 126746 h 1590788"/>
                  <a:gd name="connsiteX1044" fmla="*/ 1089454 w 1935893"/>
                  <a:gd name="connsiteY1044" fmla="*/ 123269 h 1590788"/>
                  <a:gd name="connsiteX1045" fmla="*/ 1079993 w 1935893"/>
                  <a:gd name="connsiteY1045" fmla="*/ 120306 h 1590788"/>
                  <a:gd name="connsiteX1046" fmla="*/ 1077714 w 1935893"/>
                  <a:gd name="connsiteY1046" fmla="*/ 114891 h 1590788"/>
                  <a:gd name="connsiteX1047" fmla="*/ 1069848 w 1935893"/>
                  <a:gd name="connsiteY1047" fmla="*/ 110958 h 1590788"/>
                  <a:gd name="connsiteX1048" fmla="*/ 1069221 w 1935893"/>
                  <a:gd name="connsiteY1048" fmla="*/ 107368 h 1590788"/>
                  <a:gd name="connsiteX1049" fmla="*/ 1056055 w 1935893"/>
                  <a:gd name="connsiteY1049" fmla="*/ 100642 h 1590788"/>
                  <a:gd name="connsiteX1050" fmla="*/ 1039584 w 1935893"/>
                  <a:gd name="connsiteY1050" fmla="*/ 104005 h 1590788"/>
                  <a:gd name="connsiteX1051" fmla="*/ 1032802 w 1935893"/>
                  <a:gd name="connsiteY1051" fmla="*/ 109249 h 1590788"/>
                  <a:gd name="connsiteX1052" fmla="*/ 1025791 w 1935893"/>
                  <a:gd name="connsiteY1052" fmla="*/ 109534 h 1590788"/>
                  <a:gd name="connsiteX1053" fmla="*/ 1009890 w 1935893"/>
                  <a:gd name="connsiteY1053" fmla="*/ 107026 h 1590788"/>
                  <a:gd name="connsiteX1054" fmla="*/ 1010631 w 1935893"/>
                  <a:gd name="connsiteY1054" fmla="*/ 113352 h 1590788"/>
                  <a:gd name="connsiteX1055" fmla="*/ 1016729 w 1935893"/>
                  <a:gd name="connsiteY1055" fmla="*/ 116601 h 1590788"/>
                  <a:gd name="connsiteX1056" fmla="*/ 1026988 w 1935893"/>
                  <a:gd name="connsiteY1056" fmla="*/ 127487 h 1590788"/>
                  <a:gd name="connsiteX1057" fmla="*/ 1012911 w 1935893"/>
                  <a:gd name="connsiteY1057" fmla="*/ 133186 h 1590788"/>
                  <a:gd name="connsiteX1058" fmla="*/ 992734 w 1935893"/>
                  <a:gd name="connsiteY1058" fmla="*/ 135979 h 1590788"/>
                  <a:gd name="connsiteX1059" fmla="*/ 984983 w 1935893"/>
                  <a:gd name="connsiteY1059" fmla="*/ 143274 h 1590788"/>
                  <a:gd name="connsiteX1060" fmla="*/ 990682 w 1935893"/>
                  <a:gd name="connsiteY1060" fmla="*/ 149430 h 1590788"/>
                  <a:gd name="connsiteX1061" fmla="*/ 998833 w 1935893"/>
                  <a:gd name="connsiteY1061" fmla="*/ 153078 h 1590788"/>
                  <a:gd name="connsiteX1062" fmla="*/ 999346 w 1935893"/>
                  <a:gd name="connsiteY1062" fmla="*/ 160430 h 1590788"/>
                  <a:gd name="connsiteX1063" fmla="*/ 1008294 w 1935893"/>
                  <a:gd name="connsiteY1063" fmla="*/ 161513 h 1590788"/>
                  <a:gd name="connsiteX1064" fmla="*/ 1016501 w 1935893"/>
                  <a:gd name="connsiteY1064" fmla="*/ 164419 h 1590788"/>
                  <a:gd name="connsiteX1065" fmla="*/ 1006983 w 1935893"/>
                  <a:gd name="connsiteY1065" fmla="*/ 170974 h 1590788"/>
                  <a:gd name="connsiteX1066" fmla="*/ 992791 w 1935893"/>
                  <a:gd name="connsiteY1066" fmla="*/ 172798 h 1590788"/>
                  <a:gd name="connsiteX1067" fmla="*/ 990740 w 1935893"/>
                  <a:gd name="connsiteY1067" fmla="*/ 169720 h 1590788"/>
                  <a:gd name="connsiteX1068" fmla="*/ 978434 w 1935893"/>
                  <a:gd name="connsiteY1068" fmla="*/ 167145 h 1590788"/>
                  <a:gd name="connsiteX1069" fmla="*/ 975858 w 1935893"/>
                  <a:gd name="connsiteY1069" fmla="*/ 179452 h 1590788"/>
                  <a:gd name="connsiteX1070" fmla="*/ 980423 w 1935893"/>
                  <a:gd name="connsiteY1070" fmla="*/ 183000 h 1590788"/>
                  <a:gd name="connsiteX1071" fmla="*/ 1634780 w 1935893"/>
                  <a:gd name="connsiteY1071" fmla="*/ 796662 h 1590788"/>
                  <a:gd name="connsiteX1072" fmla="*/ 1637687 w 1935893"/>
                  <a:gd name="connsiteY1072" fmla="*/ 801735 h 1590788"/>
                  <a:gd name="connsiteX1073" fmla="*/ 1647775 w 1935893"/>
                  <a:gd name="connsiteY1073" fmla="*/ 805211 h 1590788"/>
                  <a:gd name="connsiteX1074" fmla="*/ 1669319 w 1935893"/>
                  <a:gd name="connsiteY1074" fmla="*/ 829548 h 1590788"/>
                  <a:gd name="connsiteX1075" fmla="*/ 1671029 w 1935893"/>
                  <a:gd name="connsiteY1075" fmla="*/ 834165 h 1590788"/>
                  <a:gd name="connsiteX1076" fmla="*/ 1680034 w 1935893"/>
                  <a:gd name="connsiteY1076" fmla="*/ 836387 h 1590788"/>
                  <a:gd name="connsiteX1077" fmla="*/ 1682314 w 1935893"/>
                  <a:gd name="connsiteY1077" fmla="*/ 843341 h 1590788"/>
                  <a:gd name="connsiteX1078" fmla="*/ 1692288 w 1935893"/>
                  <a:gd name="connsiteY1078" fmla="*/ 843626 h 1590788"/>
                  <a:gd name="connsiteX1079" fmla="*/ 1696106 w 1935893"/>
                  <a:gd name="connsiteY1079" fmla="*/ 832797 h 1590788"/>
                  <a:gd name="connsiteX1080" fmla="*/ 1700096 w 1935893"/>
                  <a:gd name="connsiteY1080" fmla="*/ 822025 h 1590788"/>
                  <a:gd name="connsiteX1081" fmla="*/ 1707733 w 1935893"/>
                  <a:gd name="connsiteY1081" fmla="*/ 818434 h 1590788"/>
                  <a:gd name="connsiteX1082" fmla="*/ 1711324 w 1935893"/>
                  <a:gd name="connsiteY1082" fmla="*/ 809543 h 1590788"/>
                  <a:gd name="connsiteX1083" fmla="*/ 1724832 w 1935893"/>
                  <a:gd name="connsiteY1083" fmla="*/ 804812 h 1590788"/>
                  <a:gd name="connsiteX1084" fmla="*/ 1735547 w 1935893"/>
                  <a:gd name="connsiteY1084" fmla="*/ 796548 h 1590788"/>
                  <a:gd name="connsiteX1085" fmla="*/ 1722381 w 1935893"/>
                  <a:gd name="connsiteY1085" fmla="*/ 774206 h 1590788"/>
                  <a:gd name="connsiteX1086" fmla="*/ 1714117 w 1935893"/>
                  <a:gd name="connsiteY1086" fmla="*/ 772211 h 1590788"/>
                  <a:gd name="connsiteX1087" fmla="*/ 1710412 w 1935893"/>
                  <a:gd name="connsiteY1087" fmla="*/ 766512 h 1590788"/>
                  <a:gd name="connsiteX1088" fmla="*/ 1704713 w 1935893"/>
                  <a:gd name="connsiteY1088" fmla="*/ 764403 h 1590788"/>
                  <a:gd name="connsiteX1089" fmla="*/ 1699868 w 1935893"/>
                  <a:gd name="connsiteY1089" fmla="*/ 753631 h 1590788"/>
                  <a:gd name="connsiteX1090" fmla="*/ 1691091 w 1935893"/>
                  <a:gd name="connsiteY1090" fmla="*/ 749584 h 1590788"/>
                  <a:gd name="connsiteX1091" fmla="*/ 1676614 w 1935893"/>
                  <a:gd name="connsiteY1091" fmla="*/ 737217 h 1590788"/>
                  <a:gd name="connsiteX1092" fmla="*/ 1648117 w 1935893"/>
                  <a:gd name="connsiteY1092" fmla="*/ 730719 h 1590788"/>
                  <a:gd name="connsiteX1093" fmla="*/ 1630448 w 1935893"/>
                  <a:gd name="connsiteY1093" fmla="*/ 721486 h 1590788"/>
                  <a:gd name="connsiteX1094" fmla="*/ 1613350 w 1935893"/>
                  <a:gd name="connsiteY1094" fmla="*/ 718009 h 1590788"/>
                  <a:gd name="connsiteX1095" fmla="*/ 1608790 w 1935893"/>
                  <a:gd name="connsiteY1095" fmla="*/ 709574 h 1590788"/>
                  <a:gd name="connsiteX1096" fmla="*/ 1599101 w 1935893"/>
                  <a:gd name="connsiteY1096" fmla="*/ 705185 h 1590788"/>
                  <a:gd name="connsiteX1097" fmla="*/ 1598303 w 1935893"/>
                  <a:gd name="connsiteY1097" fmla="*/ 690538 h 1590788"/>
                  <a:gd name="connsiteX1098" fmla="*/ 1613293 w 1935893"/>
                  <a:gd name="connsiteY1098" fmla="*/ 687916 h 1590788"/>
                  <a:gd name="connsiteX1099" fmla="*/ 1618993 w 1935893"/>
                  <a:gd name="connsiteY1099" fmla="*/ 691051 h 1590788"/>
                  <a:gd name="connsiteX1100" fmla="*/ 1630887 w 1935893"/>
                  <a:gd name="connsiteY1100" fmla="*/ 683624 h 1590788"/>
                  <a:gd name="connsiteX1101" fmla="*/ 1630392 w 1935893"/>
                  <a:gd name="connsiteY1101" fmla="*/ 677600 h 1590788"/>
                  <a:gd name="connsiteX1102" fmla="*/ 1601552 w 1935893"/>
                  <a:gd name="connsiteY1102" fmla="*/ 678512 h 1590788"/>
                  <a:gd name="connsiteX1103" fmla="*/ 1604801 w 1935893"/>
                  <a:gd name="connsiteY1103" fmla="*/ 666600 h 1590788"/>
                  <a:gd name="connsiteX1104" fmla="*/ 1623951 w 1935893"/>
                  <a:gd name="connsiteY1104" fmla="*/ 659248 h 1590788"/>
                  <a:gd name="connsiteX1105" fmla="*/ 1619164 w 1935893"/>
                  <a:gd name="connsiteY1105" fmla="*/ 655657 h 1590788"/>
                  <a:gd name="connsiteX1106" fmla="*/ 1611526 w 1935893"/>
                  <a:gd name="connsiteY1106" fmla="*/ 640496 h 1590788"/>
                  <a:gd name="connsiteX1107" fmla="*/ 1596366 w 1935893"/>
                  <a:gd name="connsiteY1107" fmla="*/ 648134 h 1590788"/>
                  <a:gd name="connsiteX1108" fmla="*/ 1594713 w 1935893"/>
                  <a:gd name="connsiteY1108" fmla="*/ 651724 h 1590788"/>
                  <a:gd name="connsiteX1109" fmla="*/ 1585480 w 1935893"/>
                  <a:gd name="connsiteY1109" fmla="*/ 649901 h 1590788"/>
                  <a:gd name="connsiteX1110" fmla="*/ 1584511 w 1935893"/>
                  <a:gd name="connsiteY1110" fmla="*/ 639129 h 1590788"/>
                  <a:gd name="connsiteX1111" fmla="*/ 1592604 w 1935893"/>
                  <a:gd name="connsiteY1111" fmla="*/ 628300 h 1590788"/>
                  <a:gd name="connsiteX1112" fmla="*/ 1589811 w 1935893"/>
                  <a:gd name="connsiteY1112" fmla="*/ 621289 h 1590788"/>
                  <a:gd name="connsiteX1113" fmla="*/ 1584397 w 1935893"/>
                  <a:gd name="connsiteY1113" fmla="*/ 621289 h 1590788"/>
                  <a:gd name="connsiteX1114" fmla="*/ 1549516 w 1935893"/>
                  <a:gd name="connsiteY1114" fmla="*/ 627844 h 1590788"/>
                  <a:gd name="connsiteX1115" fmla="*/ 1542403 w 1935893"/>
                  <a:gd name="connsiteY1115" fmla="*/ 607023 h 1590788"/>
                  <a:gd name="connsiteX1116" fmla="*/ 1527231 w 1935893"/>
                  <a:gd name="connsiteY1116" fmla="*/ 607838 h 1590788"/>
                  <a:gd name="connsiteX1117" fmla="*/ 1512697 w 1935893"/>
                  <a:gd name="connsiteY1117" fmla="*/ 622714 h 1590788"/>
                  <a:gd name="connsiteX1118" fmla="*/ 1501811 w 1935893"/>
                  <a:gd name="connsiteY1118" fmla="*/ 612056 h 1590788"/>
                  <a:gd name="connsiteX1119" fmla="*/ 1514293 w 1935893"/>
                  <a:gd name="connsiteY1119" fmla="*/ 606357 h 1590788"/>
                  <a:gd name="connsiteX1120" fmla="*/ 1519993 w 1935893"/>
                  <a:gd name="connsiteY1120" fmla="*/ 596155 h 1590788"/>
                  <a:gd name="connsiteX1121" fmla="*/ 1527402 w 1935893"/>
                  <a:gd name="connsiteY1121" fmla="*/ 593704 h 1590788"/>
                  <a:gd name="connsiteX1122" fmla="*/ 1527402 w 1935893"/>
                  <a:gd name="connsiteY1122" fmla="*/ 584813 h 1590788"/>
                  <a:gd name="connsiteX1123" fmla="*/ 1508195 w 1935893"/>
                  <a:gd name="connsiteY1123" fmla="*/ 582704 h 1590788"/>
                  <a:gd name="connsiteX1124" fmla="*/ 1498050 w 1935893"/>
                  <a:gd name="connsiteY1124" fmla="*/ 592849 h 1590788"/>
                  <a:gd name="connsiteX1125" fmla="*/ 1485283 w 1935893"/>
                  <a:gd name="connsiteY1125" fmla="*/ 594559 h 1590788"/>
                  <a:gd name="connsiteX1126" fmla="*/ 1480438 w 1935893"/>
                  <a:gd name="connsiteY1126" fmla="*/ 582647 h 1590788"/>
                  <a:gd name="connsiteX1127" fmla="*/ 1472972 w 1935893"/>
                  <a:gd name="connsiteY1127" fmla="*/ 578828 h 1590788"/>
                  <a:gd name="connsiteX1128" fmla="*/ 1471490 w 1935893"/>
                  <a:gd name="connsiteY1128" fmla="*/ 572046 h 1590788"/>
                  <a:gd name="connsiteX1129" fmla="*/ 1462143 w 1935893"/>
                  <a:gd name="connsiteY1129" fmla="*/ 563611 h 1590788"/>
                  <a:gd name="connsiteX1130" fmla="*/ 1448863 w 1935893"/>
                  <a:gd name="connsiteY1130" fmla="*/ 562699 h 1590788"/>
                  <a:gd name="connsiteX1131" fmla="*/ 1444133 w 1935893"/>
                  <a:gd name="connsiteY1131" fmla="*/ 561559 h 1590788"/>
                  <a:gd name="connsiteX1132" fmla="*/ 1442594 w 1935893"/>
                  <a:gd name="connsiteY1132" fmla="*/ 547538 h 1590788"/>
                  <a:gd name="connsiteX1133" fmla="*/ 1423842 w 1935893"/>
                  <a:gd name="connsiteY1133" fmla="*/ 535626 h 1590788"/>
                  <a:gd name="connsiteX1134" fmla="*/ 1384687 w 1935893"/>
                  <a:gd name="connsiteY1134" fmla="*/ 535626 h 1590788"/>
                  <a:gd name="connsiteX1135" fmla="*/ 1377050 w 1935893"/>
                  <a:gd name="connsiteY1135" fmla="*/ 537165 h 1590788"/>
                  <a:gd name="connsiteX1136" fmla="*/ 1372775 w 1935893"/>
                  <a:gd name="connsiteY1136" fmla="*/ 546569 h 1590788"/>
                  <a:gd name="connsiteX1137" fmla="*/ 1370438 w 1935893"/>
                  <a:gd name="connsiteY1137" fmla="*/ 556828 h 1590788"/>
                  <a:gd name="connsiteX1138" fmla="*/ 1361376 w 1935893"/>
                  <a:gd name="connsiteY1138" fmla="*/ 558538 h 1590788"/>
                  <a:gd name="connsiteX1139" fmla="*/ 1354195 w 1935893"/>
                  <a:gd name="connsiteY1139" fmla="*/ 548336 h 1590788"/>
                  <a:gd name="connsiteX1140" fmla="*/ 1340573 w 1935893"/>
                  <a:gd name="connsiteY1140" fmla="*/ 549704 h 1590788"/>
                  <a:gd name="connsiteX1141" fmla="*/ 1339718 w 1935893"/>
                  <a:gd name="connsiteY1141" fmla="*/ 553351 h 1590788"/>
                  <a:gd name="connsiteX1142" fmla="*/ 1329288 w 1935893"/>
                  <a:gd name="connsiteY1142" fmla="*/ 553636 h 1590788"/>
                  <a:gd name="connsiteX1143" fmla="*/ 1326005 w 1935893"/>
                  <a:gd name="connsiteY1143" fmla="*/ 563759 h 1590788"/>
                  <a:gd name="connsiteX1144" fmla="*/ 1317547 w 1935893"/>
                  <a:gd name="connsiteY1144" fmla="*/ 562642 h 1590788"/>
                  <a:gd name="connsiteX1145" fmla="*/ 1313957 w 1935893"/>
                  <a:gd name="connsiteY1145" fmla="*/ 552041 h 1590788"/>
                  <a:gd name="connsiteX1146" fmla="*/ 1319086 w 1935893"/>
                  <a:gd name="connsiteY1146" fmla="*/ 534429 h 1590788"/>
                  <a:gd name="connsiteX1147" fmla="*/ 1318288 w 1935893"/>
                  <a:gd name="connsiteY1147" fmla="*/ 516191 h 1590788"/>
                  <a:gd name="connsiteX1148" fmla="*/ 1314926 w 1935893"/>
                  <a:gd name="connsiteY1148" fmla="*/ 510491 h 1590788"/>
                  <a:gd name="connsiteX1149" fmla="*/ 1313786 w 1935893"/>
                  <a:gd name="connsiteY1149" fmla="*/ 506331 h 1590788"/>
                  <a:gd name="connsiteX1150" fmla="*/ 1311791 w 1935893"/>
                  <a:gd name="connsiteY1150" fmla="*/ 502512 h 1590788"/>
                  <a:gd name="connsiteX1151" fmla="*/ 1303641 w 1935893"/>
                  <a:gd name="connsiteY1151" fmla="*/ 488890 h 1590788"/>
                  <a:gd name="connsiteX1152" fmla="*/ 1297941 w 1935893"/>
                  <a:gd name="connsiteY1152" fmla="*/ 482792 h 1590788"/>
                  <a:gd name="connsiteX1153" fmla="*/ 1288993 w 1935893"/>
                  <a:gd name="connsiteY1153" fmla="*/ 481766 h 1590788"/>
                  <a:gd name="connsiteX1154" fmla="*/ 1278221 w 1935893"/>
                  <a:gd name="connsiteY1154" fmla="*/ 482621 h 1590788"/>
                  <a:gd name="connsiteX1155" fmla="*/ 1270413 w 1935893"/>
                  <a:gd name="connsiteY1155" fmla="*/ 484616 h 1590788"/>
                  <a:gd name="connsiteX1156" fmla="*/ 1265625 w 1935893"/>
                  <a:gd name="connsiteY1156" fmla="*/ 490315 h 1590788"/>
                  <a:gd name="connsiteX1157" fmla="*/ 1243967 w 1935893"/>
                  <a:gd name="connsiteY1157" fmla="*/ 501714 h 1590788"/>
                  <a:gd name="connsiteX1158" fmla="*/ 1229092 w 1935893"/>
                  <a:gd name="connsiteY1158" fmla="*/ 504222 h 1590788"/>
                  <a:gd name="connsiteX1159" fmla="*/ 1217180 w 1935893"/>
                  <a:gd name="connsiteY1159" fmla="*/ 517559 h 1590788"/>
                  <a:gd name="connsiteX1160" fmla="*/ 1230573 w 1935893"/>
                  <a:gd name="connsiteY1160" fmla="*/ 547937 h 1590788"/>
                  <a:gd name="connsiteX1161" fmla="*/ 1224657 w 1935893"/>
                  <a:gd name="connsiteY1161" fmla="*/ 559484 h 1590788"/>
                  <a:gd name="connsiteX1162" fmla="*/ 1223050 w 1935893"/>
                  <a:gd name="connsiteY1162" fmla="*/ 559849 h 1590788"/>
                  <a:gd name="connsiteX1163" fmla="*/ 1214558 w 1935893"/>
                  <a:gd name="connsiteY1163" fmla="*/ 562471 h 1590788"/>
                  <a:gd name="connsiteX1164" fmla="*/ 1216667 w 1935893"/>
                  <a:gd name="connsiteY1164" fmla="*/ 567087 h 1590788"/>
                  <a:gd name="connsiteX1165" fmla="*/ 1232910 w 1935893"/>
                  <a:gd name="connsiteY1165" fmla="*/ 579683 h 1590788"/>
                  <a:gd name="connsiteX1166" fmla="*/ 1241801 w 1935893"/>
                  <a:gd name="connsiteY1166" fmla="*/ 591652 h 1590788"/>
                  <a:gd name="connsiteX1167" fmla="*/ 1216895 w 1935893"/>
                  <a:gd name="connsiteY1167" fmla="*/ 587662 h 1590788"/>
                  <a:gd name="connsiteX1168" fmla="*/ 1208915 w 1935893"/>
                  <a:gd name="connsiteY1168" fmla="*/ 578657 h 1590788"/>
                  <a:gd name="connsiteX1169" fmla="*/ 1203216 w 1935893"/>
                  <a:gd name="connsiteY1169" fmla="*/ 577346 h 1590788"/>
                  <a:gd name="connsiteX1170" fmla="*/ 1200423 w 1935893"/>
                  <a:gd name="connsiteY1170" fmla="*/ 573699 h 1590788"/>
                  <a:gd name="connsiteX1171" fmla="*/ 1201107 w 1935893"/>
                  <a:gd name="connsiteY1171" fmla="*/ 553238 h 1590788"/>
                  <a:gd name="connsiteX1172" fmla="*/ 1196946 w 1935893"/>
                  <a:gd name="connsiteY1172" fmla="*/ 533859 h 1590788"/>
                  <a:gd name="connsiteX1173" fmla="*/ 1191247 w 1935893"/>
                  <a:gd name="connsiteY1173" fmla="*/ 529585 h 1590788"/>
                  <a:gd name="connsiteX1174" fmla="*/ 1192735 w 1935893"/>
                  <a:gd name="connsiteY1174" fmla="*/ 517749 h 1590788"/>
                  <a:gd name="connsiteX1175" fmla="*/ 1194610 w 1935893"/>
                  <a:gd name="connsiteY1175" fmla="*/ 516647 h 1590788"/>
                  <a:gd name="connsiteX1176" fmla="*/ 1201050 w 1935893"/>
                  <a:gd name="connsiteY1176" fmla="*/ 514880 h 1590788"/>
                  <a:gd name="connsiteX1177" fmla="*/ 1203216 w 1935893"/>
                  <a:gd name="connsiteY1177" fmla="*/ 504279 h 1590788"/>
                  <a:gd name="connsiteX1178" fmla="*/ 1210568 w 1935893"/>
                  <a:gd name="connsiteY1178" fmla="*/ 502797 h 1590788"/>
                  <a:gd name="connsiteX1179" fmla="*/ 1214216 w 1935893"/>
                  <a:gd name="connsiteY1179" fmla="*/ 495160 h 1590788"/>
                  <a:gd name="connsiteX1180" fmla="*/ 1222708 w 1935893"/>
                  <a:gd name="connsiteY1180" fmla="*/ 491113 h 1590788"/>
                  <a:gd name="connsiteX1181" fmla="*/ 1222708 w 1935893"/>
                  <a:gd name="connsiteY1181" fmla="*/ 483305 h 1590788"/>
                  <a:gd name="connsiteX1182" fmla="*/ 1187827 w 1935893"/>
                  <a:gd name="connsiteY1182" fmla="*/ 486212 h 1590788"/>
                  <a:gd name="connsiteX1183" fmla="*/ 1176941 w 1935893"/>
                  <a:gd name="connsiteY1183" fmla="*/ 490372 h 1590788"/>
                  <a:gd name="connsiteX1184" fmla="*/ 1168962 w 1935893"/>
                  <a:gd name="connsiteY1184" fmla="*/ 491797 h 1590788"/>
                  <a:gd name="connsiteX1185" fmla="*/ 1158190 w 1935893"/>
                  <a:gd name="connsiteY1185" fmla="*/ 498238 h 1590788"/>
                  <a:gd name="connsiteX1186" fmla="*/ 1146107 w 1935893"/>
                  <a:gd name="connsiteY1186" fmla="*/ 507756 h 1590788"/>
                  <a:gd name="connsiteX1187" fmla="*/ 1140408 w 1935893"/>
                  <a:gd name="connsiteY1187" fmla="*/ 512942 h 1590788"/>
                  <a:gd name="connsiteX1188" fmla="*/ 1134366 w 1935893"/>
                  <a:gd name="connsiteY1188" fmla="*/ 524341 h 1590788"/>
                  <a:gd name="connsiteX1189" fmla="*/ 1130149 w 1935893"/>
                  <a:gd name="connsiteY1189" fmla="*/ 528445 h 1590788"/>
                  <a:gd name="connsiteX1190" fmla="*/ 1127356 w 1935893"/>
                  <a:gd name="connsiteY1190" fmla="*/ 535740 h 1590788"/>
                  <a:gd name="connsiteX1191" fmla="*/ 1123138 w 1935893"/>
                  <a:gd name="connsiteY1191" fmla="*/ 554548 h 1590788"/>
                  <a:gd name="connsiteX1192" fmla="*/ 1120802 w 1935893"/>
                  <a:gd name="connsiteY1192" fmla="*/ 573129 h 1590788"/>
                  <a:gd name="connsiteX1193" fmla="*/ 1128667 w 1935893"/>
                  <a:gd name="connsiteY1193" fmla="*/ 589543 h 1590788"/>
                  <a:gd name="connsiteX1194" fmla="*/ 1154770 w 1935893"/>
                  <a:gd name="connsiteY1194" fmla="*/ 594616 h 1590788"/>
                  <a:gd name="connsiteX1195" fmla="*/ 1178708 w 1935893"/>
                  <a:gd name="connsiteY1195" fmla="*/ 604818 h 1590788"/>
                  <a:gd name="connsiteX1196" fmla="*/ 1181501 w 1935893"/>
                  <a:gd name="connsiteY1196" fmla="*/ 609605 h 1590788"/>
                  <a:gd name="connsiteX1197" fmla="*/ 1173237 w 1935893"/>
                  <a:gd name="connsiteY1197" fmla="*/ 612911 h 1590788"/>
                  <a:gd name="connsiteX1198" fmla="*/ 1148786 w 1935893"/>
                  <a:gd name="connsiteY1198" fmla="*/ 609548 h 1590788"/>
                  <a:gd name="connsiteX1199" fmla="*/ 1139667 w 1935893"/>
                  <a:gd name="connsiteY1199" fmla="*/ 609548 h 1590788"/>
                  <a:gd name="connsiteX1200" fmla="*/ 1134651 w 1935893"/>
                  <a:gd name="connsiteY1200" fmla="*/ 616388 h 1590788"/>
                  <a:gd name="connsiteX1201" fmla="*/ 1138983 w 1935893"/>
                  <a:gd name="connsiteY1201" fmla="*/ 622087 h 1590788"/>
                  <a:gd name="connsiteX1202" fmla="*/ 1158532 w 1935893"/>
                  <a:gd name="connsiteY1202" fmla="*/ 635082 h 1590788"/>
                  <a:gd name="connsiteX1203" fmla="*/ 1181330 w 1935893"/>
                  <a:gd name="connsiteY1203" fmla="*/ 634740 h 1590788"/>
                  <a:gd name="connsiteX1204" fmla="*/ 1187884 w 1935893"/>
                  <a:gd name="connsiteY1204" fmla="*/ 631434 h 1590788"/>
                  <a:gd name="connsiteX1205" fmla="*/ 1201164 w 1935893"/>
                  <a:gd name="connsiteY1205" fmla="*/ 645398 h 1590788"/>
                  <a:gd name="connsiteX1206" fmla="*/ 1261522 w 1935893"/>
                  <a:gd name="connsiteY1206" fmla="*/ 647621 h 1590788"/>
                  <a:gd name="connsiteX1207" fmla="*/ 1281071 w 1935893"/>
                  <a:gd name="connsiteY1207" fmla="*/ 652180 h 1590788"/>
                  <a:gd name="connsiteX1208" fmla="*/ 1288765 w 1935893"/>
                  <a:gd name="connsiteY1208" fmla="*/ 661243 h 1590788"/>
                  <a:gd name="connsiteX1209" fmla="*/ 1295091 w 1935893"/>
                  <a:gd name="connsiteY1209" fmla="*/ 659248 h 1590788"/>
                  <a:gd name="connsiteX1210" fmla="*/ 1309625 w 1935893"/>
                  <a:gd name="connsiteY1210" fmla="*/ 644030 h 1590788"/>
                  <a:gd name="connsiteX1211" fmla="*/ 1323361 w 1935893"/>
                  <a:gd name="connsiteY1211" fmla="*/ 643004 h 1590788"/>
                  <a:gd name="connsiteX1212" fmla="*/ 1328205 w 1935893"/>
                  <a:gd name="connsiteY1212" fmla="*/ 639642 h 1590788"/>
                  <a:gd name="connsiteX1213" fmla="*/ 1358071 w 1935893"/>
                  <a:gd name="connsiteY1213" fmla="*/ 646139 h 1590788"/>
                  <a:gd name="connsiteX1214" fmla="*/ 1363770 w 1935893"/>
                  <a:gd name="connsiteY1214" fmla="*/ 649217 h 1590788"/>
                  <a:gd name="connsiteX1215" fmla="*/ 1366734 w 1935893"/>
                  <a:gd name="connsiteY1215" fmla="*/ 643517 h 1590788"/>
                  <a:gd name="connsiteX1216" fmla="*/ 1349635 w 1935893"/>
                  <a:gd name="connsiteY1216" fmla="*/ 622486 h 1590788"/>
                  <a:gd name="connsiteX1217" fmla="*/ 1391299 w 1935893"/>
                  <a:gd name="connsiteY1217" fmla="*/ 639129 h 1590788"/>
                  <a:gd name="connsiteX1218" fmla="*/ 1393464 w 1935893"/>
                  <a:gd name="connsiteY1218" fmla="*/ 643574 h 1590788"/>
                  <a:gd name="connsiteX1219" fmla="*/ 1393863 w 1935893"/>
                  <a:gd name="connsiteY1219" fmla="*/ 647621 h 1590788"/>
                  <a:gd name="connsiteX1220" fmla="*/ 1400988 w 1935893"/>
                  <a:gd name="connsiteY1220" fmla="*/ 653947 h 1590788"/>
                  <a:gd name="connsiteX1221" fmla="*/ 1413184 w 1935893"/>
                  <a:gd name="connsiteY1221" fmla="*/ 669906 h 1590788"/>
                  <a:gd name="connsiteX1222" fmla="*/ 1423615 w 1935893"/>
                  <a:gd name="connsiteY1222" fmla="*/ 672641 h 1590788"/>
                  <a:gd name="connsiteX1223" fmla="*/ 1433019 w 1935893"/>
                  <a:gd name="connsiteY1223" fmla="*/ 676517 h 1590788"/>
                  <a:gd name="connsiteX1224" fmla="*/ 1436552 w 1935893"/>
                  <a:gd name="connsiteY1224" fmla="*/ 682787 h 1590788"/>
                  <a:gd name="connsiteX1225" fmla="*/ 1434899 w 1935893"/>
                  <a:gd name="connsiteY1225" fmla="*/ 685066 h 1590788"/>
                  <a:gd name="connsiteX1226" fmla="*/ 1407656 w 1935893"/>
                  <a:gd name="connsiteY1226" fmla="*/ 697035 h 1590788"/>
                  <a:gd name="connsiteX1227" fmla="*/ 1410791 w 1935893"/>
                  <a:gd name="connsiteY1227" fmla="*/ 703989 h 1590788"/>
                  <a:gd name="connsiteX1228" fmla="*/ 1420252 w 1935893"/>
                  <a:gd name="connsiteY1228" fmla="*/ 701367 h 1590788"/>
                  <a:gd name="connsiteX1229" fmla="*/ 1431651 w 1935893"/>
                  <a:gd name="connsiteY1229" fmla="*/ 697605 h 1590788"/>
                  <a:gd name="connsiteX1230" fmla="*/ 1438034 w 1935893"/>
                  <a:gd name="connsiteY1230" fmla="*/ 691222 h 1590788"/>
                  <a:gd name="connsiteX1231" fmla="*/ 1451941 w 1935893"/>
                  <a:gd name="connsiteY1231" fmla="*/ 689569 h 1590788"/>
                  <a:gd name="connsiteX1232" fmla="*/ 1452967 w 1935893"/>
                  <a:gd name="connsiteY1232" fmla="*/ 695268 h 1590788"/>
                  <a:gd name="connsiteX1233" fmla="*/ 1460376 w 1935893"/>
                  <a:gd name="connsiteY1233" fmla="*/ 708206 h 1590788"/>
                  <a:gd name="connsiteX1234" fmla="*/ 1476905 w 1935893"/>
                  <a:gd name="connsiteY1234" fmla="*/ 710201 h 1590788"/>
                  <a:gd name="connsiteX1235" fmla="*/ 1490469 w 1935893"/>
                  <a:gd name="connsiteY1235" fmla="*/ 718351 h 1590788"/>
                  <a:gd name="connsiteX1236" fmla="*/ 1492749 w 1935893"/>
                  <a:gd name="connsiteY1236" fmla="*/ 729750 h 1590788"/>
                  <a:gd name="connsiteX1237" fmla="*/ 1498164 w 1935893"/>
                  <a:gd name="connsiteY1237" fmla="*/ 735450 h 1590788"/>
                  <a:gd name="connsiteX1238" fmla="*/ 1503122 w 1935893"/>
                  <a:gd name="connsiteY1238" fmla="*/ 769134 h 1590788"/>
                  <a:gd name="connsiteX1239" fmla="*/ 1506257 w 1935893"/>
                  <a:gd name="connsiteY1239" fmla="*/ 773750 h 1590788"/>
                  <a:gd name="connsiteX1240" fmla="*/ 1510133 w 1935893"/>
                  <a:gd name="connsiteY1240" fmla="*/ 774605 h 1590788"/>
                  <a:gd name="connsiteX1241" fmla="*/ 1539485 w 1935893"/>
                  <a:gd name="connsiteY1241" fmla="*/ 771812 h 1590788"/>
                  <a:gd name="connsiteX1242" fmla="*/ 1566272 w 1935893"/>
                  <a:gd name="connsiteY1242" fmla="*/ 781216 h 1590788"/>
                  <a:gd name="connsiteX1243" fmla="*/ 1559775 w 1935893"/>
                  <a:gd name="connsiteY1243" fmla="*/ 804983 h 1590788"/>
                  <a:gd name="connsiteX1244" fmla="*/ 1554075 w 1935893"/>
                  <a:gd name="connsiteY1244" fmla="*/ 806921 h 1590788"/>
                  <a:gd name="connsiteX1245" fmla="*/ 1552423 w 1935893"/>
                  <a:gd name="connsiteY1245" fmla="*/ 811481 h 1590788"/>
                  <a:gd name="connsiteX1246" fmla="*/ 1541229 w 1935893"/>
                  <a:gd name="connsiteY1246" fmla="*/ 817556 h 1590788"/>
                  <a:gd name="connsiteX1247" fmla="*/ 1534925 w 1935893"/>
                  <a:gd name="connsiteY1247" fmla="*/ 810512 h 1590788"/>
                  <a:gd name="connsiteX1248" fmla="*/ 1534241 w 1935893"/>
                  <a:gd name="connsiteY1248" fmla="*/ 804812 h 1590788"/>
                  <a:gd name="connsiteX1249" fmla="*/ 1527744 w 1935893"/>
                  <a:gd name="connsiteY1249" fmla="*/ 799113 h 1590788"/>
                  <a:gd name="connsiteX1250" fmla="*/ 1513723 w 1935893"/>
                  <a:gd name="connsiteY1250" fmla="*/ 792045 h 1590788"/>
                  <a:gd name="connsiteX1251" fmla="*/ 1491894 w 1935893"/>
                  <a:gd name="connsiteY1251" fmla="*/ 784123 h 1590788"/>
                  <a:gd name="connsiteX1252" fmla="*/ 1470749 w 1935893"/>
                  <a:gd name="connsiteY1252" fmla="*/ 788854 h 1590788"/>
                  <a:gd name="connsiteX1253" fmla="*/ 1466361 w 1935893"/>
                  <a:gd name="connsiteY1253" fmla="*/ 803786 h 1590788"/>
                  <a:gd name="connsiteX1254" fmla="*/ 1469552 w 1935893"/>
                  <a:gd name="connsiteY1254" fmla="*/ 807434 h 1590788"/>
                  <a:gd name="connsiteX1255" fmla="*/ 1466988 w 1935893"/>
                  <a:gd name="connsiteY1255" fmla="*/ 810113 h 1590788"/>
                  <a:gd name="connsiteX1256" fmla="*/ 1470350 w 1935893"/>
                  <a:gd name="connsiteY1256" fmla="*/ 818605 h 1590788"/>
                  <a:gd name="connsiteX1257" fmla="*/ 1479697 w 1935893"/>
                  <a:gd name="connsiteY1257" fmla="*/ 823507 h 1590788"/>
                  <a:gd name="connsiteX1258" fmla="*/ 1478386 w 1935893"/>
                  <a:gd name="connsiteY1258" fmla="*/ 834051 h 1590788"/>
                  <a:gd name="connsiteX1259" fmla="*/ 1467558 w 1935893"/>
                  <a:gd name="connsiteY1259" fmla="*/ 837470 h 1590788"/>
                  <a:gd name="connsiteX1260" fmla="*/ 1460832 w 1935893"/>
                  <a:gd name="connsiteY1260" fmla="*/ 838439 h 1590788"/>
                  <a:gd name="connsiteX1261" fmla="*/ 1458153 w 1935893"/>
                  <a:gd name="connsiteY1261" fmla="*/ 842486 h 1590788"/>
                  <a:gd name="connsiteX1262" fmla="*/ 1449604 w 1935893"/>
                  <a:gd name="connsiteY1262" fmla="*/ 844937 h 1590788"/>
                  <a:gd name="connsiteX1263" fmla="*/ 1430568 w 1935893"/>
                  <a:gd name="connsiteY1263" fmla="*/ 844481 h 1590788"/>
                  <a:gd name="connsiteX1264" fmla="*/ 1423729 w 1935893"/>
                  <a:gd name="connsiteY1264" fmla="*/ 842942 h 1590788"/>
                  <a:gd name="connsiteX1265" fmla="*/ 1419682 w 1935893"/>
                  <a:gd name="connsiteY1265" fmla="*/ 838553 h 1590788"/>
                  <a:gd name="connsiteX1266" fmla="*/ 1405815 w 1935893"/>
                  <a:gd name="connsiteY1266" fmla="*/ 840046 h 1590788"/>
                  <a:gd name="connsiteX1267" fmla="*/ 1403837 w 1935893"/>
                  <a:gd name="connsiteY1267" fmla="*/ 844253 h 1590788"/>
                  <a:gd name="connsiteX1268" fmla="*/ 1383832 w 1935893"/>
                  <a:gd name="connsiteY1268" fmla="*/ 850579 h 1590788"/>
                  <a:gd name="connsiteX1269" fmla="*/ 1385827 w 1935893"/>
                  <a:gd name="connsiteY1269" fmla="*/ 868247 h 1590788"/>
                  <a:gd name="connsiteX1270" fmla="*/ 1383319 w 1935893"/>
                  <a:gd name="connsiteY1270" fmla="*/ 873947 h 1590788"/>
                  <a:gd name="connsiteX1271" fmla="*/ 1396257 w 1935893"/>
                  <a:gd name="connsiteY1271" fmla="*/ 879133 h 1590788"/>
                  <a:gd name="connsiteX1272" fmla="*/ 1408910 w 1935893"/>
                  <a:gd name="connsiteY1272" fmla="*/ 874859 h 1590788"/>
                  <a:gd name="connsiteX1273" fmla="*/ 1412216 w 1935893"/>
                  <a:gd name="connsiteY1273" fmla="*/ 870983 h 1590788"/>
                  <a:gd name="connsiteX1274" fmla="*/ 1416775 w 1935893"/>
                  <a:gd name="connsiteY1274" fmla="*/ 870185 h 1590788"/>
                  <a:gd name="connsiteX1275" fmla="*/ 1435640 w 1935893"/>
                  <a:gd name="connsiteY1275" fmla="*/ 870527 h 1590788"/>
                  <a:gd name="connsiteX1276" fmla="*/ 1442081 w 1935893"/>
                  <a:gd name="connsiteY1276" fmla="*/ 876626 h 1590788"/>
                  <a:gd name="connsiteX1277" fmla="*/ 1450402 w 1935893"/>
                  <a:gd name="connsiteY1277" fmla="*/ 870926 h 1590788"/>
                  <a:gd name="connsiteX1278" fmla="*/ 1457412 w 1935893"/>
                  <a:gd name="connsiteY1278" fmla="*/ 863289 h 1590788"/>
                  <a:gd name="connsiteX1279" fmla="*/ 1469267 w 1935893"/>
                  <a:gd name="connsiteY1279" fmla="*/ 860838 h 1590788"/>
                  <a:gd name="connsiteX1280" fmla="*/ 1493946 w 1935893"/>
                  <a:gd name="connsiteY1280" fmla="*/ 871439 h 1590788"/>
                  <a:gd name="connsiteX1281" fmla="*/ 1495656 w 1935893"/>
                  <a:gd name="connsiteY1281" fmla="*/ 876398 h 1590788"/>
                  <a:gd name="connsiteX1282" fmla="*/ 1501355 w 1935893"/>
                  <a:gd name="connsiteY1282" fmla="*/ 880501 h 1590788"/>
                  <a:gd name="connsiteX1283" fmla="*/ 1503977 w 1935893"/>
                  <a:gd name="connsiteY1283" fmla="*/ 889164 h 1590788"/>
                  <a:gd name="connsiteX1284" fmla="*/ 1519366 w 1935893"/>
                  <a:gd name="connsiteY1284" fmla="*/ 895434 h 1590788"/>
                  <a:gd name="connsiteX1285" fmla="*/ 1526547 w 1935893"/>
                  <a:gd name="connsiteY1285" fmla="*/ 925071 h 1590788"/>
                  <a:gd name="connsiteX1286" fmla="*/ 1535780 w 1935893"/>
                  <a:gd name="connsiteY1286" fmla="*/ 930201 h 1590788"/>
                  <a:gd name="connsiteX1287" fmla="*/ 1572656 w 1935893"/>
                  <a:gd name="connsiteY1287" fmla="*/ 934589 h 1590788"/>
                  <a:gd name="connsiteX1288" fmla="*/ 1582573 w 1935893"/>
                  <a:gd name="connsiteY1288" fmla="*/ 944107 h 1590788"/>
                  <a:gd name="connsiteX1289" fmla="*/ 1598132 w 1935893"/>
                  <a:gd name="connsiteY1289" fmla="*/ 946615 h 1590788"/>
                  <a:gd name="connsiteX1290" fmla="*/ 1602236 w 1935893"/>
                  <a:gd name="connsiteY1290" fmla="*/ 950377 h 1590788"/>
                  <a:gd name="connsiteX1291" fmla="*/ 1609189 w 1935893"/>
                  <a:gd name="connsiteY1291" fmla="*/ 951004 h 1590788"/>
                  <a:gd name="connsiteX1292" fmla="*/ 1641847 w 1935893"/>
                  <a:gd name="connsiteY1292" fmla="*/ 965252 h 1590788"/>
                  <a:gd name="connsiteX1293" fmla="*/ 1633526 w 1935893"/>
                  <a:gd name="connsiteY1293" fmla="*/ 948154 h 1590788"/>
                  <a:gd name="connsiteX1294" fmla="*/ 1590153 w 1935893"/>
                  <a:gd name="connsiteY1294" fmla="*/ 911506 h 1590788"/>
                  <a:gd name="connsiteX1295" fmla="*/ 1584967 w 1935893"/>
                  <a:gd name="connsiteY1295" fmla="*/ 908486 h 1590788"/>
                  <a:gd name="connsiteX1296" fmla="*/ 1584967 w 1935893"/>
                  <a:gd name="connsiteY1296" fmla="*/ 903071 h 1590788"/>
                  <a:gd name="connsiteX1297" fmla="*/ 1588443 w 1935893"/>
                  <a:gd name="connsiteY1297" fmla="*/ 902159 h 1590788"/>
                  <a:gd name="connsiteX1298" fmla="*/ 1612666 w 1935893"/>
                  <a:gd name="connsiteY1298" fmla="*/ 903128 h 1590788"/>
                  <a:gd name="connsiteX1299" fmla="*/ 1619905 w 1935893"/>
                  <a:gd name="connsiteY1299" fmla="*/ 906605 h 1590788"/>
                  <a:gd name="connsiteX1300" fmla="*/ 1621158 w 1935893"/>
                  <a:gd name="connsiteY1300" fmla="*/ 912304 h 1590788"/>
                  <a:gd name="connsiteX1301" fmla="*/ 1624920 w 1935893"/>
                  <a:gd name="connsiteY1301" fmla="*/ 916351 h 1590788"/>
                  <a:gd name="connsiteX1302" fmla="*/ 1654956 w 1935893"/>
                  <a:gd name="connsiteY1302" fmla="*/ 927408 h 1590788"/>
                  <a:gd name="connsiteX1303" fmla="*/ 1666925 w 1935893"/>
                  <a:gd name="connsiteY1303" fmla="*/ 921708 h 1590788"/>
                  <a:gd name="connsiteX1304" fmla="*/ 1673194 w 1935893"/>
                  <a:gd name="connsiteY1304" fmla="*/ 917605 h 1590788"/>
                  <a:gd name="connsiteX1305" fmla="*/ 1677754 w 1935893"/>
                  <a:gd name="connsiteY1305" fmla="*/ 913843 h 1590788"/>
                  <a:gd name="connsiteX1306" fmla="*/ 1674448 w 1935893"/>
                  <a:gd name="connsiteY1306" fmla="*/ 901213 h 1590788"/>
                  <a:gd name="connsiteX1307" fmla="*/ 1668863 w 1935893"/>
                  <a:gd name="connsiteY1307" fmla="*/ 899993 h 1590788"/>
                  <a:gd name="connsiteX1308" fmla="*/ 1668863 w 1935893"/>
                  <a:gd name="connsiteY1308" fmla="*/ 891273 h 1590788"/>
                  <a:gd name="connsiteX1309" fmla="*/ 1653816 w 1935893"/>
                  <a:gd name="connsiteY1309" fmla="*/ 880672 h 1590788"/>
                  <a:gd name="connsiteX1310" fmla="*/ 1649884 w 1935893"/>
                  <a:gd name="connsiteY1310" fmla="*/ 862719 h 1590788"/>
                  <a:gd name="connsiteX1311" fmla="*/ 1637516 w 1935893"/>
                  <a:gd name="connsiteY1311" fmla="*/ 860895 h 1590788"/>
                  <a:gd name="connsiteX1312" fmla="*/ 1636889 w 1935893"/>
                  <a:gd name="connsiteY1312" fmla="*/ 855765 h 1590788"/>
                  <a:gd name="connsiteX1313" fmla="*/ 1626174 w 1935893"/>
                  <a:gd name="connsiteY1313" fmla="*/ 852175 h 1590788"/>
                  <a:gd name="connsiteX1314" fmla="*/ 1611697 w 1935893"/>
                  <a:gd name="connsiteY1314" fmla="*/ 834221 h 1590788"/>
                  <a:gd name="connsiteX1315" fmla="*/ 1598611 w 1935893"/>
                  <a:gd name="connsiteY1315" fmla="*/ 824806 h 1590788"/>
                  <a:gd name="connsiteX1316" fmla="*/ 1598474 w 1935893"/>
                  <a:gd name="connsiteY1316" fmla="*/ 823449 h 1590788"/>
                  <a:gd name="connsiteX1317" fmla="*/ 1603661 w 1935893"/>
                  <a:gd name="connsiteY1317" fmla="*/ 820372 h 1590788"/>
                  <a:gd name="connsiteX1318" fmla="*/ 1608557 w 1935893"/>
                  <a:gd name="connsiteY1318" fmla="*/ 807833 h 1590788"/>
                  <a:gd name="connsiteX1319" fmla="*/ 1612210 w 1935893"/>
                  <a:gd name="connsiteY1319" fmla="*/ 807035 h 1590788"/>
                  <a:gd name="connsiteX1320" fmla="*/ 1605713 w 1935893"/>
                  <a:gd name="connsiteY1320" fmla="*/ 798486 h 1590788"/>
                  <a:gd name="connsiteX1321" fmla="*/ 1614889 w 1935893"/>
                  <a:gd name="connsiteY1321" fmla="*/ 791646 h 1590788"/>
                  <a:gd name="connsiteX1322" fmla="*/ 1634780 w 1935893"/>
                  <a:gd name="connsiteY1322" fmla="*/ 796662 h 1590788"/>
                  <a:gd name="connsiteX1323" fmla="*/ 1325242 w 1935893"/>
                  <a:gd name="connsiteY1323" fmla="*/ 485585 h 1590788"/>
                  <a:gd name="connsiteX1324" fmla="*/ 1317376 w 1935893"/>
                  <a:gd name="connsiteY1324" fmla="*/ 490144 h 1590788"/>
                  <a:gd name="connsiteX1325" fmla="*/ 1319029 w 1935893"/>
                  <a:gd name="connsiteY1325" fmla="*/ 494362 h 1590788"/>
                  <a:gd name="connsiteX1326" fmla="*/ 1341827 w 1935893"/>
                  <a:gd name="connsiteY1326" fmla="*/ 519782 h 1590788"/>
                  <a:gd name="connsiteX1327" fmla="*/ 1343822 w 1935893"/>
                  <a:gd name="connsiteY1327" fmla="*/ 529243 h 1590788"/>
                  <a:gd name="connsiteX1328" fmla="*/ 1356760 w 1935893"/>
                  <a:gd name="connsiteY1328" fmla="*/ 532776 h 1590788"/>
                  <a:gd name="connsiteX1329" fmla="*/ 1368159 w 1935893"/>
                  <a:gd name="connsiteY1329" fmla="*/ 524056 h 1590788"/>
                  <a:gd name="connsiteX1330" fmla="*/ 1380071 w 1935893"/>
                  <a:gd name="connsiteY1330" fmla="*/ 516020 h 1590788"/>
                  <a:gd name="connsiteX1331" fmla="*/ 1406801 w 1935893"/>
                  <a:gd name="connsiteY1331" fmla="*/ 520352 h 1590788"/>
                  <a:gd name="connsiteX1332" fmla="*/ 1415122 w 1935893"/>
                  <a:gd name="connsiteY1332" fmla="*/ 516818 h 1590788"/>
                  <a:gd name="connsiteX1333" fmla="*/ 1413641 w 1935893"/>
                  <a:gd name="connsiteY1333" fmla="*/ 507072 h 1590788"/>
                  <a:gd name="connsiteX1334" fmla="*/ 1404806 w 1935893"/>
                  <a:gd name="connsiteY1334" fmla="*/ 501372 h 1590788"/>
                  <a:gd name="connsiteX1335" fmla="*/ 1385428 w 1935893"/>
                  <a:gd name="connsiteY1335" fmla="*/ 492709 h 1590788"/>
                  <a:gd name="connsiteX1336" fmla="*/ 1380184 w 1935893"/>
                  <a:gd name="connsiteY1336" fmla="*/ 490543 h 1590788"/>
                  <a:gd name="connsiteX1337" fmla="*/ 1373345 w 1935893"/>
                  <a:gd name="connsiteY1337" fmla="*/ 488833 h 1590788"/>
                  <a:gd name="connsiteX1338" fmla="*/ 1325242 w 1935893"/>
                  <a:gd name="connsiteY1338" fmla="*/ 485585 h 1590788"/>
                  <a:gd name="connsiteX1339" fmla="*/ 773761 w 1935893"/>
                  <a:gd name="connsiteY1339" fmla="*/ 694071 h 1590788"/>
                  <a:gd name="connsiteX1340" fmla="*/ 769258 w 1935893"/>
                  <a:gd name="connsiteY1340" fmla="*/ 693673 h 1590788"/>
                  <a:gd name="connsiteX1341" fmla="*/ 753926 w 1935893"/>
                  <a:gd name="connsiteY1341" fmla="*/ 698688 h 1590788"/>
                  <a:gd name="connsiteX1342" fmla="*/ 738880 w 1935893"/>
                  <a:gd name="connsiteY1342" fmla="*/ 707009 h 1590788"/>
                  <a:gd name="connsiteX1343" fmla="*/ 721097 w 1935893"/>
                  <a:gd name="connsiteY1343" fmla="*/ 708662 h 1590788"/>
                  <a:gd name="connsiteX1344" fmla="*/ 716253 w 1935893"/>
                  <a:gd name="connsiteY1344" fmla="*/ 715217 h 1590788"/>
                  <a:gd name="connsiteX1345" fmla="*/ 709755 w 1935893"/>
                  <a:gd name="connsiteY1345" fmla="*/ 719605 h 1590788"/>
                  <a:gd name="connsiteX1346" fmla="*/ 714030 w 1935893"/>
                  <a:gd name="connsiteY1346" fmla="*/ 728895 h 1590788"/>
                  <a:gd name="connsiteX1347" fmla="*/ 724973 w 1935893"/>
                  <a:gd name="connsiteY1347" fmla="*/ 727926 h 1590788"/>
                  <a:gd name="connsiteX1348" fmla="*/ 738424 w 1935893"/>
                  <a:gd name="connsiteY1348" fmla="*/ 721144 h 1590788"/>
                  <a:gd name="connsiteX1349" fmla="*/ 745377 w 1935893"/>
                  <a:gd name="connsiteY1349" fmla="*/ 721144 h 1590788"/>
                  <a:gd name="connsiteX1350" fmla="*/ 755351 w 1935893"/>
                  <a:gd name="connsiteY1350" fmla="*/ 713849 h 1590788"/>
                  <a:gd name="connsiteX1351" fmla="*/ 774900 w 1935893"/>
                  <a:gd name="connsiteY1351" fmla="*/ 710486 h 1590788"/>
                  <a:gd name="connsiteX1352" fmla="*/ 777750 w 1935893"/>
                  <a:gd name="connsiteY1352" fmla="*/ 710486 h 1590788"/>
                  <a:gd name="connsiteX1353" fmla="*/ 778434 w 1935893"/>
                  <a:gd name="connsiteY1353" fmla="*/ 708776 h 1590788"/>
                  <a:gd name="connsiteX1354" fmla="*/ 778434 w 1935893"/>
                  <a:gd name="connsiteY1354" fmla="*/ 700455 h 1590788"/>
                  <a:gd name="connsiteX1355" fmla="*/ 773761 w 1935893"/>
                  <a:gd name="connsiteY1355" fmla="*/ 694071 h 1590788"/>
                  <a:gd name="connsiteX1356" fmla="*/ 985895 w 1935893"/>
                  <a:gd name="connsiteY1356" fmla="*/ 677942 h 1590788"/>
                  <a:gd name="connsiteX1357" fmla="*/ 999004 w 1935893"/>
                  <a:gd name="connsiteY1357" fmla="*/ 675719 h 1590788"/>
                  <a:gd name="connsiteX1358" fmla="*/ 999004 w 1935893"/>
                  <a:gd name="connsiteY1358" fmla="*/ 671844 h 1590788"/>
                  <a:gd name="connsiteX1359" fmla="*/ 975921 w 1935893"/>
                  <a:gd name="connsiteY1359" fmla="*/ 672698 h 1590788"/>
                  <a:gd name="connsiteX1360" fmla="*/ 966859 w 1935893"/>
                  <a:gd name="connsiteY1360" fmla="*/ 671616 h 1590788"/>
                  <a:gd name="connsiteX1361" fmla="*/ 958594 w 1935893"/>
                  <a:gd name="connsiteY1361" fmla="*/ 656512 h 1590788"/>
                  <a:gd name="connsiteX1362" fmla="*/ 957455 w 1935893"/>
                  <a:gd name="connsiteY1362" fmla="*/ 654232 h 1590788"/>
                  <a:gd name="connsiteX1363" fmla="*/ 956372 w 1935893"/>
                  <a:gd name="connsiteY1363" fmla="*/ 654232 h 1590788"/>
                  <a:gd name="connsiteX1364" fmla="*/ 942636 w 1935893"/>
                  <a:gd name="connsiteY1364" fmla="*/ 659134 h 1590788"/>
                  <a:gd name="connsiteX1365" fmla="*/ 941724 w 1935893"/>
                  <a:gd name="connsiteY1365" fmla="*/ 665232 h 1590788"/>
                  <a:gd name="connsiteX1366" fmla="*/ 933745 w 1935893"/>
                  <a:gd name="connsiteY1366" fmla="*/ 682673 h 1590788"/>
                  <a:gd name="connsiteX1367" fmla="*/ 930268 w 1935893"/>
                  <a:gd name="connsiteY1367" fmla="*/ 687175 h 1590788"/>
                  <a:gd name="connsiteX1368" fmla="*/ 912657 w 1935893"/>
                  <a:gd name="connsiteY1368" fmla="*/ 689170 h 1590788"/>
                  <a:gd name="connsiteX1369" fmla="*/ 935455 w 1935893"/>
                  <a:gd name="connsiteY1369" fmla="*/ 694356 h 1590788"/>
                  <a:gd name="connsiteX1370" fmla="*/ 951983 w 1935893"/>
                  <a:gd name="connsiteY1370" fmla="*/ 700398 h 1590788"/>
                  <a:gd name="connsiteX1371" fmla="*/ 953921 w 1935893"/>
                  <a:gd name="connsiteY1371" fmla="*/ 701481 h 1590788"/>
                  <a:gd name="connsiteX1372" fmla="*/ 955916 w 1935893"/>
                  <a:gd name="connsiteY1372" fmla="*/ 709232 h 1590788"/>
                  <a:gd name="connsiteX1373" fmla="*/ 970620 w 1935893"/>
                  <a:gd name="connsiteY1373" fmla="*/ 708833 h 1590788"/>
                  <a:gd name="connsiteX1374" fmla="*/ 975693 w 1935893"/>
                  <a:gd name="connsiteY1374" fmla="*/ 707978 h 1590788"/>
                  <a:gd name="connsiteX1375" fmla="*/ 981392 w 1935893"/>
                  <a:gd name="connsiteY1375" fmla="*/ 701937 h 1590788"/>
                  <a:gd name="connsiteX1376" fmla="*/ 988631 w 1935893"/>
                  <a:gd name="connsiteY1376" fmla="*/ 700740 h 1590788"/>
                  <a:gd name="connsiteX1377" fmla="*/ 991765 w 1935893"/>
                  <a:gd name="connsiteY1377" fmla="*/ 703818 h 1590788"/>
                  <a:gd name="connsiteX1378" fmla="*/ 1007895 w 1935893"/>
                  <a:gd name="connsiteY1378" fmla="*/ 700740 h 1590788"/>
                  <a:gd name="connsiteX1379" fmla="*/ 1003848 w 1935893"/>
                  <a:gd name="connsiteY1379" fmla="*/ 685973 h 1590788"/>
                  <a:gd name="connsiteX1380" fmla="*/ 999631 w 1935893"/>
                  <a:gd name="connsiteY1380" fmla="*/ 684610 h 1590788"/>
                  <a:gd name="connsiteX1381" fmla="*/ 991709 w 1935893"/>
                  <a:gd name="connsiteY1381" fmla="*/ 686320 h 1590788"/>
                  <a:gd name="connsiteX1382" fmla="*/ 983843 w 1935893"/>
                  <a:gd name="connsiteY1382" fmla="*/ 685807 h 1590788"/>
                  <a:gd name="connsiteX1383" fmla="*/ 982173 w 1935893"/>
                  <a:gd name="connsiteY1383" fmla="*/ 679578 h 1590788"/>
                  <a:gd name="connsiteX1384" fmla="*/ 982646 w 1935893"/>
                  <a:gd name="connsiteY1384" fmla="*/ 678911 h 1590788"/>
                  <a:gd name="connsiteX1385" fmla="*/ 985895 w 1935893"/>
                  <a:gd name="connsiteY1385" fmla="*/ 677828 h 1590788"/>
                  <a:gd name="connsiteX1386" fmla="*/ 1435185 w 1935893"/>
                  <a:gd name="connsiteY1386" fmla="*/ 723538 h 1590788"/>
                  <a:gd name="connsiteX1387" fmla="*/ 1424526 w 1935893"/>
                  <a:gd name="connsiteY1387" fmla="*/ 718750 h 1590788"/>
                  <a:gd name="connsiteX1388" fmla="*/ 1421506 w 1935893"/>
                  <a:gd name="connsiteY1388" fmla="*/ 718294 h 1590788"/>
                  <a:gd name="connsiteX1389" fmla="*/ 1418143 w 1935893"/>
                  <a:gd name="connsiteY1389" fmla="*/ 719491 h 1590788"/>
                  <a:gd name="connsiteX1390" fmla="*/ 1397853 w 1935893"/>
                  <a:gd name="connsiteY1390" fmla="*/ 729807 h 1590788"/>
                  <a:gd name="connsiteX1391" fmla="*/ 1394148 w 1935893"/>
                  <a:gd name="connsiteY1391" fmla="*/ 732429 h 1590788"/>
                  <a:gd name="connsiteX1392" fmla="*/ 1392951 w 1935893"/>
                  <a:gd name="connsiteY1392" fmla="*/ 745937 h 1590788"/>
                  <a:gd name="connsiteX1393" fmla="*/ 1401444 w 1935893"/>
                  <a:gd name="connsiteY1393" fmla="*/ 751009 h 1590788"/>
                  <a:gd name="connsiteX1394" fmla="*/ 1402811 w 1935893"/>
                  <a:gd name="connsiteY1394" fmla="*/ 759273 h 1590788"/>
                  <a:gd name="connsiteX1395" fmla="*/ 1408511 w 1935893"/>
                  <a:gd name="connsiteY1395" fmla="*/ 760242 h 1590788"/>
                  <a:gd name="connsiteX1396" fmla="*/ 1408511 w 1935893"/>
                  <a:gd name="connsiteY1396" fmla="*/ 767367 h 1590788"/>
                  <a:gd name="connsiteX1397" fmla="*/ 1416832 w 1935893"/>
                  <a:gd name="connsiteY1397" fmla="*/ 768393 h 1590788"/>
                  <a:gd name="connsiteX1398" fmla="*/ 1423558 w 1935893"/>
                  <a:gd name="connsiteY1398" fmla="*/ 763947 h 1590788"/>
                  <a:gd name="connsiteX1399" fmla="*/ 1424355 w 1935893"/>
                  <a:gd name="connsiteY1399" fmla="*/ 762408 h 1590788"/>
                  <a:gd name="connsiteX1400" fmla="*/ 1427775 w 1935893"/>
                  <a:gd name="connsiteY1400" fmla="*/ 761610 h 1590788"/>
                  <a:gd name="connsiteX1401" fmla="*/ 1445728 w 1935893"/>
                  <a:gd name="connsiteY1401" fmla="*/ 752548 h 1590788"/>
                  <a:gd name="connsiteX1402" fmla="*/ 1447723 w 1935893"/>
                  <a:gd name="connsiteY1402" fmla="*/ 746849 h 1590788"/>
                  <a:gd name="connsiteX1403" fmla="*/ 1444703 w 1935893"/>
                  <a:gd name="connsiteY1403" fmla="*/ 737957 h 1590788"/>
                  <a:gd name="connsiteX1404" fmla="*/ 1437122 w 1935893"/>
                  <a:gd name="connsiteY1404" fmla="*/ 734082 h 1590788"/>
                  <a:gd name="connsiteX1405" fmla="*/ 1435298 w 1935893"/>
                  <a:gd name="connsiteY1405" fmla="*/ 723595 h 1590788"/>
                  <a:gd name="connsiteX1406" fmla="*/ 1327407 w 1935893"/>
                  <a:gd name="connsiteY1406" fmla="*/ 902159 h 1590788"/>
                  <a:gd name="connsiteX1407" fmla="*/ 1311791 w 1935893"/>
                  <a:gd name="connsiteY1407" fmla="*/ 885859 h 1590788"/>
                  <a:gd name="connsiteX1408" fmla="*/ 1297998 w 1935893"/>
                  <a:gd name="connsiteY1408" fmla="*/ 880558 h 1590788"/>
                  <a:gd name="connsiteX1409" fmla="*/ 1295376 w 1935893"/>
                  <a:gd name="connsiteY1409" fmla="*/ 869159 h 1590788"/>
                  <a:gd name="connsiteX1410" fmla="*/ 1286941 w 1935893"/>
                  <a:gd name="connsiteY1410" fmla="*/ 864087 h 1590788"/>
                  <a:gd name="connsiteX1411" fmla="*/ 1280957 w 1935893"/>
                  <a:gd name="connsiteY1411" fmla="*/ 853030 h 1590788"/>
                  <a:gd name="connsiteX1412" fmla="*/ 1268418 w 1935893"/>
                  <a:gd name="connsiteY1412" fmla="*/ 848869 h 1590788"/>
                  <a:gd name="connsiteX1413" fmla="*/ 1250123 w 1935893"/>
                  <a:gd name="connsiteY1413" fmla="*/ 845278 h 1590788"/>
                  <a:gd name="connsiteX1414" fmla="*/ 1245278 w 1935893"/>
                  <a:gd name="connsiteY1414" fmla="*/ 843170 h 1590788"/>
                  <a:gd name="connsiteX1415" fmla="*/ 1243112 w 1935893"/>
                  <a:gd name="connsiteY1415" fmla="*/ 839237 h 1590788"/>
                  <a:gd name="connsiteX1416" fmla="*/ 1231143 w 1935893"/>
                  <a:gd name="connsiteY1416" fmla="*/ 835817 h 1590788"/>
                  <a:gd name="connsiteX1417" fmla="*/ 1226755 w 1935893"/>
                  <a:gd name="connsiteY1417" fmla="*/ 821797 h 1590788"/>
                  <a:gd name="connsiteX1418" fmla="*/ 1212734 w 1935893"/>
                  <a:gd name="connsiteY1418" fmla="*/ 827781 h 1590788"/>
                  <a:gd name="connsiteX1419" fmla="*/ 1206294 w 1935893"/>
                  <a:gd name="connsiteY1419" fmla="*/ 843398 h 1590788"/>
                  <a:gd name="connsiteX1420" fmla="*/ 1202190 w 1935893"/>
                  <a:gd name="connsiteY1420" fmla="*/ 850351 h 1590788"/>
                  <a:gd name="connsiteX1421" fmla="*/ 1201335 w 1935893"/>
                  <a:gd name="connsiteY1421" fmla="*/ 865341 h 1590788"/>
                  <a:gd name="connsiteX1422" fmla="*/ 1198713 w 1935893"/>
                  <a:gd name="connsiteY1422" fmla="*/ 885859 h 1590788"/>
                  <a:gd name="connsiteX1423" fmla="*/ 1200024 w 1935893"/>
                  <a:gd name="connsiteY1423" fmla="*/ 892242 h 1590788"/>
                  <a:gd name="connsiteX1424" fmla="*/ 1191475 w 1935893"/>
                  <a:gd name="connsiteY1424" fmla="*/ 893496 h 1590788"/>
                  <a:gd name="connsiteX1425" fmla="*/ 1183553 w 1935893"/>
                  <a:gd name="connsiteY1425" fmla="*/ 901247 h 1590788"/>
                  <a:gd name="connsiteX1426" fmla="*/ 1184465 w 1935893"/>
                  <a:gd name="connsiteY1426" fmla="*/ 913045 h 1590788"/>
                  <a:gd name="connsiteX1427" fmla="*/ 1201107 w 1935893"/>
                  <a:gd name="connsiteY1427" fmla="*/ 903014 h 1590788"/>
                  <a:gd name="connsiteX1428" fmla="*/ 1215983 w 1935893"/>
                  <a:gd name="connsiteY1428" fmla="*/ 912304 h 1590788"/>
                  <a:gd name="connsiteX1429" fmla="*/ 1215983 w 1935893"/>
                  <a:gd name="connsiteY1429" fmla="*/ 919258 h 1590788"/>
                  <a:gd name="connsiteX1430" fmla="*/ 1219972 w 1935893"/>
                  <a:gd name="connsiteY1430" fmla="*/ 924159 h 1590788"/>
                  <a:gd name="connsiteX1431" fmla="*/ 1222822 w 1935893"/>
                  <a:gd name="connsiteY1431" fmla="*/ 923133 h 1590788"/>
                  <a:gd name="connsiteX1432" fmla="*/ 1248185 w 1935893"/>
                  <a:gd name="connsiteY1432" fmla="*/ 906035 h 1590788"/>
                  <a:gd name="connsiteX1433" fmla="*/ 1258558 w 1935893"/>
                  <a:gd name="connsiteY1433" fmla="*/ 893895 h 1590788"/>
                  <a:gd name="connsiteX1434" fmla="*/ 1261066 w 1935893"/>
                  <a:gd name="connsiteY1434" fmla="*/ 888651 h 1590788"/>
                  <a:gd name="connsiteX1435" fmla="*/ 1268418 w 1935893"/>
                  <a:gd name="connsiteY1435" fmla="*/ 886657 h 1590788"/>
                  <a:gd name="connsiteX1436" fmla="*/ 1281641 w 1935893"/>
                  <a:gd name="connsiteY1436" fmla="*/ 891216 h 1590788"/>
                  <a:gd name="connsiteX1437" fmla="*/ 1286143 w 1935893"/>
                  <a:gd name="connsiteY1437" fmla="*/ 902615 h 1590788"/>
                  <a:gd name="connsiteX1438" fmla="*/ 1295262 w 1935893"/>
                  <a:gd name="connsiteY1438" fmla="*/ 905066 h 1590788"/>
                  <a:gd name="connsiteX1439" fmla="*/ 1300962 w 1935893"/>
                  <a:gd name="connsiteY1439" fmla="*/ 908030 h 1590788"/>
                  <a:gd name="connsiteX1440" fmla="*/ 1327407 w 1935893"/>
                  <a:gd name="connsiteY1440" fmla="*/ 902216 h 1590788"/>
                  <a:gd name="connsiteX1441" fmla="*/ 1259584 w 1935893"/>
                  <a:gd name="connsiteY1441" fmla="*/ 939149 h 1590788"/>
                  <a:gd name="connsiteX1442" fmla="*/ 1253200 w 1935893"/>
                  <a:gd name="connsiteY1442" fmla="*/ 945874 h 1590788"/>
                  <a:gd name="connsiteX1443" fmla="*/ 1253542 w 1935893"/>
                  <a:gd name="connsiteY1443" fmla="*/ 955677 h 1590788"/>
                  <a:gd name="connsiteX1444" fmla="*/ 1254454 w 1935893"/>
                  <a:gd name="connsiteY1444" fmla="*/ 957558 h 1590788"/>
                  <a:gd name="connsiteX1445" fmla="*/ 1255993 w 1935893"/>
                  <a:gd name="connsiteY1445" fmla="*/ 957900 h 1590788"/>
                  <a:gd name="connsiteX1446" fmla="*/ 1266708 w 1935893"/>
                  <a:gd name="connsiteY1446" fmla="*/ 957900 h 1590788"/>
                  <a:gd name="connsiteX1447" fmla="*/ 1274345 w 1935893"/>
                  <a:gd name="connsiteY1447" fmla="*/ 959895 h 1590788"/>
                  <a:gd name="connsiteX1448" fmla="*/ 1275713 w 1935893"/>
                  <a:gd name="connsiteY1448" fmla="*/ 959325 h 1590788"/>
                  <a:gd name="connsiteX1449" fmla="*/ 1275998 w 1935893"/>
                  <a:gd name="connsiteY1449" fmla="*/ 957786 h 1590788"/>
                  <a:gd name="connsiteX1450" fmla="*/ 1286599 w 1935893"/>
                  <a:gd name="connsiteY1450" fmla="*/ 950719 h 1590788"/>
                  <a:gd name="connsiteX1451" fmla="*/ 1289335 w 1935893"/>
                  <a:gd name="connsiteY1451" fmla="*/ 950719 h 1590788"/>
                  <a:gd name="connsiteX1452" fmla="*/ 1290931 w 1935893"/>
                  <a:gd name="connsiteY1452" fmla="*/ 949123 h 1590788"/>
                  <a:gd name="connsiteX1453" fmla="*/ 1294465 w 1935893"/>
                  <a:gd name="connsiteY1453" fmla="*/ 943993 h 1590788"/>
                  <a:gd name="connsiteX1454" fmla="*/ 1296915 w 1935893"/>
                  <a:gd name="connsiteY1454" fmla="*/ 933335 h 1590788"/>
                  <a:gd name="connsiteX1455" fmla="*/ 1288936 w 1935893"/>
                  <a:gd name="connsiteY1455" fmla="*/ 927294 h 1590788"/>
                  <a:gd name="connsiteX1456" fmla="*/ 1284604 w 1935893"/>
                  <a:gd name="connsiteY1456" fmla="*/ 927294 h 1590788"/>
                  <a:gd name="connsiteX1457" fmla="*/ 1269558 w 1935893"/>
                  <a:gd name="connsiteY1457" fmla="*/ 929802 h 1590788"/>
                  <a:gd name="connsiteX1458" fmla="*/ 1263858 w 1935893"/>
                  <a:gd name="connsiteY1458" fmla="*/ 934874 h 1590788"/>
                  <a:gd name="connsiteX1459" fmla="*/ 1264257 w 1935893"/>
                  <a:gd name="connsiteY1459" fmla="*/ 937496 h 1590788"/>
                  <a:gd name="connsiteX1460" fmla="*/ 1259584 w 1935893"/>
                  <a:gd name="connsiteY1460" fmla="*/ 939149 h 1590788"/>
                  <a:gd name="connsiteX1461" fmla="*/ 1336128 w 1935893"/>
                  <a:gd name="connsiteY1461" fmla="*/ 960921 h 1590788"/>
                  <a:gd name="connsiteX1462" fmla="*/ 1331853 w 1935893"/>
                  <a:gd name="connsiteY1462" fmla="*/ 965765 h 1590788"/>
                  <a:gd name="connsiteX1463" fmla="*/ 1333335 w 1935893"/>
                  <a:gd name="connsiteY1463" fmla="*/ 972548 h 1590788"/>
                  <a:gd name="connsiteX1464" fmla="*/ 1334988 w 1935893"/>
                  <a:gd name="connsiteY1464" fmla="*/ 975682 h 1590788"/>
                  <a:gd name="connsiteX1465" fmla="*/ 1349977 w 1935893"/>
                  <a:gd name="connsiteY1465" fmla="*/ 978401 h 1590788"/>
                  <a:gd name="connsiteX1466" fmla="*/ 1354480 w 1935893"/>
                  <a:gd name="connsiteY1466" fmla="*/ 971237 h 1590788"/>
                  <a:gd name="connsiteX1467" fmla="*/ 1354936 w 1935893"/>
                  <a:gd name="connsiteY1467" fmla="*/ 967418 h 1590788"/>
                  <a:gd name="connsiteX1468" fmla="*/ 1356589 w 1935893"/>
                  <a:gd name="connsiteY1468" fmla="*/ 963030 h 1590788"/>
                  <a:gd name="connsiteX1469" fmla="*/ 1351687 w 1935893"/>
                  <a:gd name="connsiteY1469" fmla="*/ 952885 h 1590788"/>
                  <a:gd name="connsiteX1470" fmla="*/ 1344107 w 1935893"/>
                  <a:gd name="connsiteY1470" fmla="*/ 950548 h 1590788"/>
                  <a:gd name="connsiteX1471" fmla="*/ 1338977 w 1935893"/>
                  <a:gd name="connsiteY1471" fmla="*/ 955620 h 1590788"/>
                  <a:gd name="connsiteX1472" fmla="*/ 1338123 w 1935893"/>
                  <a:gd name="connsiteY1472" fmla="*/ 960465 h 1590788"/>
                  <a:gd name="connsiteX1473" fmla="*/ 1336128 w 1935893"/>
                  <a:gd name="connsiteY1473" fmla="*/ 960693 h 1590788"/>
                  <a:gd name="connsiteX1474" fmla="*/ 1869199 w 1935893"/>
                  <a:gd name="connsiteY1474" fmla="*/ 1295024 h 1590788"/>
                  <a:gd name="connsiteX1475" fmla="*/ 1834718 w 1935893"/>
                  <a:gd name="connsiteY1475" fmla="*/ 1319589 h 1590788"/>
                  <a:gd name="connsiteX1476" fmla="*/ 1815396 w 1935893"/>
                  <a:gd name="connsiteY1476" fmla="*/ 1323464 h 1590788"/>
                  <a:gd name="connsiteX1477" fmla="*/ 1786557 w 1935893"/>
                  <a:gd name="connsiteY1477" fmla="*/ 1350081 h 1590788"/>
                  <a:gd name="connsiteX1478" fmla="*/ 1756350 w 1935893"/>
                  <a:gd name="connsiteY1478" fmla="*/ 1355153 h 1590788"/>
                  <a:gd name="connsiteX1479" fmla="*/ 1648402 w 1935893"/>
                  <a:gd name="connsiteY1479" fmla="*/ 1352646 h 1590788"/>
                  <a:gd name="connsiteX1480" fmla="*/ 1625604 w 1935893"/>
                  <a:gd name="connsiteY1480" fmla="*/ 1359713 h 1590788"/>
                  <a:gd name="connsiteX1481" fmla="*/ 1617511 w 1935893"/>
                  <a:gd name="connsiteY1481" fmla="*/ 1374133 h 1590788"/>
                  <a:gd name="connsiteX1482" fmla="*/ 1607024 w 1935893"/>
                  <a:gd name="connsiteY1482" fmla="*/ 1377267 h 1590788"/>
                  <a:gd name="connsiteX1483" fmla="*/ 1591578 w 1935893"/>
                  <a:gd name="connsiteY1483" fmla="*/ 1389521 h 1590788"/>
                  <a:gd name="connsiteX1484" fmla="*/ 1547749 w 1935893"/>
                  <a:gd name="connsiteY1484" fmla="*/ 1442583 h 1590788"/>
                  <a:gd name="connsiteX1485" fmla="*/ 1544614 w 1935893"/>
                  <a:gd name="connsiteY1485" fmla="*/ 1457288 h 1590788"/>
                  <a:gd name="connsiteX1486" fmla="*/ 1559889 w 1935893"/>
                  <a:gd name="connsiteY1486" fmla="*/ 1453412 h 1590788"/>
                  <a:gd name="connsiteX1487" fmla="*/ 1563708 w 1935893"/>
                  <a:gd name="connsiteY1487" fmla="*/ 1448454 h 1590788"/>
                  <a:gd name="connsiteX1488" fmla="*/ 1552309 w 1935893"/>
                  <a:gd name="connsiteY1488" fmla="*/ 1478775 h 1590788"/>
                  <a:gd name="connsiteX1489" fmla="*/ 1548946 w 1935893"/>
                  <a:gd name="connsiteY1489" fmla="*/ 1485158 h 1590788"/>
                  <a:gd name="connsiteX1490" fmla="*/ 1547692 w 1935893"/>
                  <a:gd name="connsiteY1490" fmla="*/ 1491884 h 1590788"/>
                  <a:gd name="connsiteX1491" fmla="*/ 1540112 w 1935893"/>
                  <a:gd name="connsiteY1491" fmla="*/ 1500319 h 1590788"/>
                  <a:gd name="connsiteX1492" fmla="*/ 1537889 w 1935893"/>
                  <a:gd name="connsiteY1492" fmla="*/ 1510521 h 1590788"/>
                  <a:gd name="connsiteX1493" fmla="*/ 1529169 w 1935893"/>
                  <a:gd name="connsiteY1493" fmla="*/ 1513542 h 1590788"/>
                  <a:gd name="connsiteX1494" fmla="*/ 1526091 w 1935893"/>
                  <a:gd name="connsiteY1494" fmla="*/ 1521692 h 1590788"/>
                  <a:gd name="connsiteX1495" fmla="*/ 1523754 w 1935893"/>
                  <a:gd name="connsiteY1495" fmla="*/ 1521977 h 1590788"/>
                  <a:gd name="connsiteX1496" fmla="*/ 1448635 w 1935893"/>
                  <a:gd name="connsiteY1496" fmla="*/ 1521179 h 1590788"/>
                  <a:gd name="connsiteX1497" fmla="*/ 1435356 w 1935893"/>
                  <a:gd name="connsiteY1497" fmla="*/ 1526878 h 1590788"/>
                  <a:gd name="connsiteX1498" fmla="*/ 1433304 w 1935893"/>
                  <a:gd name="connsiteY1498" fmla="*/ 1529329 h 1590788"/>
                  <a:gd name="connsiteX1499" fmla="*/ 1433304 w 1935893"/>
                  <a:gd name="connsiteY1499" fmla="*/ 1531609 h 1590788"/>
                  <a:gd name="connsiteX1500" fmla="*/ 1428231 w 1935893"/>
                  <a:gd name="connsiteY1500" fmla="*/ 1535713 h 1590788"/>
                  <a:gd name="connsiteX1501" fmla="*/ 1421905 w 1935893"/>
                  <a:gd name="connsiteY1501" fmla="*/ 1538163 h 1590788"/>
                  <a:gd name="connsiteX1502" fmla="*/ 1420993 w 1935893"/>
                  <a:gd name="connsiteY1502" fmla="*/ 1539303 h 1590788"/>
                  <a:gd name="connsiteX1503" fmla="*/ 1385599 w 1935893"/>
                  <a:gd name="connsiteY1503" fmla="*/ 1541697 h 1590788"/>
                  <a:gd name="connsiteX1504" fmla="*/ 1376936 w 1935893"/>
                  <a:gd name="connsiteY1504" fmla="*/ 1542609 h 1590788"/>
                  <a:gd name="connsiteX1505" fmla="*/ 1366848 w 1935893"/>
                  <a:gd name="connsiteY1505" fmla="*/ 1544319 h 1590788"/>
                  <a:gd name="connsiteX1506" fmla="*/ 1354708 w 1935893"/>
                  <a:gd name="connsiteY1506" fmla="*/ 1550816 h 1590788"/>
                  <a:gd name="connsiteX1507" fmla="*/ 1347014 w 1935893"/>
                  <a:gd name="connsiteY1507" fmla="*/ 1559024 h 1590788"/>
                  <a:gd name="connsiteX1508" fmla="*/ 1348666 w 1935893"/>
                  <a:gd name="connsiteY1508" fmla="*/ 1569454 h 1590788"/>
                  <a:gd name="connsiteX1509" fmla="*/ 1355506 w 1935893"/>
                  <a:gd name="connsiteY1509" fmla="*/ 1575780 h 1590788"/>
                  <a:gd name="connsiteX1510" fmla="*/ 1354594 w 1935893"/>
                  <a:gd name="connsiteY1510" fmla="*/ 1578174 h 1590788"/>
                  <a:gd name="connsiteX1511" fmla="*/ 1349521 w 1935893"/>
                  <a:gd name="connsiteY1511" fmla="*/ 1581821 h 1590788"/>
                  <a:gd name="connsiteX1512" fmla="*/ 1342625 w 1935893"/>
                  <a:gd name="connsiteY1512" fmla="*/ 1583417 h 1590788"/>
                  <a:gd name="connsiteX1513" fmla="*/ 1339718 w 1935893"/>
                  <a:gd name="connsiteY1513" fmla="*/ 1585469 h 1590788"/>
                  <a:gd name="connsiteX1514" fmla="*/ 1327122 w 1935893"/>
                  <a:gd name="connsiteY1514" fmla="*/ 1585469 h 1590788"/>
                  <a:gd name="connsiteX1515" fmla="*/ 1296060 w 1935893"/>
                  <a:gd name="connsiteY1515" fmla="*/ 1585469 h 1590788"/>
                  <a:gd name="connsiteX1516" fmla="*/ 1295775 w 1935893"/>
                  <a:gd name="connsiteY1516" fmla="*/ 1585811 h 1590788"/>
                  <a:gd name="connsiteX1517" fmla="*/ 1294749 w 1935893"/>
                  <a:gd name="connsiteY1517" fmla="*/ 1584671 h 1590788"/>
                  <a:gd name="connsiteX1518" fmla="*/ 1292983 w 1935893"/>
                  <a:gd name="connsiteY1518" fmla="*/ 1584044 h 1590788"/>
                  <a:gd name="connsiteX1519" fmla="*/ 1288423 w 1935893"/>
                  <a:gd name="connsiteY1519" fmla="*/ 1584956 h 1590788"/>
                  <a:gd name="connsiteX1520" fmla="*/ 1284205 w 1935893"/>
                  <a:gd name="connsiteY1520" fmla="*/ 1589972 h 1590788"/>
                  <a:gd name="connsiteX1521" fmla="*/ 1279076 w 1935893"/>
                  <a:gd name="connsiteY1521" fmla="*/ 1589972 h 1590788"/>
                  <a:gd name="connsiteX1522" fmla="*/ 1280102 w 1935893"/>
                  <a:gd name="connsiteY1522" fmla="*/ 1583588 h 1590788"/>
                  <a:gd name="connsiteX1523" fmla="*/ 1280102 w 1935893"/>
                  <a:gd name="connsiteY1523" fmla="*/ 1585583 h 1590788"/>
                  <a:gd name="connsiteX1524" fmla="*/ 1297998 w 1935893"/>
                  <a:gd name="connsiteY1524" fmla="*/ 1558283 h 1590788"/>
                  <a:gd name="connsiteX1525" fmla="*/ 1301190 w 1935893"/>
                  <a:gd name="connsiteY1525" fmla="*/ 1536169 h 1590788"/>
                  <a:gd name="connsiteX1526" fmla="*/ 1315951 w 1935893"/>
                  <a:gd name="connsiteY1526" fmla="*/ 1521407 h 1590788"/>
                  <a:gd name="connsiteX1527" fmla="*/ 1323190 w 1935893"/>
                  <a:gd name="connsiteY1527" fmla="*/ 1525682 h 1590788"/>
                  <a:gd name="connsiteX1528" fmla="*/ 1323874 w 1935893"/>
                  <a:gd name="connsiteY1528" fmla="*/ 1529158 h 1590788"/>
                  <a:gd name="connsiteX1529" fmla="*/ 1329573 w 1935893"/>
                  <a:gd name="connsiteY1529" fmla="*/ 1532065 h 1590788"/>
                  <a:gd name="connsiteX1530" fmla="*/ 1343480 w 1935893"/>
                  <a:gd name="connsiteY1530" fmla="*/ 1525910 h 1590788"/>
                  <a:gd name="connsiteX1531" fmla="*/ 1336470 w 1935893"/>
                  <a:gd name="connsiteY1531" fmla="*/ 1508127 h 1590788"/>
                  <a:gd name="connsiteX1532" fmla="*/ 1327521 w 1935893"/>
                  <a:gd name="connsiteY1532" fmla="*/ 1502086 h 1590788"/>
                  <a:gd name="connsiteX1533" fmla="*/ 1322962 w 1935893"/>
                  <a:gd name="connsiteY1533" fmla="*/ 1490345 h 1590788"/>
                  <a:gd name="connsiteX1534" fmla="*/ 1318288 w 1935893"/>
                  <a:gd name="connsiteY1534" fmla="*/ 1488863 h 1590788"/>
                  <a:gd name="connsiteX1535" fmla="*/ 1260553 w 1935893"/>
                  <a:gd name="connsiteY1535" fmla="*/ 1478946 h 1590788"/>
                  <a:gd name="connsiteX1536" fmla="*/ 1252345 w 1935893"/>
                  <a:gd name="connsiteY1536" fmla="*/ 1476837 h 1590788"/>
                  <a:gd name="connsiteX1537" fmla="*/ 1236501 w 1935893"/>
                  <a:gd name="connsiteY1537" fmla="*/ 1453412 h 1590788"/>
                  <a:gd name="connsiteX1538" fmla="*/ 1230459 w 1935893"/>
                  <a:gd name="connsiteY1538" fmla="*/ 1435060 h 1590788"/>
                  <a:gd name="connsiteX1539" fmla="*/ 1227781 w 1935893"/>
                  <a:gd name="connsiteY1539" fmla="*/ 1430785 h 1590788"/>
                  <a:gd name="connsiteX1540" fmla="*/ 1222081 w 1935893"/>
                  <a:gd name="connsiteY1540" fmla="*/ 1430386 h 1590788"/>
                  <a:gd name="connsiteX1541" fmla="*/ 1201238 w 1935893"/>
                  <a:gd name="connsiteY1541" fmla="*/ 1411259 h 1590788"/>
                  <a:gd name="connsiteX1542" fmla="*/ 1201221 w 1935893"/>
                  <a:gd name="connsiteY1542" fmla="*/ 1410666 h 1590788"/>
                  <a:gd name="connsiteX1543" fmla="*/ 1186916 w 1935893"/>
                  <a:gd name="connsiteY1543" fmla="*/ 1404397 h 1590788"/>
                  <a:gd name="connsiteX1544" fmla="*/ 1184807 w 1935893"/>
                  <a:gd name="connsiteY1544" fmla="*/ 1399438 h 1590788"/>
                  <a:gd name="connsiteX1545" fmla="*/ 1172724 w 1935893"/>
                  <a:gd name="connsiteY1545" fmla="*/ 1398184 h 1590788"/>
                  <a:gd name="connsiteX1546" fmla="*/ 1163206 w 1935893"/>
                  <a:gd name="connsiteY1546" fmla="*/ 1394480 h 1590788"/>
                  <a:gd name="connsiteX1547" fmla="*/ 1150154 w 1935893"/>
                  <a:gd name="connsiteY1547" fmla="*/ 1406848 h 1590788"/>
                  <a:gd name="connsiteX1548" fmla="*/ 1143371 w 1935893"/>
                  <a:gd name="connsiteY1548" fmla="*/ 1410837 h 1590788"/>
                  <a:gd name="connsiteX1549" fmla="*/ 1133055 w 1935893"/>
                  <a:gd name="connsiteY1549" fmla="*/ 1425542 h 1590788"/>
                  <a:gd name="connsiteX1550" fmla="*/ 1121656 w 1935893"/>
                  <a:gd name="connsiteY1550" fmla="*/ 1427195 h 1590788"/>
                  <a:gd name="connsiteX1551" fmla="*/ 1115444 w 1935893"/>
                  <a:gd name="connsiteY1551" fmla="*/ 1424744 h 1590788"/>
                  <a:gd name="connsiteX1552" fmla="*/ 1109175 w 1935893"/>
                  <a:gd name="connsiteY1552" fmla="*/ 1426283 h 1590788"/>
                  <a:gd name="connsiteX1553" fmla="*/ 1084097 w 1935893"/>
                  <a:gd name="connsiteY1553" fmla="*/ 1420583 h 1590788"/>
                  <a:gd name="connsiteX1554" fmla="*/ 1061299 w 1935893"/>
                  <a:gd name="connsiteY1554" fmla="*/ 1410894 h 1590788"/>
                  <a:gd name="connsiteX1555" fmla="*/ 1050248 w 1935893"/>
                  <a:gd name="connsiteY1555" fmla="*/ 1414445 h 1590788"/>
                  <a:gd name="connsiteX1556" fmla="*/ 1049501 w 1935893"/>
                  <a:gd name="connsiteY1556" fmla="*/ 1416594 h 1590788"/>
                  <a:gd name="connsiteX1557" fmla="*/ 1038102 w 1935893"/>
                  <a:gd name="connsiteY1557" fmla="*/ 1414827 h 1590788"/>
                  <a:gd name="connsiteX1558" fmla="*/ 1031776 w 1935893"/>
                  <a:gd name="connsiteY1558" fmla="*/ 1406050 h 1590788"/>
                  <a:gd name="connsiteX1559" fmla="*/ 1018610 w 1935893"/>
                  <a:gd name="connsiteY1559" fmla="*/ 1405195 h 1590788"/>
                  <a:gd name="connsiteX1560" fmla="*/ 1020320 w 1935893"/>
                  <a:gd name="connsiteY1560" fmla="*/ 1386045 h 1590788"/>
                  <a:gd name="connsiteX1561" fmla="*/ 1012568 w 1935893"/>
                  <a:gd name="connsiteY1561" fmla="*/ 1384335 h 1590788"/>
                  <a:gd name="connsiteX1562" fmla="*/ 1008921 w 1935893"/>
                  <a:gd name="connsiteY1562" fmla="*/ 1390034 h 1590788"/>
                  <a:gd name="connsiteX1563" fmla="*/ 1004703 w 1935893"/>
                  <a:gd name="connsiteY1563" fmla="*/ 1392257 h 1590788"/>
                  <a:gd name="connsiteX1564" fmla="*/ 1003221 w 1935893"/>
                  <a:gd name="connsiteY1564" fmla="*/ 1402915 h 1590788"/>
                  <a:gd name="connsiteX1565" fmla="*/ 408709 w 1935893"/>
                  <a:gd name="connsiteY1565" fmla="*/ 1402915 h 1590788"/>
                  <a:gd name="connsiteX1566" fmla="*/ 397310 w 1935893"/>
                  <a:gd name="connsiteY1566" fmla="*/ 1383537 h 1590788"/>
                  <a:gd name="connsiteX1567" fmla="*/ 366248 w 1935893"/>
                  <a:gd name="connsiteY1567" fmla="*/ 1369630 h 1590788"/>
                  <a:gd name="connsiteX1568" fmla="*/ 361290 w 1935893"/>
                  <a:gd name="connsiteY1568" fmla="*/ 1357832 h 1590788"/>
                  <a:gd name="connsiteX1569" fmla="*/ 341683 w 1935893"/>
                  <a:gd name="connsiteY1569" fmla="*/ 1354697 h 1590788"/>
                  <a:gd name="connsiteX1570" fmla="*/ 337124 w 1935893"/>
                  <a:gd name="connsiteY1570" fmla="*/ 1345863 h 1590788"/>
                  <a:gd name="connsiteX1571" fmla="*/ 331823 w 1935893"/>
                  <a:gd name="connsiteY1571" fmla="*/ 1343925 h 1590788"/>
                  <a:gd name="connsiteX1572" fmla="*/ 312388 w 1935893"/>
                  <a:gd name="connsiteY1572" fmla="*/ 1340506 h 1590788"/>
                  <a:gd name="connsiteX1573" fmla="*/ 300305 w 1935893"/>
                  <a:gd name="connsiteY1573" fmla="*/ 1336174 h 1590788"/>
                  <a:gd name="connsiteX1574" fmla="*/ 282067 w 1935893"/>
                  <a:gd name="connsiteY1574" fmla="*/ 1313376 h 1590788"/>
                  <a:gd name="connsiteX1575" fmla="*/ 291243 w 1935893"/>
                  <a:gd name="connsiteY1575" fmla="*/ 1309330 h 1590788"/>
                  <a:gd name="connsiteX1576" fmla="*/ 298823 w 1935893"/>
                  <a:gd name="connsiteY1576" fmla="*/ 1301464 h 1590788"/>
                  <a:gd name="connsiteX1577" fmla="*/ 290445 w 1935893"/>
                  <a:gd name="connsiteY1577" fmla="*/ 1294853 h 1590788"/>
                  <a:gd name="connsiteX1578" fmla="*/ 279616 w 1935893"/>
                  <a:gd name="connsiteY1578" fmla="*/ 1291490 h 1590788"/>
                  <a:gd name="connsiteX1579" fmla="*/ 276709 w 1935893"/>
                  <a:gd name="connsiteY1579" fmla="*/ 1286190 h 1590788"/>
                  <a:gd name="connsiteX1580" fmla="*/ 269813 w 1935893"/>
                  <a:gd name="connsiteY1580" fmla="*/ 1267666 h 1590788"/>
                  <a:gd name="connsiteX1581" fmla="*/ 265994 w 1935893"/>
                  <a:gd name="connsiteY1581" fmla="*/ 1260257 h 1590788"/>
                  <a:gd name="connsiteX1582" fmla="*/ 250834 w 1935893"/>
                  <a:gd name="connsiteY1582" fmla="*/ 1247604 h 1590788"/>
                  <a:gd name="connsiteX1583" fmla="*/ 249922 w 1935893"/>
                  <a:gd name="connsiteY1583" fmla="*/ 1242874 h 1590788"/>
                  <a:gd name="connsiteX1584" fmla="*/ 240860 w 1935893"/>
                  <a:gd name="connsiteY1584" fmla="*/ 1235236 h 1590788"/>
                  <a:gd name="connsiteX1585" fmla="*/ 235502 w 1935893"/>
                  <a:gd name="connsiteY1585" fmla="*/ 1226231 h 1590788"/>
                  <a:gd name="connsiteX1586" fmla="*/ 236756 w 1935893"/>
                  <a:gd name="connsiteY1586" fmla="*/ 1225148 h 1590788"/>
                  <a:gd name="connsiteX1587" fmla="*/ 241487 w 1935893"/>
                  <a:gd name="connsiteY1587" fmla="*/ 1222698 h 1590788"/>
                  <a:gd name="connsiteX1588" fmla="*/ 243652 w 1935893"/>
                  <a:gd name="connsiteY1588" fmla="*/ 1213236 h 1590788"/>
                  <a:gd name="connsiteX1589" fmla="*/ 248839 w 1935893"/>
                  <a:gd name="connsiteY1589" fmla="*/ 1209589 h 1590788"/>
                  <a:gd name="connsiteX1590" fmla="*/ 251404 w 1935893"/>
                  <a:gd name="connsiteY1590" fmla="*/ 1205485 h 1590788"/>
                  <a:gd name="connsiteX1591" fmla="*/ 234590 w 1935893"/>
                  <a:gd name="connsiteY1591" fmla="*/ 1187817 h 1590788"/>
                  <a:gd name="connsiteX1592" fmla="*/ 245647 w 1935893"/>
                  <a:gd name="connsiteY1592" fmla="*/ 1178014 h 1590788"/>
                  <a:gd name="connsiteX1593" fmla="*/ 219544 w 1935893"/>
                  <a:gd name="connsiteY1593" fmla="*/ 1163537 h 1590788"/>
                  <a:gd name="connsiteX1594" fmla="*/ 212989 w 1935893"/>
                  <a:gd name="connsiteY1594" fmla="*/ 1161884 h 1590788"/>
                  <a:gd name="connsiteX1595" fmla="*/ 207290 w 1935893"/>
                  <a:gd name="connsiteY1595" fmla="*/ 1156185 h 1590788"/>
                  <a:gd name="connsiteX1596" fmla="*/ 194124 w 1935893"/>
                  <a:gd name="connsiteY1596" fmla="*/ 1136522 h 1590788"/>
                  <a:gd name="connsiteX1597" fmla="*/ 189963 w 1935893"/>
                  <a:gd name="connsiteY1597" fmla="*/ 1129511 h 1590788"/>
                  <a:gd name="connsiteX1598" fmla="*/ 185974 w 1935893"/>
                  <a:gd name="connsiteY1598" fmla="*/ 1119480 h 1590788"/>
                  <a:gd name="connsiteX1599" fmla="*/ 176456 w 1935893"/>
                  <a:gd name="connsiteY1599" fmla="*/ 1104833 h 1590788"/>
                  <a:gd name="connsiteX1600" fmla="*/ 174404 w 1935893"/>
                  <a:gd name="connsiteY1600" fmla="*/ 1098221 h 1590788"/>
                  <a:gd name="connsiteX1601" fmla="*/ 166938 w 1935893"/>
                  <a:gd name="connsiteY1601" fmla="*/ 1094915 h 1590788"/>
                  <a:gd name="connsiteX1602" fmla="*/ 158901 w 1935893"/>
                  <a:gd name="connsiteY1602" fmla="*/ 1087335 h 1590788"/>
                  <a:gd name="connsiteX1603" fmla="*/ 140891 w 1935893"/>
                  <a:gd name="connsiteY1603" fmla="*/ 1062713 h 1590788"/>
                  <a:gd name="connsiteX1604" fmla="*/ 127383 w 1935893"/>
                  <a:gd name="connsiteY1604" fmla="*/ 1049833 h 1590788"/>
                  <a:gd name="connsiteX1605" fmla="*/ 111254 w 1935893"/>
                  <a:gd name="connsiteY1605" fmla="*/ 1055019 h 1590788"/>
                  <a:gd name="connsiteX1606" fmla="*/ 110000 w 1935893"/>
                  <a:gd name="connsiteY1606" fmla="*/ 1057527 h 1590788"/>
                  <a:gd name="connsiteX1607" fmla="*/ 106181 w 1935893"/>
                  <a:gd name="connsiteY1607" fmla="*/ 1058097 h 1590788"/>
                  <a:gd name="connsiteX1608" fmla="*/ 90736 w 1935893"/>
                  <a:gd name="connsiteY1608" fmla="*/ 1068299 h 1590788"/>
                  <a:gd name="connsiteX1609" fmla="*/ 82756 w 1935893"/>
                  <a:gd name="connsiteY1609" fmla="*/ 1068641 h 1590788"/>
                  <a:gd name="connsiteX1610" fmla="*/ 67254 w 1935893"/>
                  <a:gd name="connsiteY1610" fmla="*/ 1060776 h 1590788"/>
                  <a:gd name="connsiteX1611" fmla="*/ 64119 w 1935893"/>
                  <a:gd name="connsiteY1611" fmla="*/ 1050517 h 1590788"/>
                  <a:gd name="connsiteX1612" fmla="*/ 53746 w 1935893"/>
                  <a:gd name="connsiteY1612" fmla="*/ 1050517 h 1590788"/>
                  <a:gd name="connsiteX1613" fmla="*/ 43886 w 1935893"/>
                  <a:gd name="connsiteY1613" fmla="*/ 1048522 h 1590788"/>
                  <a:gd name="connsiteX1614" fmla="*/ 44570 w 1935893"/>
                  <a:gd name="connsiteY1614" fmla="*/ 1041397 h 1590788"/>
                  <a:gd name="connsiteX1615" fmla="*/ 46109 w 1935893"/>
                  <a:gd name="connsiteY1615" fmla="*/ 1029257 h 1590788"/>
                  <a:gd name="connsiteX1616" fmla="*/ 37332 w 1935893"/>
                  <a:gd name="connsiteY1616" fmla="*/ 1022076 h 1590788"/>
                  <a:gd name="connsiteX1617" fmla="*/ 32373 w 1935893"/>
                  <a:gd name="connsiteY1617" fmla="*/ 1023900 h 1590788"/>
                  <a:gd name="connsiteX1618" fmla="*/ 342 w 1935893"/>
                  <a:gd name="connsiteY1618" fmla="*/ 1025382 h 1590788"/>
                  <a:gd name="connsiteX1619" fmla="*/ 0 w 1935893"/>
                  <a:gd name="connsiteY1619" fmla="*/ 668994 h 1590788"/>
                  <a:gd name="connsiteX1620" fmla="*/ 13622 w 1935893"/>
                  <a:gd name="connsiteY1620" fmla="*/ 672242 h 1590788"/>
                  <a:gd name="connsiteX1621" fmla="*/ 44798 w 1935893"/>
                  <a:gd name="connsiteY1621" fmla="*/ 673667 h 1590788"/>
                  <a:gd name="connsiteX1622" fmla="*/ 52492 w 1935893"/>
                  <a:gd name="connsiteY1622" fmla="*/ 681761 h 1590788"/>
                  <a:gd name="connsiteX1623" fmla="*/ 81445 w 1935893"/>
                  <a:gd name="connsiteY1623" fmla="*/ 696123 h 1590788"/>
                  <a:gd name="connsiteX1624" fmla="*/ 113933 w 1935893"/>
                  <a:gd name="connsiteY1624" fmla="*/ 703704 h 1590788"/>
                  <a:gd name="connsiteX1625" fmla="*/ 125901 w 1935893"/>
                  <a:gd name="connsiteY1625" fmla="*/ 709403 h 1590788"/>
                  <a:gd name="connsiteX1626" fmla="*/ 131601 w 1935893"/>
                  <a:gd name="connsiteY1626" fmla="*/ 700455 h 1590788"/>
                  <a:gd name="connsiteX1627" fmla="*/ 111311 w 1935893"/>
                  <a:gd name="connsiteY1627" fmla="*/ 681875 h 1590788"/>
                  <a:gd name="connsiteX1628" fmla="*/ 152290 w 1935893"/>
                  <a:gd name="connsiteY1628" fmla="*/ 678740 h 1590788"/>
                  <a:gd name="connsiteX1629" fmla="*/ 164088 w 1935893"/>
                  <a:gd name="connsiteY1629" fmla="*/ 679595 h 1590788"/>
                  <a:gd name="connsiteX1630" fmla="*/ 176114 w 1935893"/>
                  <a:gd name="connsiteY1630" fmla="*/ 672869 h 1590788"/>
                  <a:gd name="connsiteX1631" fmla="*/ 240974 w 1935893"/>
                  <a:gd name="connsiteY1631" fmla="*/ 648476 h 1590788"/>
                  <a:gd name="connsiteX1632" fmla="*/ 239264 w 1935893"/>
                  <a:gd name="connsiteY1632" fmla="*/ 658792 h 1590788"/>
                  <a:gd name="connsiteX1633" fmla="*/ 166482 w 1935893"/>
                  <a:gd name="connsiteY1633" fmla="*/ 704388 h 1590788"/>
                  <a:gd name="connsiteX1634" fmla="*/ 181072 w 1935893"/>
                  <a:gd name="connsiteY1634" fmla="*/ 706040 h 1590788"/>
                  <a:gd name="connsiteX1635" fmla="*/ 191616 w 1935893"/>
                  <a:gd name="connsiteY1635" fmla="*/ 693046 h 1590788"/>
                  <a:gd name="connsiteX1636" fmla="*/ 221083 w 1935893"/>
                  <a:gd name="connsiteY1636" fmla="*/ 675320 h 1590788"/>
                  <a:gd name="connsiteX1637" fmla="*/ 242684 w 1935893"/>
                  <a:gd name="connsiteY1637" fmla="*/ 667056 h 1590788"/>
                  <a:gd name="connsiteX1638" fmla="*/ 273062 w 1935893"/>
                  <a:gd name="connsiteY1638" fmla="*/ 667056 h 1590788"/>
                  <a:gd name="connsiteX1639" fmla="*/ 286741 w 1935893"/>
                  <a:gd name="connsiteY1639" fmla="*/ 645512 h 1590788"/>
                  <a:gd name="connsiteX1640" fmla="*/ 284746 w 1935893"/>
                  <a:gd name="connsiteY1640" fmla="*/ 623113 h 1590788"/>
                  <a:gd name="connsiteX1641" fmla="*/ 303554 w 1935893"/>
                  <a:gd name="connsiteY1641" fmla="*/ 632346 h 1590788"/>
                  <a:gd name="connsiteX1642" fmla="*/ 324015 w 1935893"/>
                  <a:gd name="connsiteY1642" fmla="*/ 673952 h 1590788"/>
                  <a:gd name="connsiteX1643" fmla="*/ 330284 w 1935893"/>
                  <a:gd name="connsiteY1643" fmla="*/ 681533 h 1590788"/>
                  <a:gd name="connsiteX1644" fmla="*/ 347383 w 1935893"/>
                  <a:gd name="connsiteY1644" fmla="*/ 671730 h 1590788"/>
                  <a:gd name="connsiteX1645" fmla="*/ 364481 w 1935893"/>
                  <a:gd name="connsiteY1645" fmla="*/ 646139 h 1590788"/>
                  <a:gd name="connsiteX1646" fmla="*/ 370181 w 1935893"/>
                  <a:gd name="connsiteY1646" fmla="*/ 659191 h 1590788"/>
                  <a:gd name="connsiteX1647" fmla="*/ 365051 w 1935893"/>
                  <a:gd name="connsiteY1647" fmla="*/ 675491 h 1590788"/>
                  <a:gd name="connsiteX1648" fmla="*/ 388476 w 1935893"/>
                  <a:gd name="connsiteY1648" fmla="*/ 674693 h 1590788"/>
                  <a:gd name="connsiteX1649" fmla="*/ 409450 w 1935893"/>
                  <a:gd name="connsiteY1649" fmla="*/ 660901 h 1590788"/>
                  <a:gd name="connsiteX1650" fmla="*/ 460062 w 1935893"/>
                  <a:gd name="connsiteY1650" fmla="*/ 674123 h 1590788"/>
                  <a:gd name="connsiteX1651" fmla="*/ 581802 w 1935893"/>
                  <a:gd name="connsiteY1651" fmla="*/ 704046 h 1590788"/>
                  <a:gd name="connsiteX1652" fmla="*/ 594512 w 1935893"/>
                  <a:gd name="connsiteY1652" fmla="*/ 717040 h 1590788"/>
                  <a:gd name="connsiteX1653" fmla="*/ 563735 w 1935893"/>
                  <a:gd name="connsiteY1653" fmla="*/ 735051 h 1590788"/>
                  <a:gd name="connsiteX1654" fmla="*/ 595595 w 1935893"/>
                  <a:gd name="connsiteY1654" fmla="*/ 751123 h 1590788"/>
                  <a:gd name="connsiteX1655" fmla="*/ 674362 w 1935893"/>
                  <a:gd name="connsiteY1655" fmla="*/ 740522 h 1590788"/>
                  <a:gd name="connsiteX1656" fmla="*/ 683367 w 1935893"/>
                  <a:gd name="connsiteY1656" fmla="*/ 737217 h 1590788"/>
                  <a:gd name="connsiteX1657" fmla="*/ 696533 w 1935893"/>
                  <a:gd name="connsiteY1657" fmla="*/ 747533 h 1590788"/>
                  <a:gd name="connsiteX1658" fmla="*/ 711237 w 1935893"/>
                  <a:gd name="connsiteY1658" fmla="*/ 750553 h 1590788"/>
                  <a:gd name="connsiteX1659" fmla="*/ 721667 w 1935893"/>
                  <a:gd name="connsiteY1659" fmla="*/ 769931 h 1590788"/>
                  <a:gd name="connsiteX1660" fmla="*/ 710610 w 1935893"/>
                  <a:gd name="connsiteY1660" fmla="*/ 775175 h 1590788"/>
                  <a:gd name="connsiteX1661" fmla="*/ 733408 w 1935893"/>
                  <a:gd name="connsiteY1661" fmla="*/ 788341 h 1590788"/>
                  <a:gd name="connsiteX1662" fmla="*/ 748911 w 1935893"/>
                  <a:gd name="connsiteY1662" fmla="*/ 777797 h 1590788"/>
                  <a:gd name="connsiteX1663" fmla="*/ 729704 w 1935893"/>
                  <a:gd name="connsiteY1663" fmla="*/ 752491 h 1590788"/>
                  <a:gd name="connsiteX1664" fmla="*/ 726626 w 1935893"/>
                  <a:gd name="connsiteY1664" fmla="*/ 737957 h 1590788"/>
                  <a:gd name="connsiteX1665" fmla="*/ 789320 w 1935893"/>
                  <a:gd name="connsiteY1665" fmla="*/ 717496 h 1590788"/>
                  <a:gd name="connsiteX1666" fmla="*/ 815766 w 1935893"/>
                  <a:gd name="connsiteY1666" fmla="*/ 732087 h 1590788"/>
                  <a:gd name="connsiteX1667" fmla="*/ 844263 w 1935893"/>
                  <a:gd name="connsiteY1667" fmla="*/ 734937 h 1590788"/>
                  <a:gd name="connsiteX1668" fmla="*/ 871279 w 1935893"/>
                  <a:gd name="connsiteY1668" fmla="*/ 751009 h 1590788"/>
                  <a:gd name="connsiteX1669" fmla="*/ 907641 w 1935893"/>
                  <a:gd name="connsiteY1669" fmla="*/ 740237 h 1590788"/>
                  <a:gd name="connsiteX1670" fmla="*/ 929812 w 1935893"/>
                  <a:gd name="connsiteY1670" fmla="*/ 741947 h 1590788"/>
                  <a:gd name="connsiteX1671" fmla="*/ 935512 w 1935893"/>
                  <a:gd name="connsiteY1671" fmla="*/ 723196 h 1590788"/>
                  <a:gd name="connsiteX1672" fmla="*/ 957797 w 1935893"/>
                  <a:gd name="connsiteY1672" fmla="*/ 715274 h 1590788"/>
                  <a:gd name="connsiteX1673" fmla="*/ 958480 w 1935893"/>
                  <a:gd name="connsiteY1673" fmla="*/ 724507 h 1590788"/>
                  <a:gd name="connsiteX1674" fmla="*/ 975978 w 1935893"/>
                  <a:gd name="connsiteY1674" fmla="*/ 724507 h 1590788"/>
                  <a:gd name="connsiteX1675" fmla="*/ 986009 w 1935893"/>
                  <a:gd name="connsiteY1675" fmla="*/ 735621 h 1590788"/>
                  <a:gd name="connsiteX1676" fmla="*/ 973128 w 1935893"/>
                  <a:gd name="connsiteY1676" fmla="*/ 739895 h 1590788"/>
                  <a:gd name="connsiteX1677" fmla="*/ 977232 w 1935893"/>
                  <a:gd name="connsiteY1677" fmla="*/ 756082 h 1590788"/>
                  <a:gd name="connsiteX1678" fmla="*/ 984983 w 1935893"/>
                  <a:gd name="connsiteY1678" fmla="*/ 756082 h 1590788"/>
                  <a:gd name="connsiteX1679" fmla="*/ 994045 w 1935893"/>
                  <a:gd name="connsiteY1679" fmla="*/ 771470 h 1590788"/>
                  <a:gd name="connsiteX1680" fmla="*/ 1009491 w 1935893"/>
                  <a:gd name="connsiteY1680" fmla="*/ 768621 h 1590788"/>
                  <a:gd name="connsiteX1681" fmla="*/ 1000030 w 1935893"/>
                  <a:gd name="connsiteY1681" fmla="*/ 738698 h 1590788"/>
                  <a:gd name="connsiteX1682" fmla="*/ 1008408 w 1935893"/>
                  <a:gd name="connsiteY1682" fmla="*/ 734481 h 1590788"/>
                  <a:gd name="connsiteX1683" fmla="*/ 1040154 w 1935893"/>
                  <a:gd name="connsiteY1683" fmla="*/ 714647 h 1590788"/>
                  <a:gd name="connsiteX1684" fmla="*/ 1045055 w 1935893"/>
                  <a:gd name="connsiteY1684" fmla="*/ 702735 h 1590788"/>
                  <a:gd name="connsiteX1685" fmla="*/ 1033657 w 1935893"/>
                  <a:gd name="connsiteY1685" fmla="*/ 690481 h 1590788"/>
                  <a:gd name="connsiteX1686" fmla="*/ 1036335 w 1935893"/>
                  <a:gd name="connsiteY1686" fmla="*/ 677999 h 1590788"/>
                  <a:gd name="connsiteX1687" fmla="*/ 1024480 w 1935893"/>
                  <a:gd name="connsiteY1687" fmla="*/ 670476 h 1590788"/>
                  <a:gd name="connsiteX1688" fmla="*/ 1016045 w 1935893"/>
                  <a:gd name="connsiteY1688" fmla="*/ 661585 h 1590788"/>
                  <a:gd name="connsiteX1689" fmla="*/ 1002309 w 1935893"/>
                  <a:gd name="connsiteY1689" fmla="*/ 662154 h 1590788"/>
                  <a:gd name="connsiteX1690" fmla="*/ 983843 w 1935893"/>
                  <a:gd name="connsiteY1690" fmla="*/ 652864 h 1590788"/>
                  <a:gd name="connsiteX1691" fmla="*/ 973869 w 1935893"/>
                  <a:gd name="connsiteY1691" fmla="*/ 638331 h 1590788"/>
                  <a:gd name="connsiteX1692" fmla="*/ 986009 w 1935893"/>
                  <a:gd name="connsiteY1692" fmla="*/ 632175 h 1590788"/>
                  <a:gd name="connsiteX1693" fmla="*/ 982988 w 1935893"/>
                  <a:gd name="connsiteY1693" fmla="*/ 620320 h 1590788"/>
                  <a:gd name="connsiteX1694" fmla="*/ 972501 w 1935893"/>
                  <a:gd name="connsiteY1694" fmla="*/ 611543 h 1590788"/>
                  <a:gd name="connsiteX1695" fmla="*/ 979905 w 1935893"/>
                  <a:gd name="connsiteY1695" fmla="*/ 594809 h 1590788"/>
                  <a:gd name="connsiteX1696" fmla="*/ 980993 w 1935893"/>
                  <a:gd name="connsiteY1696" fmla="*/ 594445 h 1590788"/>
                  <a:gd name="connsiteX1697" fmla="*/ 1001910 w 1935893"/>
                  <a:gd name="connsiteY1697" fmla="*/ 599118 h 1590788"/>
                  <a:gd name="connsiteX1698" fmla="*/ 998092 w 1935893"/>
                  <a:gd name="connsiteY1698" fmla="*/ 578030 h 1590788"/>
                  <a:gd name="connsiteX1699" fmla="*/ 1002423 w 1935893"/>
                  <a:gd name="connsiteY1699" fmla="*/ 573813 h 1590788"/>
                  <a:gd name="connsiteX1700" fmla="*/ 1006356 w 1935893"/>
                  <a:gd name="connsiteY1700" fmla="*/ 546683 h 1590788"/>
                  <a:gd name="connsiteX1701" fmla="*/ 994957 w 1935893"/>
                  <a:gd name="connsiteY1701" fmla="*/ 519725 h 1590788"/>
                  <a:gd name="connsiteX1702" fmla="*/ 1006356 w 1935893"/>
                  <a:gd name="connsiteY1702" fmla="*/ 474129 h 1590788"/>
                  <a:gd name="connsiteX1703" fmla="*/ 1053149 w 1935893"/>
                  <a:gd name="connsiteY1703" fmla="*/ 468942 h 1590788"/>
                  <a:gd name="connsiteX1704" fmla="*/ 1108377 w 1935893"/>
                  <a:gd name="connsiteY1704" fmla="*/ 475782 h 1590788"/>
                  <a:gd name="connsiteX1705" fmla="*/ 1104729 w 1935893"/>
                  <a:gd name="connsiteY1705" fmla="*/ 480968 h 1590788"/>
                  <a:gd name="connsiteX1706" fmla="*/ 1089283 w 1935893"/>
                  <a:gd name="connsiteY1706" fmla="*/ 512714 h 1590788"/>
                  <a:gd name="connsiteX1707" fmla="*/ 1066087 w 1935893"/>
                  <a:gd name="connsiteY1707" fmla="*/ 533688 h 1590788"/>
                  <a:gd name="connsiteX1708" fmla="*/ 1059133 w 1935893"/>
                  <a:gd name="connsiteY1708" fmla="*/ 528787 h 1590788"/>
                  <a:gd name="connsiteX1709" fmla="*/ 1026361 w 1935893"/>
                  <a:gd name="connsiteY1709" fmla="*/ 527704 h 1590788"/>
                  <a:gd name="connsiteX1710" fmla="*/ 1040154 w 1935893"/>
                  <a:gd name="connsiteY1710" fmla="*/ 533859 h 1590788"/>
                  <a:gd name="connsiteX1711" fmla="*/ 1040353 w 1935893"/>
                  <a:gd name="connsiteY1711" fmla="*/ 546432 h 1590788"/>
                  <a:gd name="connsiteX1712" fmla="*/ 1039584 w 1935893"/>
                  <a:gd name="connsiteY1712" fmla="*/ 547139 h 1590788"/>
                  <a:gd name="connsiteX1713" fmla="*/ 1022030 w 1935893"/>
                  <a:gd name="connsiteY1713" fmla="*/ 573243 h 1590788"/>
                  <a:gd name="connsiteX1714" fmla="*/ 1041123 w 1935893"/>
                  <a:gd name="connsiteY1714" fmla="*/ 577061 h 1590788"/>
                  <a:gd name="connsiteX1715" fmla="*/ 1052978 w 1935893"/>
                  <a:gd name="connsiteY1715" fmla="*/ 591367 h 1590788"/>
                  <a:gd name="connsiteX1716" fmla="*/ 1048247 w 1935893"/>
                  <a:gd name="connsiteY1716" fmla="*/ 608465 h 1590788"/>
                  <a:gd name="connsiteX1717" fmla="*/ 1080734 w 1935893"/>
                  <a:gd name="connsiteY1717" fmla="*/ 630066 h 1590788"/>
                  <a:gd name="connsiteX1718" fmla="*/ 1086434 w 1935893"/>
                  <a:gd name="connsiteY1718" fmla="*/ 641465 h 1590788"/>
                  <a:gd name="connsiteX1719" fmla="*/ 1073325 w 1935893"/>
                  <a:gd name="connsiteY1719" fmla="*/ 650869 h 1590788"/>
                  <a:gd name="connsiteX1720" fmla="*/ 1074180 w 1935893"/>
                  <a:gd name="connsiteY1720" fmla="*/ 668310 h 1590788"/>
                  <a:gd name="connsiteX1721" fmla="*/ 1114931 w 1935893"/>
                  <a:gd name="connsiteY1721" fmla="*/ 677543 h 1590788"/>
                  <a:gd name="connsiteX1722" fmla="*/ 1092133 w 1935893"/>
                  <a:gd name="connsiteY1722" fmla="*/ 693901 h 1590788"/>
                  <a:gd name="connsiteX1723" fmla="*/ 1103532 w 1935893"/>
                  <a:gd name="connsiteY1723" fmla="*/ 694698 h 1590788"/>
                  <a:gd name="connsiteX1724" fmla="*/ 1106781 w 1935893"/>
                  <a:gd name="connsiteY1724" fmla="*/ 718864 h 1590788"/>
                  <a:gd name="connsiteX1725" fmla="*/ 1119833 w 1935893"/>
                  <a:gd name="connsiteY1725" fmla="*/ 719548 h 1590788"/>
                  <a:gd name="connsiteX1726" fmla="*/ 1132827 w 1935893"/>
                  <a:gd name="connsiteY1726" fmla="*/ 685351 h 1590788"/>
                  <a:gd name="connsiteX1727" fmla="*/ 1135449 w 1935893"/>
                  <a:gd name="connsiteY1727" fmla="*/ 683185 h 1590788"/>
                  <a:gd name="connsiteX1728" fmla="*/ 1140408 w 1935893"/>
                  <a:gd name="connsiteY1728" fmla="*/ 684154 h 1590788"/>
                  <a:gd name="connsiteX1729" fmla="*/ 1167366 w 1935893"/>
                  <a:gd name="connsiteY1729" fmla="*/ 718693 h 1590788"/>
                  <a:gd name="connsiteX1730" fmla="*/ 1153539 w 1935893"/>
                  <a:gd name="connsiteY1730" fmla="*/ 736020 h 1590788"/>
                  <a:gd name="connsiteX1731" fmla="*/ 1155967 w 1935893"/>
                  <a:gd name="connsiteY1731" fmla="*/ 742802 h 1590788"/>
                  <a:gd name="connsiteX1732" fmla="*/ 1162921 w 1935893"/>
                  <a:gd name="connsiteY1732" fmla="*/ 749641 h 1590788"/>
                  <a:gd name="connsiteX1733" fmla="*/ 1169931 w 1935893"/>
                  <a:gd name="connsiteY1733" fmla="*/ 764004 h 1590788"/>
                  <a:gd name="connsiteX1734" fmla="*/ 1182983 w 1935893"/>
                  <a:gd name="connsiteY1734" fmla="*/ 770615 h 1590788"/>
                  <a:gd name="connsiteX1735" fmla="*/ 1184693 w 1935893"/>
                  <a:gd name="connsiteY1735" fmla="*/ 759786 h 1590788"/>
                  <a:gd name="connsiteX1736" fmla="*/ 1200788 w 1935893"/>
                  <a:gd name="connsiteY1736" fmla="*/ 751608 h 1590788"/>
                  <a:gd name="connsiteX1737" fmla="*/ 1201392 w 1935893"/>
                  <a:gd name="connsiteY1737" fmla="*/ 746849 h 1590788"/>
                  <a:gd name="connsiteX1738" fmla="*/ 1184305 w 1935893"/>
                  <a:gd name="connsiteY1738" fmla="*/ 731135 h 1590788"/>
                  <a:gd name="connsiteX1739" fmla="*/ 1184294 w 1935893"/>
                  <a:gd name="connsiteY1739" fmla="*/ 730377 h 1590788"/>
                  <a:gd name="connsiteX1740" fmla="*/ 1207433 w 1935893"/>
                  <a:gd name="connsiteY1740" fmla="*/ 740180 h 1590788"/>
                  <a:gd name="connsiteX1741" fmla="*/ 1210112 w 1935893"/>
                  <a:gd name="connsiteY1741" fmla="*/ 726160 h 1590788"/>
                  <a:gd name="connsiteX1742" fmla="*/ 1215413 w 1935893"/>
                  <a:gd name="connsiteY1742" fmla="*/ 721087 h 1590788"/>
                  <a:gd name="connsiteX1743" fmla="*/ 1217864 w 1935893"/>
                  <a:gd name="connsiteY1743" fmla="*/ 708890 h 1590788"/>
                  <a:gd name="connsiteX1744" fmla="*/ 1226869 w 1935893"/>
                  <a:gd name="connsiteY1744" fmla="*/ 704274 h 1590788"/>
                  <a:gd name="connsiteX1745" fmla="*/ 1238268 w 1935893"/>
                  <a:gd name="connsiteY1745" fmla="*/ 693388 h 1590788"/>
                  <a:gd name="connsiteX1746" fmla="*/ 1225159 w 1935893"/>
                  <a:gd name="connsiteY1746" fmla="*/ 680051 h 1590788"/>
                  <a:gd name="connsiteX1747" fmla="*/ 1214957 w 1935893"/>
                  <a:gd name="connsiteY1747" fmla="*/ 665574 h 1590788"/>
                  <a:gd name="connsiteX1748" fmla="*/ 1267164 w 1935893"/>
                  <a:gd name="connsiteY1748" fmla="*/ 663009 h 1590788"/>
                  <a:gd name="connsiteX1749" fmla="*/ 1274573 w 1935893"/>
                  <a:gd name="connsiteY1749" fmla="*/ 664377 h 1590788"/>
                  <a:gd name="connsiteX1750" fmla="*/ 1279874 w 1935893"/>
                  <a:gd name="connsiteY1750" fmla="*/ 672129 h 1590788"/>
                  <a:gd name="connsiteX1751" fmla="*/ 1296972 w 1935893"/>
                  <a:gd name="connsiteY1751" fmla="*/ 679994 h 1590788"/>
                  <a:gd name="connsiteX1752" fmla="*/ 1298853 w 1935893"/>
                  <a:gd name="connsiteY1752" fmla="*/ 694186 h 1590788"/>
                  <a:gd name="connsiteX1753" fmla="*/ 1313615 w 1935893"/>
                  <a:gd name="connsiteY1753" fmla="*/ 711740 h 1590788"/>
                  <a:gd name="connsiteX1754" fmla="*/ 1278050 w 1935893"/>
                  <a:gd name="connsiteY1754" fmla="*/ 711740 h 1590788"/>
                  <a:gd name="connsiteX1755" fmla="*/ 1301133 w 1935893"/>
                  <a:gd name="connsiteY1755" fmla="*/ 749812 h 1590788"/>
                  <a:gd name="connsiteX1756" fmla="*/ 1303812 w 1935893"/>
                  <a:gd name="connsiteY1756" fmla="*/ 758248 h 1590788"/>
                  <a:gd name="connsiteX1757" fmla="*/ 1299993 w 1935893"/>
                  <a:gd name="connsiteY1757" fmla="*/ 764346 h 1590788"/>
                  <a:gd name="connsiteX1758" fmla="*/ 1267734 w 1935893"/>
                  <a:gd name="connsiteY1758" fmla="*/ 790963 h 1590788"/>
                  <a:gd name="connsiteX1759" fmla="*/ 1259470 w 1935893"/>
                  <a:gd name="connsiteY1759" fmla="*/ 798372 h 1590788"/>
                  <a:gd name="connsiteX1760" fmla="*/ 1251319 w 1935893"/>
                  <a:gd name="connsiteY1760" fmla="*/ 785719 h 1590788"/>
                  <a:gd name="connsiteX1761" fmla="*/ 1241003 w 1935893"/>
                  <a:gd name="connsiteY1761" fmla="*/ 772268 h 1590788"/>
                  <a:gd name="connsiteX1762" fmla="*/ 1230402 w 1935893"/>
                  <a:gd name="connsiteY1762" fmla="*/ 781045 h 1590788"/>
                  <a:gd name="connsiteX1763" fmla="*/ 1243283 w 1935893"/>
                  <a:gd name="connsiteY1763" fmla="*/ 802076 h 1590788"/>
                  <a:gd name="connsiteX1764" fmla="*/ 1220485 w 1935893"/>
                  <a:gd name="connsiteY1764" fmla="*/ 793185 h 1590788"/>
                  <a:gd name="connsiteX1765" fmla="*/ 1201506 w 1935893"/>
                  <a:gd name="connsiteY1765" fmla="*/ 785662 h 1590788"/>
                  <a:gd name="connsiteX1766" fmla="*/ 1189822 w 1935893"/>
                  <a:gd name="connsiteY1766" fmla="*/ 799227 h 1590788"/>
                  <a:gd name="connsiteX1767" fmla="*/ 1208972 w 1935893"/>
                  <a:gd name="connsiteY1767" fmla="*/ 806294 h 1590788"/>
                  <a:gd name="connsiteX1768" fmla="*/ 1197801 w 1935893"/>
                  <a:gd name="connsiteY1768" fmla="*/ 819460 h 1590788"/>
                  <a:gd name="connsiteX1769" fmla="*/ 1168449 w 1935893"/>
                  <a:gd name="connsiteY1769" fmla="*/ 837356 h 1590788"/>
                  <a:gd name="connsiteX1770" fmla="*/ 1122055 w 1935893"/>
                  <a:gd name="connsiteY1770" fmla="*/ 815470 h 1590788"/>
                  <a:gd name="connsiteX1771" fmla="*/ 1124392 w 1935893"/>
                  <a:gd name="connsiteY1771" fmla="*/ 828579 h 1590788"/>
                  <a:gd name="connsiteX1772" fmla="*/ 1137330 w 1935893"/>
                  <a:gd name="connsiteY1772" fmla="*/ 834848 h 1590788"/>
                  <a:gd name="connsiteX1773" fmla="*/ 1180817 w 1935893"/>
                  <a:gd name="connsiteY1773" fmla="*/ 848014 h 1590788"/>
                  <a:gd name="connsiteX1774" fmla="*/ 1170672 w 1935893"/>
                  <a:gd name="connsiteY1774" fmla="*/ 863061 h 1590788"/>
                  <a:gd name="connsiteX1775" fmla="*/ 1143485 w 1935893"/>
                  <a:gd name="connsiteY1775" fmla="*/ 883864 h 1590788"/>
                  <a:gd name="connsiteX1776" fmla="*/ 1136190 w 1935893"/>
                  <a:gd name="connsiteY1776" fmla="*/ 882781 h 1590788"/>
                  <a:gd name="connsiteX1777" fmla="*/ 1119092 w 1935893"/>
                  <a:gd name="connsiteY1777" fmla="*/ 879076 h 1590788"/>
                  <a:gd name="connsiteX1778" fmla="*/ 1112822 w 1935893"/>
                  <a:gd name="connsiteY1778" fmla="*/ 899879 h 1590788"/>
                  <a:gd name="connsiteX1779" fmla="*/ 1087118 w 1935893"/>
                  <a:gd name="connsiteY1779" fmla="*/ 896118 h 1590788"/>
                  <a:gd name="connsiteX1780" fmla="*/ 1075320 w 1935893"/>
                  <a:gd name="connsiteY1780" fmla="*/ 891387 h 1590788"/>
                  <a:gd name="connsiteX1781" fmla="*/ 1055372 w 1935893"/>
                  <a:gd name="connsiteY1781" fmla="*/ 886030 h 1590788"/>
                  <a:gd name="connsiteX1782" fmla="*/ 1037589 w 1935893"/>
                  <a:gd name="connsiteY1782" fmla="*/ 894579 h 1590788"/>
                  <a:gd name="connsiteX1783" fmla="*/ 1072641 w 1935893"/>
                  <a:gd name="connsiteY1783" fmla="*/ 904895 h 1590788"/>
                  <a:gd name="connsiteX1784" fmla="*/ 1103190 w 1935893"/>
                  <a:gd name="connsiteY1784" fmla="*/ 914299 h 1590788"/>
                  <a:gd name="connsiteX1785" fmla="*/ 1084496 w 1935893"/>
                  <a:gd name="connsiteY1785" fmla="*/ 929802 h 1590788"/>
                  <a:gd name="connsiteX1786" fmla="*/ 1064206 w 1935893"/>
                  <a:gd name="connsiteY1786" fmla="*/ 944107 h 1590788"/>
                  <a:gd name="connsiteX1787" fmla="*/ 1032859 w 1935893"/>
                  <a:gd name="connsiteY1787" fmla="*/ 974201 h 1590788"/>
                  <a:gd name="connsiteX1788" fmla="*/ 1011771 w 1935893"/>
                  <a:gd name="connsiteY1788" fmla="*/ 1031537 h 1590788"/>
                  <a:gd name="connsiteX1789" fmla="*/ 1014107 w 1935893"/>
                  <a:gd name="connsiteY1789" fmla="*/ 1068584 h 1590788"/>
                  <a:gd name="connsiteX1790" fmla="*/ 1044998 w 1935893"/>
                  <a:gd name="connsiteY1790" fmla="*/ 1082491 h 1590788"/>
                  <a:gd name="connsiteX1791" fmla="*/ 1059190 w 1935893"/>
                  <a:gd name="connsiteY1791" fmla="*/ 1150428 h 1590788"/>
                  <a:gd name="connsiteX1792" fmla="*/ 1133796 w 1935893"/>
                  <a:gd name="connsiteY1792" fmla="*/ 1149687 h 1590788"/>
                  <a:gd name="connsiteX1793" fmla="*/ 1152092 w 1935893"/>
                  <a:gd name="connsiteY1793" fmla="*/ 1165418 h 1590788"/>
                  <a:gd name="connsiteX1794" fmla="*/ 1167423 w 1935893"/>
                  <a:gd name="connsiteY1794" fmla="*/ 1174480 h 1590788"/>
                  <a:gd name="connsiteX1795" fmla="*/ 1283920 w 1935893"/>
                  <a:gd name="connsiteY1795" fmla="*/ 1203889 h 1590788"/>
                  <a:gd name="connsiteX1796" fmla="*/ 1285801 w 1935893"/>
                  <a:gd name="connsiteY1796" fmla="*/ 1270003 h 1590788"/>
                  <a:gd name="connsiteX1797" fmla="*/ 1293040 w 1935893"/>
                  <a:gd name="connsiteY1797" fmla="*/ 1292801 h 1590788"/>
                  <a:gd name="connsiteX1798" fmla="*/ 1304439 w 1935893"/>
                  <a:gd name="connsiteY1798" fmla="*/ 1298843 h 1590788"/>
                  <a:gd name="connsiteX1799" fmla="*/ 1324273 w 1935893"/>
                  <a:gd name="connsiteY1799" fmla="*/ 1320786 h 1590788"/>
                  <a:gd name="connsiteX1800" fmla="*/ 1348781 w 1935893"/>
                  <a:gd name="connsiteY1800" fmla="*/ 1335547 h 1590788"/>
                  <a:gd name="connsiteX1801" fmla="*/ 1365218 w 1935893"/>
                  <a:gd name="connsiteY1801" fmla="*/ 1323476 h 1590788"/>
                  <a:gd name="connsiteX1802" fmla="*/ 1367874 w 1935893"/>
                  <a:gd name="connsiteY1802" fmla="*/ 1324148 h 1590788"/>
                  <a:gd name="connsiteX1803" fmla="*/ 1365708 w 1935893"/>
                  <a:gd name="connsiteY1803" fmla="*/ 1304200 h 1590788"/>
                  <a:gd name="connsiteX1804" fmla="*/ 1373231 w 1935893"/>
                  <a:gd name="connsiteY1804" fmla="*/ 1293770 h 1590788"/>
                  <a:gd name="connsiteX1805" fmla="*/ 1364226 w 1935893"/>
                  <a:gd name="connsiteY1805" fmla="*/ 1279464 h 1590788"/>
                  <a:gd name="connsiteX1806" fmla="*/ 1364226 w 1935893"/>
                  <a:gd name="connsiteY1806" fmla="*/ 1267439 h 1590788"/>
                  <a:gd name="connsiteX1807" fmla="*/ 1346330 w 1935893"/>
                  <a:gd name="connsiteY1807" fmla="*/ 1221843 h 1590788"/>
                  <a:gd name="connsiteX1808" fmla="*/ 1406801 w 1935893"/>
                  <a:gd name="connsiteY1808" fmla="*/ 1178185 h 1590788"/>
                  <a:gd name="connsiteX1809" fmla="*/ 1417744 w 1935893"/>
                  <a:gd name="connsiteY1809" fmla="*/ 1167413 h 1590788"/>
                  <a:gd name="connsiteX1810" fmla="*/ 1420195 w 1935893"/>
                  <a:gd name="connsiteY1810" fmla="*/ 1155159 h 1590788"/>
                  <a:gd name="connsiteX1811" fmla="*/ 1410050 w 1935893"/>
                  <a:gd name="connsiteY1811" fmla="*/ 1116744 h 1590788"/>
                  <a:gd name="connsiteX1812" fmla="*/ 1403153 w 1935893"/>
                  <a:gd name="connsiteY1812" fmla="*/ 1102838 h 1590788"/>
                  <a:gd name="connsiteX1813" fmla="*/ 1400418 w 1935893"/>
                  <a:gd name="connsiteY1813" fmla="*/ 1077475 h 1590788"/>
                  <a:gd name="connsiteX1814" fmla="*/ 1387594 w 1935893"/>
                  <a:gd name="connsiteY1814" fmla="*/ 1067216 h 1590788"/>
                  <a:gd name="connsiteX1815" fmla="*/ 1384288 w 1935893"/>
                  <a:gd name="connsiteY1815" fmla="*/ 1052910 h 1590788"/>
                  <a:gd name="connsiteX1816" fmla="*/ 1394718 w 1935893"/>
                  <a:gd name="connsiteY1816" fmla="*/ 1048693 h 1590788"/>
                  <a:gd name="connsiteX1817" fmla="*/ 1392951 w 1935893"/>
                  <a:gd name="connsiteY1817" fmla="*/ 1022703 h 1590788"/>
                  <a:gd name="connsiteX1818" fmla="*/ 1380184 w 1935893"/>
                  <a:gd name="connsiteY1818" fmla="*/ 996998 h 1590788"/>
                  <a:gd name="connsiteX1819" fmla="*/ 1393920 w 1935893"/>
                  <a:gd name="connsiteY1819" fmla="*/ 995118 h 1590788"/>
                  <a:gd name="connsiteX1820" fmla="*/ 1399221 w 1935893"/>
                  <a:gd name="connsiteY1820" fmla="*/ 983719 h 1590788"/>
                  <a:gd name="connsiteX1821" fmla="*/ 1383718 w 1935893"/>
                  <a:gd name="connsiteY1821" fmla="*/ 974087 h 1590788"/>
                  <a:gd name="connsiteX1822" fmla="*/ 1386568 w 1935893"/>
                  <a:gd name="connsiteY1822" fmla="*/ 946900 h 1590788"/>
                  <a:gd name="connsiteX1823" fmla="*/ 1454563 w 1935893"/>
                  <a:gd name="connsiteY1823" fmla="*/ 957045 h 1590788"/>
                  <a:gd name="connsiteX1824" fmla="*/ 1470236 w 1935893"/>
                  <a:gd name="connsiteY1824" fmla="*/ 962745 h 1590788"/>
                  <a:gd name="connsiteX1825" fmla="*/ 1499133 w 1935893"/>
                  <a:gd name="connsiteY1825" fmla="*/ 991242 h 1590788"/>
                  <a:gd name="connsiteX1826" fmla="*/ 1564335 w 1935893"/>
                  <a:gd name="connsiteY1826" fmla="*/ 1003952 h 1590788"/>
                  <a:gd name="connsiteX1827" fmla="*/ 1555614 w 1935893"/>
                  <a:gd name="connsiteY1827" fmla="*/ 1024983 h 1590788"/>
                  <a:gd name="connsiteX1828" fmla="*/ 1561314 w 1935893"/>
                  <a:gd name="connsiteY1828" fmla="*/ 1052739 h 1590788"/>
                  <a:gd name="connsiteX1829" fmla="*/ 1584739 w 1935893"/>
                  <a:gd name="connsiteY1829" fmla="*/ 1077988 h 1590788"/>
                  <a:gd name="connsiteX1830" fmla="*/ 1596651 w 1935893"/>
                  <a:gd name="connsiteY1830" fmla="*/ 1083402 h 1590788"/>
                  <a:gd name="connsiteX1831" fmla="*/ 1603604 w 1935893"/>
                  <a:gd name="connsiteY1831" fmla="*/ 1098278 h 1590788"/>
                  <a:gd name="connsiteX1832" fmla="*/ 1616713 w 1935893"/>
                  <a:gd name="connsiteY1832" fmla="*/ 1101641 h 1590788"/>
                  <a:gd name="connsiteX1833" fmla="*/ 1633811 w 1935893"/>
                  <a:gd name="connsiteY1833" fmla="*/ 1084200 h 1590788"/>
                  <a:gd name="connsiteX1834" fmla="*/ 1643614 w 1935893"/>
                  <a:gd name="connsiteY1834" fmla="*/ 1081066 h 1590788"/>
                  <a:gd name="connsiteX1835" fmla="*/ 1652334 w 1935893"/>
                  <a:gd name="connsiteY1835" fmla="*/ 1079869 h 1590788"/>
                  <a:gd name="connsiteX1836" fmla="*/ 1667666 w 1935893"/>
                  <a:gd name="connsiteY1836" fmla="*/ 1030283 h 1590788"/>
                  <a:gd name="connsiteX1837" fmla="*/ 1671200 w 1935893"/>
                  <a:gd name="connsiteY1837" fmla="*/ 1024584 h 1590788"/>
                  <a:gd name="connsiteX1838" fmla="*/ 1680946 w 1935893"/>
                  <a:gd name="connsiteY1838" fmla="*/ 1030910 h 1590788"/>
                  <a:gd name="connsiteX1839" fmla="*/ 1678438 w 1935893"/>
                  <a:gd name="connsiteY1839" fmla="*/ 1044361 h 1590788"/>
                  <a:gd name="connsiteX1840" fmla="*/ 1681345 w 1935893"/>
                  <a:gd name="connsiteY1840" fmla="*/ 1057014 h 1590788"/>
                  <a:gd name="connsiteX1841" fmla="*/ 1687044 w 1935893"/>
                  <a:gd name="connsiteY1841" fmla="*/ 1059693 h 1590788"/>
                  <a:gd name="connsiteX1842" fmla="*/ 1691889 w 1935893"/>
                  <a:gd name="connsiteY1842" fmla="*/ 1076221 h 1590788"/>
                  <a:gd name="connsiteX1843" fmla="*/ 1742215 w 1935893"/>
                  <a:gd name="connsiteY1843" fmla="*/ 1135496 h 1590788"/>
                  <a:gd name="connsiteX1844" fmla="*/ 1742785 w 1935893"/>
                  <a:gd name="connsiteY1844" fmla="*/ 1145869 h 1590788"/>
                  <a:gd name="connsiteX1845" fmla="*/ 1715485 w 1935893"/>
                  <a:gd name="connsiteY1845" fmla="*/ 1150200 h 1590788"/>
                  <a:gd name="connsiteX1846" fmla="*/ 1728137 w 1935893"/>
                  <a:gd name="connsiteY1846" fmla="*/ 1159394 h 1590788"/>
                  <a:gd name="connsiteX1847" fmla="*/ 1730018 w 1935893"/>
                  <a:gd name="connsiteY1847" fmla="*/ 1158920 h 1590788"/>
                  <a:gd name="connsiteX1848" fmla="*/ 1730816 w 1935893"/>
                  <a:gd name="connsiteY1848" fmla="*/ 1167128 h 1590788"/>
                  <a:gd name="connsiteX1849" fmla="*/ 1738682 w 1935893"/>
                  <a:gd name="connsiteY1849" fmla="*/ 1167128 h 1590788"/>
                  <a:gd name="connsiteX1850" fmla="*/ 1742785 w 1935893"/>
                  <a:gd name="connsiteY1850" fmla="*/ 1185651 h 1590788"/>
                  <a:gd name="connsiteX1851" fmla="*/ 1756521 w 1935893"/>
                  <a:gd name="connsiteY1851" fmla="*/ 1198646 h 1590788"/>
                  <a:gd name="connsiteX1852" fmla="*/ 1824914 w 1935893"/>
                  <a:gd name="connsiteY1852" fmla="*/ 1213521 h 1590788"/>
                  <a:gd name="connsiteX1853" fmla="*/ 1826852 w 1935893"/>
                  <a:gd name="connsiteY1853" fmla="*/ 1221501 h 1590788"/>
                  <a:gd name="connsiteX1854" fmla="*/ 1821438 w 1935893"/>
                  <a:gd name="connsiteY1854" fmla="*/ 1227998 h 1590788"/>
                  <a:gd name="connsiteX1855" fmla="*/ 1791687 w 1935893"/>
                  <a:gd name="connsiteY1855" fmla="*/ 1238371 h 1590788"/>
                  <a:gd name="connsiteX1856" fmla="*/ 1777495 w 1935893"/>
                  <a:gd name="connsiteY1856" fmla="*/ 1262708 h 1590788"/>
                  <a:gd name="connsiteX1857" fmla="*/ 1803769 w 1935893"/>
                  <a:gd name="connsiteY1857" fmla="*/ 1251309 h 1590788"/>
                  <a:gd name="connsiteX1858" fmla="*/ 1836769 w 1935893"/>
                  <a:gd name="connsiteY1858" fmla="*/ 1238143 h 1590788"/>
                  <a:gd name="connsiteX1859" fmla="*/ 1835231 w 1935893"/>
                  <a:gd name="connsiteY1859" fmla="*/ 1259003 h 1590788"/>
                  <a:gd name="connsiteX1860" fmla="*/ 1853355 w 1935893"/>
                  <a:gd name="connsiteY1860" fmla="*/ 1253931 h 1590788"/>
                  <a:gd name="connsiteX1861" fmla="*/ 1853982 w 1935893"/>
                  <a:gd name="connsiteY1861" fmla="*/ 1263962 h 1590788"/>
                  <a:gd name="connsiteX1862" fmla="*/ 1870590 w 1935893"/>
                  <a:gd name="connsiteY1862" fmla="*/ 1281533 h 1590788"/>
                  <a:gd name="connsiteX1863" fmla="*/ 1870567 w 1935893"/>
                  <a:gd name="connsiteY1863" fmla="*/ 1282086 h 1590788"/>
                  <a:gd name="connsiteX1864" fmla="*/ 1857686 w 1935893"/>
                  <a:gd name="connsiteY1864" fmla="*/ 1282599 h 1590788"/>
                  <a:gd name="connsiteX1865" fmla="*/ 1869199 w 1935893"/>
                  <a:gd name="connsiteY1865" fmla="*/ 1294796 h 1590788"/>
                  <a:gd name="connsiteX1866" fmla="*/ 521673 w 1935893"/>
                  <a:gd name="connsiteY1866" fmla="*/ 794724 h 1590788"/>
                  <a:gd name="connsiteX1867" fmla="*/ 519792 w 1935893"/>
                  <a:gd name="connsiteY1867" fmla="*/ 791077 h 1590788"/>
                  <a:gd name="connsiteX1868" fmla="*/ 515916 w 1935893"/>
                  <a:gd name="connsiteY1868" fmla="*/ 790336 h 1590788"/>
                  <a:gd name="connsiteX1869" fmla="*/ 502409 w 1935893"/>
                  <a:gd name="connsiteY1869" fmla="*/ 790336 h 1590788"/>
                  <a:gd name="connsiteX1870" fmla="*/ 490440 w 1935893"/>
                  <a:gd name="connsiteY1870" fmla="*/ 804527 h 1590788"/>
                  <a:gd name="connsiteX1871" fmla="*/ 471005 w 1935893"/>
                  <a:gd name="connsiteY1871" fmla="*/ 805268 h 1590788"/>
                  <a:gd name="connsiteX1872" fmla="*/ 467585 w 1935893"/>
                  <a:gd name="connsiteY1872" fmla="*/ 803900 h 1590788"/>
                  <a:gd name="connsiteX1873" fmla="*/ 466274 w 1935893"/>
                  <a:gd name="connsiteY1873" fmla="*/ 800481 h 1590788"/>
                  <a:gd name="connsiteX1874" fmla="*/ 466274 w 1935893"/>
                  <a:gd name="connsiteY1874" fmla="*/ 792957 h 1590788"/>
                  <a:gd name="connsiteX1875" fmla="*/ 471517 w 1935893"/>
                  <a:gd name="connsiteY1875" fmla="*/ 788170 h 1590788"/>
                  <a:gd name="connsiteX1876" fmla="*/ 476818 w 1935893"/>
                  <a:gd name="connsiteY1876" fmla="*/ 787828 h 1590788"/>
                  <a:gd name="connsiteX1877" fmla="*/ 477844 w 1935893"/>
                  <a:gd name="connsiteY1877" fmla="*/ 785548 h 1590788"/>
                  <a:gd name="connsiteX1878" fmla="*/ 480523 w 1935893"/>
                  <a:gd name="connsiteY1878" fmla="*/ 773351 h 1590788"/>
                  <a:gd name="connsiteX1879" fmla="*/ 453279 w 1935893"/>
                  <a:gd name="connsiteY1879" fmla="*/ 775289 h 1590788"/>
                  <a:gd name="connsiteX1880" fmla="*/ 436181 w 1935893"/>
                  <a:gd name="connsiteY1880" fmla="*/ 782071 h 1590788"/>
                  <a:gd name="connsiteX1881" fmla="*/ 432647 w 1935893"/>
                  <a:gd name="connsiteY1881" fmla="*/ 786574 h 1590788"/>
                  <a:gd name="connsiteX1882" fmla="*/ 419652 w 1935893"/>
                  <a:gd name="connsiteY1882" fmla="*/ 788398 h 1590788"/>
                  <a:gd name="connsiteX1883" fmla="*/ 412300 w 1935893"/>
                  <a:gd name="connsiteY1883" fmla="*/ 796662 h 1590788"/>
                  <a:gd name="connsiteX1884" fmla="*/ 399875 w 1935893"/>
                  <a:gd name="connsiteY1884" fmla="*/ 799683 h 1590788"/>
                  <a:gd name="connsiteX1885" fmla="*/ 361233 w 1935893"/>
                  <a:gd name="connsiteY1885" fmla="*/ 808175 h 1590788"/>
                  <a:gd name="connsiteX1886" fmla="*/ 362754 w 1935893"/>
                  <a:gd name="connsiteY1886" fmla="*/ 813772 h 1590788"/>
                  <a:gd name="connsiteX1887" fmla="*/ 362943 w 1935893"/>
                  <a:gd name="connsiteY1887" fmla="*/ 813874 h 1590788"/>
                  <a:gd name="connsiteX1888" fmla="*/ 369440 w 1935893"/>
                  <a:gd name="connsiteY1888" fmla="*/ 814843 h 1590788"/>
                  <a:gd name="connsiteX1889" fmla="*/ 394347 w 1935893"/>
                  <a:gd name="connsiteY1889" fmla="*/ 813874 h 1590788"/>
                  <a:gd name="connsiteX1890" fmla="*/ 396455 w 1935893"/>
                  <a:gd name="connsiteY1890" fmla="*/ 813247 h 1590788"/>
                  <a:gd name="connsiteX1891" fmla="*/ 397082 w 1935893"/>
                  <a:gd name="connsiteY1891" fmla="*/ 809144 h 1590788"/>
                  <a:gd name="connsiteX1892" fmla="*/ 401756 w 1935893"/>
                  <a:gd name="connsiteY1892" fmla="*/ 805040 h 1590788"/>
                  <a:gd name="connsiteX1893" fmla="*/ 430253 w 1935893"/>
                  <a:gd name="connsiteY1893" fmla="*/ 806465 h 1590788"/>
                  <a:gd name="connsiteX1894" fmla="*/ 434585 w 1935893"/>
                  <a:gd name="connsiteY1894" fmla="*/ 810797 h 1590788"/>
                  <a:gd name="connsiteX1895" fmla="*/ 431678 w 1935893"/>
                  <a:gd name="connsiteY1895" fmla="*/ 815698 h 1590788"/>
                  <a:gd name="connsiteX1896" fmla="*/ 418683 w 1935893"/>
                  <a:gd name="connsiteY1896" fmla="*/ 816382 h 1590788"/>
                  <a:gd name="connsiteX1897" fmla="*/ 413497 w 1935893"/>
                  <a:gd name="connsiteY1897" fmla="*/ 815527 h 1590788"/>
                  <a:gd name="connsiteX1898" fmla="*/ 407797 w 1935893"/>
                  <a:gd name="connsiteY1898" fmla="*/ 822310 h 1590788"/>
                  <a:gd name="connsiteX1899" fmla="*/ 406144 w 1935893"/>
                  <a:gd name="connsiteY1899" fmla="*/ 831543 h 1590788"/>
                  <a:gd name="connsiteX1900" fmla="*/ 392067 w 1935893"/>
                  <a:gd name="connsiteY1900" fmla="*/ 837869 h 1590788"/>
                  <a:gd name="connsiteX1901" fmla="*/ 392409 w 1935893"/>
                  <a:gd name="connsiteY1901" fmla="*/ 849952 h 1590788"/>
                  <a:gd name="connsiteX1902" fmla="*/ 395715 w 1935893"/>
                  <a:gd name="connsiteY1902" fmla="*/ 853486 h 1590788"/>
                  <a:gd name="connsiteX1903" fmla="*/ 395771 w 1935893"/>
                  <a:gd name="connsiteY1903" fmla="*/ 853486 h 1590788"/>
                  <a:gd name="connsiteX1904" fmla="*/ 418569 w 1935893"/>
                  <a:gd name="connsiteY1904" fmla="*/ 849610 h 1590788"/>
                  <a:gd name="connsiteX1905" fmla="*/ 437606 w 1935893"/>
                  <a:gd name="connsiteY1905" fmla="*/ 836102 h 1590788"/>
                  <a:gd name="connsiteX1906" fmla="*/ 443818 w 1935893"/>
                  <a:gd name="connsiteY1906" fmla="*/ 832170 h 1590788"/>
                  <a:gd name="connsiteX1907" fmla="*/ 450258 w 1935893"/>
                  <a:gd name="connsiteY1907" fmla="*/ 834506 h 1590788"/>
                  <a:gd name="connsiteX1908" fmla="*/ 450657 w 1935893"/>
                  <a:gd name="connsiteY1908" fmla="*/ 837869 h 1590788"/>
                  <a:gd name="connsiteX1909" fmla="*/ 445471 w 1935893"/>
                  <a:gd name="connsiteY1909" fmla="*/ 848014 h 1590788"/>
                  <a:gd name="connsiteX1910" fmla="*/ 436922 w 1935893"/>
                  <a:gd name="connsiteY1910" fmla="*/ 854113 h 1590788"/>
                  <a:gd name="connsiteX1911" fmla="*/ 434870 w 1935893"/>
                  <a:gd name="connsiteY1911" fmla="*/ 863517 h 1590788"/>
                  <a:gd name="connsiteX1912" fmla="*/ 458352 w 1935893"/>
                  <a:gd name="connsiteY1912" fmla="*/ 847216 h 1590788"/>
                  <a:gd name="connsiteX1913" fmla="*/ 467300 w 1935893"/>
                  <a:gd name="connsiteY1913" fmla="*/ 845734 h 1590788"/>
                  <a:gd name="connsiteX1914" fmla="*/ 476932 w 1935893"/>
                  <a:gd name="connsiteY1914" fmla="*/ 834336 h 1590788"/>
                  <a:gd name="connsiteX1915" fmla="*/ 477673 w 1935893"/>
                  <a:gd name="connsiteY1915" fmla="*/ 828351 h 1590788"/>
                  <a:gd name="connsiteX1916" fmla="*/ 490212 w 1935893"/>
                  <a:gd name="connsiteY1916" fmla="*/ 823051 h 1590788"/>
                  <a:gd name="connsiteX1917" fmla="*/ 504574 w 1935893"/>
                  <a:gd name="connsiteY1917" fmla="*/ 821683 h 1590788"/>
                  <a:gd name="connsiteX1918" fmla="*/ 512839 w 1935893"/>
                  <a:gd name="connsiteY1918" fmla="*/ 810968 h 1590788"/>
                  <a:gd name="connsiteX1919" fmla="*/ 512839 w 1935893"/>
                  <a:gd name="connsiteY1919" fmla="*/ 806009 h 1590788"/>
                  <a:gd name="connsiteX1920" fmla="*/ 517227 w 1935893"/>
                  <a:gd name="connsiteY1920" fmla="*/ 802874 h 1590788"/>
                  <a:gd name="connsiteX1921" fmla="*/ 521673 w 1935893"/>
                  <a:gd name="connsiteY1921" fmla="*/ 794724 h 1590788"/>
                  <a:gd name="connsiteX1922" fmla="*/ 687755 w 1935893"/>
                  <a:gd name="connsiteY1922" fmla="*/ 934988 h 1590788"/>
                  <a:gd name="connsiteX1923" fmla="*/ 683196 w 1935893"/>
                  <a:gd name="connsiteY1923" fmla="*/ 932480 h 1590788"/>
                  <a:gd name="connsiteX1924" fmla="*/ 665300 w 1935893"/>
                  <a:gd name="connsiteY1924" fmla="*/ 938522 h 1590788"/>
                  <a:gd name="connsiteX1925" fmla="*/ 662963 w 1935893"/>
                  <a:gd name="connsiteY1925" fmla="*/ 940517 h 1590788"/>
                  <a:gd name="connsiteX1926" fmla="*/ 661823 w 1935893"/>
                  <a:gd name="connsiteY1926" fmla="*/ 942682 h 1590788"/>
                  <a:gd name="connsiteX1927" fmla="*/ 646092 w 1935893"/>
                  <a:gd name="connsiteY1927" fmla="*/ 947470 h 1590788"/>
                  <a:gd name="connsiteX1928" fmla="*/ 633781 w 1935893"/>
                  <a:gd name="connsiteY1928" fmla="*/ 960180 h 1590788"/>
                  <a:gd name="connsiteX1929" fmla="*/ 628082 w 1935893"/>
                  <a:gd name="connsiteY1929" fmla="*/ 961035 h 1590788"/>
                  <a:gd name="connsiteX1930" fmla="*/ 622896 w 1935893"/>
                  <a:gd name="connsiteY1930" fmla="*/ 964625 h 1590788"/>
                  <a:gd name="connsiteX1931" fmla="*/ 607564 w 1935893"/>
                  <a:gd name="connsiteY1931" fmla="*/ 964625 h 1590788"/>
                  <a:gd name="connsiteX1932" fmla="*/ 599870 w 1935893"/>
                  <a:gd name="connsiteY1932" fmla="*/ 951004 h 1590788"/>
                  <a:gd name="connsiteX1933" fmla="*/ 586533 w 1935893"/>
                  <a:gd name="connsiteY1933" fmla="*/ 941429 h 1590788"/>
                  <a:gd name="connsiteX1934" fmla="*/ 582885 w 1935893"/>
                  <a:gd name="connsiteY1934" fmla="*/ 936527 h 1590788"/>
                  <a:gd name="connsiteX1935" fmla="*/ 577186 w 1935893"/>
                  <a:gd name="connsiteY1935" fmla="*/ 936527 h 1590788"/>
                  <a:gd name="connsiteX1936" fmla="*/ 564761 w 1935893"/>
                  <a:gd name="connsiteY1936" fmla="*/ 938864 h 1590788"/>
                  <a:gd name="connsiteX1937" fmla="*/ 561911 w 1935893"/>
                  <a:gd name="connsiteY1937" fmla="*/ 939833 h 1590788"/>
                  <a:gd name="connsiteX1938" fmla="*/ 562481 w 1935893"/>
                  <a:gd name="connsiteY1938" fmla="*/ 948667 h 1590788"/>
                  <a:gd name="connsiteX1939" fmla="*/ 572398 w 1935893"/>
                  <a:gd name="connsiteY1939" fmla="*/ 951004 h 1590788"/>
                  <a:gd name="connsiteX1940" fmla="*/ 573310 w 1935893"/>
                  <a:gd name="connsiteY1940" fmla="*/ 960807 h 1590788"/>
                  <a:gd name="connsiteX1941" fmla="*/ 576559 w 1935893"/>
                  <a:gd name="connsiteY1941" fmla="*/ 970895 h 1590788"/>
                  <a:gd name="connsiteX1942" fmla="*/ 569377 w 1935893"/>
                  <a:gd name="connsiteY1942" fmla="*/ 976594 h 1590788"/>
                  <a:gd name="connsiteX1943" fmla="*/ 556041 w 1935893"/>
                  <a:gd name="connsiteY1943" fmla="*/ 979444 h 1590788"/>
                  <a:gd name="connsiteX1944" fmla="*/ 551880 w 1935893"/>
                  <a:gd name="connsiteY1944" fmla="*/ 994491 h 1590788"/>
                  <a:gd name="connsiteX1945" fmla="*/ 544129 w 1935893"/>
                  <a:gd name="connsiteY1945" fmla="*/ 995916 h 1590788"/>
                  <a:gd name="connsiteX1946" fmla="*/ 529082 w 1935893"/>
                  <a:gd name="connsiteY1946" fmla="*/ 995916 h 1590788"/>
                  <a:gd name="connsiteX1947" fmla="*/ 537118 w 1935893"/>
                  <a:gd name="connsiteY1947" fmla="*/ 1005035 h 1590788"/>
                  <a:gd name="connsiteX1948" fmla="*/ 549657 w 1935893"/>
                  <a:gd name="connsiteY1948" fmla="*/ 1006916 h 1590788"/>
                  <a:gd name="connsiteX1949" fmla="*/ 587217 w 1935893"/>
                  <a:gd name="connsiteY1949" fmla="*/ 1008112 h 1590788"/>
                  <a:gd name="connsiteX1950" fmla="*/ 601465 w 1935893"/>
                  <a:gd name="connsiteY1950" fmla="*/ 1003838 h 1590788"/>
                  <a:gd name="connsiteX1951" fmla="*/ 604999 w 1935893"/>
                  <a:gd name="connsiteY1951" fmla="*/ 995460 h 1590788"/>
                  <a:gd name="connsiteX1952" fmla="*/ 624491 w 1935893"/>
                  <a:gd name="connsiteY1952" fmla="*/ 990216 h 1590788"/>
                  <a:gd name="connsiteX1953" fmla="*/ 635149 w 1935893"/>
                  <a:gd name="connsiteY1953" fmla="*/ 978817 h 1590788"/>
                  <a:gd name="connsiteX1954" fmla="*/ 639025 w 1935893"/>
                  <a:gd name="connsiteY1954" fmla="*/ 977962 h 1590788"/>
                  <a:gd name="connsiteX1955" fmla="*/ 641362 w 1935893"/>
                  <a:gd name="connsiteY1955" fmla="*/ 972605 h 1590788"/>
                  <a:gd name="connsiteX1956" fmla="*/ 649113 w 1935893"/>
                  <a:gd name="connsiteY1956" fmla="*/ 966563 h 1590788"/>
                  <a:gd name="connsiteX1957" fmla="*/ 658004 w 1935893"/>
                  <a:gd name="connsiteY1957" fmla="*/ 964967 h 1590788"/>
                  <a:gd name="connsiteX1958" fmla="*/ 659714 w 1935893"/>
                  <a:gd name="connsiteY1958" fmla="*/ 961206 h 1590788"/>
                  <a:gd name="connsiteX1959" fmla="*/ 670657 w 1935893"/>
                  <a:gd name="connsiteY1959" fmla="*/ 957387 h 1590788"/>
                  <a:gd name="connsiteX1960" fmla="*/ 672310 w 1935893"/>
                  <a:gd name="connsiteY1960" fmla="*/ 951061 h 1590788"/>
                  <a:gd name="connsiteX1961" fmla="*/ 677439 w 1935893"/>
                  <a:gd name="connsiteY1961" fmla="*/ 949237 h 1590788"/>
                  <a:gd name="connsiteX1962" fmla="*/ 687015 w 1935893"/>
                  <a:gd name="connsiteY1962" fmla="*/ 944848 h 1590788"/>
                  <a:gd name="connsiteX1963" fmla="*/ 687755 w 1935893"/>
                  <a:gd name="connsiteY1963" fmla="*/ 934988 h 1590788"/>
                  <a:gd name="connsiteX1964" fmla="*/ 986180 w 1935893"/>
                  <a:gd name="connsiteY1964" fmla="*/ 1340563 h 1590788"/>
                  <a:gd name="connsiteX1965" fmla="*/ 978087 w 1935893"/>
                  <a:gd name="connsiteY1965" fmla="*/ 1323065 h 1590788"/>
                  <a:gd name="connsiteX1966" fmla="*/ 974553 w 1935893"/>
                  <a:gd name="connsiteY1966" fmla="*/ 1319817 h 1590788"/>
                  <a:gd name="connsiteX1967" fmla="*/ 975351 w 1935893"/>
                  <a:gd name="connsiteY1967" fmla="*/ 1301863 h 1590788"/>
                  <a:gd name="connsiteX1968" fmla="*/ 967372 w 1935893"/>
                  <a:gd name="connsiteY1968" fmla="*/ 1298672 h 1590788"/>
                  <a:gd name="connsiteX1969" fmla="*/ 964807 w 1935893"/>
                  <a:gd name="connsiteY1969" fmla="*/ 1289780 h 1590788"/>
                  <a:gd name="connsiteX1970" fmla="*/ 962470 w 1935893"/>
                  <a:gd name="connsiteY1970" fmla="*/ 1271143 h 1590788"/>
                  <a:gd name="connsiteX1971" fmla="*/ 960817 w 1935893"/>
                  <a:gd name="connsiteY1971" fmla="*/ 1265444 h 1590788"/>
                  <a:gd name="connsiteX1972" fmla="*/ 950501 w 1935893"/>
                  <a:gd name="connsiteY1972" fmla="*/ 1256723 h 1590788"/>
                  <a:gd name="connsiteX1973" fmla="*/ 950102 w 1935893"/>
                  <a:gd name="connsiteY1973" fmla="*/ 1250625 h 1590788"/>
                  <a:gd name="connsiteX1974" fmla="*/ 937962 w 1935893"/>
                  <a:gd name="connsiteY1974" fmla="*/ 1241335 h 1590788"/>
                  <a:gd name="connsiteX1975" fmla="*/ 924170 w 1935893"/>
                  <a:gd name="connsiteY1975" fmla="*/ 1249941 h 1590788"/>
                  <a:gd name="connsiteX1976" fmla="*/ 921263 w 1935893"/>
                  <a:gd name="connsiteY1976" fmla="*/ 1256040 h 1590788"/>
                  <a:gd name="connsiteX1977" fmla="*/ 926677 w 1935893"/>
                  <a:gd name="connsiteY1977" fmla="*/ 1279179 h 1590788"/>
                  <a:gd name="connsiteX1978" fmla="*/ 927076 w 1935893"/>
                  <a:gd name="connsiteY1978" fmla="*/ 1289039 h 1590788"/>
                  <a:gd name="connsiteX1979" fmla="*/ 929926 w 1935893"/>
                  <a:gd name="connsiteY1979" fmla="*/ 1292459 h 1590788"/>
                  <a:gd name="connsiteX1980" fmla="*/ 949646 w 1935893"/>
                  <a:gd name="connsiteY1980" fmla="*/ 1308703 h 1590788"/>
                  <a:gd name="connsiteX1981" fmla="*/ 954605 w 1935893"/>
                  <a:gd name="connsiteY1981" fmla="*/ 1312806 h 1590788"/>
                  <a:gd name="connsiteX1982" fmla="*/ 962926 w 1935893"/>
                  <a:gd name="connsiteY1982" fmla="*/ 1344438 h 1590788"/>
                  <a:gd name="connsiteX1983" fmla="*/ 968227 w 1935893"/>
                  <a:gd name="connsiteY1983" fmla="*/ 1352703 h 1590788"/>
                  <a:gd name="connsiteX1984" fmla="*/ 970449 w 1935893"/>
                  <a:gd name="connsiteY1984" fmla="*/ 1358402 h 1590788"/>
                  <a:gd name="connsiteX1985" fmla="*/ 975693 w 1935893"/>
                  <a:gd name="connsiteY1985" fmla="*/ 1359656 h 1590788"/>
                  <a:gd name="connsiteX1986" fmla="*/ 977289 w 1935893"/>
                  <a:gd name="connsiteY1986" fmla="*/ 1349910 h 1590788"/>
                  <a:gd name="connsiteX1987" fmla="*/ 983900 w 1935893"/>
                  <a:gd name="connsiteY1987" fmla="*/ 1348941 h 1590788"/>
                  <a:gd name="connsiteX1988" fmla="*/ 986180 w 1935893"/>
                  <a:gd name="connsiteY1988" fmla="*/ 1340563 h 159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Lst>
                <a:rect l="l" t="t" r="r" b="b"/>
                <a:pathLst>
                  <a:path w="1935893" h="1590788">
                    <a:moveTo>
                      <a:pt x="1686075" y="1376184"/>
                    </a:moveTo>
                    <a:cubicBezTo>
                      <a:pt x="1686850" y="1374879"/>
                      <a:pt x="1688207" y="1374024"/>
                      <a:pt x="1689723" y="1373905"/>
                    </a:cubicBezTo>
                    <a:cubicBezTo>
                      <a:pt x="1695195" y="1373414"/>
                      <a:pt x="1700700" y="1374378"/>
                      <a:pt x="1705682" y="1376697"/>
                    </a:cubicBezTo>
                    <a:lnTo>
                      <a:pt x="1721982" y="1382397"/>
                    </a:lnTo>
                    <a:cubicBezTo>
                      <a:pt x="1723407" y="1382779"/>
                      <a:pt x="1724718" y="1383503"/>
                      <a:pt x="1725801" y="1384506"/>
                    </a:cubicBezTo>
                    <a:cubicBezTo>
                      <a:pt x="1727226" y="1386552"/>
                      <a:pt x="1727607" y="1389151"/>
                      <a:pt x="1726827" y="1391516"/>
                    </a:cubicBezTo>
                    <a:cubicBezTo>
                      <a:pt x="1719127" y="1394719"/>
                      <a:pt x="1710401" y="1394343"/>
                      <a:pt x="1703003" y="1390490"/>
                    </a:cubicBezTo>
                    <a:cubicBezTo>
                      <a:pt x="1698700" y="1388558"/>
                      <a:pt x="1695582" y="1384677"/>
                      <a:pt x="1694625" y="1380060"/>
                    </a:cubicBezTo>
                    <a:cubicBezTo>
                      <a:pt x="1692806" y="1380738"/>
                      <a:pt x="1690834" y="1380915"/>
                      <a:pt x="1688925" y="1380573"/>
                    </a:cubicBezTo>
                    <a:cubicBezTo>
                      <a:pt x="1686930" y="1380146"/>
                      <a:pt x="1685654" y="1378185"/>
                      <a:pt x="1686075" y="1376184"/>
                    </a:cubicBezTo>
                    <a:close/>
                    <a:moveTo>
                      <a:pt x="1805422" y="1404169"/>
                    </a:moveTo>
                    <a:cubicBezTo>
                      <a:pt x="1804624" y="1408785"/>
                      <a:pt x="1806220" y="1413516"/>
                      <a:pt x="1805821" y="1418190"/>
                    </a:cubicBezTo>
                    <a:cubicBezTo>
                      <a:pt x="1805422" y="1422863"/>
                      <a:pt x="1801262" y="1427879"/>
                      <a:pt x="1796873" y="1426283"/>
                    </a:cubicBezTo>
                    <a:cubicBezTo>
                      <a:pt x="1797500" y="1432205"/>
                      <a:pt x="1796286" y="1438178"/>
                      <a:pt x="1793396" y="1443381"/>
                    </a:cubicBezTo>
                    <a:cubicBezTo>
                      <a:pt x="1799096" y="1445376"/>
                      <a:pt x="1803655" y="1438366"/>
                      <a:pt x="1809298" y="1436314"/>
                    </a:cubicBezTo>
                    <a:cubicBezTo>
                      <a:pt x="1815966" y="1433863"/>
                      <a:pt x="1824516" y="1438423"/>
                      <a:pt x="1830044" y="1433920"/>
                    </a:cubicBezTo>
                    <a:cubicBezTo>
                      <a:pt x="1831457" y="1432478"/>
                      <a:pt x="1832734" y="1430916"/>
                      <a:pt x="1833863" y="1429246"/>
                    </a:cubicBezTo>
                    <a:cubicBezTo>
                      <a:pt x="1840474" y="1421324"/>
                      <a:pt x="1852671" y="1422350"/>
                      <a:pt x="1862816" y="1424003"/>
                    </a:cubicBezTo>
                    <a:cubicBezTo>
                      <a:pt x="1864760" y="1424163"/>
                      <a:pt x="1866618" y="1424875"/>
                      <a:pt x="1868174" y="1426055"/>
                    </a:cubicBezTo>
                    <a:cubicBezTo>
                      <a:pt x="1869541" y="1427366"/>
                      <a:pt x="1870054" y="1429303"/>
                      <a:pt x="1871308" y="1430671"/>
                    </a:cubicBezTo>
                    <a:cubicBezTo>
                      <a:pt x="1875526" y="1435117"/>
                      <a:pt x="1886070" y="1431982"/>
                      <a:pt x="1886925" y="1438081"/>
                    </a:cubicBezTo>
                    <a:cubicBezTo>
                      <a:pt x="1886925" y="1440076"/>
                      <a:pt x="1885956" y="1442355"/>
                      <a:pt x="1886925" y="1444065"/>
                    </a:cubicBezTo>
                    <a:cubicBezTo>
                      <a:pt x="1887871" y="1445148"/>
                      <a:pt x="1889250" y="1445752"/>
                      <a:pt x="1890686" y="1445718"/>
                    </a:cubicBezTo>
                    <a:cubicBezTo>
                      <a:pt x="1897799" y="1446636"/>
                      <a:pt x="1904947" y="1447188"/>
                      <a:pt x="1912116" y="1447371"/>
                    </a:cubicBezTo>
                    <a:cubicBezTo>
                      <a:pt x="1912020" y="1452438"/>
                      <a:pt x="1913900" y="1457345"/>
                      <a:pt x="1917360" y="1461050"/>
                    </a:cubicBezTo>
                    <a:cubicBezTo>
                      <a:pt x="1920791" y="1464247"/>
                      <a:pt x="1926166" y="1464059"/>
                      <a:pt x="1929363" y="1460628"/>
                    </a:cubicBezTo>
                    <a:cubicBezTo>
                      <a:pt x="1929688" y="1460280"/>
                      <a:pt x="1929979" y="1459910"/>
                      <a:pt x="1930241" y="1459511"/>
                    </a:cubicBezTo>
                    <a:cubicBezTo>
                      <a:pt x="1930788" y="1457841"/>
                      <a:pt x="1931187" y="1456119"/>
                      <a:pt x="1931438" y="1454381"/>
                    </a:cubicBezTo>
                    <a:cubicBezTo>
                      <a:pt x="1932749" y="1449480"/>
                      <a:pt x="1937536" y="1444863"/>
                      <a:pt x="1935313" y="1440360"/>
                    </a:cubicBezTo>
                    <a:cubicBezTo>
                      <a:pt x="1932464" y="1434376"/>
                      <a:pt x="1922490" y="1438195"/>
                      <a:pt x="1917303" y="1434091"/>
                    </a:cubicBezTo>
                    <a:cubicBezTo>
                      <a:pt x="1915650" y="1431412"/>
                      <a:pt x="1918044" y="1428050"/>
                      <a:pt x="1920609" y="1426340"/>
                    </a:cubicBezTo>
                    <a:cubicBezTo>
                      <a:pt x="1923173" y="1424630"/>
                      <a:pt x="1926308" y="1423091"/>
                      <a:pt x="1927334" y="1420127"/>
                    </a:cubicBezTo>
                    <a:cubicBezTo>
                      <a:pt x="1927608" y="1416993"/>
                      <a:pt x="1925288" y="1414228"/>
                      <a:pt x="1922153" y="1413949"/>
                    </a:cubicBezTo>
                    <a:cubicBezTo>
                      <a:pt x="1920865" y="1413841"/>
                      <a:pt x="1919577" y="1414166"/>
                      <a:pt x="1918500" y="1414884"/>
                    </a:cubicBezTo>
                    <a:cubicBezTo>
                      <a:pt x="1917491" y="1416263"/>
                      <a:pt x="1916573" y="1417711"/>
                      <a:pt x="1915764" y="1419215"/>
                    </a:cubicBezTo>
                    <a:cubicBezTo>
                      <a:pt x="1914738" y="1420583"/>
                      <a:pt x="1912686" y="1421552"/>
                      <a:pt x="1911318" y="1420526"/>
                    </a:cubicBezTo>
                    <a:cubicBezTo>
                      <a:pt x="1912344" y="1415568"/>
                      <a:pt x="1905619" y="1410552"/>
                      <a:pt x="1908184" y="1406278"/>
                    </a:cubicBezTo>
                    <a:cubicBezTo>
                      <a:pt x="1909158" y="1405086"/>
                      <a:pt x="1910361" y="1404100"/>
                      <a:pt x="1911717" y="1403371"/>
                    </a:cubicBezTo>
                    <a:cubicBezTo>
                      <a:pt x="1915901" y="1400162"/>
                      <a:pt x="1917337" y="1394508"/>
                      <a:pt x="1915194" y="1389692"/>
                    </a:cubicBezTo>
                    <a:cubicBezTo>
                      <a:pt x="1912766" y="1388187"/>
                      <a:pt x="1909620" y="1388512"/>
                      <a:pt x="1907557" y="1390490"/>
                    </a:cubicBezTo>
                    <a:cubicBezTo>
                      <a:pt x="1905585" y="1392456"/>
                      <a:pt x="1903425" y="1394235"/>
                      <a:pt x="1901117" y="1395791"/>
                    </a:cubicBezTo>
                    <a:cubicBezTo>
                      <a:pt x="1896608" y="1397654"/>
                      <a:pt x="1891439" y="1395506"/>
                      <a:pt x="1889581" y="1390997"/>
                    </a:cubicBezTo>
                    <a:cubicBezTo>
                      <a:pt x="1889455" y="1390701"/>
                      <a:pt x="1889353" y="1390399"/>
                      <a:pt x="1889262" y="1390091"/>
                    </a:cubicBezTo>
                    <a:cubicBezTo>
                      <a:pt x="1886583" y="1392257"/>
                      <a:pt x="1882365" y="1390376"/>
                      <a:pt x="1880370" y="1387583"/>
                    </a:cubicBezTo>
                    <a:cubicBezTo>
                      <a:pt x="1878375" y="1384791"/>
                      <a:pt x="1877578" y="1381257"/>
                      <a:pt x="1875640" y="1378407"/>
                    </a:cubicBezTo>
                    <a:cubicBezTo>
                      <a:pt x="1873970" y="1375244"/>
                      <a:pt x="1870174" y="1373865"/>
                      <a:pt x="1866863" y="1375215"/>
                    </a:cubicBezTo>
                    <a:cubicBezTo>
                      <a:pt x="1866521" y="1372765"/>
                      <a:pt x="1866236" y="1370314"/>
                      <a:pt x="1865894" y="1367863"/>
                    </a:cubicBezTo>
                    <a:cubicBezTo>
                      <a:pt x="1862645" y="1366096"/>
                      <a:pt x="1859225" y="1369744"/>
                      <a:pt x="1857230" y="1372822"/>
                    </a:cubicBezTo>
                    <a:cubicBezTo>
                      <a:pt x="1855236" y="1375899"/>
                      <a:pt x="1851246" y="1379205"/>
                      <a:pt x="1848339" y="1376925"/>
                    </a:cubicBezTo>
                    <a:cubicBezTo>
                      <a:pt x="1845091" y="1370770"/>
                      <a:pt x="1854837" y="1365013"/>
                      <a:pt x="1854837" y="1358117"/>
                    </a:cubicBezTo>
                    <a:cubicBezTo>
                      <a:pt x="1854837" y="1356350"/>
                      <a:pt x="1854210" y="1354640"/>
                      <a:pt x="1854096" y="1352874"/>
                    </a:cubicBezTo>
                    <a:cubicBezTo>
                      <a:pt x="1854096" y="1347174"/>
                      <a:pt x="1859795" y="1343127"/>
                      <a:pt x="1864241" y="1339537"/>
                    </a:cubicBezTo>
                    <a:cubicBezTo>
                      <a:pt x="1868686" y="1335946"/>
                      <a:pt x="1873189" y="1329506"/>
                      <a:pt x="1869940" y="1324832"/>
                    </a:cubicBezTo>
                    <a:cubicBezTo>
                      <a:pt x="1865626" y="1323048"/>
                      <a:pt x="1860684" y="1323766"/>
                      <a:pt x="1857060" y="1326713"/>
                    </a:cubicBezTo>
                    <a:cubicBezTo>
                      <a:pt x="1853463" y="1329568"/>
                      <a:pt x="1850431" y="1333068"/>
                      <a:pt x="1848111" y="1337029"/>
                    </a:cubicBezTo>
                    <a:lnTo>
                      <a:pt x="1840588" y="1348428"/>
                    </a:lnTo>
                    <a:cubicBezTo>
                      <a:pt x="1836165" y="1354618"/>
                      <a:pt x="1832347" y="1361223"/>
                      <a:pt x="1829189" y="1368148"/>
                    </a:cubicBezTo>
                    <a:cubicBezTo>
                      <a:pt x="1825650" y="1376481"/>
                      <a:pt x="1824014" y="1385492"/>
                      <a:pt x="1824401" y="1394537"/>
                    </a:cubicBezTo>
                    <a:cubicBezTo>
                      <a:pt x="1817260" y="1391550"/>
                      <a:pt x="1809047" y="1394919"/>
                      <a:pt x="1806055" y="1402060"/>
                    </a:cubicBezTo>
                    <a:cubicBezTo>
                      <a:pt x="1805770" y="1402744"/>
                      <a:pt x="1805542" y="1403451"/>
                      <a:pt x="1805365" y="1404169"/>
                    </a:cubicBezTo>
                    <a:close/>
                    <a:moveTo>
                      <a:pt x="1759827" y="1475241"/>
                    </a:moveTo>
                    <a:cubicBezTo>
                      <a:pt x="1756806" y="1479801"/>
                      <a:pt x="1755324" y="1485272"/>
                      <a:pt x="1752246" y="1489775"/>
                    </a:cubicBezTo>
                    <a:cubicBezTo>
                      <a:pt x="1744951" y="1500433"/>
                      <a:pt x="1729961" y="1503340"/>
                      <a:pt x="1717479" y="1500148"/>
                    </a:cubicBezTo>
                    <a:cubicBezTo>
                      <a:pt x="1705254" y="1496016"/>
                      <a:pt x="1693975" y="1489490"/>
                      <a:pt x="1684308" y="1480941"/>
                    </a:cubicBezTo>
                    <a:cubicBezTo>
                      <a:pt x="1672910" y="1471992"/>
                      <a:pt x="1659915" y="1459625"/>
                      <a:pt x="1663163" y="1445376"/>
                    </a:cubicBezTo>
                    <a:lnTo>
                      <a:pt x="1648459" y="1441785"/>
                    </a:lnTo>
                    <a:cubicBezTo>
                      <a:pt x="1645723" y="1429361"/>
                      <a:pt x="1661454" y="1416879"/>
                      <a:pt x="1655754" y="1405537"/>
                    </a:cubicBezTo>
                    <a:cubicBezTo>
                      <a:pt x="1651936" y="1397899"/>
                      <a:pt x="1640879" y="1397386"/>
                      <a:pt x="1632956" y="1400977"/>
                    </a:cubicBezTo>
                    <a:cubicBezTo>
                      <a:pt x="1625034" y="1404568"/>
                      <a:pt x="1619107" y="1411008"/>
                      <a:pt x="1611355" y="1414485"/>
                    </a:cubicBezTo>
                    <a:cubicBezTo>
                      <a:pt x="1603604" y="1417962"/>
                      <a:pt x="1593516" y="1418304"/>
                      <a:pt x="1585651" y="1422635"/>
                    </a:cubicBezTo>
                    <a:cubicBezTo>
                      <a:pt x="1579535" y="1426380"/>
                      <a:pt x="1574423" y="1431566"/>
                      <a:pt x="1570775" y="1437739"/>
                    </a:cubicBezTo>
                    <a:cubicBezTo>
                      <a:pt x="1571761" y="1438257"/>
                      <a:pt x="1572696" y="1438867"/>
                      <a:pt x="1573568" y="1439562"/>
                    </a:cubicBezTo>
                    <a:cubicBezTo>
                      <a:pt x="1579267" y="1444236"/>
                      <a:pt x="1586050" y="1449993"/>
                      <a:pt x="1593345" y="1448283"/>
                    </a:cubicBezTo>
                    <a:cubicBezTo>
                      <a:pt x="1594719" y="1447775"/>
                      <a:pt x="1596160" y="1447485"/>
                      <a:pt x="1597620" y="1447428"/>
                    </a:cubicBezTo>
                    <a:cubicBezTo>
                      <a:pt x="1599073" y="1447679"/>
                      <a:pt x="1600447" y="1448283"/>
                      <a:pt x="1601609" y="1449195"/>
                    </a:cubicBezTo>
                    <a:cubicBezTo>
                      <a:pt x="1606055" y="1452215"/>
                      <a:pt x="1611013" y="1456205"/>
                      <a:pt x="1610614" y="1461563"/>
                    </a:cubicBezTo>
                    <a:cubicBezTo>
                      <a:pt x="1610215" y="1466920"/>
                      <a:pt x="1605770" y="1470112"/>
                      <a:pt x="1606283" y="1474785"/>
                    </a:cubicBezTo>
                    <a:cubicBezTo>
                      <a:pt x="1607035" y="1477675"/>
                      <a:pt x="1608574" y="1480297"/>
                      <a:pt x="1610728" y="1482366"/>
                    </a:cubicBezTo>
                    <a:cubicBezTo>
                      <a:pt x="1612905" y="1484492"/>
                      <a:pt x="1613755" y="1487638"/>
                      <a:pt x="1612951" y="1490573"/>
                    </a:cubicBezTo>
                    <a:cubicBezTo>
                      <a:pt x="1612279" y="1491547"/>
                      <a:pt x="1611726" y="1492602"/>
                      <a:pt x="1611298" y="1493707"/>
                    </a:cubicBezTo>
                    <a:cubicBezTo>
                      <a:pt x="1610785" y="1496557"/>
                      <a:pt x="1614490" y="1498153"/>
                      <a:pt x="1616086" y="1500547"/>
                    </a:cubicBezTo>
                    <a:cubicBezTo>
                      <a:pt x="1616753" y="1501772"/>
                      <a:pt x="1617191" y="1503100"/>
                      <a:pt x="1617397" y="1504480"/>
                    </a:cubicBezTo>
                    <a:cubicBezTo>
                      <a:pt x="1618508" y="1510732"/>
                      <a:pt x="1619135" y="1517058"/>
                      <a:pt x="1619277" y="1523402"/>
                    </a:cubicBezTo>
                    <a:cubicBezTo>
                      <a:pt x="1628511" y="1515195"/>
                      <a:pt x="1637288" y="1503910"/>
                      <a:pt x="1649143" y="1503682"/>
                    </a:cubicBezTo>
                    <a:cubicBezTo>
                      <a:pt x="1652773" y="1504326"/>
                      <a:pt x="1656512" y="1503989"/>
                      <a:pt x="1659972" y="1502713"/>
                    </a:cubicBezTo>
                    <a:cubicBezTo>
                      <a:pt x="1664702" y="1499806"/>
                      <a:pt x="1664531" y="1491941"/>
                      <a:pt x="1669547" y="1489604"/>
                    </a:cubicBezTo>
                    <a:cubicBezTo>
                      <a:pt x="1674562" y="1487267"/>
                      <a:pt x="1678723" y="1491257"/>
                      <a:pt x="1680946" y="1495303"/>
                    </a:cubicBezTo>
                    <a:cubicBezTo>
                      <a:pt x="1682787" y="1499669"/>
                      <a:pt x="1685460" y="1503636"/>
                      <a:pt x="1688811" y="1506987"/>
                    </a:cubicBezTo>
                    <a:cubicBezTo>
                      <a:pt x="1691165" y="1508201"/>
                      <a:pt x="1693428" y="1509569"/>
                      <a:pt x="1695594" y="1511091"/>
                    </a:cubicBezTo>
                    <a:cubicBezTo>
                      <a:pt x="1697531" y="1512858"/>
                      <a:pt x="1698158" y="1516790"/>
                      <a:pt x="1695594" y="1517873"/>
                    </a:cubicBezTo>
                    <a:cubicBezTo>
                      <a:pt x="1682143" y="1516448"/>
                      <a:pt x="1667609" y="1515251"/>
                      <a:pt x="1655982" y="1522205"/>
                    </a:cubicBezTo>
                    <a:cubicBezTo>
                      <a:pt x="1644355" y="1529158"/>
                      <a:pt x="1639169" y="1547739"/>
                      <a:pt x="1649770" y="1556402"/>
                    </a:cubicBezTo>
                    <a:cubicBezTo>
                      <a:pt x="1655771" y="1560921"/>
                      <a:pt x="1664098" y="1560733"/>
                      <a:pt x="1669889" y="1555946"/>
                    </a:cubicBezTo>
                    <a:cubicBezTo>
                      <a:pt x="1676500" y="1550246"/>
                      <a:pt x="1677754" y="1539645"/>
                      <a:pt x="1685163" y="1534972"/>
                    </a:cubicBezTo>
                    <a:cubicBezTo>
                      <a:pt x="1690293" y="1531666"/>
                      <a:pt x="1696904" y="1532293"/>
                      <a:pt x="1702832" y="1530697"/>
                    </a:cubicBezTo>
                    <a:cubicBezTo>
                      <a:pt x="1707414" y="1529187"/>
                      <a:pt x="1711757" y="1527021"/>
                      <a:pt x="1715713" y="1524257"/>
                    </a:cubicBezTo>
                    <a:lnTo>
                      <a:pt x="1753671" y="1500205"/>
                    </a:lnTo>
                    <a:cubicBezTo>
                      <a:pt x="1765070" y="1493138"/>
                      <a:pt x="1777666" y="1481682"/>
                      <a:pt x="1773049" y="1469314"/>
                    </a:cubicBezTo>
                    <a:cubicBezTo>
                      <a:pt x="1767772" y="1468185"/>
                      <a:pt x="1762368" y="1470579"/>
                      <a:pt x="1759656" y="1475241"/>
                    </a:cubicBezTo>
                    <a:close/>
                    <a:moveTo>
                      <a:pt x="341000" y="562984"/>
                    </a:moveTo>
                    <a:cubicBezTo>
                      <a:pt x="347782" y="563964"/>
                      <a:pt x="354610" y="564568"/>
                      <a:pt x="361461" y="564807"/>
                    </a:cubicBezTo>
                    <a:cubicBezTo>
                      <a:pt x="363632" y="564768"/>
                      <a:pt x="365798" y="565013"/>
                      <a:pt x="367901" y="565548"/>
                    </a:cubicBezTo>
                    <a:cubicBezTo>
                      <a:pt x="370489" y="566398"/>
                      <a:pt x="372860" y="567794"/>
                      <a:pt x="374854" y="569652"/>
                    </a:cubicBezTo>
                    <a:cubicBezTo>
                      <a:pt x="381603" y="575437"/>
                      <a:pt x="386253" y="583291"/>
                      <a:pt x="388077" y="591994"/>
                    </a:cubicBezTo>
                    <a:cubicBezTo>
                      <a:pt x="389559" y="599118"/>
                      <a:pt x="389958" y="607895"/>
                      <a:pt x="396398" y="611087"/>
                    </a:cubicBezTo>
                    <a:cubicBezTo>
                      <a:pt x="398051" y="611942"/>
                      <a:pt x="400502" y="610745"/>
                      <a:pt x="402098" y="609719"/>
                    </a:cubicBezTo>
                    <a:cubicBezTo>
                      <a:pt x="399613" y="607468"/>
                      <a:pt x="399385" y="603644"/>
                      <a:pt x="401585" y="601113"/>
                    </a:cubicBezTo>
                    <a:cubicBezTo>
                      <a:pt x="403842" y="598742"/>
                      <a:pt x="407142" y="597671"/>
                      <a:pt x="410362" y="598263"/>
                    </a:cubicBezTo>
                    <a:cubicBezTo>
                      <a:pt x="412693" y="599038"/>
                      <a:pt x="415212" y="599038"/>
                      <a:pt x="417543" y="598263"/>
                    </a:cubicBezTo>
                    <a:cubicBezTo>
                      <a:pt x="418512" y="597642"/>
                      <a:pt x="419379" y="596873"/>
                      <a:pt x="420108" y="595984"/>
                    </a:cubicBezTo>
                    <a:cubicBezTo>
                      <a:pt x="426720" y="589486"/>
                      <a:pt x="437207" y="591424"/>
                      <a:pt x="446668" y="590284"/>
                    </a:cubicBezTo>
                    <a:cubicBezTo>
                      <a:pt x="447637" y="590290"/>
                      <a:pt x="448588" y="590016"/>
                      <a:pt x="449404" y="589486"/>
                    </a:cubicBezTo>
                    <a:cubicBezTo>
                      <a:pt x="451854" y="587662"/>
                      <a:pt x="450087" y="583787"/>
                      <a:pt x="450144" y="580766"/>
                    </a:cubicBezTo>
                    <a:cubicBezTo>
                      <a:pt x="450144" y="575921"/>
                      <a:pt x="455160" y="572559"/>
                      <a:pt x="456699" y="567942"/>
                    </a:cubicBezTo>
                    <a:cubicBezTo>
                      <a:pt x="458238" y="563326"/>
                      <a:pt x="456129" y="556144"/>
                      <a:pt x="460403" y="552896"/>
                    </a:cubicBezTo>
                    <a:cubicBezTo>
                      <a:pt x="464678" y="549647"/>
                      <a:pt x="470378" y="553351"/>
                      <a:pt x="475336" y="552155"/>
                    </a:cubicBezTo>
                    <a:cubicBezTo>
                      <a:pt x="480295" y="550958"/>
                      <a:pt x="482631" y="546455"/>
                      <a:pt x="484626" y="541782"/>
                    </a:cubicBezTo>
                    <a:cubicBezTo>
                      <a:pt x="486758" y="537746"/>
                      <a:pt x="488166" y="533366"/>
                      <a:pt x="488787" y="528844"/>
                    </a:cubicBezTo>
                    <a:cubicBezTo>
                      <a:pt x="488747" y="526786"/>
                      <a:pt x="488992" y="524733"/>
                      <a:pt x="489528" y="522745"/>
                    </a:cubicBezTo>
                    <a:cubicBezTo>
                      <a:pt x="490331" y="521010"/>
                      <a:pt x="491642" y="519559"/>
                      <a:pt x="493289" y="518585"/>
                    </a:cubicBezTo>
                    <a:cubicBezTo>
                      <a:pt x="502466" y="512885"/>
                      <a:pt x="516942" y="518585"/>
                      <a:pt x="523668" y="510035"/>
                    </a:cubicBezTo>
                    <a:cubicBezTo>
                      <a:pt x="524443" y="508777"/>
                      <a:pt x="525406" y="507643"/>
                      <a:pt x="526517" y="506673"/>
                    </a:cubicBezTo>
                    <a:cubicBezTo>
                      <a:pt x="528569" y="505248"/>
                      <a:pt x="531305" y="505875"/>
                      <a:pt x="533756" y="505419"/>
                    </a:cubicBezTo>
                    <a:cubicBezTo>
                      <a:pt x="537939" y="504617"/>
                      <a:pt x="540994" y="501012"/>
                      <a:pt x="541108" y="496756"/>
                    </a:cubicBezTo>
                    <a:cubicBezTo>
                      <a:pt x="546853" y="496574"/>
                      <a:pt x="552353" y="494397"/>
                      <a:pt x="556668" y="490600"/>
                    </a:cubicBezTo>
                    <a:cubicBezTo>
                      <a:pt x="558092" y="489346"/>
                      <a:pt x="559460" y="487523"/>
                      <a:pt x="558890" y="485756"/>
                    </a:cubicBezTo>
                    <a:cubicBezTo>
                      <a:pt x="558229" y="484481"/>
                      <a:pt x="557107" y="483504"/>
                      <a:pt x="555756" y="483020"/>
                    </a:cubicBezTo>
                    <a:lnTo>
                      <a:pt x="527771" y="469113"/>
                    </a:lnTo>
                    <a:cubicBezTo>
                      <a:pt x="519917" y="464243"/>
                      <a:pt x="510850" y="461694"/>
                      <a:pt x="501611" y="461761"/>
                    </a:cubicBezTo>
                    <a:cubicBezTo>
                      <a:pt x="500260" y="461878"/>
                      <a:pt x="498949" y="462245"/>
                      <a:pt x="497735" y="462844"/>
                    </a:cubicBezTo>
                    <a:cubicBezTo>
                      <a:pt x="496447" y="463760"/>
                      <a:pt x="495244" y="464790"/>
                      <a:pt x="494144" y="465922"/>
                    </a:cubicBezTo>
                    <a:cubicBezTo>
                      <a:pt x="492098" y="467707"/>
                      <a:pt x="489363" y="468499"/>
                      <a:pt x="486678" y="468087"/>
                    </a:cubicBezTo>
                    <a:cubicBezTo>
                      <a:pt x="483897" y="467512"/>
                      <a:pt x="481805" y="465211"/>
                      <a:pt x="481492" y="462388"/>
                    </a:cubicBezTo>
                    <a:cubicBezTo>
                      <a:pt x="473928" y="463333"/>
                      <a:pt x="466302" y="463581"/>
                      <a:pt x="458694" y="463129"/>
                    </a:cubicBezTo>
                    <a:cubicBezTo>
                      <a:pt x="455445" y="463129"/>
                      <a:pt x="451626" y="462160"/>
                      <a:pt x="450372" y="459196"/>
                    </a:cubicBezTo>
                    <a:cubicBezTo>
                      <a:pt x="449119" y="456232"/>
                      <a:pt x="450087" y="453896"/>
                      <a:pt x="448150" y="452528"/>
                    </a:cubicBezTo>
                    <a:cubicBezTo>
                      <a:pt x="446212" y="451160"/>
                      <a:pt x="443932" y="452528"/>
                      <a:pt x="441937" y="451616"/>
                    </a:cubicBezTo>
                    <a:cubicBezTo>
                      <a:pt x="439942" y="450704"/>
                      <a:pt x="438745" y="447170"/>
                      <a:pt x="436238" y="445916"/>
                    </a:cubicBezTo>
                    <a:cubicBezTo>
                      <a:pt x="435069" y="445508"/>
                      <a:pt x="433810" y="445410"/>
                      <a:pt x="432590" y="445631"/>
                    </a:cubicBezTo>
                    <a:lnTo>
                      <a:pt x="413668" y="447398"/>
                    </a:lnTo>
                    <a:cubicBezTo>
                      <a:pt x="410773" y="447509"/>
                      <a:pt x="407917" y="448127"/>
                      <a:pt x="405233" y="449222"/>
                    </a:cubicBezTo>
                    <a:cubicBezTo>
                      <a:pt x="402508" y="450401"/>
                      <a:pt x="400622" y="452942"/>
                      <a:pt x="400274" y="455891"/>
                    </a:cubicBezTo>
                    <a:cubicBezTo>
                      <a:pt x="400274" y="459025"/>
                      <a:pt x="402383" y="462388"/>
                      <a:pt x="400730" y="465010"/>
                    </a:cubicBezTo>
                    <a:cubicBezTo>
                      <a:pt x="399077" y="467631"/>
                      <a:pt x="393093" y="466947"/>
                      <a:pt x="390756" y="469968"/>
                    </a:cubicBezTo>
                    <a:cubicBezTo>
                      <a:pt x="389502" y="471507"/>
                      <a:pt x="389616" y="473844"/>
                      <a:pt x="388419" y="475668"/>
                    </a:cubicBezTo>
                    <a:cubicBezTo>
                      <a:pt x="386652" y="478118"/>
                      <a:pt x="383005" y="477890"/>
                      <a:pt x="380041" y="477435"/>
                    </a:cubicBezTo>
                    <a:cubicBezTo>
                      <a:pt x="379528" y="478403"/>
                      <a:pt x="380041" y="479942"/>
                      <a:pt x="379357" y="480968"/>
                    </a:cubicBezTo>
                    <a:cubicBezTo>
                      <a:pt x="379699" y="486668"/>
                      <a:pt x="379357" y="493678"/>
                      <a:pt x="373657" y="495388"/>
                    </a:cubicBezTo>
                    <a:cubicBezTo>
                      <a:pt x="372592" y="495587"/>
                      <a:pt x="371571" y="495973"/>
                      <a:pt x="370637" y="496528"/>
                    </a:cubicBezTo>
                    <a:cubicBezTo>
                      <a:pt x="369924" y="497225"/>
                      <a:pt x="369366" y="498059"/>
                      <a:pt x="368984" y="498979"/>
                    </a:cubicBezTo>
                    <a:cubicBezTo>
                      <a:pt x="367588" y="500989"/>
                      <a:pt x="365063" y="501883"/>
                      <a:pt x="362715" y="501201"/>
                    </a:cubicBezTo>
                    <a:lnTo>
                      <a:pt x="362715" y="524740"/>
                    </a:lnTo>
                    <a:cubicBezTo>
                      <a:pt x="362715" y="527476"/>
                      <a:pt x="362373" y="530896"/>
                      <a:pt x="359865" y="532092"/>
                    </a:cubicBezTo>
                    <a:cubicBezTo>
                      <a:pt x="357357" y="533289"/>
                      <a:pt x="353595" y="531124"/>
                      <a:pt x="351031" y="532662"/>
                    </a:cubicBezTo>
                    <a:cubicBezTo>
                      <a:pt x="347212" y="534999"/>
                      <a:pt x="350689" y="541896"/>
                      <a:pt x="347554" y="545087"/>
                    </a:cubicBezTo>
                    <a:cubicBezTo>
                      <a:pt x="346243" y="546130"/>
                      <a:pt x="344698" y="546837"/>
                      <a:pt x="343051" y="547139"/>
                    </a:cubicBezTo>
                    <a:cubicBezTo>
                      <a:pt x="339307" y="548456"/>
                      <a:pt x="336275" y="551260"/>
                      <a:pt x="334673" y="554890"/>
                    </a:cubicBezTo>
                    <a:cubicBezTo>
                      <a:pt x="334200" y="555842"/>
                      <a:pt x="334001" y="556908"/>
                      <a:pt x="334103" y="557968"/>
                    </a:cubicBezTo>
                    <a:cubicBezTo>
                      <a:pt x="334730" y="561730"/>
                      <a:pt x="338207" y="562984"/>
                      <a:pt x="341000" y="562984"/>
                    </a:cubicBezTo>
                    <a:close/>
                    <a:moveTo>
                      <a:pt x="844320" y="660274"/>
                    </a:moveTo>
                    <a:cubicBezTo>
                      <a:pt x="849011" y="658581"/>
                      <a:pt x="852385" y="654437"/>
                      <a:pt x="853097" y="649502"/>
                    </a:cubicBezTo>
                    <a:lnTo>
                      <a:pt x="877719" y="658336"/>
                    </a:lnTo>
                    <a:cubicBezTo>
                      <a:pt x="880466" y="652408"/>
                      <a:pt x="879264" y="645398"/>
                      <a:pt x="874698" y="640724"/>
                    </a:cubicBezTo>
                    <a:cubicBezTo>
                      <a:pt x="870156" y="636222"/>
                      <a:pt x="864719" y="632728"/>
                      <a:pt x="858740" y="630465"/>
                    </a:cubicBezTo>
                    <a:lnTo>
                      <a:pt x="817760" y="611543"/>
                    </a:lnTo>
                    <a:cubicBezTo>
                      <a:pt x="809952" y="607952"/>
                      <a:pt x="800662" y="602025"/>
                      <a:pt x="802087" y="593476"/>
                    </a:cubicBezTo>
                    <a:cubicBezTo>
                      <a:pt x="802936" y="590786"/>
                      <a:pt x="803626" y="588044"/>
                      <a:pt x="804139" y="585269"/>
                    </a:cubicBezTo>
                    <a:cubicBezTo>
                      <a:pt x="804139" y="578201"/>
                      <a:pt x="795476" y="573357"/>
                      <a:pt x="795818" y="566346"/>
                    </a:cubicBezTo>
                    <a:cubicBezTo>
                      <a:pt x="789212" y="563753"/>
                      <a:pt x="784510" y="557809"/>
                      <a:pt x="783507" y="550787"/>
                    </a:cubicBezTo>
                    <a:cubicBezTo>
                      <a:pt x="782538" y="543896"/>
                      <a:pt x="782828" y="536886"/>
                      <a:pt x="784362" y="530098"/>
                    </a:cubicBezTo>
                    <a:cubicBezTo>
                      <a:pt x="784994" y="524689"/>
                      <a:pt x="786436" y="519406"/>
                      <a:pt x="788636" y="514424"/>
                    </a:cubicBezTo>
                    <a:cubicBezTo>
                      <a:pt x="791201" y="509295"/>
                      <a:pt x="795362" y="505134"/>
                      <a:pt x="797926" y="500061"/>
                    </a:cubicBezTo>
                    <a:cubicBezTo>
                      <a:pt x="801055" y="495119"/>
                      <a:pt x="800713" y="488738"/>
                      <a:pt x="797071" y="484160"/>
                    </a:cubicBezTo>
                    <a:lnTo>
                      <a:pt x="766294" y="485471"/>
                    </a:lnTo>
                    <a:cubicBezTo>
                      <a:pt x="763142" y="485360"/>
                      <a:pt x="760002" y="485964"/>
                      <a:pt x="757118" y="487238"/>
                    </a:cubicBezTo>
                    <a:cubicBezTo>
                      <a:pt x="754223" y="488648"/>
                      <a:pt x="752633" y="491826"/>
                      <a:pt x="753242" y="494989"/>
                    </a:cubicBezTo>
                    <a:cubicBezTo>
                      <a:pt x="754422" y="497413"/>
                      <a:pt x="756451" y="499319"/>
                      <a:pt x="758942" y="500346"/>
                    </a:cubicBezTo>
                    <a:cubicBezTo>
                      <a:pt x="763433" y="503193"/>
                      <a:pt x="767634" y="506476"/>
                      <a:pt x="771481" y="510150"/>
                    </a:cubicBezTo>
                    <a:cubicBezTo>
                      <a:pt x="776092" y="513521"/>
                      <a:pt x="778787" y="518914"/>
                      <a:pt x="778719" y="524626"/>
                    </a:cubicBezTo>
                    <a:cubicBezTo>
                      <a:pt x="776285" y="526403"/>
                      <a:pt x="772889" y="525979"/>
                      <a:pt x="770968" y="523657"/>
                    </a:cubicBezTo>
                    <a:cubicBezTo>
                      <a:pt x="769172" y="521332"/>
                      <a:pt x="767594" y="518853"/>
                      <a:pt x="766237" y="516248"/>
                    </a:cubicBezTo>
                    <a:cubicBezTo>
                      <a:pt x="760139" y="507186"/>
                      <a:pt x="747372" y="506217"/>
                      <a:pt x="736429" y="506217"/>
                    </a:cubicBezTo>
                    <a:lnTo>
                      <a:pt x="735118" y="506217"/>
                    </a:lnTo>
                    <a:cubicBezTo>
                      <a:pt x="730559" y="505622"/>
                      <a:pt x="725953" y="506851"/>
                      <a:pt x="722294" y="509637"/>
                    </a:cubicBezTo>
                    <a:cubicBezTo>
                      <a:pt x="717108" y="514937"/>
                      <a:pt x="720641" y="523885"/>
                      <a:pt x="725258" y="529699"/>
                    </a:cubicBezTo>
                    <a:cubicBezTo>
                      <a:pt x="729875" y="535512"/>
                      <a:pt x="735859" y="541611"/>
                      <a:pt x="734833" y="548963"/>
                    </a:cubicBezTo>
                    <a:cubicBezTo>
                      <a:pt x="734320" y="552497"/>
                      <a:pt x="732154" y="556030"/>
                      <a:pt x="733180" y="559450"/>
                    </a:cubicBezTo>
                    <a:cubicBezTo>
                      <a:pt x="734833" y="564693"/>
                      <a:pt x="743097" y="566346"/>
                      <a:pt x="743325" y="571818"/>
                    </a:cubicBezTo>
                    <a:cubicBezTo>
                      <a:pt x="743120" y="574605"/>
                      <a:pt x="741536" y="577107"/>
                      <a:pt x="739108" y="578486"/>
                    </a:cubicBezTo>
                    <a:cubicBezTo>
                      <a:pt x="732439" y="583160"/>
                      <a:pt x="720812" y="582476"/>
                      <a:pt x="718761" y="574668"/>
                    </a:cubicBezTo>
                    <a:cubicBezTo>
                      <a:pt x="718584" y="572428"/>
                      <a:pt x="718105" y="570222"/>
                      <a:pt x="717336" y="568113"/>
                    </a:cubicBezTo>
                    <a:cubicBezTo>
                      <a:pt x="716310" y="566289"/>
                      <a:pt x="714258" y="565206"/>
                      <a:pt x="713175" y="563440"/>
                    </a:cubicBezTo>
                    <a:cubicBezTo>
                      <a:pt x="712126" y="560510"/>
                      <a:pt x="711990" y="557330"/>
                      <a:pt x="712776" y="554320"/>
                    </a:cubicBezTo>
                    <a:cubicBezTo>
                      <a:pt x="713802" y="541497"/>
                      <a:pt x="702403" y="531523"/>
                      <a:pt x="692144" y="523771"/>
                    </a:cubicBezTo>
                    <a:cubicBezTo>
                      <a:pt x="688120" y="519983"/>
                      <a:pt x="682797" y="517883"/>
                      <a:pt x="677268" y="517901"/>
                    </a:cubicBezTo>
                    <a:cubicBezTo>
                      <a:pt x="671569" y="518699"/>
                      <a:pt x="667807" y="526621"/>
                      <a:pt x="672253" y="529927"/>
                    </a:cubicBezTo>
                    <a:cubicBezTo>
                      <a:pt x="674761" y="531807"/>
                      <a:pt x="678294" y="531124"/>
                      <a:pt x="681315" y="531807"/>
                    </a:cubicBezTo>
                    <a:cubicBezTo>
                      <a:pt x="686861" y="533583"/>
                      <a:pt x="689916" y="539519"/>
                      <a:pt x="688143" y="545064"/>
                    </a:cubicBezTo>
                    <a:cubicBezTo>
                      <a:pt x="687870" y="545914"/>
                      <a:pt x="687493" y="546729"/>
                      <a:pt x="687015" y="547481"/>
                    </a:cubicBezTo>
                    <a:cubicBezTo>
                      <a:pt x="678750" y="552098"/>
                      <a:pt x="667180" y="539046"/>
                      <a:pt x="659999" y="545201"/>
                    </a:cubicBezTo>
                    <a:cubicBezTo>
                      <a:pt x="658403" y="546626"/>
                      <a:pt x="657548" y="548792"/>
                      <a:pt x="656066" y="550388"/>
                    </a:cubicBezTo>
                    <a:cubicBezTo>
                      <a:pt x="654585" y="551984"/>
                      <a:pt x="651735" y="552782"/>
                      <a:pt x="650367" y="551129"/>
                    </a:cubicBezTo>
                    <a:cubicBezTo>
                      <a:pt x="650823" y="541668"/>
                      <a:pt x="650823" y="531067"/>
                      <a:pt x="644269" y="524341"/>
                    </a:cubicBezTo>
                    <a:cubicBezTo>
                      <a:pt x="637714" y="517616"/>
                      <a:pt x="625061" y="517388"/>
                      <a:pt x="614745" y="518642"/>
                    </a:cubicBezTo>
                    <a:cubicBezTo>
                      <a:pt x="612950" y="518611"/>
                      <a:pt x="611200" y="519195"/>
                      <a:pt x="609787" y="520295"/>
                    </a:cubicBezTo>
                    <a:cubicBezTo>
                      <a:pt x="608464" y="521882"/>
                      <a:pt x="607849" y="523940"/>
                      <a:pt x="608077" y="525994"/>
                    </a:cubicBezTo>
                    <a:cubicBezTo>
                      <a:pt x="608122" y="531976"/>
                      <a:pt x="609160" y="537906"/>
                      <a:pt x="611155" y="543548"/>
                    </a:cubicBezTo>
                    <a:cubicBezTo>
                      <a:pt x="601067" y="544825"/>
                      <a:pt x="590825" y="543406"/>
                      <a:pt x="581460" y="539445"/>
                    </a:cubicBezTo>
                    <a:cubicBezTo>
                      <a:pt x="579807" y="538932"/>
                      <a:pt x="577927" y="538191"/>
                      <a:pt x="577471" y="536538"/>
                    </a:cubicBezTo>
                    <a:cubicBezTo>
                      <a:pt x="576673" y="533859"/>
                      <a:pt x="580206" y="531922"/>
                      <a:pt x="583170" y="532092"/>
                    </a:cubicBezTo>
                    <a:cubicBezTo>
                      <a:pt x="586134" y="532263"/>
                      <a:pt x="588870" y="533403"/>
                      <a:pt x="591434" y="532092"/>
                    </a:cubicBezTo>
                    <a:cubicBezTo>
                      <a:pt x="591890" y="530041"/>
                      <a:pt x="592346" y="527989"/>
                      <a:pt x="592745" y="525994"/>
                    </a:cubicBezTo>
                    <a:cubicBezTo>
                      <a:pt x="595367" y="528673"/>
                      <a:pt x="599243" y="523144"/>
                      <a:pt x="597533" y="519782"/>
                    </a:cubicBezTo>
                    <a:cubicBezTo>
                      <a:pt x="595823" y="516419"/>
                      <a:pt x="591833" y="514082"/>
                      <a:pt x="591035" y="510662"/>
                    </a:cubicBezTo>
                    <a:cubicBezTo>
                      <a:pt x="590408" y="508155"/>
                      <a:pt x="591035" y="505419"/>
                      <a:pt x="590237" y="503082"/>
                    </a:cubicBezTo>
                    <a:cubicBezTo>
                      <a:pt x="588528" y="499093"/>
                      <a:pt x="582828" y="498922"/>
                      <a:pt x="578839" y="500232"/>
                    </a:cubicBezTo>
                    <a:cubicBezTo>
                      <a:pt x="574929" y="502313"/>
                      <a:pt x="570415" y="502977"/>
                      <a:pt x="566072" y="502113"/>
                    </a:cubicBezTo>
                    <a:cubicBezTo>
                      <a:pt x="565234" y="507285"/>
                      <a:pt x="561552" y="511542"/>
                      <a:pt x="556554" y="513113"/>
                    </a:cubicBezTo>
                    <a:cubicBezTo>
                      <a:pt x="551624" y="514548"/>
                      <a:pt x="546910" y="516637"/>
                      <a:pt x="542533" y="519326"/>
                    </a:cubicBezTo>
                    <a:cubicBezTo>
                      <a:pt x="540994" y="520523"/>
                      <a:pt x="539683" y="522004"/>
                      <a:pt x="538087" y="523201"/>
                    </a:cubicBezTo>
                    <a:cubicBezTo>
                      <a:pt x="536172" y="524442"/>
                      <a:pt x="534103" y="525420"/>
                      <a:pt x="531932" y="526108"/>
                    </a:cubicBezTo>
                    <a:lnTo>
                      <a:pt x="505543" y="535968"/>
                    </a:lnTo>
                    <a:cubicBezTo>
                      <a:pt x="507481" y="538989"/>
                      <a:pt x="505201" y="542978"/>
                      <a:pt x="502580" y="545372"/>
                    </a:cubicBezTo>
                    <a:cubicBezTo>
                      <a:pt x="499958" y="547766"/>
                      <a:pt x="496880" y="550046"/>
                      <a:pt x="495911" y="553579"/>
                    </a:cubicBezTo>
                    <a:cubicBezTo>
                      <a:pt x="494942" y="557113"/>
                      <a:pt x="497678" y="562927"/>
                      <a:pt x="494315" y="564978"/>
                    </a:cubicBezTo>
                    <a:cubicBezTo>
                      <a:pt x="492833" y="566004"/>
                      <a:pt x="490896" y="565776"/>
                      <a:pt x="489300" y="566574"/>
                    </a:cubicBezTo>
                    <a:cubicBezTo>
                      <a:pt x="485709" y="568284"/>
                      <a:pt x="486051" y="573927"/>
                      <a:pt x="488958" y="576605"/>
                    </a:cubicBezTo>
                    <a:cubicBezTo>
                      <a:pt x="492144" y="578982"/>
                      <a:pt x="495985" y="580333"/>
                      <a:pt x="499958" y="580481"/>
                    </a:cubicBezTo>
                    <a:cubicBezTo>
                      <a:pt x="503953" y="580601"/>
                      <a:pt x="507766" y="582179"/>
                      <a:pt x="510673" y="584927"/>
                    </a:cubicBezTo>
                    <a:cubicBezTo>
                      <a:pt x="511727" y="586654"/>
                      <a:pt x="512970" y="588261"/>
                      <a:pt x="514377" y="589714"/>
                    </a:cubicBezTo>
                    <a:cubicBezTo>
                      <a:pt x="518424" y="592792"/>
                      <a:pt x="524352" y="588916"/>
                      <a:pt x="529367" y="590113"/>
                    </a:cubicBezTo>
                    <a:cubicBezTo>
                      <a:pt x="527937" y="586448"/>
                      <a:pt x="529749" y="582316"/>
                      <a:pt x="533414" y="580886"/>
                    </a:cubicBezTo>
                    <a:cubicBezTo>
                      <a:pt x="533471" y="580863"/>
                      <a:pt x="533528" y="580846"/>
                      <a:pt x="533585" y="580823"/>
                    </a:cubicBezTo>
                    <a:cubicBezTo>
                      <a:pt x="537272" y="579626"/>
                      <a:pt x="541228" y="579506"/>
                      <a:pt x="544984" y="580481"/>
                    </a:cubicBezTo>
                    <a:lnTo>
                      <a:pt x="564020" y="583502"/>
                    </a:lnTo>
                    <a:cubicBezTo>
                      <a:pt x="566585" y="586066"/>
                      <a:pt x="562937" y="590056"/>
                      <a:pt x="559688" y="591595"/>
                    </a:cubicBezTo>
                    <a:cubicBezTo>
                      <a:pt x="548694" y="596576"/>
                      <a:pt x="536617" y="598697"/>
                      <a:pt x="524580" y="597750"/>
                    </a:cubicBezTo>
                    <a:cubicBezTo>
                      <a:pt x="522140" y="597289"/>
                      <a:pt x="519621" y="597568"/>
                      <a:pt x="517341" y="598548"/>
                    </a:cubicBezTo>
                    <a:cubicBezTo>
                      <a:pt x="514947" y="599916"/>
                      <a:pt x="513979" y="602766"/>
                      <a:pt x="512326" y="604932"/>
                    </a:cubicBezTo>
                    <a:cubicBezTo>
                      <a:pt x="510673" y="607098"/>
                      <a:pt x="507196" y="608693"/>
                      <a:pt x="505372" y="606699"/>
                    </a:cubicBezTo>
                    <a:cubicBezTo>
                      <a:pt x="504170" y="608693"/>
                      <a:pt x="504307" y="611224"/>
                      <a:pt x="505714" y="613082"/>
                    </a:cubicBezTo>
                    <a:cubicBezTo>
                      <a:pt x="509009" y="618012"/>
                      <a:pt x="514178" y="621369"/>
                      <a:pt x="520020" y="622372"/>
                    </a:cubicBezTo>
                    <a:cubicBezTo>
                      <a:pt x="537745" y="626533"/>
                      <a:pt x="555756" y="617984"/>
                      <a:pt x="573880" y="616673"/>
                    </a:cubicBezTo>
                    <a:cubicBezTo>
                      <a:pt x="584663" y="616182"/>
                      <a:pt x="595475" y="616946"/>
                      <a:pt x="606082" y="618952"/>
                    </a:cubicBezTo>
                    <a:cubicBezTo>
                      <a:pt x="609165" y="619106"/>
                      <a:pt x="612129" y="620201"/>
                      <a:pt x="614574" y="622087"/>
                    </a:cubicBezTo>
                    <a:cubicBezTo>
                      <a:pt x="616113" y="623569"/>
                      <a:pt x="616968" y="625621"/>
                      <a:pt x="618564" y="627046"/>
                    </a:cubicBezTo>
                    <a:cubicBezTo>
                      <a:pt x="622269" y="630465"/>
                      <a:pt x="628082" y="629097"/>
                      <a:pt x="633098" y="629040"/>
                    </a:cubicBezTo>
                    <a:cubicBezTo>
                      <a:pt x="638113" y="628984"/>
                      <a:pt x="644497" y="632973"/>
                      <a:pt x="642445" y="637590"/>
                    </a:cubicBezTo>
                    <a:cubicBezTo>
                      <a:pt x="641134" y="640667"/>
                      <a:pt x="637087" y="641237"/>
                      <a:pt x="633725" y="641351"/>
                    </a:cubicBezTo>
                    <a:lnTo>
                      <a:pt x="602719" y="642548"/>
                    </a:lnTo>
                    <a:lnTo>
                      <a:pt x="588927" y="643118"/>
                    </a:lnTo>
                    <a:cubicBezTo>
                      <a:pt x="569132" y="644230"/>
                      <a:pt x="549287" y="644344"/>
                      <a:pt x="529481" y="643460"/>
                    </a:cubicBezTo>
                    <a:cubicBezTo>
                      <a:pt x="530387" y="647940"/>
                      <a:pt x="527635" y="652340"/>
                      <a:pt x="523212" y="653491"/>
                    </a:cubicBezTo>
                    <a:cubicBezTo>
                      <a:pt x="520362" y="654118"/>
                      <a:pt x="515802" y="655372"/>
                      <a:pt x="517512" y="657880"/>
                    </a:cubicBezTo>
                    <a:lnTo>
                      <a:pt x="529880" y="661129"/>
                    </a:lnTo>
                    <a:cubicBezTo>
                      <a:pt x="528831" y="663066"/>
                      <a:pt x="529339" y="665477"/>
                      <a:pt x="531077" y="666828"/>
                    </a:cubicBezTo>
                    <a:cubicBezTo>
                      <a:pt x="546842" y="673342"/>
                      <a:pt x="563855" y="676261"/>
                      <a:pt x="580890" y="675377"/>
                    </a:cubicBezTo>
                    <a:cubicBezTo>
                      <a:pt x="587468" y="674465"/>
                      <a:pt x="594147" y="674465"/>
                      <a:pt x="600725" y="675377"/>
                    </a:cubicBezTo>
                    <a:cubicBezTo>
                      <a:pt x="602668" y="675696"/>
                      <a:pt x="604458" y="676614"/>
                      <a:pt x="605854" y="677999"/>
                    </a:cubicBezTo>
                    <a:cubicBezTo>
                      <a:pt x="607028" y="679692"/>
                      <a:pt x="607752" y="681652"/>
                      <a:pt x="607963" y="683698"/>
                    </a:cubicBezTo>
                    <a:cubicBezTo>
                      <a:pt x="608875" y="688885"/>
                      <a:pt x="609844" y="694071"/>
                      <a:pt x="610756" y="699258"/>
                    </a:cubicBezTo>
                    <a:cubicBezTo>
                      <a:pt x="610978" y="701526"/>
                      <a:pt x="611759" y="703698"/>
                      <a:pt x="613035" y="705584"/>
                    </a:cubicBezTo>
                    <a:cubicBezTo>
                      <a:pt x="616090" y="708463"/>
                      <a:pt x="620268" y="709842"/>
                      <a:pt x="624434" y="709346"/>
                    </a:cubicBezTo>
                    <a:cubicBezTo>
                      <a:pt x="642080" y="709688"/>
                      <a:pt x="659737" y="709118"/>
                      <a:pt x="677325" y="707636"/>
                    </a:cubicBezTo>
                    <a:cubicBezTo>
                      <a:pt x="676015" y="704103"/>
                      <a:pt x="680289" y="700968"/>
                      <a:pt x="684051" y="700569"/>
                    </a:cubicBezTo>
                    <a:cubicBezTo>
                      <a:pt x="687795" y="700877"/>
                      <a:pt x="691563" y="700312"/>
                      <a:pt x="695051" y="698916"/>
                    </a:cubicBezTo>
                    <a:cubicBezTo>
                      <a:pt x="696698" y="697485"/>
                      <a:pt x="698225" y="695924"/>
                      <a:pt x="699610" y="694242"/>
                    </a:cubicBezTo>
                    <a:cubicBezTo>
                      <a:pt x="703970" y="691302"/>
                      <a:pt x="709311" y="690179"/>
                      <a:pt x="714486" y="691108"/>
                    </a:cubicBezTo>
                    <a:cubicBezTo>
                      <a:pt x="723776" y="691621"/>
                      <a:pt x="733978" y="692020"/>
                      <a:pt x="741388" y="686434"/>
                    </a:cubicBezTo>
                    <a:cubicBezTo>
                      <a:pt x="747087" y="682046"/>
                      <a:pt x="751305" y="674009"/>
                      <a:pt x="758486" y="673667"/>
                    </a:cubicBezTo>
                    <a:cubicBezTo>
                      <a:pt x="768289" y="673211"/>
                      <a:pt x="772963" y="686776"/>
                      <a:pt x="782367" y="689455"/>
                    </a:cubicBezTo>
                    <a:cubicBezTo>
                      <a:pt x="787097" y="690823"/>
                      <a:pt x="792740" y="689455"/>
                      <a:pt x="796558" y="692419"/>
                    </a:cubicBezTo>
                    <a:cubicBezTo>
                      <a:pt x="799351" y="694641"/>
                      <a:pt x="800149" y="698688"/>
                      <a:pt x="802885" y="701025"/>
                    </a:cubicBezTo>
                    <a:cubicBezTo>
                      <a:pt x="806179" y="703082"/>
                      <a:pt x="810129" y="703818"/>
                      <a:pt x="813942" y="703077"/>
                    </a:cubicBezTo>
                    <a:lnTo>
                      <a:pt x="843465" y="700911"/>
                    </a:lnTo>
                    <a:cubicBezTo>
                      <a:pt x="846617" y="700934"/>
                      <a:pt x="849712" y="700084"/>
                      <a:pt x="852413" y="698460"/>
                    </a:cubicBezTo>
                    <a:cubicBezTo>
                      <a:pt x="856574" y="695211"/>
                      <a:pt x="859481" y="687517"/>
                      <a:pt x="864268" y="689797"/>
                    </a:cubicBezTo>
                    <a:cubicBezTo>
                      <a:pt x="866206" y="682844"/>
                      <a:pt x="862615" y="675719"/>
                      <a:pt x="859139" y="669507"/>
                    </a:cubicBezTo>
                    <a:cubicBezTo>
                      <a:pt x="858757" y="668715"/>
                      <a:pt x="858238" y="668002"/>
                      <a:pt x="857600" y="667398"/>
                    </a:cubicBezTo>
                    <a:cubicBezTo>
                      <a:pt x="853496" y="663636"/>
                      <a:pt x="848424" y="670647"/>
                      <a:pt x="843465" y="673097"/>
                    </a:cubicBezTo>
                    <a:cubicBezTo>
                      <a:pt x="838518" y="674961"/>
                      <a:pt x="832995" y="672459"/>
                      <a:pt x="831131" y="667512"/>
                    </a:cubicBezTo>
                    <a:cubicBezTo>
                      <a:pt x="830499" y="665842"/>
                      <a:pt x="830351" y="664024"/>
                      <a:pt x="830698" y="662268"/>
                    </a:cubicBezTo>
                    <a:cubicBezTo>
                      <a:pt x="835343" y="662496"/>
                      <a:pt x="839994" y="661898"/>
                      <a:pt x="844434" y="660502"/>
                    </a:cubicBezTo>
                    <a:close/>
                    <a:moveTo>
                      <a:pt x="429113" y="384818"/>
                    </a:moveTo>
                    <a:cubicBezTo>
                      <a:pt x="429951" y="385166"/>
                      <a:pt x="430897" y="385166"/>
                      <a:pt x="431735" y="384818"/>
                    </a:cubicBezTo>
                    <a:cubicBezTo>
                      <a:pt x="432362" y="384246"/>
                      <a:pt x="432778" y="383486"/>
                      <a:pt x="432932" y="382652"/>
                    </a:cubicBezTo>
                    <a:cubicBezTo>
                      <a:pt x="433593" y="379087"/>
                      <a:pt x="435645" y="375930"/>
                      <a:pt x="438632" y="373875"/>
                    </a:cubicBezTo>
                    <a:cubicBezTo>
                      <a:pt x="441749" y="371973"/>
                      <a:pt x="445819" y="372958"/>
                      <a:pt x="447716" y="376075"/>
                    </a:cubicBezTo>
                    <a:cubicBezTo>
                      <a:pt x="447768" y="376158"/>
                      <a:pt x="447819" y="376241"/>
                      <a:pt x="447865" y="376326"/>
                    </a:cubicBezTo>
                    <a:cubicBezTo>
                      <a:pt x="448298" y="378369"/>
                      <a:pt x="448526" y="380450"/>
                      <a:pt x="448549" y="382538"/>
                    </a:cubicBezTo>
                    <a:cubicBezTo>
                      <a:pt x="449221" y="386511"/>
                      <a:pt x="452983" y="389187"/>
                      <a:pt x="456955" y="388516"/>
                    </a:cubicBezTo>
                    <a:cubicBezTo>
                      <a:pt x="460312" y="387949"/>
                      <a:pt x="462832" y="385137"/>
                      <a:pt x="463025" y="381740"/>
                    </a:cubicBezTo>
                    <a:cubicBezTo>
                      <a:pt x="463025" y="379233"/>
                      <a:pt x="462113" y="376611"/>
                      <a:pt x="463025" y="374274"/>
                    </a:cubicBezTo>
                    <a:cubicBezTo>
                      <a:pt x="464165" y="370968"/>
                      <a:pt x="468326" y="369942"/>
                      <a:pt x="471802" y="370227"/>
                    </a:cubicBezTo>
                    <a:cubicBezTo>
                      <a:pt x="475194" y="370881"/>
                      <a:pt x="478670" y="370881"/>
                      <a:pt x="482061" y="370227"/>
                    </a:cubicBezTo>
                    <a:cubicBezTo>
                      <a:pt x="486610" y="368122"/>
                      <a:pt x="489739" y="363806"/>
                      <a:pt x="490326" y="358828"/>
                    </a:cubicBezTo>
                    <a:cubicBezTo>
                      <a:pt x="490953" y="354013"/>
                      <a:pt x="492417" y="349345"/>
                      <a:pt x="494657" y="345036"/>
                    </a:cubicBezTo>
                    <a:cubicBezTo>
                      <a:pt x="498533" y="339642"/>
                      <a:pt x="505595" y="337595"/>
                      <a:pt x="511756" y="340077"/>
                    </a:cubicBezTo>
                    <a:cubicBezTo>
                      <a:pt x="513317" y="340708"/>
                      <a:pt x="514651" y="341802"/>
                      <a:pt x="515574" y="343212"/>
                    </a:cubicBezTo>
                    <a:cubicBezTo>
                      <a:pt x="518652" y="348455"/>
                      <a:pt x="512782" y="356492"/>
                      <a:pt x="517227" y="360310"/>
                    </a:cubicBezTo>
                    <a:cubicBezTo>
                      <a:pt x="522351" y="362943"/>
                      <a:pt x="528638" y="360924"/>
                      <a:pt x="531271" y="355800"/>
                    </a:cubicBezTo>
                    <a:cubicBezTo>
                      <a:pt x="532166" y="354063"/>
                      <a:pt x="532553" y="352111"/>
                      <a:pt x="532388" y="350165"/>
                    </a:cubicBezTo>
                    <a:cubicBezTo>
                      <a:pt x="532217" y="349473"/>
                      <a:pt x="532217" y="348749"/>
                      <a:pt x="532388" y="348056"/>
                    </a:cubicBezTo>
                    <a:cubicBezTo>
                      <a:pt x="533243" y="345720"/>
                      <a:pt x="536719" y="346917"/>
                      <a:pt x="539227" y="346632"/>
                    </a:cubicBezTo>
                    <a:cubicBezTo>
                      <a:pt x="541735" y="346347"/>
                      <a:pt x="544528" y="343041"/>
                      <a:pt x="545668" y="339963"/>
                    </a:cubicBezTo>
                    <a:cubicBezTo>
                      <a:pt x="546340" y="336774"/>
                      <a:pt x="547947" y="333857"/>
                      <a:pt x="550284" y="331585"/>
                    </a:cubicBezTo>
                    <a:cubicBezTo>
                      <a:pt x="551139" y="331109"/>
                      <a:pt x="551931" y="330513"/>
                      <a:pt x="552621" y="329818"/>
                    </a:cubicBezTo>
                    <a:cubicBezTo>
                      <a:pt x="554103" y="327766"/>
                      <a:pt x="552621" y="324974"/>
                      <a:pt x="550569" y="323264"/>
                    </a:cubicBezTo>
                    <a:cubicBezTo>
                      <a:pt x="548517" y="321554"/>
                      <a:pt x="546580" y="319274"/>
                      <a:pt x="547378" y="316880"/>
                    </a:cubicBezTo>
                    <a:cubicBezTo>
                      <a:pt x="550991" y="317104"/>
                      <a:pt x="554604" y="316540"/>
                      <a:pt x="557979" y="315228"/>
                    </a:cubicBezTo>
                    <a:cubicBezTo>
                      <a:pt x="559352" y="309810"/>
                      <a:pt x="557044" y="304129"/>
                      <a:pt x="552279" y="301207"/>
                    </a:cubicBezTo>
                    <a:cubicBezTo>
                      <a:pt x="547452" y="298553"/>
                      <a:pt x="541900" y="297495"/>
                      <a:pt x="536434" y="298186"/>
                    </a:cubicBezTo>
                    <a:cubicBezTo>
                      <a:pt x="534611" y="305175"/>
                      <a:pt x="531727" y="311844"/>
                      <a:pt x="527885" y="317963"/>
                    </a:cubicBezTo>
                    <a:cubicBezTo>
                      <a:pt x="522186" y="318362"/>
                      <a:pt x="515232" y="317963"/>
                      <a:pt x="512782" y="312891"/>
                    </a:cubicBezTo>
                    <a:cubicBezTo>
                      <a:pt x="512366" y="311502"/>
                      <a:pt x="511687" y="310207"/>
                      <a:pt x="510787" y="309072"/>
                    </a:cubicBezTo>
                    <a:cubicBezTo>
                      <a:pt x="509664" y="308263"/>
                      <a:pt x="508296" y="307861"/>
                      <a:pt x="506911" y="307932"/>
                    </a:cubicBezTo>
                    <a:cubicBezTo>
                      <a:pt x="500796" y="308311"/>
                      <a:pt x="494800" y="309758"/>
                      <a:pt x="489186" y="312207"/>
                    </a:cubicBezTo>
                    <a:cubicBezTo>
                      <a:pt x="486376" y="312996"/>
                      <a:pt x="483720" y="314247"/>
                      <a:pt x="481321" y="315911"/>
                    </a:cubicBezTo>
                    <a:cubicBezTo>
                      <a:pt x="478887" y="317687"/>
                      <a:pt x="477547" y="320601"/>
                      <a:pt x="477787" y="323606"/>
                    </a:cubicBezTo>
                    <a:cubicBezTo>
                      <a:pt x="471979" y="323672"/>
                      <a:pt x="466793" y="327257"/>
                      <a:pt x="464678" y="332668"/>
                    </a:cubicBezTo>
                    <a:cubicBezTo>
                      <a:pt x="462279" y="337273"/>
                      <a:pt x="461082" y="342409"/>
                      <a:pt x="461201" y="347601"/>
                    </a:cubicBezTo>
                    <a:cubicBezTo>
                      <a:pt x="461350" y="349121"/>
                      <a:pt x="461173" y="350655"/>
                      <a:pt x="460688" y="352103"/>
                    </a:cubicBezTo>
                    <a:cubicBezTo>
                      <a:pt x="459549" y="354839"/>
                      <a:pt x="456129" y="355694"/>
                      <a:pt x="453222" y="356321"/>
                    </a:cubicBezTo>
                    <a:cubicBezTo>
                      <a:pt x="444639" y="358143"/>
                      <a:pt x="436283" y="360915"/>
                      <a:pt x="428316" y="364585"/>
                    </a:cubicBezTo>
                    <a:cubicBezTo>
                      <a:pt x="424371" y="366055"/>
                      <a:pt x="420929" y="368626"/>
                      <a:pt x="418398" y="371994"/>
                    </a:cubicBezTo>
                    <a:cubicBezTo>
                      <a:pt x="415896" y="375580"/>
                      <a:pt x="416461" y="380469"/>
                      <a:pt x="419709" y="383393"/>
                    </a:cubicBezTo>
                    <a:close/>
                    <a:moveTo>
                      <a:pt x="502694" y="392284"/>
                    </a:moveTo>
                    <a:cubicBezTo>
                      <a:pt x="506883" y="391614"/>
                      <a:pt x="510815" y="389844"/>
                      <a:pt x="514093" y="387155"/>
                    </a:cubicBezTo>
                    <a:cubicBezTo>
                      <a:pt x="514446" y="383961"/>
                      <a:pt x="514309" y="380733"/>
                      <a:pt x="513694" y="377580"/>
                    </a:cubicBezTo>
                    <a:cubicBezTo>
                      <a:pt x="513295" y="375585"/>
                      <a:pt x="512326" y="373248"/>
                      <a:pt x="510274" y="372849"/>
                    </a:cubicBezTo>
                    <a:cubicBezTo>
                      <a:pt x="510274" y="371367"/>
                      <a:pt x="508336" y="370740"/>
                      <a:pt x="507025" y="371367"/>
                    </a:cubicBezTo>
                    <a:cubicBezTo>
                      <a:pt x="504118" y="372792"/>
                      <a:pt x="503605" y="376725"/>
                      <a:pt x="501326" y="379062"/>
                    </a:cubicBezTo>
                    <a:cubicBezTo>
                      <a:pt x="499946" y="380322"/>
                      <a:pt x="498282" y="381241"/>
                      <a:pt x="496481" y="381740"/>
                    </a:cubicBezTo>
                    <a:cubicBezTo>
                      <a:pt x="492890" y="383051"/>
                      <a:pt x="489243" y="384248"/>
                      <a:pt x="485595" y="385274"/>
                    </a:cubicBezTo>
                    <a:cubicBezTo>
                      <a:pt x="486387" y="388155"/>
                      <a:pt x="485931" y="391236"/>
                      <a:pt x="484341" y="393766"/>
                    </a:cubicBezTo>
                    <a:cubicBezTo>
                      <a:pt x="483635" y="394332"/>
                      <a:pt x="483019" y="395005"/>
                      <a:pt x="482517" y="395761"/>
                    </a:cubicBezTo>
                    <a:cubicBezTo>
                      <a:pt x="481799" y="397407"/>
                      <a:pt x="482409" y="399330"/>
                      <a:pt x="483942" y="400264"/>
                    </a:cubicBezTo>
                    <a:cubicBezTo>
                      <a:pt x="485419" y="401180"/>
                      <a:pt x="487105" y="401708"/>
                      <a:pt x="488844" y="401803"/>
                    </a:cubicBezTo>
                    <a:cubicBezTo>
                      <a:pt x="491431" y="402365"/>
                      <a:pt x="494133" y="402065"/>
                      <a:pt x="496538" y="400948"/>
                    </a:cubicBezTo>
                    <a:cubicBezTo>
                      <a:pt x="497792" y="399181"/>
                      <a:pt x="496538" y="396616"/>
                      <a:pt x="497450" y="394735"/>
                    </a:cubicBezTo>
                    <a:cubicBezTo>
                      <a:pt x="498362" y="392854"/>
                      <a:pt x="500585" y="392626"/>
                      <a:pt x="502694" y="392284"/>
                    </a:cubicBezTo>
                    <a:close/>
                    <a:moveTo>
                      <a:pt x="557409" y="366295"/>
                    </a:moveTo>
                    <a:cubicBezTo>
                      <a:pt x="553704" y="369088"/>
                      <a:pt x="546580" y="366295"/>
                      <a:pt x="544699" y="370797"/>
                    </a:cubicBezTo>
                    <a:cubicBezTo>
                      <a:pt x="544003" y="372892"/>
                      <a:pt x="544739" y="375196"/>
                      <a:pt x="546523" y="376497"/>
                    </a:cubicBezTo>
                    <a:cubicBezTo>
                      <a:pt x="548250" y="377760"/>
                      <a:pt x="550176" y="378724"/>
                      <a:pt x="552222" y="379347"/>
                    </a:cubicBezTo>
                    <a:cubicBezTo>
                      <a:pt x="557768" y="381460"/>
                      <a:pt x="562874" y="384592"/>
                      <a:pt x="567269" y="388580"/>
                    </a:cubicBezTo>
                    <a:lnTo>
                      <a:pt x="539170" y="388124"/>
                    </a:lnTo>
                    <a:cubicBezTo>
                      <a:pt x="535238" y="388124"/>
                      <a:pt x="529823" y="389435"/>
                      <a:pt x="530222" y="393367"/>
                    </a:cubicBezTo>
                    <a:cubicBezTo>
                      <a:pt x="530564" y="396046"/>
                      <a:pt x="533642" y="397414"/>
                      <a:pt x="536263" y="398098"/>
                    </a:cubicBezTo>
                    <a:cubicBezTo>
                      <a:pt x="545571" y="400453"/>
                      <a:pt x="555169" y="401470"/>
                      <a:pt x="564761" y="401119"/>
                    </a:cubicBezTo>
                    <a:cubicBezTo>
                      <a:pt x="564761" y="405336"/>
                      <a:pt x="559061" y="406818"/>
                      <a:pt x="554901" y="407217"/>
                    </a:cubicBezTo>
                    <a:lnTo>
                      <a:pt x="527999" y="409611"/>
                    </a:lnTo>
                    <a:cubicBezTo>
                      <a:pt x="525503" y="409595"/>
                      <a:pt x="523052" y="410287"/>
                      <a:pt x="520932" y="411606"/>
                    </a:cubicBezTo>
                    <a:cubicBezTo>
                      <a:pt x="518874" y="413115"/>
                      <a:pt x="518436" y="416004"/>
                      <a:pt x="519946" y="418059"/>
                    </a:cubicBezTo>
                    <a:cubicBezTo>
                      <a:pt x="519969" y="418093"/>
                      <a:pt x="519991" y="418127"/>
                      <a:pt x="520020" y="418160"/>
                    </a:cubicBezTo>
                    <a:cubicBezTo>
                      <a:pt x="521086" y="418928"/>
                      <a:pt x="522357" y="419364"/>
                      <a:pt x="523668" y="419414"/>
                    </a:cubicBezTo>
                    <a:lnTo>
                      <a:pt x="548460" y="422891"/>
                    </a:lnTo>
                    <a:cubicBezTo>
                      <a:pt x="559859" y="424543"/>
                      <a:pt x="573538" y="425455"/>
                      <a:pt x="581346" y="416792"/>
                    </a:cubicBezTo>
                    <a:cubicBezTo>
                      <a:pt x="584367" y="413429"/>
                      <a:pt x="586020" y="408984"/>
                      <a:pt x="588927" y="405393"/>
                    </a:cubicBezTo>
                    <a:cubicBezTo>
                      <a:pt x="591497" y="401469"/>
                      <a:pt x="596421" y="399820"/>
                      <a:pt x="600839" y="401404"/>
                    </a:cubicBezTo>
                    <a:cubicBezTo>
                      <a:pt x="604264" y="403717"/>
                      <a:pt x="605672" y="408065"/>
                      <a:pt x="604258" y="411948"/>
                    </a:cubicBezTo>
                    <a:cubicBezTo>
                      <a:pt x="602765" y="415702"/>
                      <a:pt x="600451" y="419072"/>
                      <a:pt x="597476" y="421808"/>
                    </a:cubicBezTo>
                    <a:cubicBezTo>
                      <a:pt x="601699" y="424140"/>
                      <a:pt x="606817" y="424140"/>
                      <a:pt x="611041" y="421808"/>
                    </a:cubicBezTo>
                    <a:cubicBezTo>
                      <a:pt x="615315" y="419756"/>
                      <a:pt x="619020" y="416678"/>
                      <a:pt x="623408" y="414740"/>
                    </a:cubicBezTo>
                    <a:cubicBezTo>
                      <a:pt x="632619" y="411724"/>
                      <a:pt x="642490" y="411349"/>
                      <a:pt x="651906" y="413657"/>
                    </a:cubicBezTo>
                    <a:lnTo>
                      <a:pt x="651906" y="420497"/>
                    </a:lnTo>
                    <a:lnTo>
                      <a:pt x="644269" y="421466"/>
                    </a:lnTo>
                    <a:cubicBezTo>
                      <a:pt x="643414" y="423745"/>
                      <a:pt x="642616" y="426025"/>
                      <a:pt x="641761" y="428248"/>
                    </a:cubicBezTo>
                    <a:cubicBezTo>
                      <a:pt x="636061" y="425740"/>
                      <a:pt x="630077" y="431725"/>
                      <a:pt x="624206" y="434404"/>
                    </a:cubicBezTo>
                    <a:cubicBezTo>
                      <a:pt x="621112" y="435678"/>
                      <a:pt x="617846" y="436504"/>
                      <a:pt x="614517" y="436854"/>
                    </a:cubicBezTo>
                    <a:lnTo>
                      <a:pt x="588015" y="440901"/>
                    </a:lnTo>
                    <a:cubicBezTo>
                      <a:pt x="587188" y="444565"/>
                      <a:pt x="588653" y="448367"/>
                      <a:pt x="591719" y="450533"/>
                    </a:cubicBezTo>
                    <a:cubicBezTo>
                      <a:pt x="594757" y="452563"/>
                      <a:pt x="598234" y="453833"/>
                      <a:pt x="601864" y="454238"/>
                    </a:cubicBezTo>
                    <a:cubicBezTo>
                      <a:pt x="613885" y="456350"/>
                      <a:pt x="626207" y="456059"/>
                      <a:pt x="638113" y="453383"/>
                    </a:cubicBezTo>
                    <a:cubicBezTo>
                      <a:pt x="640718" y="453087"/>
                      <a:pt x="643117" y="451826"/>
                      <a:pt x="644838" y="449849"/>
                    </a:cubicBezTo>
                    <a:cubicBezTo>
                      <a:pt x="645386" y="448668"/>
                      <a:pt x="646075" y="447558"/>
                      <a:pt x="646890" y="446543"/>
                    </a:cubicBezTo>
                    <a:cubicBezTo>
                      <a:pt x="649569" y="444093"/>
                      <a:pt x="654471" y="447056"/>
                      <a:pt x="657377" y="444891"/>
                    </a:cubicBezTo>
                    <a:cubicBezTo>
                      <a:pt x="660284" y="442725"/>
                      <a:pt x="659201" y="438621"/>
                      <a:pt x="661709" y="436797"/>
                    </a:cubicBezTo>
                    <a:cubicBezTo>
                      <a:pt x="663094" y="436118"/>
                      <a:pt x="664610" y="435749"/>
                      <a:pt x="666155" y="435714"/>
                    </a:cubicBezTo>
                    <a:cubicBezTo>
                      <a:pt x="672367" y="434631"/>
                      <a:pt x="676300" y="428305"/>
                      <a:pt x="682113" y="425797"/>
                    </a:cubicBezTo>
                    <a:cubicBezTo>
                      <a:pt x="685766" y="424515"/>
                      <a:pt x="689648" y="423991"/>
                      <a:pt x="693512" y="424258"/>
                    </a:cubicBezTo>
                    <a:lnTo>
                      <a:pt x="748113" y="424258"/>
                    </a:lnTo>
                    <a:cubicBezTo>
                      <a:pt x="752901" y="424486"/>
                      <a:pt x="757694" y="423928"/>
                      <a:pt x="762305" y="422606"/>
                    </a:cubicBezTo>
                    <a:cubicBezTo>
                      <a:pt x="766967" y="421204"/>
                      <a:pt x="770620" y="417570"/>
                      <a:pt x="772051" y="412916"/>
                    </a:cubicBezTo>
                    <a:cubicBezTo>
                      <a:pt x="772262" y="410983"/>
                      <a:pt x="772666" y="409074"/>
                      <a:pt x="773248" y="407217"/>
                    </a:cubicBezTo>
                    <a:cubicBezTo>
                      <a:pt x="774274" y="405592"/>
                      <a:pt x="775522" y="404115"/>
                      <a:pt x="776952" y="402828"/>
                    </a:cubicBezTo>
                    <a:cubicBezTo>
                      <a:pt x="782025" y="396673"/>
                      <a:pt x="779574" y="387041"/>
                      <a:pt x="774672" y="380771"/>
                    </a:cubicBezTo>
                    <a:cubicBezTo>
                      <a:pt x="771960" y="376514"/>
                      <a:pt x="767024" y="374222"/>
                      <a:pt x="762020" y="374901"/>
                    </a:cubicBezTo>
                    <a:cubicBezTo>
                      <a:pt x="754325" y="376782"/>
                      <a:pt x="752160" y="389150"/>
                      <a:pt x="744294" y="389435"/>
                    </a:cubicBezTo>
                    <a:cubicBezTo>
                      <a:pt x="742630" y="389374"/>
                      <a:pt x="740994" y="389027"/>
                      <a:pt x="739450" y="388409"/>
                    </a:cubicBezTo>
                    <a:cubicBezTo>
                      <a:pt x="738452" y="388143"/>
                      <a:pt x="737546" y="387611"/>
                      <a:pt x="736828" y="386870"/>
                    </a:cubicBezTo>
                    <a:cubicBezTo>
                      <a:pt x="736338" y="385932"/>
                      <a:pt x="736047" y="384904"/>
                      <a:pt x="735973" y="383849"/>
                    </a:cubicBezTo>
                    <a:cubicBezTo>
                      <a:pt x="734206" y="375984"/>
                      <a:pt x="720869" y="374616"/>
                      <a:pt x="720356" y="366751"/>
                    </a:cubicBezTo>
                    <a:cubicBezTo>
                      <a:pt x="720356" y="364528"/>
                      <a:pt x="721211" y="362134"/>
                      <a:pt x="720356" y="360082"/>
                    </a:cubicBezTo>
                    <a:cubicBezTo>
                      <a:pt x="718533" y="355922"/>
                      <a:pt x="711636" y="357518"/>
                      <a:pt x="708502" y="354383"/>
                    </a:cubicBezTo>
                    <a:cubicBezTo>
                      <a:pt x="706906" y="352730"/>
                      <a:pt x="706621" y="350165"/>
                      <a:pt x="705367" y="348227"/>
                    </a:cubicBezTo>
                    <a:cubicBezTo>
                      <a:pt x="701947" y="342870"/>
                      <a:pt x="693968" y="344580"/>
                      <a:pt x="688268" y="346974"/>
                    </a:cubicBezTo>
                    <a:cubicBezTo>
                      <a:pt x="686798" y="347445"/>
                      <a:pt x="685453" y="348244"/>
                      <a:pt x="684336" y="349310"/>
                    </a:cubicBezTo>
                    <a:cubicBezTo>
                      <a:pt x="683680" y="350222"/>
                      <a:pt x="683196" y="351246"/>
                      <a:pt x="682911" y="352331"/>
                    </a:cubicBezTo>
                    <a:cubicBezTo>
                      <a:pt x="681138" y="357707"/>
                      <a:pt x="680010" y="363274"/>
                      <a:pt x="679548" y="368917"/>
                    </a:cubicBezTo>
                    <a:lnTo>
                      <a:pt x="696077" y="375015"/>
                    </a:lnTo>
                    <a:cubicBezTo>
                      <a:pt x="695222" y="378150"/>
                      <a:pt x="690776" y="378264"/>
                      <a:pt x="688439" y="380714"/>
                    </a:cubicBezTo>
                    <a:cubicBezTo>
                      <a:pt x="686017" y="383891"/>
                      <a:pt x="686570" y="388421"/>
                      <a:pt x="689693" y="390917"/>
                    </a:cubicBezTo>
                    <a:cubicBezTo>
                      <a:pt x="692743" y="393292"/>
                      <a:pt x="696122" y="395212"/>
                      <a:pt x="699724" y="396616"/>
                    </a:cubicBezTo>
                    <a:cubicBezTo>
                      <a:pt x="703315" y="398113"/>
                      <a:pt x="705891" y="401336"/>
                      <a:pt x="706564" y="405165"/>
                    </a:cubicBezTo>
                    <a:cubicBezTo>
                      <a:pt x="691198" y="407044"/>
                      <a:pt x="675616" y="406136"/>
                      <a:pt x="660569" y="402486"/>
                    </a:cubicBezTo>
                    <a:cubicBezTo>
                      <a:pt x="659902" y="402376"/>
                      <a:pt x="659275" y="402102"/>
                      <a:pt x="658745" y="401689"/>
                    </a:cubicBezTo>
                    <a:cubicBezTo>
                      <a:pt x="658130" y="400855"/>
                      <a:pt x="657759" y="399869"/>
                      <a:pt x="657662" y="398839"/>
                    </a:cubicBezTo>
                    <a:cubicBezTo>
                      <a:pt x="656408" y="394336"/>
                      <a:pt x="651051" y="392569"/>
                      <a:pt x="646263" y="391486"/>
                    </a:cubicBezTo>
                    <a:cubicBezTo>
                      <a:pt x="647620" y="389288"/>
                      <a:pt x="648549" y="386851"/>
                      <a:pt x="648999" y="384305"/>
                    </a:cubicBezTo>
                    <a:cubicBezTo>
                      <a:pt x="643300" y="385844"/>
                      <a:pt x="638854" y="379575"/>
                      <a:pt x="634294" y="375756"/>
                    </a:cubicBezTo>
                    <a:cubicBezTo>
                      <a:pt x="623522" y="366694"/>
                      <a:pt x="606937" y="370569"/>
                      <a:pt x="593942" y="365098"/>
                    </a:cubicBezTo>
                    <a:cubicBezTo>
                      <a:pt x="593070" y="364779"/>
                      <a:pt x="592284" y="364250"/>
                      <a:pt x="591662" y="363559"/>
                    </a:cubicBezTo>
                    <a:cubicBezTo>
                      <a:pt x="591053" y="362480"/>
                      <a:pt x="590716" y="361266"/>
                      <a:pt x="590693" y="360025"/>
                    </a:cubicBezTo>
                    <a:cubicBezTo>
                      <a:pt x="589548" y="354245"/>
                      <a:pt x="584612" y="349990"/>
                      <a:pt x="578725" y="349709"/>
                    </a:cubicBezTo>
                    <a:cubicBezTo>
                      <a:pt x="574193" y="350031"/>
                      <a:pt x="569839" y="351588"/>
                      <a:pt x="566129" y="354212"/>
                    </a:cubicBezTo>
                    <a:cubicBezTo>
                      <a:pt x="564732" y="354908"/>
                      <a:pt x="563479" y="355855"/>
                      <a:pt x="562424" y="357005"/>
                    </a:cubicBezTo>
                    <a:cubicBezTo>
                      <a:pt x="559916" y="359056"/>
                      <a:pt x="560429" y="363958"/>
                      <a:pt x="557580" y="366295"/>
                    </a:cubicBezTo>
                    <a:close/>
                    <a:moveTo>
                      <a:pt x="579921" y="286502"/>
                    </a:moveTo>
                    <a:cubicBezTo>
                      <a:pt x="581118" y="287984"/>
                      <a:pt x="581859" y="289751"/>
                      <a:pt x="582942" y="291233"/>
                    </a:cubicBezTo>
                    <a:cubicBezTo>
                      <a:pt x="587245" y="295527"/>
                      <a:pt x="593173" y="297787"/>
                      <a:pt x="599243" y="297445"/>
                    </a:cubicBezTo>
                    <a:cubicBezTo>
                      <a:pt x="600457" y="297601"/>
                      <a:pt x="601688" y="297465"/>
                      <a:pt x="602833" y="297046"/>
                    </a:cubicBezTo>
                    <a:cubicBezTo>
                      <a:pt x="605056" y="295906"/>
                      <a:pt x="605455" y="292943"/>
                      <a:pt x="605512" y="290435"/>
                    </a:cubicBezTo>
                    <a:cubicBezTo>
                      <a:pt x="606031" y="287934"/>
                      <a:pt x="604543" y="285454"/>
                      <a:pt x="602092" y="284735"/>
                    </a:cubicBezTo>
                    <a:cubicBezTo>
                      <a:pt x="600115" y="283614"/>
                      <a:pt x="598291" y="282234"/>
                      <a:pt x="596678" y="280632"/>
                    </a:cubicBezTo>
                    <a:cubicBezTo>
                      <a:pt x="591383" y="277251"/>
                      <a:pt x="585079" y="275802"/>
                      <a:pt x="578839" y="276528"/>
                    </a:cubicBezTo>
                    <a:cubicBezTo>
                      <a:pt x="577841" y="276573"/>
                      <a:pt x="576884" y="276932"/>
                      <a:pt x="576103" y="277554"/>
                    </a:cubicBezTo>
                    <a:cubicBezTo>
                      <a:pt x="574900" y="279009"/>
                      <a:pt x="574900" y="281114"/>
                      <a:pt x="576103" y="282570"/>
                    </a:cubicBezTo>
                    <a:cubicBezTo>
                      <a:pt x="577186" y="284165"/>
                      <a:pt x="578782" y="285248"/>
                      <a:pt x="579921" y="286616"/>
                    </a:cubicBezTo>
                    <a:close/>
                    <a:moveTo>
                      <a:pt x="675160" y="284507"/>
                    </a:moveTo>
                    <a:cubicBezTo>
                      <a:pt x="680175" y="283367"/>
                      <a:pt x="685248" y="282456"/>
                      <a:pt x="690377" y="281715"/>
                    </a:cubicBezTo>
                    <a:cubicBezTo>
                      <a:pt x="691278" y="279698"/>
                      <a:pt x="690423" y="277331"/>
                      <a:pt x="688439" y="276357"/>
                    </a:cubicBezTo>
                    <a:cubicBezTo>
                      <a:pt x="686467" y="275504"/>
                      <a:pt x="684296" y="275208"/>
                      <a:pt x="682170" y="275502"/>
                    </a:cubicBezTo>
                    <a:lnTo>
                      <a:pt x="635776" y="277497"/>
                    </a:lnTo>
                    <a:cubicBezTo>
                      <a:pt x="634933" y="277458"/>
                      <a:pt x="634101" y="277677"/>
                      <a:pt x="633383" y="278124"/>
                    </a:cubicBezTo>
                    <a:cubicBezTo>
                      <a:pt x="631502" y="279549"/>
                      <a:pt x="633383" y="282570"/>
                      <a:pt x="632756" y="284849"/>
                    </a:cubicBezTo>
                    <a:cubicBezTo>
                      <a:pt x="632129" y="287129"/>
                      <a:pt x="629507" y="288611"/>
                      <a:pt x="627056" y="289010"/>
                    </a:cubicBezTo>
                    <a:cubicBezTo>
                      <a:pt x="624526" y="289054"/>
                      <a:pt x="622046" y="289762"/>
                      <a:pt x="619875" y="291062"/>
                    </a:cubicBezTo>
                    <a:cubicBezTo>
                      <a:pt x="618484" y="292301"/>
                      <a:pt x="617641" y="294045"/>
                      <a:pt x="617538" y="295906"/>
                    </a:cubicBezTo>
                    <a:cubicBezTo>
                      <a:pt x="617464" y="300996"/>
                      <a:pt x="620297" y="305684"/>
                      <a:pt x="624833" y="307989"/>
                    </a:cubicBezTo>
                    <a:cubicBezTo>
                      <a:pt x="629313" y="310154"/>
                      <a:pt x="634175" y="311431"/>
                      <a:pt x="639139" y="311751"/>
                    </a:cubicBezTo>
                    <a:lnTo>
                      <a:pt x="651393" y="313404"/>
                    </a:lnTo>
                    <a:cubicBezTo>
                      <a:pt x="653262" y="313886"/>
                      <a:pt x="655223" y="313886"/>
                      <a:pt x="657092" y="313404"/>
                    </a:cubicBezTo>
                    <a:cubicBezTo>
                      <a:pt x="658774" y="312525"/>
                      <a:pt x="660261" y="311324"/>
                      <a:pt x="661481" y="309870"/>
                    </a:cubicBezTo>
                    <a:cubicBezTo>
                      <a:pt x="664730" y="306751"/>
                      <a:pt x="668771" y="304583"/>
                      <a:pt x="673165" y="303601"/>
                    </a:cubicBezTo>
                    <a:cubicBezTo>
                      <a:pt x="676015" y="302974"/>
                      <a:pt x="679434" y="302575"/>
                      <a:pt x="680745" y="299953"/>
                    </a:cubicBezTo>
                    <a:cubicBezTo>
                      <a:pt x="681589" y="297254"/>
                      <a:pt x="680329" y="294342"/>
                      <a:pt x="677781" y="293114"/>
                    </a:cubicBezTo>
                    <a:cubicBezTo>
                      <a:pt x="675251" y="292031"/>
                      <a:pt x="672481" y="291618"/>
                      <a:pt x="669745" y="291917"/>
                    </a:cubicBezTo>
                    <a:cubicBezTo>
                      <a:pt x="668548" y="290377"/>
                      <a:pt x="668771" y="288167"/>
                      <a:pt x="670258" y="286901"/>
                    </a:cubicBezTo>
                    <a:cubicBezTo>
                      <a:pt x="671666" y="285724"/>
                      <a:pt x="673353" y="284937"/>
                      <a:pt x="675160" y="284621"/>
                    </a:cubicBezTo>
                    <a:close/>
                    <a:moveTo>
                      <a:pt x="649626" y="262222"/>
                    </a:moveTo>
                    <a:cubicBezTo>
                      <a:pt x="651564" y="262222"/>
                      <a:pt x="653901" y="262222"/>
                      <a:pt x="654813" y="260285"/>
                    </a:cubicBezTo>
                    <a:cubicBezTo>
                      <a:pt x="655457" y="258425"/>
                      <a:pt x="654693" y="256368"/>
                      <a:pt x="652989" y="255383"/>
                    </a:cubicBezTo>
                    <a:cubicBezTo>
                      <a:pt x="651393" y="254243"/>
                      <a:pt x="649455" y="253730"/>
                      <a:pt x="647916" y="252647"/>
                    </a:cubicBezTo>
                    <a:cubicBezTo>
                      <a:pt x="646377" y="251564"/>
                      <a:pt x="645978" y="250880"/>
                      <a:pt x="644952" y="250083"/>
                    </a:cubicBezTo>
                    <a:cubicBezTo>
                      <a:pt x="641920" y="247855"/>
                      <a:pt x="638142" y="246875"/>
                      <a:pt x="634408" y="247347"/>
                    </a:cubicBezTo>
                    <a:cubicBezTo>
                      <a:pt x="630698" y="247880"/>
                      <a:pt x="627113" y="249057"/>
                      <a:pt x="623807" y="250823"/>
                    </a:cubicBezTo>
                    <a:cubicBezTo>
                      <a:pt x="619795" y="252769"/>
                      <a:pt x="615976" y="255098"/>
                      <a:pt x="612408" y="257777"/>
                    </a:cubicBezTo>
                    <a:cubicBezTo>
                      <a:pt x="611098" y="258746"/>
                      <a:pt x="609445" y="259829"/>
                      <a:pt x="607906" y="259202"/>
                    </a:cubicBezTo>
                    <a:cubicBezTo>
                      <a:pt x="615104" y="261463"/>
                      <a:pt x="622650" y="262428"/>
                      <a:pt x="630191" y="262051"/>
                    </a:cubicBezTo>
                    <a:close/>
                    <a:moveTo>
                      <a:pt x="702688" y="261197"/>
                    </a:moveTo>
                    <a:cubicBezTo>
                      <a:pt x="701269" y="256030"/>
                      <a:pt x="697758" y="251692"/>
                      <a:pt x="692999" y="249228"/>
                    </a:cubicBezTo>
                    <a:cubicBezTo>
                      <a:pt x="688234" y="246825"/>
                      <a:pt x="682683" y="246495"/>
                      <a:pt x="677667" y="248316"/>
                    </a:cubicBezTo>
                    <a:cubicBezTo>
                      <a:pt x="676453" y="248715"/>
                      <a:pt x="675325" y="249355"/>
                      <a:pt x="674362" y="250197"/>
                    </a:cubicBezTo>
                    <a:cubicBezTo>
                      <a:pt x="673342" y="251328"/>
                      <a:pt x="672424" y="252549"/>
                      <a:pt x="671626" y="253844"/>
                    </a:cubicBezTo>
                    <a:cubicBezTo>
                      <a:pt x="670156" y="255950"/>
                      <a:pt x="668201" y="257671"/>
                      <a:pt x="665926" y="258860"/>
                    </a:cubicBezTo>
                    <a:cubicBezTo>
                      <a:pt x="669472" y="260875"/>
                      <a:pt x="673324" y="262300"/>
                      <a:pt x="677325" y="263077"/>
                    </a:cubicBezTo>
                    <a:cubicBezTo>
                      <a:pt x="685704" y="262678"/>
                      <a:pt x="694367" y="262051"/>
                      <a:pt x="702688" y="261311"/>
                    </a:cubicBezTo>
                    <a:close/>
                    <a:moveTo>
                      <a:pt x="779859" y="309870"/>
                    </a:moveTo>
                    <a:lnTo>
                      <a:pt x="782538" y="311922"/>
                    </a:lnTo>
                    <a:cubicBezTo>
                      <a:pt x="782857" y="314908"/>
                      <a:pt x="784749" y="317495"/>
                      <a:pt x="787496" y="318704"/>
                    </a:cubicBezTo>
                    <a:cubicBezTo>
                      <a:pt x="790226" y="319889"/>
                      <a:pt x="793190" y="320434"/>
                      <a:pt x="796159" y="320300"/>
                    </a:cubicBezTo>
                    <a:cubicBezTo>
                      <a:pt x="799425" y="320531"/>
                      <a:pt x="802691" y="319818"/>
                      <a:pt x="805564" y="318248"/>
                    </a:cubicBezTo>
                    <a:cubicBezTo>
                      <a:pt x="808476" y="316506"/>
                      <a:pt x="809701" y="312917"/>
                      <a:pt x="808470" y="309756"/>
                    </a:cubicBezTo>
                    <a:cubicBezTo>
                      <a:pt x="807741" y="308548"/>
                      <a:pt x="806766" y="307501"/>
                      <a:pt x="805621" y="306678"/>
                    </a:cubicBezTo>
                    <a:lnTo>
                      <a:pt x="789092" y="293228"/>
                    </a:lnTo>
                    <a:cubicBezTo>
                      <a:pt x="786829" y="291186"/>
                      <a:pt x="784299" y="289461"/>
                      <a:pt x="781569" y="288098"/>
                    </a:cubicBezTo>
                    <a:cubicBezTo>
                      <a:pt x="778787" y="286722"/>
                      <a:pt x="775590" y="286457"/>
                      <a:pt x="772621" y="287357"/>
                    </a:cubicBezTo>
                    <a:cubicBezTo>
                      <a:pt x="769041" y="290508"/>
                      <a:pt x="768141" y="295727"/>
                      <a:pt x="770455" y="299896"/>
                    </a:cubicBezTo>
                    <a:cubicBezTo>
                      <a:pt x="772752" y="303921"/>
                      <a:pt x="775978" y="307341"/>
                      <a:pt x="779859" y="309870"/>
                    </a:cubicBezTo>
                    <a:close/>
                    <a:moveTo>
                      <a:pt x="820097" y="421808"/>
                    </a:moveTo>
                    <a:cubicBezTo>
                      <a:pt x="820548" y="421797"/>
                      <a:pt x="820981" y="421659"/>
                      <a:pt x="821351" y="421409"/>
                    </a:cubicBezTo>
                    <a:cubicBezTo>
                      <a:pt x="821744" y="420953"/>
                      <a:pt x="821933" y="420354"/>
                      <a:pt x="821864" y="419756"/>
                    </a:cubicBezTo>
                    <a:lnTo>
                      <a:pt x="821864" y="406134"/>
                    </a:lnTo>
                    <a:lnTo>
                      <a:pt x="811263" y="405564"/>
                    </a:lnTo>
                    <a:cubicBezTo>
                      <a:pt x="809160" y="405308"/>
                      <a:pt x="807040" y="405308"/>
                      <a:pt x="804937" y="405564"/>
                    </a:cubicBezTo>
                    <a:cubicBezTo>
                      <a:pt x="802144" y="405912"/>
                      <a:pt x="799773" y="407777"/>
                      <a:pt x="798781" y="410409"/>
                    </a:cubicBezTo>
                    <a:cubicBezTo>
                      <a:pt x="798325" y="413134"/>
                      <a:pt x="799397" y="415891"/>
                      <a:pt x="801574" y="417590"/>
                    </a:cubicBezTo>
                    <a:cubicBezTo>
                      <a:pt x="806983" y="421451"/>
                      <a:pt x="813725" y="422971"/>
                      <a:pt x="820268" y="421808"/>
                    </a:cubicBezTo>
                    <a:close/>
                    <a:moveTo>
                      <a:pt x="927532" y="355124"/>
                    </a:moveTo>
                    <a:cubicBezTo>
                      <a:pt x="924968" y="357518"/>
                      <a:pt x="920636" y="355580"/>
                      <a:pt x="918185" y="353072"/>
                    </a:cubicBezTo>
                    <a:cubicBezTo>
                      <a:pt x="915734" y="350564"/>
                      <a:pt x="913170" y="347373"/>
                      <a:pt x="909636" y="347373"/>
                    </a:cubicBezTo>
                    <a:cubicBezTo>
                      <a:pt x="907812" y="347373"/>
                      <a:pt x="905817" y="348113"/>
                      <a:pt x="904278" y="347373"/>
                    </a:cubicBezTo>
                    <a:cubicBezTo>
                      <a:pt x="902740" y="346632"/>
                      <a:pt x="902740" y="342813"/>
                      <a:pt x="901087" y="341103"/>
                    </a:cubicBezTo>
                    <a:cubicBezTo>
                      <a:pt x="899434" y="339393"/>
                      <a:pt x="897211" y="339849"/>
                      <a:pt x="895387" y="338880"/>
                    </a:cubicBezTo>
                    <a:cubicBezTo>
                      <a:pt x="892196" y="337227"/>
                      <a:pt x="890828" y="332041"/>
                      <a:pt x="887294" y="332440"/>
                    </a:cubicBezTo>
                    <a:cubicBezTo>
                      <a:pt x="885972" y="332724"/>
                      <a:pt x="884843" y="333580"/>
                      <a:pt x="884216" y="334777"/>
                    </a:cubicBezTo>
                    <a:cubicBezTo>
                      <a:pt x="882193" y="339496"/>
                      <a:pt x="883179" y="344968"/>
                      <a:pt x="886724" y="348683"/>
                    </a:cubicBezTo>
                    <a:cubicBezTo>
                      <a:pt x="890229" y="352274"/>
                      <a:pt x="893347" y="356229"/>
                      <a:pt x="896014" y="360481"/>
                    </a:cubicBezTo>
                    <a:cubicBezTo>
                      <a:pt x="896476" y="361700"/>
                      <a:pt x="897069" y="362866"/>
                      <a:pt x="897781" y="363958"/>
                    </a:cubicBezTo>
                    <a:cubicBezTo>
                      <a:pt x="898704" y="364995"/>
                      <a:pt x="899804" y="365863"/>
                      <a:pt x="901030" y="366523"/>
                    </a:cubicBezTo>
                    <a:lnTo>
                      <a:pt x="909978" y="372222"/>
                    </a:lnTo>
                    <a:cubicBezTo>
                      <a:pt x="905544" y="374769"/>
                      <a:pt x="900386" y="375752"/>
                      <a:pt x="895330" y="375015"/>
                    </a:cubicBezTo>
                    <a:cubicBezTo>
                      <a:pt x="893774" y="374891"/>
                      <a:pt x="892292" y="374316"/>
                      <a:pt x="891056" y="373362"/>
                    </a:cubicBezTo>
                    <a:cubicBezTo>
                      <a:pt x="888833" y="371481"/>
                      <a:pt x="888662" y="368005"/>
                      <a:pt x="886610" y="365896"/>
                    </a:cubicBezTo>
                    <a:cubicBezTo>
                      <a:pt x="884649" y="364436"/>
                      <a:pt x="882421" y="363372"/>
                      <a:pt x="880056" y="362761"/>
                    </a:cubicBezTo>
                    <a:cubicBezTo>
                      <a:pt x="876522" y="361222"/>
                      <a:pt x="873786" y="358202"/>
                      <a:pt x="870310" y="356549"/>
                    </a:cubicBezTo>
                    <a:cubicBezTo>
                      <a:pt x="866833" y="354896"/>
                      <a:pt x="861760" y="355238"/>
                      <a:pt x="860222" y="358771"/>
                    </a:cubicBezTo>
                    <a:cubicBezTo>
                      <a:pt x="859401" y="361836"/>
                      <a:pt x="860421" y="365098"/>
                      <a:pt x="862843" y="367150"/>
                    </a:cubicBezTo>
                    <a:cubicBezTo>
                      <a:pt x="865209" y="369165"/>
                      <a:pt x="867050" y="371728"/>
                      <a:pt x="868201" y="374616"/>
                    </a:cubicBezTo>
                    <a:cubicBezTo>
                      <a:pt x="868577" y="377754"/>
                      <a:pt x="867939" y="380930"/>
                      <a:pt x="866377" y="383678"/>
                    </a:cubicBezTo>
                    <a:cubicBezTo>
                      <a:pt x="865522" y="385502"/>
                      <a:pt x="864211" y="387611"/>
                      <a:pt x="862216" y="387440"/>
                    </a:cubicBezTo>
                    <a:cubicBezTo>
                      <a:pt x="860222" y="387269"/>
                      <a:pt x="859937" y="386129"/>
                      <a:pt x="859139" y="385046"/>
                    </a:cubicBezTo>
                    <a:lnTo>
                      <a:pt x="830641" y="346461"/>
                    </a:lnTo>
                    <a:cubicBezTo>
                      <a:pt x="829678" y="344924"/>
                      <a:pt x="828344" y="343650"/>
                      <a:pt x="826766" y="342756"/>
                    </a:cubicBezTo>
                    <a:cubicBezTo>
                      <a:pt x="825347" y="342216"/>
                      <a:pt x="823836" y="341983"/>
                      <a:pt x="822320" y="342072"/>
                    </a:cubicBezTo>
                    <a:lnTo>
                      <a:pt x="810921" y="342072"/>
                    </a:lnTo>
                    <a:cubicBezTo>
                      <a:pt x="809086" y="341841"/>
                      <a:pt x="807222" y="342222"/>
                      <a:pt x="805621" y="343155"/>
                    </a:cubicBezTo>
                    <a:cubicBezTo>
                      <a:pt x="804116" y="344650"/>
                      <a:pt x="803364" y="346743"/>
                      <a:pt x="803569" y="348854"/>
                    </a:cubicBezTo>
                    <a:cubicBezTo>
                      <a:pt x="803711" y="355031"/>
                      <a:pt x="806544" y="360838"/>
                      <a:pt x="811320" y="364756"/>
                    </a:cubicBezTo>
                    <a:cubicBezTo>
                      <a:pt x="814284" y="367150"/>
                      <a:pt x="817818" y="368689"/>
                      <a:pt x="820610" y="371196"/>
                    </a:cubicBezTo>
                    <a:cubicBezTo>
                      <a:pt x="823699" y="373527"/>
                      <a:pt x="825130" y="377457"/>
                      <a:pt x="824258" y="381227"/>
                    </a:cubicBezTo>
                    <a:cubicBezTo>
                      <a:pt x="825740" y="383906"/>
                      <a:pt x="829957" y="382253"/>
                      <a:pt x="832750" y="383564"/>
                    </a:cubicBezTo>
                    <a:cubicBezTo>
                      <a:pt x="835543" y="384875"/>
                      <a:pt x="835999" y="390233"/>
                      <a:pt x="838906" y="392455"/>
                    </a:cubicBezTo>
                    <a:cubicBezTo>
                      <a:pt x="841812" y="394678"/>
                      <a:pt x="848082" y="391999"/>
                      <a:pt x="851729" y="394450"/>
                    </a:cubicBezTo>
                    <a:cubicBezTo>
                      <a:pt x="852829" y="395321"/>
                      <a:pt x="853821" y="396316"/>
                      <a:pt x="854693" y="397414"/>
                    </a:cubicBezTo>
                    <a:cubicBezTo>
                      <a:pt x="859823" y="402486"/>
                      <a:pt x="868543" y="399808"/>
                      <a:pt x="874584" y="395875"/>
                    </a:cubicBezTo>
                    <a:cubicBezTo>
                      <a:pt x="878198" y="392849"/>
                      <a:pt x="882575" y="390877"/>
                      <a:pt x="887237" y="390176"/>
                    </a:cubicBezTo>
                    <a:cubicBezTo>
                      <a:pt x="891455" y="390176"/>
                      <a:pt x="896242" y="392569"/>
                      <a:pt x="899548" y="390176"/>
                    </a:cubicBezTo>
                    <a:cubicBezTo>
                      <a:pt x="900403" y="389492"/>
                      <a:pt x="901201" y="388466"/>
                      <a:pt x="902284" y="388580"/>
                    </a:cubicBezTo>
                    <a:cubicBezTo>
                      <a:pt x="903367" y="388694"/>
                      <a:pt x="903823" y="389492"/>
                      <a:pt x="904222" y="390347"/>
                    </a:cubicBezTo>
                    <a:cubicBezTo>
                      <a:pt x="906912" y="396488"/>
                      <a:pt x="904113" y="403647"/>
                      <a:pt x="897969" y="406337"/>
                    </a:cubicBezTo>
                    <a:cubicBezTo>
                      <a:pt x="897815" y="406405"/>
                      <a:pt x="897656" y="406471"/>
                      <a:pt x="897496" y="406533"/>
                    </a:cubicBezTo>
                    <a:cubicBezTo>
                      <a:pt x="896066" y="406809"/>
                      <a:pt x="894709" y="407371"/>
                      <a:pt x="893507" y="408186"/>
                    </a:cubicBezTo>
                    <a:cubicBezTo>
                      <a:pt x="891341" y="410181"/>
                      <a:pt x="892139" y="413885"/>
                      <a:pt x="893108" y="416450"/>
                    </a:cubicBezTo>
                    <a:lnTo>
                      <a:pt x="894589" y="420725"/>
                    </a:lnTo>
                    <a:cubicBezTo>
                      <a:pt x="895290" y="423557"/>
                      <a:pt x="896818" y="426116"/>
                      <a:pt x="898978" y="428077"/>
                    </a:cubicBezTo>
                    <a:cubicBezTo>
                      <a:pt x="905988" y="433264"/>
                      <a:pt x="916076" y="423404"/>
                      <a:pt x="924170" y="426538"/>
                    </a:cubicBezTo>
                    <a:cubicBezTo>
                      <a:pt x="926392" y="427336"/>
                      <a:pt x="928558" y="429103"/>
                      <a:pt x="930781" y="428362"/>
                    </a:cubicBezTo>
                    <a:cubicBezTo>
                      <a:pt x="930439" y="424714"/>
                      <a:pt x="934999" y="422663"/>
                      <a:pt x="938589" y="422150"/>
                    </a:cubicBezTo>
                    <a:lnTo>
                      <a:pt x="948335" y="420269"/>
                    </a:lnTo>
                    <a:cubicBezTo>
                      <a:pt x="951219" y="420074"/>
                      <a:pt x="953932" y="418839"/>
                      <a:pt x="955973" y="416792"/>
                    </a:cubicBezTo>
                    <a:cubicBezTo>
                      <a:pt x="957819" y="413900"/>
                      <a:pt x="956970" y="410059"/>
                      <a:pt x="954080" y="408213"/>
                    </a:cubicBezTo>
                    <a:cubicBezTo>
                      <a:pt x="953471" y="407825"/>
                      <a:pt x="952798" y="407546"/>
                      <a:pt x="952097" y="407388"/>
                    </a:cubicBezTo>
                    <a:cubicBezTo>
                      <a:pt x="954935" y="405916"/>
                      <a:pt x="956731" y="403003"/>
                      <a:pt x="956771" y="399808"/>
                    </a:cubicBezTo>
                    <a:cubicBezTo>
                      <a:pt x="951368" y="398216"/>
                      <a:pt x="948273" y="392544"/>
                      <a:pt x="949863" y="387139"/>
                    </a:cubicBezTo>
                    <a:cubicBezTo>
                      <a:pt x="950097" y="386348"/>
                      <a:pt x="950427" y="385588"/>
                      <a:pt x="950843" y="384875"/>
                    </a:cubicBezTo>
                    <a:cubicBezTo>
                      <a:pt x="952348" y="382774"/>
                      <a:pt x="953961" y="380757"/>
                      <a:pt x="955688" y="378834"/>
                    </a:cubicBezTo>
                    <a:cubicBezTo>
                      <a:pt x="957455" y="376826"/>
                      <a:pt x="957751" y="373920"/>
                      <a:pt x="956429" y="371595"/>
                    </a:cubicBezTo>
                    <a:cubicBezTo>
                      <a:pt x="953750" y="372621"/>
                      <a:pt x="950729" y="370113"/>
                      <a:pt x="949931" y="367378"/>
                    </a:cubicBezTo>
                    <a:cubicBezTo>
                      <a:pt x="949133" y="364642"/>
                      <a:pt x="949190" y="361678"/>
                      <a:pt x="948164" y="358942"/>
                    </a:cubicBezTo>
                    <a:cubicBezTo>
                      <a:pt x="947526" y="357421"/>
                      <a:pt x="946705" y="355986"/>
                      <a:pt x="945714" y="354668"/>
                    </a:cubicBezTo>
                    <a:lnTo>
                      <a:pt x="941895" y="348968"/>
                    </a:lnTo>
                    <a:cubicBezTo>
                      <a:pt x="940185" y="346461"/>
                      <a:pt x="937734" y="343611"/>
                      <a:pt x="934657" y="344124"/>
                    </a:cubicBezTo>
                    <a:cubicBezTo>
                      <a:pt x="931579" y="344637"/>
                      <a:pt x="930325" y="347999"/>
                      <a:pt x="929527" y="350906"/>
                    </a:cubicBezTo>
                    <a:cubicBezTo>
                      <a:pt x="929299" y="352448"/>
                      <a:pt x="928672" y="353904"/>
                      <a:pt x="927703" y="355124"/>
                    </a:cubicBezTo>
                    <a:close/>
                    <a:moveTo>
                      <a:pt x="779346" y="224036"/>
                    </a:moveTo>
                    <a:cubicBezTo>
                      <a:pt x="781654" y="224999"/>
                      <a:pt x="784139" y="225484"/>
                      <a:pt x="786641" y="225461"/>
                    </a:cubicBezTo>
                    <a:cubicBezTo>
                      <a:pt x="795954" y="226017"/>
                      <a:pt x="805193" y="227468"/>
                      <a:pt x="814227" y="229792"/>
                    </a:cubicBezTo>
                    <a:cubicBezTo>
                      <a:pt x="818097" y="230508"/>
                      <a:pt x="821733" y="232151"/>
                      <a:pt x="824828" y="234580"/>
                    </a:cubicBezTo>
                    <a:cubicBezTo>
                      <a:pt x="827985" y="237087"/>
                      <a:pt x="829182" y="241338"/>
                      <a:pt x="827792" y="245124"/>
                    </a:cubicBezTo>
                    <a:cubicBezTo>
                      <a:pt x="817191" y="247575"/>
                      <a:pt x="805279" y="245580"/>
                      <a:pt x="795932" y="251165"/>
                    </a:cubicBezTo>
                    <a:cubicBezTo>
                      <a:pt x="793270" y="252397"/>
                      <a:pt x="791577" y="255072"/>
                      <a:pt x="791600" y="258005"/>
                    </a:cubicBezTo>
                    <a:cubicBezTo>
                      <a:pt x="792227" y="261538"/>
                      <a:pt x="796501" y="262792"/>
                      <a:pt x="800035" y="263362"/>
                    </a:cubicBezTo>
                    <a:cubicBezTo>
                      <a:pt x="810579" y="265072"/>
                      <a:pt x="822377" y="266440"/>
                      <a:pt x="831040" y="260228"/>
                    </a:cubicBezTo>
                    <a:cubicBezTo>
                      <a:pt x="832596" y="258953"/>
                      <a:pt x="834255" y="257809"/>
                      <a:pt x="835999" y="256808"/>
                    </a:cubicBezTo>
                    <a:cubicBezTo>
                      <a:pt x="837407" y="256177"/>
                      <a:pt x="838911" y="255773"/>
                      <a:pt x="840444" y="255611"/>
                    </a:cubicBezTo>
                    <a:cubicBezTo>
                      <a:pt x="848492" y="254589"/>
                      <a:pt x="856625" y="256622"/>
                      <a:pt x="863242" y="261311"/>
                    </a:cubicBezTo>
                    <a:cubicBezTo>
                      <a:pt x="866029" y="263906"/>
                      <a:pt x="869358" y="265852"/>
                      <a:pt x="872988" y="267010"/>
                    </a:cubicBezTo>
                    <a:cubicBezTo>
                      <a:pt x="874824" y="267040"/>
                      <a:pt x="876636" y="267468"/>
                      <a:pt x="878289" y="268264"/>
                    </a:cubicBezTo>
                    <a:cubicBezTo>
                      <a:pt x="879999" y="269518"/>
                      <a:pt x="880341" y="271855"/>
                      <a:pt x="881082" y="273963"/>
                    </a:cubicBezTo>
                    <a:cubicBezTo>
                      <a:pt x="882598" y="277671"/>
                      <a:pt x="885875" y="280369"/>
                      <a:pt x="889802" y="281145"/>
                    </a:cubicBezTo>
                    <a:cubicBezTo>
                      <a:pt x="890925" y="281257"/>
                      <a:pt x="892030" y="281487"/>
                      <a:pt x="893108" y="281829"/>
                    </a:cubicBezTo>
                    <a:cubicBezTo>
                      <a:pt x="894481" y="282560"/>
                      <a:pt x="895712" y="283525"/>
                      <a:pt x="896755" y="284678"/>
                    </a:cubicBezTo>
                    <a:cubicBezTo>
                      <a:pt x="899320" y="287380"/>
                      <a:pt x="903047" y="288657"/>
                      <a:pt x="906729" y="288098"/>
                    </a:cubicBezTo>
                    <a:cubicBezTo>
                      <a:pt x="910422" y="287378"/>
                      <a:pt x="912919" y="283907"/>
                      <a:pt x="912429" y="280176"/>
                    </a:cubicBezTo>
                    <a:cubicBezTo>
                      <a:pt x="915051" y="278523"/>
                      <a:pt x="918983" y="280176"/>
                      <a:pt x="921377" y="278466"/>
                    </a:cubicBezTo>
                    <a:cubicBezTo>
                      <a:pt x="922551" y="277211"/>
                      <a:pt x="923093" y="275494"/>
                      <a:pt x="922859" y="273792"/>
                    </a:cubicBezTo>
                    <a:cubicBezTo>
                      <a:pt x="922420" y="269065"/>
                      <a:pt x="919753" y="264829"/>
                      <a:pt x="915677" y="262393"/>
                    </a:cubicBezTo>
                    <a:cubicBezTo>
                      <a:pt x="914652" y="261901"/>
                      <a:pt x="913705" y="261247"/>
                      <a:pt x="912885" y="260456"/>
                    </a:cubicBezTo>
                    <a:cubicBezTo>
                      <a:pt x="911460" y="258689"/>
                      <a:pt x="911973" y="256124"/>
                      <a:pt x="911745" y="253844"/>
                    </a:cubicBezTo>
                    <a:cubicBezTo>
                      <a:pt x="911175" y="247803"/>
                      <a:pt x="905190" y="243756"/>
                      <a:pt x="899434" y="241761"/>
                    </a:cubicBezTo>
                    <a:cubicBezTo>
                      <a:pt x="893484" y="240475"/>
                      <a:pt x="887807" y="238140"/>
                      <a:pt x="882678" y="234865"/>
                    </a:cubicBezTo>
                    <a:cubicBezTo>
                      <a:pt x="879480" y="231463"/>
                      <a:pt x="876471" y="227886"/>
                      <a:pt x="873672" y="224150"/>
                    </a:cubicBezTo>
                    <a:cubicBezTo>
                      <a:pt x="870726" y="220336"/>
                      <a:pt x="865596" y="218961"/>
                      <a:pt x="861133" y="220787"/>
                    </a:cubicBezTo>
                    <a:cubicBezTo>
                      <a:pt x="857486" y="223010"/>
                      <a:pt x="855434" y="228824"/>
                      <a:pt x="851102" y="227855"/>
                    </a:cubicBezTo>
                    <a:cubicBezTo>
                      <a:pt x="846771" y="226886"/>
                      <a:pt x="847113" y="222896"/>
                      <a:pt x="846600" y="219590"/>
                    </a:cubicBezTo>
                    <a:cubicBezTo>
                      <a:pt x="846087" y="216285"/>
                      <a:pt x="843294" y="212295"/>
                      <a:pt x="840273" y="213891"/>
                    </a:cubicBezTo>
                    <a:cubicBezTo>
                      <a:pt x="841356" y="210699"/>
                      <a:pt x="837025" y="208590"/>
                      <a:pt x="833662" y="208191"/>
                    </a:cubicBezTo>
                    <a:cubicBezTo>
                      <a:pt x="815424" y="205399"/>
                      <a:pt x="795704" y="205000"/>
                      <a:pt x="779802" y="214290"/>
                    </a:cubicBezTo>
                    <a:cubicBezTo>
                      <a:pt x="778161" y="215063"/>
                      <a:pt x="776844" y="216397"/>
                      <a:pt x="776097" y="218052"/>
                    </a:cubicBezTo>
                    <a:cubicBezTo>
                      <a:pt x="775750" y="220559"/>
                      <a:pt x="777095" y="222997"/>
                      <a:pt x="779403" y="224036"/>
                    </a:cubicBezTo>
                    <a:close/>
                    <a:moveTo>
                      <a:pt x="914025" y="182430"/>
                    </a:moveTo>
                    <a:cubicBezTo>
                      <a:pt x="914811" y="182742"/>
                      <a:pt x="915529" y="183207"/>
                      <a:pt x="916133" y="183798"/>
                    </a:cubicBezTo>
                    <a:cubicBezTo>
                      <a:pt x="918527" y="186248"/>
                      <a:pt x="917102" y="191378"/>
                      <a:pt x="920180" y="192974"/>
                    </a:cubicBezTo>
                    <a:cubicBezTo>
                      <a:pt x="921440" y="193376"/>
                      <a:pt x="922796" y="193376"/>
                      <a:pt x="924056" y="192974"/>
                    </a:cubicBezTo>
                    <a:cubicBezTo>
                      <a:pt x="925002" y="192925"/>
                      <a:pt x="925885" y="192493"/>
                      <a:pt x="926507" y="191777"/>
                    </a:cubicBezTo>
                    <a:cubicBezTo>
                      <a:pt x="926826" y="190958"/>
                      <a:pt x="926997" y="190090"/>
                      <a:pt x="927019" y="189212"/>
                    </a:cubicBezTo>
                    <a:cubicBezTo>
                      <a:pt x="927418" y="187559"/>
                      <a:pt x="929071" y="186419"/>
                      <a:pt x="929983" y="184938"/>
                    </a:cubicBezTo>
                    <a:cubicBezTo>
                      <a:pt x="930901" y="182988"/>
                      <a:pt x="930901" y="180732"/>
                      <a:pt x="929983" y="178782"/>
                    </a:cubicBezTo>
                    <a:cubicBezTo>
                      <a:pt x="929088" y="176856"/>
                      <a:pt x="927920" y="175070"/>
                      <a:pt x="926507" y="173482"/>
                    </a:cubicBezTo>
                    <a:lnTo>
                      <a:pt x="922574" y="168637"/>
                    </a:lnTo>
                    <a:cubicBezTo>
                      <a:pt x="922249" y="168220"/>
                      <a:pt x="921867" y="167855"/>
                      <a:pt x="921434" y="167554"/>
                    </a:cubicBezTo>
                    <a:cubicBezTo>
                      <a:pt x="920870" y="167246"/>
                      <a:pt x="920248" y="167053"/>
                      <a:pt x="919610" y="166984"/>
                    </a:cubicBezTo>
                    <a:cubicBezTo>
                      <a:pt x="914298" y="166253"/>
                      <a:pt x="908952" y="165834"/>
                      <a:pt x="903595" y="165730"/>
                    </a:cubicBezTo>
                    <a:cubicBezTo>
                      <a:pt x="902922" y="165628"/>
                      <a:pt x="902232" y="165769"/>
                      <a:pt x="901657" y="166129"/>
                    </a:cubicBezTo>
                    <a:cubicBezTo>
                      <a:pt x="901400" y="166375"/>
                      <a:pt x="901189" y="166664"/>
                      <a:pt x="901030" y="166984"/>
                    </a:cubicBezTo>
                    <a:cubicBezTo>
                      <a:pt x="899736" y="170617"/>
                      <a:pt x="900933" y="174668"/>
                      <a:pt x="903994" y="177015"/>
                    </a:cubicBezTo>
                    <a:cubicBezTo>
                      <a:pt x="907094" y="179271"/>
                      <a:pt x="910485" y="181093"/>
                      <a:pt x="914082" y="182430"/>
                    </a:cubicBezTo>
                    <a:close/>
                    <a:moveTo>
                      <a:pt x="955232" y="271741"/>
                    </a:moveTo>
                    <a:cubicBezTo>
                      <a:pt x="955574" y="274393"/>
                      <a:pt x="956087" y="277020"/>
                      <a:pt x="956771" y="279606"/>
                    </a:cubicBezTo>
                    <a:cubicBezTo>
                      <a:pt x="958680" y="282611"/>
                      <a:pt x="961758" y="284678"/>
                      <a:pt x="965263" y="285305"/>
                    </a:cubicBezTo>
                    <a:cubicBezTo>
                      <a:pt x="972045" y="287414"/>
                      <a:pt x="979911" y="289352"/>
                      <a:pt x="985838" y="285305"/>
                    </a:cubicBezTo>
                    <a:cubicBezTo>
                      <a:pt x="987628" y="283772"/>
                      <a:pt x="989531" y="282381"/>
                      <a:pt x="991538" y="281145"/>
                    </a:cubicBezTo>
                    <a:cubicBezTo>
                      <a:pt x="996325" y="278979"/>
                      <a:pt x="1002309" y="281772"/>
                      <a:pt x="1006983" y="279492"/>
                    </a:cubicBezTo>
                    <a:cubicBezTo>
                      <a:pt x="1009964" y="277854"/>
                      <a:pt x="1011976" y="274887"/>
                      <a:pt x="1012397" y="271513"/>
                    </a:cubicBezTo>
                    <a:cubicBezTo>
                      <a:pt x="1012774" y="268206"/>
                      <a:pt x="1012643" y="264861"/>
                      <a:pt x="1011999" y="261595"/>
                    </a:cubicBezTo>
                    <a:cubicBezTo>
                      <a:pt x="1011748" y="258392"/>
                      <a:pt x="1010853" y="255272"/>
                      <a:pt x="1009377" y="252419"/>
                    </a:cubicBezTo>
                    <a:cubicBezTo>
                      <a:pt x="1007838" y="249540"/>
                      <a:pt x="1004772" y="247808"/>
                      <a:pt x="1001512" y="247974"/>
                    </a:cubicBezTo>
                    <a:cubicBezTo>
                      <a:pt x="1000366" y="248207"/>
                      <a:pt x="999254" y="248590"/>
                      <a:pt x="998206" y="249114"/>
                    </a:cubicBezTo>
                    <a:lnTo>
                      <a:pt x="985382" y="254813"/>
                    </a:lnTo>
                    <a:cubicBezTo>
                      <a:pt x="983946" y="255679"/>
                      <a:pt x="982259" y="256040"/>
                      <a:pt x="980594" y="255839"/>
                    </a:cubicBezTo>
                    <a:cubicBezTo>
                      <a:pt x="977802" y="255155"/>
                      <a:pt x="976719" y="251906"/>
                      <a:pt x="974895" y="249684"/>
                    </a:cubicBezTo>
                    <a:cubicBezTo>
                      <a:pt x="972598" y="246950"/>
                      <a:pt x="968973" y="245720"/>
                      <a:pt x="965491" y="246492"/>
                    </a:cubicBezTo>
                    <a:cubicBezTo>
                      <a:pt x="964134" y="243350"/>
                      <a:pt x="962197" y="240490"/>
                      <a:pt x="959791" y="238057"/>
                    </a:cubicBezTo>
                    <a:cubicBezTo>
                      <a:pt x="957232" y="235637"/>
                      <a:pt x="953516" y="234885"/>
                      <a:pt x="950216" y="236119"/>
                    </a:cubicBezTo>
                    <a:cubicBezTo>
                      <a:pt x="946284" y="238650"/>
                      <a:pt x="944295" y="243328"/>
                      <a:pt x="945201" y="247917"/>
                    </a:cubicBezTo>
                    <a:cubicBezTo>
                      <a:pt x="945611" y="254664"/>
                      <a:pt x="947988" y="261143"/>
                      <a:pt x="952040" y="266554"/>
                    </a:cubicBezTo>
                    <a:cubicBezTo>
                      <a:pt x="953402" y="268092"/>
                      <a:pt x="954497" y="269844"/>
                      <a:pt x="955289" y="271741"/>
                    </a:cubicBezTo>
                    <a:close/>
                    <a:moveTo>
                      <a:pt x="1021403" y="309015"/>
                    </a:moveTo>
                    <a:cubicBezTo>
                      <a:pt x="1022565" y="307814"/>
                      <a:pt x="1023962" y="306864"/>
                      <a:pt x="1025506" y="306222"/>
                    </a:cubicBezTo>
                    <a:cubicBezTo>
                      <a:pt x="1026310" y="306043"/>
                      <a:pt x="1027131" y="305948"/>
                      <a:pt x="1027957" y="305937"/>
                    </a:cubicBezTo>
                    <a:cubicBezTo>
                      <a:pt x="1032146" y="305351"/>
                      <a:pt x="1036153" y="303853"/>
                      <a:pt x="1039698" y="301549"/>
                    </a:cubicBezTo>
                    <a:cubicBezTo>
                      <a:pt x="1041818" y="300586"/>
                      <a:pt x="1043745" y="299254"/>
                      <a:pt x="1045397" y="297616"/>
                    </a:cubicBezTo>
                    <a:cubicBezTo>
                      <a:pt x="1047090" y="295981"/>
                      <a:pt x="1047820" y="293591"/>
                      <a:pt x="1047335" y="291290"/>
                    </a:cubicBezTo>
                    <a:cubicBezTo>
                      <a:pt x="1039761" y="289233"/>
                      <a:pt x="1031930" y="288273"/>
                      <a:pt x="1024081" y="288440"/>
                    </a:cubicBezTo>
                    <a:cubicBezTo>
                      <a:pt x="1023095" y="288386"/>
                      <a:pt x="1022115" y="288645"/>
                      <a:pt x="1021289" y="289181"/>
                    </a:cubicBezTo>
                    <a:cubicBezTo>
                      <a:pt x="1020776" y="289771"/>
                      <a:pt x="1020337" y="290422"/>
                      <a:pt x="1019978" y="291119"/>
                    </a:cubicBezTo>
                    <a:cubicBezTo>
                      <a:pt x="1018154" y="293854"/>
                      <a:pt x="1014278" y="293854"/>
                      <a:pt x="1010916" y="293741"/>
                    </a:cubicBezTo>
                    <a:cubicBezTo>
                      <a:pt x="1007661" y="293673"/>
                      <a:pt x="1004407" y="293806"/>
                      <a:pt x="1001169" y="294139"/>
                    </a:cubicBezTo>
                    <a:cubicBezTo>
                      <a:pt x="997613" y="294293"/>
                      <a:pt x="994165" y="295417"/>
                      <a:pt x="991195" y="297388"/>
                    </a:cubicBezTo>
                    <a:cubicBezTo>
                      <a:pt x="988266" y="299552"/>
                      <a:pt x="987206" y="303442"/>
                      <a:pt x="988631" y="306792"/>
                    </a:cubicBezTo>
                    <a:cubicBezTo>
                      <a:pt x="993783" y="309413"/>
                      <a:pt x="999266" y="311330"/>
                      <a:pt x="1004931" y="312492"/>
                    </a:cubicBezTo>
                    <a:cubicBezTo>
                      <a:pt x="1010682" y="313631"/>
                      <a:pt x="1016655" y="312375"/>
                      <a:pt x="1021460" y="309015"/>
                    </a:cubicBezTo>
                    <a:close/>
                    <a:moveTo>
                      <a:pt x="1088086" y="433834"/>
                    </a:moveTo>
                    <a:cubicBezTo>
                      <a:pt x="1093786" y="435486"/>
                      <a:pt x="1100967" y="433834"/>
                      <a:pt x="1104615" y="438450"/>
                    </a:cubicBezTo>
                    <a:cubicBezTo>
                      <a:pt x="1106610" y="440958"/>
                      <a:pt x="1106781" y="444720"/>
                      <a:pt x="1109232" y="446828"/>
                    </a:cubicBezTo>
                    <a:cubicBezTo>
                      <a:pt x="1112059" y="448609"/>
                      <a:pt x="1115598" y="448844"/>
                      <a:pt x="1118636" y="447455"/>
                    </a:cubicBezTo>
                    <a:cubicBezTo>
                      <a:pt x="1126455" y="444842"/>
                      <a:pt x="1133181" y="439685"/>
                      <a:pt x="1137729" y="432808"/>
                    </a:cubicBezTo>
                    <a:cubicBezTo>
                      <a:pt x="1138572" y="431314"/>
                      <a:pt x="1139673" y="429982"/>
                      <a:pt x="1140978" y="428875"/>
                    </a:cubicBezTo>
                    <a:cubicBezTo>
                      <a:pt x="1145252" y="425911"/>
                      <a:pt x="1151123" y="429844"/>
                      <a:pt x="1153801" y="434574"/>
                    </a:cubicBezTo>
                    <a:cubicBezTo>
                      <a:pt x="1156480" y="439305"/>
                      <a:pt x="1158247" y="444606"/>
                      <a:pt x="1162807" y="447170"/>
                    </a:cubicBezTo>
                    <a:cubicBezTo>
                      <a:pt x="1168962" y="450533"/>
                      <a:pt x="1176314" y="446714"/>
                      <a:pt x="1183268" y="445859"/>
                    </a:cubicBezTo>
                    <a:cubicBezTo>
                      <a:pt x="1192900" y="444663"/>
                      <a:pt x="1202190" y="449507"/>
                      <a:pt x="1211765" y="450704"/>
                    </a:cubicBezTo>
                    <a:cubicBezTo>
                      <a:pt x="1222588" y="451259"/>
                      <a:pt x="1233400" y="449530"/>
                      <a:pt x="1243511" y="445631"/>
                    </a:cubicBezTo>
                    <a:cubicBezTo>
                      <a:pt x="1246355" y="444928"/>
                      <a:pt x="1249057" y="443732"/>
                      <a:pt x="1251490" y="442098"/>
                    </a:cubicBezTo>
                    <a:cubicBezTo>
                      <a:pt x="1256506" y="438336"/>
                      <a:pt x="1258900" y="430699"/>
                      <a:pt x="1265055" y="429559"/>
                    </a:cubicBezTo>
                    <a:cubicBezTo>
                      <a:pt x="1274345" y="427678"/>
                      <a:pt x="1279418" y="441642"/>
                      <a:pt x="1288708" y="443466"/>
                    </a:cubicBezTo>
                    <a:cubicBezTo>
                      <a:pt x="1297998" y="445289"/>
                      <a:pt x="1303641" y="436227"/>
                      <a:pt x="1311506" y="432922"/>
                    </a:cubicBezTo>
                    <a:cubicBezTo>
                      <a:pt x="1314299" y="431782"/>
                      <a:pt x="1317205" y="431326"/>
                      <a:pt x="1320169" y="430357"/>
                    </a:cubicBezTo>
                    <a:cubicBezTo>
                      <a:pt x="1326239" y="427824"/>
                      <a:pt x="1331728" y="424081"/>
                      <a:pt x="1336299" y="419357"/>
                    </a:cubicBezTo>
                    <a:cubicBezTo>
                      <a:pt x="1339553" y="417042"/>
                      <a:pt x="1341639" y="413419"/>
                      <a:pt x="1341998" y="409440"/>
                    </a:cubicBezTo>
                    <a:cubicBezTo>
                      <a:pt x="1341998" y="405051"/>
                      <a:pt x="1337495" y="402087"/>
                      <a:pt x="1333563" y="400150"/>
                    </a:cubicBezTo>
                    <a:cubicBezTo>
                      <a:pt x="1310765" y="388751"/>
                      <a:pt x="1284091" y="389378"/>
                      <a:pt x="1258615" y="390005"/>
                    </a:cubicBezTo>
                    <a:cubicBezTo>
                      <a:pt x="1247700" y="389500"/>
                      <a:pt x="1236809" y="391306"/>
                      <a:pt x="1226641" y="395305"/>
                    </a:cubicBezTo>
                    <a:cubicBezTo>
                      <a:pt x="1221773" y="398409"/>
                      <a:pt x="1216496" y="400826"/>
                      <a:pt x="1210967" y="402486"/>
                    </a:cubicBezTo>
                    <a:cubicBezTo>
                      <a:pt x="1197232" y="404823"/>
                      <a:pt x="1182470" y="390689"/>
                      <a:pt x="1170444" y="397300"/>
                    </a:cubicBezTo>
                    <a:cubicBezTo>
                      <a:pt x="1164744" y="400264"/>
                      <a:pt x="1160071" y="407103"/>
                      <a:pt x="1154315" y="404709"/>
                    </a:cubicBezTo>
                    <a:cubicBezTo>
                      <a:pt x="1148558" y="402315"/>
                      <a:pt x="1149356" y="395305"/>
                      <a:pt x="1145708" y="391315"/>
                    </a:cubicBezTo>
                    <a:cubicBezTo>
                      <a:pt x="1140009" y="385046"/>
                      <a:pt x="1129750" y="389663"/>
                      <a:pt x="1121485" y="388238"/>
                    </a:cubicBezTo>
                    <a:cubicBezTo>
                      <a:pt x="1118163" y="387961"/>
                      <a:pt x="1115330" y="385713"/>
                      <a:pt x="1114304" y="382538"/>
                    </a:cubicBezTo>
                    <a:cubicBezTo>
                      <a:pt x="1113278" y="377295"/>
                      <a:pt x="1119605" y="374046"/>
                      <a:pt x="1124563" y="372051"/>
                    </a:cubicBezTo>
                    <a:cubicBezTo>
                      <a:pt x="1129522" y="370056"/>
                      <a:pt x="1135050" y="364699"/>
                      <a:pt x="1131915" y="360652"/>
                    </a:cubicBezTo>
                    <a:cubicBezTo>
                      <a:pt x="1128781" y="356606"/>
                      <a:pt x="1121144" y="359911"/>
                      <a:pt x="1116527" y="356948"/>
                    </a:cubicBezTo>
                    <a:cubicBezTo>
                      <a:pt x="1114475" y="355637"/>
                      <a:pt x="1113449" y="353243"/>
                      <a:pt x="1111682" y="351647"/>
                    </a:cubicBezTo>
                    <a:cubicBezTo>
                      <a:pt x="1108656" y="349453"/>
                      <a:pt x="1104991" y="348312"/>
                      <a:pt x="1101252" y="348398"/>
                    </a:cubicBezTo>
                    <a:lnTo>
                      <a:pt x="1062268" y="345435"/>
                    </a:lnTo>
                    <a:cubicBezTo>
                      <a:pt x="1060034" y="345385"/>
                      <a:pt x="1057822" y="344980"/>
                      <a:pt x="1055714" y="344238"/>
                    </a:cubicBezTo>
                    <a:cubicBezTo>
                      <a:pt x="1053645" y="343122"/>
                      <a:pt x="1051513" y="342133"/>
                      <a:pt x="1049330" y="341274"/>
                    </a:cubicBezTo>
                    <a:cubicBezTo>
                      <a:pt x="1046024" y="340419"/>
                      <a:pt x="1042434" y="341730"/>
                      <a:pt x="1039185" y="340704"/>
                    </a:cubicBezTo>
                    <a:cubicBezTo>
                      <a:pt x="1037059" y="339832"/>
                      <a:pt x="1035121" y="338554"/>
                      <a:pt x="1033486" y="336942"/>
                    </a:cubicBezTo>
                    <a:cubicBezTo>
                      <a:pt x="1019414" y="325524"/>
                      <a:pt x="1000315" y="322482"/>
                      <a:pt x="983387" y="328963"/>
                    </a:cubicBezTo>
                    <a:cubicBezTo>
                      <a:pt x="980589" y="329813"/>
                      <a:pt x="978172" y="331606"/>
                      <a:pt x="976548" y="334036"/>
                    </a:cubicBezTo>
                    <a:cubicBezTo>
                      <a:pt x="974775" y="337838"/>
                      <a:pt x="976001" y="342365"/>
                      <a:pt x="979454" y="344751"/>
                    </a:cubicBezTo>
                    <a:cubicBezTo>
                      <a:pt x="982886" y="346880"/>
                      <a:pt x="987143" y="347199"/>
                      <a:pt x="990853" y="345606"/>
                    </a:cubicBezTo>
                    <a:cubicBezTo>
                      <a:pt x="990814" y="350702"/>
                      <a:pt x="994404" y="355107"/>
                      <a:pt x="999403" y="356093"/>
                    </a:cubicBezTo>
                    <a:cubicBezTo>
                      <a:pt x="1001842" y="356104"/>
                      <a:pt x="1004276" y="356410"/>
                      <a:pt x="1006641" y="357005"/>
                    </a:cubicBezTo>
                    <a:cubicBezTo>
                      <a:pt x="1008220" y="357913"/>
                      <a:pt x="1009645" y="359067"/>
                      <a:pt x="1010859" y="360424"/>
                    </a:cubicBezTo>
                    <a:cubicBezTo>
                      <a:pt x="1015903" y="364869"/>
                      <a:pt x="1022845" y="366476"/>
                      <a:pt x="1029325" y="364699"/>
                    </a:cubicBezTo>
                    <a:cubicBezTo>
                      <a:pt x="1033486" y="363048"/>
                      <a:pt x="1037538" y="361144"/>
                      <a:pt x="1041465" y="358999"/>
                    </a:cubicBezTo>
                    <a:cubicBezTo>
                      <a:pt x="1045489" y="356957"/>
                      <a:pt x="1050271" y="357086"/>
                      <a:pt x="1054175" y="359341"/>
                    </a:cubicBezTo>
                    <a:cubicBezTo>
                      <a:pt x="1059874" y="363388"/>
                      <a:pt x="1059133" y="372963"/>
                      <a:pt x="1065118" y="376440"/>
                    </a:cubicBezTo>
                    <a:cubicBezTo>
                      <a:pt x="1066713" y="377352"/>
                      <a:pt x="1068594" y="377580"/>
                      <a:pt x="1070190" y="378492"/>
                    </a:cubicBezTo>
                    <a:cubicBezTo>
                      <a:pt x="1073644" y="380977"/>
                      <a:pt x="1075650" y="385008"/>
                      <a:pt x="1075548" y="389264"/>
                    </a:cubicBezTo>
                    <a:cubicBezTo>
                      <a:pt x="1076175" y="397642"/>
                      <a:pt x="1074180" y="406020"/>
                      <a:pt x="1074693" y="414398"/>
                    </a:cubicBezTo>
                    <a:cubicBezTo>
                      <a:pt x="1075206" y="422777"/>
                      <a:pt x="1080050" y="431440"/>
                      <a:pt x="1088144" y="433834"/>
                    </a:cubicBezTo>
                    <a:close/>
                    <a:moveTo>
                      <a:pt x="978771" y="536424"/>
                    </a:moveTo>
                    <a:cubicBezTo>
                      <a:pt x="979796" y="533688"/>
                      <a:pt x="981677" y="531409"/>
                      <a:pt x="982646" y="528673"/>
                    </a:cubicBezTo>
                    <a:cubicBezTo>
                      <a:pt x="985165" y="521885"/>
                      <a:pt x="981706" y="514341"/>
                      <a:pt x="974918" y="511822"/>
                    </a:cubicBezTo>
                    <a:cubicBezTo>
                      <a:pt x="971891" y="510698"/>
                      <a:pt x="968551" y="510731"/>
                      <a:pt x="965548" y="511916"/>
                    </a:cubicBezTo>
                    <a:cubicBezTo>
                      <a:pt x="964465" y="518813"/>
                      <a:pt x="975807" y="522631"/>
                      <a:pt x="975237" y="529642"/>
                    </a:cubicBezTo>
                    <a:cubicBezTo>
                      <a:pt x="974741" y="532456"/>
                      <a:pt x="972609" y="534697"/>
                      <a:pt x="969822" y="535341"/>
                    </a:cubicBezTo>
                    <a:cubicBezTo>
                      <a:pt x="967013" y="535934"/>
                      <a:pt x="964083" y="535449"/>
                      <a:pt x="961615" y="533973"/>
                    </a:cubicBezTo>
                    <a:cubicBezTo>
                      <a:pt x="959261" y="532823"/>
                      <a:pt x="957472" y="530766"/>
                      <a:pt x="956657" y="528274"/>
                    </a:cubicBezTo>
                    <a:cubicBezTo>
                      <a:pt x="955859" y="525139"/>
                      <a:pt x="957284" y="521548"/>
                      <a:pt x="955688" y="518813"/>
                    </a:cubicBezTo>
                    <a:cubicBezTo>
                      <a:pt x="952496" y="513113"/>
                      <a:pt x="943206" y="518072"/>
                      <a:pt x="937905" y="514595"/>
                    </a:cubicBezTo>
                    <a:cubicBezTo>
                      <a:pt x="934982" y="512422"/>
                      <a:pt x="933984" y="508497"/>
                      <a:pt x="935512" y="505191"/>
                    </a:cubicBezTo>
                    <a:cubicBezTo>
                      <a:pt x="937073" y="501991"/>
                      <a:pt x="939974" y="499651"/>
                      <a:pt x="943434" y="498808"/>
                    </a:cubicBezTo>
                    <a:cubicBezTo>
                      <a:pt x="947310" y="497782"/>
                      <a:pt x="951470" y="498181"/>
                      <a:pt x="955289" y="496927"/>
                    </a:cubicBezTo>
                    <a:cubicBezTo>
                      <a:pt x="960338" y="495400"/>
                      <a:pt x="963832" y="490801"/>
                      <a:pt x="963952" y="485528"/>
                    </a:cubicBezTo>
                    <a:cubicBezTo>
                      <a:pt x="963661" y="480500"/>
                      <a:pt x="959353" y="476657"/>
                      <a:pt x="954326" y="476945"/>
                    </a:cubicBezTo>
                    <a:cubicBezTo>
                      <a:pt x="954041" y="476961"/>
                      <a:pt x="953750" y="476992"/>
                      <a:pt x="953465" y="477036"/>
                    </a:cubicBezTo>
                    <a:cubicBezTo>
                      <a:pt x="953750" y="474471"/>
                      <a:pt x="951128" y="472647"/>
                      <a:pt x="948848" y="471336"/>
                    </a:cubicBezTo>
                    <a:cubicBezTo>
                      <a:pt x="945828" y="469416"/>
                      <a:pt x="942425" y="468171"/>
                      <a:pt x="938874" y="467688"/>
                    </a:cubicBezTo>
                    <a:cubicBezTo>
                      <a:pt x="935227" y="467247"/>
                      <a:pt x="931693" y="469138"/>
                      <a:pt x="930040" y="472419"/>
                    </a:cubicBezTo>
                    <a:cubicBezTo>
                      <a:pt x="928672" y="475839"/>
                      <a:pt x="930040" y="480398"/>
                      <a:pt x="927532" y="482906"/>
                    </a:cubicBezTo>
                    <a:cubicBezTo>
                      <a:pt x="918869" y="485870"/>
                      <a:pt x="909807" y="479429"/>
                      <a:pt x="900688" y="479201"/>
                    </a:cubicBezTo>
                    <a:cubicBezTo>
                      <a:pt x="893484" y="479698"/>
                      <a:pt x="886553" y="482141"/>
                      <a:pt x="880626" y="486269"/>
                    </a:cubicBezTo>
                    <a:cubicBezTo>
                      <a:pt x="876693" y="488491"/>
                      <a:pt x="872191" y="492367"/>
                      <a:pt x="873843" y="496585"/>
                    </a:cubicBezTo>
                    <a:cubicBezTo>
                      <a:pt x="875097" y="499548"/>
                      <a:pt x="878802" y="500460"/>
                      <a:pt x="882051" y="500973"/>
                    </a:cubicBezTo>
                    <a:lnTo>
                      <a:pt x="901771" y="503994"/>
                    </a:lnTo>
                    <a:cubicBezTo>
                      <a:pt x="903093" y="504122"/>
                      <a:pt x="904375" y="504530"/>
                      <a:pt x="905532" y="505191"/>
                    </a:cubicBezTo>
                    <a:cubicBezTo>
                      <a:pt x="906256" y="505756"/>
                      <a:pt x="906838" y="506477"/>
                      <a:pt x="907242" y="507300"/>
                    </a:cubicBezTo>
                    <a:cubicBezTo>
                      <a:pt x="909380" y="512033"/>
                      <a:pt x="907276" y="517603"/>
                      <a:pt x="902546" y="519742"/>
                    </a:cubicBezTo>
                    <a:cubicBezTo>
                      <a:pt x="902329" y="519839"/>
                      <a:pt x="902107" y="519929"/>
                      <a:pt x="901885" y="520010"/>
                    </a:cubicBezTo>
                    <a:cubicBezTo>
                      <a:pt x="900084" y="520272"/>
                      <a:pt x="898334" y="520810"/>
                      <a:pt x="896698" y="521605"/>
                    </a:cubicBezTo>
                    <a:cubicBezTo>
                      <a:pt x="893108" y="524056"/>
                      <a:pt x="894361" y="530554"/>
                      <a:pt x="890600" y="533004"/>
                    </a:cubicBezTo>
                    <a:cubicBezTo>
                      <a:pt x="888519" y="533859"/>
                      <a:pt x="886183" y="533859"/>
                      <a:pt x="884102" y="533004"/>
                    </a:cubicBezTo>
                    <a:cubicBezTo>
                      <a:pt x="876596" y="531919"/>
                      <a:pt x="869706" y="528251"/>
                      <a:pt x="864610" y="522631"/>
                    </a:cubicBezTo>
                    <a:cubicBezTo>
                      <a:pt x="863938" y="521481"/>
                      <a:pt x="863048" y="520474"/>
                      <a:pt x="861988" y="519668"/>
                    </a:cubicBezTo>
                    <a:cubicBezTo>
                      <a:pt x="860735" y="519052"/>
                      <a:pt x="859332" y="518796"/>
                      <a:pt x="857942" y="518927"/>
                    </a:cubicBezTo>
                    <a:lnTo>
                      <a:pt x="851900" y="518927"/>
                    </a:lnTo>
                    <a:cubicBezTo>
                      <a:pt x="850880" y="518799"/>
                      <a:pt x="849854" y="519086"/>
                      <a:pt x="849051" y="519725"/>
                    </a:cubicBezTo>
                    <a:cubicBezTo>
                      <a:pt x="848526" y="520347"/>
                      <a:pt x="848247" y="521135"/>
                      <a:pt x="848253" y="521947"/>
                    </a:cubicBezTo>
                    <a:cubicBezTo>
                      <a:pt x="847928" y="527938"/>
                      <a:pt x="849974" y="533815"/>
                      <a:pt x="853952" y="538305"/>
                    </a:cubicBezTo>
                    <a:cubicBezTo>
                      <a:pt x="857902" y="542733"/>
                      <a:pt x="862615" y="546415"/>
                      <a:pt x="867859" y="549191"/>
                    </a:cubicBezTo>
                    <a:cubicBezTo>
                      <a:pt x="873610" y="552554"/>
                      <a:pt x="879588" y="555506"/>
                      <a:pt x="885755" y="558025"/>
                    </a:cubicBezTo>
                    <a:cubicBezTo>
                      <a:pt x="890258" y="559849"/>
                      <a:pt x="895501" y="562186"/>
                      <a:pt x="896641" y="566916"/>
                    </a:cubicBezTo>
                    <a:cubicBezTo>
                      <a:pt x="896983" y="568398"/>
                      <a:pt x="896641" y="569937"/>
                      <a:pt x="897211" y="571476"/>
                    </a:cubicBezTo>
                    <a:cubicBezTo>
                      <a:pt x="898237" y="576662"/>
                      <a:pt x="903709" y="579398"/>
                      <a:pt x="907584" y="582875"/>
                    </a:cubicBezTo>
                    <a:cubicBezTo>
                      <a:pt x="911460" y="586351"/>
                      <a:pt x="912942" y="589429"/>
                      <a:pt x="916076" y="592279"/>
                    </a:cubicBezTo>
                    <a:cubicBezTo>
                      <a:pt x="918972" y="595408"/>
                      <a:pt x="923366" y="596662"/>
                      <a:pt x="927475" y="595528"/>
                    </a:cubicBezTo>
                    <a:cubicBezTo>
                      <a:pt x="929732" y="594468"/>
                      <a:pt x="931693" y="592860"/>
                      <a:pt x="933175" y="590854"/>
                    </a:cubicBezTo>
                    <a:cubicBezTo>
                      <a:pt x="936811" y="587349"/>
                      <a:pt x="939330" y="582846"/>
                      <a:pt x="940413" y="577916"/>
                    </a:cubicBezTo>
                    <a:cubicBezTo>
                      <a:pt x="940459" y="576731"/>
                      <a:pt x="940687" y="575557"/>
                      <a:pt x="941097" y="574440"/>
                    </a:cubicBezTo>
                    <a:cubicBezTo>
                      <a:pt x="942807" y="571248"/>
                      <a:pt x="947481" y="572388"/>
                      <a:pt x="951014" y="572901"/>
                    </a:cubicBezTo>
                    <a:cubicBezTo>
                      <a:pt x="957888" y="573636"/>
                      <a:pt x="964693" y="570974"/>
                      <a:pt x="969253" y="565776"/>
                    </a:cubicBezTo>
                    <a:cubicBezTo>
                      <a:pt x="973727" y="560584"/>
                      <a:pt x="976400" y="554087"/>
                      <a:pt x="976890" y="547253"/>
                    </a:cubicBezTo>
                    <a:cubicBezTo>
                      <a:pt x="977038" y="543537"/>
                      <a:pt x="977693" y="539855"/>
                      <a:pt x="978828" y="536310"/>
                    </a:cubicBezTo>
                    <a:close/>
                    <a:moveTo>
                      <a:pt x="1009833" y="440502"/>
                    </a:moveTo>
                    <a:cubicBezTo>
                      <a:pt x="1014164" y="440502"/>
                      <a:pt x="1018838" y="438621"/>
                      <a:pt x="1022657" y="440502"/>
                    </a:cubicBezTo>
                    <a:cubicBezTo>
                      <a:pt x="1023910" y="441186"/>
                      <a:pt x="1024936" y="442155"/>
                      <a:pt x="1026190" y="442725"/>
                    </a:cubicBezTo>
                    <a:cubicBezTo>
                      <a:pt x="1028932" y="443425"/>
                      <a:pt x="1031838" y="443080"/>
                      <a:pt x="1034340" y="441756"/>
                    </a:cubicBezTo>
                    <a:cubicBezTo>
                      <a:pt x="1039698" y="439647"/>
                      <a:pt x="1045739" y="436797"/>
                      <a:pt x="1047164" y="431155"/>
                    </a:cubicBezTo>
                    <a:cubicBezTo>
                      <a:pt x="1048589" y="425512"/>
                      <a:pt x="1043916" y="419756"/>
                      <a:pt x="1039413" y="415880"/>
                    </a:cubicBezTo>
                    <a:cubicBezTo>
                      <a:pt x="1033286" y="410458"/>
                      <a:pt x="1026686" y="405594"/>
                      <a:pt x="1019693" y="401347"/>
                    </a:cubicBezTo>
                    <a:cubicBezTo>
                      <a:pt x="1018752" y="400627"/>
                      <a:pt x="1017561" y="400319"/>
                      <a:pt x="1016387" y="400492"/>
                    </a:cubicBezTo>
                    <a:cubicBezTo>
                      <a:pt x="1015361" y="400834"/>
                      <a:pt x="1014734" y="401916"/>
                      <a:pt x="1013936" y="402657"/>
                    </a:cubicBezTo>
                    <a:cubicBezTo>
                      <a:pt x="1010631" y="405792"/>
                      <a:pt x="1004988" y="402657"/>
                      <a:pt x="1000828" y="404595"/>
                    </a:cubicBezTo>
                    <a:cubicBezTo>
                      <a:pt x="996667" y="406533"/>
                      <a:pt x="995812" y="410295"/>
                      <a:pt x="992905" y="413201"/>
                    </a:cubicBezTo>
                    <a:cubicBezTo>
                      <a:pt x="988232" y="417590"/>
                      <a:pt x="980082" y="417077"/>
                      <a:pt x="976206" y="422150"/>
                    </a:cubicBezTo>
                    <a:cubicBezTo>
                      <a:pt x="975317" y="425861"/>
                      <a:pt x="977180" y="429684"/>
                      <a:pt x="980652" y="431269"/>
                    </a:cubicBezTo>
                    <a:cubicBezTo>
                      <a:pt x="984025" y="432760"/>
                      <a:pt x="987565" y="433851"/>
                      <a:pt x="991195" y="434517"/>
                    </a:cubicBezTo>
                    <a:cubicBezTo>
                      <a:pt x="997522" y="436398"/>
                      <a:pt x="1003335" y="440502"/>
                      <a:pt x="1009890" y="440388"/>
                    </a:cubicBezTo>
                    <a:close/>
                    <a:moveTo>
                      <a:pt x="1125817" y="311010"/>
                    </a:moveTo>
                    <a:cubicBezTo>
                      <a:pt x="1127219" y="310948"/>
                      <a:pt x="1128587" y="310557"/>
                      <a:pt x="1129807" y="309870"/>
                    </a:cubicBezTo>
                    <a:cubicBezTo>
                      <a:pt x="1131032" y="309152"/>
                      <a:pt x="1131636" y="307713"/>
                      <a:pt x="1131289" y="306336"/>
                    </a:cubicBezTo>
                    <a:cubicBezTo>
                      <a:pt x="1131129" y="305985"/>
                      <a:pt x="1130918" y="305659"/>
                      <a:pt x="1130662" y="305367"/>
                    </a:cubicBezTo>
                    <a:cubicBezTo>
                      <a:pt x="1123514" y="296210"/>
                      <a:pt x="1111158" y="292906"/>
                      <a:pt x="1100397" y="297274"/>
                    </a:cubicBezTo>
                    <a:cubicBezTo>
                      <a:pt x="1099497" y="297575"/>
                      <a:pt x="1098710" y="298129"/>
                      <a:pt x="1098118" y="298870"/>
                    </a:cubicBezTo>
                    <a:cubicBezTo>
                      <a:pt x="1097320" y="299953"/>
                      <a:pt x="1097377" y="301492"/>
                      <a:pt x="1096636" y="302632"/>
                    </a:cubicBezTo>
                    <a:cubicBezTo>
                      <a:pt x="1095268" y="304683"/>
                      <a:pt x="1092133" y="304399"/>
                      <a:pt x="1090252" y="305994"/>
                    </a:cubicBezTo>
                    <a:cubicBezTo>
                      <a:pt x="1089905" y="310735"/>
                      <a:pt x="1093467" y="314858"/>
                      <a:pt x="1098209" y="315205"/>
                    </a:cubicBezTo>
                    <a:cubicBezTo>
                      <a:pt x="1098408" y="315219"/>
                      <a:pt x="1098602" y="315227"/>
                      <a:pt x="1098802" y="315228"/>
                    </a:cubicBezTo>
                    <a:cubicBezTo>
                      <a:pt x="1100055" y="315228"/>
                      <a:pt x="1101480" y="314886"/>
                      <a:pt x="1102392" y="315740"/>
                    </a:cubicBezTo>
                    <a:cubicBezTo>
                      <a:pt x="1102871" y="316333"/>
                      <a:pt x="1103242" y="317009"/>
                      <a:pt x="1103475" y="317735"/>
                    </a:cubicBezTo>
                    <a:cubicBezTo>
                      <a:pt x="1105099" y="319700"/>
                      <a:pt x="1107613" y="320709"/>
                      <a:pt x="1110144" y="320414"/>
                    </a:cubicBezTo>
                    <a:cubicBezTo>
                      <a:pt x="1112195" y="320414"/>
                      <a:pt x="1114247" y="320414"/>
                      <a:pt x="1116356" y="320414"/>
                    </a:cubicBezTo>
                    <a:cubicBezTo>
                      <a:pt x="1117439" y="320496"/>
                      <a:pt x="1118499" y="320100"/>
                      <a:pt x="1119263" y="319331"/>
                    </a:cubicBezTo>
                    <a:cubicBezTo>
                      <a:pt x="1120175" y="318134"/>
                      <a:pt x="1119263" y="316367"/>
                      <a:pt x="1119719" y="314886"/>
                    </a:cubicBezTo>
                    <a:cubicBezTo>
                      <a:pt x="1120232" y="312207"/>
                      <a:pt x="1123309" y="311238"/>
                      <a:pt x="1125874" y="310896"/>
                    </a:cubicBezTo>
                    <a:close/>
                    <a:moveTo>
                      <a:pt x="1108719" y="102238"/>
                    </a:moveTo>
                    <a:cubicBezTo>
                      <a:pt x="1109175" y="107140"/>
                      <a:pt x="1114418" y="109876"/>
                      <a:pt x="1118693" y="112212"/>
                    </a:cubicBezTo>
                    <a:cubicBezTo>
                      <a:pt x="1129636" y="117912"/>
                      <a:pt x="1139325" y="126347"/>
                      <a:pt x="1151066" y="130394"/>
                    </a:cubicBezTo>
                    <a:cubicBezTo>
                      <a:pt x="1162807" y="134440"/>
                      <a:pt x="1178081" y="132502"/>
                      <a:pt x="1184294" y="121787"/>
                    </a:cubicBezTo>
                    <a:cubicBezTo>
                      <a:pt x="1185012" y="120148"/>
                      <a:pt x="1186060" y="118673"/>
                      <a:pt x="1187371" y="117456"/>
                    </a:cubicBezTo>
                    <a:cubicBezTo>
                      <a:pt x="1191361" y="114549"/>
                      <a:pt x="1196833" y="119280"/>
                      <a:pt x="1198200" y="124010"/>
                    </a:cubicBezTo>
                    <a:cubicBezTo>
                      <a:pt x="1199568" y="128741"/>
                      <a:pt x="1199511" y="134383"/>
                      <a:pt x="1202988" y="137917"/>
                    </a:cubicBezTo>
                    <a:cubicBezTo>
                      <a:pt x="1206983" y="140862"/>
                      <a:pt x="1212027" y="141999"/>
                      <a:pt x="1216895" y="141052"/>
                    </a:cubicBezTo>
                    <a:lnTo>
                      <a:pt x="1252630" y="139000"/>
                    </a:lnTo>
                    <a:cubicBezTo>
                      <a:pt x="1255252" y="139117"/>
                      <a:pt x="1257845" y="138463"/>
                      <a:pt x="1260097" y="137119"/>
                    </a:cubicBezTo>
                    <a:cubicBezTo>
                      <a:pt x="1261636" y="135979"/>
                      <a:pt x="1262605" y="134212"/>
                      <a:pt x="1264086" y="132958"/>
                    </a:cubicBezTo>
                    <a:cubicBezTo>
                      <a:pt x="1267301" y="130963"/>
                      <a:pt x="1271114" y="130157"/>
                      <a:pt x="1274858" y="130679"/>
                    </a:cubicBezTo>
                    <a:cubicBezTo>
                      <a:pt x="1288053" y="131050"/>
                      <a:pt x="1301264" y="130650"/>
                      <a:pt x="1314413" y="129482"/>
                    </a:cubicBezTo>
                    <a:cubicBezTo>
                      <a:pt x="1316835" y="129421"/>
                      <a:pt x="1319206" y="128755"/>
                      <a:pt x="1321309" y="127544"/>
                    </a:cubicBezTo>
                    <a:cubicBezTo>
                      <a:pt x="1322967" y="126171"/>
                      <a:pt x="1324495" y="124645"/>
                      <a:pt x="1325869" y="122984"/>
                    </a:cubicBezTo>
                    <a:cubicBezTo>
                      <a:pt x="1331568" y="117285"/>
                      <a:pt x="1341485" y="117627"/>
                      <a:pt x="1348211" y="112953"/>
                    </a:cubicBezTo>
                    <a:cubicBezTo>
                      <a:pt x="1352753" y="109731"/>
                      <a:pt x="1355523" y="104559"/>
                      <a:pt x="1355677" y="98990"/>
                    </a:cubicBezTo>
                    <a:cubicBezTo>
                      <a:pt x="1364802" y="107058"/>
                      <a:pt x="1365662" y="120997"/>
                      <a:pt x="1357592" y="130124"/>
                    </a:cubicBezTo>
                    <a:cubicBezTo>
                      <a:pt x="1356463" y="131402"/>
                      <a:pt x="1355187" y="132544"/>
                      <a:pt x="1353796" y="133528"/>
                    </a:cubicBezTo>
                    <a:cubicBezTo>
                      <a:pt x="1351773" y="134589"/>
                      <a:pt x="1349863" y="135849"/>
                      <a:pt x="1348097" y="137290"/>
                    </a:cubicBezTo>
                    <a:cubicBezTo>
                      <a:pt x="1346957" y="138430"/>
                      <a:pt x="1346102" y="139855"/>
                      <a:pt x="1345076" y="141109"/>
                    </a:cubicBezTo>
                    <a:cubicBezTo>
                      <a:pt x="1340630" y="146352"/>
                      <a:pt x="1332993" y="147207"/>
                      <a:pt x="1326154" y="147663"/>
                    </a:cubicBezTo>
                    <a:lnTo>
                      <a:pt x="1285060" y="150627"/>
                    </a:lnTo>
                    <a:cubicBezTo>
                      <a:pt x="1281983" y="150627"/>
                      <a:pt x="1278221" y="151539"/>
                      <a:pt x="1277195" y="154445"/>
                    </a:cubicBezTo>
                    <a:cubicBezTo>
                      <a:pt x="1276169" y="157352"/>
                      <a:pt x="1279988" y="161285"/>
                      <a:pt x="1283692" y="162197"/>
                    </a:cubicBezTo>
                    <a:cubicBezTo>
                      <a:pt x="1287397" y="163109"/>
                      <a:pt x="1291786" y="163337"/>
                      <a:pt x="1294066" y="166357"/>
                    </a:cubicBezTo>
                    <a:cubicBezTo>
                      <a:pt x="1295376" y="168067"/>
                      <a:pt x="1295832" y="170518"/>
                      <a:pt x="1297599" y="171715"/>
                    </a:cubicBezTo>
                    <a:cubicBezTo>
                      <a:pt x="1298956" y="172349"/>
                      <a:pt x="1300432" y="172697"/>
                      <a:pt x="1301931" y="172741"/>
                    </a:cubicBezTo>
                    <a:cubicBezTo>
                      <a:pt x="1305806" y="173233"/>
                      <a:pt x="1309306" y="175293"/>
                      <a:pt x="1311620" y="178440"/>
                    </a:cubicBezTo>
                    <a:cubicBezTo>
                      <a:pt x="1313780" y="184353"/>
                      <a:pt x="1310742" y="190899"/>
                      <a:pt x="1304826" y="193060"/>
                    </a:cubicBezTo>
                    <a:cubicBezTo>
                      <a:pt x="1299588" y="194975"/>
                      <a:pt x="1293729" y="192817"/>
                      <a:pt x="1290988" y="187958"/>
                    </a:cubicBezTo>
                    <a:cubicBezTo>
                      <a:pt x="1289939" y="186010"/>
                      <a:pt x="1288617" y="184225"/>
                      <a:pt x="1287055" y="182658"/>
                    </a:cubicBezTo>
                    <a:cubicBezTo>
                      <a:pt x="1283692" y="180207"/>
                      <a:pt x="1278506" y="181974"/>
                      <a:pt x="1275200" y="179523"/>
                    </a:cubicBezTo>
                    <a:cubicBezTo>
                      <a:pt x="1271895" y="177072"/>
                      <a:pt x="1272065" y="172171"/>
                      <a:pt x="1269501" y="169321"/>
                    </a:cubicBezTo>
                    <a:cubicBezTo>
                      <a:pt x="1265340" y="165160"/>
                      <a:pt x="1256791" y="167383"/>
                      <a:pt x="1253884" y="162311"/>
                    </a:cubicBezTo>
                    <a:cubicBezTo>
                      <a:pt x="1253086" y="161000"/>
                      <a:pt x="1252915" y="159347"/>
                      <a:pt x="1252003" y="158093"/>
                    </a:cubicBezTo>
                    <a:cubicBezTo>
                      <a:pt x="1250687" y="156682"/>
                      <a:pt x="1248948" y="155742"/>
                      <a:pt x="1247045" y="155414"/>
                    </a:cubicBezTo>
                    <a:cubicBezTo>
                      <a:pt x="1237732" y="152812"/>
                      <a:pt x="1228185" y="151113"/>
                      <a:pt x="1218548" y="150342"/>
                    </a:cubicBezTo>
                    <a:cubicBezTo>
                      <a:pt x="1213253" y="149516"/>
                      <a:pt x="1207832" y="150228"/>
                      <a:pt x="1202931" y="152394"/>
                    </a:cubicBezTo>
                    <a:cubicBezTo>
                      <a:pt x="1198012" y="155269"/>
                      <a:pt x="1194735" y="160296"/>
                      <a:pt x="1194097" y="165958"/>
                    </a:cubicBezTo>
                    <a:cubicBezTo>
                      <a:pt x="1193122" y="178164"/>
                      <a:pt x="1202224" y="188851"/>
                      <a:pt x="1214427" y="189828"/>
                    </a:cubicBezTo>
                    <a:cubicBezTo>
                      <a:pt x="1214906" y="189866"/>
                      <a:pt x="1215390" y="189889"/>
                      <a:pt x="1215869" y="189896"/>
                    </a:cubicBezTo>
                    <a:cubicBezTo>
                      <a:pt x="1218548" y="189896"/>
                      <a:pt x="1221568" y="189269"/>
                      <a:pt x="1223677" y="191093"/>
                    </a:cubicBezTo>
                    <a:cubicBezTo>
                      <a:pt x="1224583" y="192127"/>
                      <a:pt x="1225353" y="193277"/>
                      <a:pt x="1225957" y="194513"/>
                    </a:cubicBezTo>
                    <a:cubicBezTo>
                      <a:pt x="1228465" y="197505"/>
                      <a:pt x="1231383" y="200134"/>
                      <a:pt x="1234620" y="202321"/>
                    </a:cubicBezTo>
                    <a:cubicBezTo>
                      <a:pt x="1237527" y="205000"/>
                      <a:pt x="1239522" y="209673"/>
                      <a:pt x="1237071" y="212751"/>
                    </a:cubicBezTo>
                    <a:cubicBezTo>
                      <a:pt x="1242833" y="215295"/>
                      <a:pt x="1248396" y="218267"/>
                      <a:pt x="1253713" y="221642"/>
                    </a:cubicBezTo>
                    <a:lnTo>
                      <a:pt x="1257019" y="223637"/>
                    </a:lnTo>
                    <a:lnTo>
                      <a:pt x="1278734" y="236746"/>
                    </a:lnTo>
                    <a:cubicBezTo>
                      <a:pt x="1282951" y="238526"/>
                      <a:pt x="1285334" y="243029"/>
                      <a:pt x="1284433" y="247518"/>
                    </a:cubicBezTo>
                    <a:cubicBezTo>
                      <a:pt x="1284433" y="250994"/>
                      <a:pt x="1284034" y="255383"/>
                      <a:pt x="1280786" y="256466"/>
                    </a:cubicBezTo>
                    <a:cubicBezTo>
                      <a:pt x="1278574" y="256840"/>
                      <a:pt x="1276300" y="256329"/>
                      <a:pt x="1274459" y="255041"/>
                    </a:cubicBezTo>
                    <a:cubicBezTo>
                      <a:pt x="1261966" y="248305"/>
                      <a:pt x="1248948" y="242587"/>
                      <a:pt x="1235532" y="237943"/>
                    </a:cubicBezTo>
                    <a:cubicBezTo>
                      <a:pt x="1230824" y="236111"/>
                      <a:pt x="1225866" y="234997"/>
                      <a:pt x="1220827" y="234637"/>
                    </a:cubicBezTo>
                    <a:cubicBezTo>
                      <a:pt x="1213971" y="234632"/>
                      <a:pt x="1207262" y="236611"/>
                      <a:pt x="1201506" y="240336"/>
                    </a:cubicBezTo>
                    <a:cubicBezTo>
                      <a:pt x="1198303" y="242645"/>
                      <a:pt x="1194769" y="244451"/>
                      <a:pt x="1191019" y="245694"/>
                    </a:cubicBezTo>
                    <a:cubicBezTo>
                      <a:pt x="1186836" y="245905"/>
                      <a:pt x="1182664" y="246381"/>
                      <a:pt x="1178537" y="247119"/>
                    </a:cubicBezTo>
                    <a:cubicBezTo>
                      <a:pt x="1170558" y="250140"/>
                      <a:pt x="1169304" y="260741"/>
                      <a:pt x="1169361" y="269233"/>
                    </a:cubicBezTo>
                    <a:cubicBezTo>
                      <a:pt x="1177010" y="268494"/>
                      <a:pt x="1184727" y="269111"/>
                      <a:pt x="1192159" y="271057"/>
                    </a:cubicBezTo>
                    <a:cubicBezTo>
                      <a:pt x="1199637" y="272981"/>
                      <a:pt x="1207576" y="271788"/>
                      <a:pt x="1214159" y="267751"/>
                    </a:cubicBezTo>
                    <a:cubicBezTo>
                      <a:pt x="1217465" y="264392"/>
                      <a:pt x="1220588" y="260853"/>
                      <a:pt x="1223506" y="257150"/>
                    </a:cubicBezTo>
                    <a:cubicBezTo>
                      <a:pt x="1226590" y="253371"/>
                      <a:pt x="1231839" y="252153"/>
                      <a:pt x="1236273" y="254186"/>
                    </a:cubicBezTo>
                    <a:cubicBezTo>
                      <a:pt x="1237190" y="259490"/>
                      <a:pt x="1233628" y="264532"/>
                      <a:pt x="1228328" y="265448"/>
                    </a:cubicBezTo>
                    <a:cubicBezTo>
                      <a:pt x="1227883" y="265525"/>
                      <a:pt x="1227433" y="265570"/>
                      <a:pt x="1226983" y="265585"/>
                    </a:cubicBezTo>
                    <a:lnTo>
                      <a:pt x="1226983" y="272823"/>
                    </a:lnTo>
                    <a:cubicBezTo>
                      <a:pt x="1222554" y="271602"/>
                      <a:pt x="1217972" y="274203"/>
                      <a:pt x="1216746" y="278633"/>
                    </a:cubicBezTo>
                    <a:cubicBezTo>
                      <a:pt x="1215527" y="283064"/>
                      <a:pt x="1218131" y="287646"/>
                      <a:pt x="1222560" y="288867"/>
                    </a:cubicBezTo>
                    <a:cubicBezTo>
                      <a:pt x="1222760" y="288922"/>
                      <a:pt x="1222959" y="288970"/>
                      <a:pt x="1223164" y="289010"/>
                    </a:cubicBezTo>
                    <a:cubicBezTo>
                      <a:pt x="1225603" y="289037"/>
                      <a:pt x="1228037" y="289208"/>
                      <a:pt x="1230459" y="289523"/>
                    </a:cubicBezTo>
                    <a:cubicBezTo>
                      <a:pt x="1232830" y="290623"/>
                      <a:pt x="1234814" y="292410"/>
                      <a:pt x="1236159" y="294652"/>
                    </a:cubicBezTo>
                    <a:lnTo>
                      <a:pt x="1248299" y="310326"/>
                    </a:lnTo>
                    <a:cubicBezTo>
                      <a:pt x="1245352" y="312110"/>
                      <a:pt x="1242109" y="313346"/>
                      <a:pt x="1238724" y="313974"/>
                    </a:cubicBezTo>
                    <a:cubicBezTo>
                      <a:pt x="1239527" y="316120"/>
                      <a:pt x="1239858" y="318414"/>
                      <a:pt x="1239693" y="320699"/>
                    </a:cubicBezTo>
                    <a:cubicBezTo>
                      <a:pt x="1234763" y="320889"/>
                      <a:pt x="1229827" y="320506"/>
                      <a:pt x="1224988" y="319559"/>
                    </a:cubicBezTo>
                    <a:cubicBezTo>
                      <a:pt x="1223694" y="319398"/>
                      <a:pt x="1222480" y="318841"/>
                      <a:pt x="1221511" y="317963"/>
                    </a:cubicBezTo>
                    <a:cubicBezTo>
                      <a:pt x="1220668" y="316748"/>
                      <a:pt x="1220160" y="315333"/>
                      <a:pt x="1220029" y="313860"/>
                    </a:cubicBezTo>
                    <a:cubicBezTo>
                      <a:pt x="1218656" y="308210"/>
                      <a:pt x="1213897" y="304021"/>
                      <a:pt x="1208118" y="303373"/>
                    </a:cubicBezTo>
                    <a:cubicBezTo>
                      <a:pt x="1208152" y="297739"/>
                      <a:pt x="1204966" y="292582"/>
                      <a:pt x="1199910" y="290093"/>
                    </a:cubicBezTo>
                    <a:cubicBezTo>
                      <a:pt x="1194900" y="287726"/>
                      <a:pt x="1189486" y="286333"/>
                      <a:pt x="1183952" y="285989"/>
                    </a:cubicBezTo>
                    <a:lnTo>
                      <a:pt x="1172553" y="284564"/>
                    </a:lnTo>
                    <a:cubicBezTo>
                      <a:pt x="1170889" y="284308"/>
                      <a:pt x="1169202" y="284308"/>
                      <a:pt x="1167537" y="284564"/>
                    </a:cubicBezTo>
                    <a:cubicBezTo>
                      <a:pt x="1162505" y="285856"/>
                      <a:pt x="1159370" y="290872"/>
                      <a:pt x="1160413" y="295963"/>
                    </a:cubicBezTo>
                    <a:cubicBezTo>
                      <a:pt x="1161747" y="300928"/>
                      <a:pt x="1165964" y="304582"/>
                      <a:pt x="1171071" y="305196"/>
                    </a:cubicBezTo>
                    <a:cubicBezTo>
                      <a:pt x="1173630" y="305195"/>
                      <a:pt x="1176178" y="305521"/>
                      <a:pt x="1178651" y="306165"/>
                    </a:cubicBezTo>
                    <a:cubicBezTo>
                      <a:pt x="1183667" y="308217"/>
                      <a:pt x="1184864" y="314658"/>
                      <a:pt x="1185263" y="320015"/>
                    </a:cubicBezTo>
                    <a:cubicBezTo>
                      <a:pt x="1185508" y="321263"/>
                      <a:pt x="1185240" y="322557"/>
                      <a:pt x="1184522" y="323606"/>
                    </a:cubicBezTo>
                    <a:cubicBezTo>
                      <a:pt x="1183667" y="325031"/>
                      <a:pt x="1181615" y="325202"/>
                      <a:pt x="1179962" y="325202"/>
                    </a:cubicBezTo>
                    <a:cubicBezTo>
                      <a:pt x="1167851" y="324554"/>
                      <a:pt x="1155705" y="324935"/>
                      <a:pt x="1143656" y="326341"/>
                    </a:cubicBezTo>
                    <a:lnTo>
                      <a:pt x="1135620" y="327709"/>
                    </a:lnTo>
                    <a:cubicBezTo>
                      <a:pt x="1135939" y="331663"/>
                      <a:pt x="1132998" y="335128"/>
                      <a:pt x="1129043" y="335449"/>
                    </a:cubicBezTo>
                    <a:cubicBezTo>
                      <a:pt x="1128712" y="335477"/>
                      <a:pt x="1128376" y="335481"/>
                      <a:pt x="1128040" y="335461"/>
                    </a:cubicBezTo>
                    <a:cubicBezTo>
                      <a:pt x="1126541" y="339984"/>
                      <a:pt x="1128707" y="344909"/>
                      <a:pt x="1133055" y="346860"/>
                    </a:cubicBezTo>
                    <a:cubicBezTo>
                      <a:pt x="1137233" y="348680"/>
                      <a:pt x="1141804" y="349406"/>
                      <a:pt x="1146335" y="348968"/>
                    </a:cubicBezTo>
                    <a:lnTo>
                      <a:pt x="1192786" y="348341"/>
                    </a:lnTo>
                    <a:cubicBezTo>
                      <a:pt x="1195288" y="347928"/>
                      <a:pt x="1197841" y="348661"/>
                      <a:pt x="1199739" y="350336"/>
                    </a:cubicBezTo>
                    <a:cubicBezTo>
                      <a:pt x="1201449" y="352445"/>
                      <a:pt x="1200822" y="356036"/>
                      <a:pt x="1202532" y="357860"/>
                    </a:cubicBezTo>
                    <a:cubicBezTo>
                      <a:pt x="1205781" y="361849"/>
                      <a:pt x="1212734" y="357404"/>
                      <a:pt x="1217237" y="359854"/>
                    </a:cubicBezTo>
                    <a:cubicBezTo>
                      <a:pt x="1218776" y="360709"/>
                      <a:pt x="1219858" y="362248"/>
                      <a:pt x="1221454" y="362989"/>
                    </a:cubicBezTo>
                    <a:cubicBezTo>
                      <a:pt x="1223757" y="363737"/>
                      <a:pt x="1226259" y="363595"/>
                      <a:pt x="1228465" y="362590"/>
                    </a:cubicBezTo>
                    <a:cubicBezTo>
                      <a:pt x="1235304" y="360367"/>
                      <a:pt x="1242884" y="357632"/>
                      <a:pt x="1246247" y="351191"/>
                    </a:cubicBezTo>
                    <a:cubicBezTo>
                      <a:pt x="1247022" y="349081"/>
                      <a:pt x="1248202" y="347145"/>
                      <a:pt x="1249724" y="345492"/>
                    </a:cubicBezTo>
                    <a:cubicBezTo>
                      <a:pt x="1251758" y="344210"/>
                      <a:pt x="1254169" y="343649"/>
                      <a:pt x="1256563" y="343896"/>
                    </a:cubicBezTo>
                    <a:cubicBezTo>
                      <a:pt x="1275029" y="343896"/>
                      <a:pt x="1295091" y="343896"/>
                      <a:pt x="1309625" y="355295"/>
                    </a:cubicBezTo>
                    <a:cubicBezTo>
                      <a:pt x="1313495" y="358917"/>
                      <a:pt x="1317604" y="362269"/>
                      <a:pt x="1321936" y="365326"/>
                    </a:cubicBezTo>
                    <a:cubicBezTo>
                      <a:pt x="1326473" y="368352"/>
                      <a:pt x="1332389" y="368352"/>
                      <a:pt x="1336926" y="365326"/>
                    </a:cubicBezTo>
                    <a:cubicBezTo>
                      <a:pt x="1338447" y="363602"/>
                      <a:pt x="1340106" y="362001"/>
                      <a:pt x="1341884" y="360538"/>
                    </a:cubicBezTo>
                    <a:cubicBezTo>
                      <a:pt x="1346672" y="357632"/>
                      <a:pt x="1353853" y="361393"/>
                      <a:pt x="1358128" y="357803"/>
                    </a:cubicBezTo>
                    <a:cubicBezTo>
                      <a:pt x="1359496" y="356606"/>
                      <a:pt x="1360236" y="354782"/>
                      <a:pt x="1361604" y="353528"/>
                    </a:cubicBezTo>
                    <a:cubicBezTo>
                      <a:pt x="1365822" y="349595"/>
                      <a:pt x="1372661" y="352673"/>
                      <a:pt x="1378418" y="352046"/>
                    </a:cubicBezTo>
                    <a:cubicBezTo>
                      <a:pt x="1385759" y="350765"/>
                      <a:pt x="1390780" y="343930"/>
                      <a:pt x="1389817" y="336544"/>
                    </a:cubicBezTo>
                    <a:cubicBezTo>
                      <a:pt x="1388335" y="329262"/>
                      <a:pt x="1382082" y="323927"/>
                      <a:pt x="1374656" y="323606"/>
                    </a:cubicBezTo>
                    <a:cubicBezTo>
                      <a:pt x="1371464" y="323606"/>
                      <a:pt x="1367646" y="324860"/>
                      <a:pt x="1367019" y="327994"/>
                    </a:cubicBezTo>
                    <a:cubicBezTo>
                      <a:pt x="1367019" y="329191"/>
                      <a:pt x="1367019" y="330445"/>
                      <a:pt x="1367019" y="331642"/>
                    </a:cubicBezTo>
                    <a:cubicBezTo>
                      <a:pt x="1366386" y="334014"/>
                      <a:pt x="1363947" y="335422"/>
                      <a:pt x="1361576" y="334787"/>
                    </a:cubicBezTo>
                    <a:cubicBezTo>
                      <a:pt x="1361183" y="334683"/>
                      <a:pt x="1360812" y="334526"/>
                      <a:pt x="1360464" y="334321"/>
                    </a:cubicBezTo>
                    <a:cubicBezTo>
                      <a:pt x="1359376" y="333413"/>
                      <a:pt x="1358470" y="332312"/>
                      <a:pt x="1357786" y="331072"/>
                    </a:cubicBezTo>
                    <a:cubicBezTo>
                      <a:pt x="1352770" y="324062"/>
                      <a:pt x="1342853" y="323093"/>
                      <a:pt x="1334247" y="323777"/>
                    </a:cubicBezTo>
                    <a:cubicBezTo>
                      <a:pt x="1325641" y="324461"/>
                      <a:pt x="1316579" y="326114"/>
                      <a:pt x="1308941" y="322181"/>
                    </a:cubicBezTo>
                    <a:cubicBezTo>
                      <a:pt x="1308086" y="325829"/>
                      <a:pt x="1302444" y="326000"/>
                      <a:pt x="1300050" y="323207"/>
                    </a:cubicBezTo>
                    <a:cubicBezTo>
                      <a:pt x="1297981" y="320088"/>
                      <a:pt x="1297257" y="316264"/>
                      <a:pt x="1298055" y="312606"/>
                    </a:cubicBezTo>
                    <a:cubicBezTo>
                      <a:pt x="1297901" y="309870"/>
                      <a:pt x="1299092" y="307231"/>
                      <a:pt x="1301247" y="305538"/>
                    </a:cubicBezTo>
                    <a:cubicBezTo>
                      <a:pt x="1303270" y="304792"/>
                      <a:pt x="1305493" y="304792"/>
                      <a:pt x="1307516" y="305538"/>
                    </a:cubicBezTo>
                    <a:cubicBezTo>
                      <a:pt x="1331312" y="310274"/>
                      <a:pt x="1355848" y="309807"/>
                      <a:pt x="1379444" y="304171"/>
                    </a:cubicBezTo>
                    <a:cubicBezTo>
                      <a:pt x="1383775" y="294823"/>
                      <a:pt x="1368045" y="284051"/>
                      <a:pt x="1373744" y="275217"/>
                    </a:cubicBezTo>
                    <a:cubicBezTo>
                      <a:pt x="1376480" y="270772"/>
                      <a:pt x="1382749" y="270544"/>
                      <a:pt x="1387993" y="270829"/>
                    </a:cubicBezTo>
                    <a:lnTo>
                      <a:pt x="1408169" y="271912"/>
                    </a:lnTo>
                    <a:cubicBezTo>
                      <a:pt x="1412831" y="272566"/>
                      <a:pt x="1417590" y="271916"/>
                      <a:pt x="1421905" y="270031"/>
                    </a:cubicBezTo>
                    <a:cubicBezTo>
                      <a:pt x="1426225" y="267901"/>
                      <a:pt x="1427997" y="262673"/>
                      <a:pt x="1425872" y="258354"/>
                    </a:cubicBezTo>
                    <a:cubicBezTo>
                      <a:pt x="1425843" y="258294"/>
                      <a:pt x="1425809" y="258234"/>
                      <a:pt x="1425780" y="258176"/>
                    </a:cubicBezTo>
                    <a:cubicBezTo>
                      <a:pt x="1432164" y="257720"/>
                      <a:pt x="1435583" y="250709"/>
                      <a:pt x="1438262" y="244896"/>
                    </a:cubicBezTo>
                    <a:cubicBezTo>
                      <a:pt x="1441750" y="237275"/>
                      <a:pt x="1445991" y="230020"/>
                      <a:pt x="1450915" y="223238"/>
                    </a:cubicBezTo>
                    <a:lnTo>
                      <a:pt x="1398708" y="221015"/>
                    </a:lnTo>
                    <a:cubicBezTo>
                      <a:pt x="1394832" y="221015"/>
                      <a:pt x="1389988" y="220103"/>
                      <a:pt x="1388848" y="216399"/>
                    </a:cubicBezTo>
                    <a:cubicBezTo>
                      <a:pt x="1387423" y="211782"/>
                      <a:pt x="1393008" y="208248"/>
                      <a:pt x="1397625" y="206881"/>
                    </a:cubicBezTo>
                    <a:cubicBezTo>
                      <a:pt x="1412774" y="202316"/>
                      <a:pt x="1428642" y="200615"/>
                      <a:pt x="1444418" y="201865"/>
                    </a:cubicBezTo>
                    <a:cubicBezTo>
                      <a:pt x="1451348" y="203062"/>
                      <a:pt x="1458455" y="202790"/>
                      <a:pt x="1465278" y="201067"/>
                    </a:cubicBezTo>
                    <a:cubicBezTo>
                      <a:pt x="1471889" y="198616"/>
                      <a:pt x="1477304" y="191150"/>
                      <a:pt x="1474625" y="184653"/>
                    </a:cubicBezTo>
                    <a:lnTo>
                      <a:pt x="1480609" y="182544"/>
                    </a:lnTo>
                    <a:cubicBezTo>
                      <a:pt x="1488931" y="179637"/>
                      <a:pt x="1498278" y="183912"/>
                      <a:pt x="1507055" y="184881"/>
                    </a:cubicBezTo>
                    <a:cubicBezTo>
                      <a:pt x="1509751" y="185402"/>
                      <a:pt x="1512538" y="185225"/>
                      <a:pt x="1515148" y="184368"/>
                    </a:cubicBezTo>
                    <a:cubicBezTo>
                      <a:pt x="1518118" y="182671"/>
                      <a:pt x="1520432" y="180020"/>
                      <a:pt x="1521703" y="176844"/>
                    </a:cubicBezTo>
                    <a:cubicBezTo>
                      <a:pt x="1526661" y="167440"/>
                      <a:pt x="1531050" y="157181"/>
                      <a:pt x="1539656" y="151083"/>
                    </a:cubicBezTo>
                    <a:cubicBezTo>
                      <a:pt x="1547310" y="146594"/>
                      <a:pt x="1555808" y="143742"/>
                      <a:pt x="1564620" y="142704"/>
                    </a:cubicBezTo>
                    <a:cubicBezTo>
                      <a:pt x="1578595" y="140205"/>
                      <a:pt x="1591948" y="135018"/>
                      <a:pt x="1603946" y="127430"/>
                    </a:cubicBezTo>
                    <a:cubicBezTo>
                      <a:pt x="1613122" y="121160"/>
                      <a:pt x="1621044" y="112725"/>
                      <a:pt x="1630904" y="108052"/>
                    </a:cubicBezTo>
                    <a:cubicBezTo>
                      <a:pt x="1646920" y="100699"/>
                      <a:pt x="1666469" y="103948"/>
                      <a:pt x="1682200" y="95513"/>
                    </a:cubicBezTo>
                    <a:cubicBezTo>
                      <a:pt x="1677754" y="86907"/>
                      <a:pt x="1666697" y="84114"/>
                      <a:pt x="1657008" y="84513"/>
                    </a:cubicBezTo>
                    <a:cubicBezTo>
                      <a:pt x="1647319" y="84912"/>
                      <a:pt x="1637915" y="88445"/>
                      <a:pt x="1628226" y="88730"/>
                    </a:cubicBezTo>
                    <a:cubicBezTo>
                      <a:pt x="1622013" y="88730"/>
                      <a:pt x="1613863" y="85083"/>
                      <a:pt x="1615630" y="79155"/>
                    </a:cubicBezTo>
                    <a:cubicBezTo>
                      <a:pt x="1616827" y="75052"/>
                      <a:pt x="1622013" y="73855"/>
                      <a:pt x="1626288" y="73456"/>
                    </a:cubicBezTo>
                    <a:cubicBezTo>
                      <a:pt x="1648402" y="71404"/>
                      <a:pt x="1670801" y="71461"/>
                      <a:pt x="1692744" y="67756"/>
                    </a:cubicBezTo>
                    <a:cubicBezTo>
                      <a:pt x="1714687" y="64052"/>
                      <a:pt x="1736687" y="56015"/>
                      <a:pt x="1752474" y="40342"/>
                    </a:cubicBezTo>
                    <a:cubicBezTo>
                      <a:pt x="1755438" y="37378"/>
                      <a:pt x="1758174" y="32762"/>
                      <a:pt x="1756008" y="28943"/>
                    </a:cubicBezTo>
                    <a:cubicBezTo>
                      <a:pt x="1747516" y="25238"/>
                      <a:pt x="1738909" y="33959"/>
                      <a:pt x="1729619" y="35668"/>
                    </a:cubicBezTo>
                    <a:cubicBezTo>
                      <a:pt x="1709044" y="39601"/>
                      <a:pt x="1696733" y="8767"/>
                      <a:pt x="1675816" y="7171"/>
                    </a:cubicBezTo>
                    <a:cubicBezTo>
                      <a:pt x="1670863" y="7058"/>
                      <a:pt x="1665922" y="7810"/>
                      <a:pt x="1661226" y="9394"/>
                    </a:cubicBezTo>
                    <a:lnTo>
                      <a:pt x="1628511" y="18342"/>
                    </a:lnTo>
                    <a:cubicBezTo>
                      <a:pt x="1626938" y="18852"/>
                      <a:pt x="1625239" y="18852"/>
                      <a:pt x="1623666" y="18342"/>
                    </a:cubicBezTo>
                    <a:cubicBezTo>
                      <a:pt x="1621557" y="17544"/>
                      <a:pt x="1620588" y="15207"/>
                      <a:pt x="1619562" y="13212"/>
                    </a:cubicBezTo>
                    <a:cubicBezTo>
                      <a:pt x="1612375" y="641"/>
                      <a:pt x="1596360" y="-3725"/>
                      <a:pt x="1583792" y="3460"/>
                    </a:cubicBezTo>
                    <a:cubicBezTo>
                      <a:pt x="1583080" y="3866"/>
                      <a:pt x="1582391" y="4306"/>
                      <a:pt x="1581718" y="4777"/>
                    </a:cubicBezTo>
                    <a:cubicBezTo>
                      <a:pt x="1575335" y="9793"/>
                      <a:pt x="1570319" y="18285"/>
                      <a:pt x="1562283" y="18456"/>
                    </a:cubicBezTo>
                    <a:cubicBezTo>
                      <a:pt x="1555500" y="18456"/>
                      <a:pt x="1550371" y="12756"/>
                      <a:pt x="1544728" y="8995"/>
                    </a:cubicBezTo>
                    <a:cubicBezTo>
                      <a:pt x="1536783" y="3939"/>
                      <a:pt x="1526906" y="2945"/>
                      <a:pt x="1518112" y="6316"/>
                    </a:cubicBezTo>
                    <a:cubicBezTo>
                      <a:pt x="1514293" y="7855"/>
                      <a:pt x="1510817" y="10135"/>
                      <a:pt x="1506713" y="11503"/>
                    </a:cubicBezTo>
                    <a:cubicBezTo>
                      <a:pt x="1501646" y="12998"/>
                      <a:pt x="1496374" y="13671"/>
                      <a:pt x="1491096" y="13497"/>
                    </a:cubicBezTo>
                    <a:lnTo>
                      <a:pt x="1435298" y="14922"/>
                    </a:lnTo>
                    <a:cubicBezTo>
                      <a:pt x="1431976" y="15360"/>
                      <a:pt x="1428596" y="14657"/>
                      <a:pt x="1425723" y="12927"/>
                    </a:cubicBezTo>
                    <a:cubicBezTo>
                      <a:pt x="1423694" y="10768"/>
                      <a:pt x="1421990" y="8331"/>
                      <a:pt x="1420651" y="5689"/>
                    </a:cubicBezTo>
                    <a:cubicBezTo>
                      <a:pt x="1415140" y="-616"/>
                      <a:pt x="1405564" y="-1260"/>
                      <a:pt x="1399261" y="4249"/>
                    </a:cubicBezTo>
                    <a:cubicBezTo>
                      <a:pt x="1397255" y="5999"/>
                      <a:pt x="1395750" y="8245"/>
                      <a:pt x="1394889" y="10762"/>
                    </a:cubicBezTo>
                    <a:cubicBezTo>
                      <a:pt x="1394724" y="12457"/>
                      <a:pt x="1394177" y="14093"/>
                      <a:pt x="1393293" y="15549"/>
                    </a:cubicBezTo>
                    <a:cubicBezTo>
                      <a:pt x="1389931" y="19596"/>
                      <a:pt x="1384060" y="14295"/>
                      <a:pt x="1380527" y="10420"/>
                    </a:cubicBezTo>
                    <a:cubicBezTo>
                      <a:pt x="1369464" y="-777"/>
                      <a:pt x="1351425" y="-886"/>
                      <a:pt x="1340226" y="10175"/>
                    </a:cubicBezTo>
                    <a:cubicBezTo>
                      <a:pt x="1339080" y="11306"/>
                      <a:pt x="1338037" y="12532"/>
                      <a:pt x="1337096" y="13839"/>
                    </a:cubicBezTo>
                    <a:cubicBezTo>
                      <a:pt x="1331283" y="9523"/>
                      <a:pt x="1323076" y="10735"/>
                      <a:pt x="1318756" y="16547"/>
                    </a:cubicBezTo>
                    <a:cubicBezTo>
                      <a:pt x="1318072" y="17467"/>
                      <a:pt x="1317513" y="18473"/>
                      <a:pt x="1317091" y="19539"/>
                    </a:cubicBezTo>
                    <a:cubicBezTo>
                      <a:pt x="1316721" y="21474"/>
                      <a:pt x="1316208" y="23379"/>
                      <a:pt x="1315552" y="25238"/>
                    </a:cubicBezTo>
                    <a:cubicBezTo>
                      <a:pt x="1310423" y="36010"/>
                      <a:pt x="1290589" y="24782"/>
                      <a:pt x="1282895" y="33902"/>
                    </a:cubicBezTo>
                    <a:cubicBezTo>
                      <a:pt x="1280615" y="36580"/>
                      <a:pt x="1280159" y="40513"/>
                      <a:pt x="1277993" y="43306"/>
                    </a:cubicBezTo>
                    <a:cubicBezTo>
                      <a:pt x="1273188" y="47764"/>
                      <a:pt x="1265956" y="48353"/>
                      <a:pt x="1260496" y="44731"/>
                    </a:cubicBezTo>
                    <a:cubicBezTo>
                      <a:pt x="1254796" y="41653"/>
                      <a:pt x="1250579" y="36694"/>
                      <a:pt x="1245050" y="33332"/>
                    </a:cubicBezTo>
                    <a:cubicBezTo>
                      <a:pt x="1234118" y="27739"/>
                      <a:pt x="1221010" y="28547"/>
                      <a:pt x="1210853" y="35440"/>
                    </a:cubicBezTo>
                    <a:cubicBezTo>
                      <a:pt x="1200908" y="42558"/>
                      <a:pt x="1194091" y="53234"/>
                      <a:pt x="1191817" y="65249"/>
                    </a:cubicBezTo>
                    <a:lnTo>
                      <a:pt x="1177910" y="65249"/>
                    </a:lnTo>
                    <a:cubicBezTo>
                      <a:pt x="1177910" y="57269"/>
                      <a:pt x="1168620" y="51228"/>
                      <a:pt x="1160812" y="50544"/>
                    </a:cubicBezTo>
                    <a:cubicBezTo>
                      <a:pt x="1152434" y="50269"/>
                      <a:pt x="1144517" y="54399"/>
                      <a:pt x="1139952" y="61430"/>
                    </a:cubicBezTo>
                    <a:cubicBezTo>
                      <a:pt x="1139080" y="62767"/>
                      <a:pt x="1138025" y="63976"/>
                      <a:pt x="1136817" y="65021"/>
                    </a:cubicBezTo>
                    <a:cubicBezTo>
                      <a:pt x="1131460" y="69124"/>
                      <a:pt x="1121656" y="64565"/>
                      <a:pt x="1118009" y="70264"/>
                    </a:cubicBezTo>
                    <a:cubicBezTo>
                      <a:pt x="1116515" y="73398"/>
                      <a:pt x="1116983" y="77116"/>
                      <a:pt x="1119206" y="79782"/>
                    </a:cubicBezTo>
                    <a:cubicBezTo>
                      <a:pt x="1121383" y="82398"/>
                      <a:pt x="1123292" y="85224"/>
                      <a:pt x="1124905" y="88218"/>
                    </a:cubicBezTo>
                    <a:cubicBezTo>
                      <a:pt x="1127168" y="94093"/>
                      <a:pt x="1124238" y="100689"/>
                      <a:pt x="1118362" y="102951"/>
                    </a:cubicBezTo>
                    <a:cubicBezTo>
                      <a:pt x="1115188" y="104174"/>
                      <a:pt x="1111625" y="103913"/>
                      <a:pt x="1108662" y="102238"/>
                    </a:cubicBezTo>
                    <a:close/>
                    <a:moveTo>
                      <a:pt x="1089739" y="82803"/>
                    </a:moveTo>
                    <a:cubicBezTo>
                      <a:pt x="1091569" y="83868"/>
                      <a:pt x="1093661" y="84400"/>
                      <a:pt x="1095781" y="84342"/>
                    </a:cubicBezTo>
                    <a:cubicBezTo>
                      <a:pt x="1097890" y="84057"/>
                      <a:pt x="1099941" y="82233"/>
                      <a:pt x="1099656" y="80181"/>
                    </a:cubicBezTo>
                    <a:cubicBezTo>
                      <a:pt x="1101463" y="79638"/>
                      <a:pt x="1103418" y="79908"/>
                      <a:pt x="1105014" y="80922"/>
                    </a:cubicBezTo>
                    <a:cubicBezTo>
                      <a:pt x="1106724" y="81606"/>
                      <a:pt x="1109004" y="82005"/>
                      <a:pt x="1110200" y="80922"/>
                    </a:cubicBezTo>
                    <a:cubicBezTo>
                      <a:pt x="1111397" y="79839"/>
                      <a:pt x="1110200" y="76648"/>
                      <a:pt x="1108947" y="74881"/>
                    </a:cubicBezTo>
                    <a:cubicBezTo>
                      <a:pt x="1108132" y="73704"/>
                      <a:pt x="1107151" y="72649"/>
                      <a:pt x="1106040" y="71746"/>
                    </a:cubicBezTo>
                    <a:cubicBezTo>
                      <a:pt x="1103492" y="70313"/>
                      <a:pt x="1100580" y="69658"/>
                      <a:pt x="1097662" y="69865"/>
                    </a:cubicBezTo>
                    <a:lnTo>
                      <a:pt x="1091050" y="69865"/>
                    </a:lnTo>
                    <a:cubicBezTo>
                      <a:pt x="1091050" y="73570"/>
                      <a:pt x="1085351" y="75565"/>
                      <a:pt x="1085351" y="79155"/>
                    </a:cubicBezTo>
                    <a:cubicBezTo>
                      <a:pt x="1085864" y="80637"/>
                      <a:pt x="1087916" y="81834"/>
                      <a:pt x="1089739" y="82689"/>
                    </a:cubicBezTo>
                    <a:close/>
                    <a:moveTo>
                      <a:pt x="980594" y="183114"/>
                    </a:moveTo>
                    <a:cubicBezTo>
                      <a:pt x="984299" y="184368"/>
                      <a:pt x="989144" y="183456"/>
                      <a:pt x="991423" y="186590"/>
                    </a:cubicBezTo>
                    <a:cubicBezTo>
                      <a:pt x="992962" y="188699"/>
                      <a:pt x="992449" y="191606"/>
                      <a:pt x="992734" y="194228"/>
                    </a:cubicBezTo>
                    <a:cubicBezTo>
                      <a:pt x="993019" y="196849"/>
                      <a:pt x="995299" y="199927"/>
                      <a:pt x="997693" y="198730"/>
                    </a:cubicBezTo>
                    <a:cubicBezTo>
                      <a:pt x="996063" y="200889"/>
                      <a:pt x="996485" y="203964"/>
                      <a:pt x="998645" y="205596"/>
                    </a:cubicBezTo>
                    <a:cubicBezTo>
                      <a:pt x="998799" y="205710"/>
                      <a:pt x="998953" y="205816"/>
                      <a:pt x="999118" y="205912"/>
                    </a:cubicBezTo>
                    <a:cubicBezTo>
                      <a:pt x="1001648" y="207195"/>
                      <a:pt x="1004515" y="207672"/>
                      <a:pt x="1007325" y="207280"/>
                    </a:cubicBezTo>
                    <a:cubicBezTo>
                      <a:pt x="1024195" y="206551"/>
                      <a:pt x="1040992" y="204647"/>
                      <a:pt x="1057594" y="201580"/>
                    </a:cubicBezTo>
                    <a:cubicBezTo>
                      <a:pt x="1061692" y="200267"/>
                      <a:pt x="1066092" y="200267"/>
                      <a:pt x="1070190" y="201580"/>
                    </a:cubicBezTo>
                    <a:cubicBezTo>
                      <a:pt x="1074066" y="203347"/>
                      <a:pt x="1076289" y="209046"/>
                      <a:pt x="1073268" y="212010"/>
                    </a:cubicBezTo>
                    <a:cubicBezTo>
                      <a:pt x="1070247" y="214974"/>
                      <a:pt x="1063864" y="212979"/>
                      <a:pt x="1060558" y="216057"/>
                    </a:cubicBezTo>
                    <a:cubicBezTo>
                      <a:pt x="1059361" y="217140"/>
                      <a:pt x="1058734" y="218735"/>
                      <a:pt x="1057651" y="219932"/>
                    </a:cubicBezTo>
                    <a:cubicBezTo>
                      <a:pt x="1053320" y="224720"/>
                      <a:pt x="1044942" y="220445"/>
                      <a:pt x="1039185" y="223295"/>
                    </a:cubicBezTo>
                    <a:cubicBezTo>
                      <a:pt x="1037110" y="224406"/>
                      <a:pt x="1035583" y="226323"/>
                      <a:pt x="1034967" y="228596"/>
                    </a:cubicBezTo>
                    <a:cubicBezTo>
                      <a:pt x="1034249" y="233221"/>
                      <a:pt x="1036535" y="237794"/>
                      <a:pt x="1040667" y="239994"/>
                    </a:cubicBezTo>
                    <a:cubicBezTo>
                      <a:pt x="1044771" y="242000"/>
                      <a:pt x="1049268" y="243089"/>
                      <a:pt x="1053833" y="243186"/>
                    </a:cubicBezTo>
                    <a:cubicBezTo>
                      <a:pt x="1052066" y="245466"/>
                      <a:pt x="1054802" y="248601"/>
                      <a:pt x="1057537" y="249513"/>
                    </a:cubicBezTo>
                    <a:cubicBezTo>
                      <a:pt x="1060273" y="250425"/>
                      <a:pt x="1063579" y="250709"/>
                      <a:pt x="1065118" y="253160"/>
                    </a:cubicBezTo>
                    <a:cubicBezTo>
                      <a:pt x="1065733" y="254662"/>
                      <a:pt x="1066172" y="256231"/>
                      <a:pt x="1066429" y="257834"/>
                    </a:cubicBezTo>
                    <a:cubicBezTo>
                      <a:pt x="1068423" y="264160"/>
                      <a:pt x="1076973" y="264958"/>
                      <a:pt x="1083527" y="264502"/>
                    </a:cubicBezTo>
                    <a:cubicBezTo>
                      <a:pt x="1082866" y="267539"/>
                      <a:pt x="1084507" y="270607"/>
                      <a:pt x="1087403" y="271741"/>
                    </a:cubicBezTo>
                    <a:cubicBezTo>
                      <a:pt x="1090218" y="272800"/>
                      <a:pt x="1093250" y="273152"/>
                      <a:pt x="1096237" y="272766"/>
                    </a:cubicBezTo>
                    <a:lnTo>
                      <a:pt x="1107123" y="272310"/>
                    </a:lnTo>
                    <a:cubicBezTo>
                      <a:pt x="1109203" y="272452"/>
                      <a:pt x="1111261" y="271754"/>
                      <a:pt x="1112822" y="270373"/>
                    </a:cubicBezTo>
                    <a:cubicBezTo>
                      <a:pt x="1113455" y="269293"/>
                      <a:pt x="1114008" y="268169"/>
                      <a:pt x="1114475" y="267010"/>
                    </a:cubicBezTo>
                    <a:cubicBezTo>
                      <a:pt x="1116231" y="264831"/>
                      <a:pt x="1118767" y="263420"/>
                      <a:pt x="1121543" y="263077"/>
                    </a:cubicBezTo>
                    <a:cubicBezTo>
                      <a:pt x="1125224" y="261906"/>
                      <a:pt x="1129123" y="261594"/>
                      <a:pt x="1132941" y="262165"/>
                    </a:cubicBezTo>
                    <a:cubicBezTo>
                      <a:pt x="1136954" y="262841"/>
                      <a:pt x="1139935" y="266250"/>
                      <a:pt x="1140066" y="270316"/>
                    </a:cubicBezTo>
                    <a:cubicBezTo>
                      <a:pt x="1142784" y="272426"/>
                      <a:pt x="1146586" y="272426"/>
                      <a:pt x="1149299" y="270316"/>
                    </a:cubicBezTo>
                    <a:cubicBezTo>
                      <a:pt x="1151875" y="268111"/>
                      <a:pt x="1153340" y="264873"/>
                      <a:pt x="1153288" y="261481"/>
                    </a:cubicBezTo>
                    <a:cubicBezTo>
                      <a:pt x="1153288" y="258632"/>
                      <a:pt x="1152605" y="255782"/>
                      <a:pt x="1152548" y="253046"/>
                    </a:cubicBezTo>
                    <a:cubicBezTo>
                      <a:pt x="1152530" y="245564"/>
                      <a:pt x="1157033" y="238811"/>
                      <a:pt x="1163947" y="235948"/>
                    </a:cubicBezTo>
                    <a:cubicBezTo>
                      <a:pt x="1165423" y="235592"/>
                      <a:pt x="1166791" y="234888"/>
                      <a:pt x="1167936" y="233896"/>
                    </a:cubicBezTo>
                    <a:cubicBezTo>
                      <a:pt x="1169019" y="232699"/>
                      <a:pt x="1169247" y="230875"/>
                      <a:pt x="1170216" y="229621"/>
                    </a:cubicBezTo>
                    <a:cubicBezTo>
                      <a:pt x="1172610" y="226544"/>
                      <a:pt x="1177682" y="227855"/>
                      <a:pt x="1181102" y="226031"/>
                    </a:cubicBezTo>
                    <a:cubicBezTo>
                      <a:pt x="1184522" y="224207"/>
                      <a:pt x="1185776" y="217938"/>
                      <a:pt x="1189765" y="215658"/>
                    </a:cubicBezTo>
                    <a:cubicBezTo>
                      <a:pt x="1191845" y="214688"/>
                      <a:pt x="1194177" y="214388"/>
                      <a:pt x="1196434" y="214803"/>
                    </a:cubicBezTo>
                    <a:cubicBezTo>
                      <a:pt x="1201250" y="215742"/>
                      <a:pt x="1206208" y="215742"/>
                      <a:pt x="1211024" y="214803"/>
                    </a:cubicBezTo>
                    <a:cubicBezTo>
                      <a:pt x="1215755" y="213435"/>
                      <a:pt x="1219801" y="208248"/>
                      <a:pt x="1217864" y="203746"/>
                    </a:cubicBezTo>
                    <a:cubicBezTo>
                      <a:pt x="1215926" y="199243"/>
                      <a:pt x="1210340" y="198616"/>
                      <a:pt x="1205667" y="198388"/>
                    </a:cubicBezTo>
                    <a:lnTo>
                      <a:pt x="1178708" y="197191"/>
                    </a:lnTo>
                    <a:cubicBezTo>
                      <a:pt x="1177768" y="197283"/>
                      <a:pt x="1176827" y="197063"/>
                      <a:pt x="1176029" y="196564"/>
                    </a:cubicBezTo>
                    <a:cubicBezTo>
                      <a:pt x="1175129" y="195794"/>
                      <a:pt x="1174542" y="194719"/>
                      <a:pt x="1174377" y="193544"/>
                    </a:cubicBezTo>
                    <a:cubicBezTo>
                      <a:pt x="1173522" y="190295"/>
                      <a:pt x="1172667" y="187046"/>
                      <a:pt x="1171755" y="183798"/>
                    </a:cubicBezTo>
                    <a:cubicBezTo>
                      <a:pt x="1174838" y="182538"/>
                      <a:pt x="1178081" y="181694"/>
                      <a:pt x="1181387" y="181290"/>
                    </a:cubicBezTo>
                    <a:cubicBezTo>
                      <a:pt x="1183040" y="177984"/>
                      <a:pt x="1179848" y="174223"/>
                      <a:pt x="1176485" y="172570"/>
                    </a:cubicBezTo>
                    <a:cubicBezTo>
                      <a:pt x="1173123" y="170917"/>
                      <a:pt x="1169190" y="169663"/>
                      <a:pt x="1167480" y="166357"/>
                    </a:cubicBezTo>
                    <a:cubicBezTo>
                      <a:pt x="1165770" y="163052"/>
                      <a:pt x="1167480" y="158891"/>
                      <a:pt x="1167024" y="154958"/>
                    </a:cubicBezTo>
                    <a:cubicBezTo>
                      <a:pt x="1166568" y="151026"/>
                      <a:pt x="1162237" y="147207"/>
                      <a:pt x="1159615" y="149943"/>
                    </a:cubicBezTo>
                    <a:cubicBezTo>
                      <a:pt x="1159615" y="155015"/>
                      <a:pt x="1159216" y="160088"/>
                      <a:pt x="1158988" y="165160"/>
                    </a:cubicBezTo>
                    <a:cubicBezTo>
                      <a:pt x="1154998" y="165959"/>
                      <a:pt x="1150895" y="165959"/>
                      <a:pt x="1146905" y="165160"/>
                    </a:cubicBezTo>
                    <a:cubicBezTo>
                      <a:pt x="1142841" y="164215"/>
                      <a:pt x="1139752" y="160903"/>
                      <a:pt x="1139097" y="156782"/>
                    </a:cubicBezTo>
                    <a:cubicBezTo>
                      <a:pt x="1139142" y="155722"/>
                      <a:pt x="1139006" y="154663"/>
                      <a:pt x="1138698" y="153647"/>
                    </a:cubicBezTo>
                    <a:cubicBezTo>
                      <a:pt x="1137558" y="150969"/>
                      <a:pt x="1132998" y="151311"/>
                      <a:pt x="1131631" y="148917"/>
                    </a:cubicBezTo>
                    <a:cubicBezTo>
                      <a:pt x="1130263" y="146523"/>
                      <a:pt x="1131631" y="143217"/>
                      <a:pt x="1129636" y="141394"/>
                    </a:cubicBezTo>
                    <a:cubicBezTo>
                      <a:pt x="1128997" y="140788"/>
                      <a:pt x="1128239" y="140322"/>
                      <a:pt x="1127413" y="140026"/>
                    </a:cubicBezTo>
                    <a:lnTo>
                      <a:pt x="1104615" y="130679"/>
                    </a:lnTo>
                    <a:cubicBezTo>
                      <a:pt x="1102814" y="129807"/>
                      <a:pt x="1100893" y="129211"/>
                      <a:pt x="1098916" y="128912"/>
                    </a:cubicBezTo>
                    <a:cubicBezTo>
                      <a:pt x="1095895" y="128912"/>
                      <a:pt x="1092019" y="129425"/>
                      <a:pt x="1090594" y="126746"/>
                    </a:cubicBezTo>
                    <a:cubicBezTo>
                      <a:pt x="1090024" y="125663"/>
                      <a:pt x="1090138" y="124295"/>
                      <a:pt x="1089454" y="123269"/>
                    </a:cubicBezTo>
                    <a:cubicBezTo>
                      <a:pt x="1087631" y="120363"/>
                      <a:pt x="1082273" y="122870"/>
                      <a:pt x="1079993" y="120306"/>
                    </a:cubicBezTo>
                    <a:cubicBezTo>
                      <a:pt x="1078626" y="118881"/>
                      <a:pt x="1078967" y="116430"/>
                      <a:pt x="1077714" y="114891"/>
                    </a:cubicBezTo>
                    <a:cubicBezTo>
                      <a:pt x="1076460" y="113352"/>
                      <a:pt x="1071330" y="113637"/>
                      <a:pt x="1069848" y="110958"/>
                    </a:cubicBezTo>
                    <a:cubicBezTo>
                      <a:pt x="1069461" y="109800"/>
                      <a:pt x="1069250" y="108589"/>
                      <a:pt x="1069221" y="107368"/>
                    </a:cubicBezTo>
                    <a:cubicBezTo>
                      <a:pt x="1068366" y="102067"/>
                      <a:pt x="1061470" y="100756"/>
                      <a:pt x="1056055" y="100642"/>
                    </a:cubicBezTo>
                    <a:cubicBezTo>
                      <a:pt x="1050345" y="99925"/>
                      <a:pt x="1044554" y="101106"/>
                      <a:pt x="1039584" y="104005"/>
                    </a:cubicBezTo>
                    <a:cubicBezTo>
                      <a:pt x="1037561" y="106042"/>
                      <a:pt x="1035281" y="107805"/>
                      <a:pt x="1032802" y="109249"/>
                    </a:cubicBezTo>
                    <a:cubicBezTo>
                      <a:pt x="1030522" y="109913"/>
                      <a:pt x="1028117" y="110010"/>
                      <a:pt x="1025791" y="109534"/>
                    </a:cubicBezTo>
                    <a:lnTo>
                      <a:pt x="1009890" y="107026"/>
                    </a:lnTo>
                    <a:cubicBezTo>
                      <a:pt x="1008573" y="109035"/>
                      <a:pt x="1008881" y="111702"/>
                      <a:pt x="1010631" y="113352"/>
                    </a:cubicBezTo>
                    <a:cubicBezTo>
                      <a:pt x="1012375" y="114904"/>
                      <a:pt x="1014466" y="116018"/>
                      <a:pt x="1016729" y="116601"/>
                    </a:cubicBezTo>
                    <a:cubicBezTo>
                      <a:pt x="1021973" y="118368"/>
                      <a:pt x="1028128" y="122300"/>
                      <a:pt x="1026988" y="127487"/>
                    </a:cubicBezTo>
                    <a:cubicBezTo>
                      <a:pt x="1025848" y="132673"/>
                      <a:pt x="1018382" y="133186"/>
                      <a:pt x="1012911" y="133186"/>
                    </a:cubicBezTo>
                    <a:cubicBezTo>
                      <a:pt x="1006082" y="133115"/>
                      <a:pt x="999283" y="134056"/>
                      <a:pt x="992734" y="135979"/>
                    </a:cubicBezTo>
                    <a:cubicBezTo>
                      <a:pt x="989087" y="137119"/>
                      <a:pt x="984812" y="139456"/>
                      <a:pt x="984983" y="143274"/>
                    </a:cubicBezTo>
                    <a:cubicBezTo>
                      <a:pt x="985154" y="147093"/>
                      <a:pt x="988004" y="148404"/>
                      <a:pt x="990682" y="149430"/>
                    </a:cubicBezTo>
                    <a:cubicBezTo>
                      <a:pt x="993595" y="150150"/>
                      <a:pt x="996353" y="151385"/>
                      <a:pt x="998833" y="153078"/>
                    </a:cubicBezTo>
                    <a:cubicBezTo>
                      <a:pt x="996040" y="154274"/>
                      <a:pt x="996781" y="158777"/>
                      <a:pt x="999346" y="160430"/>
                    </a:cubicBezTo>
                    <a:cubicBezTo>
                      <a:pt x="1002161" y="161653"/>
                      <a:pt x="1005268" y="162029"/>
                      <a:pt x="1008294" y="161513"/>
                    </a:cubicBezTo>
                    <a:cubicBezTo>
                      <a:pt x="1011349" y="161018"/>
                      <a:pt x="1014438" y="162113"/>
                      <a:pt x="1016501" y="164419"/>
                    </a:cubicBezTo>
                    <a:lnTo>
                      <a:pt x="1006983" y="170974"/>
                    </a:lnTo>
                    <a:cubicBezTo>
                      <a:pt x="1002708" y="173995"/>
                      <a:pt x="996268" y="176673"/>
                      <a:pt x="992791" y="172798"/>
                    </a:cubicBezTo>
                    <a:cubicBezTo>
                      <a:pt x="992016" y="171835"/>
                      <a:pt x="991332" y="170805"/>
                      <a:pt x="990740" y="169720"/>
                    </a:cubicBezTo>
                    <a:cubicBezTo>
                      <a:pt x="988049" y="165610"/>
                      <a:pt x="982544" y="164457"/>
                      <a:pt x="978434" y="167145"/>
                    </a:cubicBezTo>
                    <a:cubicBezTo>
                      <a:pt x="974325" y="169832"/>
                      <a:pt x="973168" y="175343"/>
                      <a:pt x="975858" y="179452"/>
                    </a:cubicBezTo>
                    <a:cubicBezTo>
                      <a:pt x="976941" y="181110"/>
                      <a:pt x="978548" y="182359"/>
                      <a:pt x="980423" y="183000"/>
                    </a:cubicBezTo>
                    <a:close/>
                    <a:moveTo>
                      <a:pt x="1634780" y="796662"/>
                    </a:moveTo>
                    <a:cubicBezTo>
                      <a:pt x="1635510" y="798480"/>
                      <a:pt x="1636490" y="800184"/>
                      <a:pt x="1637687" y="801735"/>
                    </a:cubicBezTo>
                    <a:cubicBezTo>
                      <a:pt x="1640616" y="803895"/>
                      <a:pt x="1644139" y="805103"/>
                      <a:pt x="1647775" y="805211"/>
                    </a:cubicBezTo>
                    <a:cubicBezTo>
                      <a:pt x="1659208" y="808232"/>
                      <a:pt x="1667706" y="817830"/>
                      <a:pt x="1669319" y="829548"/>
                    </a:cubicBezTo>
                    <a:cubicBezTo>
                      <a:pt x="1669336" y="831241"/>
                      <a:pt x="1669940" y="832871"/>
                      <a:pt x="1671029" y="834165"/>
                    </a:cubicBezTo>
                    <a:cubicBezTo>
                      <a:pt x="1673422" y="836273"/>
                      <a:pt x="1677697" y="834165"/>
                      <a:pt x="1680034" y="836387"/>
                    </a:cubicBezTo>
                    <a:cubicBezTo>
                      <a:pt x="1682371" y="838610"/>
                      <a:pt x="1681174" y="841118"/>
                      <a:pt x="1682314" y="843341"/>
                    </a:cubicBezTo>
                    <a:cubicBezTo>
                      <a:pt x="1684080" y="846817"/>
                      <a:pt x="1689609" y="846418"/>
                      <a:pt x="1692288" y="843626"/>
                    </a:cubicBezTo>
                    <a:cubicBezTo>
                      <a:pt x="1694653" y="840502"/>
                      <a:pt x="1695992" y="836718"/>
                      <a:pt x="1696106" y="832797"/>
                    </a:cubicBezTo>
                    <a:cubicBezTo>
                      <a:pt x="1696266" y="828875"/>
                      <a:pt x="1697662" y="825102"/>
                      <a:pt x="1700096" y="822025"/>
                    </a:cubicBezTo>
                    <a:cubicBezTo>
                      <a:pt x="1702775" y="823849"/>
                      <a:pt x="1706422" y="821341"/>
                      <a:pt x="1707733" y="818434"/>
                    </a:cubicBezTo>
                    <a:cubicBezTo>
                      <a:pt x="1708600" y="815345"/>
                      <a:pt x="1709802" y="812364"/>
                      <a:pt x="1711324" y="809543"/>
                    </a:cubicBezTo>
                    <a:cubicBezTo>
                      <a:pt x="1714345" y="805667"/>
                      <a:pt x="1719987" y="805439"/>
                      <a:pt x="1724832" y="804812"/>
                    </a:cubicBezTo>
                    <a:cubicBezTo>
                      <a:pt x="1729676" y="804185"/>
                      <a:pt x="1735433" y="801507"/>
                      <a:pt x="1735547" y="796548"/>
                    </a:cubicBezTo>
                    <a:cubicBezTo>
                      <a:pt x="1727226" y="792957"/>
                      <a:pt x="1730987" y="777056"/>
                      <a:pt x="1722381" y="774206"/>
                    </a:cubicBezTo>
                    <a:cubicBezTo>
                      <a:pt x="1719645" y="773294"/>
                      <a:pt x="1716282" y="774206"/>
                      <a:pt x="1714117" y="772211"/>
                    </a:cubicBezTo>
                    <a:cubicBezTo>
                      <a:pt x="1711951" y="770216"/>
                      <a:pt x="1712236" y="767766"/>
                      <a:pt x="1710412" y="766512"/>
                    </a:cubicBezTo>
                    <a:cubicBezTo>
                      <a:pt x="1708588" y="765258"/>
                      <a:pt x="1706650" y="765315"/>
                      <a:pt x="1704713" y="764403"/>
                    </a:cubicBezTo>
                    <a:cubicBezTo>
                      <a:pt x="1701122" y="762465"/>
                      <a:pt x="1701008" y="757507"/>
                      <a:pt x="1699868" y="753631"/>
                    </a:cubicBezTo>
                    <a:cubicBezTo>
                      <a:pt x="1698728" y="749755"/>
                      <a:pt x="1693314" y="746165"/>
                      <a:pt x="1691091" y="749584"/>
                    </a:cubicBezTo>
                    <a:cubicBezTo>
                      <a:pt x="1692003" y="742631"/>
                      <a:pt x="1683454" y="738755"/>
                      <a:pt x="1676614" y="737217"/>
                    </a:cubicBezTo>
                    <a:lnTo>
                      <a:pt x="1648117" y="730719"/>
                    </a:lnTo>
                    <a:lnTo>
                      <a:pt x="1630448" y="721486"/>
                    </a:lnTo>
                    <a:cubicBezTo>
                      <a:pt x="1625496" y="717969"/>
                      <a:pt x="1619283" y="716704"/>
                      <a:pt x="1613350" y="718009"/>
                    </a:cubicBezTo>
                    <a:cubicBezTo>
                      <a:pt x="1614889" y="714818"/>
                      <a:pt x="1611982" y="711113"/>
                      <a:pt x="1608790" y="709574"/>
                    </a:cubicBezTo>
                    <a:cubicBezTo>
                      <a:pt x="1605405" y="708485"/>
                      <a:pt x="1602151" y="707015"/>
                      <a:pt x="1599101" y="705185"/>
                    </a:cubicBezTo>
                    <a:cubicBezTo>
                      <a:pt x="1594952" y="701304"/>
                      <a:pt x="1594604" y="694847"/>
                      <a:pt x="1598303" y="690538"/>
                    </a:cubicBezTo>
                    <a:cubicBezTo>
                      <a:pt x="1602196" y="686491"/>
                      <a:pt x="1608260" y="685431"/>
                      <a:pt x="1613293" y="687916"/>
                    </a:cubicBezTo>
                    <a:cubicBezTo>
                      <a:pt x="1615123" y="689084"/>
                      <a:pt x="1617026" y="690133"/>
                      <a:pt x="1618993" y="691051"/>
                    </a:cubicBezTo>
                    <a:cubicBezTo>
                      <a:pt x="1624327" y="692282"/>
                      <a:pt x="1629656" y="688959"/>
                      <a:pt x="1630887" y="683624"/>
                    </a:cubicBezTo>
                    <a:cubicBezTo>
                      <a:pt x="1631355" y="681612"/>
                      <a:pt x="1631178" y="679509"/>
                      <a:pt x="1630392" y="677600"/>
                    </a:cubicBezTo>
                    <a:lnTo>
                      <a:pt x="1601552" y="678512"/>
                    </a:lnTo>
                    <a:cubicBezTo>
                      <a:pt x="1603935" y="675018"/>
                      <a:pt x="1605080" y="670823"/>
                      <a:pt x="1604801" y="666600"/>
                    </a:cubicBezTo>
                    <a:lnTo>
                      <a:pt x="1623951" y="659248"/>
                    </a:lnTo>
                    <a:cubicBezTo>
                      <a:pt x="1623472" y="657025"/>
                      <a:pt x="1621432" y="655492"/>
                      <a:pt x="1619164" y="655657"/>
                    </a:cubicBezTo>
                    <a:cubicBezTo>
                      <a:pt x="1621244" y="649359"/>
                      <a:pt x="1617824" y="642577"/>
                      <a:pt x="1611526" y="640496"/>
                    </a:cubicBezTo>
                    <a:cubicBezTo>
                      <a:pt x="1605228" y="638416"/>
                      <a:pt x="1598446" y="641836"/>
                      <a:pt x="1596366" y="648134"/>
                    </a:cubicBezTo>
                    <a:cubicBezTo>
                      <a:pt x="1596001" y="649410"/>
                      <a:pt x="1595448" y="650619"/>
                      <a:pt x="1594713" y="651724"/>
                    </a:cubicBezTo>
                    <a:cubicBezTo>
                      <a:pt x="1592376" y="654574"/>
                      <a:pt x="1587360" y="653092"/>
                      <a:pt x="1585480" y="649901"/>
                    </a:cubicBezTo>
                    <a:cubicBezTo>
                      <a:pt x="1583998" y="646509"/>
                      <a:pt x="1583662" y="642731"/>
                      <a:pt x="1584511" y="639129"/>
                    </a:cubicBezTo>
                    <a:cubicBezTo>
                      <a:pt x="1588871" y="637128"/>
                      <a:pt x="1591920" y="633047"/>
                      <a:pt x="1592604" y="628300"/>
                    </a:cubicBezTo>
                    <a:cubicBezTo>
                      <a:pt x="1593197" y="625609"/>
                      <a:pt x="1592091" y="622834"/>
                      <a:pt x="1589811" y="621289"/>
                    </a:cubicBezTo>
                    <a:cubicBezTo>
                      <a:pt x="1588056" y="620691"/>
                      <a:pt x="1586152" y="620691"/>
                      <a:pt x="1584397" y="621289"/>
                    </a:cubicBezTo>
                    <a:lnTo>
                      <a:pt x="1549516" y="627844"/>
                    </a:lnTo>
                    <a:cubicBezTo>
                      <a:pt x="1553300" y="620127"/>
                      <a:pt x="1550114" y="610808"/>
                      <a:pt x="1542403" y="607023"/>
                    </a:cubicBezTo>
                    <a:cubicBezTo>
                      <a:pt x="1537547" y="604635"/>
                      <a:pt x="1531802" y="604949"/>
                      <a:pt x="1527231" y="607838"/>
                    </a:cubicBezTo>
                    <a:lnTo>
                      <a:pt x="1512697" y="622714"/>
                    </a:lnTo>
                    <a:cubicBezTo>
                      <a:pt x="1506599" y="622714"/>
                      <a:pt x="1499361" y="617642"/>
                      <a:pt x="1501811" y="612056"/>
                    </a:cubicBezTo>
                    <a:cubicBezTo>
                      <a:pt x="1503749" y="607667"/>
                      <a:pt x="1509677" y="607326"/>
                      <a:pt x="1514293" y="606357"/>
                    </a:cubicBezTo>
                    <a:cubicBezTo>
                      <a:pt x="1518910" y="605388"/>
                      <a:pt x="1523640" y="599232"/>
                      <a:pt x="1519993" y="596155"/>
                    </a:cubicBezTo>
                    <a:lnTo>
                      <a:pt x="1527402" y="593704"/>
                    </a:lnTo>
                    <a:lnTo>
                      <a:pt x="1527402" y="584813"/>
                    </a:lnTo>
                    <a:cubicBezTo>
                      <a:pt x="1521246" y="582248"/>
                      <a:pt x="1514122" y="579683"/>
                      <a:pt x="1508195" y="582704"/>
                    </a:cubicBezTo>
                    <a:cubicBezTo>
                      <a:pt x="1503920" y="584927"/>
                      <a:pt x="1501469" y="589486"/>
                      <a:pt x="1498050" y="592849"/>
                    </a:cubicBezTo>
                    <a:cubicBezTo>
                      <a:pt x="1494630" y="596212"/>
                      <a:pt x="1488474" y="598149"/>
                      <a:pt x="1485283" y="594559"/>
                    </a:cubicBezTo>
                    <a:cubicBezTo>
                      <a:pt x="1482091" y="590968"/>
                      <a:pt x="1483801" y="585383"/>
                      <a:pt x="1480438" y="582647"/>
                    </a:cubicBezTo>
                    <a:cubicBezTo>
                      <a:pt x="1478273" y="580823"/>
                      <a:pt x="1474739" y="581051"/>
                      <a:pt x="1472972" y="578828"/>
                    </a:cubicBezTo>
                    <a:cubicBezTo>
                      <a:pt x="1471205" y="576605"/>
                      <a:pt x="1471946" y="574326"/>
                      <a:pt x="1471490" y="572046"/>
                    </a:cubicBezTo>
                    <a:cubicBezTo>
                      <a:pt x="1470179" y="567720"/>
                      <a:pt x="1466583" y="564471"/>
                      <a:pt x="1462143" y="563611"/>
                    </a:cubicBezTo>
                    <a:cubicBezTo>
                      <a:pt x="1457766" y="562796"/>
                      <a:pt x="1453309" y="562488"/>
                      <a:pt x="1448863" y="562699"/>
                    </a:cubicBezTo>
                    <a:cubicBezTo>
                      <a:pt x="1447210" y="562761"/>
                      <a:pt x="1445575" y="562368"/>
                      <a:pt x="1444133" y="561559"/>
                    </a:cubicBezTo>
                    <a:cubicBezTo>
                      <a:pt x="1440029" y="558766"/>
                      <a:pt x="1442537" y="552497"/>
                      <a:pt x="1442594" y="547538"/>
                    </a:cubicBezTo>
                    <a:cubicBezTo>
                      <a:pt x="1442594" y="538932"/>
                      <a:pt x="1432449" y="535626"/>
                      <a:pt x="1423842" y="535626"/>
                    </a:cubicBezTo>
                    <a:lnTo>
                      <a:pt x="1384687" y="535626"/>
                    </a:lnTo>
                    <a:cubicBezTo>
                      <a:pt x="1382043" y="535375"/>
                      <a:pt x="1379387" y="535911"/>
                      <a:pt x="1377050" y="537165"/>
                    </a:cubicBezTo>
                    <a:cubicBezTo>
                      <a:pt x="1374297" y="539507"/>
                      <a:pt x="1372730" y="542956"/>
                      <a:pt x="1372775" y="546569"/>
                    </a:cubicBezTo>
                    <a:cubicBezTo>
                      <a:pt x="1372827" y="550126"/>
                      <a:pt x="1372029" y="553642"/>
                      <a:pt x="1370438" y="556828"/>
                    </a:cubicBezTo>
                    <a:cubicBezTo>
                      <a:pt x="1368444" y="559792"/>
                      <a:pt x="1363656" y="561217"/>
                      <a:pt x="1361376" y="558538"/>
                    </a:cubicBezTo>
                    <a:cubicBezTo>
                      <a:pt x="1362049" y="553773"/>
                      <a:pt x="1358903" y="549311"/>
                      <a:pt x="1354195" y="548336"/>
                    </a:cubicBezTo>
                    <a:cubicBezTo>
                      <a:pt x="1349613" y="547601"/>
                      <a:pt x="1344916" y="548068"/>
                      <a:pt x="1340573" y="549704"/>
                    </a:cubicBezTo>
                    <a:lnTo>
                      <a:pt x="1339718" y="553351"/>
                    </a:lnTo>
                    <a:lnTo>
                      <a:pt x="1329288" y="553636"/>
                    </a:lnTo>
                    <a:cubicBezTo>
                      <a:pt x="1331175" y="557335"/>
                      <a:pt x="1329704" y="561867"/>
                      <a:pt x="1326005" y="563759"/>
                    </a:cubicBezTo>
                    <a:cubicBezTo>
                      <a:pt x="1323230" y="565172"/>
                      <a:pt x="1319861" y="564733"/>
                      <a:pt x="1317547" y="562642"/>
                    </a:cubicBezTo>
                    <a:cubicBezTo>
                      <a:pt x="1315051" y="559689"/>
                      <a:pt x="1313769" y="555899"/>
                      <a:pt x="1313957" y="552041"/>
                    </a:cubicBezTo>
                    <a:cubicBezTo>
                      <a:pt x="1313558" y="545657"/>
                      <a:pt x="1313957" y="538077"/>
                      <a:pt x="1319086" y="534429"/>
                    </a:cubicBezTo>
                    <a:cubicBezTo>
                      <a:pt x="1321771" y="528576"/>
                      <a:pt x="1321474" y="521787"/>
                      <a:pt x="1318288" y="516191"/>
                    </a:cubicBezTo>
                    <a:cubicBezTo>
                      <a:pt x="1316983" y="514404"/>
                      <a:pt x="1315860" y="512495"/>
                      <a:pt x="1314926" y="510491"/>
                    </a:cubicBezTo>
                    <a:cubicBezTo>
                      <a:pt x="1314413" y="509124"/>
                      <a:pt x="1314299" y="507642"/>
                      <a:pt x="1313786" y="506331"/>
                    </a:cubicBezTo>
                    <a:cubicBezTo>
                      <a:pt x="1313273" y="504985"/>
                      <a:pt x="1312600" y="503704"/>
                      <a:pt x="1311791" y="502512"/>
                    </a:cubicBezTo>
                    <a:lnTo>
                      <a:pt x="1303641" y="488890"/>
                    </a:lnTo>
                    <a:cubicBezTo>
                      <a:pt x="1302307" y="486394"/>
                      <a:pt x="1300341" y="484292"/>
                      <a:pt x="1297941" y="482792"/>
                    </a:cubicBezTo>
                    <a:cubicBezTo>
                      <a:pt x="1295114" y="481622"/>
                      <a:pt x="1292014" y="481267"/>
                      <a:pt x="1288993" y="481766"/>
                    </a:cubicBezTo>
                    <a:lnTo>
                      <a:pt x="1278221" y="482621"/>
                    </a:lnTo>
                    <a:cubicBezTo>
                      <a:pt x="1275491" y="482597"/>
                      <a:pt x="1272801" y="483284"/>
                      <a:pt x="1270413" y="484616"/>
                    </a:cubicBezTo>
                    <a:cubicBezTo>
                      <a:pt x="1268498" y="486224"/>
                      <a:pt x="1266879" y="488153"/>
                      <a:pt x="1265625" y="490315"/>
                    </a:cubicBezTo>
                    <a:cubicBezTo>
                      <a:pt x="1260461" y="497148"/>
                      <a:pt x="1252522" y="501326"/>
                      <a:pt x="1243967" y="501714"/>
                    </a:cubicBezTo>
                    <a:cubicBezTo>
                      <a:pt x="1238838" y="501714"/>
                      <a:pt x="1233081" y="500973"/>
                      <a:pt x="1229092" y="504222"/>
                    </a:cubicBezTo>
                    <a:cubicBezTo>
                      <a:pt x="1225102" y="507471"/>
                      <a:pt x="1223392" y="517559"/>
                      <a:pt x="1217180" y="517559"/>
                    </a:cubicBezTo>
                    <a:cubicBezTo>
                      <a:pt x="1213868" y="529580"/>
                      <a:pt x="1219465" y="542272"/>
                      <a:pt x="1230573" y="547937"/>
                    </a:cubicBezTo>
                    <a:cubicBezTo>
                      <a:pt x="1232129" y="552759"/>
                      <a:pt x="1229479" y="557934"/>
                      <a:pt x="1224657" y="559484"/>
                    </a:cubicBezTo>
                    <a:cubicBezTo>
                      <a:pt x="1224133" y="559655"/>
                      <a:pt x="1223597" y="559775"/>
                      <a:pt x="1223050" y="559849"/>
                    </a:cubicBezTo>
                    <a:cubicBezTo>
                      <a:pt x="1219858" y="559849"/>
                      <a:pt x="1215356" y="559393"/>
                      <a:pt x="1214558" y="562471"/>
                    </a:cubicBezTo>
                    <a:cubicBezTo>
                      <a:pt x="1214432" y="564266"/>
                      <a:pt x="1215225" y="566004"/>
                      <a:pt x="1216667" y="567087"/>
                    </a:cubicBezTo>
                    <a:cubicBezTo>
                      <a:pt x="1221494" y="571994"/>
                      <a:pt x="1226960" y="576229"/>
                      <a:pt x="1232910" y="579683"/>
                    </a:cubicBezTo>
                    <a:cubicBezTo>
                      <a:pt x="1237584" y="582362"/>
                      <a:pt x="1243454" y="586522"/>
                      <a:pt x="1241801" y="591652"/>
                    </a:cubicBezTo>
                    <a:cubicBezTo>
                      <a:pt x="1233138" y="593305"/>
                      <a:pt x="1222651" y="594331"/>
                      <a:pt x="1216895" y="587662"/>
                    </a:cubicBezTo>
                    <a:cubicBezTo>
                      <a:pt x="1214216" y="584585"/>
                      <a:pt x="1212791" y="580025"/>
                      <a:pt x="1208915" y="578657"/>
                    </a:cubicBezTo>
                    <a:cubicBezTo>
                      <a:pt x="1206983" y="578384"/>
                      <a:pt x="1205074" y="577950"/>
                      <a:pt x="1203216" y="577346"/>
                    </a:cubicBezTo>
                    <a:cubicBezTo>
                      <a:pt x="1201899" y="576480"/>
                      <a:pt x="1200913" y="575198"/>
                      <a:pt x="1200423" y="573699"/>
                    </a:cubicBezTo>
                    <a:cubicBezTo>
                      <a:pt x="1198805" y="566939"/>
                      <a:pt x="1199038" y="559872"/>
                      <a:pt x="1201107" y="553238"/>
                    </a:cubicBezTo>
                    <a:cubicBezTo>
                      <a:pt x="1202361" y="546398"/>
                      <a:pt x="1202247" y="538305"/>
                      <a:pt x="1196946" y="533859"/>
                    </a:cubicBezTo>
                    <a:cubicBezTo>
                      <a:pt x="1194963" y="532547"/>
                      <a:pt x="1193059" y="531120"/>
                      <a:pt x="1191247" y="529585"/>
                    </a:cubicBezTo>
                    <a:cubicBezTo>
                      <a:pt x="1188392" y="525906"/>
                      <a:pt x="1189053" y="520606"/>
                      <a:pt x="1192735" y="517749"/>
                    </a:cubicBezTo>
                    <a:cubicBezTo>
                      <a:pt x="1193310" y="517302"/>
                      <a:pt x="1193937" y="516932"/>
                      <a:pt x="1194610" y="516647"/>
                    </a:cubicBezTo>
                    <a:cubicBezTo>
                      <a:pt x="1196827" y="516355"/>
                      <a:pt x="1198993" y="515760"/>
                      <a:pt x="1201050" y="514880"/>
                    </a:cubicBezTo>
                    <a:cubicBezTo>
                      <a:pt x="1204242" y="512714"/>
                      <a:pt x="1203900" y="508041"/>
                      <a:pt x="1203216" y="504279"/>
                    </a:cubicBezTo>
                    <a:cubicBezTo>
                      <a:pt x="1205393" y="502880"/>
                      <a:pt x="1208020" y="502351"/>
                      <a:pt x="1210568" y="502797"/>
                    </a:cubicBezTo>
                    <a:cubicBezTo>
                      <a:pt x="1208972" y="500061"/>
                      <a:pt x="1211423" y="496642"/>
                      <a:pt x="1214216" y="495160"/>
                    </a:cubicBezTo>
                    <a:cubicBezTo>
                      <a:pt x="1217202" y="494160"/>
                      <a:pt x="1220052" y="492801"/>
                      <a:pt x="1222708" y="491113"/>
                    </a:cubicBezTo>
                    <a:cubicBezTo>
                      <a:pt x="1225102" y="489004"/>
                      <a:pt x="1225501" y="484331"/>
                      <a:pt x="1222708" y="483305"/>
                    </a:cubicBezTo>
                    <a:cubicBezTo>
                      <a:pt x="1211007" y="481799"/>
                      <a:pt x="1199118" y="482789"/>
                      <a:pt x="1187827" y="486212"/>
                    </a:cubicBezTo>
                    <a:cubicBezTo>
                      <a:pt x="1184288" y="487816"/>
                      <a:pt x="1180652" y="489205"/>
                      <a:pt x="1176941" y="490372"/>
                    </a:cubicBezTo>
                    <a:cubicBezTo>
                      <a:pt x="1174320" y="490942"/>
                      <a:pt x="1171584" y="491056"/>
                      <a:pt x="1168962" y="491797"/>
                    </a:cubicBezTo>
                    <a:cubicBezTo>
                      <a:pt x="1165007" y="493261"/>
                      <a:pt x="1161353" y="495445"/>
                      <a:pt x="1158190" y="498238"/>
                    </a:cubicBezTo>
                    <a:lnTo>
                      <a:pt x="1146107" y="507756"/>
                    </a:lnTo>
                    <a:cubicBezTo>
                      <a:pt x="1143964" y="509198"/>
                      <a:pt x="1142043" y="510946"/>
                      <a:pt x="1140408" y="512942"/>
                    </a:cubicBezTo>
                    <a:cubicBezTo>
                      <a:pt x="1138590" y="516841"/>
                      <a:pt x="1136572" y="520646"/>
                      <a:pt x="1134366" y="524341"/>
                    </a:cubicBezTo>
                    <a:cubicBezTo>
                      <a:pt x="1133055" y="525766"/>
                      <a:pt x="1131403" y="526906"/>
                      <a:pt x="1130149" y="528445"/>
                    </a:cubicBezTo>
                    <a:cubicBezTo>
                      <a:pt x="1128707" y="530648"/>
                      <a:pt x="1127755" y="533136"/>
                      <a:pt x="1127356" y="535740"/>
                    </a:cubicBezTo>
                    <a:cubicBezTo>
                      <a:pt x="1125988" y="542010"/>
                      <a:pt x="1124563" y="548279"/>
                      <a:pt x="1123138" y="554548"/>
                    </a:cubicBezTo>
                    <a:cubicBezTo>
                      <a:pt x="1121485" y="560601"/>
                      <a:pt x="1120699" y="566854"/>
                      <a:pt x="1120802" y="573129"/>
                    </a:cubicBezTo>
                    <a:cubicBezTo>
                      <a:pt x="1120944" y="579478"/>
                      <a:pt x="1123811" y="585457"/>
                      <a:pt x="1128667" y="589543"/>
                    </a:cubicBezTo>
                    <a:cubicBezTo>
                      <a:pt x="1135848" y="595243"/>
                      <a:pt x="1145765" y="593590"/>
                      <a:pt x="1154770" y="594616"/>
                    </a:cubicBezTo>
                    <a:cubicBezTo>
                      <a:pt x="1163570" y="595619"/>
                      <a:pt x="1171892" y="599164"/>
                      <a:pt x="1178708" y="604818"/>
                    </a:cubicBezTo>
                    <a:cubicBezTo>
                      <a:pt x="1180407" y="605821"/>
                      <a:pt x="1181461" y="607633"/>
                      <a:pt x="1181501" y="609605"/>
                    </a:cubicBezTo>
                    <a:cubicBezTo>
                      <a:pt x="1181159" y="612911"/>
                      <a:pt x="1176542" y="613367"/>
                      <a:pt x="1173237" y="612911"/>
                    </a:cubicBezTo>
                    <a:lnTo>
                      <a:pt x="1148786" y="609548"/>
                    </a:lnTo>
                    <a:cubicBezTo>
                      <a:pt x="1145782" y="608864"/>
                      <a:pt x="1142670" y="608864"/>
                      <a:pt x="1139667" y="609548"/>
                    </a:cubicBezTo>
                    <a:cubicBezTo>
                      <a:pt x="1136612" y="610392"/>
                      <a:pt x="1134537" y="613219"/>
                      <a:pt x="1134651" y="616388"/>
                    </a:cubicBezTo>
                    <a:cubicBezTo>
                      <a:pt x="1135364" y="618747"/>
                      <a:pt x="1136902" y="620771"/>
                      <a:pt x="1138983" y="622087"/>
                    </a:cubicBezTo>
                    <a:cubicBezTo>
                      <a:pt x="1144808" y="627376"/>
                      <a:pt x="1151402" y="631753"/>
                      <a:pt x="1158532" y="635082"/>
                    </a:cubicBezTo>
                    <a:cubicBezTo>
                      <a:pt x="1165793" y="638416"/>
                      <a:pt x="1174171" y="638291"/>
                      <a:pt x="1181330" y="634740"/>
                    </a:cubicBezTo>
                    <a:cubicBezTo>
                      <a:pt x="1183342" y="633327"/>
                      <a:pt x="1185553" y="632209"/>
                      <a:pt x="1187884" y="631434"/>
                    </a:cubicBezTo>
                    <a:cubicBezTo>
                      <a:pt x="1194838" y="630123"/>
                      <a:pt x="1199283" y="638559"/>
                      <a:pt x="1201164" y="645398"/>
                    </a:cubicBezTo>
                    <a:cubicBezTo>
                      <a:pt x="1221129" y="648447"/>
                      <a:pt x="1241385" y="649194"/>
                      <a:pt x="1261522" y="647621"/>
                    </a:cubicBezTo>
                    <a:cubicBezTo>
                      <a:pt x="1268475" y="647108"/>
                      <a:pt x="1276625" y="646823"/>
                      <a:pt x="1281071" y="652180"/>
                    </a:cubicBezTo>
                    <a:cubicBezTo>
                      <a:pt x="1283636" y="655315"/>
                      <a:pt x="1284832" y="660274"/>
                      <a:pt x="1288765" y="661243"/>
                    </a:cubicBezTo>
                    <a:cubicBezTo>
                      <a:pt x="1291073" y="661619"/>
                      <a:pt x="1293421" y="660878"/>
                      <a:pt x="1295091" y="659248"/>
                    </a:cubicBezTo>
                    <a:cubicBezTo>
                      <a:pt x="1300791" y="654688"/>
                      <a:pt x="1302786" y="646025"/>
                      <a:pt x="1309625" y="644030"/>
                    </a:cubicBezTo>
                    <a:cubicBezTo>
                      <a:pt x="1314071" y="642719"/>
                      <a:pt x="1319086" y="644828"/>
                      <a:pt x="1323361" y="643004"/>
                    </a:cubicBezTo>
                    <a:cubicBezTo>
                      <a:pt x="1325071" y="642030"/>
                      <a:pt x="1326695" y="640901"/>
                      <a:pt x="1328205" y="639642"/>
                    </a:cubicBezTo>
                    <a:cubicBezTo>
                      <a:pt x="1337325" y="633315"/>
                      <a:pt x="1350319" y="638160"/>
                      <a:pt x="1358071" y="646139"/>
                    </a:cubicBezTo>
                    <a:cubicBezTo>
                      <a:pt x="1359609" y="647735"/>
                      <a:pt x="1361547" y="649673"/>
                      <a:pt x="1363770" y="649217"/>
                    </a:cubicBezTo>
                    <a:cubicBezTo>
                      <a:pt x="1365993" y="648761"/>
                      <a:pt x="1367133" y="645797"/>
                      <a:pt x="1366734" y="643517"/>
                    </a:cubicBezTo>
                    <a:cubicBezTo>
                      <a:pt x="1365195" y="634341"/>
                      <a:pt x="1351003" y="631662"/>
                      <a:pt x="1349635" y="622486"/>
                    </a:cubicBezTo>
                    <a:cubicBezTo>
                      <a:pt x="1365622" y="618958"/>
                      <a:pt x="1382140" y="625558"/>
                      <a:pt x="1391299" y="639129"/>
                    </a:cubicBezTo>
                    <a:cubicBezTo>
                      <a:pt x="1392336" y="640434"/>
                      <a:pt x="1393077" y="641950"/>
                      <a:pt x="1393464" y="643574"/>
                    </a:cubicBezTo>
                    <a:cubicBezTo>
                      <a:pt x="1393510" y="644931"/>
                      <a:pt x="1393641" y="646281"/>
                      <a:pt x="1393863" y="647621"/>
                    </a:cubicBezTo>
                    <a:cubicBezTo>
                      <a:pt x="1394775" y="650756"/>
                      <a:pt x="1398423" y="651952"/>
                      <a:pt x="1400988" y="653947"/>
                    </a:cubicBezTo>
                    <a:cubicBezTo>
                      <a:pt x="1406288" y="658108"/>
                      <a:pt x="1407371" y="666372"/>
                      <a:pt x="1413184" y="669906"/>
                    </a:cubicBezTo>
                    <a:cubicBezTo>
                      <a:pt x="1416479" y="671399"/>
                      <a:pt x="1420007" y="672328"/>
                      <a:pt x="1423615" y="672641"/>
                    </a:cubicBezTo>
                    <a:cubicBezTo>
                      <a:pt x="1426949" y="673382"/>
                      <a:pt x="1430129" y="674693"/>
                      <a:pt x="1433019" y="676517"/>
                    </a:cubicBezTo>
                    <a:cubicBezTo>
                      <a:pt x="1435185" y="677942"/>
                      <a:pt x="1437407" y="680336"/>
                      <a:pt x="1436552" y="682787"/>
                    </a:cubicBezTo>
                    <a:cubicBezTo>
                      <a:pt x="1436199" y="683670"/>
                      <a:pt x="1435635" y="684456"/>
                      <a:pt x="1434899" y="685066"/>
                    </a:cubicBezTo>
                    <a:cubicBezTo>
                      <a:pt x="1427570" y="692231"/>
                      <a:pt x="1417887" y="696482"/>
                      <a:pt x="1407656" y="697035"/>
                    </a:cubicBezTo>
                    <a:cubicBezTo>
                      <a:pt x="1404920" y="698859"/>
                      <a:pt x="1407656" y="703590"/>
                      <a:pt x="1410791" y="703989"/>
                    </a:cubicBezTo>
                    <a:cubicBezTo>
                      <a:pt x="1414102" y="703835"/>
                      <a:pt x="1417334" y="702940"/>
                      <a:pt x="1420252" y="701367"/>
                    </a:cubicBezTo>
                    <a:cubicBezTo>
                      <a:pt x="1424213" y="700677"/>
                      <a:pt x="1428054" y="699412"/>
                      <a:pt x="1431651" y="697605"/>
                    </a:cubicBezTo>
                    <a:cubicBezTo>
                      <a:pt x="1434102" y="695838"/>
                      <a:pt x="1435583" y="692989"/>
                      <a:pt x="1438034" y="691222"/>
                    </a:cubicBezTo>
                    <a:cubicBezTo>
                      <a:pt x="1442297" y="688953"/>
                      <a:pt x="1447262" y="688361"/>
                      <a:pt x="1451941" y="689569"/>
                    </a:cubicBezTo>
                    <a:cubicBezTo>
                      <a:pt x="1451941" y="691222"/>
                      <a:pt x="1452739" y="693331"/>
                      <a:pt x="1452967" y="695268"/>
                    </a:cubicBezTo>
                    <a:cubicBezTo>
                      <a:pt x="1450801" y="700341"/>
                      <a:pt x="1455190" y="706211"/>
                      <a:pt x="1460376" y="708206"/>
                    </a:cubicBezTo>
                    <a:cubicBezTo>
                      <a:pt x="1465785" y="709534"/>
                      <a:pt x="1471336" y="710201"/>
                      <a:pt x="1476905" y="710201"/>
                    </a:cubicBezTo>
                    <a:cubicBezTo>
                      <a:pt x="1482576" y="710230"/>
                      <a:pt x="1487779" y="713359"/>
                      <a:pt x="1490469" y="718351"/>
                    </a:cubicBezTo>
                    <a:cubicBezTo>
                      <a:pt x="1491837" y="722056"/>
                      <a:pt x="1490811" y="726444"/>
                      <a:pt x="1492749" y="729750"/>
                    </a:cubicBezTo>
                    <a:cubicBezTo>
                      <a:pt x="1494345" y="731842"/>
                      <a:pt x="1496158" y="733751"/>
                      <a:pt x="1498164" y="735450"/>
                    </a:cubicBezTo>
                    <a:cubicBezTo>
                      <a:pt x="1505915" y="744056"/>
                      <a:pt x="1499760" y="758248"/>
                      <a:pt x="1503122" y="769134"/>
                    </a:cubicBezTo>
                    <a:cubicBezTo>
                      <a:pt x="1503561" y="771009"/>
                      <a:pt x="1504678" y="772650"/>
                      <a:pt x="1506257" y="773750"/>
                    </a:cubicBezTo>
                    <a:cubicBezTo>
                      <a:pt x="1507471" y="774320"/>
                      <a:pt x="1508793" y="774616"/>
                      <a:pt x="1510133" y="774605"/>
                    </a:cubicBezTo>
                    <a:cubicBezTo>
                      <a:pt x="1519958" y="774183"/>
                      <a:pt x="1529756" y="773254"/>
                      <a:pt x="1539485" y="771812"/>
                    </a:cubicBezTo>
                    <a:cubicBezTo>
                      <a:pt x="1549408" y="770462"/>
                      <a:pt x="1559370" y="773961"/>
                      <a:pt x="1566272" y="781216"/>
                    </a:cubicBezTo>
                    <a:cubicBezTo>
                      <a:pt x="1572257" y="789025"/>
                      <a:pt x="1569407" y="803159"/>
                      <a:pt x="1559775" y="804983"/>
                    </a:cubicBezTo>
                    <a:cubicBezTo>
                      <a:pt x="1557723" y="805382"/>
                      <a:pt x="1555329" y="805325"/>
                      <a:pt x="1554075" y="806921"/>
                    </a:cubicBezTo>
                    <a:cubicBezTo>
                      <a:pt x="1553192" y="808300"/>
                      <a:pt x="1552628" y="809856"/>
                      <a:pt x="1552423" y="811481"/>
                    </a:cubicBezTo>
                    <a:cubicBezTo>
                      <a:pt x="1551009" y="816251"/>
                      <a:pt x="1545999" y="818970"/>
                      <a:pt x="1541229" y="817556"/>
                    </a:cubicBezTo>
                    <a:cubicBezTo>
                      <a:pt x="1537963" y="816587"/>
                      <a:pt x="1535524" y="813863"/>
                      <a:pt x="1534925" y="810512"/>
                    </a:cubicBezTo>
                    <a:cubicBezTo>
                      <a:pt x="1534851" y="808597"/>
                      <a:pt x="1534623" y="806693"/>
                      <a:pt x="1534241" y="804812"/>
                    </a:cubicBezTo>
                    <a:cubicBezTo>
                      <a:pt x="1532851" y="802179"/>
                      <a:pt x="1530537" y="800150"/>
                      <a:pt x="1527744" y="799113"/>
                    </a:cubicBezTo>
                    <a:lnTo>
                      <a:pt x="1513723" y="792045"/>
                    </a:lnTo>
                    <a:cubicBezTo>
                      <a:pt x="1506969" y="788141"/>
                      <a:pt x="1499583" y="785457"/>
                      <a:pt x="1491894" y="784123"/>
                    </a:cubicBezTo>
                    <a:cubicBezTo>
                      <a:pt x="1484513" y="783291"/>
                      <a:pt x="1477070" y="784955"/>
                      <a:pt x="1470749" y="788854"/>
                    </a:cubicBezTo>
                    <a:cubicBezTo>
                      <a:pt x="1465563" y="792159"/>
                      <a:pt x="1461459" y="800253"/>
                      <a:pt x="1466361" y="803786"/>
                    </a:cubicBezTo>
                    <a:cubicBezTo>
                      <a:pt x="1467729" y="804812"/>
                      <a:pt x="1469837" y="805724"/>
                      <a:pt x="1469552" y="807434"/>
                    </a:cubicBezTo>
                    <a:cubicBezTo>
                      <a:pt x="1469267" y="809144"/>
                      <a:pt x="1467899" y="809201"/>
                      <a:pt x="1466988" y="810113"/>
                    </a:cubicBezTo>
                    <a:cubicBezTo>
                      <a:pt x="1464480" y="812621"/>
                      <a:pt x="1466988" y="817009"/>
                      <a:pt x="1470350" y="818605"/>
                    </a:cubicBezTo>
                    <a:cubicBezTo>
                      <a:pt x="1473713" y="820201"/>
                      <a:pt x="1477475" y="820714"/>
                      <a:pt x="1479697" y="823507"/>
                    </a:cubicBezTo>
                    <a:cubicBezTo>
                      <a:pt x="1481903" y="826869"/>
                      <a:pt x="1481345" y="831332"/>
                      <a:pt x="1478386" y="834051"/>
                    </a:cubicBezTo>
                    <a:cubicBezTo>
                      <a:pt x="1475406" y="836644"/>
                      <a:pt x="1471484" y="837881"/>
                      <a:pt x="1467558" y="837470"/>
                    </a:cubicBezTo>
                    <a:cubicBezTo>
                      <a:pt x="1465278" y="836900"/>
                      <a:pt x="1462861" y="837248"/>
                      <a:pt x="1460832" y="838439"/>
                    </a:cubicBezTo>
                    <a:cubicBezTo>
                      <a:pt x="1459635" y="839522"/>
                      <a:pt x="1459179" y="841232"/>
                      <a:pt x="1458153" y="842486"/>
                    </a:cubicBezTo>
                    <a:cubicBezTo>
                      <a:pt x="1455828" y="844566"/>
                      <a:pt x="1452676" y="845472"/>
                      <a:pt x="1449604" y="844937"/>
                    </a:cubicBezTo>
                    <a:lnTo>
                      <a:pt x="1430568" y="844481"/>
                    </a:lnTo>
                    <a:cubicBezTo>
                      <a:pt x="1428186" y="844652"/>
                      <a:pt x="1425809" y="844116"/>
                      <a:pt x="1423729" y="842942"/>
                    </a:cubicBezTo>
                    <a:cubicBezTo>
                      <a:pt x="1422264" y="841591"/>
                      <a:pt x="1420907" y="840120"/>
                      <a:pt x="1419682" y="838553"/>
                    </a:cubicBezTo>
                    <a:cubicBezTo>
                      <a:pt x="1415441" y="835139"/>
                      <a:pt x="1409235" y="835806"/>
                      <a:pt x="1405815" y="840046"/>
                    </a:cubicBezTo>
                    <a:cubicBezTo>
                      <a:pt x="1404835" y="841272"/>
                      <a:pt x="1404151" y="842714"/>
                      <a:pt x="1403837" y="844253"/>
                    </a:cubicBezTo>
                    <a:cubicBezTo>
                      <a:pt x="1396639" y="843990"/>
                      <a:pt x="1389572" y="846225"/>
                      <a:pt x="1383832" y="850579"/>
                    </a:cubicBezTo>
                    <a:cubicBezTo>
                      <a:pt x="1378703" y="855538"/>
                      <a:pt x="1378988" y="866139"/>
                      <a:pt x="1385827" y="868247"/>
                    </a:cubicBezTo>
                    <a:cubicBezTo>
                      <a:pt x="1384265" y="869735"/>
                      <a:pt x="1383359" y="871787"/>
                      <a:pt x="1383319" y="873947"/>
                    </a:cubicBezTo>
                    <a:cubicBezTo>
                      <a:pt x="1387298" y="876415"/>
                      <a:pt x="1391675" y="878170"/>
                      <a:pt x="1396257" y="879133"/>
                    </a:cubicBezTo>
                    <a:cubicBezTo>
                      <a:pt x="1400931" y="880017"/>
                      <a:pt x="1405730" y="878392"/>
                      <a:pt x="1408910" y="874859"/>
                    </a:cubicBezTo>
                    <a:cubicBezTo>
                      <a:pt x="1409993" y="873548"/>
                      <a:pt x="1410734" y="871838"/>
                      <a:pt x="1412216" y="870983"/>
                    </a:cubicBezTo>
                    <a:cubicBezTo>
                      <a:pt x="1413618" y="870254"/>
                      <a:pt x="1415208" y="869974"/>
                      <a:pt x="1416775" y="870185"/>
                    </a:cubicBezTo>
                    <a:lnTo>
                      <a:pt x="1435640" y="870527"/>
                    </a:lnTo>
                    <a:cubicBezTo>
                      <a:pt x="1434786" y="873890"/>
                      <a:pt x="1438661" y="876968"/>
                      <a:pt x="1442081" y="876626"/>
                    </a:cubicBezTo>
                    <a:cubicBezTo>
                      <a:pt x="1445501" y="875908"/>
                      <a:pt x="1448493" y="873856"/>
                      <a:pt x="1450402" y="870926"/>
                    </a:cubicBezTo>
                    <a:cubicBezTo>
                      <a:pt x="1452294" y="868002"/>
                      <a:pt x="1454665" y="865420"/>
                      <a:pt x="1457412" y="863289"/>
                    </a:cubicBezTo>
                    <a:cubicBezTo>
                      <a:pt x="1461077" y="861442"/>
                      <a:pt x="1465169" y="860593"/>
                      <a:pt x="1469267" y="860838"/>
                    </a:cubicBezTo>
                    <a:cubicBezTo>
                      <a:pt x="1478956" y="860838"/>
                      <a:pt x="1491267" y="862149"/>
                      <a:pt x="1493946" y="871439"/>
                    </a:cubicBezTo>
                    <a:cubicBezTo>
                      <a:pt x="1494220" y="873177"/>
                      <a:pt x="1494801" y="874859"/>
                      <a:pt x="1495656" y="876398"/>
                    </a:cubicBezTo>
                    <a:cubicBezTo>
                      <a:pt x="1497081" y="878278"/>
                      <a:pt x="1499817" y="878734"/>
                      <a:pt x="1501355" y="880501"/>
                    </a:cubicBezTo>
                    <a:cubicBezTo>
                      <a:pt x="1502894" y="882268"/>
                      <a:pt x="1502837" y="886201"/>
                      <a:pt x="1503977" y="889164"/>
                    </a:cubicBezTo>
                    <a:cubicBezTo>
                      <a:pt x="1506143" y="894864"/>
                      <a:pt x="1513438" y="895491"/>
                      <a:pt x="1519366" y="895434"/>
                    </a:cubicBezTo>
                    <a:cubicBezTo>
                      <a:pt x="1524609" y="904382"/>
                      <a:pt x="1519366" y="917491"/>
                      <a:pt x="1526547" y="925071"/>
                    </a:cubicBezTo>
                    <a:cubicBezTo>
                      <a:pt x="1529146" y="927528"/>
                      <a:pt x="1532321" y="929289"/>
                      <a:pt x="1535780" y="930201"/>
                    </a:cubicBezTo>
                    <a:cubicBezTo>
                      <a:pt x="1547658" y="934099"/>
                      <a:pt x="1560197" y="935592"/>
                      <a:pt x="1572656" y="934589"/>
                    </a:cubicBezTo>
                    <a:cubicBezTo>
                      <a:pt x="1570604" y="939548"/>
                      <a:pt x="1577158" y="943936"/>
                      <a:pt x="1582573" y="944107"/>
                    </a:cubicBezTo>
                    <a:cubicBezTo>
                      <a:pt x="1587987" y="944278"/>
                      <a:pt x="1593972" y="943081"/>
                      <a:pt x="1598132" y="946615"/>
                    </a:cubicBezTo>
                    <a:cubicBezTo>
                      <a:pt x="1599557" y="947812"/>
                      <a:pt x="1600583" y="949522"/>
                      <a:pt x="1602236" y="950377"/>
                    </a:cubicBezTo>
                    <a:cubicBezTo>
                      <a:pt x="1604470" y="951129"/>
                      <a:pt x="1606853" y="951346"/>
                      <a:pt x="1609189" y="951004"/>
                    </a:cubicBezTo>
                    <a:cubicBezTo>
                      <a:pt x="1621272" y="951004"/>
                      <a:pt x="1629764" y="966107"/>
                      <a:pt x="1641847" y="965252"/>
                    </a:cubicBezTo>
                    <a:cubicBezTo>
                      <a:pt x="1641357" y="958698"/>
                      <a:pt x="1638376" y="952582"/>
                      <a:pt x="1633526" y="948154"/>
                    </a:cubicBezTo>
                    <a:cubicBezTo>
                      <a:pt x="1621044" y="933677"/>
                      <a:pt x="1607879" y="918631"/>
                      <a:pt x="1590153" y="911506"/>
                    </a:cubicBezTo>
                    <a:cubicBezTo>
                      <a:pt x="1588227" y="910885"/>
                      <a:pt x="1586454" y="909859"/>
                      <a:pt x="1584967" y="908486"/>
                    </a:cubicBezTo>
                    <a:cubicBezTo>
                      <a:pt x="1583553" y="906958"/>
                      <a:pt x="1583553" y="904599"/>
                      <a:pt x="1584967" y="903071"/>
                    </a:cubicBezTo>
                    <a:cubicBezTo>
                      <a:pt x="1585987" y="902376"/>
                      <a:pt x="1587212" y="902057"/>
                      <a:pt x="1588443" y="902159"/>
                    </a:cubicBezTo>
                    <a:cubicBezTo>
                      <a:pt x="1596531" y="901943"/>
                      <a:pt x="1604624" y="902262"/>
                      <a:pt x="1612666" y="903128"/>
                    </a:cubicBezTo>
                    <a:cubicBezTo>
                      <a:pt x="1615499" y="903060"/>
                      <a:pt x="1618189" y="904354"/>
                      <a:pt x="1619905" y="906605"/>
                    </a:cubicBezTo>
                    <a:cubicBezTo>
                      <a:pt x="1620759" y="908315"/>
                      <a:pt x="1620474" y="910424"/>
                      <a:pt x="1621158" y="912304"/>
                    </a:cubicBezTo>
                    <a:cubicBezTo>
                      <a:pt x="1622013" y="913974"/>
                      <a:pt x="1623318" y="915376"/>
                      <a:pt x="1624920" y="916351"/>
                    </a:cubicBezTo>
                    <a:cubicBezTo>
                      <a:pt x="1633754" y="922962"/>
                      <a:pt x="1644241" y="929916"/>
                      <a:pt x="1654956" y="927408"/>
                    </a:cubicBezTo>
                    <a:cubicBezTo>
                      <a:pt x="1659254" y="926240"/>
                      <a:pt x="1663306" y="924307"/>
                      <a:pt x="1666925" y="921708"/>
                    </a:cubicBezTo>
                    <a:lnTo>
                      <a:pt x="1673194" y="917605"/>
                    </a:lnTo>
                    <a:cubicBezTo>
                      <a:pt x="1674910" y="916607"/>
                      <a:pt x="1676449" y="915336"/>
                      <a:pt x="1677754" y="913843"/>
                    </a:cubicBezTo>
                    <a:cubicBezTo>
                      <a:pt x="1680330" y="909443"/>
                      <a:pt x="1678848" y="903784"/>
                      <a:pt x="1674448" y="901213"/>
                    </a:cubicBezTo>
                    <a:cubicBezTo>
                      <a:pt x="1672761" y="900227"/>
                      <a:pt x="1670807" y="899800"/>
                      <a:pt x="1668863" y="899993"/>
                    </a:cubicBezTo>
                    <a:cubicBezTo>
                      <a:pt x="1668863" y="897087"/>
                      <a:pt x="1668863" y="894294"/>
                      <a:pt x="1668863" y="891273"/>
                    </a:cubicBezTo>
                    <a:cubicBezTo>
                      <a:pt x="1662212" y="890971"/>
                      <a:pt x="1656341" y="886833"/>
                      <a:pt x="1653816" y="880672"/>
                    </a:cubicBezTo>
                    <a:cubicBezTo>
                      <a:pt x="1656096" y="874118"/>
                      <a:pt x="1656723" y="864144"/>
                      <a:pt x="1649884" y="862719"/>
                    </a:cubicBezTo>
                    <a:cubicBezTo>
                      <a:pt x="1645495" y="861864"/>
                      <a:pt x="1639283" y="864942"/>
                      <a:pt x="1637516" y="860895"/>
                    </a:cubicBezTo>
                    <a:cubicBezTo>
                      <a:pt x="1636832" y="859299"/>
                      <a:pt x="1637516" y="857418"/>
                      <a:pt x="1636889" y="855765"/>
                    </a:cubicBezTo>
                    <a:cubicBezTo>
                      <a:pt x="1635635" y="851947"/>
                      <a:pt x="1630163" y="852802"/>
                      <a:pt x="1626174" y="852175"/>
                    </a:cubicBezTo>
                    <a:cubicBezTo>
                      <a:pt x="1618138" y="851035"/>
                      <a:pt x="1614148" y="841973"/>
                      <a:pt x="1611697" y="834221"/>
                    </a:cubicBezTo>
                    <a:cubicBezTo>
                      <a:pt x="1605485" y="835236"/>
                      <a:pt x="1599626" y="831018"/>
                      <a:pt x="1598611" y="824806"/>
                    </a:cubicBezTo>
                    <a:cubicBezTo>
                      <a:pt x="1598537" y="824356"/>
                      <a:pt x="1598491" y="823905"/>
                      <a:pt x="1598474" y="823449"/>
                    </a:cubicBezTo>
                    <a:lnTo>
                      <a:pt x="1603661" y="820372"/>
                    </a:lnTo>
                    <a:cubicBezTo>
                      <a:pt x="1601552" y="815556"/>
                      <a:pt x="1603746" y="809942"/>
                      <a:pt x="1608557" y="807833"/>
                    </a:cubicBezTo>
                    <a:cubicBezTo>
                      <a:pt x="1609714" y="807331"/>
                      <a:pt x="1610951" y="807058"/>
                      <a:pt x="1612210" y="807035"/>
                    </a:cubicBezTo>
                    <a:cubicBezTo>
                      <a:pt x="1610392" y="803935"/>
                      <a:pt x="1608209" y="801068"/>
                      <a:pt x="1605713" y="798486"/>
                    </a:cubicBezTo>
                    <a:lnTo>
                      <a:pt x="1614889" y="791646"/>
                    </a:lnTo>
                    <a:cubicBezTo>
                      <a:pt x="1621831" y="788010"/>
                      <a:pt x="1630392" y="790170"/>
                      <a:pt x="1634780" y="796662"/>
                    </a:cubicBezTo>
                    <a:close/>
                    <a:moveTo>
                      <a:pt x="1325242" y="485585"/>
                    </a:moveTo>
                    <a:cubicBezTo>
                      <a:pt x="1321936" y="485585"/>
                      <a:pt x="1317718" y="486839"/>
                      <a:pt x="1317376" y="490144"/>
                    </a:cubicBezTo>
                    <a:cubicBezTo>
                      <a:pt x="1317393" y="491705"/>
                      <a:pt x="1317980" y="493206"/>
                      <a:pt x="1319029" y="494362"/>
                    </a:cubicBezTo>
                    <a:cubicBezTo>
                      <a:pt x="1325926" y="503595"/>
                      <a:pt x="1339262" y="508497"/>
                      <a:pt x="1341827" y="519782"/>
                    </a:cubicBezTo>
                    <a:cubicBezTo>
                      <a:pt x="1341981" y="523021"/>
                      <a:pt x="1342659" y="526216"/>
                      <a:pt x="1343822" y="529243"/>
                    </a:cubicBezTo>
                    <a:cubicBezTo>
                      <a:pt x="1346786" y="533289"/>
                      <a:pt x="1352149" y="534754"/>
                      <a:pt x="1356760" y="532776"/>
                    </a:cubicBezTo>
                    <a:cubicBezTo>
                      <a:pt x="1361131" y="530709"/>
                      <a:pt x="1365018" y="527736"/>
                      <a:pt x="1368159" y="524056"/>
                    </a:cubicBezTo>
                    <a:cubicBezTo>
                      <a:pt x="1371345" y="520364"/>
                      <a:pt x="1375454" y="517590"/>
                      <a:pt x="1380071" y="516020"/>
                    </a:cubicBezTo>
                    <a:cubicBezTo>
                      <a:pt x="1388962" y="513797"/>
                      <a:pt x="1397682" y="520238"/>
                      <a:pt x="1406801" y="520352"/>
                    </a:cubicBezTo>
                    <a:cubicBezTo>
                      <a:pt x="1409993" y="520639"/>
                      <a:pt x="1413116" y="519314"/>
                      <a:pt x="1415122" y="516818"/>
                    </a:cubicBezTo>
                    <a:cubicBezTo>
                      <a:pt x="1416758" y="513586"/>
                      <a:pt x="1416160" y="509672"/>
                      <a:pt x="1413641" y="507072"/>
                    </a:cubicBezTo>
                    <a:cubicBezTo>
                      <a:pt x="1411133" y="504565"/>
                      <a:pt x="1408123" y="502622"/>
                      <a:pt x="1404806" y="501372"/>
                    </a:cubicBezTo>
                    <a:lnTo>
                      <a:pt x="1385428" y="492709"/>
                    </a:lnTo>
                    <a:cubicBezTo>
                      <a:pt x="1383718" y="491895"/>
                      <a:pt x="1381969" y="491171"/>
                      <a:pt x="1380184" y="490543"/>
                    </a:cubicBezTo>
                    <a:cubicBezTo>
                      <a:pt x="1377945" y="489826"/>
                      <a:pt x="1375659" y="489255"/>
                      <a:pt x="1373345" y="488833"/>
                    </a:cubicBezTo>
                    <a:cubicBezTo>
                      <a:pt x="1357506" y="485779"/>
                      <a:pt x="1341348" y="484688"/>
                      <a:pt x="1325242" y="485585"/>
                    </a:cubicBezTo>
                    <a:close/>
                    <a:moveTo>
                      <a:pt x="773761" y="694071"/>
                    </a:moveTo>
                    <a:cubicBezTo>
                      <a:pt x="772301" y="693627"/>
                      <a:pt x="770768" y="693490"/>
                      <a:pt x="769258" y="693673"/>
                    </a:cubicBezTo>
                    <a:cubicBezTo>
                      <a:pt x="763821" y="694100"/>
                      <a:pt x="758566" y="695816"/>
                      <a:pt x="753926" y="698688"/>
                    </a:cubicBezTo>
                    <a:cubicBezTo>
                      <a:pt x="749492" y="702398"/>
                      <a:pt x="744380" y="705225"/>
                      <a:pt x="738880" y="707009"/>
                    </a:cubicBezTo>
                    <a:cubicBezTo>
                      <a:pt x="732895" y="707978"/>
                      <a:pt x="725942" y="705014"/>
                      <a:pt x="721097" y="708662"/>
                    </a:cubicBezTo>
                    <a:cubicBezTo>
                      <a:pt x="719080" y="710520"/>
                      <a:pt x="717438" y="712743"/>
                      <a:pt x="716253" y="715217"/>
                    </a:cubicBezTo>
                    <a:cubicBezTo>
                      <a:pt x="714971" y="717684"/>
                      <a:pt x="712525" y="719337"/>
                      <a:pt x="709755" y="719605"/>
                    </a:cubicBezTo>
                    <a:cubicBezTo>
                      <a:pt x="708536" y="723344"/>
                      <a:pt x="710394" y="727391"/>
                      <a:pt x="714030" y="728895"/>
                    </a:cubicBezTo>
                    <a:cubicBezTo>
                      <a:pt x="717644" y="730172"/>
                      <a:pt x="721639" y="729819"/>
                      <a:pt x="724973" y="727926"/>
                    </a:cubicBezTo>
                    <a:cubicBezTo>
                      <a:pt x="729048" y="724934"/>
                      <a:pt x="733596" y="722643"/>
                      <a:pt x="738424" y="721144"/>
                    </a:cubicBezTo>
                    <a:cubicBezTo>
                      <a:pt x="740704" y="721144"/>
                      <a:pt x="743040" y="721144"/>
                      <a:pt x="745377" y="721144"/>
                    </a:cubicBezTo>
                    <a:cubicBezTo>
                      <a:pt x="749766" y="720665"/>
                      <a:pt x="753567" y="717884"/>
                      <a:pt x="755351" y="713849"/>
                    </a:cubicBezTo>
                    <a:cubicBezTo>
                      <a:pt x="761244" y="710395"/>
                      <a:pt x="768192" y="709198"/>
                      <a:pt x="774900" y="710486"/>
                    </a:cubicBezTo>
                    <a:cubicBezTo>
                      <a:pt x="775869" y="710486"/>
                      <a:pt x="777009" y="711170"/>
                      <a:pt x="777750" y="710486"/>
                    </a:cubicBezTo>
                    <a:cubicBezTo>
                      <a:pt x="778155" y="710007"/>
                      <a:pt x="778400" y="709403"/>
                      <a:pt x="778434" y="708776"/>
                    </a:cubicBezTo>
                    <a:cubicBezTo>
                      <a:pt x="778890" y="706023"/>
                      <a:pt x="778890" y="703208"/>
                      <a:pt x="778434" y="700455"/>
                    </a:cubicBezTo>
                    <a:cubicBezTo>
                      <a:pt x="778012" y="697691"/>
                      <a:pt x="776268" y="695308"/>
                      <a:pt x="773761" y="694071"/>
                    </a:cubicBezTo>
                    <a:close/>
                    <a:moveTo>
                      <a:pt x="985895" y="677942"/>
                    </a:moveTo>
                    <a:lnTo>
                      <a:pt x="999004" y="675719"/>
                    </a:lnTo>
                    <a:lnTo>
                      <a:pt x="999004" y="671844"/>
                    </a:lnTo>
                    <a:lnTo>
                      <a:pt x="975921" y="672698"/>
                    </a:lnTo>
                    <a:cubicBezTo>
                      <a:pt x="972855" y="673063"/>
                      <a:pt x="969748" y="672693"/>
                      <a:pt x="966859" y="671616"/>
                    </a:cubicBezTo>
                    <a:cubicBezTo>
                      <a:pt x="961775" y="668259"/>
                      <a:pt x="958680" y="662605"/>
                      <a:pt x="958594" y="656512"/>
                    </a:cubicBezTo>
                    <a:cubicBezTo>
                      <a:pt x="958594" y="655600"/>
                      <a:pt x="958252" y="654631"/>
                      <a:pt x="957455" y="654232"/>
                    </a:cubicBezTo>
                    <a:cubicBezTo>
                      <a:pt x="957095" y="654152"/>
                      <a:pt x="956731" y="654152"/>
                      <a:pt x="956372" y="654232"/>
                    </a:cubicBezTo>
                    <a:cubicBezTo>
                      <a:pt x="951185" y="654232"/>
                      <a:pt x="944973" y="654232"/>
                      <a:pt x="942636" y="659134"/>
                    </a:cubicBezTo>
                    <a:cubicBezTo>
                      <a:pt x="941986" y="661100"/>
                      <a:pt x="941678" y="663163"/>
                      <a:pt x="941724" y="665232"/>
                    </a:cubicBezTo>
                    <a:cubicBezTo>
                      <a:pt x="940430" y="671581"/>
                      <a:pt x="937700" y="677543"/>
                      <a:pt x="933745" y="682673"/>
                    </a:cubicBezTo>
                    <a:cubicBezTo>
                      <a:pt x="932799" y="684325"/>
                      <a:pt x="931630" y="685841"/>
                      <a:pt x="930268" y="687175"/>
                    </a:cubicBezTo>
                    <a:cubicBezTo>
                      <a:pt x="925709" y="691222"/>
                      <a:pt x="918869" y="690367"/>
                      <a:pt x="912657" y="689170"/>
                    </a:cubicBezTo>
                    <a:cubicBezTo>
                      <a:pt x="919268" y="693274"/>
                      <a:pt x="927589" y="692761"/>
                      <a:pt x="935455" y="694356"/>
                    </a:cubicBezTo>
                    <a:cubicBezTo>
                      <a:pt x="941166" y="695770"/>
                      <a:pt x="946705" y="697799"/>
                      <a:pt x="951983" y="700398"/>
                    </a:cubicBezTo>
                    <a:cubicBezTo>
                      <a:pt x="952678" y="700666"/>
                      <a:pt x="953328" y="701031"/>
                      <a:pt x="953921" y="701481"/>
                    </a:cubicBezTo>
                    <a:cubicBezTo>
                      <a:pt x="955768" y="703607"/>
                      <a:pt x="956508" y="706479"/>
                      <a:pt x="955916" y="709232"/>
                    </a:cubicBezTo>
                    <a:lnTo>
                      <a:pt x="970620" y="708833"/>
                    </a:lnTo>
                    <a:cubicBezTo>
                      <a:pt x="972353" y="708953"/>
                      <a:pt x="974091" y="708662"/>
                      <a:pt x="975693" y="707978"/>
                    </a:cubicBezTo>
                    <a:cubicBezTo>
                      <a:pt x="978201" y="706724"/>
                      <a:pt x="979454" y="703989"/>
                      <a:pt x="981392" y="701937"/>
                    </a:cubicBezTo>
                    <a:cubicBezTo>
                      <a:pt x="983330" y="699885"/>
                      <a:pt x="987092" y="698631"/>
                      <a:pt x="988631" y="700740"/>
                    </a:cubicBezTo>
                    <a:cubicBezTo>
                      <a:pt x="989224" y="702142"/>
                      <a:pt x="990352" y="703253"/>
                      <a:pt x="991765" y="703818"/>
                    </a:cubicBezTo>
                    <a:cubicBezTo>
                      <a:pt x="997186" y="706770"/>
                      <a:pt x="1003940" y="705482"/>
                      <a:pt x="1007895" y="700740"/>
                    </a:cubicBezTo>
                    <a:cubicBezTo>
                      <a:pt x="1010853" y="695542"/>
                      <a:pt x="1009046" y="688931"/>
                      <a:pt x="1003848" y="685973"/>
                    </a:cubicBezTo>
                    <a:cubicBezTo>
                      <a:pt x="1002549" y="685232"/>
                      <a:pt x="1001113" y="684770"/>
                      <a:pt x="999631" y="684610"/>
                    </a:cubicBezTo>
                    <a:cubicBezTo>
                      <a:pt x="996929" y="684838"/>
                      <a:pt x="994267" y="685414"/>
                      <a:pt x="991709" y="686320"/>
                    </a:cubicBezTo>
                    <a:cubicBezTo>
                      <a:pt x="989127" y="687215"/>
                      <a:pt x="986288" y="687033"/>
                      <a:pt x="983843" y="685807"/>
                    </a:cubicBezTo>
                    <a:cubicBezTo>
                      <a:pt x="981660" y="684548"/>
                      <a:pt x="980914" y="681761"/>
                      <a:pt x="982173" y="679578"/>
                    </a:cubicBezTo>
                    <a:cubicBezTo>
                      <a:pt x="982310" y="679344"/>
                      <a:pt x="982470" y="679116"/>
                      <a:pt x="982646" y="678911"/>
                    </a:cubicBezTo>
                    <a:cubicBezTo>
                      <a:pt x="983632" y="678301"/>
                      <a:pt x="984744" y="677931"/>
                      <a:pt x="985895" y="677828"/>
                    </a:cubicBezTo>
                    <a:close/>
                    <a:moveTo>
                      <a:pt x="1435185" y="723538"/>
                    </a:moveTo>
                    <a:cubicBezTo>
                      <a:pt x="1432067" y="721110"/>
                      <a:pt x="1428413" y="719468"/>
                      <a:pt x="1424526" y="718750"/>
                    </a:cubicBezTo>
                    <a:cubicBezTo>
                      <a:pt x="1423558" y="718403"/>
                      <a:pt x="1422532" y="718249"/>
                      <a:pt x="1421506" y="718294"/>
                    </a:cubicBezTo>
                    <a:cubicBezTo>
                      <a:pt x="1420309" y="718442"/>
                      <a:pt x="1419163" y="718853"/>
                      <a:pt x="1418143" y="719491"/>
                    </a:cubicBezTo>
                    <a:cubicBezTo>
                      <a:pt x="1411361" y="722911"/>
                      <a:pt x="1404578" y="726331"/>
                      <a:pt x="1397853" y="729807"/>
                    </a:cubicBezTo>
                    <a:cubicBezTo>
                      <a:pt x="1396440" y="730394"/>
                      <a:pt x="1395169" y="731289"/>
                      <a:pt x="1394148" y="732429"/>
                    </a:cubicBezTo>
                    <a:cubicBezTo>
                      <a:pt x="1391299" y="736020"/>
                      <a:pt x="1394148" y="741434"/>
                      <a:pt x="1392951" y="745937"/>
                    </a:cubicBezTo>
                    <a:lnTo>
                      <a:pt x="1401444" y="751009"/>
                    </a:lnTo>
                    <a:cubicBezTo>
                      <a:pt x="1402298" y="753802"/>
                      <a:pt x="1400190" y="757849"/>
                      <a:pt x="1402811" y="759273"/>
                    </a:cubicBezTo>
                    <a:cubicBezTo>
                      <a:pt x="1404578" y="760242"/>
                      <a:pt x="1407200" y="758761"/>
                      <a:pt x="1408511" y="760242"/>
                    </a:cubicBezTo>
                    <a:lnTo>
                      <a:pt x="1408511" y="767367"/>
                    </a:lnTo>
                    <a:cubicBezTo>
                      <a:pt x="1411212" y="768159"/>
                      <a:pt x="1414022" y="768507"/>
                      <a:pt x="1416832" y="768393"/>
                    </a:cubicBezTo>
                    <a:cubicBezTo>
                      <a:pt x="1419699" y="768199"/>
                      <a:pt x="1422258" y="766512"/>
                      <a:pt x="1423558" y="763947"/>
                    </a:cubicBezTo>
                    <a:cubicBezTo>
                      <a:pt x="1423746" y="763394"/>
                      <a:pt x="1424013" y="762876"/>
                      <a:pt x="1424355" y="762408"/>
                    </a:cubicBezTo>
                    <a:cubicBezTo>
                      <a:pt x="1425319" y="761644"/>
                      <a:pt x="1426573" y="761348"/>
                      <a:pt x="1427775" y="761610"/>
                    </a:cubicBezTo>
                    <a:cubicBezTo>
                      <a:pt x="1434871" y="761673"/>
                      <a:pt x="1441562" y="758293"/>
                      <a:pt x="1445728" y="752548"/>
                    </a:cubicBezTo>
                    <a:cubicBezTo>
                      <a:pt x="1447056" y="750947"/>
                      <a:pt x="1447763" y="748929"/>
                      <a:pt x="1447723" y="746849"/>
                    </a:cubicBezTo>
                    <a:cubicBezTo>
                      <a:pt x="1447723" y="743714"/>
                      <a:pt x="1444646" y="741149"/>
                      <a:pt x="1444703" y="737957"/>
                    </a:cubicBezTo>
                    <a:cubicBezTo>
                      <a:pt x="1441887" y="737325"/>
                      <a:pt x="1439282" y="735991"/>
                      <a:pt x="1437122" y="734082"/>
                    </a:cubicBezTo>
                    <a:cubicBezTo>
                      <a:pt x="1439100" y="730599"/>
                      <a:pt x="1438336" y="726205"/>
                      <a:pt x="1435298" y="723595"/>
                    </a:cubicBezTo>
                    <a:close/>
                    <a:moveTo>
                      <a:pt x="1327407" y="902159"/>
                    </a:moveTo>
                    <a:cubicBezTo>
                      <a:pt x="1325601" y="894265"/>
                      <a:pt x="1319599" y="888002"/>
                      <a:pt x="1311791" y="885859"/>
                    </a:cubicBezTo>
                    <a:cubicBezTo>
                      <a:pt x="1306889" y="884548"/>
                      <a:pt x="1300962" y="884662"/>
                      <a:pt x="1297998" y="880558"/>
                    </a:cubicBezTo>
                    <a:cubicBezTo>
                      <a:pt x="1295661" y="877424"/>
                      <a:pt x="1296288" y="873035"/>
                      <a:pt x="1295376" y="869159"/>
                    </a:cubicBezTo>
                    <a:cubicBezTo>
                      <a:pt x="1294465" y="865284"/>
                      <a:pt x="1289962" y="861579"/>
                      <a:pt x="1286941" y="864087"/>
                    </a:cubicBezTo>
                    <a:cubicBezTo>
                      <a:pt x="1287169" y="859573"/>
                      <a:pt x="1284861" y="855304"/>
                      <a:pt x="1280957" y="853030"/>
                    </a:cubicBezTo>
                    <a:cubicBezTo>
                      <a:pt x="1277070" y="850875"/>
                      <a:pt x="1272818" y="849468"/>
                      <a:pt x="1268418" y="848869"/>
                    </a:cubicBezTo>
                    <a:lnTo>
                      <a:pt x="1250123" y="845278"/>
                    </a:lnTo>
                    <a:cubicBezTo>
                      <a:pt x="1248327" y="845108"/>
                      <a:pt x="1246629" y="844367"/>
                      <a:pt x="1245278" y="843170"/>
                    </a:cubicBezTo>
                    <a:cubicBezTo>
                      <a:pt x="1244446" y="841921"/>
                      <a:pt x="1243722" y="840605"/>
                      <a:pt x="1243112" y="839237"/>
                    </a:cubicBezTo>
                    <a:cubicBezTo>
                      <a:pt x="1240775" y="835532"/>
                      <a:pt x="1235475" y="835475"/>
                      <a:pt x="1231143" y="835817"/>
                    </a:cubicBezTo>
                    <a:cubicBezTo>
                      <a:pt x="1229662" y="831144"/>
                      <a:pt x="1228180" y="826470"/>
                      <a:pt x="1226755" y="821797"/>
                    </a:cubicBezTo>
                    <a:cubicBezTo>
                      <a:pt x="1221853" y="819004"/>
                      <a:pt x="1215356" y="822880"/>
                      <a:pt x="1212734" y="827781"/>
                    </a:cubicBezTo>
                    <a:cubicBezTo>
                      <a:pt x="1210112" y="832683"/>
                      <a:pt x="1209143" y="838496"/>
                      <a:pt x="1206294" y="843398"/>
                    </a:cubicBezTo>
                    <a:cubicBezTo>
                      <a:pt x="1204760" y="845615"/>
                      <a:pt x="1203393" y="847940"/>
                      <a:pt x="1202190" y="850351"/>
                    </a:cubicBezTo>
                    <a:cubicBezTo>
                      <a:pt x="1201272" y="855292"/>
                      <a:pt x="1200987" y="860331"/>
                      <a:pt x="1201335" y="865341"/>
                    </a:cubicBezTo>
                    <a:cubicBezTo>
                      <a:pt x="1200594" y="872294"/>
                      <a:pt x="1196035" y="879361"/>
                      <a:pt x="1198713" y="885859"/>
                    </a:cubicBezTo>
                    <a:cubicBezTo>
                      <a:pt x="1199568" y="887968"/>
                      <a:pt x="1201164" y="890304"/>
                      <a:pt x="1200024" y="892242"/>
                    </a:cubicBezTo>
                    <a:cubicBezTo>
                      <a:pt x="1198884" y="894180"/>
                      <a:pt x="1194325" y="893382"/>
                      <a:pt x="1191475" y="893496"/>
                    </a:cubicBezTo>
                    <a:cubicBezTo>
                      <a:pt x="1187428" y="894083"/>
                      <a:pt x="1184231" y="897218"/>
                      <a:pt x="1183553" y="901247"/>
                    </a:cubicBezTo>
                    <a:cubicBezTo>
                      <a:pt x="1183006" y="905197"/>
                      <a:pt x="1183313" y="909227"/>
                      <a:pt x="1184465" y="913045"/>
                    </a:cubicBezTo>
                    <a:cubicBezTo>
                      <a:pt x="1188984" y="908235"/>
                      <a:pt x="1194741" y="904764"/>
                      <a:pt x="1201107" y="903014"/>
                    </a:cubicBezTo>
                    <a:cubicBezTo>
                      <a:pt x="1207775" y="901487"/>
                      <a:pt x="1214427" y="905642"/>
                      <a:pt x="1215983" y="912304"/>
                    </a:cubicBezTo>
                    <a:cubicBezTo>
                      <a:pt x="1215983" y="914641"/>
                      <a:pt x="1215527" y="916921"/>
                      <a:pt x="1215983" y="919258"/>
                    </a:cubicBezTo>
                    <a:cubicBezTo>
                      <a:pt x="1216439" y="921594"/>
                      <a:pt x="1217636" y="924159"/>
                      <a:pt x="1219972" y="924159"/>
                    </a:cubicBezTo>
                    <a:cubicBezTo>
                      <a:pt x="1220998" y="924079"/>
                      <a:pt x="1221984" y="923726"/>
                      <a:pt x="1222822" y="923133"/>
                    </a:cubicBezTo>
                    <a:cubicBezTo>
                      <a:pt x="1231753" y="918175"/>
                      <a:pt x="1240240" y="912452"/>
                      <a:pt x="1248185" y="906035"/>
                    </a:cubicBezTo>
                    <a:cubicBezTo>
                      <a:pt x="1252636" y="902951"/>
                      <a:pt x="1256210" y="898768"/>
                      <a:pt x="1258558" y="893895"/>
                    </a:cubicBezTo>
                    <a:cubicBezTo>
                      <a:pt x="1259020" y="891991"/>
                      <a:pt x="1259869" y="890202"/>
                      <a:pt x="1261066" y="888651"/>
                    </a:cubicBezTo>
                    <a:cubicBezTo>
                      <a:pt x="1263180" y="887084"/>
                      <a:pt x="1265802" y="886372"/>
                      <a:pt x="1268418" y="886657"/>
                    </a:cubicBezTo>
                    <a:cubicBezTo>
                      <a:pt x="1273262" y="886657"/>
                      <a:pt x="1279076" y="887056"/>
                      <a:pt x="1281641" y="891216"/>
                    </a:cubicBezTo>
                    <a:cubicBezTo>
                      <a:pt x="1284205" y="895377"/>
                      <a:pt x="1282895" y="900050"/>
                      <a:pt x="1286143" y="902615"/>
                    </a:cubicBezTo>
                    <a:cubicBezTo>
                      <a:pt x="1289392" y="905180"/>
                      <a:pt x="1292242" y="904040"/>
                      <a:pt x="1295262" y="905066"/>
                    </a:cubicBezTo>
                    <a:cubicBezTo>
                      <a:pt x="1297234" y="905909"/>
                      <a:pt x="1299138" y="906901"/>
                      <a:pt x="1300962" y="908030"/>
                    </a:cubicBezTo>
                    <a:cubicBezTo>
                      <a:pt x="1309055" y="912760"/>
                      <a:pt x="1319257" y="907403"/>
                      <a:pt x="1327407" y="902216"/>
                    </a:cubicBezTo>
                    <a:close/>
                    <a:moveTo>
                      <a:pt x="1259584" y="939149"/>
                    </a:moveTo>
                    <a:cubicBezTo>
                      <a:pt x="1256295" y="939901"/>
                      <a:pt x="1253782" y="942551"/>
                      <a:pt x="1253200" y="945874"/>
                    </a:cubicBezTo>
                    <a:cubicBezTo>
                      <a:pt x="1252630" y="949129"/>
                      <a:pt x="1252750" y="952469"/>
                      <a:pt x="1253542" y="955677"/>
                    </a:cubicBezTo>
                    <a:cubicBezTo>
                      <a:pt x="1253571" y="956401"/>
                      <a:pt x="1253901" y="957085"/>
                      <a:pt x="1254454" y="957558"/>
                    </a:cubicBezTo>
                    <a:cubicBezTo>
                      <a:pt x="1254916" y="957837"/>
                      <a:pt x="1255457" y="957957"/>
                      <a:pt x="1255993" y="957900"/>
                    </a:cubicBezTo>
                    <a:lnTo>
                      <a:pt x="1266708" y="957900"/>
                    </a:lnTo>
                    <a:cubicBezTo>
                      <a:pt x="1267905" y="960465"/>
                      <a:pt x="1271553" y="960408"/>
                      <a:pt x="1274345" y="959895"/>
                    </a:cubicBezTo>
                    <a:cubicBezTo>
                      <a:pt x="1274858" y="959901"/>
                      <a:pt x="1275354" y="959695"/>
                      <a:pt x="1275713" y="959325"/>
                    </a:cubicBezTo>
                    <a:cubicBezTo>
                      <a:pt x="1275981" y="958858"/>
                      <a:pt x="1276084" y="958316"/>
                      <a:pt x="1275998" y="957786"/>
                    </a:cubicBezTo>
                    <a:cubicBezTo>
                      <a:pt x="1275998" y="952998"/>
                      <a:pt x="1281698" y="950092"/>
                      <a:pt x="1286599" y="950719"/>
                    </a:cubicBezTo>
                    <a:cubicBezTo>
                      <a:pt x="1287494" y="950975"/>
                      <a:pt x="1288440" y="950975"/>
                      <a:pt x="1289335" y="950719"/>
                    </a:cubicBezTo>
                    <a:cubicBezTo>
                      <a:pt x="1289990" y="950325"/>
                      <a:pt x="1290538" y="949778"/>
                      <a:pt x="1290931" y="949123"/>
                    </a:cubicBezTo>
                    <a:lnTo>
                      <a:pt x="1294465" y="943993"/>
                    </a:lnTo>
                    <a:cubicBezTo>
                      <a:pt x="1296630" y="940802"/>
                      <a:pt x="1298910" y="936641"/>
                      <a:pt x="1296915" y="933335"/>
                    </a:cubicBezTo>
                    <a:cubicBezTo>
                      <a:pt x="1293781" y="932138"/>
                      <a:pt x="1292128" y="928377"/>
                      <a:pt x="1288936" y="927294"/>
                    </a:cubicBezTo>
                    <a:cubicBezTo>
                      <a:pt x="1287511" y="926980"/>
                      <a:pt x="1286029" y="926980"/>
                      <a:pt x="1284604" y="927294"/>
                    </a:cubicBezTo>
                    <a:cubicBezTo>
                      <a:pt x="1279543" y="927813"/>
                      <a:pt x="1274516" y="928650"/>
                      <a:pt x="1269558" y="929802"/>
                    </a:cubicBezTo>
                    <a:cubicBezTo>
                      <a:pt x="1266822" y="930486"/>
                      <a:pt x="1263516" y="932081"/>
                      <a:pt x="1263858" y="934874"/>
                    </a:cubicBezTo>
                    <a:cubicBezTo>
                      <a:pt x="1263858" y="935729"/>
                      <a:pt x="1264428" y="936584"/>
                      <a:pt x="1264257" y="937496"/>
                    </a:cubicBezTo>
                    <a:cubicBezTo>
                      <a:pt x="1264086" y="938408"/>
                      <a:pt x="1261351" y="938636"/>
                      <a:pt x="1259584" y="939149"/>
                    </a:cubicBezTo>
                    <a:close/>
                    <a:moveTo>
                      <a:pt x="1336128" y="960921"/>
                    </a:moveTo>
                    <a:cubicBezTo>
                      <a:pt x="1333836" y="961496"/>
                      <a:pt x="1332138" y="963423"/>
                      <a:pt x="1331853" y="965765"/>
                    </a:cubicBezTo>
                    <a:cubicBezTo>
                      <a:pt x="1331779" y="968114"/>
                      <a:pt x="1332286" y="970445"/>
                      <a:pt x="1333335" y="972548"/>
                    </a:cubicBezTo>
                    <a:cubicBezTo>
                      <a:pt x="1333797" y="973636"/>
                      <a:pt x="1334349" y="974685"/>
                      <a:pt x="1334988" y="975682"/>
                    </a:cubicBezTo>
                    <a:cubicBezTo>
                      <a:pt x="1338379" y="980573"/>
                      <a:pt x="1345087" y="981787"/>
                      <a:pt x="1349977" y="978401"/>
                    </a:cubicBezTo>
                    <a:cubicBezTo>
                      <a:pt x="1352394" y="976725"/>
                      <a:pt x="1354018" y="974138"/>
                      <a:pt x="1354480" y="971237"/>
                    </a:cubicBezTo>
                    <a:cubicBezTo>
                      <a:pt x="1354480" y="969983"/>
                      <a:pt x="1354480" y="968672"/>
                      <a:pt x="1354936" y="967418"/>
                    </a:cubicBezTo>
                    <a:cubicBezTo>
                      <a:pt x="1355392" y="966164"/>
                      <a:pt x="1356190" y="964568"/>
                      <a:pt x="1356589" y="963030"/>
                    </a:cubicBezTo>
                    <a:cubicBezTo>
                      <a:pt x="1357107" y="958977"/>
                      <a:pt x="1355187" y="954999"/>
                      <a:pt x="1351687" y="952885"/>
                    </a:cubicBezTo>
                    <a:cubicBezTo>
                      <a:pt x="1349556" y="951152"/>
                      <a:pt x="1346843" y="950314"/>
                      <a:pt x="1344107" y="950548"/>
                    </a:cubicBezTo>
                    <a:cubicBezTo>
                      <a:pt x="1341411" y="950804"/>
                      <a:pt x="1339262" y="952924"/>
                      <a:pt x="1338977" y="955620"/>
                    </a:cubicBezTo>
                    <a:cubicBezTo>
                      <a:pt x="1338977" y="957387"/>
                      <a:pt x="1339661" y="959610"/>
                      <a:pt x="1338123" y="960465"/>
                    </a:cubicBezTo>
                    <a:cubicBezTo>
                      <a:pt x="1337473" y="960642"/>
                      <a:pt x="1336800" y="960716"/>
                      <a:pt x="1336128" y="960693"/>
                    </a:cubicBezTo>
                    <a:close/>
                    <a:moveTo>
                      <a:pt x="1869199" y="1295024"/>
                    </a:moveTo>
                    <a:cubicBezTo>
                      <a:pt x="1861779" y="1307796"/>
                      <a:pt x="1849211" y="1316745"/>
                      <a:pt x="1834718" y="1319589"/>
                    </a:cubicBezTo>
                    <a:cubicBezTo>
                      <a:pt x="1828157" y="1320176"/>
                      <a:pt x="1821677" y="1321475"/>
                      <a:pt x="1815396" y="1323464"/>
                    </a:cubicBezTo>
                    <a:cubicBezTo>
                      <a:pt x="1803370" y="1328822"/>
                      <a:pt x="1797842" y="1343241"/>
                      <a:pt x="1786557" y="1350081"/>
                    </a:cubicBezTo>
                    <a:cubicBezTo>
                      <a:pt x="1777723" y="1355438"/>
                      <a:pt x="1766723" y="1355381"/>
                      <a:pt x="1756350" y="1355153"/>
                    </a:cubicBezTo>
                    <a:lnTo>
                      <a:pt x="1648402" y="1352646"/>
                    </a:lnTo>
                    <a:cubicBezTo>
                      <a:pt x="1640081" y="1352646"/>
                      <a:pt x="1630392" y="1352931"/>
                      <a:pt x="1625604" y="1359713"/>
                    </a:cubicBezTo>
                    <a:cubicBezTo>
                      <a:pt x="1622355" y="1364216"/>
                      <a:pt x="1622013" y="1371112"/>
                      <a:pt x="1617511" y="1374133"/>
                    </a:cubicBezTo>
                    <a:cubicBezTo>
                      <a:pt x="1614205" y="1375734"/>
                      <a:pt x="1610666" y="1376794"/>
                      <a:pt x="1607024" y="1377267"/>
                    </a:cubicBezTo>
                    <a:cubicBezTo>
                      <a:pt x="1600806" y="1379786"/>
                      <a:pt x="1595448" y="1384038"/>
                      <a:pt x="1591578" y="1389521"/>
                    </a:cubicBezTo>
                    <a:cubicBezTo>
                      <a:pt x="1576645" y="1406922"/>
                      <a:pt x="1562038" y="1424613"/>
                      <a:pt x="1547749" y="1442583"/>
                    </a:cubicBezTo>
                    <a:cubicBezTo>
                      <a:pt x="1544329" y="1446858"/>
                      <a:pt x="1540967" y="1453184"/>
                      <a:pt x="1544614" y="1457288"/>
                    </a:cubicBezTo>
                    <a:cubicBezTo>
                      <a:pt x="1548262" y="1461392"/>
                      <a:pt x="1556013" y="1457915"/>
                      <a:pt x="1559889" y="1453412"/>
                    </a:cubicBezTo>
                    <a:cubicBezTo>
                      <a:pt x="1561257" y="1451816"/>
                      <a:pt x="1562511" y="1450164"/>
                      <a:pt x="1563708" y="1448454"/>
                    </a:cubicBezTo>
                    <a:cubicBezTo>
                      <a:pt x="1563149" y="1459499"/>
                      <a:pt x="1559165" y="1470095"/>
                      <a:pt x="1552309" y="1478775"/>
                    </a:cubicBezTo>
                    <a:cubicBezTo>
                      <a:pt x="1550855" y="1480713"/>
                      <a:pt x="1549721" y="1482867"/>
                      <a:pt x="1548946" y="1485158"/>
                    </a:cubicBezTo>
                    <a:cubicBezTo>
                      <a:pt x="1548644" y="1487421"/>
                      <a:pt x="1548228" y="1489667"/>
                      <a:pt x="1547692" y="1491884"/>
                    </a:cubicBezTo>
                    <a:cubicBezTo>
                      <a:pt x="1546324" y="1495474"/>
                      <a:pt x="1542848" y="1497583"/>
                      <a:pt x="1540112" y="1500319"/>
                    </a:cubicBezTo>
                    <a:cubicBezTo>
                      <a:pt x="1537376" y="1503055"/>
                      <a:pt x="1535495" y="1507557"/>
                      <a:pt x="1537889" y="1510521"/>
                    </a:cubicBezTo>
                    <a:cubicBezTo>
                      <a:pt x="1534794" y="1510869"/>
                      <a:pt x="1531813" y="1511900"/>
                      <a:pt x="1529169" y="1513542"/>
                    </a:cubicBezTo>
                    <a:cubicBezTo>
                      <a:pt x="1526456" y="1515280"/>
                      <a:pt x="1525202" y="1518591"/>
                      <a:pt x="1526091" y="1521692"/>
                    </a:cubicBezTo>
                    <a:lnTo>
                      <a:pt x="1523754" y="1521977"/>
                    </a:lnTo>
                    <a:lnTo>
                      <a:pt x="1448635" y="1521179"/>
                    </a:lnTo>
                    <a:cubicBezTo>
                      <a:pt x="1443813" y="1521977"/>
                      <a:pt x="1439254" y="1523932"/>
                      <a:pt x="1435356" y="1526878"/>
                    </a:cubicBezTo>
                    <a:cubicBezTo>
                      <a:pt x="1434421" y="1527448"/>
                      <a:pt x="1433703" y="1528309"/>
                      <a:pt x="1433304" y="1529329"/>
                    </a:cubicBezTo>
                    <a:cubicBezTo>
                      <a:pt x="1433304" y="1530070"/>
                      <a:pt x="1433304" y="1530868"/>
                      <a:pt x="1433304" y="1531609"/>
                    </a:cubicBezTo>
                    <a:cubicBezTo>
                      <a:pt x="1432905" y="1533889"/>
                      <a:pt x="1430454" y="1535143"/>
                      <a:pt x="1428231" y="1535713"/>
                    </a:cubicBezTo>
                    <a:cubicBezTo>
                      <a:pt x="1425963" y="1536026"/>
                      <a:pt x="1423791" y="1536864"/>
                      <a:pt x="1421905" y="1538163"/>
                    </a:cubicBezTo>
                    <a:cubicBezTo>
                      <a:pt x="1421568" y="1538517"/>
                      <a:pt x="1421266" y="1538899"/>
                      <a:pt x="1420993" y="1539303"/>
                    </a:cubicBezTo>
                    <a:cubicBezTo>
                      <a:pt x="1409161" y="1539503"/>
                      <a:pt x="1397351" y="1540301"/>
                      <a:pt x="1385599" y="1541697"/>
                    </a:cubicBezTo>
                    <a:lnTo>
                      <a:pt x="1376936" y="1542609"/>
                    </a:lnTo>
                    <a:cubicBezTo>
                      <a:pt x="1373528" y="1542860"/>
                      <a:pt x="1370148" y="1543430"/>
                      <a:pt x="1366848" y="1544319"/>
                    </a:cubicBezTo>
                    <a:cubicBezTo>
                      <a:pt x="1362476" y="1545818"/>
                      <a:pt x="1358378" y="1548012"/>
                      <a:pt x="1354708" y="1550816"/>
                    </a:cubicBezTo>
                    <a:cubicBezTo>
                      <a:pt x="1351499" y="1552868"/>
                      <a:pt x="1348855" y="1555689"/>
                      <a:pt x="1347014" y="1559024"/>
                    </a:cubicBezTo>
                    <a:cubicBezTo>
                      <a:pt x="1345235" y="1562489"/>
                      <a:pt x="1345902" y="1566706"/>
                      <a:pt x="1348666" y="1569454"/>
                    </a:cubicBezTo>
                    <a:cubicBezTo>
                      <a:pt x="1351174" y="1571562"/>
                      <a:pt x="1355620" y="1572474"/>
                      <a:pt x="1355506" y="1575780"/>
                    </a:cubicBezTo>
                    <a:cubicBezTo>
                      <a:pt x="1355455" y="1576652"/>
                      <a:pt x="1355135" y="1577490"/>
                      <a:pt x="1354594" y="1578174"/>
                    </a:cubicBezTo>
                    <a:cubicBezTo>
                      <a:pt x="1353386" y="1579946"/>
                      <a:pt x="1351590" y="1581240"/>
                      <a:pt x="1349521" y="1581821"/>
                    </a:cubicBezTo>
                    <a:cubicBezTo>
                      <a:pt x="1347167" y="1582084"/>
                      <a:pt x="1344854" y="1582619"/>
                      <a:pt x="1342625" y="1583417"/>
                    </a:cubicBezTo>
                    <a:cubicBezTo>
                      <a:pt x="1341599" y="1583987"/>
                      <a:pt x="1340744" y="1584842"/>
                      <a:pt x="1339718" y="1585469"/>
                    </a:cubicBezTo>
                    <a:cubicBezTo>
                      <a:pt x="1335672" y="1587071"/>
                      <a:pt x="1331169" y="1587071"/>
                      <a:pt x="1327122" y="1585469"/>
                    </a:cubicBezTo>
                    <a:cubicBezTo>
                      <a:pt x="1316898" y="1583161"/>
                      <a:pt x="1306285" y="1583161"/>
                      <a:pt x="1296060" y="1585469"/>
                    </a:cubicBezTo>
                    <a:lnTo>
                      <a:pt x="1295775" y="1585811"/>
                    </a:lnTo>
                    <a:cubicBezTo>
                      <a:pt x="1295479" y="1585389"/>
                      <a:pt x="1295137" y="1585007"/>
                      <a:pt x="1294749" y="1584671"/>
                    </a:cubicBezTo>
                    <a:cubicBezTo>
                      <a:pt x="1294208" y="1584346"/>
                      <a:pt x="1293610" y="1584130"/>
                      <a:pt x="1292983" y="1584044"/>
                    </a:cubicBezTo>
                    <a:cubicBezTo>
                      <a:pt x="1291404" y="1583725"/>
                      <a:pt x="1289762" y="1584056"/>
                      <a:pt x="1288423" y="1584956"/>
                    </a:cubicBezTo>
                    <a:cubicBezTo>
                      <a:pt x="1286656" y="1586267"/>
                      <a:pt x="1286029" y="1588718"/>
                      <a:pt x="1284205" y="1589972"/>
                    </a:cubicBezTo>
                    <a:cubicBezTo>
                      <a:pt x="1282667" y="1591060"/>
                      <a:pt x="1280615" y="1591060"/>
                      <a:pt x="1279076" y="1589972"/>
                    </a:cubicBezTo>
                    <a:cubicBezTo>
                      <a:pt x="1278797" y="1587789"/>
                      <a:pt x="1279150" y="1585572"/>
                      <a:pt x="1280102" y="1583588"/>
                    </a:cubicBezTo>
                    <a:lnTo>
                      <a:pt x="1280102" y="1585583"/>
                    </a:lnTo>
                    <a:cubicBezTo>
                      <a:pt x="1288634" y="1578453"/>
                      <a:pt x="1294863" y="1568952"/>
                      <a:pt x="1297998" y="1558283"/>
                    </a:cubicBezTo>
                    <a:cubicBezTo>
                      <a:pt x="1299708" y="1551044"/>
                      <a:pt x="1299252" y="1543407"/>
                      <a:pt x="1301190" y="1536169"/>
                    </a:cubicBezTo>
                    <a:cubicBezTo>
                      <a:pt x="1302529" y="1528640"/>
                      <a:pt x="1308423" y="1522746"/>
                      <a:pt x="1315951" y="1521407"/>
                    </a:cubicBezTo>
                    <a:cubicBezTo>
                      <a:pt x="1319052" y="1521048"/>
                      <a:pt x="1322010" y="1522792"/>
                      <a:pt x="1323190" y="1525682"/>
                    </a:cubicBezTo>
                    <a:cubicBezTo>
                      <a:pt x="1323332" y="1526856"/>
                      <a:pt x="1323560" y="1528018"/>
                      <a:pt x="1323874" y="1529158"/>
                    </a:cubicBezTo>
                    <a:cubicBezTo>
                      <a:pt x="1324786" y="1531267"/>
                      <a:pt x="1327407" y="1531837"/>
                      <a:pt x="1329573" y="1532065"/>
                    </a:cubicBezTo>
                    <a:cubicBezTo>
                      <a:pt x="1335273" y="1532692"/>
                      <a:pt x="1342967" y="1531552"/>
                      <a:pt x="1343480" y="1525910"/>
                    </a:cubicBezTo>
                    <a:cubicBezTo>
                      <a:pt x="1344107" y="1519184"/>
                      <a:pt x="1332936" y="1513884"/>
                      <a:pt x="1336470" y="1508127"/>
                    </a:cubicBezTo>
                    <a:cubicBezTo>
                      <a:pt x="1333050" y="1510806"/>
                      <a:pt x="1328433" y="1506303"/>
                      <a:pt x="1327521" y="1502086"/>
                    </a:cubicBezTo>
                    <a:cubicBezTo>
                      <a:pt x="1326609" y="1497868"/>
                      <a:pt x="1326553" y="1492682"/>
                      <a:pt x="1322962" y="1490345"/>
                    </a:cubicBezTo>
                    <a:cubicBezTo>
                      <a:pt x="1321526" y="1489530"/>
                      <a:pt x="1319930" y="1489028"/>
                      <a:pt x="1318288" y="1488863"/>
                    </a:cubicBezTo>
                    <a:lnTo>
                      <a:pt x="1260553" y="1478946"/>
                    </a:lnTo>
                    <a:cubicBezTo>
                      <a:pt x="1257743" y="1478558"/>
                      <a:pt x="1254990" y="1477852"/>
                      <a:pt x="1252345" y="1476837"/>
                    </a:cubicBezTo>
                    <a:cubicBezTo>
                      <a:pt x="1243454" y="1472961"/>
                      <a:pt x="1239522" y="1462645"/>
                      <a:pt x="1236501" y="1453412"/>
                    </a:cubicBezTo>
                    <a:cubicBezTo>
                      <a:pt x="1234506" y="1447314"/>
                      <a:pt x="1232454" y="1441215"/>
                      <a:pt x="1230459" y="1435060"/>
                    </a:cubicBezTo>
                    <a:cubicBezTo>
                      <a:pt x="1230095" y="1433367"/>
                      <a:pt x="1229148" y="1431851"/>
                      <a:pt x="1227781" y="1430785"/>
                    </a:cubicBezTo>
                    <a:cubicBezTo>
                      <a:pt x="1225974" y="1430039"/>
                      <a:pt x="1223973" y="1429902"/>
                      <a:pt x="1222081" y="1430386"/>
                    </a:cubicBezTo>
                    <a:cubicBezTo>
                      <a:pt x="1211041" y="1430860"/>
                      <a:pt x="1201711" y="1422293"/>
                      <a:pt x="1201238" y="1411259"/>
                    </a:cubicBezTo>
                    <a:cubicBezTo>
                      <a:pt x="1201227" y="1411059"/>
                      <a:pt x="1201221" y="1410866"/>
                      <a:pt x="1201221" y="1410666"/>
                    </a:cubicBezTo>
                    <a:cubicBezTo>
                      <a:pt x="1195544" y="1412684"/>
                      <a:pt x="1189281" y="1409937"/>
                      <a:pt x="1186916" y="1404397"/>
                    </a:cubicBezTo>
                    <a:cubicBezTo>
                      <a:pt x="1186534" y="1402624"/>
                      <a:pt x="1185815" y="1400943"/>
                      <a:pt x="1184807" y="1399438"/>
                    </a:cubicBezTo>
                    <a:cubicBezTo>
                      <a:pt x="1181900" y="1396418"/>
                      <a:pt x="1176827" y="1398925"/>
                      <a:pt x="1172724" y="1398184"/>
                    </a:cubicBezTo>
                    <a:cubicBezTo>
                      <a:pt x="1168620" y="1397443"/>
                      <a:pt x="1166625" y="1394480"/>
                      <a:pt x="1163206" y="1394480"/>
                    </a:cubicBezTo>
                    <a:cubicBezTo>
                      <a:pt x="1156993" y="1394480"/>
                      <a:pt x="1155112" y="1403143"/>
                      <a:pt x="1150154" y="1406848"/>
                    </a:cubicBezTo>
                    <a:cubicBezTo>
                      <a:pt x="1148102" y="1408443"/>
                      <a:pt x="1145366" y="1409127"/>
                      <a:pt x="1143371" y="1410837"/>
                    </a:cubicBezTo>
                    <a:cubicBezTo>
                      <a:pt x="1138698" y="1414770"/>
                      <a:pt x="1138812" y="1423376"/>
                      <a:pt x="1133055" y="1425542"/>
                    </a:cubicBezTo>
                    <a:cubicBezTo>
                      <a:pt x="1129465" y="1426853"/>
                      <a:pt x="1124221" y="1425542"/>
                      <a:pt x="1121656" y="1427195"/>
                    </a:cubicBezTo>
                    <a:cubicBezTo>
                      <a:pt x="1119821" y="1425872"/>
                      <a:pt x="1117684" y="1425029"/>
                      <a:pt x="1115444" y="1424744"/>
                    </a:cubicBezTo>
                    <a:cubicBezTo>
                      <a:pt x="1113278" y="1424864"/>
                      <a:pt x="1111152" y="1425382"/>
                      <a:pt x="1109175" y="1426283"/>
                    </a:cubicBezTo>
                    <a:cubicBezTo>
                      <a:pt x="1100397" y="1429041"/>
                      <a:pt x="1090817" y="1426864"/>
                      <a:pt x="1084097" y="1420583"/>
                    </a:cubicBezTo>
                    <a:cubicBezTo>
                      <a:pt x="1075183" y="1422863"/>
                      <a:pt x="1065842" y="1418896"/>
                      <a:pt x="1061299" y="1410894"/>
                    </a:cubicBezTo>
                    <a:cubicBezTo>
                      <a:pt x="1057270" y="1408825"/>
                      <a:pt x="1052322" y="1410415"/>
                      <a:pt x="1050248" y="1414445"/>
                    </a:cubicBezTo>
                    <a:cubicBezTo>
                      <a:pt x="1049900" y="1415123"/>
                      <a:pt x="1049649" y="1415847"/>
                      <a:pt x="1049501" y="1416594"/>
                    </a:cubicBezTo>
                    <a:cubicBezTo>
                      <a:pt x="1045620" y="1416810"/>
                      <a:pt x="1041738" y="1416206"/>
                      <a:pt x="1038102" y="1414827"/>
                    </a:cubicBezTo>
                    <a:cubicBezTo>
                      <a:pt x="1034426" y="1413436"/>
                      <a:pt x="1031935" y="1409982"/>
                      <a:pt x="1031776" y="1406050"/>
                    </a:cubicBezTo>
                    <a:lnTo>
                      <a:pt x="1018610" y="1405195"/>
                    </a:lnTo>
                    <a:lnTo>
                      <a:pt x="1020320" y="1386045"/>
                    </a:lnTo>
                    <a:cubicBezTo>
                      <a:pt x="1017977" y="1384677"/>
                      <a:pt x="1015270" y="1384078"/>
                      <a:pt x="1012568" y="1384335"/>
                    </a:cubicBezTo>
                    <a:cubicBezTo>
                      <a:pt x="1009947" y="1384848"/>
                      <a:pt x="1007667" y="1387868"/>
                      <a:pt x="1008921" y="1390034"/>
                    </a:cubicBezTo>
                    <a:lnTo>
                      <a:pt x="1004703" y="1392257"/>
                    </a:lnTo>
                    <a:cubicBezTo>
                      <a:pt x="1004247" y="1395791"/>
                      <a:pt x="1003734" y="1399324"/>
                      <a:pt x="1003221" y="1402915"/>
                    </a:cubicBezTo>
                    <a:lnTo>
                      <a:pt x="408709" y="1402915"/>
                    </a:lnTo>
                    <a:cubicBezTo>
                      <a:pt x="407951" y="1395090"/>
                      <a:pt x="403779" y="1387999"/>
                      <a:pt x="397310" y="1383537"/>
                    </a:cubicBezTo>
                    <a:cubicBezTo>
                      <a:pt x="387222" y="1377552"/>
                      <a:pt x="371093" y="1380288"/>
                      <a:pt x="366248" y="1369630"/>
                    </a:cubicBezTo>
                    <a:cubicBezTo>
                      <a:pt x="364424" y="1365697"/>
                      <a:pt x="364709" y="1360511"/>
                      <a:pt x="361290" y="1357832"/>
                    </a:cubicBezTo>
                    <a:cubicBezTo>
                      <a:pt x="355875" y="1353615"/>
                      <a:pt x="346300" y="1359770"/>
                      <a:pt x="341683" y="1354697"/>
                    </a:cubicBezTo>
                    <a:cubicBezTo>
                      <a:pt x="339404" y="1352247"/>
                      <a:pt x="339575" y="1348143"/>
                      <a:pt x="337124" y="1345863"/>
                    </a:cubicBezTo>
                    <a:cubicBezTo>
                      <a:pt x="335574" y="1344729"/>
                      <a:pt x="333738" y="1344056"/>
                      <a:pt x="331823" y="1343925"/>
                    </a:cubicBezTo>
                    <a:lnTo>
                      <a:pt x="312388" y="1340506"/>
                    </a:lnTo>
                    <a:cubicBezTo>
                      <a:pt x="308051" y="1340141"/>
                      <a:pt x="303885" y="1338648"/>
                      <a:pt x="300305" y="1336174"/>
                    </a:cubicBezTo>
                    <a:cubicBezTo>
                      <a:pt x="292440" y="1329620"/>
                      <a:pt x="292269" y="1313832"/>
                      <a:pt x="282067" y="1313376"/>
                    </a:cubicBezTo>
                    <a:lnTo>
                      <a:pt x="291243" y="1309330"/>
                    </a:lnTo>
                    <a:cubicBezTo>
                      <a:pt x="294834" y="1307791"/>
                      <a:pt x="298994" y="1305340"/>
                      <a:pt x="298823" y="1301464"/>
                    </a:cubicBezTo>
                    <a:cubicBezTo>
                      <a:pt x="298652" y="1297589"/>
                      <a:pt x="294264" y="1295423"/>
                      <a:pt x="290445" y="1294853"/>
                    </a:cubicBezTo>
                    <a:cubicBezTo>
                      <a:pt x="286575" y="1294876"/>
                      <a:pt x="282791" y="1293702"/>
                      <a:pt x="279616" y="1291490"/>
                    </a:cubicBezTo>
                    <a:cubicBezTo>
                      <a:pt x="278300" y="1289940"/>
                      <a:pt x="277308" y="1288133"/>
                      <a:pt x="276709" y="1286190"/>
                    </a:cubicBezTo>
                    <a:cubicBezTo>
                      <a:pt x="274430" y="1279977"/>
                      <a:pt x="272150" y="1273822"/>
                      <a:pt x="269813" y="1267666"/>
                    </a:cubicBezTo>
                    <a:cubicBezTo>
                      <a:pt x="269004" y="1264982"/>
                      <a:pt x="267710" y="1262469"/>
                      <a:pt x="265994" y="1260257"/>
                    </a:cubicBezTo>
                    <a:cubicBezTo>
                      <a:pt x="261492" y="1255242"/>
                      <a:pt x="252658" y="1254102"/>
                      <a:pt x="250834" y="1247604"/>
                    </a:cubicBezTo>
                    <a:cubicBezTo>
                      <a:pt x="250378" y="1246065"/>
                      <a:pt x="250435" y="1244413"/>
                      <a:pt x="249922" y="1242874"/>
                    </a:cubicBezTo>
                    <a:cubicBezTo>
                      <a:pt x="248668" y="1238998"/>
                      <a:pt x="244222" y="1237174"/>
                      <a:pt x="240860" y="1235236"/>
                    </a:cubicBezTo>
                    <a:cubicBezTo>
                      <a:pt x="237497" y="1233299"/>
                      <a:pt x="234476" y="1229537"/>
                      <a:pt x="235502" y="1226231"/>
                    </a:cubicBezTo>
                    <a:cubicBezTo>
                      <a:pt x="235878" y="1225827"/>
                      <a:pt x="236300" y="1225462"/>
                      <a:pt x="236756" y="1225148"/>
                    </a:cubicBezTo>
                    <a:cubicBezTo>
                      <a:pt x="238295" y="1224293"/>
                      <a:pt x="240290" y="1224008"/>
                      <a:pt x="241487" y="1222698"/>
                    </a:cubicBezTo>
                    <a:cubicBezTo>
                      <a:pt x="243709" y="1220247"/>
                      <a:pt x="241943" y="1216029"/>
                      <a:pt x="243652" y="1213236"/>
                    </a:cubicBezTo>
                    <a:cubicBezTo>
                      <a:pt x="245060" y="1211618"/>
                      <a:pt x="246839" y="1210364"/>
                      <a:pt x="248839" y="1209589"/>
                    </a:cubicBezTo>
                    <a:cubicBezTo>
                      <a:pt x="250663" y="1208506"/>
                      <a:pt x="252658" y="1207195"/>
                      <a:pt x="251404" y="1205485"/>
                    </a:cubicBezTo>
                    <a:cubicBezTo>
                      <a:pt x="246428" y="1199028"/>
                      <a:pt x="240791" y="1193106"/>
                      <a:pt x="234590" y="1187817"/>
                    </a:cubicBezTo>
                    <a:lnTo>
                      <a:pt x="245647" y="1178014"/>
                    </a:lnTo>
                    <a:cubicBezTo>
                      <a:pt x="238819" y="1170394"/>
                      <a:pt x="229620" y="1165298"/>
                      <a:pt x="219544" y="1163537"/>
                    </a:cubicBezTo>
                    <a:cubicBezTo>
                      <a:pt x="217281" y="1163372"/>
                      <a:pt x="215064" y="1162813"/>
                      <a:pt x="212989" y="1161884"/>
                    </a:cubicBezTo>
                    <a:cubicBezTo>
                      <a:pt x="210664" y="1160465"/>
                      <a:pt x="208709" y="1158510"/>
                      <a:pt x="207290" y="1156185"/>
                    </a:cubicBezTo>
                    <a:lnTo>
                      <a:pt x="194124" y="1136522"/>
                    </a:lnTo>
                    <a:cubicBezTo>
                      <a:pt x="192551" y="1134299"/>
                      <a:pt x="191160" y="1131956"/>
                      <a:pt x="189963" y="1129511"/>
                    </a:cubicBezTo>
                    <a:cubicBezTo>
                      <a:pt x="188482" y="1126263"/>
                      <a:pt x="187684" y="1122672"/>
                      <a:pt x="185974" y="1119480"/>
                    </a:cubicBezTo>
                    <a:cubicBezTo>
                      <a:pt x="183124" y="1114351"/>
                      <a:pt x="177881" y="1110532"/>
                      <a:pt x="176456" y="1104833"/>
                    </a:cubicBezTo>
                    <a:cubicBezTo>
                      <a:pt x="176296" y="1102501"/>
                      <a:pt x="175595" y="1100233"/>
                      <a:pt x="174404" y="1098221"/>
                    </a:cubicBezTo>
                    <a:cubicBezTo>
                      <a:pt x="172637" y="1096112"/>
                      <a:pt x="169502" y="1095941"/>
                      <a:pt x="166938" y="1094915"/>
                    </a:cubicBezTo>
                    <a:cubicBezTo>
                      <a:pt x="163626" y="1093154"/>
                      <a:pt x="160851" y="1090538"/>
                      <a:pt x="158901" y="1087335"/>
                    </a:cubicBezTo>
                    <a:lnTo>
                      <a:pt x="140891" y="1062713"/>
                    </a:lnTo>
                    <a:cubicBezTo>
                      <a:pt x="137614" y="1057299"/>
                      <a:pt x="132952" y="1052853"/>
                      <a:pt x="127383" y="1049833"/>
                    </a:cubicBezTo>
                    <a:cubicBezTo>
                      <a:pt x="121484" y="1047000"/>
                      <a:pt x="114394" y="1049280"/>
                      <a:pt x="111254" y="1055019"/>
                    </a:cubicBezTo>
                    <a:cubicBezTo>
                      <a:pt x="111083" y="1055960"/>
                      <a:pt x="110650" y="1056826"/>
                      <a:pt x="110000" y="1057527"/>
                    </a:cubicBezTo>
                    <a:cubicBezTo>
                      <a:pt x="108820" y="1058120"/>
                      <a:pt x="107481" y="1058319"/>
                      <a:pt x="106181" y="1058097"/>
                    </a:cubicBezTo>
                    <a:cubicBezTo>
                      <a:pt x="99912" y="1058097"/>
                      <a:pt x="96663" y="1066247"/>
                      <a:pt x="90736" y="1068299"/>
                    </a:cubicBezTo>
                    <a:cubicBezTo>
                      <a:pt x="88137" y="1069011"/>
                      <a:pt x="85407" y="1069125"/>
                      <a:pt x="82756" y="1068641"/>
                    </a:cubicBezTo>
                    <a:cubicBezTo>
                      <a:pt x="76658" y="1068014"/>
                      <a:pt x="69363" y="1066532"/>
                      <a:pt x="67254" y="1060776"/>
                    </a:cubicBezTo>
                    <a:cubicBezTo>
                      <a:pt x="65943" y="1057356"/>
                      <a:pt x="66798" y="1053024"/>
                      <a:pt x="64119" y="1050517"/>
                    </a:cubicBezTo>
                    <a:cubicBezTo>
                      <a:pt x="61440" y="1048009"/>
                      <a:pt x="57223" y="1049206"/>
                      <a:pt x="53746" y="1050517"/>
                    </a:cubicBezTo>
                    <a:cubicBezTo>
                      <a:pt x="50269" y="1051827"/>
                      <a:pt x="45539" y="1051770"/>
                      <a:pt x="43886" y="1048522"/>
                    </a:cubicBezTo>
                    <a:cubicBezTo>
                      <a:pt x="43151" y="1046151"/>
                      <a:pt x="43402" y="1043586"/>
                      <a:pt x="44570" y="1041397"/>
                    </a:cubicBezTo>
                    <a:cubicBezTo>
                      <a:pt x="46263" y="1037590"/>
                      <a:pt x="46798" y="1033367"/>
                      <a:pt x="46109" y="1029257"/>
                    </a:cubicBezTo>
                    <a:cubicBezTo>
                      <a:pt x="45288" y="1025068"/>
                      <a:pt x="41600" y="1022053"/>
                      <a:pt x="37332" y="1022076"/>
                    </a:cubicBezTo>
                    <a:cubicBezTo>
                      <a:pt x="35593" y="1022424"/>
                      <a:pt x="33923" y="1023039"/>
                      <a:pt x="32373" y="1023900"/>
                    </a:cubicBezTo>
                    <a:cubicBezTo>
                      <a:pt x="22319" y="1028648"/>
                      <a:pt x="10789" y="1029183"/>
                      <a:pt x="342" y="1025382"/>
                    </a:cubicBezTo>
                    <a:lnTo>
                      <a:pt x="0" y="668994"/>
                    </a:lnTo>
                    <a:cubicBezTo>
                      <a:pt x="4297" y="670926"/>
                      <a:pt x="8914" y="672032"/>
                      <a:pt x="13622" y="672242"/>
                    </a:cubicBezTo>
                    <a:cubicBezTo>
                      <a:pt x="24223" y="672584"/>
                      <a:pt x="36021" y="667683"/>
                      <a:pt x="44798" y="673667"/>
                    </a:cubicBezTo>
                    <a:cubicBezTo>
                      <a:pt x="47688" y="676038"/>
                      <a:pt x="50275" y="678757"/>
                      <a:pt x="52492" y="681761"/>
                    </a:cubicBezTo>
                    <a:cubicBezTo>
                      <a:pt x="59953" y="690070"/>
                      <a:pt x="70314" y="695211"/>
                      <a:pt x="81445" y="696123"/>
                    </a:cubicBezTo>
                    <a:cubicBezTo>
                      <a:pt x="92844" y="696978"/>
                      <a:pt x="104243" y="697434"/>
                      <a:pt x="113933" y="703704"/>
                    </a:cubicBezTo>
                    <a:cubicBezTo>
                      <a:pt x="117267" y="706747"/>
                      <a:pt x="121433" y="708731"/>
                      <a:pt x="125901" y="709403"/>
                    </a:cubicBezTo>
                    <a:cubicBezTo>
                      <a:pt x="130404" y="709403"/>
                      <a:pt x="134565" y="703704"/>
                      <a:pt x="131601" y="700455"/>
                    </a:cubicBezTo>
                    <a:cubicBezTo>
                      <a:pt x="121667" y="699013"/>
                      <a:pt x="113619" y="691649"/>
                      <a:pt x="111311" y="681875"/>
                    </a:cubicBezTo>
                    <a:cubicBezTo>
                      <a:pt x="124505" y="677486"/>
                      <a:pt x="138583" y="676409"/>
                      <a:pt x="152290" y="678740"/>
                    </a:cubicBezTo>
                    <a:cubicBezTo>
                      <a:pt x="156137" y="679732"/>
                      <a:pt x="160138" y="680017"/>
                      <a:pt x="164088" y="679595"/>
                    </a:cubicBezTo>
                    <a:cubicBezTo>
                      <a:pt x="168533" y="678244"/>
                      <a:pt x="172637" y="675947"/>
                      <a:pt x="176114" y="672869"/>
                    </a:cubicBezTo>
                    <a:cubicBezTo>
                      <a:pt x="194905" y="658604"/>
                      <a:pt x="217441" y="650129"/>
                      <a:pt x="240974" y="648476"/>
                    </a:cubicBezTo>
                    <a:cubicBezTo>
                      <a:pt x="241823" y="652004"/>
                      <a:pt x="241207" y="655725"/>
                      <a:pt x="239264" y="658792"/>
                    </a:cubicBezTo>
                    <a:cubicBezTo>
                      <a:pt x="209342" y="662166"/>
                      <a:pt x="182571" y="678939"/>
                      <a:pt x="166482" y="704388"/>
                    </a:cubicBezTo>
                    <a:cubicBezTo>
                      <a:pt x="168818" y="709460"/>
                      <a:pt x="176570" y="709403"/>
                      <a:pt x="181072" y="706040"/>
                    </a:cubicBezTo>
                    <a:cubicBezTo>
                      <a:pt x="185119" y="702165"/>
                      <a:pt x="188658" y="697799"/>
                      <a:pt x="191616" y="693046"/>
                    </a:cubicBezTo>
                    <a:cubicBezTo>
                      <a:pt x="198912" y="683983"/>
                      <a:pt x="210254" y="679481"/>
                      <a:pt x="221083" y="675320"/>
                    </a:cubicBezTo>
                    <a:lnTo>
                      <a:pt x="242684" y="667056"/>
                    </a:lnTo>
                    <a:cubicBezTo>
                      <a:pt x="252658" y="663237"/>
                      <a:pt x="265026" y="659761"/>
                      <a:pt x="273062" y="667056"/>
                    </a:cubicBezTo>
                    <a:cubicBezTo>
                      <a:pt x="274259" y="658507"/>
                      <a:pt x="281782" y="652579"/>
                      <a:pt x="286741" y="645512"/>
                    </a:cubicBezTo>
                    <a:cubicBezTo>
                      <a:pt x="291699" y="638445"/>
                      <a:pt x="292782" y="626305"/>
                      <a:pt x="284746" y="623113"/>
                    </a:cubicBezTo>
                    <a:cubicBezTo>
                      <a:pt x="289476" y="615989"/>
                      <a:pt x="299849" y="624595"/>
                      <a:pt x="303554" y="632346"/>
                    </a:cubicBezTo>
                    <a:cubicBezTo>
                      <a:pt x="310165" y="646310"/>
                      <a:pt x="317005" y="660217"/>
                      <a:pt x="324015" y="673952"/>
                    </a:cubicBezTo>
                    <a:cubicBezTo>
                      <a:pt x="325218" y="677098"/>
                      <a:pt x="327418" y="679766"/>
                      <a:pt x="330284" y="681533"/>
                    </a:cubicBezTo>
                    <a:cubicBezTo>
                      <a:pt x="336839" y="684610"/>
                      <a:pt x="343507" y="677771"/>
                      <a:pt x="347383" y="671730"/>
                    </a:cubicBezTo>
                    <a:lnTo>
                      <a:pt x="364481" y="646139"/>
                    </a:lnTo>
                    <a:cubicBezTo>
                      <a:pt x="370181" y="645056"/>
                      <a:pt x="372518" y="653833"/>
                      <a:pt x="370181" y="659191"/>
                    </a:cubicBezTo>
                    <a:cubicBezTo>
                      <a:pt x="367844" y="664548"/>
                      <a:pt x="363398" y="669906"/>
                      <a:pt x="365051" y="675491"/>
                    </a:cubicBezTo>
                    <a:cubicBezTo>
                      <a:pt x="371207" y="681191"/>
                      <a:pt x="381352" y="679139"/>
                      <a:pt x="388476" y="674693"/>
                    </a:cubicBezTo>
                    <a:cubicBezTo>
                      <a:pt x="395600" y="670248"/>
                      <a:pt x="401585" y="663807"/>
                      <a:pt x="409450" y="660901"/>
                    </a:cubicBezTo>
                    <a:cubicBezTo>
                      <a:pt x="426549" y="654631"/>
                      <a:pt x="443647" y="666600"/>
                      <a:pt x="460062" y="674123"/>
                    </a:cubicBezTo>
                    <a:cubicBezTo>
                      <a:pt x="497792" y="692305"/>
                      <a:pt x="542191" y="690424"/>
                      <a:pt x="581802" y="704046"/>
                    </a:cubicBezTo>
                    <a:cubicBezTo>
                      <a:pt x="588072" y="706154"/>
                      <a:pt x="595310" y="710543"/>
                      <a:pt x="594512" y="717040"/>
                    </a:cubicBezTo>
                    <a:cubicBezTo>
                      <a:pt x="582629" y="719702"/>
                      <a:pt x="571874" y="725994"/>
                      <a:pt x="563735" y="735051"/>
                    </a:cubicBezTo>
                    <a:cubicBezTo>
                      <a:pt x="567041" y="747419"/>
                      <a:pt x="582828" y="750439"/>
                      <a:pt x="595595" y="751123"/>
                    </a:cubicBezTo>
                    <a:cubicBezTo>
                      <a:pt x="622440" y="752605"/>
                      <a:pt x="650937" y="753688"/>
                      <a:pt x="674362" y="740522"/>
                    </a:cubicBezTo>
                    <a:cubicBezTo>
                      <a:pt x="677001" y="738613"/>
                      <a:pt x="680118" y="737467"/>
                      <a:pt x="683367" y="737217"/>
                    </a:cubicBezTo>
                    <a:cubicBezTo>
                      <a:pt x="689066" y="737217"/>
                      <a:pt x="692771" y="742916"/>
                      <a:pt x="696533" y="747533"/>
                    </a:cubicBezTo>
                    <a:cubicBezTo>
                      <a:pt x="700294" y="752149"/>
                      <a:pt x="707932" y="755170"/>
                      <a:pt x="711237" y="750553"/>
                    </a:cubicBezTo>
                    <a:cubicBezTo>
                      <a:pt x="715905" y="756298"/>
                      <a:pt x="719445" y="762870"/>
                      <a:pt x="721667" y="769931"/>
                    </a:cubicBezTo>
                    <a:lnTo>
                      <a:pt x="710610" y="775175"/>
                    </a:lnTo>
                    <a:cubicBezTo>
                      <a:pt x="715478" y="783154"/>
                      <a:pt x="724067" y="788119"/>
                      <a:pt x="733408" y="788341"/>
                    </a:cubicBezTo>
                    <a:cubicBezTo>
                      <a:pt x="735272" y="781490"/>
                      <a:pt x="741849" y="777016"/>
                      <a:pt x="748911" y="777797"/>
                    </a:cubicBezTo>
                    <a:lnTo>
                      <a:pt x="729704" y="752491"/>
                    </a:lnTo>
                    <a:cubicBezTo>
                      <a:pt x="726455" y="748216"/>
                      <a:pt x="723149" y="742061"/>
                      <a:pt x="726626" y="737957"/>
                    </a:cubicBezTo>
                    <a:cubicBezTo>
                      <a:pt x="749082" y="737957"/>
                      <a:pt x="767434" y="713507"/>
                      <a:pt x="789320" y="717496"/>
                    </a:cubicBezTo>
                    <a:cubicBezTo>
                      <a:pt x="799294" y="719320"/>
                      <a:pt x="807159" y="726672"/>
                      <a:pt x="815766" y="732087"/>
                    </a:cubicBezTo>
                    <a:cubicBezTo>
                      <a:pt x="824372" y="737501"/>
                      <a:pt x="836056" y="740978"/>
                      <a:pt x="844263" y="734937"/>
                    </a:cubicBezTo>
                    <a:cubicBezTo>
                      <a:pt x="840957" y="747305"/>
                      <a:pt x="859025" y="754714"/>
                      <a:pt x="871279" y="751009"/>
                    </a:cubicBezTo>
                    <a:cubicBezTo>
                      <a:pt x="883532" y="747305"/>
                      <a:pt x="894931" y="738413"/>
                      <a:pt x="907641" y="740237"/>
                    </a:cubicBezTo>
                    <a:cubicBezTo>
                      <a:pt x="915506" y="741377"/>
                      <a:pt x="922289" y="744569"/>
                      <a:pt x="929812" y="741947"/>
                    </a:cubicBezTo>
                    <a:cubicBezTo>
                      <a:pt x="937335" y="739325"/>
                      <a:pt x="941895" y="728268"/>
                      <a:pt x="935512" y="723196"/>
                    </a:cubicBezTo>
                    <a:cubicBezTo>
                      <a:pt x="941650" y="717798"/>
                      <a:pt x="949629" y="714966"/>
                      <a:pt x="957797" y="715274"/>
                    </a:cubicBezTo>
                    <a:cubicBezTo>
                      <a:pt x="959575" y="718038"/>
                      <a:pt x="959831" y="721514"/>
                      <a:pt x="958480" y="724507"/>
                    </a:cubicBezTo>
                    <a:cubicBezTo>
                      <a:pt x="964180" y="726046"/>
                      <a:pt x="969879" y="723937"/>
                      <a:pt x="975978" y="724507"/>
                    </a:cubicBezTo>
                    <a:cubicBezTo>
                      <a:pt x="982076" y="725077"/>
                      <a:pt x="988403" y="730206"/>
                      <a:pt x="986009" y="735621"/>
                    </a:cubicBezTo>
                    <a:cubicBezTo>
                      <a:pt x="984014" y="740066"/>
                      <a:pt x="977973" y="740294"/>
                      <a:pt x="973128" y="739895"/>
                    </a:cubicBezTo>
                    <a:lnTo>
                      <a:pt x="977232" y="756082"/>
                    </a:lnTo>
                    <a:lnTo>
                      <a:pt x="984983" y="756082"/>
                    </a:lnTo>
                    <a:cubicBezTo>
                      <a:pt x="986345" y="762021"/>
                      <a:pt x="989508" y="767395"/>
                      <a:pt x="994045" y="771470"/>
                    </a:cubicBezTo>
                    <a:cubicBezTo>
                      <a:pt x="998947" y="775061"/>
                      <a:pt x="1007382" y="774320"/>
                      <a:pt x="1009491" y="768621"/>
                    </a:cubicBezTo>
                    <a:cubicBezTo>
                      <a:pt x="1013423" y="758134"/>
                      <a:pt x="993304" y="747704"/>
                      <a:pt x="1000030" y="738698"/>
                    </a:cubicBezTo>
                    <a:cubicBezTo>
                      <a:pt x="1002281" y="736407"/>
                      <a:pt x="1005228" y="734925"/>
                      <a:pt x="1008408" y="734481"/>
                    </a:cubicBezTo>
                    <a:cubicBezTo>
                      <a:pt x="1020627" y="730953"/>
                      <a:pt x="1031622" y="724079"/>
                      <a:pt x="1040154" y="714647"/>
                    </a:cubicBezTo>
                    <a:cubicBezTo>
                      <a:pt x="1043528" y="711637"/>
                      <a:pt x="1045329" y="707249"/>
                      <a:pt x="1045055" y="702735"/>
                    </a:cubicBezTo>
                    <a:cubicBezTo>
                      <a:pt x="1043916" y="697035"/>
                      <a:pt x="1037646" y="694527"/>
                      <a:pt x="1033657" y="690481"/>
                    </a:cubicBezTo>
                    <a:cubicBezTo>
                      <a:pt x="1029667" y="686434"/>
                      <a:pt x="1030750" y="676859"/>
                      <a:pt x="1036335" y="677999"/>
                    </a:cubicBezTo>
                    <a:cubicBezTo>
                      <a:pt x="1034745" y="672938"/>
                      <a:pt x="1029735" y="669758"/>
                      <a:pt x="1024480" y="670476"/>
                    </a:cubicBezTo>
                    <a:cubicBezTo>
                      <a:pt x="1025506" y="665973"/>
                      <a:pt x="1020662" y="662097"/>
                      <a:pt x="1016045" y="661585"/>
                    </a:cubicBezTo>
                    <a:cubicBezTo>
                      <a:pt x="1011429" y="661072"/>
                      <a:pt x="1006869" y="662496"/>
                      <a:pt x="1002309" y="662154"/>
                    </a:cubicBezTo>
                    <a:cubicBezTo>
                      <a:pt x="995350" y="661009"/>
                      <a:pt x="988910" y="657766"/>
                      <a:pt x="983843" y="652864"/>
                    </a:cubicBezTo>
                    <a:cubicBezTo>
                      <a:pt x="978571" y="649690"/>
                      <a:pt x="974935" y="644389"/>
                      <a:pt x="973869" y="638331"/>
                    </a:cubicBezTo>
                    <a:cubicBezTo>
                      <a:pt x="973869" y="632289"/>
                      <a:pt x="982589" y="626932"/>
                      <a:pt x="986009" y="632175"/>
                    </a:cubicBezTo>
                    <a:cubicBezTo>
                      <a:pt x="989144" y="628813"/>
                      <a:pt x="986579" y="623170"/>
                      <a:pt x="982988" y="620320"/>
                    </a:cubicBezTo>
                    <a:cubicBezTo>
                      <a:pt x="979398" y="617471"/>
                      <a:pt x="974781" y="615533"/>
                      <a:pt x="972501" y="611543"/>
                    </a:cubicBezTo>
                    <a:cubicBezTo>
                      <a:pt x="969925" y="604880"/>
                      <a:pt x="973242" y="597386"/>
                      <a:pt x="979905" y="594809"/>
                    </a:cubicBezTo>
                    <a:cubicBezTo>
                      <a:pt x="980264" y="594673"/>
                      <a:pt x="980623" y="594553"/>
                      <a:pt x="980993" y="594445"/>
                    </a:cubicBezTo>
                    <a:cubicBezTo>
                      <a:pt x="988312" y="592843"/>
                      <a:pt x="995966" y="594553"/>
                      <a:pt x="1001910" y="599118"/>
                    </a:cubicBezTo>
                    <a:cubicBezTo>
                      <a:pt x="1008750" y="595186"/>
                      <a:pt x="994729" y="585155"/>
                      <a:pt x="998092" y="578030"/>
                    </a:cubicBezTo>
                    <a:cubicBezTo>
                      <a:pt x="999243" y="576349"/>
                      <a:pt x="1000714" y="574918"/>
                      <a:pt x="1002423" y="573813"/>
                    </a:cubicBezTo>
                    <a:cubicBezTo>
                      <a:pt x="1009947" y="567600"/>
                      <a:pt x="1009776" y="555802"/>
                      <a:pt x="1006356" y="546683"/>
                    </a:cubicBezTo>
                    <a:cubicBezTo>
                      <a:pt x="1002936" y="537564"/>
                      <a:pt x="997123" y="529585"/>
                      <a:pt x="994957" y="519725"/>
                    </a:cubicBezTo>
                    <a:cubicBezTo>
                      <a:pt x="991594" y="504108"/>
                      <a:pt x="999061" y="488378"/>
                      <a:pt x="1006356" y="474129"/>
                    </a:cubicBezTo>
                    <a:cubicBezTo>
                      <a:pt x="1021300" y="468613"/>
                      <a:pt x="1037361" y="466833"/>
                      <a:pt x="1053149" y="468942"/>
                    </a:cubicBezTo>
                    <a:cubicBezTo>
                      <a:pt x="1071672" y="471735"/>
                      <a:pt x="1090309" y="480854"/>
                      <a:pt x="1108377" y="475782"/>
                    </a:cubicBezTo>
                    <a:lnTo>
                      <a:pt x="1104729" y="480968"/>
                    </a:lnTo>
                    <a:cubicBezTo>
                      <a:pt x="1097251" y="490249"/>
                      <a:pt x="1091968" y="501102"/>
                      <a:pt x="1089283" y="512714"/>
                    </a:cubicBezTo>
                    <a:cubicBezTo>
                      <a:pt x="1077885" y="512714"/>
                      <a:pt x="1076973" y="536139"/>
                      <a:pt x="1066087" y="533688"/>
                    </a:cubicBezTo>
                    <a:cubicBezTo>
                      <a:pt x="1063408" y="532641"/>
                      <a:pt x="1061020" y="530959"/>
                      <a:pt x="1059133" y="528787"/>
                    </a:cubicBezTo>
                    <a:cubicBezTo>
                      <a:pt x="1049763" y="520921"/>
                      <a:pt x="1036233" y="520473"/>
                      <a:pt x="1026361" y="527704"/>
                    </a:cubicBezTo>
                    <a:cubicBezTo>
                      <a:pt x="1031462" y="528355"/>
                      <a:pt x="1036261" y="530496"/>
                      <a:pt x="1040154" y="533859"/>
                    </a:cubicBezTo>
                    <a:cubicBezTo>
                      <a:pt x="1043682" y="537273"/>
                      <a:pt x="1043773" y="542904"/>
                      <a:pt x="1040353" y="546432"/>
                    </a:cubicBezTo>
                    <a:cubicBezTo>
                      <a:pt x="1040114" y="546683"/>
                      <a:pt x="1039852" y="546917"/>
                      <a:pt x="1039584" y="547139"/>
                    </a:cubicBezTo>
                    <a:cubicBezTo>
                      <a:pt x="1029023" y="551528"/>
                      <a:pt x="1022115" y="561810"/>
                      <a:pt x="1022030" y="573243"/>
                    </a:cubicBezTo>
                    <a:cubicBezTo>
                      <a:pt x="1028641" y="571413"/>
                      <a:pt x="1035725" y="572832"/>
                      <a:pt x="1041123" y="577061"/>
                    </a:cubicBezTo>
                    <a:cubicBezTo>
                      <a:pt x="1046589" y="580338"/>
                      <a:pt x="1050772" y="585388"/>
                      <a:pt x="1052978" y="591367"/>
                    </a:cubicBezTo>
                    <a:cubicBezTo>
                      <a:pt x="1055024" y="597500"/>
                      <a:pt x="1053154" y="604259"/>
                      <a:pt x="1048247" y="608465"/>
                    </a:cubicBezTo>
                    <a:cubicBezTo>
                      <a:pt x="1059464" y="615060"/>
                      <a:pt x="1070310" y="622275"/>
                      <a:pt x="1080734" y="630066"/>
                    </a:cubicBezTo>
                    <a:cubicBezTo>
                      <a:pt x="1084496" y="632859"/>
                      <a:pt x="1088656" y="637533"/>
                      <a:pt x="1086434" y="641465"/>
                    </a:cubicBezTo>
                    <a:cubicBezTo>
                      <a:pt x="1080335" y="640901"/>
                      <a:pt x="1074744" y="644908"/>
                      <a:pt x="1073325" y="650869"/>
                    </a:cubicBezTo>
                    <a:cubicBezTo>
                      <a:pt x="1072157" y="656666"/>
                      <a:pt x="1072453" y="662656"/>
                      <a:pt x="1074180" y="668310"/>
                    </a:cubicBezTo>
                    <a:cubicBezTo>
                      <a:pt x="1088206" y="661111"/>
                      <a:pt x="1105379" y="664998"/>
                      <a:pt x="1114931" y="677543"/>
                    </a:cubicBezTo>
                    <a:cubicBezTo>
                      <a:pt x="1104689" y="677788"/>
                      <a:pt x="1095644" y="684280"/>
                      <a:pt x="1092133" y="693901"/>
                    </a:cubicBezTo>
                    <a:lnTo>
                      <a:pt x="1103532" y="694698"/>
                    </a:lnTo>
                    <a:cubicBezTo>
                      <a:pt x="1106000" y="702507"/>
                      <a:pt x="1107100" y="710680"/>
                      <a:pt x="1106781" y="718864"/>
                    </a:cubicBezTo>
                    <a:lnTo>
                      <a:pt x="1119833" y="719548"/>
                    </a:lnTo>
                    <a:cubicBezTo>
                      <a:pt x="1115558" y="707465"/>
                      <a:pt x="1124449" y="695040"/>
                      <a:pt x="1132827" y="685351"/>
                    </a:cubicBezTo>
                    <a:cubicBezTo>
                      <a:pt x="1133506" y="684422"/>
                      <a:pt x="1134406" y="683676"/>
                      <a:pt x="1135449" y="683185"/>
                    </a:cubicBezTo>
                    <a:cubicBezTo>
                      <a:pt x="1137165" y="682861"/>
                      <a:pt x="1138943" y="683203"/>
                      <a:pt x="1140408" y="684154"/>
                    </a:cubicBezTo>
                    <a:cubicBezTo>
                      <a:pt x="1154599" y="691108"/>
                      <a:pt x="1170501" y="703248"/>
                      <a:pt x="1167366" y="718693"/>
                    </a:cubicBezTo>
                    <a:cubicBezTo>
                      <a:pt x="1158766" y="719656"/>
                      <a:pt x="1152570" y="727413"/>
                      <a:pt x="1153539" y="736020"/>
                    </a:cubicBezTo>
                    <a:cubicBezTo>
                      <a:pt x="1153813" y="738436"/>
                      <a:pt x="1154639" y="740762"/>
                      <a:pt x="1155967" y="742802"/>
                    </a:cubicBezTo>
                    <a:cubicBezTo>
                      <a:pt x="1158019" y="745310"/>
                      <a:pt x="1160812" y="747134"/>
                      <a:pt x="1162921" y="749641"/>
                    </a:cubicBezTo>
                    <a:cubicBezTo>
                      <a:pt x="1165708" y="754195"/>
                      <a:pt x="1168056" y="759006"/>
                      <a:pt x="1169931" y="764004"/>
                    </a:cubicBezTo>
                    <a:cubicBezTo>
                      <a:pt x="1172496" y="768735"/>
                      <a:pt x="1178081" y="772838"/>
                      <a:pt x="1182983" y="770615"/>
                    </a:cubicBezTo>
                    <a:lnTo>
                      <a:pt x="1184693" y="759786"/>
                    </a:lnTo>
                    <a:cubicBezTo>
                      <a:pt x="1191395" y="761975"/>
                      <a:pt x="1198605" y="758310"/>
                      <a:pt x="1200788" y="751608"/>
                    </a:cubicBezTo>
                    <a:cubicBezTo>
                      <a:pt x="1201289" y="750075"/>
                      <a:pt x="1201495" y="748456"/>
                      <a:pt x="1201392" y="746849"/>
                    </a:cubicBezTo>
                    <a:cubicBezTo>
                      <a:pt x="1192336" y="747225"/>
                      <a:pt x="1184687" y="740192"/>
                      <a:pt x="1184305" y="731135"/>
                    </a:cubicBezTo>
                    <a:cubicBezTo>
                      <a:pt x="1184299" y="730879"/>
                      <a:pt x="1184294" y="730628"/>
                      <a:pt x="1184294" y="730377"/>
                    </a:cubicBezTo>
                    <a:cubicBezTo>
                      <a:pt x="1192421" y="732554"/>
                      <a:pt x="1200212" y="735854"/>
                      <a:pt x="1207433" y="740180"/>
                    </a:cubicBezTo>
                    <a:cubicBezTo>
                      <a:pt x="1205541" y="735381"/>
                      <a:pt x="1206584" y="729921"/>
                      <a:pt x="1210112" y="726160"/>
                    </a:cubicBezTo>
                    <a:cubicBezTo>
                      <a:pt x="1212056" y="724661"/>
                      <a:pt x="1213828" y="722962"/>
                      <a:pt x="1215413" y="721087"/>
                    </a:cubicBezTo>
                    <a:cubicBezTo>
                      <a:pt x="1217750" y="717553"/>
                      <a:pt x="1216895" y="712937"/>
                      <a:pt x="1217864" y="708890"/>
                    </a:cubicBezTo>
                    <a:cubicBezTo>
                      <a:pt x="1218832" y="704843"/>
                      <a:pt x="1224190" y="701139"/>
                      <a:pt x="1226869" y="704274"/>
                    </a:cubicBezTo>
                    <a:cubicBezTo>
                      <a:pt x="1228544" y="698927"/>
                      <a:pt x="1232848" y="694818"/>
                      <a:pt x="1238268" y="693388"/>
                    </a:cubicBezTo>
                    <a:cubicBezTo>
                      <a:pt x="1237926" y="686833"/>
                      <a:pt x="1230972" y="683072"/>
                      <a:pt x="1225159" y="680051"/>
                    </a:cubicBezTo>
                    <a:cubicBezTo>
                      <a:pt x="1219345" y="677030"/>
                      <a:pt x="1213019" y="671274"/>
                      <a:pt x="1214957" y="665574"/>
                    </a:cubicBezTo>
                    <a:cubicBezTo>
                      <a:pt x="1232340" y="664377"/>
                      <a:pt x="1249781" y="663522"/>
                      <a:pt x="1267164" y="663009"/>
                    </a:cubicBezTo>
                    <a:cubicBezTo>
                      <a:pt x="1269717" y="662639"/>
                      <a:pt x="1272322" y="663118"/>
                      <a:pt x="1274573" y="664377"/>
                    </a:cubicBezTo>
                    <a:cubicBezTo>
                      <a:pt x="1277138" y="666144"/>
                      <a:pt x="1277936" y="669621"/>
                      <a:pt x="1279874" y="672129"/>
                    </a:cubicBezTo>
                    <a:cubicBezTo>
                      <a:pt x="1283750" y="677144"/>
                      <a:pt x="1291273" y="677201"/>
                      <a:pt x="1296972" y="679994"/>
                    </a:cubicBezTo>
                    <a:cubicBezTo>
                      <a:pt x="1302672" y="682787"/>
                      <a:pt x="1305123" y="693217"/>
                      <a:pt x="1298853" y="694186"/>
                    </a:cubicBezTo>
                    <a:cubicBezTo>
                      <a:pt x="1305772" y="698016"/>
                      <a:pt x="1311027" y="704268"/>
                      <a:pt x="1313615" y="711740"/>
                    </a:cubicBezTo>
                    <a:lnTo>
                      <a:pt x="1278050" y="711740"/>
                    </a:lnTo>
                    <a:lnTo>
                      <a:pt x="1301133" y="749812"/>
                    </a:lnTo>
                    <a:cubicBezTo>
                      <a:pt x="1303014" y="752212"/>
                      <a:pt x="1303966" y="755204"/>
                      <a:pt x="1303812" y="758248"/>
                    </a:cubicBezTo>
                    <a:cubicBezTo>
                      <a:pt x="1303179" y="760619"/>
                      <a:pt x="1301851" y="762744"/>
                      <a:pt x="1299993" y="764346"/>
                    </a:cubicBezTo>
                    <a:cubicBezTo>
                      <a:pt x="1290247" y="774371"/>
                      <a:pt x="1279429" y="783297"/>
                      <a:pt x="1267734" y="790963"/>
                    </a:cubicBezTo>
                    <a:cubicBezTo>
                      <a:pt x="1271097" y="794895"/>
                      <a:pt x="1264143" y="800595"/>
                      <a:pt x="1259470" y="798372"/>
                    </a:cubicBezTo>
                    <a:cubicBezTo>
                      <a:pt x="1254796" y="796149"/>
                      <a:pt x="1253029" y="790621"/>
                      <a:pt x="1251319" y="785719"/>
                    </a:cubicBezTo>
                    <a:cubicBezTo>
                      <a:pt x="1250054" y="779923"/>
                      <a:pt x="1246270" y="774993"/>
                      <a:pt x="1241003" y="772268"/>
                    </a:cubicBezTo>
                    <a:cubicBezTo>
                      <a:pt x="1235304" y="770273"/>
                      <a:pt x="1227952" y="775745"/>
                      <a:pt x="1230402" y="781045"/>
                    </a:cubicBezTo>
                    <a:cubicBezTo>
                      <a:pt x="1240890" y="778652"/>
                      <a:pt x="1250180" y="793812"/>
                      <a:pt x="1243283" y="802076"/>
                    </a:cubicBezTo>
                    <a:cubicBezTo>
                      <a:pt x="1236387" y="810341"/>
                      <a:pt x="1219801" y="803957"/>
                      <a:pt x="1220485" y="793185"/>
                    </a:cubicBezTo>
                    <a:cubicBezTo>
                      <a:pt x="1215099" y="788763"/>
                      <a:pt x="1208460" y="786129"/>
                      <a:pt x="1201506" y="785662"/>
                    </a:cubicBezTo>
                    <a:cubicBezTo>
                      <a:pt x="1194610" y="785662"/>
                      <a:pt x="1187599" y="792672"/>
                      <a:pt x="1189822" y="799227"/>
                    </a:cubicBezTo>
                    <a:cubicBezTo>
                      <a:pt x="1192045" y="805781"/>
                      <a:pt x="1201620" y="806864"/>
                      <a:pt x="1208972" y="806294"/>
                    </a:cubicBezTo>
                    <a:lnTo>
                      <a:pt x="1197801" y="819460"/>
                    </a:lnTo>
                    <a:cubicBezTo>
                      <a:pt x="1190050" y="828579"/>
                      <a:pt x="1180361" y="838553"/>
                      <a:pt x="1168449" y="837356"/>
                    </a:cubicBezTo>
                    <a:cubicBezTo>
                      <a:pt x="1150781" y="835475"/>
                      <a:pt x="1138812" y="809429"/>
                      <a:pt x="1122055" y="815470"/>
                    </a:cubicBezTo>
                    <a:cubicBezTo>
                      <a:pt x="1119650" y="819847"/>
                      <a:pt x="1120625" y="825308"/>
                      <a:pt x="1124392" y="828579"/>
                    </a:cubicBezTo>
                    <a:cubicBezTo>
                      <a:pt x="1128160" y="831651"/>
                      <a:pt x="1132588" y="833794"/>
                      <a:pt x="1137330" y="834848"/>
                    </a:cubicBezTo>
                    <a:lnTo>
                      <a:pt x="1180817" y="848014"/>
                    </a:lnTo>
                    <a:lnTo>
                      <a:pt x="1170672" y="863061"/>
                    </a:lnTo>
                    <a:cubicBezTo>
                      <a:pt x="1164061" y="872978"/>
                      <a:pt x="1155397" y="883978"/>
                      <a:pt x="1143485" y="883864"/>
                    </a:cubicBezTo>
                    <a:cubicBezTo>
                      <a:pt x="1141023" y="883733"/>
                      <a:pt x="1138584" y="883368"/>
                      <a:pt x="1136190" y="882781"/>
                    </a:cubicBezTo>
                    <a:lnTo>
                      <a:pt x="1119092" y="879076"/>
                    </a:lnTo>
                    <a:cubicBezTo>
                      <a:pt x="1126045" y="884776"/>
                      <a:pt x="1121144" y="896973"/>
                      <a:pt x="1112822" y="899879"/>
                    </a:cubicBezTo>
                    <a:cubicBezTo>
                      <a:pt x="1104501" y="902786"/>
                      <a:pt x="1095325" y="899423"/>
                      <a:pt x="1087118" y="896118"/>
                    </a:cubicBezTo>
                    <a:lnTo>
                      <a:pt x="1075320" y="891387"/>
                    </a:lnTo>
                    <a:cubicBezTo>
                      <a:pt x="1069039" y="888435"/>
                      <a:pt x="1062285" y="886622"/>
                      <a:pt x="1055372" y="886030"/>
                    </a:cubicBezTo>
                    <a:cubicBezTo>
                      <a:pt x="1048350" y="885534"/>
                      <a:pt x="1041584" y="888783"/>
                      <a:pt x="1037589" y="894579"/>
                    </a:cubicBezTo>
                    <a:cubicBezTo>
                      <a:pt x="1050236" y="892470"/>
                      <a:pt x="1063151" y="896272"/>
                      <a:pt x="1072641" y="904895"/>
                    </a:cubicBezTo>
                    <a:lnTo>
                      <a:pt x="1103190" y="914299"/>
                    </a:lnTo>
                    <a:cubicBezTo>
                      <a:pt x="1105014" y="923247"/>
                      <a:pt x="1093501" y="928434"/>
                      <a:pt x="1084496" y="929802"/>
                    </a:cubicBezTo>
                    <a:cubicBezTo>
                      <a:pt x="1075491" y="931170"/>
                      <a:pt x="1063807" y="935045"/>
                      <a:pt x="1064206" y="944107"/>
                    </a:cubicBezTo>
                    <a:cubicBezTo>
                      <a:pt x="1051713" y="951767"/>
                      <a:pt x="1041020" y="962032"/>
                      <a:pt x="1032859" y="974201"/>
                    </a:cubicBezTo>
                    <a:cubicBezTo>
                      <a:pt x="1020434" y="990615"/>
                      <a:pt x="1014962" y="1011247"/>
                      <a:pt x="1011771" y="1031537"/>
                    </a:cubicBezTo>
                    <a:cubicBezTo>
                      <a:pt x="1009776" y="1043962"/>
                      <a:pt x="1008693" y="1057242"/>
                      <a:pt x="1014107" y="1068584"/>
                    </a:cubicBezTo>
                    <a:cubicBezTo>
                      <a:pt x="1019522" y="1079926"/>
                      <a:pt x="1033657" y="1087962"/>
                      <a:pt x="1044998" y="1082491"/>
                    </a:cubicBezTo>
                    <a:cubicBezTo>
                      <a:pt x="1056397" y="1103579"/>
                      <a:pt x="1067796" y="1128086"/>
                      <a:pt x="1059190" y="1150428"/>
                    </a:cubicBezTo>
                    <a:cubicBezTo>
                      <a:pt x="1081190" y="1133803"/>
                      <a:pt x="1111472" y="1133501"/>
                      <a:pt x="1133796" y="1149687"/>
                    </a:cubicBezTo>
                    <a:cubicBezTo>
                      <a:pt x="1140237" y="1154532"/>
                      <a:pt x="1145651" y="1160573"/>
                      <a:pt x="1152092" y="1165418"/>
                    </a:cubicBezTo>
                    <a:cubicBezTo>
                      <a:pt x="1156902" y="1168917"/>
                      <a:pt x="1162037" y="1171949"/>
                      <a:pt x="1167423" y="1174480"/>
                    </a:cubicBezTo>
                    <a:cubicBezTo>
                      <a:pt x="1203655" y="1192633"/>
                      <a:pt x="1243414" y="1202670"/>
                      <a:pt x="1283920" y="1203889"/>
                    </a:cubicBezTo>
                    <a:lnTo>
                      <a:pt x="1285801" y="1270003"/>
                    </a:lnTo>
                    <a:cubicBezTo>
                      <a:pt x="1285801" y="1278211"/>
                      <a:pt x="1286770" y="1287444"/>
                      <a:pt x="1293040" y="1292801"/>
                    </a:cubicBezTo>
                    <a:cubicBezTo>
                      <a:pt x="1296642" y="1295172"/>
                      <a:pt x="1300455" y="1297190"/>
                      <a:pt x="1304439" y="1298843"/>
                    </a:cubicBezTo>
                    <a:cubicBezTo>
                      <a:pt x="1313102" y="1303687"/>
                      <a:pt x="1318288" y="1312806"/>
                      <a:pt x="1324273" y="1320786"/>
                    </a:cubicBezTo>
                    <a:cubicBezTo>
                      <a:pt x="1330257" y="1328765"/>
                      <a:pt x="1338863" y="1336345"/>
                      <a:pt x="1348781" y="1335547"/>
                    </a:cubicBezTo>
                    <a:cubicBezTo>
                      <a:pt x="1349989" y="1327676"/>
                      <a:pt x="1357347" y="1322273"/>
                      <a:pt x="1365218" y="1323476"/>
                    </a:cubicBezTo>
                    <a:cubicBezTo>
                      <a:pt x="1366124" y="1323618"/>
                      <a:pt x="1367013" y="1323840"/>
                      <a:pt x="1367874" y="1324148"/>
                    </a:cubicBezTo>
                    <a:cubicBezTo>
                      <a:pt x="1367190" y="1317480"/>
                      <a:pt x="1366449" y="1310811"/>
                      <a:pt x="1365708" y="1304200"/>
                    </a:cubicBezTo>
                    <a:cubicBezTo>
                      <a:pt x="1370495" y="1307221"/>
                      <a:pt x="1375397" y="1299071"/>
                      <a:pt x="1373231" y="1293770"/>
                    </a:cubicBezTo>
                    <a:cubicBezTo>
                      <a:pt x="1371065" y="1288469"/>
                      <a:pt x="1365879" y="1284879"/>
                      <a:pt x="1364226" y="1279464"/>
                    </a:cubicBezTo>
                    <a:cubicBezTo>
                      <a:pt x="1363485" y="1275492"/>
                      <a:pt x="1363485" y="1271411"/>
                      <a:pt x="1364226" y="1267439"/>
                    </a:cubicBezTo>
                    <a:cubicBezTo>
                      <a:pt x="1365566" y="1250300"/>
                      <a:pt x="1358965" y="1233498"/>
                      <a:pt x="1346330" y="1221843"/>
                    </a:cubicBezTo>
                    <a:lnTo>
                      <a:pt x="1406801" y="1178185"/>
                    </a:lnTo>
                    <a:cubicBezTo>
                      <a:pt x="1411247" y="1175506"/>
                      <a:pt x="1414997" y="1171813"/>
                      <a:pt x="1417744" y="1167413"/>
                    </a:cubicBezTo>
                    <a:cubicBezTo>
                      <a:pt x="1419505" y="1163577"/>
                      <a:pt x="1420343" y="1159376"/>
                      <a:pt x="1420195" y="1155159"/>
                    </a:cubicBezTo>
                    <a:cubicBezTo>
                      <a:pt x="1420303" y="1141680"/>
                      <a:pt x="1416798" y="1128417"/>
                      <a:pt x="1410050" y="1116744"/>
                    </a:cubicBezTo>
                    <a:cubicBezTo>
                      <a:pt x="1407058" y="1112487"/>
                      <a:pt x="1404732" y="1107796"/>
                      <a:pt x="1403153" y="1102838"/>
                    </a:cubicBezTo>
                    <a:cubicBezTo>
                      <a:pt x="1401273" y="1094459"/>
                      <a:pt x="1405034" y="1084770"/>
                      <a:pt x="1400418" y="1077475"/>
                    </a:cubicBezTo>
                    <a:cubicBezTo>
                      <a:pt x="1397454" y="1072801"/>
                      <a:pt x="1391869" y="1070693"/>
                      <a:pt x="1387594" y="1067216"/>
                    </a:cubicBezTo>
                    <a:cubicBezTo>
                      <a:pt x="1383319" y="1063739"/>
                      <a:pt x="1380355" y="1056843"/>
                      <a:pt x="1384288" y="1052910"/>
                    </a:cubicBezTo>
                    <a:cubicBezTo>
                      <a:pt x="1386910" y="1050232"/>
                      <a:pt x="1391356" y="1050460"/>
                      <a:pt x="1394718" y="1048693"/>
                    </a:cubicBezTo>
                    <a:cubicBezTo>
                      <a:pt x="1403609" y="1044076"/>
                      <a:pt x="1399620" y="1030226"/>
                      <a:pt x="1392951" y="1022703"/>
                    </a:cubicBezTo>
                    <a:cubicBezTo>
                      <a:pt x="1386283" y="1015180"/>
                      <a:pt x="1377335" y="1006631"/>
                      <a:pt x="1380184" y="996998"/>
                    </a:cubicBezTo>
                    <a:cubicBezTo>
                      <a:pt x="1384847" y="997511"/>
                      <a:pt x="1389566" y="996867"/>
                      <a:pt x="1393920" y="995118"/>
                    </a:cubicBezTo>
                    <a:cubicBezTo>
                      <a:pt x="1398280" y="993174"/>
                      <a:pt x="1400543" y="988307"/>
                      <a:pt x="1399221" y="983719"/>
                    </a:cubicBezTo>
                    <a:cubicBezTo>
                      <a:pt x="1396713" y="978019"/>
                      <a:pt x="1388449" y="978019"/>
                      <a:pt x="1383718" y="974087"/>
                    </a:cubicBezTo>
                    <a:cubicBezTo>
                      <a:pt x="1376138" y="967589"/>
                      <a:pt x="1381153" y="955278"/>
                      <a:pt x="1386568" y="946900"/>
                    </a:cubicBezTo>
                    <a:cubicBezTo>
                      <a:pt x="1409497" y="948194"/>
                      <a:pt x="1432255" y="951591"/>
                      <a:pt x="1454563" y="957045"/>
                    </a:cubicBezTo>
                    <a:cubicBezTo>
                      <a:pt x="1460028" y="958208"/>
                      <a:pt x="1465301" y="960129"/>
                      <a:pt x="1470236" y="962745"/>
                    </a:cubicBezTo>
                    <a:cubicBezTo>
                      <a:pt x="1482034" y="969413"/>
                      <a:pt x="1488645" y="982465"/>
                      <a:pt x="1499133" y="991242"/>
                    </a:cubicBezTo>
                    <a:cubicBezTo>
                      <a:pt x="1516687" y="1005605"/>
                      <a:pt x="1541708" y="1005149"/>
                      <a:pt x="1564335" y="1003952"/>
                    </a:cubicBezTo>
                    <a:cubicBezTo>
                      <a:pt x="1569578" y="1010278"/>
                      <a:pt x="1559490" y="1017688"/>
                      <a:pt x="1555614" y="1024983"/>
                    </a:cubicBezTo>
                    <a:cubicBezTo>
                      <a:pt x="1550941" y="1033703"/>
                      <a:pt x="1556013" y="1044247"/>
                      <a:pt x="1561314" y="1052739"/>
                    </a:cubicBezTo>
                    <a:cubicBezTo>
                      <a:pt x="1567013" y="1062827"/>
                      <a:pt x="1573910" y="1073599"/>
                      <a:pt x="1584739" y="1077988"/>
                    </a:cubicBezTo>
                    <a:cubicBezTo>
                      <a:pt x="1589013" y="1079037"/>
                      <a:pt x="1593049" y="1080872"/>
                      <a:pt x="1596651" y="1083402"/>
                    </a:cubicBezTo>
                    <a:cubicBezTo>
                      <a:pt x="1600640" y="1087221"/>
                      <a:pt x="1601096" y="1093377"/>
                      <a:pt x="1603604" y="1098278"/>
                    </a:cubicBezTo>
                    <a:cubicBezTo>
                      <a:pt x="1606112" y="1103180"/>
                      <a:pt x="1613920" y="1106371"/>
                      <a:pt x="1616713" y="1101641"/>
                    </a:cubicBezTo>
                    <a:lnTo>
                      <a:pt x="1633811" y="1084200"/>
                    </a:lnTo>
                    <a:cubicBezTo>
                      <a:pt x="1635777" y="1080781"/>
                      <a:pt x="1640029" y="1079419"/>
                      <a:pt x="1643614" y="1081066"/>
                    </a:cubicBezTo>
                    <a:cubicBezTo>
                      <a:pt x="1646008" y="1080724"/>
                      <a:pt x="1649998" y="1080268"/>
                      <a:pt x="1652334" y="1079869"/>
                    </a:cubicBezTo>
                    <a:cubicBezTo>
                      <a:pt x="1657464" y="1063340"/>
                      <a:pt x="1662536" y="1046812"/>
                      <a:pt x="1667666" y="1030283"/>
                    </a:cubicBezTo>
                    <a:cubicBezTo>
                      <a:pt x="1668162" y="1028038"/>
                      <a:pt x="1669404" y="1026026"/>
                      <a:pt x="1671200" y="1024584"/>
                    </a:cubicBezTo>
                    <a:cubicBezTo>
                      <a:pt x="1675132" y="1022133"/>
                      <a:pt x="1680262" y="1026351"/>
                      <a:pt x="1680946" y="1030910"/>
                    </a:cubicBezTo>
                    <a:cubicBezTo>
                      <a:pt x="1681008" y="1035516"/>
                      <a:pt x="1680159" y="1040087"/>
                      <a:pt x="1678438" y="1044361"/>
                    </a:cubicBezTo>
                    <a:cubicBezTo>
                      <a:pt x="1676808" y="1048784"/>
                      <a:pt x="1677948" y="1053748"/>
                      <a:pt x="1681345" y="1057014"/>
                    </a:cubicBezTo>
                    <a:cubicBezTo>
                      <a:pt x="1683112" y="1058211"/>
                      <a:pt x="1685277" y="1058553"/>
                      <a:pt x="1687044" y="1059693"/>
                    </a:cubicBezTo>
                    <a:cubicBezTo>
                      <a:pt x="1692060" y="1062941"/>
                      <a:pt x="1691262" y="1070294"/>
                      <a:pt x="1691889" y="1076221"/>
                    </a:cubicBezTo>
                    <a:cubicBezTo>
                      <a:pt x="1694682" y="1102610"/>
                      <a:pt x="1731329" y="1111330"/>
                      <a:pt x="1742215" y="1135496"/>
                    </a:cubicBezTo>
                    <a:cubicBezTo>
                      <a:pt x="1744062" y="1138659"/>
                      <a:pt x="1744273" y="1142523"/>
                      <a:pt x="1742785" y="1145869"/>
                    </a:cubicBezTo>
                    <a:cubicBezTo>
                      <a:pt x="1737884" y="1154247"/>
                      <a:pt x="1723806" y="1145299"/>
                      <a:pt x="1715485" y="1150200"/>
                    </a:cubicBezTo>
                    <a:cubicBezTo>
                      <a:pt x="1716442" y="1156230"/>
                      <a:pt x="1722102" y="1160345"/>
                      <a:pt x="1728137" y="1159394"/>
                    </a:cubicBezTo>
                    <a:cubicBezTo>
                      <a:pt x="1728776" y="1159291"/>
                      <a:pt x="1729408" y="1159131"/>
                      <a:pt x="1730018" y="1158920"/>
                    </a:cubicBezTo>
                    <a:lnTo>
                      <a:pt x="1730816" y="1167128"/>
                    </a:lnTo>
                    <a:lnTo>
                      <a:pt x="1738682" y="1167128"/>
                    </a:lnTo>
                    <a:cubicBezTo>
                      <a:pt x="1737895" y="1173591"/>
                      <a:pt x="1739343" y="1180128"/>
                      <a:pt x="1742785" y="1185651"/>
                    </a:cubicBezTo>
                    <a:cubicBezTo>
                      <a:pt x="1746461" y="1190849"/>
                      <a:pt x="1751129" y="1195266"/>
                      <a:pt x="1756521" y="1198646"/>
                    </a:cubicBezTo>
                    <a:cubicBezTo>
                      <a:pt x="1776469" y="1212382"/>
                      <a:pt x="1802117" y="1221444"/>
                      <a:pt x="1824914" y="1213521"/>
                    </a:cubicBezTo>
                    <a:cubicBezTo>
                      <a:pt x="1826938" y="1215642"/>
                      <a:pt x="1827679" y="1218685"/>
                      <a:pt x="1826852" y="1221501"/>
                    </a:cubicBezTo>
                    <a:cubicBezTo>
                      <a:pt x="1825821" y="1224208"/>
                      <a:pt x="1823911" y="1226493"/>
                      <a:pt x="1821438" y="1227998"/>
                    </a:cubicBezTo>
                    <a:cubicBezTo>
                      <a:pt x="1812718" y="1233698"/>
                      <a:pt x="1801490" y="1234439"/>
                      <a:pt x="1791687" y="1238371"/>
                    </a:cubicBezTo>
                    <a:cubicBezTo>
                      <a:pt x="1781883" y="1242304"/>
                      <a:pt x="1772935" y="1253247"/>
                      <a:pt x="1777495" y="1262708"/>
                    </a:cubicBezTo>
                    <a:cubicBezTo>
                      <a:pt x="1786836" y="1260434"/>
                      <a:pt x="1795722" y="1256575"/>
                      <a:pt x="1803769" y="1251309"/>
                    </a:cubicBezTo>
                    <a:cubicBezTo>
                      <a:pt x="1814029" y="1244584"/>
                      <a:pt x="1824914" y="1235179"/>
                      <a:pt x="1836769" y="1238143"/>
                    </a:cubicBezTo>
                    <a:lnTo>
                      <a:pt x="1835231" y="1259003"/>
                    </a:lnTo>
                    <a:cubicBezTo>
                      <a:pt x="1841739" y="1260405"/>
                      <a:pt x="1848522" y="1258507"/>
                      <a:pt x="1853355" y="1253931"/>
                    </a:cubicBezTo>
                    <a:cubicBezTo>
                      <a:pt x="1855646" y="1256815"/>
                      <a:pt x="1855897" y="1260816"/>
                      <a:pt x="1853982" y="1263962"/>
                    </a:cubicBezTo>
                    <a:cubicBezTo>
                      <a:pt x="1863420" y="1264230"/>
                      <a:pt x="1870858" y="1272095"/>
                      <a:pt x="1870590" y="1281533"/>
                    </a:cubicBezTo>
                    <a:cubicBezTo>
                      <a:pt x="1870584" y="1281721"/>
                      <a:pt x="1870579" y="1281904"/>
                      <a:pt x="1870567" y="1282086"/>
                    </a:cubicBezTo>
                    <a:lnTo>
                      <a:pt x="1857686" y="1282599"/>
                    </a:lnTo>
                    <a:cubicBezTo>
                      <a:pt x="1857704" y="1289068"/>
                      <a:pt x="1862742" y="1294403"/>
                      <a:pt x="1869199" y="1294796"/>
                    </a:cubicBezTo>
                    <a:close/>
                    <a:moveTo>
                      <a:pt x="521673" y="794724"/>
                    </a:moveTo>
                    <a:cubicBezTo>
                      <a:pt x="521582" y="793299"/>
                      <a:pt x="520898" y="791977"/>
                      <a:pt x="519792" y="791077"/>
                    </a:cubicBezTo>
                    <a:cubicBezTo>
                      <a:pt x="518589" y="790484"/>
                      <a:pt x="517250" y="790227"/>
                      <a:pt x="515916" y="790336"/>
                    </a:cubicBezTo>
                    <a:lnTo>
                      <a:pt x="502409" y="790336"/>
                    </a:lnTo>
                    <a:cubicBezTo>
                      <a:pt x="501559" y="797010"/>
                      <a:pt x="496874" y="802561"/>
                      <a:pt x="490440" y="804527"/>
                    </a:cubicBezTo>
                    <a:cubicBezTo>
                      <a:pt x="484125" y="806402"/>
                      <a:pt x="477445" y="806653"/>
                      <a:pt x="471005" y="805268"/>
                    </a:cubicBezTo>
                    <a:cubicBezTo>
                      <a:pt x="469756" y="805160"/>
                      <a:pt x="468565" y="804687"/>
                      <a:pt x="467585" y="803900"/>
                    </a:cubicBezTo>
                    <a:cubicBezTo>
                      <a:pt x="466810" y="802920"/>
                      <a:pt x="466354" y="801729"/>
                      <a:pt x="466274" y="800481"/>
                    </a:cubicBezTo>
                    <a:cubicBezTo>
                      <a:pt x="465761" y="798001"/>
                      <a:pt x="465761" y="795437"/>
                      <a:pt x="466274" y="792957"/>
                    </a:cubicBezTo>
                    <a:cubicBezTo>
                      <a:pt x="466833" y="790415"/>
                      <a:pt x="468930" y="788495"/>
                      <a:pt x="471517" y="788170"/>
                    </a:cubicBezTo>
                    <a:cubicBezTo>
                      <a:pt x="473341" y="788170"/>
                      <a:pt x="475450" y="789082"/>
                      <a:pt x="476818" y="787828"/>
                    </a:cubicBezTo>
                    <a:cubicBezTo>
                      <a:pt x="477394" y="787195"/>
                      <a:pt x="477753" y="786397"/>
                      <a:pt x="477844" y="785548"/>
                    </a:cubicBezTo>
                    <a:cubicBezTo>
                      <a:pt x="478756" y="781444"/>
                      <a:pt x="479668" y="777398"/>
                      <a:pt x="480523" y="773351"/>
                    </a:cubicBezTo>
                    <a:cubicBezTo>
                      <a:pt x="471409" y="773340"/>
                      <a:pt x="462301" y="773990"/>
                      <a:pt x="453279" y="775289"/>
                    </a:cubicBezTo>
                    <a:cubicBezTo>
                      <a:pt x="446896" y="775129"/>
                      <a:pt x="440723" y="777580"/>
                      <a:pt x="436181" y="782071"/>
                    </a:cubicBezTo>
                    <a:cubicBezTo>
                      <a:pt x="435246" y="783747"/>
                      <a:pt x="434049" y="785263"/>
                      <a:pt x="432647" y="786574"/>
                    </a:cubicBezTo>
                    <a:cubicBezTo>
                      <a:pt x="429056" y="789196"/>
                      <a:pt x="423642" y="786574"/>
                      <a:pt x="419652" y="788398"/>
                    </a:cubicBezTo>
                    <a:cubicBezTo>
                      <a:pt x="415663" y="790222"/>
                      <a:pt x="415093" y="794097"/>
                      <a:pt x="412300" y="796662"/>
                    </a:cubicBezTo>
                    <a:cubicBezTo>
                      <a:pt x="408612" y="799027"/>
                      <a:pt x="404235" y="800087"/>
                      <a:pt x="399875" y="799683"/>
                    </a:cubicBezTo>
                    <a:cubicBezTo>
                      <a:pt x="386681" y="800834"/>
                      <a:pt x="373692" y="803684"/>
                      <a:pt x="361233" y="808175"/>
                    </a:cubicBezTo>
                    <a:cubicBezTo>
                      <a:pt x="360110" y="810141"/>
                      <a:pt x="360788" y="812649"/>
                      <a:pt x="362754" y="813772"/>
                    </a:cubicBezTo>
                    <a:cubicBezTo>
                      <a:pt x="362817" y="813812"/>
                      <a:pt x="362880" y="813840"/>
                      <a:pt x="362943" y="813874"/>
                    </a:cubicBezTo>
                    <a:cubicBezTo>
                      <a:pt x="364966" y="814826"/>
                      <a:pt x="367229" y="815162"/>
                      <a:pt x="369440" y="814843"/>
                    </a:cubicBezTo>
                    <a:lnTo>
                      <a:pt x="394347" y="813874"/>
                    </a:lnTo>
                    <a:cubicBezTo>
                      <a:pt x="395099" y="813903"/>
                      <a:pt x="395840" y="813681"/>
                      <a:pt x="396455" y="813247"/>
                    </a:cubicBezTo>
                    <a:cubicBezTo>
                      <a:pt x="397481" y="812279"/>
                      <a:pt x="396854" y="810569"/>
                      <a:pt x="397082" y="809144"/>
                    </a:cubicBezTo>
                    <a:cubicBezTo>
                      <a:pt x="397310" y="807719"/>
                      <a:pt x="399704" y="805724"/>
                      <a:pt x="401756" y="805040"/>
                    </a:cubicBezTo>
                    <a:cubicBezTo>
                      <a:pt x="411092" y="801900"/>
                      <a:pt x="421277" y="802407"/>
                      <a:pt x="430253" y="806465"/>
                    </a:cubicBezTo>
                    <a:cubicBezTo>
                      <a:pt x="432191" y="807320"/>
                      <a:pt x="434300" y="808688"/>
                      <a:pt x="434585" y="810797"/>
                    </a:cubicBezTo>
                    <a:cubicBezTo>
                      <a:pt x="434653" y="812854"/>
                      <a:pt x="433519" y="814769"/>
                      <a:pt x="431678" y="815698"/>
                    </a:cubicBezTo>
                    <a:cubicBezTo>
                      <a:pt x="427637" y="817750"/>
                      <a:pt x="422918" y="817995"/>
                      <a:pt x="418683" y="816382"/>
                    </a:cubicBezTo>
                    <a:cubicBezTo>
                      <a:pt x="417042" y="815710"/>
                      <a:pt x="415269" y="815413"/>
                      <a:pt x="413497" y="815527"/>
                    </a:cubicBezTo>
                    <a:cubicBezTo>
                      <a:pt x="410402" y="816428"/>
                      <a:pt x="408151" y="819107"/>
                      <a:pt x="407797" y="822310"/>
                    </a:cubicBezTo>
                    <a:cubicBezTo>
                      <a:pt x="407484" y="825427"/>
                      <a:pt x="406931" y="828511"/>
                      <a:pt x="406144" y="831543"/>
                    </a:cubicBezTo>
                    <a:cubicBezTo>
                      <a:pt x="403808" y="836991"/>
                      <a:pt x="397692" y="839739"/>
                      <a:pt x="392067" y="837869"/>
                    </a:cubicBezTo>
                    <a:cubicBezTo>
                      <a:pt x="391696" y="841899"/>
                      <a:pt x="391810" y="845951"/>
                      <a:pt x="392409" y="849952"/>
                    </a:cubicBezTo>
                    <a:cubicBezTo>
                      <a:pt x="392346" y="851839"/>
                      <a:pt x="393822" y="853423"/>
                      <a:pt x="395715" y="853486"/>
                    </a:cubicBezTo>
                    <a:cubicBezTo>
                      <a:pt x="395732" y="853486"/>
                      <a:pt x="395754" y="853486"/>
                      <a:pt x="395771" y="853486"/>
                    </a:cubicBezTo>
                    <a:cubicBezTo>
                      <a:pt x="403591" y="854654"/>
                      <a:pt x="411576" y="853292"/>
                      <a:pt x="418569" y="849610"/>
                    </a:cubicBezTo>
                    <a:cubicBezTo>
                      <a:pt x="425483" y="845962"/>
                      <a:pt x="431883" y="841426"/>
                      <a:pt x="437606" y="836102"/>
                    </a:cubicBezTo>
                    <a:cubicBezTo>
                      <a:pt x="439361" y="834347"/>
                      <a:pt x="441481" y="833002"/>
                      <a:pt x="443818" y="832170"/>
                    </a:cubicBezTo>
                    <a:cubicBezTo>
                      <a:pt x="446246" y="831429"/>
                      <a:pt x="448873" y="832381"/>
                      <a:pt x="450258" y="834506"/>
                    </a:cubicBezTo>
                    <a:cubicBezTo>
                      <a:pt x="450703" y="835567"/>
                      <a:pt x="450840" y="836735"/>
                      <a:pt x="450657" y="837869"/>
                    </a:cubicBezTo>
                    <a:cubicBezTo>
                      <a:pt x="450298" y="841790"/>
                      <a:pt x="448440" y="845427"/>
                      <a:pt x="445471" y="848014"/>
                    </a:cubicBezTo>
                    <a:cubicBezTo>
                      <a:pt x="442849" y="850351"/>
                      <a:pt x="439771" y="851719"/>
                      <a:pt x="436922" y="854113"/>
                    </a:cubicBezTo>
                    <a:cubicBezTo>
                      <a:pt x="434078" y="856353"/>
                      <a:pt x="433223" y="860297"/>
                      <a:pt x="434870" y="863517"/>
                    </a:cubicBezTo>
                    <a:cubicBezTo>
                      <a:pt x="444616" y="863517"/>
                      <a:pt x="449062" y="850123"/>
                      <a:pt x="458352" y="847216"/>
                    </a:cubicBezTo>
                    <a:cubicBezTo>
                      <a:pt x="461258" y="846361"/>
                      <a:pt x="464393" y="846532"/>
                      <a:pt x="467300" y="845734"/>
                    </a:cubicBezTo>
                    <a:cubicBezTo>
                      <a:pt x="472515" y="844230"/>
                      <a:pt x="476316" y="839733"/>
                      <a:pt x="476932" y="834336"/>
                    </a:cubicBezTo>
                    <a:cubicBezTo>
                      <a:pt x="476943" y="832318"/>
                      <a:pt x="477194" y="830312"/>
                      <a:pt x="477673" y="828351"/>
                    </a:cubicBezTo>
                    <a:cubicBezTo>
                      <a:pt x="479440" y="823791"/>
                      <a:pt x="485367" y="822937"/>
                      <a:pt x="490212" y="823051"/>
                    </a:cubicBezTo>
                    <a:cubicBezTo>
                      <a:pt x="495045" y="823461"/>
                      <a:pt x="499907" y="822999"/>
                      <a:pt x="504574" y="821683"/>
                    </a:cubicBezTo>
                    <a:cubicBezTo>
                      <a:pt x="509379" y="820309"/>
                      <a:pt x="512730" y="815966"/>
                      <a:pt x="512839" y="810968"/>
                    </a:cubicBezTo>
                    <a:cubicBezTo>
                      <a:pt x="512440" y="809338"/>
                      <a:pt x="512440" y="807639"/>
                      <a:pt x="512839" y="806009"/>
                    </a:cubicBezTo>
                    <a:cubicBezTo>
                      <a:pt x="513637" y="804413"/>
                      <a:pt x="515631" y="803843"/>
                      <a:pt x="517227" y="802874"/>
                    </a:cubicBezTo>
                    <a:cubicBezTo>
                      <a:pt x="520151" y="801239"/>
                      <a:pt x="521878" y="798070"/>
                      <a:pt x="521673" y="794724"/>
                    </a:cubicBezTo>
                    <a:close/>
                    <a:moveTo>
                      <a:pt x="687755" y="934988"/>
                    </a:moveTo>
                    <a:cubicBezTo>
                      <a:pt x="686530" y="933700"/>
                      <a:pt x="684940" y="932828"/>
                      <a:pt x="683196" y="932480"/>
                    </a:cubicBezTo>
                    <a:cubicBezTo>
                      <a:pt x="676659" y="931996"/>
                      <a:pt x="670207" y="934173"/>
                      <a:pt x="665300" y="938522"/>
                    </a:cubicBezTo>
                    <a:cubicBezTo>
                      <a:pt x="664410" y="939041"/>
                      <a:pt x="663618" y="939719"/>
                      <a:pt x="662963" y="940517"/>
                    </a:cubicBezTo>
                    <a:cubicBezTo>
                      <a:pt x="662507" y="941201"/>
                      <a:pt x="662279" y="941999"/>
                      <a:pt x="661823" y="942682"/>
                    </a:cubicBezTo>
                    <a:cubicBezTo>
                      <a:pt x="658859" y="947527"/>
                      <a:pt x="651108" y="944848"/>
                      <a:pt x="646092" y="947470"/>
                    </a:cubicBezTo>
                    <a:cubicBezTo>
                      <a:pt x="641077" y="950092"/>
                      <a:pt x="639538" y="958527"/>
                      <a:pt x="633781" y="960180"/>
                    </a:cubicBezTo>
                    <a:cubicBezTo>
                      <a:pt x="632015" y="960693"/>
                      <a:pt x="630077" y="960180"/>
                      <a:pt x="628082" y="961035"/>
                    </a:cubicBezTo>
                    <a:cubicBezTo>
                      <a:pt x="626190" y="961981"/>
                      <a:pt x="624446" y="963189"/>
                      <a:pt x="622896" y="964625"/>
                    </a:cubicBezTo>
                    <a:cubicBezTo>
                      <a:pt x="618222" y="967623"/>
                      <a:pt x="612237" y="967623"/>
                      <a:pt x="607564" y="964625"/>
                    </a:cubicBezTo>
                    <a:cubicBezTo>
                      <a:pt x="603004" y="961542"/>
                      <a:pt x="600155" y="956498"/>
                      <a:pt x="599870" y="951004"/>
                    </a:cubicBezTo>
                    <a:cubicBezTo>
                      <a:pt x="594170" y="952087"/>
                      <a:pt x="589098" y="946729"/>
                      <a:pt x="586533" y="941429"/>
                    </a:cubicBezTo>
                    <a:cubicBezTo>
                      <a:pt x="585860" y="939451"/>
                      <a:pt x="584584" y="937741"/>
                      <a:pt x="582885" y="936527"/>
                    </a:cubicBezTo>
                    <a:cubicBezTo>
                      <a:pt x="581039" y="935900"/>
                      <a:pt x="579032" y="935900"/>
                      <a:pt x="577186" y="936527"/>
                    </a:cubicBezTo>
                    <a:lnTo>
                      <a:pt x="564761" y="938864"/>
                    </a:lnTo>
                    <a:cubicBezTo>
                      <a:pt x="563758" y="939012"/>
                      <a:pt x="562795" y="939343"/>
                      <a:pt x="561911" y="939833"/>
                    </a:cubicBezTo>
                    <a:cubicBezTo>
                      <a:pt x="558947" y="941657"/>
                      <a:pt x="559745" y="946558"/>
                      <a:pt x="562481" y="948667"/>
                    </a:cubicBezTo>
                    <a:cubicBezTo>
                      <a:pt x="565456" y="950479"/>
                      <a:pt x="568927" y="951300"/>
                      <a:pt x="572398" y="951004"/>
                    </a:cubicBezTo>
                    <a:cubicBezTo>
                      <a:pt x="570842" y="954184"/>
                      <a:pt x="571196" y="957968"/>
                      <a:pt x="573310" y="960807"/>
                    </a:cubicBezTo>
                    <a:cubicBezTo>
                      <a:pt x="575191" y="963942"/>
                      <a:pt x="577642" y="967418"/>
                      <a:pt x="576559" y="970895"/>
                    </a:cubicBezTo>
                    <a:cubicBezTo>
                      <a:pt x="575174" y="973802"/>
                      <a:pt x="572524" y="975905"/>
                      <a:pt x="569377" y="976594"/>
                    </a:cubicBezTo>
                    <a:cubicBezTo>
                      <a:pt x="565052" y="978025"/>
                      <a:pt x="560577" y="978982"/>
                      <a:pt x="556041" y="979444"/>
                    </a:cubicBezTo>
                    <a:cubicBezTo>
                      <a:pt x="556611" y="985144"/>
                      <a:pt x="556611" y="991641"/>
                      <a:pt x="551880" y="994491"/>
                    </a:cubicBezTo>
                    <a:cubicBezTo>
                      <a:pt x="549464" y="995631"/>
                      <a:pt x="546790" y="996121"/>
                      <a:pt x="544129" y="995916"/>
                    </a:cubicBezTo>
                    <a:lnTo>
                      <a:pt x="529082" y="995916"/>
                    </a:lnTo>
                    <a:cubicBezTo>
                      <a:pt x="529960" y="1000162"/>
                      <a:pt x="533015" y="1003633"/>
                      <a:pt x="537118" y="1005035"/>
                    </a:cubicBezTo>
                    <a:cubicBezTo>
                      <a:pt x="541154" y="1006408"/>
                      <a:pt x="545400" y="1007041"/>
                      <a:pt x="549657" y="1006916"/>
                    </a:cubicBezTo>
                    <a:lnTo>
                      <a:pt x="587217" y="1008112"/>
                    </a:lnTo>
                    <a:cubicBezTo>
                      <a:pt x="592381" y="1009081"/>
                      <a:pt x="597692" y="1007491"/>
                      <a:pt x="601465" y="1003838"/>
                    </a:cubicBezTo>
                    <a:cubicBezTo>
                      <a:pt x="603232" y="1001387"/>
                      <a:pt x="603460" y="998138"/>
                      <a:pt x="604999" y="995460"/>
                    </a:cubicBezTo>
                    <a:cubicBezTo>
                      <a:pt x="608647" y="989304"/>
                      <a:pt x="617424" y="989418"/>
                      <a:pt x="624491" y="990216"/>
                    </a:cubicBezTo>
                    <a:cubicBezTo>
                      <a:pt x="624873" y="984363"/>
                      <a:pt x="629336" y="979592"/>
                      <a:pt x="635149" y="978817"/>
                    </a:cubicBezTo>
                    <a:cubicBezTo>
                      <a:pt x="636494" y="978880"/>
                      <a:pt x="637834" y="978589"/>
                      <a:pt x="639025" y="977962"/>
                    </a:cubicBezTo>
                    <a:cubicBezTo>
                      <a:pt x="640678" y="976879"/>
                      <a:pt x="640735" y="974543"/>
                      <a:pt x="641362" y="972605"/>
                    </a:cubicBezTo>
                    <a:cubicBezTo>
                      <a:pt x="642525" y="969236"/>
                      <a:pt x="645562" y="966865"/>
                      <a:pt x="649113" y="966563"/>
                    </a:cubicBezTo>
                    <a:cubicBezTo>
                      <a:pt x="652248" y="966563"/>
                      <a:pt x="656123" y="967475"/>
                      <a:pt x="658004" y="964967"/>
                    </a:cubicBezTo>
                    <a:cubicBezTo>
                      <a:pt x="658802" y="963885"/>
                      <a:pt x="658916" y="962346"/>
                      <a:pt x="659714" y="961206"/>
                    </a:cubicBezTo>
                    <a:cubicBezTo>
                      <a:pt x="662165" y="958014"/>
                      <a:pt x="668491" y="960750"/>
                      <a:pt x="670657" y="957387"/>
                    </a:cubicBezTo>
                    <a:cubicBezTo>
                      <a:pt x="671854" y="955506"/>
                      <a:pt x="670999" y="952828"/>
                      <a:pt x="672310" y="951061"/>
                    </a:cubicBezTo>
                    <a:cubicBezTo>
                      <a:pt x="673621" y="949294"/>
                      <a:pt x="675559" y="949408"/>
                      <a:pt x="677439" y="949237"/>
                    </a:cubicBezTo>
                    <a:cubicBezTo>
                      <a:pt x="681070" y="949026"/>
                      <a:pt x="684490" y="947464"/>
                      <a:pt x="687015" y="944848"/>
                    </a:cubicBezTo>
                    <a:cubicBezTo>
                      <a:pt x="689534" y="942135"/>
                      <a:pt x="689841" y="938043"/>
                      <a:pt x="687755" y="934988"/>
                    </a:cubicBezTo>
                    <a:close/>
                    <a:moveTo>
                      <a:pt x="986180" y="1340563"/>
                    </a:moveTo>
                    <a:cubicBezTo>
                      <a:pt x="985411" y="1334020"/>
                      <a:pt x="982578" y="1327887"/>
                      <a:pt x="978087" y="1323065"/>
                    </a:cubicBezTo>
                    <a:cubicBezTo>
                      <a:pt x="976776" y="1322136"/>
                      <a:pt x="975590" y="1321042"/>
                      <a:pt x="974553" y="1319817"/>
                    </a:cubicBezTo>
                    <a:cubicBezTo>
                      <a:pt x="971076" y="1314744"/>
                      <a:pt x="976776" y="1307848"/>
                      <a:pt x="975351" y="1301863"/>
                    </a:cubicBezTo>
                    <a:cubicBezTo>
                      <a:pt x="972273" y="1302747"/>
                      <a:pt x="968990" y="1301430"/>
                      <a:pt x="967372" y="1298672"/>
                    </a:cubicBezTo>
                    <a:cubicBezTo>
                      <a:pt x="965861" y="1295936"/>
                      <a:pt x="964984" y="1292898"/>
                      <a:pt x="964807" y="1289780"/>
                    </a:cubicBezTo>
                    <a:cubicBezTo>
                      <a:pt x="964009" y="1283568"/>
                      <a:pt x="963268" y="1277356"/>
                      <a:pt x="962470" y="1271143"/>
                    </a:cubicBezTo>
                    <a:cubicBezTo>
                      <a:pt x="962322" y="1269148"/>
                      <a:pt x="961758" y="1267205"/>
                      <a:pt x="960817" y="1265444"/>
                    </a:cubicBezTo>
                    <a:cubicBezTo>
                      <a:pt x="958252" y="1261682"/>
                      <a:pt x="952097" y="1260998"/>
                      <a:pt x="950501" y="1256723"/>
                    </a:cubicBezTo>
                    <a:cubicBezTo>
                      <a:pt x="950142" y="1254712"/>
                      <a:pt x="950005" y="1252665"/>
                      <a:pt x="950102" y="1250625"/>
                    </a:cubicBezTo>
                    <a:cubicBezTo>
                      <a:pt x="949042" y="1244874"/>
                      <a:pt x="943793" y="1240856"/>
                      <a:pt x="937962" y="1241335"/>
                    </a:cubicBezTo>
                    <a:cubicBezTo>
                      <a:pt x="932308" y="1241996"/>
                      <a:pt x="927247" y="1245154"/>
                      <a:pt x="924170" y="1249941"/>
                    </a:cubicBezTo>
                    <a:cubicBezTo>
                      <a:pt x="922785" y="1251748"/>
                      <a:pt x="921793" y="1253828"/>
                      <a:pt x="921263" y="1256040"/>
                    </a:cubicBezTo>
                    <a:cubicBezTo>
                      <a:pt x="919667" y="1263905"/>
                      <a:pt x="926620" y="1271143"/>
                      <a:pt x="926677" y="1279179"/>
                    </a:cubicBezTo>
                    <a:cubicBezTo>
                      <a:pt x="926119" y="1282457"/>
                      <a:pt x="926256" y="1285819"/>
                      <a:pt x="927076" y="1289039"/>
                    </a:cubicBezTo>
                    <a:cubicBezTo>
                      <a:pt x="927817" y="1290339"/>
                      <a:pt x="928781" y="1291496"/>
                      <a:pt x="929926" y="1292459"/>
                    </a:cubicBezTo>
                    <a:cubicBezTo>
                      <a:pt x="936173" y="1298261"/>
                      <a:pt x="942756" y="1303687"/>
                      <a:pt x="949646" y="1308703"/>
                    </a:cubicBezTo>
                    <a:cubicBezTo>
                      <a:pt x="951447" y="1309877"/>
                      <a:pt x="953112" y="1311256"/>
                      <a:pt x="954605" y="1312806"/>
                    </a:cubicBezTo>
                    <a:cubicBezTo>
                      <a:pt x="961957" y="1321070"/>
                      <a:pt x="957512" y="1334806"/>
                      <a:pt x="962926" y="1344438"/>
                    </a:cubicBezTo>
                    <a:cubicBezTo>
                      <a:pt x="964870" y="1347077"/>
                      <a:pt x="966642" y="1349836"/>
                      <a:pt x="968227" y="1352703"/>
                    </a:cubicBezTo>
                    <a:cubicBezTo>
                      <a:pt x="968740" y="1354686"/>
                      <a:pt x="969486" y="1356595"/>
                      <a:pt x="970449" y="1358402"/>
                    </a:cubicBezTo>
                    <a:cubicBezTo>
                      <a:pt x="971589" y="1360055"/>
                      <a:pt x="974211" y="1361024"/>
                      <a:pt x="975693" y="1359656"/>
                    </a:cubicBezTo>
                    <a:cubicBezTo>
                      <a:pt x="977169" y="1356635"/>
                      <a:pt x="977728" y="1353244"/>
                      <a:pt x="977289" y="1349910"/>
                    </a:cubicBezTo>
                    <a:cubicBezTo>
                      <a:pt x="978657" y="1348029"/>
                      <a:pt x="981677" y="1349625"/>
                      <a:pt x="983900" y="1348941"/>
                    </a:cubicBezTo>
                    <a:cubicBezTo>
                      <a:pt x="986123" y="1348257"/>
                      <a:pt x="986864" y="1343811"/>
                      <a:pt x="986180" y="13405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69" name="Freihandform: Form 285">
                <a:extLst>
                  <a:ext uri="{FF2B5EF4-FFF2-40B4-BE49-F238E27FC236}">
                    <a16:creationId xmlns:a16="http://schemas.microsoft.com/office/drawing/2014/main" id="{6E9E42E3-D485-663F-125E-EAE8B1382813}"/>
                  </a:ext>
                </a:extLst>
              </p:cNvPr>
              <p:cNvSpPr/>
              <p:nvPr/>
            </p:nvSpPr>
            <p:spPr>
              <a:xfrm>
                <a:off x="85660" y="2203920"/>
                <a:ext cx="2206810" cy="1448389"/>
              </a:xfrm>
              <a:custGeom>
                <a:avLst/>
                <a:gdLst>
                  <a:gd name="connsiteX0" fmla="*/ 94447 w 2206810"/>
                  <a:gd name="connsiteY0" fmla="*/ 600251 h 1448389"/>
                  <a:gd name="connsiteX1" fmla="*/ 98949 w 2206810"/>
                  <a:gd name="connsiteY1" fmla="*/ 605153 h 1448389"/>
                  <a:gd name="connsiteX2" fmla="*/ 97524 w 2206810"/>
                  <a:gd name="connsiteY2" fmla="*/ 608630 h 1448389"/>
                  <a:gd name="connsiteX3" fmla="*/ 93022 w 2206810"/>
                  <a:gd name="connsiteY3" fmla="*/ 615982 h 1448389"/>
                  <a:gd name="connsiteX4" fmla="*/ 90400 w 2206810"/>
                  <a:gd name="connsiteY4" fmla="*/ 619458 h 1448389"/>
                  <a:gd name="connsiteX5" fmla="*/ 75866 w 2206810"/>
                  <a:gd name="connsiteY5" fmla="*/ 621396 h 1448389"/>
                  <a:gd name="connsiteX6" fmla="*/ 68457 w 2206810"/>
                  <a:gd name="connsiteY6" fmla="*/ 623049 h 1448389"/>
                  <a:gd name="connsiteX7" fmla="*/ 65094 w 2206810"/>
                  <a:gd name="connsiteY7" fmla="*/ 629661 h 1448389"/>
                  <a:gd name="connsiteX8" fmla="*/ 61162 w 2206810"/>
                  <a:gd name="connsiteY8" fmla="*/ 625500 h 1448389"/>
                  <a:gd name="connsiteX9" fmla="*/ 61162 w 2206810"/>
                  <a:gd name="connsiteY9" fmla="*/ 611935 h 1448389"/>
                  <a:gd name="connsiteX10" fmla="*/ 62758 w 2206810"/>
                  <a:gd name="connsiteY10" fmla="*/ 607832 h 1448389"/>
                  <a:gd name="connsiteX11" fmla="*/ 68457 w 2206810"/>
                  <a:gd name="connsiteY11" fmla="*/ 607091 h 1448389"/>
                  <a:gd name="connsiteX12" fmla="*/ 87436 w 2206810"/>
                  <a:gd name="connsiteY12" fmla="*/ 601391 h 1448389"/>
                  <a:gd name="connsiteX13" fmla="*/ 94447 w 2206810"/>
                  <a:gd name="connsiteY13" fmla="*/ 600251 h 1448389"/>
                  <a:gd name="connsiteX14" fmla="*/ 37452 w 2206810"/>
                  <a:gd name="connsiteY14" fmla="*/ 440324 h 1448389"/>
                  <a:gd name="connsiteX15" fmla="*/ 46286 w 2206810"/>
                  <a:gd name="connsiteY15" fmla="*/ 438956 h 1448389"/>
                  <a:gd name="connsiteX16" fmla="*/ 47141 w 2206810"/>
                  <a:gd name="connsiteY16" fmla="*/ 429837 h 1448389"/>
                  <a:gd name="connsiteX17" fmla="*/ 37224 w 2206810"/>
                  <a:gd name="connsiteY17" fmla="*/ 426303 h 1448389"/>
                  <a:gd name="connsiteX18" fmla="*/ 35001 w 2206810"/>
                  <a:gd name="connsiteY18" fmla="*/ 422998 h 1448389"/>
                  <a:gd name="connsiteX19" fmla="*/ 32151 w 2206810"/>
                  <a:gd name="connsiteY19" fmla="*/ 417868 h 1448389"/>
                  <a:gd name="connsiteX20" fmla="*/ 17960 w 2206810"/>
                  <a:gd name="connsiteY20" fmla="*/ 416785 h 1448389"/>
                  <a:gd name="connsiteX21" fmla="*/ 14654 w 2206810"/>
                  <a:gd name="connsiteY21" fmla="*/ 430920 h 1448389"/>
                  <a:gd name="connsiteX22" fmla="*/ 15395 w 2206810"/>
                  <a:gd name="connsiteY22" fmla="*/ 433998 h 1448389"/>
                  <a:gd name="connsiteX23" fmla="*/ 17846 w 2206810"/>
                  <a:gd name="connsiteY23" fmla="*/ 435366 h 1448389"/>
                  <a:gd name="connsiteX24" fmla="*/ 37281 w 2206810"/>
                  <a:gd name="connsiteY24" fmla="*/ 440153 h 1448389"/>
                  <a:gd name="connsiteX25" fmla="*/ 288229 w 2206810"/>
                  <a:gd name="connsiteY25" fmla="*/ 524847 h 1448389"/>
                  <a:gd name="connsiteX26" fmla="*/ 305327 w 2206810"/>
                  <a:gd name="connsiteY26" fmla="*/ 517096 h 1448389"/>
                  <a:gd name="connsiteX27" fmla="*/ 323338 w 2206810"/>
                  <a:gd name="connsiteY27" fmla="*/ 509972 h 1448389"/>
                  <a:gd name="connsiteX28" fmla="*/ 327498 w 2206810"/>
                  <a:gd name="connsiteY28" fmla="*/ 504614 h 1448389"/>
                  <a:gd name="connsiteX29" fmla="*/ 332799 w 2206810"/>
                  <a:gd name="connsiteY29" fmla="*/ 496521 h 1448389"/>
                  <a:gd name="connsiteX30" fmla="*/ 347731 w 2206810"/>
                  <a:gd name="connsiteY30" fmla="*/ 480562 h 1448389"/>
                  <a:gd name="connsiteX31" fmla="*/ 334395 w 2206810"/>
                  <a:gd name="connsiteY31" fmla="*/ 482044 h 1448389"/>
                  <a:gd name="connsiteX32" fmla="*/ 331260 w 2206810"/>
                  <a:gd name="connsiteY32" fmla="*/ 483526 h 1448389"/>
                  <a:gd name="connsiteX33" fmla="*/ 326244 w 2206810"/>
                  <a:gd name="connsiteY33" fmla="*/ 489226 h 1448389"/>
                  <a:gd name="connsiteX34" fmla="*/ 307322 w 2206810"/>
                  <a:gd name="connsiteY34" fmla="*/ 509573 h 1448389"/>
                  <a:gd name="connsiteX35" fmla="*/ 299001 w 2206810"/>
                  <a:gd name="connsiteY35" fmla="*/ 514531 h 1448389"/>
                  <a:gd name="connsiteX36" fmla="*/ 295068 w 2206810"/>
                  <a:gd name="connsiteY36" fmla="*/ 515329 h 1448389"/>
                  <a:gd name="connsiteX37" fmla="*/ 288001 w 2206810"/>
                  <a:gd name="connsiteY37" fmla="*/ 524676 h 1448389"/>
                  <a:gd name="connsiteX38" fmla="*/ 766700 w 2206810"/>
                  <a:gd name="connsiteY38" fmla="*/ 630459 h 1448389"/>
                  <a:gd name="connsiteX39" fmla="*/ 764306 w 2206810"/>
                  <a:gd name="connsiteY39" fmla="*/ 634961 h 1448389"/>
                  <a:gd name="connsiteX40" fmla="*/ 764306 w 2206810"/>
                  <a:gd name="connsiteY40" fmla="*/ 645106 h 1448389"/>
                  <a:gd name="connsiteX41" fmla="*/ 772171 w 2206810"/>
                  <a:gd name="connsiteY41" fmla="*/ 653427 h 1448389"/>
                  <a:gd name="connsiteX42" fmla="*/ 773482 w 2206810"/>
                  <a:gd name="connsiteY42" fmla="*/ 667163 h 1448389"/>
                  <a:gd name="connsiteX43" fmla="*/ 780264 w 2206810"/>
                  <a:gd name="connsiteY43" fmla="*/ 670868 h 1448389"/>
                  <a:gd name="connsiteX44" fmla="*/ 788244 w 2206810"/>
                  <a:gd name="connsiteY44" fmla="*/ 670868 h 1448389"/>
                  <a:gd name="connsiteX45" fmla="*/ 793031 w 2206810"/>
                  <a:gd name="connsiteY45" fmla="*/ 648640 h 1448389"/>
                  <a:gd name="connsiteX46" fmla="*/ 790181 w 2206810"/>
                  <a:gd name="connsiteY46" fmla="*/ 640718 h 1448389"/>
                  <a:gd name="connsiteX47" fmla="*/ 786762 w 2206810"/>
                  <a:gd name="connsiteY47" fmla="*/ 633137 h 1448389"/>
                  <a:gd name="connsiteX48" fmla="*/ 785109 w 2206810"/>
                  <a:gd name="connsiteY48" fmla="*/ 630686 h 1448389"/>
                  <a:gd name="connsiteX49" fmla="*/ 782202 w 2206810"/>
                  <a:gd name="connsiteY49" fmla="*/ 630117 h 1448389"/>
                  <a:gd name="connsiteX50" fmla="*/ 770005 w 2206810"/>
                  <a:gd name="connsiteY50" fmla="*/ 630117 h 1448389"/>
                  <a:gd name="connsiteX51" fmla="*/ 766472 w 2206810"/>
                  <a:gd name="connsiteY51" fmla="*/ 630288 h 1448389"/>
                  <a:gd name="connsiteX52" fmla="*/ 829850 w 2206810"/>
                  <a:gd name="connsiteY52" fmla="*/ 610168 h 1448389"/>
                  <a:gd name="connsiteX53" fmla="*/ 832016 w 2206810"/>
                  <a:gd name="connsiteY53" fmla="*/ 600707 h 1448389"/>
                  <a:gd name="connsiteX54" fmla="*/ 837202 w 2206810"/>
                  <a:gd name="connsiteY54" fmla="*/ 597060 h 1448389"/>
                  <a:gd name="connsiteX55" fmla="*/ 839767 w 2206810"/>
                  <a:gd name="connsiteY55" fmla="*/ 592956 h 1448389"/>
                  <a:gd name="connsiteX56" fmla="*/ 822953 w 2206810"/>
                  <a:gd name="connsiteY56" fmla="*/ 575288 h 1448389"/>
                  <a:gd name="connsiteX57" fmla="*/ 834010 w 2206810"/>
                  <a:gd name="connsiteY57" fmla="*/ 565484 h 1448389"/>
                  <a:gd name="connsiteX58" fmla="*/ 807907 w 2206810"/>
                  <a:gd name="connsiteY58" fmla="*/ 551008 h 1448389"/>
                  <a:gd name="connsiteX59" fmla="*/ 801352 w 2206810"/>
                  <a:gd name="connsiteY59" fmla="*/ 549355 h 1448389"/>
                  <a:gd name="connsiteX60" fmla="*/ 795653 w 2206810"/>
                  <a:gd name="connsiteY60" fmla="*/ 543656 h 1448389"/>
                  <a:gd name="connsiteX61" fmla="*/ 782487 w 2206810"/>
                  <a:gd name="connsiteY61" fmla="*/ 523992 h 1448389"/>
                  <a:gd name="connsiteX62" fmla="*/ 778327 w 2206810"/>
                  <a:gd name="connsiteY62" fmla="*/ 516982 h 1448389"/>
                  <a:gd name="connsiteX63" fmla="*/ 774337 w 2206810"/>
                  <a:gd name="connsiteY63" fmla="*/ 506951 h 1448389"/>
                  <a:gd name="connsiteX64" fmla="*/ 764819 w 2206810"/>
                  <a:gd name="connsiteY64" fmla="*/ 492303 h 1448389"/>
                  <a:gd name="connsiteX65" fmla="*/ 762767 w 2206810"/>
                  <a:gd name="connsiteY65" fmla="*/ 485692 h 1448389"/>
                  <a:gd name="connsiteX66" fmla="*/ 755301 w 2206810"/>
                  <a:gd name="connsiteY66" fmla="*/ 482386 h 1448389"/>
                  <a:gd name="connsiteX67" fmla="*/ 747264 w 2206810"/>
                  <a:gd name="connsiteY67" fmla="*/ 474806 h 1448389"/>
                  <a:gd name="connsiteX68" fmla="*/ 729254 w 2206810"/>
                  <a:gd name="connsiteY68" fmla="*/ 450184 h 1448389"/>
                  <a:gd name="connsiteX69" fmla="*/ 715746 w 2206810"/>
                  <a:gd name="connsiteY69" fmla="*/ 437303 h 1448389"/>
                  <a:gd name="connsiteX70" fmla="*/ 699617 w 2206810"/>
                  <a:gd name="connsiteY70" fmla="*/ 442490 h 1448389"/>
                  <a:gd name="connsiteX71" fmla="*/ 698363 w 2206810"/>
                  <a:gd name="connsiteY71" fmla="*/ 444998 h 1448389"/>
                  <a:gd name="connsiteX72" fmla="*/ 694544 w 2206810"/>
                  <a:gd name="connsiteY72" fmla="*/ 445568 h 1448389"/>
                  <a:gd name="connsiteX73" fmla="*/ 679099 w 2206810"/>
                  <a:gd name="connsiteY73" fmla="*/ 455770 h 1448389"/>
                  <a:gd name="connsiteX74" fmla="*/ 671119 w 2206810"/>
                  <a:gd name="connsiteY74" fmla="*/ 456112 h 1448389"/>
                  <a:gd name="connsiteX75" fmla="*/ 655617 w 2206810"/>
                  <a:gd name="connsiteY75" fmla="*/ 448246 h 1448389"/>
                  <a:gd name="connsiteX76" fmla="*/ 652482 w 2206810"/>
                  <a:gd name="connsiteY76" fmla="*/ 437987 h 1448389"/>
                  <a:gd name="connsiteX77" fmla="*/ 642109 w 2206810"/>
                  <a:gd name="connsiteY77" fmla="*/ 437987 h 1448389"/>
                  <a:gd name="connsiteX78" fmla="*/ 632249 w 2206810"/>
                  <a:gd name="connsiteY78" fmla="*/ 435992 h 1448389"/>
                  <a:gd name="connsiteX79" fmla="*/ 632933 w 2206810"/>
                  <a:gd name="connsiteY79" fmla="*/ 428868 h 1448389"/>
                  <a:gd name="connsiteX80" fmla="*/ 634472 w 2206810"/>
                  <a:gd name="connsiteY80" fmla="*/ 416728 h 1448389"/>
                  <a:gd name="connsiteX81" fmla="*/ 625695 w 2206810"/>
                  <a:gd name="connsiteY81" fmla="*/ 409547 h 1448389"/>
                  <a:gd name="connsiteX82" fmla="*/ 620736 w 2206810"/>
                  <a:gd name="connsiteY82" fmla="*/ 411371 h 1448389"/>
                  <a:gd name="connsiteX83" fmla="*/ 588705 w 2206810"/>
                  <a:gd name="connsiteY83" fmla="*/ 412853 h 1448389"/>
                  <a:gd name="connsiteX84" fmla="*/ 588363 w 2206810"/>
                  <a:gd name="connsiteY84" fmla="*/ 56465 h 1448389"/>
                  <a:gd name="connsiteX85" fmla="*/ 558954 w 2206810"/>
                  <a:gd name="connsiteY85" fmla="*/ 39366 h 1448389"/>
                  <a:gd name="connsiteX86" fmla="*/ 546073 w 2206810"/>
                  <a:gd name="connsiteY86" fmla="*/ 35547 h 1448389"/>
                  <a:gd name="connsiteX87" fmla="*/ 533591 w 2206810"/>
                  <a:gd name="connsiteY87" fmla="*/ 41247 h 1448389"/>
                  <a:gd name="connsiteX88" fmla="*/ 516493 w 2206810"/>
                  <a:gd name="connsiteY88" fmla="*/ 64045 h 1448389"/>
                  <a:gd name="connsiteX89" fmla="*/ 497399 w 2206810"/>
                  <a:gd name="connsiteY89" fmla="*/ 55211 h 1448389"/>
                  <a:gd name="connsiteX90" fmla="*/ 477793 w 2206810"/>
                  <a:gd name="connsiteY90" fmla="*/ 49910 h 1448389"/>
                  <a:gd name="connsiteX91" fmla="*/ 475115 w 2206810"/>
                  <a:gd name="connsiteY91" fmla="*/ 61309 h 1448389"/>
                  <a:gd name="connsiteX92" fmla="*/ 449695 w 2206810"/>
                  <a:gd name="connsiteY92" fmla="*/ 72708 h 1448389"/>
                  <a:gd name="connsiteX93" fmla="*/ 436130 w 2206810"/>
                  <a:gd name="connsiteY93" fmla="*/ 64501 h 1448389"/>
                  <a:gd name="connsiteX94" fmla="*/ 389280 w 2206810"/>
                  <a:gd name="connsiteY94" fmla="*/ 42045 h 1448389"/>
                  <a:gd name="connsiteX95" fmla="*/ 376001 w 2206810"/>
                  <a:gd name="connsiteY95" fmla="*/ 44724 h 1448389"/>
                  <a:gd name="connsiteX96" fmla="*/ 366141 w 2206810"/>
                  <a:gd name="connsiteY96" fmla="*/ 37314 h 1448389"/>
                  <a:gd name="connsiteX97" fmla="*/ 366141 w 2206810"/>
                  <a:gd name="connsiteY97" fmla="*/ 31615 h 1448389"/>
                  <a:gd name="connsiteX98" fmla="*/ 354742 w 2206810"/>
                  <a:gd name="connsiteY98" fmla="*/ 27169 h 1448389"/>
                  <a:gd name="connsiteX99" fmla="*/ 352804 w 2206810"/>
                  <a:gd name="connsiteY99" fmla="*/ 20900 h 1448389"/>
                  <a:gd name="connsiteX100" fmla="*/ 341405 w 2206810"/>
                  <a:gd name="connsiteY100" fmla="*/ 13263 h 1448389"/>
                  <a:gd name="connsiteX101" fmla="*/ 335705 w 2206810"/>
                  <a:gd name="connsiteY101" fmla="*/ 2491 h 1448389"/>
                  <a:gd name="connsiteX102" fmla="*/ 292788 w 2206810"/>
                  <a:gd name="connsiteY102" fmla="*/ 6480 h 1448389"/>
                  <a:gd name="connsiteX103" fmla="*/ 285379 w 2206810"/>
                  <a:gd name="connsiteY103" fmla="*/ 2263 h 1448389"/>
                  <a:gd name="connsiteX104" fmla="*/ 269990 w 2206810"/>
                  <a:gd name="connsiteY104" fmla="*/ 3003 h 1448389"/>
                  <a:gd name="connsiteX105" fmla="*/ 209633 w 2206810"/>
                  <a:gd name="connsiteY105" fmla="*/ 35320 h 1448389"/>
                  <a:gd name="connsiteX106" fmla="*/ 197835 w 2206810"/>
                  <a:gd name="connsiteY106" fmla="*/ 42501 h 1448389"/>
                  <a:gd name="connsiteX107" fmla="*/ 186436 w 2206810"/>
                  <a:gd name="connsiteY107" fmla="*/ 42501 h 1448389"/>
                  <a:gd name="connsiteX108" fmla="*/ 165177 w 2206810"/>
                  <a:gd name="connsiteY108" fmla="*/ 48200 h 1448389"/>
                  <a:gd name="connsiteX109" fmla="*/ 97524 w 2206810"/>
                  <a:gd name="connsiteY109" fmla="*/ 75900 h 1448389"/>
                  <a:gd name="connsiteX110" fmla="*/ 80768 w 2206810"/>
                  <a:gd name="connsiteY110" fmla="*/ 90604 h 1448389"/>
                  <a:gd name="connsiteX111" fmla="*/ 62245 w 2206810"/>
                  <a:gd name="connsiteY111" fmla="*/ 102003 h 1448389"/>
                  <a:gd name="connsiteX112" fmla="*/ 33747 w 2206810"/>
                  <a:gd name="connsiteY112" fmla="*/ 104967 h 1448389"/>
                  <a:gd name="connsiteX113" fmla="*/ 41442 w 2206810"/>
                  <a:gd name="connsiteY113" fmla="*/ 115169 h 1448389"/>
                  <a:gd name="connsiteX114" fmla="*/ 55519 w 2206810"/>
                  <a:gd name="connsiteY114" fmla="*/ 115169 h 1448389"/>
                  <a:gd name="connsiteX115" fmla="*/ 97809 w 2206810"/>
                  <a:gd name="connsiteY115" fmla="*/ 135858 h 1448389"/>
                  <a:gd name="connsiteX116" fmla="*/ 103509 w 2206810"/>
                  <a:gd name="connsiteY116" fmla="*/ 144977 h 1448389"/>
                  <a:gd name="connsiteX117" fmla="*/ 120151 w 2206810"/>
                  <a:gd name="connsiteY117" fmla="*/ 144977 h 1448389"/>
                  <a:gd name="connsiteX118" fmla="*/ 128131 w 2206810"/>
                  <a:gd name="connsiteY118" fmla="*/ 156775 h 1448389"/>
                  <a:gd name="connsiteX119" fmla="*/ 134571 w 2206810"/>
                  <a:gd name="connsiteY119" fmla="*/ 163045 h 1448389"/>
                  <a:gd name="connsiteX120" fmla="*/ 137763 w 2206810"/>
                  <a:gd name="connsiteY120" fmla="*/ 172164 h 1448389"/>
                  <a:gd name="connsiteX121" fmla="*/ 152068 w 2206810"/>
                  <a:gd name="connsiteY121" fmla="*/ 174729 h 1448389"/>
                  <a:gd name="connsiteX122" fmla="*/ 159307 w 2206810"/>
                  <a:gd name="connsiteY122" fmla="*/ 184076 h 1448389"/>
                  <a:gd name="connsiteX123" fmla="*/ 170136 w 2206810"/>
                  <a:gd name="connsiteY123" fmla="*/ 191314 h 1448389"/>
                  <a:gd name="connsiteX124" fmla="*/ 138789 w 2206810"/>
                  <a:gd name="connsiteY124" fmla="*/ 193423 h 1448389"/>
                  <a:gd name="connsiteX125" fmla="*/ 132291 w 2206810"/>
                  <a:gd name="connsiteY125" fmla="*/ 195247 h 1448389"/>
                  <a:gd name="connsiteX126" fmla="*/ 127789 w 2206810"/>
                  <a:gd name="connsiteY126" fmla="*/ 202998 h 1448389"/>
                  <a:gd name="connsiteX127" fmla="*/ 113770 w 2206810"/>
                  <a:gd name="connsiteY127" fmla="*/ 205170 h 1448389"/>
                  <a:gd name="connsiteX128" fmla="*/ 112001 w 2206810"/>
                  <a:gd name="connsiteY128" fmla="*/ 203511 h 1448389"/>
                  <a:gd name="connsiteX129" fmla="*/ 108467 w 2206810"/>
                  <a:gd name="connsiteY129" fmla="*/ 198381 h 1448389"/>
                  <a:gd name="connsiteX130" fmla="*/ 86809 w 2206810"/>
                  <a:gd name="connsiteY130" fmla="*/ 200490 h 1448389"/>
                  <a:gd name="connsiteX131" fmla="*/ 79514 w 2206810"/>
                  <a:gd name="connsiteY131" fmla="*/ 186185 h 1448389"/>
                  <a:gd name="connsiteX132" fmla="*/ 68115 w 2206810"/>
                  <a:gd name="connsiteY132" fmla="*/ 177635 h 1448389"/>
                  <a:gd name="connsiteX133" fmla="*/ 62416 w 2206810"/>
                  <a:gd name="connsiteY133" fmla="*/ 188236 h 1448389"/>
                  <a:gd name="connsiteX134" fmla="*/ 51473 w 2206810"/>
                  <a:gd name="connsiteY134" fmla="*/ 193252 h 1448389"/>
                  <a:gd name="connsiteX135" fmla="*/ 41271 w 2206810"/>
                  <a:gd name="connsiteY135" fmla="*/ 204024 h 1448389"/>
                  <a:gd name="connsiteX136" fmla="*/ 31354 w 2206810"/>
                  <a:gd name="connsiteY136" fmla="*/ 204024 h 1448389"/>
                  <a:gd name="connsiteX137" fmla="*/ 291 w 2206810"/>
                  <a:gd name="connsiteY137" fmla="*/ 215423 h 1448389"/>
                  <a:gd name="connsiteX138" fmla="*/ 13742 w 2206810"/>
                  <a:gd name="connsiteY138" fmla="*/ 229900 h 1448389"/>
                  <a:gd name="connsiteX139" fmla="*/ 34488 w 2206810"/>
                  <a:gd name="connsiteY139" fmla="*/ 236568 h 1448389"/>
                  <a:gd name="connsiteX140" fmla="*/ 36312 w 2206810"/>
                  <a:gd name="connsiteY140" fmla="*/ 243635 h 1448389"/>
                  <a:gd name="connsiteX141" fmla="*/ 32493 w 2206810"/>
                  <a:gd name="connsiteY141" fmla="*/ 247967 h 1448389"/>
                  <a:gd name="connsiteX142" fmla="*/ 42183 w 2206810"/>
                  <a:gd name="connsiteY142" fmla="*/ 258967 h 1448389"/>
                  <a:gd name="connsiteX143" fmla="*/ 46229 w 2206810"/>
                  <a:gd name="connsiteY143" fmla="*/ 267003 h 1448389"/>
                  <a:gd name="connsiteX144" fmla="*/ 60136 w 2206810"/>
                  <a:gd name="connsiteY144" fmla="*/ 262501 h 1448389"/>
                  <a:gd name="connsiteX145" fmla="*/ 90400 w 2206810"/>
                  <a:gd name="connsiteY145" fmla="*/ 260563 h 1448389"/>
                  <a:gd name="connsiteX146" fmla="*/ 105447 w 2206810"/>
                  <a:gd name="connsiteY146" fmla="*/ 265749 h 1448389"/>
                  <a:gd name="connsiteX147" fmla="*/ 110576 w 2206810"/>
                  <a:gd name="connsiteY147" fmla="*/ 261019 h 1448389"/>
                  <a:gd name="connsiteX148" fmla="*/ 138105 w 2206810"/>
                  <a:gd name="connsiteY148" fmla="*/ 239931 h 1448389"/>
                  <a:gd name="connsiteX149" fmla="*/ 156058 w 2206810"/>
                  <a:gd name="connsiteY149" fmla="*/ 256687 h 1448389"/>
                  <a:gd name="connsiteX150" fmla="*/ 146882 w 2206810"/>
                  <a:gd name="connsiteY150" fmla="*/ 268086 h 1448389"/>
                  <a:gd name="connsiteX151" fmla="*/ 152581 w 2206810"/>
                  <a:gd name="connsiteY151" fmla="*/ 285184 h 1448389"/>
                  <a:gd name="connsiteX152" fmla="*/ 141182 w 2206810"/>
                  <a:gd name="connsiteY152" fmla="*/ 300858 h 1448389"/>
                  <a:gd name="connsiteX153" fmla="*/ 120892 w 2206810"/>
                  <a:gd name="connsiteY153" fmla="*/ 303879 h 1448389"/>
                  <a:gd name="connsiteX154" fmla="*/ 110918 w 2206810"/>
                  <a:gd name="connsiteY154" fmla="*/ 306557 h 1448389"/>
                  <a:gd name="connsiteX155" fmla="*/ 110291 w 2206810"/>
                  <a:gd name="connsiteY155" fmla="*/ 322402 h 1448389"/>
                  <a:gd name="connsiteX156" fmla="*/ 94732 w 2206810"/>
                  <a:gd name="connsiteY156" fmla="*/ 319267 h 1448389"/>
                  <a:gd name="connsiteX157" fmla="*/ 79343 w 2206810"/>
                  <a:gd name="connsiteY157" fmla="*/ 313568 h 1448389"/>
                  <a:gd name="connsiteX158" fmla="*/ 72561 w 2206810"/>
                  <a:gd name="connsiteY158" fmla="*/ 347423 h 1448389"/>
                  <a:gd name="connsiteX159" fmla="*/ 59737 w 2206810"/>
                  <a:gd name="connsiteY159" fmla="*/ 351184 h 1448389"/>
                  <a:gd name="connsiteX160" fmla="*/ 55405 w 2206810"/>
                  <a:gd name="connsiteY160" fmla="*/ 365661 h 1448389"/>
                  <a:gd name="connsiteX161" fmla="*/ 46286 w 2206810"/>
                  <a:gd name="connsiteY161" fmla="*/ 376775 h 1448389"/>
                  <a:gd name="connsiteX162" fmla="*/ 50390 w 2206810"/>
                  <a:gd name="connsiteY162" fmla="*/ 383557 h 1448389"/>
                  <a:gd name="connsiteX163" fmla="*/ 59965 w 2206810"/>
                  <a:gd name="connsiteY163" fmla="*/ 384754 h 1448389"/>
                  <a:gd name="connsiteX164" fmla="*/ 62815 w 2206810"/>
                  <a:gd name="connsiteY164" fmla="*/ 400713 h 1448389"/>
                  <a:gd name="connsiteX165" fmla="*/ 51758 w 2206810"/>
                  <a:gd name="connsiteY165" fmla="*/ 405044 h 1448389"/>
                  <a:gd name="connsiteX166" fmla="*/ 66291 w 2206810"/>
                  <a:gd name="connsiteY166" fmla="*/ 417868 h 1448389"/>
                  <a:gd name="connsiteX167" fmla="*/ 71364 w 2206810"/>
                  <a:gd name="connsiteY167" fmla="*/ 421231 h 1448389"/>
                  <a:gd name="connsiteX168" fmla="*/ 77975 w 2206810"/>
                  <a:gd name="connsiteY168" fmla="*/ 421630 h 1448389"/>
                  <a:gd name="connsiteX169" fmla="*/ 109550 w 2206810"/>
                  <a:gd name="connsiteY169" fmla="*/ 434397 h 1448389"/>
                  <a:gd name="connsiteX170" fmla="*/ 120949 w 2206810"/>
                  <a:gd name="connsiteY170" fmla="*/ 419122 h 1448389"/>
                  <a:gd name="connsiteX171" fmla="*/ 133488 w 2206810"/>
                  <a:gd name="connsiteY171" fmla="*/ 438785 h 1448389"/>
                  <a:gd name="connsiteX172" fmla="*/ 138504 w 2206810"/>
                  <a:gd name="connsiteY172" fmla="*/ 444485 h 1448389"/>
                  <a:gd name="connsiteX173" fmla="*/ 133431 w 2206810"/>
                  <a:gd name="connsiteY173" fmla="*/ 450184 h 1448389"/>
                  <a:gd name="connsiteX174" fmla="*/ 126649 w 2206810"/>
                  <a:gd name="connsiteY174" fmla="*/ 468422 h 1448389"/>
                  <a:gd name="connsiteX175" fmla="*/ 144146 w 2206810"/>
                  <a:gd name="connsiteY175" fmla="*/ 469790 h 1448389"/>
                  <a:gd name="connsiteX176" fmla="*/ 146996 w 2206810"/>
                  <a:gd name="connsiteY176" fmla="*/ 463236 h 1448389"/>
                  <a:gd name="connsiteX177" fmla="*/ 169794 w 2206810"/>
                  <a:gd name="connsiteY177" fmla="*/ 459075 h 1448389"/>
                  <a:gd name="connsiteX178" fmla="*/ 191623 w 2206810"/>
                  <a:gd name="connsiteY178" fmla="*/ 453376 h 1448389"/>
                  <a:gd name="connsiteX179" fmla="*/ 193675 w 2206810"/>
                  <a:gd name="connsiteY179" fmla="*/ 448645 h 1448389"/>
                  <a:gd name="connsiteX180" fmla="*/ 197664 w 2206810"/>
                  <a:gd name="connsiteY180" fmla="*/ 447733 h 1448389"/>
                  <a:gd name="connsiteX181" fmla="*/ 214763 w 2206810"/>
                  <a:gd name="connsiteY181" fmla="*/ 449158 h 1448389"/>
                  <a:gd name="connsiteX182" fmla="*/ 215731 w 2206810"/>
                  <a:gd name="connsiteY182" fmla="*/ 455257 h 1448389"/>
                  <a:gd name="connsiteX183" fmla="*/ 223141 w 2206810"/>
                  <a:gd name="connsiteY183" fmla="*/ 456910 h 1448389"/>
                  <a:gd name="connsiteX184" fmla="*/ 230151 w 2206810"/>
                  <a:gd name="connsiteY184" fmla="*/ 465345 h 1448389"/>
                  <a:gd name="connsiteX185" fmla="*/ 239384 w 2206810"/>
                  <a:gd name="connsiteY185" fmla="*/ 472640 h 1448389"/>
                  <a:gd name="connsiteX186" fmla="*/ 232545 w 2206810"/>
                  <a:gd name="connsiteY186" fmla="*/ 478340 h 1448389"/>
                  <a:gd name="connsiteX187" fmla="*/ 225535 w 2206810"/>
                  <a:gd name="connsiteY187" fmla="*/ 493614 h 1448389"/>
                  <a:gd name="connsiteX188" fmla="*/ 221089 w 2206810"/>
                  <a:gd name="connsiteY188" fmla="*/ 521200 h 1448389"/>
                  <a:gd name="connsiteX189" fmla="*/ 211856 w 2206810"/>
                  <a:gd name="connsiteY189" fmla="*/ 525417 h 1448389"/>
                  <a:gd name="connsiteX190" fmla="*/ 206156 w 2206810"/>
                  <a:gd name="connsiteY190" fmla="*/ 535334 h 1448389"/>
                  <a:gd name="connsiteX191" fmla="*/ 187006 w 2206810"/>
                  <a:gd name="connsiteY191" fmla="*/ 541034 h 1448389"/>
                  <a:gd name="connsiteX192" fmla="*/ 181307 w 2206810"/>
                  <a:gd name="connsiteY192" fmla="*/ 549412 h 1448389"/>
                  <a:gd name="connsiteX193" fmla="*/ 136623 w 2206810"/>
                  <a:gd name="connsiteY193" fmla="*/ 574490 h 1448389"/>
                  <a:gd name="connsiteX194" fmla="*/ 130923 w 2206810"/>
                  <a:gd name="connsiteY194" fmla="*/ 574832 h 1448389"/>
                  <a:gd name="connsiteX195" fmla="*/ 125737 w 2206810"/>
                  <a:gd name="connsiteY195" fmla="*/ 578764 h 1448389"/>
                  <a:gd name="connsiteX196" fmla="*/ 110462 w 2206810"/>
                  <a:gd name="connsiteY196" fmla="*/ 598655 h 1448389"/>
                  <a:gd name="connsiteX197" fmla="*/ 109607 w 2206810"/>
                  <a:gd name="connsiteY197" fmla="*/ 606635 h 1448389"/>
                  <a:gd name="connsiteX198" fmla="*/ 127048 w 2206810"/>
                  <a:gd name="connsiteY198" fmla="*/ 597629 h 1448389"/>
                  <a:gd name="connsiteX199" fmla="*/ 132120 w 2206810"/>
                  <a:gd name="connsiteY199" fmla="*/ 593013 h 1448389"/>
                  <a:gd name="connsiteX200" fmla="*/ 136908 w 2206810"/>
                  <a:gd name="connsiteY200" fmla="*/ 593013 h 1448389"/>
                  <a:gd name="connsiteX201" fmla="*/ 157597 w 2206810"/>
                  <a:gd name="connsiteY201" fmla="*/ 581614 h 1448389"/>
                  <a:gd name="connsiteX202" fmla="*/ 188260 w 2206810"/>
                  <a:gd name="connsiteY202" fmla="*/ 574604 h 1448389"/>
                  <a:gd name="connsiteX203" fmla="*/ 202965 w 2206810"/>
                  <a:gd name="connsiteY203" fmla="*/ 570614 h 1448389"/>
                  <a:gd name="connsiteX204" fmla="*/ 210488 w 2206810"/>
                  <a:gd name="connsiteY204" fmla="*/ 558132 h 1448389"/>
                  <a:gd name="connsiteX205" fmla="*/ 210488 w 2206810"/>
                  <a:gd name="connsiteY205" fmla="*/ 551578 h 1448389"/>
                  <a:gd name="connsiteX206" fmla="*/ 214421 w 2206810"/>
                  <a:gd name="connsiteY206" fmla="*/ 549298 h 1448389"/>
                  <a:gd name="connsiteX207" fmla="*/ 232203 w 2206810"/>
                  <a:gd name="connsiteY207" fmla="*/ 532200 h 1448389"/>
                  <a:gd name="connsiteX208" fmla="*/ 250498 w 2206810"/>
                  <a:gd name="connsiteY208" fmla="*/ 525531 h 1448389"/>
                  <a:gd name="connsiteX209" fmla="*/ 265602 w 2206810"/>
                  <a:gd name="connsiteY209" fmla="*/ 511510 h 1448389"/>
                  <a:gd name="connsiteX210" fmla="*/ 277001 w 2206810"/>
                  <a:gd name="connsiteY210" fmla="*/ 504044 h 1448389"/>
                  <a:gd name="connsiteX211" fmla="*/ 277001 w 2206810"/>
                  <a:gd name="connsiteY211" fmla="*/ 500738 h 1448389"/>
                  <a:gd name="connsiteX212" fmla="*/ 285265 w 2206810"/>
                  <a:gd name="connsiteY212" fmla="*/ 498402 h 1448389"/>
                  <a:gd name="connsiteX213" fmla="*/ 302373 w 2206810"/>
                  <a:gd name="connsiteY213" fmla="*/ 481315 h 1448389"/>
                  <a:gd name="connsiteX214" fmla="*/ 302363 w 2206810"/>
                  <a:gd name="connsiteY214" fmla="*/ 480733 h 1448389"/>
                  <a:gd name="connsiteX215" fmla="*/ 314902 w 2206810"/>
                  <a:gd name="connsiteY215" fmla="*/ 478966 h 1448389"/>
                  <a:gd name="connsiteX216" fmla="*/ 310343 w 2206810"/>
                  <a:gd name="connsiteY216" fmla="*/ 463122 h 1448389"/>
                  <a:gd name="connsiteX217" fmla="*/ 294327 w 2206810"/>
                  <a:gd name="connsiteY217" fmla="*/ 453319 h 1448389"/>
                  <a:gd name="connsiteX218" fmla="*/ 302762 w 2206810"/>
                  <a:gd name="connsiteY218" fmla="*/ 443117 h 1448389"/>
                  <a:gd name="connsiteX219" fmla="*/ 312794 w 2206810"/>
                  <a:gd name="connsiteY219" fmla="*/ 433941 h 1448389"/>
                  <a:gd name="connsiteX220" fmla="*/ 313477 w 2206810"/>
                  <a:gd name="connsiteY220" fmla="*/ 430236 h 1448389"/>
                  <a:gd name="connsiteX221" fmla="*/ 317866 w 2206810"/>
                  <a:gd name="connsiteY221" fmla="*/ 428355 h 1448389"/>
                  <a:gd name="connsiteX222" fmla="*/ 333369 w 2206810"/>
                  <a:gd name="connsiteY222" fmla="*/ 411599 h 1448389"/>
                  <a:gd name="connsiteX223" fmla="*/ 343628 w 2206810"/>
                  <a:gd name="connsiteY223" fmla="*/ 407951 h 1448389"/>
                  <a:gd name="connsiteX224" fmla="*/ 344882 w 2206810"/>
                  <a:gd name="connsiteY224" fmla="*/ 397122 h 1448389"/>
                  <a:gd name="connsiteX225" fmla="*/ 351436 w 2206810"/>
                  <a:gd name="connsiteY225" fmla="*/ 392620 h 1448389"/>
                  <a:gd name="connsiteX226" fmla="*/ 359643 w 2206810"/>
                  <a:gd name="connsiteY226" fmla="*/ 383215 h 1448389"/>
                  <a:gd name="connsiteX227" fmla="*/ 380503 w 2206810"/>
                  <a:gd name="connsiteY227" fmla="*/ 377516 h 1448389"/>
                  <a:gd name="connsiteX228" fmla="*/ 382669 w 2206810"/>
                  <a:gd name="connsiteY228" fmla="*/ 384412 h 1448389"/>
                  <a:gd name="connsiteX229" fmla="*/ 398400 w 2206810"/>
                  <a:gd name="connsiteY229" fmla="*/ 389656 h 1448389"/>
                  <a:gd name="connsiteX230" fmla="*/ 395491 w 2206810"/>
                  <a:gd name="connsiteY230" fmla="*/ 402217 h 1448389"/>
                  <a:gd name="connsiteX231" fmla="*/ 383296 w 2206810"/>
                  <a:gd name="connsiteY231" fmla="*/ 399858 h 1448389"/>
                  <a:gd name="connsiteX232" fmla="*/ 379762 w 2206810"/>
                  <a:gd name="connsiteY232" fmla="*/ 395355 h 1448389"/>
                  <a:gd name="connsiteX233" fmla="*/ 372353 w 2206810"/>
                  <a:gd name="connsiteY233" fmla="*/ 400713 h 1448389"/>
                  <a:gd name="connsiteX234" fmla="*/ 365400 w 2206810"/>
                  <a:gd name="connsiteY234" fmla="*/ 404075 h 1448389"/>
                  <a:gd name="connsiteX235" fmla="*/ 363918 w 2206810"/>
                  <a:gd name="connsiteY235" fmla="*/ 412625 h 1448389"/>
                  <a:gd name="connsiteX236" fmla="*/ 352519 w 2206810"/>
                  <a:gd name="connsiteY236" fmla="*/ 426246 h 1448389"/>
                  <a:gd name="connsiteX237" fmla="*/ 353887 w 2206810"/>
                  <a:gd name="connsiteY237" fmla="*/ 434055 h 1448389"/>
                  <a:gd name="connsiteX238" fmla="*/ 360099 w 2206810"/>
                  <a:gd name="connsiteY238" fmla="*/ 440039 h 1448389"/>
                  <a:gd name="connsiteX239" fmla="*/ 355798 w 2206810"/>
                  <a:gd name="connsiteY239" fmla="*/ 451250 h 1448389"/>
                  <a:gd name="connsiteX240" fmla="*/ 350239 w 2206810"/>
                  <a:gd name="connsiteY240" fmla="*/ 451723 h 1448389"/>
                  <a:gd name="connsiteX241" fmla="*/ 354856 w 2206810"/>
                  <a:gd name="connsiteY241" fmla="*/ 460842 h 1448389"/>
                  <a:gd name="connsiteX242" fmla="*/ 365115 w 2206810"/>
                  <a:gd name="connsiteY242" fmla="*/ 460842 h 1448389"/>
                  <a:gd name="connsiteX243" fmla="*/ 376001 w 2206810"/>
                  <a:gd name="connsiteY243" fmla="*/ 445796 h 1448389"/>
                  <a:gd name="connsiteX244" fmla="*/ 391104 w 2206810"/>
                  <a:gd name="connsiteY244" fmla="*/ 442205 h 1448389"/>
                  <a:gd name="connsiteX245" fmla="*/ 403415 w 2206810"/>
                  <a:gd name="connsiteY245" fmla="*/ 430806 h 1448389"/>
                  <a:gd name="connsiteX246" fmla="*/ 422052 w 2206810"/>
                  <a:gd name="connsiteY246" fmla="*/ 430806 h 1448389"/>
                  <a:gd name="connsiteX247" fmla="*/ 436814 w 2206810"/>
                  <a:gd name="connsiteY247" fmla="*/ 422257 h 1448389"/>
                  <a:gd name="connsiteX248" fmla="*/ 427638 w 2206810"/>
                  <a:gd name="connsiteY248" fmla="*/ 407153 h 1448389"/>
                  <a:gd name="connsiteX249" fmla="*/ 428094 w 2206810"/>
                  <a:gd name="connsiteY249" fmla="*/ 385552 h 1448389"/>
                  <a:gd name="connsiteX250" fmla="*/ 450892 w 2206810"/>
                  <a:gd name="connsiteY250" fmla="*/ 386236 h 1448389"/>
                  <a:gd name="connsiteX251" fmla="*/ 463146 w 2206810"/>
                  <a:gd name="connsiteY251" fmla="*/ 397635 h 1448389"/>
                  <a:gd name="connsiteX252" fmla="*/ 478135 w 2206810"/>
                  <a:gd name="connsiteY252" fmla="*/ 403049 h 1448389"/>
                  <a:gd name="connsiteX253" fmla="*/ 462747 w 2206810"/>
                  <a:gd name="connsiteY253" fmla="*/ 415474 h 1448389"/>
                  <a:gd name="connsiteX254" fmla="*/ 497627 w 2206810"/>
                  <a:gd name="connsiteY254" fmla="*/ 414790 h 1448389"/>
                  <a:gd name="connsiteX255" fmla="*/ 506918 w 2206810"/>
                  <a:gd name="connsiteY255" fmla="*/ 410288 h 1448389"/>
                  <a:gd name="connsiteX256" fmla="*/ 510565 w 2206810"/>
                  <a:gd name="connsiteY256" fmla="*/ 403904 h 1448389"/>
                  <a:gd name="connsiteX257" fmla="*/ 527094 w 2206810"/>
                  <a:gd name="connsiteY257" fmla="*/ 399231 h 1448389"/>
                  <a:gd name="connsiteX258" fmla="*/ 544192 w 2206810"/>
                  <a:gd name="connsiteY258" fmla="*/ 409661 h 1448389"/>
                  <a:gd name="connsiteX259" fmla="*/ 549550 w 2206810"/>
                  <a:gd name="connsiteY259" fmla="*/ 414676 h 1448389"/>
                  <a:gd name="connsiteX260" fmla="*/ 558213 w 2206810"/>
                  <a:gd name="connsiteY260" fmla="*/ 413765 h 1448389"/>
                  <a:gd name="connsiteX261" fmla="*/ 581011 w 2206810"/>
                  <a:gd name="connsiteY261" fmla="*/ 421516 h 1448389"/>
                  <a:gd name="connsiteX262" fmla="*/ 594917 w 2206810"/>
                  <a:gd name="connsiteY262" fmla="*/ 442262 h 1448389"/>
                  <a:gd name="connsiteX263" fmla="*/ 620052 w 2206810"/>
                  <a:gd name="connsiteY263" fmla="*/ 423340 h 1448389"/>
                  <a:gd name="connsiteX264" fmla="*/ 615322 w 2206810"/>
                  <a:gd name="connsiteY264" fmla="*/ 443402 h 1448389"/>
                  <a:gd name="connsiteX265" fmla="*/ 627119 w 2206810"/>
                  <a:gd name="connsiteY265" fmla="*/ 445910 h 1448389"/>
                  <a:gd name="connsiteX266" fmla="*/ 637607 w 2206810"/>
                  <a:gd name="connsiteY266" fmla="*/ 456739 h 1448389"/>
                  <a:gd name="connsiteX267" fmla="*/ 662912 w 2206810"/>
                  <a:gd name="connsiteY267" fmla="*/ 465117 h 1448389"/>
                  <a:gd name="connsiteX268" fmla="*/ 677161 w 2206810"/>
                  <a:gd name="connsiteY268" fmla="*/ 487459 h 1448389"/>
                  <a:gd name="connsiteX269" fmla="*/ 686109 w 2206810"/>
                  <a:gd name="connsiteY269" fmla="*/ 473951 h 1448389"/>
                  <a:gd name="connsiteX270" fmla="*/ 703207 w 2206810"/>
                  <a:gd name="connsiteY270" fmla="*/ 483127 h 1448389"/>
                  <a:gd name="connsiteX271" fmla="*/ 707368 w 2206810"/>
                  <a:gd name="connsiteY271" fmla="*/ 459132 h 1448389"/>
                  <a:gd name="connsiteX272" fmla="*/ 726074 w 2206810"/>
                  <a:gd name="connsiteY272" fmla="*/ 485390 h 1448389"/>
                  <a:gd name="connsiteX273" fmla="*/ 720591 w 2206810"/>
                  <a:gd name="connsiteY273" fmla="*/ 496806 h 1448389"/>
                  <a:gd name="connsiteX274" fmla="*/ 714036 w 2206810"/>
                  <a:gd name="connsiteY274" fmla="*/ 500852 h 1448389"/>
                  <a:gd name="connsiteX275" fmla="*/ 702638 w 2206810"/>
                  <a:gd name="connsiteY275" fmla="*/ 495666 h 1448389"/>
                  <a:gd name="connsiteX276" fmla="*/ 691239 w 2206810"/>
                  <a:gd name="connsiteY276" fmla="*/ 495666 h 1448389"/>
                  <a:gd name="connsiteX277" fmla="*/ 725435 w 2206810"/>
                  <a:gd name="connsiteY277" fmla="*/ 544054 h 1448389"/>
                  <a:gd name="connsiteX278" fmla="*/ 719736 w 2206810"/>
                  <a:gd name="connsiteY278" fmla="*/ 509231 h 1448389"/>
                  <a:gd name="connsiteX279" fmla="*/ 739057 w 2206810"/>
                  <a:gd name="connsiteY279" fmla="*/ 512821 h 1448389"/>
                  <a:gd name="connsiteX280" fmla="*/ 739057 w 2206810"/>
                  <a:gd name="connsiteY280" fmla="*/ 496578 h 1448389"/>
                  <a:gd name="connsiteX281" fmla="*/ 740197 w 2206810"/>
                  <a:gd name="connsiteY281" fmla="*/ 492075 h 1448389"/>
                  <a:gd name="connsiteX282" fmla="*/ 746751 w 2206810"/>
                  <a:gd name="connsiteY282" fmla="*/ 491391 h 1448389"/>
                  <a:gd name="connsiteX283" fmla="*/ 759689 w 2206810"/>
                  <a:gd name="connsiteY283" fmla="*/ 513904 h 1448389"/>
                  <a:gd name="connsiteX284" fmla="*/ 741565 w 2206810"/>
                  <a:gd name="connsiteY284" fmla="*/ 532997 h 1448389"/>
                  <a:gd name="connsiteX285" fmla="*/ 733814 w 2206810"/>
                  <a:gd name="connsiteY285" fmla="*/ 535163 h 1448389"/>
                  <a:gd name="connsiteX286" fmla="*/ 734384 w 2206810"/>
                  <a:gd name="connsiteY286" fmla="*/ 557049 h 1448389"/>
                  <a:gd name="connsiteX287" fmla="*/ 757580 w 2206810"/>
                  <a:gd name="connsiteY287" fmla="*/ 547132 h 1448389"/>
                  <a:gd name="connsiteX288" fmla="*/ 779694 w 2206810"/>
                  <a:gd name="connsiteY288" fmla="*/ 533852 h 1448389"/>
                  <a:gd name="connsiteX289" fmla="*/ 788928 w 2206810"/>
                  <a:gd name="connsiteY289" fmla="*/ 550951 h 1448389"/>
                  <a:gd name="connsiteX290" fmla="*/ 790352 w 2206810"/>
                  <a:gd name="connsiteY290" fmla="*/ 569246 h 1448389"/>
                  <a:gd name="connsiteX291" fmla="*/ 756954 w 2206810"/>
                  <a:gd name="connsiteY291" fmla="*/ 571013 h 1448389"/>
                  <a:gd name="connsiteX292" fmla="*/ 763679 w 2206810"/>
                  <a:gd name="connsiteY292" fmla="*/ 587142 h 1448389"/>
                  <a:gd name="connsiteX293" fmla="*/ 755130 w 2206810"/>
                  <a:gd name="connsiteY293" fmla="*/ 590448 h 1448389"/>
                  <a:gd name="connsiteX294" fmla="*/ 758777 w 2206810"/>
                  <a:gd name="connsiteY294" fmla="*/ 602759 h 1448389"/>
                  <a:gd name="connsiteX295" fmla="*/ 769264 w 2206810"/>
                  <a:gd name="connsiteY295" fmla="*/ 606008 h 1448389"/>
                  <a:gd name="connsiteX296" fmla="*/ 777529 w 2206810"/>
                  <a:gd name="connsiteY296" fmla="*/ 599909 h 1448389"/>
                  <a:gd name="connsiteX297" fmla="*/ 806026 w 2206810"/>
                  <a:gd name="connsiteY297" fmla="*/ 589194 h 1448389"/>
                  <a:gd name="connsiteX298" fmla="*/ 812124 w 2206810"/>
                  <a:gd name="connsiteY298" fmla="*/ 590790 h 1448389"/>
                  <a:gd name="connsiteX299" fmla="*/ 824492 w 2206810"/>
                  <a:gd name="connsiteY299" fmla="*/ 613588 h 1448389"/>
                  <a:gd name="connsiteX300" fmla="*/ 824492 w 2206810"/>
                  <a:gd name="connsiteY300" fmla="*/ 614329 h 1448389"/>
                  <a:gd name="connsiteX301" fmla="*/ 825746 w 2206810"/>
                  <a:gd name="connsiteY301" fmla="*/ 613246 h 1448389"/>
                  <a:gd name="connsiteX302" fmla="*/ 829622 w 2206810"/>
                  <a:gd name="connsiteY302" fmla="*/ 609997 h 1448389"/>
                  <a:gd name="connsiteX303" fmla="*/ 2205760 w 2206810"/>
                  <a:gd name="connsiteY303" fmla="*/ 892007 h 1448389"/>
                  <a:gd name="connsiteX304" fmla="*/ 2204449 w 2206810"/>
                  <a:gd name="connsiteY304" fmla="*/ 888075 h 1448389"/>
                  <a:gd name="connsiteX305" fmla="*/ 2199661 w 2206810"/>
                  <a:gd name="connsiteY305" fmla="*/ 881235 h 1448389"/>
                  <a:gd name="connsiteX306" fmla="*/ 2201314 w 2206810"/>
                  <a:gd name="connsiteY306" fmla="*/ 878101 h 1448389"/>
                  <a:gd name="connsiteX307" fmla="*/ 2199091 w 2206810"/>
                  <a:gd name="connsiteY307" fmla="*/ 869893 h 1448389"/>
                  <a:gd name="connsiteX308" fmla="*/ 2194361 w 2206810"/>
                  <a:gd name="connsiteY308" fmla="*/ 862427 h 1448389"/>
                  <a:gd name="connsiteX309" fmla="*/ 2198692 w 2206810"/>
                  <a:gd name="connsiteY309" fmla="*/ 849204 h 1448389"/>
                  <a:gd name="connsiteX310" fmla="*/ 2189687 w 2206810"/>
                  <a:gd name="connsiteY310" fmla="*/ 836836 h 1448389"/>
                  <a:gd name="connsiteX311" fmla="*/ 2185698 w 2206810"/>
                  <a:gd name="connsiteY311" fmla="*/ 835070 h 1448389"/>
                  <a:gd name="connsiteX312" fmla="*/ 2181423 w 2206810"/>
                  <a:gd name="connsiteY312" fmla="*/ 835925 h 1448389"/>
                  <a:gd name="connsiteX313" fmla="*/ 2161646 w 2206810"/>
                  <a:gd name="connsiteY313" fmla="*/ 827204 h 1448389"/>
                  <a:gd name="connsiteX314" fmla="*/ 2158853 w 2206810"/>
                  <a:gd name="connsiteY314" fmla="*/ 825380 h 1448389"/>
                  <a:gd name="connsiteX315" fmla="*/ 2151786 w 2206810"/>
                  <a:gd name="connsiteY315" fmla="*/ 835867 h 1448389"/>
                  <a:gd name="connsiteX316" fmla="*/ 2140387 w 2206810"/>
                  <a:gd name="connsiteY316" fmla="*/ 866189 h 1448389"/>
                  <a:gd name="connsiteX317" fmla="*/ 2137024 w 2206810"/>
                  <a:gd name="connsiteY317" fmla="*/ 872572 h 1448389"/>
                  <a:gd name="connsiteX318" fmla="*/ 2135770 w 2206810"/>
                  <a:gd name="connsiteY318" fmla="*/ 879297 h 1448389"/>
                  <a:gd name="connsiteX319" fmla="*/ 2128190 w 2206810"/>
                  <a:gd name="connsiteY319" fmla="*/ 887733 h 1448389"/>
                  <a:gd name="connsiteX320" fmla="*/ 2125967 w 2206810"/>
                  <a:gd name="connsiteY320" fmla="*/ 897935 h 1448389"/>
                  <a:gd name="connsiteX321" fmla="*/ 2117247 w 2206810"/>
                  <a:gd name="connsiteY321" fmla="*/ 900956 h 1448389"/>
                  <a:gd name="connsiteX322" fmla="*/ 2114169 w 2206810"/>
                  <a:gd name="connsiteY322" fmla="*/ 909106 h 1448389"/>
                  <a:gd name="connsiteX323" fmla="*/ 2111832 w 2206810"/>
                  <a:gd name="connsiteY323" fmla="*/ 909391 h 1448389"/>
                  <a:gd name="connsiteX324" fmla="*/ 2036713 w 2206810"/>
                  <a:gd name="connsiteY324" fmla="*/ 908593 h 1448389"/>
                  <a:gd name="connsiteX325" fmla="*/ 2023434 w 2206810"/>
                  <a:gd name="connsiteY325" fmla="*/ 914292 h 1448389"/>
                  <a:gd name="connsiteX326" fmla="*/ 2021382 w 2206810"/>
                  <a:gd name="connsiteY326" fmla="*/ 916743 h 1448389"/>
                  <a:gd name="connsiteX327" fmla="*/ 2021382 w 2206810"/>
                  <a:gd name="connsiteY327" fmla="*/ 919023 h 1448389"/>
                  <a:gd name="connsiteX328" fmla="*/ 2016309 w 2206810"/>
                  <a:gd name="connsiteY328" fmla="*/ 923126 h 1448389"/>
                  <a:gd name="connsiteX329" fmla="*/ 2009983 w 2206810"/>
                  <a:gd name="connsiteY329" fmla="*/ 925577 h 1448389"/>
                  <a:gd name="connsiteX330" fmla="*/ 2009071 w 2206810"/>
                  <a:gd name="connsiteY330" fmla="*/ 926717 h 1448389"/>
                  <a:gd name="connsiteX331" fmla="*/ 2010040 w 2206810"/>
                  <a:gd name="connsiteY331" fmla="*/ 926717 h 1448389"/>
                  <a:gd name="connsiteX332" fmla="*/ 2002345 w 2206810"/>
                  <a:gd name="connsiteY332" fmla="*/ 941992 h 1448389"/>
                  <a:gd name="connsiteX333" fmla="*/ 1994822 w 2206810"/>
                  <a:gd name="connsiteY333" fmla="*/ 944670 h 1448389"/>
                  <a:gd name="connsiteX334" fmla="*/ 1991403 w 2206810"/>
                  <a:gd name="connsiteY334" fmla="*/ 951510 h 1448389"/>
                  <a:gd name="connsiteX335" fmla="*/ 1984620 w 2206810"/>
                  <a:gd name="connsiteY335" fmla="*/ 955043 h 1448389"/>
                  <a:gd name="connsiteX336" fmla="*/ 1958232 w 2206810"/>
                  <a:gd name="connsiteY336" fmla="*/ 959831 h 1448389"/>
                  <a:gd name="connsiteX337" fmla="*/ 1950822 w 2206810"/>
                  <a:gd name="connsiteY337" fmla="*/ 961712 h 1448389"/>
                  <a:gd name="connsiteX338" fmla="*/ 1936574 w 2206810"/>
                  <a:gd name="connsiteY338" fmla="*/ 979437 h 1448389"/>
                  <a:gd name="connsiteX339" fmla="*/ 1931501 w 2206810"/>
                  <a:gd name="connsiteY339" fmla="*/ 981147 h 1448389"/>
                  <a:gd name="connsiteX340" fmla="*/ 1928879 w 2206810"/>
                  <a:gd name="connsiteY340" fmla="*/ 984567 h 1448389"/>
                  <a:gd name="connsiteX341" fmla="*/ 1924890 w 2206810"/>
                  <a:gd name="connsiteY341" fmla="*/ 986504 h 1448389"/>
                  <a:gd name="connsiteX342" fmla="*/ 1912978 w 2206810"/>
                  <a:gd name="connsiteY342" fmla="*/ 989924 h 1448389"/>
                  <a:gd name="connsiteX343" fmla="*/ 1912636 w 2206810"/>
                  <a:gd name="connsiteY343" fmla="*/ 994370 h 1448389"/>
                  <a:gd name="connsiteX344" fmla="*/ 1902149 w 2206810"/>
                  <a:gd name="connsiteY344" fmla="*/ 997847 h 1448389"/>
                  <a:gd name="connsiteX345" fmla="*/ 1901408 w 2206810"/>
                  <a:gd name="connsiteY345" fmla="*/ 1000525 h 1448389"/>
                  <a:gd name="connsiteX346" fmla="*/ 1893144 w 2206810"/>
                  <a:gd name="connsiteY346" fmla="*/ 1007650 h 1448389"/>
                  <a:gd name="connsiteX347" fmla="*/ 1881745 w 2206810"/>
                  <a:gd name="connsiteY347" fmla="*/ 1007650 h 1448389"/>
                  <a:gd name="connsiteX348" fmla="*/ 1879807 w 2206810"/>
                  <a:gd name="connsiteY348" fmla="*/ 1015002 h 1448389"/>
                  <a:gd name="connsiteX349" fmla="*/ 1865159 w 2206810"/>
                  <a:gd name="connsiteY349" fmla="*/ 1017852 h 1448389"/>
                  <a:gd name="connsiteX350" fmla="*/ 1862366 w 2206810"/>
                  <a:gd name="connsiteY350" fmla="*/ 1016598 h 1448389"/>
                  <a:gd name="connsiteX351" fmla="*/ 1861683 w 2206810"/>
                  <a:gd name="connsiteY351" fmla="*/ 1013520 h 1448389"/>
                  <a:gd name="connsiteX352" fmla="*/ 1852107 w 2206810"/>
                  <a:gd name="connsiteY352" fmla="*/ 1005370 h 1448389"/>
                  <a:gd name="connsiteX353" fmla="*/ 1846750 w 2206810"/>
                  <a:gd name="connsiteY353" fmla="*/ 995168 h 1448389"/>
                  <a:gd name="connsiteX354" fmla="*/ 1851366 w 2206810"/>
                  <a:gd name="connsiteY354" fmla="*/ 992033 h 1448389"/>
                  <a:gd name="connsiteX355" fmla="*/ 1853190 w 2206810"/>
                  <a:gd name="connsiteY355" fmla="*/ 987302 h 1448389"/>
                  <a:gd name="connsiteX356" fmla="*/ 1875988 w 2206810"/>
                  <a:gd name="connsiteY356" fmla="*/ 989411 h 1448389"/>
                  <a:gd name="connsiteX357" fmla="*/ 1883910 w 2206810"/>
                  <a:gd name="connsiteY357" fmla="*/ 973567 h 1448389"/>
                  <a:gd name="connsiteX358" fmla="*/ 1882885 w 2206810"/>
                  <a:gd name="connsiteY358" fmla="*/ 972427 h 1448389"/>
                  <a:gd name="connsiteX359" fmla="*/ 1881118 w 2206810"/>
                  <a:gd name="connsiteY359" fmla="*/ 971800 h 1448389"/>
                  <a:gd name="connsiteX360" fmla="*/ 1876558 w 2206810"/>
                  <a:gd name="connsiteY360" fmla="*/ 972712 h 1448389"/>
                  <a:gd name="connsiteX361" fmla="*/ 1872341 w 2206810"/>
                  <a:gd name="connsiteY361" fmla="*/ 977727 h 1448389"/>
                  <a:gd name="connsiteX362" fmla="*/ 1867211 w 2206810"/>
                  <a:gd name="connsiteY362" fmla="*/ 977727 h 1448389"/>
                  <a:gd name="connsiteX363" fmla="*/ 1868237 w 2206810"/>
                  <a:gd name="connsiteY363" fmla="*/ 971344 h 1448389"/>
                  <a:gd name="connsiteX364" fmla="*/ 1870118 w 2206810"/>
                  <a:gd name="connsiteY364" fmla="*/ 950256 h 1448389"/>
                  <a:gd name="connsiteX365" fmla="*/ 1869662 w 2206810"/>
                  <a:gd name="connsiteY365" fmla="*/ 944100 h 1448389"/>
                  <a:gd name="connsiteX366" fmla="*/ 1853133 w 2206810"/>
                  <a:gd name="connsiteY366" fmla="*/ 941764 h 1448389"/>
                  <a:gd name="connsiteX367" fmla="*/ 1836320 w 2206810"/>
                  <a:gd name="connsiteY367" fmla="*/ 950085 h 1448389"/>
                  <a:gd name="connsiteX368" fmla="*/ 1837346 w 2206810"/>
                  <a:gd name="connsiteY368" fmla="*/ 937957 h 1448389"/>
                  <a:gd name="connsiteX369" fmla="*/ 1839227 w 2206810"/>
                  <a:gd name="connsiteY369" fmla="*/ 936748 h 1448389"/>
                  <a:gd name="connsiteX370" fmla="*/ 1843729 w 2206810"/>
                  <a:gd name="connsiteY370" fmla="*/ 935266 h 1448389"/>
                  <a:gd name="connsiteX371" fmla="*/ 1846055 w 2206810"/>
                  <a:gd name="connsiteY371" fmla="*/ 926210 h 1448389"/>
                  <a:gd name="connsiteX372" fmla="*/ 1845496 w 2206810"/>
                  <a:gd name="connsiteY372" fmla="*/ 925406 h 1448389"/>
                  <a:gd name="connsiteX373" fmla="*/ 1852803 w 2206810"/>
                  <a:gd name="connsiteY373" fmla="*/ 907755 h 1448389"/>
                  <a:gd name="connsiteX374" fmla="*/ 1850341 w 2206810"/>
                  <a:gd name="connsiteY374" fmla="*/ 903862 h 1448389"/>
                  <a:gd name="connsiteX375" fmla="*/ 1844014 w 2206810"/>
                  <a:gd name="connsiteY375" fmla="*/ 897593 h 1448389"/>
                  <a:gd name="connsiteX376" fmla="*/ 1841734 w 2206810"/>
                  <a:gd name="connsiteY376" fmla="*/ 890753 h 1448389"/>
                  <a:gd name="connsiteX377" fmla="*/ 1838315 w 2206810"/>
                  <a:gd name="connsiteY377" fmla="*/ 889613 h 1448389"/>
                  <a:gd name="connsiteX378" fmla="*/ 1806797 w 2206810"/>
                  <a:gd name="connsiteY378" fmla="*/ 902323 h 1448389"/>
                  <a:gd name="connsiteX379" fmla="*/ 1802294 w 2206810"/>
                  <a:gd name="connsiteY379" fmla="*/ 907168 h 1448389"/>
                  <a:gd name="connsiteX380" fmla="*/ 1793916 w 2206810"/>
                  <a:gd name="connsiteY380" fmla="*/ 910360 h 1448389"/>
                  <a:gd name="connsiteX381" fmla="*/ 1786677 w 2206810"/>
                  <a:gd name="connsiteY381" fmla="*/ 928085 h 1448389"/>
                  <a:gd name="connsiteX382" fmla="*/ 1784170 w 2206810"/>
                  <a:gd name="connsiteY382" fmla="*/ 981318 h 1448389"/>
                  <a:gd name="connsiteX383" fmla="*/ 1782631 w 2206810"/>
                  <a:gd name="connsiteY383" fmla="*/ 986619 h 1448389"/>
                  <a:gd name="connsiteX384" fmla="*/ 1774651 w 2206810"/>
                  <a:gd name="connsiteY384" fmla="*/ 990266 h 1448389"/>
                  <a:gd name="connsiteX385" fmla="*/ 1770719 w 2206810"/>
                  <a:gd name="connsiteY385" fmla="*/ 1001323 h 1448389"/>
                  <a:gd name="connsiteX386" fmla="*/ 1767413 w 2206810"/>
                  <a:gd name="connsiteY386" fmla="*/ 1002349 h 1448389"/>
                  <a:gd name="connsiteX387" fmla="*/ 1753734 w 2206810"/>
                  <a:gd name="connsiteY387" fmla="*/ 989639 h 1448389"/>
                  <a:gd name="connsiteX388" fmla="*/ 1753222 w 2206810"/>
                  <a:gd name="connsiteY388" fmla="*/ 983940 h 1448389"/>
                  <a:gd name="connsiteX389" fmla="*/ 1748776 w 2206810"/>
                  <a:gd name="connsiteY389" fmla="*/ 979551 h 1448389"/>
                  <a:gd name="connsiteX390" fmla="*/ 1746667 w 2206810"/>
                  <a:gd name="connsiteY390" fmla="*/ 964676 h 1448389"/>
                  <a:gd name="connsiteX391" fmla="*/ 1752367 w 2206810"/>
                  <a:gd name="connsiteY391" fmla="*/ 944499 h 1448389"/>
                  <a:gd name="connsiteX392" fmla="*/ 1758066 w 2206810"/>
                  <a:gd name="connsiteY392" fmla="*/ 926945 h 1448389"/>
                  <a:gd name="connsiteX393" fmla="*/ 1766501 w 2206810"/>
                  <a:gd name="connsiteY393" fmla="*/ 915147 h 1448389"/>
                  <a:gd name="connsiteX394" fmla="*/ 1753963 w 2206810"/>
                  <a:gd name="connsiteY394" fmla="*/ 906028 h 1448389"/>
                  <a:gd name="connsiteX395" fmla="*/ 1758636 w 2206810"/>
                  <a:gd name="connsiteY395" fmla="*/ 899189 h 1448389"/>
                  <a:gd name="connsiteX396" fmla="*/ 1772600 w 2206810"/>
                  <a:gd name="connsiteY396" fmla="*/ 889557 h 1448389"/>
                  <a:gd name="connsiteX397" fmla="*/ 1782745 w 2206810"/>
                  <a:gd name="connsiteY397" fmla="*/ 883173 h 1448389"/>
                  <a:gd name="connsiteX398" fmla="*/ 1796594 w 2206810"/>
                  <a:gd name="connsiteY398" fmla="*/ 878158 h 1448389"/>
                  <a:gd name="connsiteX399" fmla="*/ 1823496 w 2206810"/>
                  <a:gd name="connsiteY399" fmla="*/ 875821 h 1448389"/>
                  <a:gd name="connsiteX400" fmla="*/ 1836035 w 2206810"/>
                  <a:gd name="connsiteY400" fmla="*/ 870121 h 1448389"/>
                  <a:gd name="connsiteX401" fmla="*/ 1824636 w 2206810"/>
                  <a:gd name="connsiteY401" fmla="*/ 862541 h 1448389"/>
                  <a:gd name="connsiteX402" fmla="*/ 1811299 w 2206810"/>
                  <a:gd name="connsiteY402" fmla="*/ 856841 h 1448389"/>
                  <a:gd name="connsiteX403" fmla="*/ 1795740 w 2206810"/>
                  <a:gd name="connsiteY403" fmla="*/ 856101 h 1448389"/>
                  <a:gd name="connsiteX404" fmla="*/ 1783087 w 2206810"/>
                  <a:gd name="connsiteY404" fmla="*/ 862712 h 1448389"/>
                  <a:gd name="connsiteX405" fmla="*/ 1755501 w 2206810"/>
                  <a:gd name="connsiteY405" fmla="*/ 862427 h 1448389"/>
                  <a:gd name="connsiteX406" fmla="*/ 1748947 w 2206810"/>
                  <a:gd name="connsiteY406" fmla="*/ 846560 h 1448389"/>
                  <a:gd name="connsiteX407" fmla="*/ 1740854 w 2206810"/>
                  <a:gd name="connsiteY407" fmla="*/ 846127 h 1448389"/>
                  <a:gd name="connsiteX408" fmla="*/ 1740341 w 2206810"/>
                  <a:gd name="connsiteY408" fmla="*/ 840712 h 1448389"/>
                  <a:gd name="connsiteX409" fmla="*/ 1729284 w 2206810"/>
                  <a:gd name="connsiteY409" fmla="*/ 840256 h 1448389"/>
                  <a:gd name="connsiteX410" fmla="*/ 1727745 w 2206810"/>
                  <a:gd name="connsiteY410" fmla="*/ 844987 h 1448389"/>
                  <a:gd name="connsiteX411" fmla="*/ 1717828 w 2206810"/>
                  <a:gd name="connsiteY411" fmla="*/ 848064 h 1448389"/>
                  <a:gd name="connsiteX412" fmla="*/ 1713781 w 2206810"/>
                  <a:gd name="connsiteY412" fmla="*/ 856044 h 1448389"/>
                  <a:gd name="connsiteX413" fmla="*/ 1703693 w 2206810"/>
                  <a:gd name="connsiteY413" fmla="*/ 859748 h 1448389"/>
                  <a:gd name="connsiteX414" fmla="*/ 1701299 w 2206810"/>
                  <a:gd name="connsiteY414" fmla="*/ 862883 h 1448389"/>
                  <a:gd name="connsiteX415" fmla="*/ 1691097 w 2206810"/>
                  <a:gd name="connsiteY415" fmla="*/ 859292 h 1448389"/>
                  <a:gd name="connsiteX416" fmla="*/ 1678900 w 2206810"/>
                  <a:gd name="connsiteY416" fmla="*/ 857298 h 1448389"/>
                  <a:gd name="connsiteX417" fmla="*/ 1666533 w 2206810"/>
                  <a:gd name="connsiteY417" fmla="*/ 855873 h 1448389"/>
                  <a:gd name="connsiteX418" fmla="*/ 1662030 w 2206810"/>
                  <a:gd name="connsiteY418" fmla="*/ 845557 h 1448389"/>
                  <a:gd name="connsiteX419" fmla="*/ 1673429 w 2206810"/>
                  <a:gd name="connsiteY419" fmla="*/ 840655 h 1448389"/>
                  <a:gd name="connsiteX420" fmla="*/ 1676279 w 2206810"/>
                  <a:gd name="connsiteY420" fmla="*/ 829541 h 1448389"/>
                  <a:gd name="connsiteX421" fmla="*/ 1690926 w 2206810"/>
                  <a:gd name="connsiteY421" fmla="*/ 827489 h 1448389"/>
                  <a:gd name="connsiteX422" fmla="*/ 1693662 w 2206810"/>
                  <a:gd name="connsiteY422" fmla="*/ 824013 h 1448389"/>
                  <a:gd name="connsiteX423" fmla="*/ 1707569 w 2206810"/>
                  <a:gd name="connsiteY423" fmla="*/ 820821 h 1448389"/>
                  <a:gd name="connsiteX424" fmla="*/ 1707968 w 2206810"/>
                  <a:gd name="connsiteY424" fmla="*/ 816774 h 1448389"/>
                  <a:gd name="connsiteX425" fmla="*/ 1709621 w 2206810"/>
                  <a:gd name="connsiteY425" fmla="*/ 814665 h 1448389"/>
                  <a:gd name="connsiteX426" fmla="*/ 1703408 w 2206810"/>
                  <a:gd name="connsiteY426" fmla="*/ 812215 h 1448389"/>
                  <a:gd name="connsiteX427" fmla="*/ 1697139 w 2206810"/>
                  <a:gd name="connsiteY427" fmla="*/ 813753 h 1448389"/>
                  <a:gd name="connsiteX428" fmla="*/ 1672061 w 2206810"/>
                  <a:gd name="connsiteY428" fmla="*/ 808054 h 1448389"/>
                  <a:gd name="connsiteX429" fmla="*/ 1649263 w 2206810"/>
                  <a:gd name="connsiteY429" fmla="*/ 798365 h 1448389"/>
                  <a:gd name="connsiteX430" fmla="*/ 1638212 w 2206810"/>
                  <a:gd name="connsiteY430" fmla="*/ 801916 h 1448389"/>
                  <a:gd name="connsiteX431" fmla="*/ 1637465 w 2206810"/>
                  <a:gd name="connsiteY431" fmla="*/ 804064 h 1448389"/>
                  <a:gd name="connsiteX432" fmla="*/ 1626066 w 2206810"/>
                  <a:gd name="connsiteY432" fmla="*/ 802298 h 1448389"/>
                  <a:gd name="connsiteX433" fmla="*/ 1619740 w 2206810"/>
                  <a:gd name="connsiteY433" fmla="*/ 793520 h 1448389"/>
                  <a:gd name="connsiteX434" fmla="*/ 1606574 w 2206810"/>
                  <a:gd name="connsiteY434" fmla="*/ 792665 h 1448389"/>
                  <a:gd name="connsiteX435" fmla="*/ 1608284 w 2206810"/>
                  <a:gd name="connsiteY435" fmla="*/ 773515 h 1448389"/>
                  <a:gd name="connsiteX436" fmla="*/ 1600533 w 2206810"/>
                  <a:gd name="connsiteY436" fmla="*/ 771805 h 1448389"/>
                  <a:gd name="connsiteX437" fmla="*/ 1596885 w 2206810"/>
                  <a:gd name="connsiteY437" fmla="*/ 777505 h 1448389"/>
                  <a:gd name="connsiteX438" fmla="*/ 1592667 w 2206810"/>
                  <a:gd name="connsiteY438" fmla="*/ 779728 h 1448389"/>
                  <a:gd name="connsiteX439" fmla="*/ 1591186 w 2206810"/>
                  <a:gd name="connsiteY439" fmla="*/ 790386 h 1448389"/>
                  <a:gd name="connsiteX440" fmla="*/ 996787 w 2206810"/>
                  <a:gd name="connsiteY440" fmla="*/ 790386 h 1448389"/>
                  <a:gd name="connsiteX441" fmla="*/ 997357 w 2206810"/>
                  <a:gd name="connsiteY441" fmla="*/ 795458 h 1448389"/>
                  <a:gd name="connsiteX442" fmla="*/ 999580 w 2206810"/>
                  <a:gd name="connsiteY442" fmla="*/ 808738 h 1448389"/>
                  <a:gd name="connsiteX443" fmla="*/ 1004026 w 2206810"/>
                  <a:gd name="connsiteY443" fmla="*/ 815862 h 1448389"/>
                  <a:gd name="connsiteX444" fmla="*/ 1004026 w 2206810"/>
                  <a:gd name="connsiteY444" fmla="*/ 822018 h 1448389"/>
                  <a:gd name="connsiteX445" fmla="*/ 1002145 w 2206810"/>
                  <a:gd name="connsiteY445" fmla="*/ 843334 h 1448389"/>
                  <a:gd name="connsiteX446" fmla="*/ 990176 w 2206810"/>
                  <a:gd name="connsiteY446" fmla="*/ 837634 h 1448389"/>
                  <a:gd name="connsiteX447" fmla="*/ 989777 w 2206810"/>
                  <a:gd name="connsiteY447" fmla="*/ 821733 h 1448389"/>
                  <a:gd name="connsiteX448" fmla="*/ 980031 w 2206810"/>
                  <a:gd name="connsiteY448" fmla="*/ 811417 h 1448389"/>
                  <a:gd name="connsiteX449" fmla="*/ 960995 w 2206810"/>
                  <a:gd name="connsiteY449" fmla="*/ 777904 h 1448389"/>
                  <a:gd name="connsiteX450" fmla="*/ 939337 w 2206810"/>
                  <a:gd name="connsiteY450" fmla="*/ 762515 h 1448389"/>
                  <a:gd name="connsiteX451" fmla="*/ 937798 w 2206810"/>
                  <a:gd name="connsiteY451" fmla="*/ 754365 h 1448389"/>
                  <a:gd name="connsiteX452" fmla="*/ 928793 w 2206810"/>
                  <a:gd name="connsiteY452" fmla="*/ 749235 h 1448389"/>
                  <a:gd name="connsiteX453" fmla="*/ 906394 w 2206810"/>
                  <a:gd name="connsiteY453" fmla="*/ 743935 h 1448389"/>
                  <a:gd name="connsiteX454" fmla="*/ 897901 w 2206810"/>
                  <a:gd name="connsiteY454" fmla="*/ 740800 h 1448389"/>
                  <a:gd name="connsiteX455" fmla="*/ 890549 w 2206810"/>
                  <a:gd name="connsiteY455" fmla="*/ 734246 h 1448389"/>
                  <a:gd name="connsiteX456" fmla="*/ 873451 w 2206810"/>
                  <a:gd name="connsiteY456" fmla="*/ 734246 h 1448389"/>
                  <a:gd name="connsiteX457" fmla="*/ 879492 w 2206810"/>
                  <a:gd name="connsiteY457" fmla="*/ 748666 h 1448389"/>
                  <a:gd name="connsiteX458" fmla="*/ 895622 w 2206810"/>
                  <a:gd name="connsiteY458" fmla="*/ 756702 h 1448389"/>
                  <a:gd name="connsiteX459" fmla="*/ 899098 w 2206810"/>
                  <a:gd name="connsiteY459" fmla="*/ 761831 h 1448389"/>
                  <a:gd name="connsiteX460" fmla="*/ 926342 w 2206810"/>
                  <a:gd name="connsiteY460" fmla="*/ 775282 h 1448389"/>
                  <a:gd name="connsiteX461" fmla="*/ 949140 w 2206810"/>
                  <a:gd name="connsiteY461" fmla="*/ 793919 h 1448389"/>
                  <a:gd name="connsiteX462" fmla="*/ 950337 w 2206810"/>
                  <a:gd name="connsiteY462" fmla="*/ 803095 h 1448389"/>
                  <a:gd name="connsiteX463" fmla="*/ 956606 w 2206810"/>
                  <a:gd name="connsiteY463" fmla="*/ 810790 h 1448389"/>
                  <a:gd name="connsiteX464" fmla="*/ 967150 w 2206810"/>
                  <a:gd name="connsiteY464" fmla="*/ 853251 h 1448389"/>
                  <a:gd name="connsiteX465" fmla="*/ 978549 w 2206810"/>
                  <a:gd name="connsiteY465" fmla="*/ 871774 h 1448389"/>
                  <a:gd name="connsiteX466" fmla="*/ 961964 w 2206810"/>
                  <a:gd name="connsiteY466" fmla="*/ 875935 h 1448389"/>
                  <a:gd name="connsiteX467" fmla="*/ 961964 w 2206810"/>
                  <a:gd name="connsiteY467" fmla="*/ 912525 h 1448389"/>
                  <a:gd name="connsiteX468" fmla="*/ 966238 w 2206810"/>
                  <a:gd name="connsiteY468" fmla="*/ 924551 h 1448389"/>
                  <a:gd name="connsiteX469" fmla="*/ 972565 w 2206810"/>
                  <a:gd name="connsiteY469" fmla="*/ 927743 h 1448389"/>
                  <a:gd name="connsiteX470" fmla="*/ 974217 w 2206810"/>
                  <a:gd name="connsiteY470" fmla="*/ 934354 h 1448389"/>
                  <a:gd name="connsiteX471" fmla="*/ 974217 w 2206810"/>
                  <a:gd name="connsiteY471" fmla="*/ 955043 h 1448389"/>
                  <a:gd name="connsiteX472" fmla="*/ 963958 w 2206810"/>
                  <a:gd name="connsiteY472" fmla="*/ 955043 h 1448389"/>
                  <a:gd name="connsiteX473" fmla="*/ 972565 w 2206810"/>
                  <a:gd name="connsiteY473" fmla="*/ 1005598 h 1448389"/>
                  <a:gd name="connsiteX474" fmla="*/ 972565 w 2206810"/>
                  <a:gd name="connsiteY474" fmla="*/ 1016199 h 1448389"/>
                  <a:gd name="connsiteX475" fmla="*/ 968860 w 2206810"/>
                  <a:gd name="connsiteY475" fmla="*/ 1022582 h 1448389"/>
                  <a:gd name="connsiteX476" fmla="*/ 965440 w 2206810"/>
                  <a:gd name="connsiteY476" fmla="*/ 1046976 h 1448389"/>
                  <a:gd name="connsiteX477" fmla="*/ 990518 w 2206810"/>
                  <a:gd name="connsiteY477" fmla="*/ 1099582 h 1448389"/>
                  <a:gd name="connsiteX478" fmla="*/ 1028590 w 2206810"/>
                  <a:gd name="connsiteY478" fmla="*/ 1144323 h 1448389"/>
                  <a:gd name="connsiteX479" fmla="*/ 1033948 w 2206810"/>
                  <a:gd name="connsiteY479" fmla="*/ 1150706 h 1448389"/>
                  <a:gd name="connsiteX480" fmla="*/ 1036114 w 2206810"/>
                  <a:gd name="connsiteY480" fmla="*/ 1160624 h 1448389"/>
                  <a:gd name="connsiteX481" fmla="*/ 1037881 w 2206810"/>
                  <a:gd name="connsiteY481" fmla="*/ 1182110 h 1448389"/>
                  <a:gd name="connsiteX482" fmla="*/ 1039590 w 2206810"/>
                  <a:gd name="connsiteY482" fmla="*/ 1189919 h 1448389"/>
                  <a:gd name="connsiteX483" fmla="*/ 1046259 w 2206810"/>
                  <a:gd name="connsiteY483" fmla="*/ 1196245 h 1448389"/>
                  <a:gd name="connsiteX484" fmla="*/ 1058285 w 2206810"/>
                  <a:gd name="connsiteY484" fmla="*/ 1204566 h 1448389"/>
                  <a:gd name="connsiteX485" fmla="*/ 1097212 w 2206810"/>
                  <a:gd name="connsiteY485" fmla="*/ 1214369 h 1448389"/>
                  <a:gd name="connsiteX486" fmla="*/ 1111062 w 2206810"/>
                  <a:gd name="connsiteY486" fmla="*/ 1234090 h 1448389"/>
                  <a:gd name="connsiteX487" fmla="*/ 1114994 w 2206810"/>
                  <a:gd name="connsiteY487" fmla="*/ 1250903 h 1448389"/>
                  <a:gd name="connsiteX488" fmla="*/ 1116134 w 2206810"/>
                  <a:gd name="connsiteY488" fmla="*/ 1255919 h 1448389"/>
                  <a:gd name="connsiteX489" fmla="*/ 1155062 w 2206810"/>
                  <a:gd name="connsiteY489" fmla="*/ 1250219 h 1448389"/>
                  <a:gd name="connsiteX490" fmla="*/ 1178772 w 2206810"/>
                  <a:gd name="connsiteY490" fmla="*/ 1253867 h 1448389"/>
                  <a:gd name="connsiteX491" fmla="*/ 1187834 w 2206810"/>
                  <a:gd name="connsiteY491" fmla="*/ 1262587 h 1448389"/>
                  <a:gd name="connsiteX492" fmla="*/ 1204932 w 2206810"/>
                  <a:gd name="connsiteY492" fmla="*/ 1264867 h 1448389"/>
                  <a:gd name="connsiteX493" fmla="*/ 1211031 w 2206810"/>
                  <a:gd name="connsiteY493" fmla="*/ 1274157 h 1448389"/>
                  <a:gd name="connsiteX494" fmla="*/ 1217243 w 2206810"/>
                  <a:gd name="connsiteY494" fmla="*/ 1276380 h 1448389"/>
                  <a:gd name="connsiteX495" fmla="*/ 1269108 w 2206810"/>
                  <a:gd name="connsiteY495" fmla="*/ 1285214 h 1448389"/>
                  <a:gd name="connsiteX496" fmla="*/ 1303305 w 2206810"/>
                  <a:gd name="connsiteY496" fmla="*/ 1283447 h 1448389"/>
                  <a:gd name="connsiteX497" fmla="*/ 1315502 w 2206810"/>
                  <a:gd name="connsiteY497" fmla="*/ 1274955 h 1448389"/>
                  <a:gd name="connsiteX498" fmla="*/ 1333797 w 2206810"/>
                  <a:gd name="connsiteY498" fmla="*/ 1270395 h 1448389"/>
                  <a:gd name="connsiteX499" fmla="*/ 1374719 w 2206810"/>
                  <a:gd name="connsiteY499" fmla="*/ 1298323 h 1448389"/>
                  <a:gd name="connsiteX500" fmla="*/ 1376372 w 2206810"/>
                  <a:gd name="connsiteY500" fmla="*/ 1306473 h 1448389"/>
                  <a:gd name="connsiteX501" fmla="*/ 1388678 w 2206810"/>
                  <a:gd name="connsiteY501" fmla="*/ 1323634 h 1448389"/>
                  <a:gd name="connsiteX502" fmla="*/ 1388512 w 2206810"/>
                  <a:gd name="connsiteY502" fmla="*/ 1324483 h 1448389"/>
                  <a:gd name="connsiteX503" fmla="*/ 1400994 w 2206810"/>
                  <a:gd name="connsiteY503" fmla="*/ 1334400 h 1448389"/>
                  <a:gd name="connsiteX504" fmla="*/ 1414730 w 2206810"/>
                  <a:gd name="connsiteY504" fmla="*/ 1340556 h 1448389"/>
                  <a:gd name="connsiteX505" fmla="*/ 1417807 w 2206810"/>
                  <a:gd name="connsiteY505" fmla="*/ 1347965 h 1448389"/>
                  <a:gd name="connsiteX506" fmla="*/ 1424932 w 2206810"/>
                  <a:gd name="connsiteY506" fmla="*/ 1347965 h 1448389"/>
                  <a:gd name="connsiteX507" fmla="*/ 1425673 w 2206810"/>
                  <a:gd name="connsiteY507" fmla="*/ 1331608 h 1448389"/>
                  <a:gd name="connsiteX508" fmla="*/ 1434963 w 2206810"/>
                  <a:gd name="connsiteY508" fmla="*/ 1331608 h 1448389"/>
                  <a:gd name="connsiteX509" fmla="*/ 1444994 w 2206810"/>
                  <a:gd name="connsiteY509" fmla="*/ 1325110 h 1448389"/>
                  <a:gd name="connsiteX510" fmla="*/ 1468533 w 2206810"/>
                  <a:gd name="connsiteY510" fmla="*/ 1336965 h 1448389"/>
                  <a:gd name="connsiteX511" fmla="*/ 1484605 w 2206810"/>
                  <a:gd name="connsiteY511" fmla="*/ 1358338 h 1448389"/>
                  <a:gd name="connsiteX512" fmla="*/ 1500336 w 2206810"/>
                  <a:gd name="connsiteY512" fmla="*/ 1377659 h 1448389"/>
                  <a:gd name="connsiteX513" fmla="*/ 1498911 w 2206810"/>
                  <a:gd name="connsiteY513" fmla="*/ 1384271 h 1448389"/>
                  <a:gd name="connsiteX514" fmla="*/ 1506149 w 2206810"/>
                  <a:gd name="connsiteY514" fmla="*/ 1388602 h 1448389"/>
                  <a:gd name="connsiteX515" fmla="*/ 1505180 w 2206810"/>
                  <a:gd name="connsiteY515" fmla="*/ 1411400 h 1448389"/>
                  <a:gd name="connsiteX516" fmla="*/ 1542170 w 2206810"/>
                  <a:gd name="connsiteY516" fmla="*/ 1426618 h 1448389"/>
                  <a:gd name="connsiteX517" fmla="*/ 1547584 w 2206810"/>
                  <a:gd name="connsiteY517" fmla="*/ 1428499 h 1448389"/>
                  <a:gd name="connsiteX518" fmla="*/ 1542512 w 2206810"/>
                  <a:gd name="connsiteY518" fmla="*/ 1396924 h 1448389"/>
                  <a:gd name="connsiteX519" fmla="*/ 1547641 w 2206810"/>
                  <a:gd name="connsiteY519" fmla="*/ 1387690 h 1448389"/>
                  <a:gd name="connsiteX520" fmla="*/ 1546901 w 2206810"/>
                  <a:gd name="connsiteY520" fmla="*/ 1368369 h 1448389"/>
                  <a:gd name="connsiteX521" fmla="*/ 1557502 w 2206810"/>
                  <a:gd name="connsiteY521" fmla="*/ 1363126 h 1448389"/>
                  <a:gd name="connsiteX522" fmla="*/ 1582636 w 2206810"/>
                  <a:gd name="connsiteY522" fmla="*/ 1330639 h 1448389"/>
                  <a:gd name="connsiteX523" fmla="*/ 1621564 w 2206810"/>
                  <a:gd name="connsiteY523" fmla="*/ 1302141 h 1448389"/>
                  <a:gd name="connsiteX524" fmla="*/ 1676393 w 2206810"/>
                  <a:gd name="connsiteY524" fmla="*/ 1328815 h 1448389"/>
                  <a:gd name="connsiteX525" fmla="*/ 1683460 w 2206810"/>
                  <a:gd name="connsiteY525" fmla="*/ 1337991 h 1448389"/>
                  <a:gd name="connsiteX526" fmla="*/ 1689729 w 2206810"/>
                  <a:gd name="connsiteY526" fmla="*/ 1337991 h 1448389"/>
                  <a:gd name="connsiteX527" fmla="*/ 1716061 w 2206810"/>
                  <a:gd name="connsiteY527" fmla="*/ 1333317 h 1448389"/>
                  <a:gd name="connsiteX528" fmla="*/ 1711843 w 2206810"/>
                  <a:gd name="connsiteY528" fmla="*/ 1323343 h 1448389"/>
                  <a:gd name="connsiteX529" fmla="*/ 1729512 w 2206810"/>
                  <a:gd name="connsiteY529" fmla="*/ 1305162 h 1448389"/>
                  <a:gd name="connsiteX530" fmla="*/ 1754817 w 2206810"/>
                  <a:gd name="connsiteY530" fmla="*/ 1293250 h 1448389"/>
                  <a:gd name="connsiteX531" fmla="*/ 1770035 w 2206810"/>
                  <a:gd name="connsiteY531" fmla="*/ 1314110 h 1448389"/>
                  <a:gd name="connsiteX532" fmla="*/ 1801439 w 2206810"/>
                  <a:gd name="connsiteY532" fmla="*/ 1306803 h 1448389"/>
                  <a:gd name="connsiteX533" fmla="*/ 1804574 w 2206810"/>
                  <a:gd name="connsiteY533" fmla="*/ 1309152 h 1448389"/>
                  <a:gd name="connsiteX534" fmla="*/ 1818480 w 2206810"/>
                  <a:gd name="connsiteY534" fmla="*/ 1325224 h 1448389"/>
                  <a:gd name="connsiteX535" fmla="*/ 1831304 w 2206810"/>
                  <a:gd name="connsiteY535" fmla="*/ 1316675 h 1448389"/>
                  <a:gd name="connsiteX536" fmla="*/ 1854729 w 2206810"/>
                  <a:gd name="connsiteY536" fmla="*/ 1327675 h 1448389"/>
                  <a:gd name="connsiteX537" fmla="*/ 1860429 w 2206810"/>
                  <a:gd name="connsiteY537" fmla="*/ 1356172 h 1448389"/>
                  <a:gd name="connsiteX538" fmla="*/ 1874848 w 2206810"/>
                  <a:gd name="connsiteY538" fmla="*/ 1388545 h 1448389"/>
                  <a:gd name="connsiteX539" fmla="*/ 1909330 w 2206810"/>
                  <a:gd name="connsiteY539" fmla="*/ 1448390 h 1448389"/>
                  <a:gd name="connsiteX540" fmla="*/ 1906936 w 2206810"/>
                  <a:gd name="connsiteY540" fmla="*/ 1366260 h 1448389"/>
                  <a:gd name="connsiteX541" fmla="*/ 1886760 w 2206810"/>
                  <a:gd name="connsiteY541" fmla="*/ 1320950 h 1448389"/>
                  <a:gd name="connsiteX542" fmla="*/ 1892460 w 2206810"/>
                  <a:gd name="connsiteY542" fmla="*/ 1270908 h 1448389"/>
                  <a:gd name="connsiteX543" fmla="*/ 1929791 w 2206810"/>
                  <a:gd name="connsiteY543" fmla="*/ 1231012 h 1448389"/>
                  <a:gd name="connsiteX544" fmla="*/ 1943242 w 2206810"/>
                  <a:gd name="connsiteY544" fmla="*/ 1219898 h 1448389"/>
                  <a:gd name="connsiteX545" fmla="*/ 1986216 w 2206810"/>
                  <a:gd name="connsiteY545" fmla="*/ 1184504 h 1448389"/>
                  <a:gd name="connsiteX546" fmla="*/ 2000465 w 2206810"/>
                  <a:gd name="connsiteY546" fmla="*/ 1175385 h 1448389"/>
                  <a:gd name="connsiteX547" fmla="*/ 2019102 w 2206810"/>
                  <a:gd name="connsiteY547" fmla="*/ 1163359 h 1448389"/>
                  <a:gd name="connsiteX548" fmla="*/ 2011693 w 2206810"/>
                  <a:gd name="connsiteY548" fmla="*/ 1150763 h 1448389"/>
                  <a:gd name="connsiteX549" fmla="*/ 2009071 w 2206810"/>
                  <a:gd name="connsiteY549" fmla="*/ 1137598 h 1448389"/>
                  <a:gd name="connsiteX550" fmla="*/ 1999667 w 2206810"/>
                  <a:gd name="connsiteY550" fmla="*/ 1130188 h 1448389"/>
                  <a:gd name="connsiteX551" fmla="*/ 2002602 w 2206810"/>
                  <a:gd name="connsiteY551" fmla="*/ 1122682 h 1448389"/>
                  <a:gd name="connsiteX552" fmla="*/ 2003485 w 2206810"/>
                  <a:gd name="connsiteY552" fmla="*/ 1122380 h 1448389"/>
                  <a:gd name="connsiteX553" fmla="*/ 1987071 w 2206810"/>
                  <a:gd name="connsiteY553" fmla="*/ 1101406 h 1448389"/>
                  <a:gd name="connsiteX554" fmla="*/ 1988496 w 2206810"/>
                  <a:gd name="connsiteY554" fmla="*/ 1093883 h 1448389"/>
                  <a:gd name="connsiteX555" fmla="*/ 2003998 w 2206810"/>
                  <a:gd name="connsiteY555" fmla="*/ 1052334 h 1448389"/>
                  <a:gd name="connsiteX556" fmla="*/ 2012263 w 2206810"/>
                  <a:gd name="connsiteY556" fmla="*/ 1074448 h 1448389"/>
                  <a:gd name="connsiteX557" fmla="*/ 2019615 w 2206810"/>
                  <a:gd name="connsiteY557" fmla="*/ 1097245 h 1448389"/>
                  <a:gd name="connsiteX558" fmla="*/ 2042413 w 2206810"/>
                  <a:gd name="connsiteY558" fmla="*/ 1049712 h 1448389"/>
                  <a:gd name="connsiteX559" fmla="*/ 2064869 w 2206810"/>
                  <a:gd name="connsiteY559" fmla="*/ 1026401 h 1448389"/>
                  <a:gd name="connsiteX560" fmla="*/ 2067718 w 2206810"/>
                  <a:gd name="connsiteY560" fmla="*/ 1015458 h 1448389"/>
                  <a:gd name="connsiteX561" fmla="*/ 2106646 w 2206810"/>
                  <a:gd name="connsiteY561" fmla="*/ 1005199 h 1448389"/>
                  <a:gd name="connsiteX562" fmla="*/ 2108869 w 2206810"/>
                  <a:gd name="connsiteY562" fmla="*/ 995168 h 1448389"/>
                  <a:gd name="connsiteX563" fmla="*/ 2126412 w 2206810"/>
                  <a:gd name="connsiteY563" fmla="*/ 1003324 h 1448389"/>
                  <a:gd name="connsiteX564" fmla="*/ 2126423 w 2206810"/>
                  <a:gd name="connsiteY564" fmla="*/ 1003318 h 1448389"/>
                  <a:gd name="connsiteX565" fmla="*/ 2123573 w 2206810"/>
                  <a:gd name="connsiteY565" fmla="*/ 940624 h 1448389"/>
                  <a:gd name="connsiteX566" fmla="*/ 2164154 w 2206810"/>
                  <a:gd name="connsiteY566" fmla="*/ 918282 h 1448389"/>
                  <a:gd name="connsiteX567" fmla="*/ 2173786 w 2206810"/>
                  <a:gd name="connsiteY567" fmla="*/ 914976 h 1448389"/>
                  <a:gd name="connsiteX568" fmla="*/ 2185812 w 2206810"/>
                  <a:gd name="connsiteY568" fmla="*/ 918681 h 1448389"/>
                  <a:gd name="connsiteX569" fmla="*/ 2206786 w 2206810"/>
                  <a:gd name="connsiteY569" fmla="*/ 910645 h 1448389"/>
                  <a:gd name="connsiteX570" fmla="*/ 2205760 w 2206810"/>
                  <a:gd name="connsiteY570" fmla="*/ 892007 h 144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2206810" h="1448389">
                    <a:moveTo>
                      <a:pt x="94447" y="600251"/>
                    </a:moveTo>
                    <a:cubicBezTo>
                      <a:pt x="96948" y="600559"/>
                      <a:pt x="98856" y="602634"/>
                      <a:pt x="98949" y="605153"/>
                    </a:cubicBezTo>
                    <a:cubicBezTo>
                      <a:pt x="98781" y="606412"/>
                      <a:pt x="98290" y="607615"/>
                      <a:pt x="97524" y="608630"/>
                    </a:cubicBezTo>
                    <a:cubicBezTo>
                      <a:pt x="96043" y="611080"/>
                      <a:pt x="94561" y="613531"/>
                      <a:pt x="93022" y="615982"/>
                    </a:cubicBezTo>
                    <a:cubicBezTo>
                      <a:pt x="92330" y="617270"/>
                      <a:pt x="91446" y="618438"/>
                      <a:pt x="90400" y="619458"/>
                    </a:cubicBezTo>
                    <a:cubicBezTo>
                      <a:pt x="86581" y="622764"/>
                      <a:pt x="80882" y="621339"/>
                      <a:pt x="75866" y="621396"/>
                    </a:cubicBezTo>
                    <a:cubicBezTo>
                      <a:pt x="73289" y="621220"/>
                      <a:pt x="70716" y="621795"/>
                      <a:pt x="68457" y="623049"/>
                    </a:cubicBezTo>
                    <a:cubicBezTo>
                      <a:pt x="66225" y="624485"/>
                      <a:pt x="64940" y="627010"/>
                      <a:pt x="65094" y="629661"/>
                    </a:cubicBezTo>
                    <a:cubicBezTo>
                      <a:pt x="63100" y="630573"/>
                      <a:pt x="61447" y="627723"/>
                      <a:pt x="61162" y="625500"/>
                    </a:cubicBezTo>
                    <a:cubicBezTo>
                      <a:pt x="60592" y="620997"/>
                      <a:pt x="60592" y="616438"/>
                      <a:pt x="61162" y="611935"/>
                    </a:cubicBezTo>
                    <a:cubicBezTo>
                      <a:pt x="61170" y="610419"/>
                      <a:pt x="61738" y="608954"/>
                      <a:pt x="62758" y="607832"/>
                    </a:cubicBezTo>
                    <a:cubicBezTo>
                      <a:pt x="64493" y="606863"/>
                      <a:pt x="66532" y="606600"/>
                      <a:pt x="68457" y="607091"/>
                    </a:cubicBezTo>
                    <a:cubicBezTo>
                      <a:pt x="75131" y="606635"/>
                      <a:pt x="81617" y="604691"/>
                      <a:pt x="87436" y="601391"/>
                    </a:cubicBezTo>
                    <a:cubicBezTo>
                      <a:pt x="89621" y="600365"/>
                      <a:pt x="92049" y="599972"/>
                      <a:pt x="94447" y="600251"/>
                    </a:cubicBezTo>
                    <a:close/>
                    <a:moveTo>
                      <a:pt x="37452" y="440324"/>
                    </a:moveTo>
                    <a:cubicBezTo>
                      <a:pt x="40442" y="441356"/>
                      <a:pt x="43748" y="440843"/>
                      <a:pt x="46286" y="438956"/>
                    </a:cubicBezTo>
                    <a:cubicBezTo>
                      <a:pt x="48061" y="436243"/>
                      <a:pt x="48381" y="432829"/>
                      <a:pt x="47141" y="429837"/>
                    </a:cubicBezTo>
                    <a:cubicBezTo>
                      <a:pt x="43524" y="429854"/>
                      <a:pt x="40016" y="428600"/>
                      <a:pt x="37224" y="426303"/>
                    </a:cubicBezTo>
                    <a:cubicBezTo>
                      <a:pt x="36335" y="425306"/>
                      <a:pt x="35587" y="424195"/>
                      <a:pt x="35001" y="422998"/>
                    </a:cubicBezTo>
                    <a:lnTo>
                      <a:pt x="32151" y="417868"/>
                    </a:lnTo>
                    <a:cubicBezTo>
                      <a:pt x="27489" y="416882"/>
                      <a:pt x="22717" y="416517"/>
                      <a:pt x="17960" y="416785"/>
                    </a:cubicBezTo>
                    <a:cubicBezTo>
                      <a:pt x="15842" y="421202"/>
                      <a:pt x="14714" y="426024"/>
                      <a:pt x="14654" y="430920"/>
                    </a:cubicBezTo>
                    <a:cubicBezTo>
                      <a:pt x="14545" y="432003"/>
                      <a:pt x="14806" y="433086"/>
                      <a:pt x="15395" y="433998"/>
                    </a:cubicBezTo>
                    <a:cubicBezTo>
                      <a:pt x="16055" y="434693"/>
                      <a:pt x="16909" y="435166"/>
                      <a:pt x="17846" y="435366"/>
                    </a:cubicBezTo>
                    <a:cubicBezTo>
                      <a:pt x="24223" y="437349"/>
                      <a:pt x="30713" y="438945"/>
                      <a:pt x="37281" y="440153"/>
                    </a:cubicBezTo>
                    <a:close/>
                    <a:moveTo>
                      <a:pt x="288229" y="524847"/>
                    </a:moveTo>
                    <a:cubicBezTo>
                      <a:pt x="294498" y="524847"/>
                      <a:pt x="299628" y="519718"/>
                      <a:pt x="305327" y="517096"/>
                    </a:cubicBezTo>
                    <a:cubicBezTo>
                      <a:pt x="311027" y="514474"/>
                      <a:pt x="318493" y="514303"/>
                      <a:pt x="323338" y="509972"/>
                    </a:cubicBezTo>
                    <a:cubicBezTo>
                      <a:pt x="324940" y="508364"/>
                      <a:pt x="326337" y="506563"/>
                      <a:pt x="327498" y="504614"/>
                    </a:cubicBezTo>
                    <a:lnTo>
                      <a:pt x="332799" y="496521"/>
                    </a:lnTo>
                    <a:cubicBezTo>
                      <a:pt x="340216" y="494167"/>
                      <a:pt x="345873" y="488120"/>
                      <a:pt x="347731" y="480562"/>
                    </a:cubicBezTo>
                    <a:cubicBezTo>
                      <a:pt x="343231" y="479987"/>
                      <a:pt x="338659" y="480494"/>
                      <a:pt x="334395" y="482044"/>
                    </a:cubicBezTo>
                    <a:cubicBezTo>
                      <a:pt x="333299" y="482420"/>
                      <a:pt x="332247" y="482916"/>
                      <a:pt x="331260" y="483526"/>
                    </a:cubicBezTo>
                    <a:cubicBezTo>
                      <a:pt x="329273" y="485122"/>
                      <a:pt x="327576" y="487054"/>
                      <a:pt x="326244" y="489226"/>
                    </a:cubicBezTo>
                    <a:cubicBezTo>
                      <a:pt x="320756" y="496726"/>
                      <a:pt x="314405" y="503554"/>
                      <a:pt x="307322" y="509573"/>
                    </a:cubicBezTo>
                    <a:cubicBezTo>
                      <a:pt x="304986" y="511870"/>
                      <a:pt x="302132" y="513568"/>
                      <a:pt x="299001" y="514531"/>
                    </a:cubicBezTo>
                    <a:cubicBezTo>
                      <a:pt x="297673" y="514708"/>
                      <a:pt x="296360" y="514976"/>
                      <a:pt x="295068" y="515329"/>
                    </a:cubicBezTo>
                    <a:cubicBezTo>
                      <a:pt x="291222" y="516971"/>
                      <a:pt x="288533" y="520527"/>
                      <a:pt x="288001" y="524676"/>
                    </a:cubicBezTo>
                    <a:close/>
                    <a:moveTo>
                      <a:pt x="766700" y="630459"/>
                    </a:moveTo>
                    <a:cubicBezTo>
                      <a:pt x="765326" y="631576"/>
                      <a:pt x="764465" y="633200"/>
                      <a:pt x="764306" y="634961"/>
                    </a:cubicBezTo>
                    <a:cubicBezTo>
                      <a:pt x="763075" y="638233"/>
                      <a:pt x="763075" y="641835"/>
                      <a:pt x="764306" y="645106"/>
                    </a:cubicBezTo>
                    <a:cubicBezTo>
                      <a:pt x="766244" y="648469"/>
                      <a:pt x="770632" y="649894"/>
                      <a:pt x="772171" y="653427"/>
                    </a:cubicBezTo>
                    <a:cubicBezTo>
                      <a:pt x="773710" y="656961"/>
                      <a:pt x="771088" y="663116"/>
                      <a:pt x="773482" y="667163"/>
                    </a:cubicBezTo>
                    <a:cubicBezTo>
                      <a:pt x="775044" y="669386"/>
                      <a:pt x="777551" y="670759"/>
                      <a:pt x="780264" y="670868"/>
                    </a:cubicBezTo>
                    <a:cubicBezTo>
                      <a:pt x="782886" y="670868"/>
                      <a:pt x="785565" y="670868"/>
                      <a:pt x="788244" y="670868"/>
                    </a:cubicBezTo>
                    <a:cubicBezTo>
                      <a:pt x="792057" y="664114"/>
                      <a:pt x="793727" y="656363"/>
                      <a:pt x="793031" y="648640"/>
                    </a:cubicBezTo>
                    <a:cubicBezTo>
                      <a:pt x="792370" y="645904"/>
                      <a:pt x="791418" y="643248"/>
                      <a:pt x="790181" y="640718"/>
                    </a:cubicBezTo>
                    <a:lnTo>
                      <a:pt x="786762" y="633137"/>
                    </a:lnTo>
                    <a:cubicBezTo>
                      <a:pt x="786460" y="632180"/>
                      <a:pt x="785884" y="631331"/>
                      <a:pt x="785109" y="630686"/>
                    </a:cubicBezTo>
                    <a:cubicBezTo>
                      <a:pt x="784208" y="630242"/>
                      <a:pt x="783205" y="630048"/>
                      <a:pt x="782202" y="630117"/>
                    </a:cubicBezTo>
                    <a:lnTo>
                      <a:pt x="770005" y="630117"/>
                    </a:lnTo>
                    <a:cubicBezTo>
                      <a:pt x="768837" y="629797"/>
                      <a:pt x="767600" y="629854"/>
                      <a:pt x="766472" y="630288"/>
                    </a:cubicBezTo>
                    <a:close/>
                    <a:moveTo>
                      <a:pt x="829850" y="610168"/>
                    </a:moveTo>
                    <a:cubicBezTo>
                      <a:pt x="832073" y="607718"/>
                      <a:pt x="830306" y="603500"/>
                      <a:pt x="832016" y="600707"/>
                    </a:cubicBezTo>
                    <a:cubicBezTo>
                      <a:pt x="833423" y="599089"/>
                      <a:pt x="835202" y="597835"/>
                      <a:pt x="837202" y="597060"/>
                    </a:cubicBezTo>
                    <a:cubicBezTo>
                      <a:pt x="839026" y="595977"/>
                      <a:pt x="841021" y="594666"/>
                      <a:pt x="839767" y="592956"/>
                    </a:cubicBezTo>
                    <a:cubicBezTo>
                      <a:pt x="834791" y="586498"/>
                      <a:pt x="829154" y="580577"/>
                      <a:pt x="822953" y="575288"/>
                    </a:cubicBezTo>
                    <a:lnTo>
                      <a:pt x="834010" y="565484"/>
                    </a:lnTo>
                    <a:cubicBezTo>
                      <a:pt x="827182" y="557864"/>
                      <a:pt x="817983" y="552769"/>
                      <a:pt x="807907" y="551008"/>
                    </a:cubicBezTo>
                    <a:cubicBezTo>
                      <a:pt x="805644" y="550843"/>
                      <a:pt x="803427" y="550284"/>
                      <a:pt x="801352" y="549355"/>
                    </a:cubicBezTo>
                    <a:cubicBezTo>
                      <a:pt x="799027" y="547936"/>
                      <a:pt x="797072" y="545981"/>
                      <a:pt x="795653" y="543656"/>
                    </a:cubicBezTo>
                    <a:lnTo>
                      <a:pt x="782487" y="523992"/>
                    </a:lnTo>
                    <a:cubicBezTo>
                      <a:pt x="780914" y="521769"/>
                      <a:pt x="779523" y="519427"/>
                      <a:pt x="778327" y="516982"/>
                    </a:cubicBezTo>
                    <a:cubicBezTo>
                      <a:pt x="776845" y="513733"/>
                      <a:pt x="776047" y="510143"/>
                      <a:pt x="774337" y="506951"/>
                    </a:cubicBezTo>
                    <a:cubicBezTo>
                      <a:pt x="771487" y="501821"/>
                      <a:pt x="766244" y="498003"/>
                      <a:pt x="764819" y="492303"/>
                    </a:cubicBezTo>
                    <a:cubicBezTo>
                      <a:pt x="764659" y="489972"/>
                      <a:pt x="763958" y="487704"/>
                      <a:pt x="762767" y="485692"/>
                    </a:cubicBezTo>
                    <a:cubicBezTo>
                      <a:pt x="761000" y="483583"/>
                      <a:pt x="757865" y="483412"/>
                      <a:pt x="755301" y="482386"/>
                    </a:cubicBezTo>
                    <a:cubicBezTo>
                      <a:pt x="751989" y="480625"/>
                      <a:pt x="749214" y="478009"/>
                      <a:pt x="747264" y="474806"/>
                    </a:cubicBezTo>
                    <a:lnTo>
                      <a:pt x="729254" y="450184"/>
                    </a:lnTo>
                    <a:cubicBezTo>
                      <a:pt x="725977" y="444770"/>
                      <a:pt x="721315" y="440324"/>
                      <a:pt x="715746" y="437303"/>
                    </a:cubicBezTo>
                    <a:cubicBezTo>
                      <a:pt x="709847" y="434471"/>
                      <a:pt x="702757" y="436751"/>
                      <a:pt x="699617" y="442490"/>
                    </a:cubicBezTo>
                    <a:cubicBezTo>
                      <a:pt x="699446" y="443430"/>
                      <a:pt x="699013" y="444297"/>
                      <a:pt x="698363" y="444998"/>
                    </a:cubicBezTo>
                    <a:cubicBezTo>
                      <a:pt x="697183" y="445590"/>
                      <a:pt x="695844" y="445790"/>
                      <a:pt x="694544" y="445568"/>
                    </a:cubicBezTo>
                    <a:cubicBezTo>
                      <a:pt x="688275" y="445568"/>
                      <a:pt x="685026" y="453718"/>
                      <a:pt x="679099" y="455770"/>
                    </a:cubicBezTo>
                    <a:cubicBezTo>
                      <a:pt x="676500" y="456482"/>
                      <a:pt x="673770" y="456596"/>
                      <a:pt x="671119" y="456112"/>
                    </a:cubicBezTo>
                    <a:cubicBezTo>
                      <a:pt x="665021" y="455485"/>
                      <a:pt x="657726" y="454003"/>
                      <a:pt x="655617" y="448246"/>
                    </a:cubicBezTo>
                    <a:cubicBezTo>
                      <a:pt x="654306" y="444827"/>
                      <a:pt x="655161" y="440495"/>
                      <a:pt x="652482" y="437987"/>
                    </a:cubicBezTo>
                    <a:cubicBezTo>
                      <a:pt x="649803" y="435479"/>
                      <a:pt x="645586" y="436676"/>
                      <a:pt x="642109" y="437987"/>
                    </a:cubicBezTo>
                    <a:cubicBezTo>
                      <a:pt x="638632" y="439298"/>
                      <a:pt x="633902" y="439241"/>
                      <a:pt x="632249" y="435992"/>
                    </a:cubicBezTo>
                    <a:cubicBezTo>
                      <a:pt x="631514" y="433622"/>
                      <a:pt x="631765" y="431057"/>
                      <a:pt x="632933" y="428868"/>
                    </a:cubicBezTo>
                    <a:cubicBezTo>
                      <a:pt x="634626" y="425061"/>
                      <a:pt x="635161" y="420838"/>
                      <a:pt x="634472" y="416728"/>
                    </a:cubicBezTo>
                    <a:cubicBezTo>
                      <a:pt x="633651" y="412539"/>
                      <a:pt x="629964" y="409524"/>
                      <a:pt x="625695" y="409547"/>
                    </a:cubicBezTo>
                    <a:cubicBezTo>
                      <a:pt x="623956" y="409895"/>
                      <a:pt x="622286" y="410510"/>
                      <a:pt x="620736" y="411371"/>
                    </a:cubicBezTo>
                    <a:cubicBezTo>
                      <a:pt x="610682" y="416118"/>
                      <a:pt x="599152" y="416654"/>
                      <a:pt x="588705" y="412853"/>
                    </a:cubicBezTo>
                    <a:lnTo>
                      <a:pt x="588363" y="56465"/>
                    </a:lnTo>
                    <a:cubicBezTo>
                      <a:pt x="578218" y="52190"/>
                      <a:pt x="568928" y="44610"/>
                      <a:pt x="558954" y="39366"/>
                    </a:cubicBezTo>
                    <a:cubicBezTo>
                      <a:pt x="555026" y="37086"/>
                      <a:pt x="550610" y="35775"/>
                      <a:pt x="546073" y="35547"/>
                    </a:cubicBezTo>
                    <a:cubicBezTo>
                      <a:pt x="541308" y="35661"/>
                      <a:pt x="536798" y="37719"/>
                      <a:pt x="533591" y="41247"/>
                    </a:cubicBezTo>
                    <a:cubicBezTo>
                      <a:pt x="527094" y="48371"/>
                      <a:pt x="526011" y="61309"/>
                      <a:pt x="516493" y="64045"/>
                    </a:cubicBezTo>
                    <a:cubicBezTo>
                      <a:pt x="509425" y="65926"/>
                      <a:pt x="502871" y="60112"/>
                      <a:pt x="497399" y="55211"/>
                    </a:cubicBezTo>
                    <a:cubicBezTo>
                      <a:pt x="491928" y="50309"/>
                      <a:pt x="483835" y="45750"/>
                      <a:pt x="477793" y="49910"/>
                    </a:cubicBezTo>
                    <a:cubicBezTo>
                      <a:pt x="474236" y="52543"/>
                      <a:pt x="473103" y="57365"/>
                      <a:pt x="475115" y="61309"/>
                    </a:cubicBezTo>
                    <a:cubicBezTo>
                      <a:pt x="465767" y="59200"/>
                      <a:pt x="459270" y="72366"/>
                      <a:pt x="449695" y="72708"/>
                    </a:cubicBezTo>
                    <a:cubicBezTo>
                      <a:pt x="444254" y="71904"/>
                      <a:pt x="439365" y="68946"/>
                      <a:pt x="436130" y="64501"/>
                    </a:cubicBezTo>
                    <a:cubicBezTo>
                      <a:pt x="422850" y="52361"/>
                      <a:pt x="406949" y="38853"/>
                      <a:pt x="389280" y="42045"/>
                    </a:cubicBezTo>
                    <a:cubicBezTo>
                      <a:pt x="384940" y="43322"/>
                      <a:pt x="380496" y="44216"/>
                      <a:pt x="376001" y="44724"/>
                    </a:cubicBezTo>
                    <a:cubicBezTo>
                      <a:pt x="371498" y="44724"/>
                      <a:pt x="366426" y="41817"/>
                      <a:pt x="366141" y="37314"/>
                    </a:cubicBezTo>
                    <a:cubicBezTo>
                      <a:pt x="366141" y="35320"/>
                      <a:pt x="366882" y="33154"/>
                      <a:pt x="366141" y="31615"/>
                    </a:cubicBezTo>
                    <a:cubicBezTo>
                      <a:pt x="364203" y="27910"/>
                      <a:pt x="357648" y="30304"/>
                      <a:pt x="354742" y="27169"/>
                    </a:cubicBezTo>
                    <a:cubicBezTo>
                      <a:pt x="353317" y="25459"/>
                      <a:pt x="353545" y="23009"/>
                      <a:pt x="352804" y="20900"/>
                    </a:cubicBezTo>
                    <a:cubicBezTo>
                      <a:pt x="351208" y="16454"/>
                      <a:pt x="345736" y="15200"/>
                      <a:pt x="341405" y="13263"/>
                    </a:cubicBezTo>
                    <a:cubicBezTo>
                      <a:pt x="337073" y="11325"/>
                      <a:pt x="332685" y="6309"/>
                      <a:pt x="335705" y="2491"/>
                    </a:cubicBezTo>
                    <a:cubicBezTo>
                      <a:pt x="323737" y="-6572"/>
                      <a:pt x="306467" y="12465"/>
                      <a:pt x="292788" y="6480"/>
                    </a:cubicBezTo>
                    <a:cubicBezTo>
                      <a:pt x="290167" y="5340"/>
                      <a:pt x="288001" y="3402"/>
                      <a:pt x="285379" y="2263"/>
                    </a:cubicBezTo>
                    <a:cubicBezTo>
                      <a:pt x="280312" y="769"/>
                      <a:pt x="274891" y="1031"/>
                      <a:pt x="269990" y="3003"/>
                    </a:cubicBezTo>
                    <a:cubicBezTo>
                      <a:pt x="247918" y="9643"/>
                      <a:pt x="227397" y="20632"/>
                      <a:pt x="209633" y="35320"/>
                    </a:cubicBezTo>
                    <a:cubicBezTo>
                      <a:pt x="206306" y="38591"/>
                      <a:pt x="202269" y="41047"/>
                      <a:pt x="197835" y="42501"/>
                    </a:cubicBezTo>
                    <a:cubicBezTo>
                      <a:pt x="194047" y="42911"/>
                      <a:pt x="190225" y="42911"/>
                      <a:pt x="186436" y="42501"/>
                    </a:cubicBezTo>
                    <a:cubicBezTo>
                      <a:pt x="179047" y="43002"/>
                      <a:pt x="171826" y="44935"/>
                      <a:pt x="165177" y="48200"/>
                    </a:cubicBezTo>
                    <a:lnTo>
                      <a:pt x="97524" y="75900"/>
                    </a:lnTo>
                    <a:cubicBezTo>
                      <a:pt x="92614" y="81519"/>
                      <a:pt x="86979" y="86467"/>
                      <a:pt x="80768" y="90604"/>
                    </a:cubicBezTo>
                    <a:cubicBezTo>
                      <a:pt x="75070" y="95130"/>
                      <a:pt x="68851" y="98954"/>
                      <a:pt x="62245" y="102003"/>
                    </a:cubicBezTo>
                    <a:cubicBezTo>
                      <a:pt x="53269" y="105868"/>
                      <a:pt x="43327" y="106905"/>
                      <a:pt x="33747" y="104967"/>
                    </a:cubicBezTo>
                    <a:cubicBezTo>
                      <a:pt x="33388" y="109817"/>
                      <a:pt x="36680" y="114183"/>
                      <a:pt x="41442" y="115169"/>
                    </a:cubicBezTo>
                    <a:cubicBezTo>
                      <a:pt x="46105" y="115910"/>
                      <a:pt x="50856" y="115910"/>
                      <a:pt x="55519" y="115169"/>
                    </a:cubicBezTo>
                    <a:cubicBezTo>
                      <a:pt x="72195" y="114525"/>
                      <a:pt x="88080" y="122299"/>
                      <a:pt x="97809" y="135858"/>
                    </a:cubicBezTo>
                    <a:cubicBezTo>
                      <a:pt x="99885" y="138782"/>
                      <a:pt x="101788" y="141831"/>
                      <a:pt x="103509" y="144977"/>
                    </a:cubicBezTo>
                    <a:cubicBezTo>
                      <a:pt x="108957" y="143496"/>
                      <a:pt x="114703" y="143496"/>
                      <a:pt x="120151" y="144977"/>
                    </a:cubicBezTo>
                    <a:cubicBezTo>
                      <a:pt x="125395" y="146972"/>
                      <a:pt x="130296" y="151589"/>
                      <a:pt x="128131" y="156775"/>
                    </a:cubicBezTo>
                    <a:cubicBezTo>
                      <a:pt x="131379" y="156376"/>
                      <a:pt x="133830" y="159853"/>
                      <a:pt x="134571" y="163045"/>
                    </a:cubicBezTo>
                    <a:cubicBezTo>
                      <a:pt x="134869" y="166299"/>
                      <a:pt x="135966" y="169434"/>
                      <a:pt x="137763" y="172164"/>
                    </a:cubicBezTo>
                    <a:cubicBezTo>
                      <a:pt x="141239" y="175755"/>
                      <a:pt x="147053" y="174444"/>
                      <a:pt x="152068" y="174729"/>
                    </a:cubicBezTo>
                    <a:cubicBezTo>
                      <a:pt x="157084" y="175014"/>
                      <a:pt x="162726" y="180428"/>
                      <a:pt x="159307" y="184076"/>
                    </a:cubicBezTo>
                    <a:cubicBezTo>
                      <a:pt x="163964" y="184338"/>
                      <a:pt x="168111" y="187114"/>
                      <a:pt x="170136" y="191314"/>
                    </a:cubicBezTo>
                    <a:lnTo>
                      <a:pt x="138789" y="193423"/>
                    </a:lnTo>
                    <a:cubicBezTo>
                      <a:pt x="136488" y="193360"/>
                      <a:pt x="134223" y="193999"/>
                      <a:pt x="132291" y="195247"/>
                    </a:cubicBezTo>
                    <a:cubicBezTo>
                      <a:pt x="129897" y="197128"/>
                      <a:pt x="129441" y="200490"/>
                      <a:pt x="127789" y="202998"/>
                    </a:cubicBezTo>
                    <a:cubicBezTo>
                      <a:pt x="124517" y="207466"/>
                      <a:pt x="118240" y="208441"/>
                      <a:pt x="113770" y="205170"/>
                    </a:cubicBezTo>
                    <a:cubicBezTo>
                      <a:pt x="113115" y="204691"/>
                      <a:pt x="112521" y="204132"/>
                      <a:pt x="112001" y="203511"/>
                    </a:cubicBezTo>
                    <a:cubicBezTo>
                      <a:pt x="111009" y="201681"/>
                      <a:pt x="109824" y="199960"/>
                      <a:pt x="108467" y="198381"/>
                    </a:cubicBezTo>
                    <a:cubicBezTo>
                      <a:pt x="102768" y="193480"/>
                      <a:pt x="93934" y="203055"/>
                      <a:pt x="86809" y="200490"/>
                    </a:cubicBezTo>
                    <a:cubicBezTo>
                      <a:pt x="81509" y="198552"/>
                      <a:pt x="80768" y="191656"/>
                      <a:pt x="79514" y="186185"/>
                    </a:cubicBezTo>
                    <a:cubicBezTo>
                      <a:pt x="78260" y="180713"/>
                      <a:pt x="72846" y="174786"/>
                      <a:pt x="68115" y="177635"/>
                    </a:cubicBezTo>
                    <a:cubicBezTo>
                      <a:pt x="64752" y="179858"/>
                      <a:pt x="65208" y="185216"/>
                      <a:pt x="62416" y="188236"/>
                    </a:cubicBezTo>
                    <a:cubicBezTo>
                      <a:pt x="59623" y="191257"/>
                      <a:pt x="54835" y="190972"/>
                      <a:pt x="51473" y="193252"/>
                    </a:cubicBezTo>
                    <a:cubicBezTo>
                      <a:pt x="48110" y="195532"/>
                      <a:pt x="45773" y="202314"/>
                      <a:pt x="41271" y="204024"/>
                    </a:cubicBezTo>
                    <a:cubicBezTo>
                      <a:pt x="38136" y="205164"/>
                      <a:pt x="34716" y="203739"/>
                      <a:pt x="31354" y="204024"/>
                    </a:cubicBezTo>
                    <a:cubicBezTo>
                      <a:pt x="19955" y="204024"/>
                      <a:pt x="10550" y="221122"/>
                      <a:pt x="291" y="215423"/>
                    </a:cubicBezTo>
                    <a:cubicBezTo>
                      <a:pt x="-1646" y="222604"/>
                      <a:pt x="6447" y="228475"/>
                      <a:pt x="13742" y="229900"/>
                    </a:cubicBezTo>
                    <a:cubicBezTo>
                      <a:pt x="21037" y="231324"/>
                      <a:pt x="29302" y="231267"/>
                      <a:pt x="34488" y="236568"/>
                    </a:cubicBezTo>
                    <a:cubicBezTo>
                      <a:pt x="36531" y="238301"/>
                      <a:pt x="37261" y="241133"/>
                      <a:pt x="36312" y="243635"/>
                    </a:cubicBezTo>
                    <a:cubicBezTo>
                      <a:pt x="35343" y="245345"/>
                      <a:pt x="33234" y="246200"/>
                      <a:pt x="32493" y="247967"/>
                    </a:cubicBezTo>
                    <a:cubicBezTo>
                      <a:pt x="30442" y="252868"/>
                      <a:pt x="39105" y="254692"/>
                      <a:pt x="42183" y="258967"/>
                    </a:cubicBezTo>
                    <a:cubicBezTo>
                      <a:pt x="44006" y="261418"/>
                      <a:pt x="43949" y="265008"/>
                      <a:pt x="46229" y="267003"/>
                    </a:cubicBezTo>
                    <a:cubicBezTo>
                      <a:pt x="50276" y="270537"/>
                      <a:pt x="55918" y="265806"/>
                      <a:pt x="60136" y="262501"/>
                    </a:cubicBezTo>
                    <a:cubicBezTo>
                      <a:pt x="68943" y="255901"/>
                      <a:pt x="80823" y="255137"/>
                      <a:pt x="90400" y="260563"/>
                    </a:cubicBezTo>
                    <a:cubicBezTo>
                      <a:pt x="95188" y="263355"/>
                      <a:pt x="100317" y="267858"/>
                      <a:pt x="105447" y="265749"/>
                    </a:cubicBezTo>
                    <a:cubicBezTo>
                      <a:pt x="107540" y="264649"/>
                      <a:pt x="109308" y="263013"/>
                      <a:pt x="110576" y="261019"/>
                    </a:cubicBezTo>
                    <a:cubicBezTo>
                      <a:pt x="117758" y="251444"/>
                      <a:pt x="126079" y="240045"/>
                      <a:pt x="138105" y="239931"/>
                    </a:cubicBezTo>
                    <a:cubicBezTo>
                      <a:pt x="147464" y="240176"/>
                      <a:pt x="155168" y="247368"/>
                      <a:pt x="156058" y="256687"/>
                    </a:cubicBezTo>
                    <a:cubicBezTo>
                      <a:pt x="150643" y="254008"/>
                      <a:pt x="145571" y="261988"/>
                      <a:pt x="146882" y="268086"/>
                    </a:cubicBezTo>
                    <a:cubicBezTo>
                      <a:pt x="148193" y="274184"/>
                      <a:pt x="152581" y="279143"/>
                      <a:pt x="152581" y="285184"/>
                    </a:cubicBezTo>
                    <a:cubicBezTo>
                      <a:pt x="152242" y="292212"/>
                      <a:pt x="147764" y="298367"/>
                      <a:pt x="141182" y="300858"/>
                    </a:cubicBezTo>
                    <a:cubicBezTo>
                      <a:pt x="134687" y="303200"/>
                      <a:pt x="127789" y="304232"/>
                      <a:pt x="120892" y="303879"/>
                    </a:cubicBezTo>
                    <a:cubicBezTo>
                      <a:pt x="117353" y="303531"/>
                      <a:pt x="113807" y="304483"/>
                      <a:pt x="110918" y="306557"/>
                    </a:cubicBezTo>
                    <a:cubicBezTo>
                      <a:pt x="106758" y="310376"/>
                      <a:pt x="108410" y="317102"/>
                      <a:pt x="110291" y="322402"/>
                    </a:cubicBezTo>
                    <a:cubicBezTo>
                      <a:pt x="105846" y="326050"/>
                      <a:pt x="99177" y="322858"/>
                      <a:pt x="94732" y="319267"/>
                    </a:cubicBezTo>
                    <a:cubicBezTo>
                      <a:pt x="90286" y="315677"/>
                      <a:pt x="84758" y="311402"/>
                      <a:pt x="79343" y="313568"/>
                    </a:cubicBezTo>
                    <a:cubicBezTo>
                      <a:pt x="79967" y="325246"/>
                      <a:pt x="77634" y="336890"/>
                      <a:pt x="72561" y="347423"/>
                    </a:cubicBezTo>
                    <a:cubicBezTo>
                      <a:pt x="68628" y="344174"/>
                      <a:pt x="62416" y="346910"/>
                      <a:pt x="59737" y="351184"/>
                    </a:cubicBezTo>
                    <a:cubicBezTo>
                      <a:pt x="57595" y="355772"/>
                      <a:pt x="56136" y="360651"/>
                      <a:pt x="55405" y="365661"/>
                    </a:cubicBezTo>
                    <a:cubicBezTo>
                      <a:pt x="54617" y="370751"/>
                      <a:pt x="51124" y="375008"/>
                      <a:pt x="46286" y="376775"/>
                    </a:cubicBezTo>
                    <a:cubicBezTo>
                      <a:pt x="44120" y="379169"/>
                      <a:pt x="47198" y="382987"/>
                      <a:pt x="50390" y="383557"/>
                    </a:cubicBezTo>
                    <a:cubicBezTo>
                      <a:pt x="53623" y="383489"/>
                      <a:pt x="56849" y="383888"/>
                      <a:pt x="59965" y="384754"/>
                    </a:cubicBezTo>
                    <a:cubicBezTo>
                      <a:pt x="65151" y="387490"/>
                      <a:pt x="64353" y="395070"/>
                      <a:pt x="62815" y="400713"/>
                    </a:cubicBezTo>
                    <a:lnTo>
                      <a:pt x="51758" y="405044"/>
                    </a:lnTo>
                    <a:lnTo>
                      <a:pt x="66291" y="417868"/>
                    </a:lnTo>
                    <a:cubicBezTo>
                      <a:pt x="67732" y="419327"/>
                      <a:pt x="69459" y="420473"/>
                      <a:pt x="71364" y="421231"/>
                    </a:cubicBezTo>
                    <a:cubicBezTo>
                      <a:pt x="73520" y="421795"/>
                      <a:pt x="75767" y="421926"/>
                      <a:pt x="77975" y="421630"/>
                    </a:cubicBezTo>
                    <a:cubicBezTo>
                      <a:pt x="89812" y="421339"/>
                      <a:pt x="101240" y="425961"/>
                      <a:pt x="109550" y="434397"/>
                    </a:cubicBezTo>
                    <a:cubicBezTo>
                      <a:pt x="110291" y="427215"/>
                      <a:pt x="113939" y="417697"/>
                      <a:pt x="120949" y="419122"/>
                    </a:cubicBezTo>
                    <a:cubicBezTo>
                      <a:pt x="128872" y="420661"/>
                      <a:pt x="127504" y="433314"/>
                      <a:pt x="133488" y="438785"/>
                    </a:cubicBezTo>
                    <a:cubicBezTo>
                      <a:pt x="135426" y="440552"/>
                      <a:pt x="138390" y="441863"/>
                      <a:pt x="138504" y="444485"/>
                    </a:cubicBezTo>
                    <a:cubicBezTo>
                      <a:pt x="138618" y="447106"/>
                      <a:pt x="135654" y="448816"/>
                      <a:pt x="133431" y="450184"/>
                    </a:cubicBezTo>
                    <a:cubicBezTo>
                      <a:pt x="127594" y="454259"/>
                      <a:pt x="124893" y="461526"/>
                      <a:pt x="126649" y="468422"/>
                    </a:cubicBezTo>
                    <a:cubicBezTo>
                      <a:pt x="132348" y="472013"/>
                      <a:pt x="140270" y="474977"/>
                      <a:pt x="144146" y="469790"/>
                    </a:cubicBezTo>
                    <a:cubicBezTo>
                      <a:pt x="145256" y="467682"/>
                      <a:pt x="146209" y="465487"/>
                      <a:pt x="146996" y="463236"/>
                    </a:cubicBezTo>
                    <a:cubicBezTo>
                      <a:pt x="150928" y="455941"/>
                      <a:pt x="161586" y="457138"/>
                      <a:pt x="169794" y="459075"/>
                    </a:cubicBezTo>
                    <a:cubicBezTo>
                      <a:pt x="178001" y="461013"/>
                      <a:pt x="188944" y="461070"/>
                      <a:pt x="191623" y="453376"/>
                    </a:cubicBezTo>
                    <a:cubicBezTo>
                      <a:pt x="192193" y="451723"/>
                      <a:pt x="192364" y="449785"/>
                      <a:pt x="193675" y="448645"/>
                    </a:cubicBezTo>
                    <a:cubicBezTo>
                      <a:pt x="194869" y="447910"/>
                      <a:pt x="196270" y="447591"/>
                      <a:pt x="197664" y="447733"/>
                    </a:cubicBezTo>
                    <a:cubicBezTo>
                      <a:pt x="203393" y="447750"/>
                      <a:pt x="209110" y="448229"/>
                      <a:pt x="214763" y="449158"/>
                    </a:cubicBezTo>
                    <a:cubicBezTo>
                      <a:pt x="215105" y="451153"/>
                      <a:pt x="215390" y="453205"/>
                      <a:pt x="215731" y="455257"/>
                    </a:cubicBezTo>
                    <a:lnTo>
                      <a:pt x="223141" y="456910"/>
                    </a:lnTo>
                    <a:cubicBezTo>
                      <a:pt x="220405" y="460386"/>
                      <a:pt x="225820" y="464547"/>
                      <a:pt x="230151" y="465345"/>
                    </a:cubicBezTo>
                    <a:cubicBezTo>
                      <a:pt x="234483" y="466143"/>
                      <a:pt x="240410" y="468365"/>
                      <a:pt x="239384" y="472640"/>
                    </a:cubicBezTo>
                    <a:cubicBezTo>
                      <a:pt x="238700" y="475661"/>
                      <a:pt x="235110" y="476687"/>
                      <a:pt x="232545" y="478340"/>
                    </a:cubicBezTo>
                    <a:cubicBezTo>
                      <a:pt x="228226" y="482266"/>
                      <a:pt x="225694" y="487778"/>
                      <a:pt x="225535" y="493614"/>
                    </a:cubicBezTo>
                    <a:lnTo>
                      <a:pt x="221089" y="521200"/>
                    </a:lnTo>
                    <a:cubicBezTo>
                      <a:pt x="217897" y="519148"/>
                      <a:pt x="213680" y="522111"/>
                      <a:pt x="211856" y="525417"/>
                    </a:cubicBezTo>
                    <a:cubicBezTo>
                      <a:pt x="210569" y="529036"/>
                      <a:pt x="208638" y="532399"/>
                      <a:pt x="206156" y="535334"/>
                    </a:cubicBezTo>
                    <a:cubicBezTo>
                      <a:pt x="201027" y="539723"/>
                      <a:pt x="192535" y="536873"/>
                      <a:pt x="187006" y="541034"/>
                    </a:cubicBezTo>
                    <a:cubicBezTo>
                      <a:pt x="184515" y="543376"/>
                      <a:pt x="182569" y="546237"/>
                      <a:pt x="181307" y="549412"/>
                    </a:cubicBezTo>
                    <a:cubicBezTo>
                      <a:pt x="172276" y="565473"/>
                      <a:pt x="155036" y="575151"/>
                      <a:pt x="136623" y="574490"/>
                    </a:cubicBezTo>
                    <a:cubicBezTo>
                      <a:pt x="134717" y="574267"/>
                      <a:pt x="132788" y="574381"/>
                      <a:pt x="130923" y="574832"/>
                    </a:cubicBezTo>
                    <a:cubicBezTo>
                      <a:pt x="128889" y="575681"/>
                      <a:pt x="127104" y="577037"/>
                      <a:pt x="125737" y="578764"/>
                    </a:cubicBezTo>
                    <a:cubicBezTo>
                      <a:pt x="120090" y="584948"/>
                      <a:pt x="114980" y="591605"/>
                      <a:pt x="110462" y="598655"/>
                    </a:cubicBezTo>
                    <a:cubicBezTo>
                      <a:pt x="110462" y="601106"/>
                      <a:pt x="109607" y="604355"/>
                      <a:pt x="109607" y="606635"/>
                    </a:cubicBezTo>
                    <a:cubicBezTo>
                      <a:pt x="116437" y="606247"/>
                      <a:pt x="122779" y="602976"/>
                      <a:pt x="127048" y="597629"/>
                    </a:cubicBezTo>
                    <a:cubicBezTo>
                      <a:pt x="128530" y="595806"/>
                      <a:pt x="129897" y="593640"/>
                      <a:pt x="132120" y="593013"/>
                    </a:cubicBezTo>
                    <a:cubicBezTo>
                      <a:pt x="133708" y="592791"/>
                      <a:pt x="135320" y="592791"/>
                      <a:pt x="136908" y="593013"/>
                    </a:cubicBezTo>
                    <a:cubicBezTo>
                      <a:pt x="144944" y="593526"/>
                      <a:pt x="150814" y="585889"/>
                      <a:pt x="157597" y="581614"/>
                    </a:cubicBezTo>
                    <a:cubicBezTo>
                      <a:pt x="166488" y="575915"/>
                      <a:pt x="177716" y="575915"/>
                      <a:pt x="188260" y="574604"/>
                    </a:cubicBezTo>
                    <a:cubicBezTo>
                      <a:pt x="193392" y="574347"/>
                      <a:pt x="198408" y="572991"/>
                      <a:pt x="202965" y="570614"/>
                    </a:cubicBezTo>
                    <a:cubicBezTo>
                      <a:pt x="207545" y="568118"/>
                      <a:pt x="210422" y="563347"/>
                      <a:pt x="210488" y="558132"/>
                    </a:cubicBezTo>
                    <a:cubicBezTo>
                      <a:pt x="210488" y="555909"/>
                      <a:pt x="209519" y="553459"/>
                      <a:pt x="210488" y="551578"/>
                    </a:cubicBezTo>
                    <a:cubicBezTo>
                      <a:pt x="211512" y="550404"/>
                      <a:pt x="212894" y="549606"/>
                      <a:pt x="214421" y="549298"/>
                    </a:cubicBezTo>
                    <a:cubicBezTo>
                      <a:pt x="222799" y="546448"/>
                      <a:pt x="232317" y="540920"/>
                      <a:pt x="232203" y="532200"/>
                    </a:cubicBezTo>
                    <a:cubicBezTo>
                      <a:pt x="238529" y="535049"/>
                      <a:pt x="245768" y="530661"/>
                      <a:pt x="250498" y="525531"/>
                    </a:cubicBezTo>
                    <a:cubicBezTo>
                      <a:pt x="254437" y="519803"/>
                      <a:pt x="259595" y="515010"/>
                      <a:pt x="265602" y="511510"/>
                    </a:cubicBezTo>
                    <a:cubicBezTo>
                      <a:pt x="269990" y="509744"/>
                      <a:pt x="276203" y="508775"/>
                      <a:pt x="277001" y="504044"/>
                    </a:cubicBezTo>
                    <a:cubicBezTo>
                      <a:pt x="276887" y="502944"/>
                      <a:pt x="276887" y="501838"/>
                      <a:pt x="277001" y="500738"/>
                    </a:cubicBezTo>
                    <a:cubicBezTo>
                      <a:pt x="277970" y="497832"/>
                      <a:pt x="282187" y="498231"/>
                      <a:pt x="285265" y="498402"/>
                    </a:cubicBezTo>
                    <a:cubicBezTo>
                      <a:pt x="294709" y="498407"/>
                      <a:pt x="302367" y="490759"/>
                      <a:pt x="302373" y="481315"/>
                    </a:cubicBezTo>
                    <a:cubicBezTo>
                      <a:pt x="302373" y="481121"/>
                      <a:pt x="302370" y="480927"/>
                      <a:pt x="302363" y="480733"/>
                    </a:cubicBezTo>
                    <a:lnTo>
                      <a:pt x="314902" y="478966"/>
                    </a:lnTo>
                    <a:cubicBezTo>
                      <a:pt x="317583" y="473290"/>
                      <a:pt x="315631" y="466507"/>
                      <a:pt x="310343" y="463122"/>
                    </a:cubicBezTo>
                    <a:cubicBezTo>
                      <a:pt x="304643" y="459759"/>
                      <a:pt x="295353" y="459816"/>
                      <a:pt x="294327" y="453319"/>
                    </a:cubicBezTo>
                    <a:cubicBezTo>
                      <a:pt x="293586" y="448588"/>
                      <a:pt x="298431" y="445112"/>
                      <a:pt x="302762" y="443117"/>
                    </a:cubicBezTo>
                    <a:cubicBezTo>
                      <a:pt x="307094" y="441122"/>
                      <a:pt x="312224" y="438671"/>
                      <a:pt x="312794" y="433941"/>
                    </a:cubicBezTo>
                    <a:cubicBezTo>
                      <a:pt x="312756" y="432670"/>
                      <a:pt x="312989" y="431410"/>
                      <a:pt x="313477" y="430236"/>
                    </a:cubicBezTo>
                    <a:cubicBezTo>
                      <a:pt x="314389" y="428925"/>
                      <a:pt x="316327" y="428811"/>
                      <a:pt x="317866" y="428355"/>
                    </a:cubicBezTo>
                    <a:cubicBezTo>
                      <a:pt x="325332" y="426075"/>
                      <a:pt x="326130" y="414391"/>
                      <a:pt x="333369" y="411599"/>
                    </a:cubicBezTo>
                    <a:cubicBezTo>
                      <a:pt x="336902" y="410288"/>
                      <a:pt x="341633" y="411086"/>
                      <a:pt x="343628" y="407951"/>
                    </a:cubicBezTo>
                    <a:cubicBezTo>
                      <a:pt x="345622" y="404816"/>
                      <a:pt x="343115" y="400371"/>
                      <a:pt x="344882" y="397122"/>
                    </a:cubicBezTo>
                    <a:cubicBezTo>
                      <a:pt x="346192" y="394728"/>
                      <a:pt x="349156" y="394044"/>
                      <a:pt x="351436" y="392620"/>
                    </a:cubicBezTo>
                    <a:cubicBezTo>
                      <a:pt x="354595" y="389878"/>
                      <a:pt x="357357" y="386715"/>
                      <a:pt x="359643" y="383215"/>
                    </a:cubicBezTo>
                    <a:cubicBezTo>
                      <a:pt x="364935" y="377482"/>
                      <a:pt x="373032" y="375270"/>
                      <a:pt x="380503" y="377516"/>
                    </a:cubicBezTo>
                    <a:cubicBezTo>
                      <a:pt x="381244" y="379796"/>
                      <a:pt x="381985" y="382132"/>
                      <a:pt x="382669" y="384412"/>
                    </a:cubicBezTo>
                    <a:cubicBezTo>
                      <a:pt x="388477" y="383153"/>
                      <a:pt x="394510" y="385165"/>
                      <a:pt x="398400" y="389656"/>
                    </a:cubicBezTo>
                    <a:cubicBezTo>
                      <a:pt x="401066" y="393930"/>
                      <a:pt x="399764" y="399556"/>
                      <a:pt x="395491" y="402217"/>
                    </a:cubicBezTo>
                    <a:cubicBezTo>
                      <a:pt x="391435" y="404748"/>
                      <a:pt x="386113" y="403722"/>
                      <a:pt x="383296" y="399858"/>
                    </a:cubicBezTo>
                    <a:cubicBezTo>
                      <a:pt x="382156" y="398262"/>
                      <a:pt x="381415" y="396267"/>
                      <a:pt x="379762" y="395355"/>
                    </a:cubicBezTo>
                    <a:cubicBezTo>
                      <a:pt x="376628" y="393702"/>
                      <a:pt x="372923" y="397236"/>
                      <a:pt x="372353" y="400713"/>
                    </a:cubicBezTo>
                    <a:cubicBezTo>
                      <a:pt x="369845" y="399288"/>
                      <a:pt x="366654" y="401397"/>
                      <a:pt x="365400" y="404075"/>
                    </a:cubicBezTo>
                    <a:cubicBezTo>
                      <a:pt x="364589" y="406862"/>
                      <a:pt x="364092" y="409729"/>
                      <a:pt x="363918" y="412625"/>
                    </a:cubicBezTo>
                    <a:cubicBezTo>
                      <a:pt x="362715" y="418826"/>
                      <a:pt x="358409" y="423967"/>
                      <a:pt x="352519" y="426246"/>
                    </a:cubicBezTo>
                    <a:cubicBezTo>
                      <a:pt x="351015" y="428834"/>
                      <a:pt x="351593" y="432128"/>
                      <a:pt x="353887" y="434055"/>
                    </a:cubicBezTo>
                    <a:cubicBezTo>
                      <a:pt x="356187" y="435799"/>
                      <a:pt x="358272" y="437805"/>
                      <a:pt x="360099" y="440039"/>
                    </a:cubicBezTo>
                    <a:cubicBezTo>
                      <a:pt x="362008" y="444325"/>
                      <a:pt x="360083" y="449346"/>
                      <a:pt x="355798" y="451250"/>
                    </a:cubicBezTo>
                    <a:cubicBezTo>
                      <a:pt x="354051" y="452031"/>
                      <a:pt x="352093" y="452196"/>
                      <a:pt x="350239" y="451723"/>
                    </a:cubicBezTo>
                    <a:cubicBezTo>
                      <a:pt x="349002" y="455513"/>
                      <a:pt x="351067" y="459594"/>
                      <a:pt x="354856" y="460842"/>
                    </a:cubicBezTo>
                    <a:cubicBezTo>
                      <a:pt x="358203" y="461840"/>
                      <a:pt x="361767" y="461840"/>
                      <a:pt x="365115" y="460842"/>
                    </a:cubicBezTo>
                    <a:cubicBezTo>
                      <a:pt x="371612" y="459816"/>
                      <a:pt x="374462" y="452179"/>
                      <a:pt x="376001" y="445796"/>
                    </a:cubicBezTo>
                    <a:cubicBezTo>
                      <a:pt x="380503" y="449215"/>
                      <a:pt x="387400" y="446251"/>
                      <a:pt x="391104" y="442205"/>
                    </a:cubicBezTo>
                    <a:cubicBezTo>
                      <a:pt x="394809" y="438158"/>
                      <a:pt x="398172" y="432915"/>
                      <a:pt x="403415" y="430806"/>
                    </a:cubicBezTo>
                    <a:cubicBezTo>
                      <a:pt x="408659" y="428697"/>
                      <a:pt x="415783" y="430407"/>
                      <a:pt x="422052" y="430806"/>
                    </a:cubicBezTo>
                    <a:cubicBezTo>
                      <a:pt x="428322" y="431205"/>
                      <a:pt x="436130" y="428526"/>
                      <a:pt x="436814" y="422257"/>
                    </a:cubicBezTo>
                    <a:cubicBezTo>
                      <a:pt x="437498" y="415987"/>
                      <a:pt x="431115" y="412112"/>
                      <a:pt x="427638" y="407153"/>
                    </a:cubicBezTo>
                    <a:cubicBezTo>
                      <a:pt x="423192" y="400587"/>
                      <a:pt x="423375" y="391924"/>
                      <a:pt x="428094" y="385552"/>
                    </a:cubicBezTo>
                    <a:cubicBezTo>
                      <a:pt x="435731" y="386179"/>
                      <a:pt x="443824" y="383158"/>
                      <a:pt x="450892" y="386236"/>
                    </a:cubicBezTo>
                    <a:cubicBezTo>
                      <a:pt x="455672" y="389211"/>
                      <a:pt x="459833" y="393081"/>
                      <a:pt x="463146" y="397635"/>
                    </a:cubicBezTo>
                    <a:cubicBezTo>
                      <a:pt x="466561" y="402337"/>
                      <a:pt x="472501" y="404486"/>
                      <a:pt x="478135" y="403049"/>
                    </a:cubicBezTo>
                    <a:cubicBezTo>
                      <a:pt x="472684" y="406777"/>
                      <a:pt x="467538" y="410932"/>
                      <a:pt x="462747" y="415474"/>
                    </a:cubicBezTo>
                    <a:cubicBezTo>
                      <a:pt x="474311" y="417469"/>
                      <a:pt x="486150" y="417241"/>
                      <a:pt x="497627" y="414790"/>
                    </a:cubicBezTo>
                    <a:cubicBezTo>
                      <a:pt x="501135" y="414352"/>
                      <a:pt x="504400" y="412767"/>
                      <a:pt x="506918" y="410288"/>
                    </a:cubicBezTo>
                    <a:cubicBezTo>
                      <a:pt x="508456" y="408407"/>
                      <a:pt x="509140" y="405956"/>
                      <a:pt x="510565" y="403904"/>
                    </a:cubicBezTo>
                    <a:cubicBezTo>
                      <a:pt x="514687" y="399248"/>
                      <a:pt x="521145" y="397424"/>
                      <a:pt x="527094" y="399231"/>
                    </a:cubicBezTo>
                    <a:cubicBezTo>
                      <a:pt x="533807" y="400678"/>
                      <a:pt x="539833" y="404355"/>
                      <a:pt x="544192" y="409661"/>
                    </a:cubicBezTo>
                    <a:cubicBezTo>
                      <a:pt x="545488" y="411787"/>
                      <a:pt x="547341" y="413525"/>
                      <a:pt x="549550" y="414676"/>
                    </a:cubicBezTo>
                    <a:cubicBezTo>
                      <a:pt x="552467" y="415161"/>
                      <a:pt x="555461" y="414847"/>
                      <a:pt x="558213" y="413765"/>
                    </a:cubicBezTo>
                    <a:cubicBezTo>
                      <a:pt x="566624" y="412448"/>
                      <a:pt x="575146" y="415349"/>
                      <a:pt x="581011" y="421516"/>
                    </a:cubicBezTo>
                    <a:cubicBezTo>
                      <a:pt x="586744" y="427626"/>
                      <a:pt x="591441" y="434636"/>
                      <a:pt x="594917" y="442262"/>
                    </a:cubicBezTo>
                    <a:cubicBezTo>
                      <a:pt x="601643" y="433884"/>
                      <a:pt x="609394" y="425163"/>
                      <a:pt x="620052" y="423340"/>
                    </a:cubicBezTo>
                    <a:cubicBezTo>
                      <a:pt x="624783" y="429039"/>
                      <a:pt x="610762" y="437474"/>
                      <a:pt x="615322" y="443402"/>
                    </a:cubicBezTo>
                    <a:cubicBezTo>
                      <a:pt x="617886" y="446650"/>
                      <a:pt x="623130" y="444656"/>
                      <a:pt x="627119" y="445910"/>
                    </a:cubicBezTo>
                    <a:cubicBezTo>
                      <a:pt x="631109" y="447163"/>
                      <a:pt x="633731" y="453376"/>
                      <a:pt x="637607" y="456739"/>
                    </a:cubicBezTo>
                    <a:cubicBezTo>
                      <a:pt x="644389" y="462438"/>
                      <a:pt x="655959" y="459360"/>
                      <a:pt x="662912" y="465117"/>
                    </a:cubicBezTo>
                    <a:cubicBezTo>
                      <a:pt x="669866" y="470873"/>
                      <a:pt x="669182" y="483241"/>
                      <a:pt x="677161" y="487459"/>
                    </a:cubicBezTo>
                    <a:cubicBezTo>
                      <a:pt x="682290" y="485065"/>
                      <a:pt x="680638" y="475319"/>
                      <a:pt x="686109" y="473951"/>
                    </a:cubicBezTo>
                    <a:cubicBezTo>
                      <a:pt x="692948" y="472298"/>
                      <a:pt x="697508" y="487231"/>
                      <a:pt x="703207" y="483127"/>
                    </a:cubicBezTo>
                    <a:cubicBezTo>
                      <a:pt x="702922" y="474926"/>
                      <a:pt x="704336" y="466758"/>
                      <a:pt x="707368" y="459132"/>
                    </a:cubicBezTo>
                    <a:cubicBezTo>
                      <a:pt x="719787" y="461218"/>
                      <a:pt x="728160" y="472976"/>
                      <a:pt x="726074" y="485390"/>
                    </a:cubicBezTo>
                    <a:cubicBezTo>
                      <a:pt x="725361" y="489636"/>
                      <a:pt x="723458" y="493597"/>
                      <a:pt x="720591" y="496806"/>
                    </a:cubicBezTo>
                    <a:cubicBezTo>
                      <a:pt x="718989" y="498926"/>
                      <a:pt x="716653" y="500374"/>
                      <a:pt x="714036" y="500852"/>
                    </a:cubicBezTo>
                    <a:cubicBezTo>
                      <a:pt x="709819" y="501365"/>
                      <a:pt x="706228" y="498060"/>
                      <a:pt x="702638" y="495666"/>
                    </a:cubicBezTo>
                    <a:cubicBezTo>
                      <a:pt x="699047" y="493272"/>
                      <a:pt x="693632" y="492018"/>
                      <a:pt x="691239" y="495666"/>
                    </a:cubicBezTo>
                    <a:cubicBezTo>
                      <a:pt x="696830" y="515204"/>
                      <a:pt x="708884" y="532262"/>
                      <a:pt x="725435" y="544054"/>
                    </a:cubicBezTo>
                    <a:cubicBezTo>
                      <a:pt x="722603" y="532621"/>
                      <a:pt x="720693" y="520972"/>
                      <a:pt x="719736" y="509231"/>
                    </a:cubicBezTo>
                    <a:cubicBezTo>
                      <a:pt x="726005" y="511220"/>
                      <a:pt x="732491" y="512422"/>
                      <a:pt x="739057" y="512821"/>
                    </a:cubicBezTo>
                    <a:cubicBezTo>
                      <a:pt x="739057" y="507407"/>
                      <a:pt x="739057" y="501992"/>
                      <a:pt x="739057" y="496578"/>
                    </a:cubicBezTo>
                    <a:cubicBezTo>
                      <a:pt x="738869" y="494988"/>
                      <a:pt x="739274" y="493386"/>
                      <a:pt x="740197" y="492075"/>
                    </a:cubicBezTo>
                    <a:cubicBezTo>
                      <a:pt x="742049" y="490559"/>
                      <a:pt x="744626" y="490286"/>
                      <a:pt x="746751" y="491391"/>
                    </a:cubicBezTo>
                    <a:cubicBezTo>
                      <a:pt x="755637" y="495130"/>
                      <a:pt x="760932" y="504346"/>
                      <a:pt x="759689" y="513904"/>
                    </a:cubicBezTo>
                    <a:cubicBezTo>
                      <a:pt x="758059" y="523348"/>
                      <a:pt x="750912" y="530877"/>
                      <a:pt x="741565" y="532997"/>
                    </a:cubicBezTo>
                    <a:cubicBezTo>
                      <a:pt x="738875" y="533265"/>
                      <a:pt x="736253" y="534001"/>
                      <a:pt x="733814" y="535163"/>
                    </a:cubicBezTo>
                    <a:cubicBezTo>
                      <a:pt x="726917" y="539495"/>
                      <a:pt x="730280" y="550039"/>
                      <a:pt x="734384" y="557049"/>
                    </a:cubicBezTo>
                    <a:cubicBezTo>
                      <a:pt x="742819" y="559785"/>
                      <a:pt x="751482" y="553459"/>
                      <a:pt x="757580" y="547132"/>
                    </a:cubicBezTo>
                    <a:cubicBezTo>
                      <a:pt x="763679" y="540806"/>
                      <a:pt x="770860" y="533567"/>
                      <a:pt x="779694" y="533852"/>
                    </a:cubicBezTo>
                    <a:cubicBezTo>
                      <a:pt x="780207" y="540464"/>
                      <a:pt x="785394" y="545650"/>
                      <a:pt x="788928" y="550951"/>
                    </a:cubicBezTo>
                    <a:cubicBezTo>
                      <a:pt x="792461" y="556251"/>
                      <a:pt x="794912" y="564402"/>
                      <a:pt x="790352" y="569246"/>
                    </a:cubicBezTo>
                    <a:cubicBezTo>
                      <a:pt x="782373" y="577681"/>
                      <a:pt x="766871" y="564915"/>
                      <a:pt x="756954" y="571013"/>
                    </a:cubicBezTo>
                    <a:cubicBezTo>
                      <a:pt x="753534" y="576712"/>
                      <a:pt x="767270" y="581842"/>
                      <a:pt x="763679" y="587142"/>
                    </a:cubicBezTo>
                    <a:cubicBezTo>
                      <a:pt x="761912" y="589707"/>
                      <a:pt x="757637" y="588624"/>
                      <a:pt x="755130" y="590448"/>
                    </a:cubicBezTo>
                    <a:cubicBezTo>
                      <a:pt x="751026" y="593412"/>
                      <a:pt x="754674" y="599852"/>
                      <a:pt x="758777" y="602759"/>
                    </a:cubicBezTo>
                    <a:cubicBezTo>
                      <a:pt x="761656" y="605278"/>
                      <a:pt x="765469" y="606458"/>
                      <a:pt x="769264" y="606008"/>
                    </a:cubicBezTo>
                    <a:cubicBezTo>
                      <a:pt x="772524" y="604765"/>
                      <a:pt x="775380" y="602656"/>
                      <a:pt x="777529" y="599909"/>
                    </a:cubicBezTo>
                    <a:cubicBezTo>
                      <a:pt x="785155" y="592574"/>
                      <a:pt x="795459" y="588704"/>
                      <a:pt x="806026" y="589194"/>
                    </a:cubicBezTo>
                    <a:cubicBezTo>
                      <a:pt x="808163" y="589172"/>
                      <a:pt x="810272" y="589719"/>
                      <a:pt x="812124" y="590790"/>
                    </a:cubicBezTo>
                    <a:cubicBezTo>
                      <a:pt x="819192" y="595407"/>
                      <a:pt x="817083" y="609370"/>
                      <a:pt x="824492" y="613588"/>
                    </a:cubicBezTo>
                    <a:cubicBezTo>
                      <a:pt x="824469" y="613833"/>
                      <a:pt x="824469" y="614084"/>
                      <a:pt x="824492" y="614329"/>
                    </a:cubicBezTo>
                    <a:cubicBezTo>
                      <a:pt x="824868" y="613924"/>
                      <a:pt x="825290" y="613560"/>
                      <a:pt x="825746" y="613246"/>
                    </a:cubicBezTo>
                    <a:cubicBezTo>
                      <a:pt x="826487" y="611650"/>
                      <a:pt x="828425" y="611308"/>
                      <a:pt x="829622" y="609997"/>
                    </a:cubicBezTo>
                    <a:close/>
                    <a:moveTo>
                      <a:pt x="2205760" y="892007"/>
                    </a:moveTo>
                    <a:cubicBezTo>
                      <a:pt x="2205555" y="890628"/>
                      <a:pt x="2205116" y="889300"/>
                      <a:pt x="2204449" y="888075"/>
                    </a:cubicBezTo>
                    <a:cubicBezTo>
                      <a:pt x="2202853" y="885681"/>
                      <a:pt x="2199148" y="884085"/>
                      <a:pt x="2199661" y="881235"/>
                    </a:cubicBezTo>
                    <a:cubicBezTo>
                      <a:pt x="2200089" y="880130"/>
                      <a:pt x="2200642" y="879075"/>
                      <a:pt x="2201314" y="878101"/>
                    </a:cubicBezTo>
                    <a:cubicBezTo>
                      <a:pt x="2202118" y="875165"/>
                      <a:pt x="2201269" y="872019"/>
                      <a:pt x="2199091" y="869893"/>
                    </a:cubicBezTo>
                    <a:cubicBezTo>
                      <a:pt x="2196852" y="867893"/>
                      <a:pt x="2195210" y="865305"/>
                      <a:pt x="2194361" y="862427"/>
                    </a:cubicBezTo>
                    <a:cubicBezTo>
                      <a:pt x="2193848" y="857753"/>
                      <a:pt x="2198407" y="853878"/>
                      <a:pt x="2198692" y="849204"/>
                    </a:cubicBezTo>
                    <a:cubicBezTo>
                      <a:pt x="2198977" y="844531"/>
                      <a:pt x="2194133" y="839857"/>
                      <a:pt x="2189687" y="836836"/>
                    </a:cubicBezTo>
                    <a:cubicBezTo>
                      <a:pt x="2188525" y="835925"/>
                      <a:pt x="2187151" y="835320"/>
                      <a:pt x="2185698" y="835070"/>
                    </a:cubicBezTo>
                    <a:cubicBezTo>
                      <a:pt x="2184239" y="835126"/>
                      <a:pt x="2182797" y="835417"/>
                      <a:pt x="2181423" y="835925"/>
                    </a:cubicBezTo>
                    <a:cubicBezTo>
                      <a:pt x="2174128" y="837634"/>
                      <a:pt x="2167459" y="831878"/>
                      <a:pt x="2161646" y="827204"/>
                    </a:cubicBezTo>
                    <a:cubicBezTo>
                      <a:pt x="2160774" y="826509"/>
                      <a:pt x="2159839" y="825899"/>
                      <a:pt x="2158853" y="825380"/>
                    </a:cubicBezTo>
                    <a:cubicBezTo>
                      <a:pt x="2156516" y="828857"/>
                      <a:pt x="2154236" y="832448"/>
                      <a:pt x="2151786" y="835867"/>
                    </a:cubicBezTo>
                    <a:cubicBezTo>
                      <a:pt x="2151227" y="846913"/>
                      <a:pt x="2147243" y="857508"/>
                      <a:pt x="2140387" y="866189"/>
                    </a:cubicBezTo>
                    <a:cubicBezTo>
                      <a:pt x="2138933" y="868126"/>
                      <a:pt x="2137799" y="870281"/>
                      <a:pt x="2137024" y="872572"/>
                    </a:cubicBezTo>
                    <a:cubicBezTo>
                      <a:pt x="2136722" y="874835"/>
                      <a:pt x="2136306" y="877080"/>
                      <a:pt x="2135770" y="879297"/>
                    </a:cubicBezTo>
                    <a:cubicBezTo>
                      <a:pt x="2134402" y="882888"/>
                      <a:pt x="2130926" y="884997"/>
                      <a:pt x="2128190" y="887733"/>
                    </a:cubicBezTo>
                    <a:cubicBezTo>
                      <a:pt x="2125454" y="890469"/>
                      <a:pt x="2123573" y="894971"/>
                      <a:pt x="2125967" y="897935"/>
                    </a:cubicBezTo>
                    <a:cubicBezTo>
                      <a:pt x="2122872" y="898282"/>
                      <a:pt x="2119891" y="899314"/>
                      <a:pt x="2117247" y="900956"/>
                    </a:cubicBezTo>
                    <a:cubicBezTo>
                      <a:pt x="2114534" y="902694"/>
                      <a:pt x="2113280" y="906005"/>
                      <a:pt x="2114169" y="909106"/>
                    </a:cubicBezTo>
                    <a:lnTo>
                      <a:pt x="2111832" y="909391"/>
                    </a:lnTo>
                    <a:lnTo>
                      <a:pt x="2036713" y="908593"/>
                    </a:lnTo>
                    <a:cubicBezTo>
                      <a:pt x="2031891" y="909391"/>
                      <a:pt x="2027332" y="911346"/>
                      <a:pt x="2023434" y="914292"/>
                    </a:cubicBezTo>
                    <a:cubicBezTo>
                      <a:pt x="2022499" y="914862"/>
                      <a:pt x="2021781" y="915723"/>
                      <a:pt x="2021382" y="916743"/>
                    </a:cubicBezTo>
                    <a:cubicBezTo>
                      <a:pt x="2021382" y="917484"/>
                      <a:pt x="2021382" y="918282"/>
                      <a:pt x="2021382" y="919023"/>
                    </a:cubicBezTo>
                    <a:cubicBezTo>
                      <a:pt x="2020983" y="921302"/>
                      <a:pt x="2018532" y="922556"/>
                      <a:pt x="2016309" y="923126"/>
                    </a:cubicBezTo>
                    <a:cubicBezTo>
                      <a:pt x="2014041" y="923440"/>
                      <a:pt x="2011869" y="924278"/>
                      <a:pt x="2009983" y="925577"/>
                    </a:cubicBezTo>
                    <a:cubicBezTo>
                      <a:pt x="2009647" y="925931"/>
                      <a:pt x="2009344" y="926312"/>
                      <a:pt x="2009071" y="926717"/>
                    </a:cubicBezTo>
                    <a:lnTo>
                      <a:pt x="2010040" y="926717"/>
                    </a:lnTo>
                    <a:cubicBezTo>
                      <a:pt x="2011978" y="933049"/>
                      <a:pt x="2008586" y="939780"/>
                      <a:pt x="2002345" y="941992"/>
                    </a:cubicBezTo>
                    <a:cubicBezTo>
                      <a:pt x="1999781" y="942733"/>
                      <a:pt x="1996646" y="942733"/>
                      <a:pt x="1994822" y="944670"/>
                    </a:cubicBezTo>
                    <a:cubicBezTo>
                      <a:pt x="1992998" y="946608"/>
                      <a:pt x="1992941" y="949458"/>
                      <a:pt x="1991403" y="951510"/>
                    </a:cubicBezTo>
                    <a:cubicBezTo>
                      <a:pt x="1989619" y="953436"/>
                      <a:pt x="1987219" y="954684"/>
                      <a:pt x="1984620" y="955043"/>
                    </a:cubicBezTo>
                    <a:cubicBezTo>
                      <a:pt x="1975951" y="957266"/>
                      <a:pt x="1967129" y="958862"/>
                      <a:pt x="1958232" y="959831"/>
                    </a:cubicBezTo>
                    <a:cubicBezTo>
                      <a:pt x="1955661" y="959962"/>
                      <a:pt x="1953142" y="960600"/>
                      <a:pt x="1950822" y="961712"/>
                    </a:cubicBezTo>
                    <a:cubicBezTo>
                      <a:pt x="1944097" y="965588"/>
                      <a:pt x="1943983" y="976986"/>
                      <a:pt x="1936574" y="979437"/>
                    </a:cubicBezTo>
                    <a:cubicBezTo>
                      <a:pt x="1934778" y="979642"/>
                      <a:pt x="1933051" y="980224"/>
                      <a:pt x="1931501" y="981147"/>
                    </a:cubicBezTo>
                    <a:cubicBezTo>
                      <a:pt x="1930361" y="982059"/>
                      <a:pt x="1929905" y="983541"/>
                      <a:pt x="1928879" y="984567"/>
                    </a:cubicBezTo>
                    <a:cubicBezTo>
                      <a:pt x="1927745" y="985558"/>
                      <a:pt x="1926366" y="986225"/>
                      <a:pt x="1924890" y="986504"/>
                    </a:cubicBezTo>
                    <a:lnTo>
                      <a:pt x="1912978" y="989924"/>
                    </a:lnTo>
                    <a:cubicBezTo>
                      <a:pt x="1913377" y="991400"/>
                      <a:pt x="1913257" y="992973"/>
                      <a:pt x="1912636" y="994370"/>
                    </a:cubicBezTo>
                    <a:cubicBezTo>
                      <a:pt x="1909330" y="996251"/>
                      <a:pt x="1903973" y="994370"/>
                      <a:pt x="1902149" y="997847"/>
                    </a:cubicBezTo>
                    <a:cubicBezTo>
                      <a:pt x="1901807" y="998713"/>
                      <a:pt x="1901562" y="999608"/>
                      <a:pt x="1901408" y="1000525"/>
                    </a:cubicBezTo>
                    <a:cubicBezTo>
                      <a:pt x="1900182" y="1004247"/>
                      <a:pt x="1897002" y="1006983"/>
                      <a:pt x="1893144" y="1007650"/>
                    </a:cubicBezTo>
                    <a:cubicBezTo>
                      <a:pt x="1889376" y="1008334"/>
                      <a:pt x="1885512" y="1008334"/>
                      <a:pt x="1881745" y="1007650"/>
                    </a:cubicBezTo>
                    <a:cubicBezTo>
                      <a:pt x="1881779" y="1010232"/>
                      <a:pt x="1881112" y="1012773"/>
                      <a:pt x="1879807" y="1015002"/>
                    </a:cubicBezTo>
                    <a:cubicBezTo>
                      <a:pt x="1876729" y="1019276"/>
                      <a:pt x="1870346" y="1018821"/>
                      <a:pt x="1865159" y="1017852"/>
                    </a:cubicBezTo>
                    <a:cubicBezTo>
                      <a:pt x="1864099" y="1017812"/>
                      <a:pt x="1863102" y="1017361"/>
                      <a:pt x="1862366" y="1016598"/>
                    </a:cubicBezTo>
                    <a:cubicBezTo>
                      <a:pt x="1861899" y="1015640"/>
                      <a:pt x="1861665" y="1014586"/>
                      <a:pt x="1861683" y="1013520"/>
                    </a:cubicBezTo>
                    <a:cubicBezTo>
                      <a:pt x="1860999" y="1009188"/>
                      <a:pt x="1855983" y="1007308"/>
                      <a:pt x="1852107" y="1005370"/>
                    </a:cubicBezTo>
                    <a:cubicBezTo>
                      <a:pt x="1848232" y="1003432"/>
                      <a:pt x="1844185" y="998758"/>
                      <a:pt x="1846750" y="995168"/>
                    </a:cubicBezTo>
                    <a:cubicBezTo>
                      <a:pt x="1848089" y="993857"/>
                      <a:pt x="1849651" y="992797"/>
                      <a:pt x="1851366" y="992033"/>
                    </a:cubicBezTo>
                    <a:cubicBezTo>
                      <a:pt x="1852905" y="991007"/>
                      <a:pt x="1854216" y="988898"/>
                      <a:pt x="1853190" y="987302"/>
                    </a:cubicBezTo>
                    <a:cubicBezTo>
                      <a:pt x="1860543" y="984624"/>
                      <a:pt x="1869263" y="993515"/>
                      <a:pt x="1875988" y="989411"/>
                    </a:cubicBezTo>
                    <a:cubicBezTo>
                      <a:pt x="1881118" y="986277"/>
                      <a:pt x="1880263" y="978354"/>
                      <a:pt x="1883910" y="973567"/>
                    </a:cubicBezTo>
                    <a:cubicBezTo>
                      <a:pt x="1883614" y="973145"/>
                      <a:pt x="1883272" y="972763"/>
                      <a:pt x="1882885" y="972427"/>
                    </a:cubicBezTo>
                    <a:cubicBezTo>
                      <a:pt x="1882343" y="972102"/>
                      <a:pt x="1881745" y="971885"/>
                      <a:pt x="1881118" y="971800"/>
                    </a:cubicBezTo>
                    <a:cubicBezTo>
                      <a:pt x="1879539" y="971481"/>
                      <a:pt x="1877898" y="971811"/>
                      <a:pt x="1876558" y="972712"/>
                    </a:cubicBezTo>
                    <a:cubicBezTo>
                      <a:pt x="1874791" y="974023"/>
                      <a:pt x="1874164" y="976474"/>
                      <a:pt x="1872341" y="977727"/>
                    </a:cubicBezTo>
                    <a:cubicBezTo>
                      <a:pt x="1870802" y="978816"/>
                      <a:pt x="1868750" y="978816"/>
                      <a:pt x="1867211" y="977727"/>
                    </a:cubicBezTo>
                    <a:cubicBezTo>
                      <a:pt x="1866932" y="975544"/>
                      <a:pt x="1867285" y="973327"/>
                      <a:pt x="1868237" y="971344"/>
                    </a:cubicBezTo>
                    <a:lnTo>
                      <a:pt x="1870118" y="950256"/>
                    </a:lnTo>
                    <a:cubicBezTo>
                      <a:pt x="1870454" y="948198"/>
                      <a:pt x="1870294" y="946089"/>
                      <a:pt x="1869662" y="944100"/>
                    </a:cubicBezTo>
                    <a:cubicBezTo>
                      <a:pt x="1867325" y="938401"/>
                      <a:pt x="1858605" y="938401"/>
                      <a:pt x="1853133" y="941764"/>
                    </a:cubicBezTo>
                    <a:cubicBezTo>
                      <a:pt x="1847662" y="945126"/>
                      <a:pt x="1842646" y="949914"/>
                      <a:pt x="1836320" y="950085"/>
                    </a:cubicBezTo>
                    <a:cubicBezTo>
                      <a:pt x="1833254" y="946454"/>
                      <a:pt x="1833709" y="941023"/>
                      <a:pt x="1837346" y="937957"/>
                    </a:cubicBezTo>
                    <a:cubicBezTo>
                      <a:pt x="1837916" y="937472"/>
                      <a:pt x="1838548" y="937067"/>
                      <a:pt x="1839227" y="936748"/>
                    </a:cubicBezTo>
                    <a:cubicBezTo>
                      <a:pt x="1840754" y="936332"/>
                      <a:pt x="1842253" y="935836"/>
                      <a:pt x="1843729" y="935266"/>
                    </a:cubicBezTo>
                    <a:cubicBezTo>
                      <a:pt x="1846870" y="933408"/>
                      <a:pt x="1847912" y="929356"/>
                      <a:pt x="1846055" y="926210"/>
                    </a:cubicBezTo>
                    <a:cubicBezTo>
                      <a:pt x="1845889" y="925931"/>
                      <a:pt x="1845701" y="925663"/>
                      <a:pt x="1845496" y="925406"/>
                    </a:cubicBezTo>
                    <a:cubicBezTo>
                      <a:pt x="1852387" y="922551"/>
                      <a:pt x="1855658" y="914651"/>
                      <a:pt x="1852803" y="907755"/>
                    </a:cubicBezTo>
                    <a:cubicBezTo>
                      <a:pt x="1852216" y="906324"/>
                      <a:pt x="1851378" y="905008"/>
                      <a:pt x="1850341" y="903862"/>
                    </a:cubicBezTo>
                    <a:cubicBezTo>
                      <a:pt x="1848118" y="901810"/>
                      <a:pt x="1845097" y="900386"/>
                      <a:pt x="1844014" y="897593"/>
                    </a:cubicBezTo>
                    <a:cubicBezTo>
                      <a:pt x="1842931" y="894800"/>
                      <a:pt x="1843558" y="892349"/>
                      <a:pt x="1841734" y="890753"/>
                    </a:cubicBezTo>
                    <a:cubicBezTo>
                      <a:pt x="1840731" y="890041"/>
                      <a:pt x="1839540" y="889642"/>
                      <a:pt x="1838315" y="889613"/>
                    </a:cubicBezTo>
                    <a:cubicBezTo>
                      <a:pt x="1826351" y="888348"/>
                      <a:pt x="1814536" y="893113"/>
                      <a:pt x="1806797" y="902323"/>
                    </a:cubicBezTo>
                    <a:cubicBezTo>
                      <a:pt x="1805554" y="904159"/>
                      <a:pt x="1804038" y="905794"/>
                      <a:pt x="1802294" y="907168"/>
                    </a:cubicBezTo>
                    <a:cubicBezTo>
                      <a:pt x="1799786" y="908821"/>
                      <a:pt x="1796594" y="908935"/>
                      <a:pt x="1793916" y="910360"/>
                    </a:cubicBezTo>
                    <a:cubicBezTo>
                      <a:pt x="1788216" y="913494"/>
                      <a:pt x="1787019" y="921417"/>
                      <a:pt x="1786677" y="928085"/>
                    </a:cubicBezTo>
                    <a:lnTo>
                      <a:pt x="1784170" y="981318"/>
                    </a:lnTo>
                    <a:cubicBezTo>
                      <a:pt x="1784267" y="983205"/>
                      <a:pt x="1783725" y="985074"/>
                      <a:pt x="1782631" y="986619"/>
                    </a:cubicBezTo>
                    <a:cubicBezTo>
                      <a:pt x="1780579" y="988784"/>
                      <a:pt x="1776931" y="988214"/>
                      <a:pt x="1774651" y="990266"/>
                    </a:cubicBezTo>
                    <a:cubicBezTo>
                      <a:pt x="1772372" y="992318"/>
                      <a:pt x="1773911" y="998872"/>
                      <a:pt x="1770719" y="1001323"/>
                    </a:cubicBezTo>
                    <a:cubicBezTo>
                      <a:pt x="1769739" y="1001979"/>
                      <a:pt x="1768593" y="1002332"/>
                      <a:pt x="1767413" y="1002349"/>
                    </a:cubicBezTo>
                    <a:cubicBezTo>
                      <a:pt x="1760163" y="1002514"/>
                      <a:pt x="1754105" y="996878"/>
                      <a:pt x="1753734" y="989639"/>
                    </a:cubicBezTo>
                    <a:cubicBezTo>
                      <a:pt x="1753945" y="987724"/>
                      <a:pt x="1753774" y="985786"/>
                      <a:pt x="1753222" y="983940"/>
                    </a:cubicBezTo>
                    <a:cubicBezTo>
                      <a:pt x="1752310" y="982059"/>
                      <a:pt x="1750258" y="981033"/>
                      <a:pt x="1748776" y="979551"/>
                    </a:cubicBezTo>
                    <a:cubicBezTo>
                      <a:pt x="1745818" y="975185"/>
                      <a:pt x="1745037" y="969691"/>
                      <a:pt x="1746667" y="964676"/>
                    </a:cubicBezTo>
                    <a:cubicBezTo>
                      <a:pt x="1747573" y="957711"/>
                      <a:pt x="1749494" y="950911"/>
                      <a:pt x="1752367" y="944499"/>
                    </a:cubicBezTo>
                    <a:cubicBezTo>
                      <a:pt x="1755216" y="938800"/>
                      <a:pt x="1759719" y="933100"/>
                      <a:pt x="1758066" y="926945"/>
                    </a:cubicBezTo>
                    <a:cubicBezTo>
                      <a:pt x="1763082" y="924779"/>
                      <a:pt x="1769180" y="919935"/>
                      <a:pt x="1766501" y="915147"/>
                    </a:cubicBezTo>
                    <a:cubicBezTo>
                      <a:pt x="1763822" y="910360"/>
                      <a:pt x="1754646" y="911385"/>
                      <a:pt x="1753963" y="906028"/>
                    </a:cubicBezTo>
                    <a:cubicBezTo>
                      <a:pt x="1753563" y="903121"/>
                      <a:pt x="1756242" y="900841"/>
                      <a:pt x="1758636" y="899189"/>
                    </a:cubicBezTo>
                    <a:lnTo>
                      <a:pt x="1772600" y="889557"/>
                    </a:lnTo>
                    <a:cubicBezTo>
                      <a:pt x="1775843" y="887214"/>
                      <a:pt x="1779234" y="885082"/>
                      <a:pt x="1782745" y="883173"/>
                    </a:cubicBezTo>
                    <a:cubicBezTo>
                      <a:pt x="1787139" y="880939"/>
                      <a:pt x="1791790" y="879258"/>
                      <a:pt x="1796594" y="878158"/>
                    </a:cubicBezTo>
                    <a:cubicBezTo>
                      <a:pt x="1805406" y="876129"/>
                      <a:pt x="1814462" y="875342"/>
                      <a:pt x="1823496" y="875821"/>
                    </a:cubicBezTo>
                    <a:cubicBezTo>
                      <a:pt x="1828512" y="875821"/>
                      <a:pt x="1835351" y="875308"/>
                      <a:pt x="1836035" y="870121"/>
                    </a:cubicBezTo>
                    <a:cubicBezTo>
                      <a:pt x="1836719" y="864935"/>
                      <a:pt x="1829765" y="862484"/>
                      <a:pt x="1824636" y="862541"/>
                    </a:cubicBezTo>
                    <a:cubicBezTo>
                      <a:pt x="1819506" y="862598"/>
                      <a:pt x="1812610" y="861971"/>
                      <a:pt x="1811299" y="856841"/>
                    </a:cubicBezTo>
                    <a:cubicBezTo>
                      <a:pt x="1806118" y="857702"/>
                      <a:pt x="1800812" y="857451"/>
                      <a:pt x="1795740" y="856101"/>
                    </a:cubicBezTo>
                    <a:cubicBezTo>
                      <a:pt x="1790496" y="855531"/>
                      <a:pt x="1783942" y="857526"/>
                      <a:pt x="1783087" y="862712"/>
                    </a:cubicBezTo>
                    <a:lnTo>
                      <a:pt x="1755501" y="862427"/>
                    </a:lnTo>
                    <a:cubicBezTo>
                      <a:pt x="1758072" y="856237"/>
                      <a:pt x="1755137" y="849130"/>
                      <a:pt x="1748947" y="846560"/>
                    </a:cubicBezTo>
                    <a:cubicBezTo>
                      <a:pt x="1746376" y="845494"/>
                      <a:pt x="1743521" y="845340"/>
                      <a:pt x="1740854" y="846127"/>
                    </a:cubicBezTo>
                    <a:lnTo>
                      <a:pt x="1740341" y="840712"/>
                    </a:lnTo>
                    <a:lnTo>
                      <a:pt x="1729284" y="840256"/>
                    </a:lnTo>
                    <a:lnTo>
                      <a:pt x="1727745" y="844987"/>
                    </a:lnTo>
                    <a:cubicBezTo>
                      <a:pt x="1724234" y="845169"/>
                      <a:pt x="1720826" y="846229"/>
                      <a:pt x="1717828" y="848064"/>
                    </a:cubicBezTo>
                    <a:cubicBezTo>
                      <a:pt x="1720563" y="850515"/>
                      <a:pt x="1717258" y="855018"/>
                      <a:pt x="1713781" y="856044"/>
                    </a:cubicBezTo>
                    <a:cubicBezTo>
                      <a:pt x="1710305" y="857070"/>
                      <a:pt x="1706030" y="856956"/>
                      <a:pt x="1703693" y="859748"/>
                    </a:cubicBezTo>
                    <a:cubicBezTo>
                      <a:pt x="1702838" y="860774"/>
                      <a:pt x="1702382" y="862085"/>
                      <a:pt x="1701299" y="862883"/>
                    </a:cubicBezTo>
                    <a:cubicBezTo>
                      <a:pt x="1698222" y="865220"/>
                      <a:pt x="1694403" y="861344"/>
                      <a:pt x="1691097" y="859292"/>
                    </a:cubicBezTo>
                    <a:cubicBezTo>
                      <a:pt x="1687313" y="857451"/>
                      <a:pt x="1683072" y="856762"/>
                      <a:pt x="1678900" y="857298"/>
                    </a:cubicBezTo>
                    <a:cubicBezTo>
                      <a:pt x="1674723" y="857868"/>
                      <a:pt x="1670471" y="857377"/>
                      <a:pt x="1666533" y="855873"/>
                    </a:cubicBezTo>
                    <a:cubicBezTo>
                      <a:pt x="1662537" y="854168"/>
                      <a:pt x="1660565" y="849643"/>
                      <a:pt x="1662030" y="845557"/>
                    </a:cubicBezTo>
                    <a:cubicBezTo>
                      <a:pt x="1666156" y="844816"/>
                      <a:pt x="1670055" y="843140"/>
                      <a:pt x="1673429" y="840655"/>
                    </a:cubicBezTo>
                    <a:cubicBezTo>
                      <a:pt x="1676826" y="838050"/>
                      <a:pt x="1678006" y="833462"/>
                      <a:pt x="1676279" y="829541"/>
                    </a:cubicBezTo>
                    <a:cubicBezTo>
                      <a:pt x="1680667" y="827033"/>
                      <a:pt x="1687279" y="830966"/>
                      <a:pt x="1690926" y="827489"/>
                    </a:cubicBezTo>
                    <a:cubicBezTo>
                      <a:pt x="1691952" y="826463"/>
                      <a:pt x="1692522" y="824925"/>
                      <a:pt x="1693662" y="824013"/>
                    </a:cubicBezTo>
                    <a:cubicBezTo>
                      <a:pt x="1697538" y="820764"/>
                      <a:pt x="1705859" y="825608"/>
                      <a:pt x="1707569" y="820821"/>
                    </a:cubicBezTo>
                    <a:cubicBezTo>
                      <a:pt x="1708025" y="819510"/>
                      <a:pt x="1707569" y="818085"/>
                      <a:pt x="1707968" y="816774"/>
                    </a:cubicBezTo>
                    <a:cubicBezTo>
                      <a:pt x="1708213" y="815879"/>
                      <a:pt x="1708811" y="815121"/>
                      <a:pt x="1709621" y="814665"/>
                    </a:cubicBezTo>
                    <a:cubicBezTo>
                      <a:pt x="1707785" y="813343"/>
                      <a:pt x="1705654" y="812500"/>
                      <a:pt x="1703408" y="812215"/>
                    </a:cubicBezTo>
                    <a:cubicBezTo>
                      <a:pt x="1701242" y="812334"/>
                      <a:pt x="1699116" y="812853"/>
                      <a:pt x="1697139" y="813753"/>
                    </a:cubicBezTo>
                    <a:cubicBezTo>
                      <a:pt x="1688362" y="816512"/>
                      <a:pt x="1678781" y="814335"/>
                      <a:pt x="1672061" y="808054"/>
                    </a:cubicBezTo>
                    <a:cubicBezTo>
                      <a:pt x="1663147" y="810334"/>
                      <a:pt x="1653806" y="806367"/>
                      <a:pt x="1649263" y="798365"/>
                    </a:cubicBezTo>
                    <a:cubicBezTo>
                      <a:pt x="1645234" y="796296"/>
                      <a:pt x="1640286" y="797886"/>
                      <a:pt x="1638212" y="801916"/>
                    </a:cubicBezTo>
                    <a:cubicBezTo>
                      <a:pt x="1637864" y="802594"/>
                      <a:pt x="1637613" y="803318"/>
                      <a:pt x="1637465" y="804064"/>
                    </a:cubicBezTo>
                    <a:cubicBezTo>
                      <a:pt x="1633584" y="804281"/>
                      <a:pt x="1629703" y="803677"/>
                      <a:pt x="1626066" y="802298"/>
                    </a:cubicBezTo>
                    <a:cubicBezTo>
                      <a:pt x="1622390" y="800907"/>
                      <a:pt x="1619899" y="797453"/>
                      <a:pt x="1619740" y="793520"/>
                    </a:cubicBezTo>
                    <a:lnTo>
                      <a:pt x="1606574" y="792665"/>
                    </a:lnTo>
                    <a:lnTo>
                      <a:pt x="1608284" y="773515"/>
                    </a:lnTo>
                    <a:cubicBezTo>
                      <a:pt x="1605941" y="772147"/>
                      <a:pt x="1603234" y="771549"/>
                      <a:pt x="1600533" y="771805"/>
                    </a:cubicBezTo>
                    <a:cubicBezTo>
                      <a:pt x="1597911" y="772318"/>
                      <a:pt x="1595631" y="775339"/>
                      <a:pt x="1596885" y="777505"/>
                    </a:cubicBezTo>
                    <a:lnTo>
                      <a:pt x="1592667" y="779728"/>
                    </a:lnTo>
                    <a:cubicBezTo>
                      <a:pt x="1592211" y="783261"/>
                      <a:pt x="1591698" y="786795"/>
                      <a:pt x="1591186" y="790386"/>
                    </a:cubicBezTo>
                    <a:lnTo>
                      <a:pt x="996787" y="790386"/>
                    </a:lnTo>
                    <a:cubicBezTo>
                      <a:pt x="997084" y="792061"/>
                      <a:pt x="997278" y="793754"/>
                      <a:pt x="997357" y="795458"/>
                    </a:cubicBezTo>
                    <a:cubicBezTo>
                      <a:pt x="997107" y="799995"/>
                      <a:pt x="997865" y="804532"/>
                      <a:pt x="999580" y="808738"/>
                    </a:cubicBezTo>
                    <a:cubicBezTo>
                      <a:pt x="1001296" y="810961"/>
                      <a:pt x="1002783" y="813349"/>
                      <a:pt x="1004026" y="815862"/>
                    </a:cubicBezTo>
                    <a:cubicBezTo>
                      <a:pt x="1004453" y="817891"/>
                      <a:pt x="1004453" y="819989"/>
                      <a:pt x="1004026" y="822018"/>
                    </a:cubicBezTo>
                    <a:lnTo>
                      <a:pt x="1002145" y="843334"/>
                    </a:lnTo>
                    <a:cubicBezTo>
                      <a:pt x="998098" y="846811"/>
                      <a:pt x="991601" y="842536"/>
                      <a:pt x="990176" y="837634"/>
                    </a:cubicBezTo>
                    <a:cubicBezTo>
                      <a:pt x="989555" y="832357"/>
                      <a:pt x="989424" y="827033"/>
                      <a:pt x="989777" y="821733"/>
                    </a:cubicBezTo>
                    <a:cubicBezTo>
                      <a:pt x="989264" y="816489"/>
                      <a:pt x="985274" y="810334"/>
                      <a:pt x="980031" y="811417"/>
                    </a:cubicBezTo>
                    <a:cubicBezTo>
                      <a:pt x="981752" y="797276"/>
                      <a:pt x="974024" y="783672"/>
                      <a:pt x="960995" y="777904"/>
                    </a:cubicBezTo>
                    <a:cubicBezTo>
                      <a:pt x="952616" y="774028"/>
                      <a:pt x="941388" y="771520"/>
                      <a:pt x="939337" y="762515"/>
                    </a:cubicBezTo>
                    <a:cubicBezTo>
                      <a:pt x="939206" y="759740"/>
                      <a:pt x="938687" y="756998"/>
                      <a:pt x="937798" y="754365"/>
                    </a:cubicBezTo>
                    <a:cubicBezTo>
                      <a:pt x="935626" y="751498"/>
                      <a:pt x="932372" y="749640"/>
                      <a:pt x="928793" y="749235"/>
                    </a:cubicBezTo>
                    <a:lnTo>
                      <a:pt x="906394" y="743935"/>
                    </a:lnTo>
                    <a:cubicBezTo>
                      <a:pt x="903407" y="743371"/>
                      <a:pt x="900535" y="742311"/>
                      <a:pt x="897901" y="740800"/>
                    </a:cubicBezTo>
                    <a:cubicBezTo>
                      <a:pt x="895166" y="738976"/>
                      <a:pt x="893171" y="736184"/>
                      <a:pt x="890549" y="734246"/>
                    </a:cubicBezTo>
                    <a:cubicBezTo>
                      <a:pt x="885425" y="730627"/>
                      <a:pt x="878575" y="730627"/>
                      <a:pt x="873451" y="734246"/>
                    </a:cubicBezTo>
                    <a:cubicBezTo>
                      <a:pt x="869461" y="738805"/>
                      <a:pt x="874021" y="746044"/>
                      <a:pt x="879492" y="748666"/>
                    </a:cubicBezTo>
                    <a:cubicBezTo>
                      <a:pt x="884964" y="751287"/>
                      <a:pt x="891632" y="752199"/>
                      <a:pt x="895622" y="756702"/>
                    </a:cubicBezTo>
                    <a:cubicBezTo>
                      <a:pt x="896990" y="758298"/>
                      <a:pt x="897901" y="760122"/>
                      <a:pt x="899098" y="761831"/>
                    </a:cubicBezTo>
                    <a:cubicBezTo>
                      <a:pt x="905140" y="770210"/>
                      <a:pt x="916197" y="772489"/>
                      <a:pt x="926342" y="775282"/>
                    </a:cubicBezTo>
                    <a:cubicBezTo>
                      <a:pt x="936487" y="778075"/>
                      <a:pt x="947373" y="783717"/>
                      <a:pt x="949140" y="793919"/>
                    </a:cubicBezTo>
                    <a:cubicBezTo>
                      <a:pt x="949157" y="797014"/>
                      <a:pt x="949561" y="800098"/>
                      <a:pt x="950337" y="803095"/>
                    </a:cubicBezTo>
                    <a:cubicBezTo>
                      <a:pt x="952069" y="805934"/>
                      <a:pt x="954178" y="808521"/>
                      <a:pt x="956606" y="810790"/>
                    </a:cubicBezTo>
                    <a:cubicBezTo>
                      <a:pt x="966010" y="822189"/>
                      <a:pt x="957803" y="841681"/>
                      <a:pt x="967150" y="853251"/>
                    </a:cubicBezTo>
                    <a:cubicBezTo>
                      <a:pt x="972052" y="859292"/>
                      <a:pt x="981741" y="864650"/>
                      <a:pt x="978549" y="871774"/>
                    </a:cubicBezTo>
                    <a:cubicBezTo>
                      <a:pt x="976212" y="877474"/>
                      <a:pt x="968062" y="877474"/>
                      <a:pt x="961964" y="875935"/>
                    </a:cubicBezTo>
                    <a:lnTo>
                      <a:pt x="961964" y="912525"/>
                    </a:lnTo>
                    <a:cubicBezTo>
                      <a:pt x="961964" y="916971"/>
                      <a:pt x="962477" y="922214"/>
                      <a:pt x="966238" y="924551"/>
                    </a:cubicBezTo>
                    <a:cubicBezTo>
                      <a:pt x="968233" y="925862"/>
                      <a:pt x="970912" y="926033"/>
                      <a:pt x="972565" y="927743"/>
                    </a:cubicBezTo>
                    <a:cubicBezTo>
                      <a:pt x="973921" y="929664"/>
                      <a:pt x="974514" y="932023"/>
                      <a:pt x="974217" y="934354"/>
                    </a:cubicBezTo>
                    <a:lnTo>
                      <a:pt x="974217" y="955043"/>
                    </a:lnTo>
                    <a:lnTo>
                      <a:pt x="963958" y="955043"/>
                    </a:lnTo>
                    <a:cubicBezTo>
                      <a:pt x="966808" y="972142"/>
                      <a:pt x="969658" y="988727"/>
                      <a:pt x="972565" y="1005598"/>
                    </a:cubicBezTo>
                    <a:cubicBezTo>
                      <a:pt x="973448" y="1009075"/>
                      <a:pt x="973448" y="1012722"/>
                      <a:pt x="972565" y="1016199"/>
                    </a:cubicBezTo>
                    <a:cubicBezTo>
                      <a:pt x="971539" y="1018444"/>
                      <a:pt x="970302" y="1020582"/>
                      <a:pt x="968860" y="1022582"/>
                    </a:cubicBezTo>
                    <a:cubicBezTo>
                      <a:pt x="964870" y="1029194"/>
                      <a:pt x="965383" y="1039225"/>
                      <a:pt x="965440" y="1046976"/>
                    </a:cubicBezTo>
                    <a:cubicBezTo>
                      <a:pt x="965440" y="1066753"/>
                      <a:pt x="978378" y="1083966"/>
                      <a:pt x="990518" y="1099582"/>
                    </a:cubicBezTo>
                    <a:cubicBezTo>
                      <a:pt x="1002225" y="1115307"/>
                      <a:pt x="1014946" y="1130251"/>
                      <a:pt x="1028590" y="1144323"/>
                    </a:cubicBezTo>
                    <a:cubicBezTo>
                      <a:pt x="1030693" y="1146164"/>
                      <a:pt x="1032500" y="1148318"/>
                      <a:pt x="1033948" y="1150706"/>
                    </a:cubicBezTo>
                    <a:cubicBezTo>
                      <a:pt x="1035322" y="1153835"/>
                      <a:pt x="1036062" y="1157204"/>
                      <a:pt x="1036114" y="1160624"/>
                    </a:cubicBezTo>
                    <a:lnTo>
                      <a:pt x="1037881" y="1182110"/>
                    </a:lnTo>
                    <a:cubicBezTo>
                      <a:pt x="1037926" y="1184801"/>
                      <a:pt x="1038507" y="1187457"/>
                      <a:pt x="1039590" y="1189919"/>
                    </a:cubicBezTo>
                    <a:cubicBezTo>
                      <a:pt x="1041283" y="1192523"/>
                      <a:pt x="1043569" y="1194689"/>
                      <a:pt x="1046259" y="1196245"/>
                    </a:cubicBezTo>
                    <a:lnTo>
                      <a:pt x="1058285" y="1204566"/>
                    </a:lnTo>
                    <a:cubicBezTo>
                      <a:pt x="1069684" y="1212546"/>
                      <a:pt x="1084673" y="1220867"/>
                      <a:pt x="1097212" y="1214369"/>
                    </a:cubicBezTo>
                    <a:cubicBezTo>
                      <a:pt x="1099378" y="1222178"/>
                      <a:pt x="1107414" y="1226908"/>
                      <a:pt x="1111062" y="1234090"/>
                    </a:cubicBezTo>
                    <a:cubicBezTo>
                      <a:pt x="1113211" y="1239464"/>
                      <a:pt x="1114538" y="1245135"/>
                      <a:pt x="1114994" y="1250903"/>
                    </a:cubicBezTo>
                    <a:cubicBezTo>
                      <a:pt x="1114994" y="1252556"/>
                      <a:pt x="1115678" y="1254266"/>
                      <a:pt x="1116134" y="1255919"/>
                    </a:cubicBezTo>
                    <a:cubicBezTo>
                      <a:pt x="1129129" y="1254380"/>
                      <a:pt x="1142124" y="1252271"/>
                      <a:pt x="1155062" y="1250219"/>
                    </a:cubicBezTo>
                    <a:cubicBezTo>
                      <a:pt x="1163212" y="1249022"/>
                      <a:pt x="1172616" y="1248281"/>
                      <a:pt x="1178772" y="1253867"/>
                    </a:cubicBezTo>
                    <a:cubicBezTo>
                      <a:pt x="1181963" y="1256660"/>
                      <a:pt x="1183958" y="1260991"/>
                      <a:pt x="1187834" y="1262587"/>
                    </a:cubicBezTo>
                    <a:cubicBezTo>
                      <a:pt x="1193533" y="1264867"/>
                      <a:pt x="1200601" y="1260991"/>
                      <a:pt x="1204932" y="1264867"/>
                    </a:cubicBezTo>
                    <a:cubicBezTo>
                      <a:pt x="1207782" y="1267261"/>
                      <a:pt x="1208181" y="1271706"/>
                      <a:pt x="1211031" y="1274157"/>
                    </a:cubicBezTo>
                    <a:cubicBezTo>
                      <a:pt x="1212877" y="1275411"/>
                      <a:pt x="1215015" y="1276180"/>
                      <a:pt x="1217243" y="1276380"/>
                    </a:cubicBezTo>
                    <a:lnTo>
                      <a:pt x="1269108" y="1285214"/>
                    </a:lnTo>
                    <a:cubicBezTo>
                      <a:pt x="1280507" y="1287152"/>
                      <a:pt x="1292932" y="1288976"/>
                      <a:pt x="1303305" y="1283447"/>
                    </a:cubicBezTo>
                    <a:cubicBezTo>
                      <a:pt x="1307694" y="1281110"/>
                      <a:pt x="1311284" y="1277748"/>
                      <a:pt x="1315502" y="1274955"/>
                    </a:cubicBezTo>
                    <a:cubicBezTo>
                      <a:pt x="1321008" y="1271644"/>
                      <a:pt x="1327380" y="1270053"/>
                      <a:pt x="1333797" y="1270395"/>
                    </a:cubicBezTo>
                    <a:cubicBezTo>
                      <a:pt x="1350896" y="1271421"/>
                      <a:pt x="1363719" y="1285385"/>
                      <a:pt x="1374719" y="1298323"/>
                    </a:cubicBezTo>
                    <a:cubicBezTo>
                      <a:pt x="1376714" y="1300660"/>
                      <a:pt x="1378652" y="1304421"/>
                      <a:pt x="1376372" y="1306473"/>
                    </a:cubicBezTo>
                    <a:cubicBezTo>
                      <a:pt x="1384511" y="1307812"/>
                      <a:pt x="1390017" y="1315501"/>
                      <a:pt x="1388678" y="1323634"/>
                    </a:cubicBezTo>
                    <a:cubicBezTo>
                      <a:pt x="1388632" y="1323919"/>
                      <a:pt x="1388575" y="1324204"/>
                      <a:pt x="1388512" y="1324483"/>
                    </a:cubicBezTo>
                    <a:cubicBezTo>
                      <a:pt x="1394212" y="1324483"/>
                      <a:pt x="1397745" y="1329841"/>
                      <a:pt x="1400994" y="1334400"/>
                    </a:cubicBezTo>
                    <a:cubicBezTo>
                      <a:pt x="1404243" y="1338960"/>
                      <a:pt x="1409999" y="1343463"/>
                      <a:pt x="1414730" y="1340556"/>
                    </a:cubicBezTo>
                    <a:lnTo>
                      <a:pt x="1417807" y="1347965"/>
                    </a:lnTo>
                    <a:lnTo>
                      <a:pt x="1424932" y="1347965"/>
                    </a:lnTo>
                    <a:cubicBezTo>
                      <a:pt x="1426516" y="1342653"/>
                      <a:pt x="1426767" y="1337039"/>
                      <a:pt x="1425673" y="1331608"/>
                    </a:cubicBezTo>
                    <a:lnTo>
                      <a:pt x="1434963" y="1331608"/>
                    </a:lnTo>
                    <a:cubicBezTo>
                      <a:pt x="1432170" y="1327276"/>
                      <a:pt x="1439978" y="1323970"/>
                      <a:pt x="1444994" y="1325110"/>
                    </a:cubicBezTo>
                    <a:cubicBezTo>
                      <a:pt x="1453680" y="1327117"/>
                      <a:pt x="1461750" y="1331180"/>
                      <a:pt x="1468533" y="1336965"/>
                    </a:cubicBezTo>
                    <a:cubicBezTo>
                      <a:pt x="1475292" y="1342921"/>
                      <a:pt x="1480764" y="1350194"/>
                      <a:pt x="1484605" y="1358338"/>
                    </a:cubicBezTo>
                    <a:cubicBezTo>
                      <a:pt x="1488367" y="1366089"/>
                      <a:pt x="1492015" y="1375437"/>
                      <a:pt x="1500336" y="1377659"/>
                    </a:cubicBezTo>
                    <a:cubicBezTo>
                      <a:pt x="1499880" y="1379882"/>
                      <a:pt x="1499424" y="1382105"/>
                      <a:pt x="1498911" y="1384271"/>
                    </a:cubicBezTo>
                    <a:lnTo>
                      <a:pt x="1506149" y="1388602"/>
                    </a:lnTo>
                    <a:cubicBezTo>
                      <a:pt x="1505807" y="1396240"/>
                      <a:pt x="1505522" y="1403934"/>
                      <a:pt x="1505180" y="1411400"/>
                    </a:cubicBezTo>
                    <a:cubicBezTo>
                      <a:pt x="1514870" y="1420804"/>
                      <a:pt x="1529289" y="1422799"/>
                      <a:pt x="1542170" y="1426618"/>
                    </a:cubicBezTo>
                    <a:cubicBezTo>
                      <a:pt x="1543994" y="1427188"/>
                      <a:pt x="1545761" y="1427872"/>
                      <a:pt x="1547584" y="1428499"/>
                    </a:cubicBezTo>
                    <a:cubicBezTo>
                      <a:pt x="1547584" y="1417727"/>
                      <a:pt x="1537952" y="1406841"/>
                      <a:pt x="1542512" y="1396924"/>
                    </a:cubicBezTo>
                    <a:cubicBezTo>
                      <a:pt x="1544530" y="1394028"/>
                      <a:pt x="1546245" y="1390933"/>
                      <a:pt x="1547641" y="1387690"/>
                    </a:cubicBezTo>
                    <a:cubicBezTo>
                      <a:pt x="1549123" y="1381250"/>
                      <a:pt x="1543139" y="1373784"/>
                      <a:pt x="1546901" y="1368369"/>
                    </a:cubicBezTo>
                    <a:cubicBezTo>
                      <a:pt x="1549237" y="1365064"/>
                      <a:pt x="1553854" y="1364722"/>
                      <a:pt x="1557502" y="1363126"/>
                    </a:cubicBezTo>
                    <a:cubicBezTo>
                      <a:pt x="1570268" y="1357426"/>
                      <a:pt x="1571465" y="1338846"/>
                      <a:pt x="1582636" y="1330639"/>
                    </a:cubicBezTo>
                    <a:lnTo>
                      <a:pt x="1621564" y="1302141"/>
                    </a:lnTo>
                    <a:cubicBezTo>
                      <a:pt x="1643809" y="1297308"/>
                      <a:pt x="1666464" y="1308331"/>
                      <a:pt x="1676393" y="1328815"/>
                    </a:cubicBezTo>
                    <a:cubicBezTo>
                      <a:pt x="1678045" y="1332463"/>
                      <a:pt x="1679698" y="1336737"/>
                      <a:pt x="1683460" y="1337991"/>
                    </a:cubicBezTo>
                    <a:cubicBezTo>
                      <a:pt x="1685518" y="1338533"/>
                      <a:pt x="1687672" y="1338533"/>
                      <a:pt x="1689729" y="1337991"/>
                    </a:cubicBezTo>
                    <a:lnTo>
                      <a:pt x="1716061" y="1333317"/>
                    </a:lnTo>
                    <a:cubicBezTo>
                      <a:pt x="1717486" y="1329841"/>
                      <a:pt x="1713496" y="1326706"/>
                      <a:pt x="1711843" y="1323343"/>
                    </a:cubicBezTo>
                    <a:cubicBezTo>
                      <a:pt x="1707512" y="1314395"/>
                      <a:pt x="1719652" y="1306245"/>
                      <a:pt x="1729512" y="1305162"/>
                    </a:cubicBezTo>
                    <a:cubicBezTo>
                      <a:pt x="1739372" y="1304079"/>
                      <a:pt x="1752025" y="1302768"/>
                      <a:pt x="1754817" y="1293250"/>
                    </a:cubicBezTo>
                    <a:cubicBezTo>
                      <a:pt x="1756271" y="1302232"/>
                      <a:pt x="1761925" y="1309984"/>
                      <a:pt x="1770035" y="1314110"/>
                    </a:cubicBezTo>
                    <a:cubicBezTo>
                      <a:pt x="1776686" y="1303418"/>
                      <a:pt x="1790747" y="1300146"/>
                      <a:pt x="1801439" y="1306803"/>
                    </a:cubicBezTo>
                    <a:cubicBezTo>
                      <a:pt x="1802550" y="1307493"/>
                      <a:pt x="1803599" y="1308280"/>
                      <a:pt x="1804574" y="1309152"/>
                    </a:cubicBezTo>
                    <a:cubicBezTo>
                      <a:pt x="1809646" y="1314167"/>
                      <a:pt x="1812325" y="1321634"/>
                      <a:pt x="1818480" y="1325224"/>
                    </a:cubicBezTo>
                    <a:cubicBezTo>
                      <a:pt x="1824636" y="1328815"/>
                      <a:pt x="1835579" y="1322546"/>
                      <a:pt x="1831304" y="1316675"/>
                    </a:cubicBezTo>
                    <a:cubicBezTo>
                      <a:pt x="1839740" y="1311831"/>
                      <a:pt x="1850683" y="1318784"/>
                      <a:pt x="1854729" y="1327675"/>
                    </a:cubicBezTo>
                    <a:cubicBezTo>
                      <a:pt x="1858776" y="1336566"/>
                      <a:pt x="1858434" y="1346654"/>
                      <a:pt x="1860429" y="1356172"/>
                    </a:cubicBezTo>
                    <a:cubicBezTo>
                      <a:pt x="1863558" y="1367634"/>
                      <a:pt x="1868425" y="1378548"/>
                      <a:pt x="1874848" y="1388545"/>
                    </a:cubicBezTo>
                    <a:cubicBezTo>
                      <a:pt x="1886247" y="1408494"/>
                      <a:pt x="1897743" y="1428442"/>
                      <a:pt x="1909330" y="1448390"/>
                    </a:cubicBezTo>
                    <a:cubicBezTo>
                      <a:pt x="1918558" y="1421636"/>
                      <a:pt x="1917708" y="1392432"/>
                      <a:pt x="1906936" y="1366260"/>
                    </a:cubicBezTo>
                    <a:cubicBezTo>
                      <a:pt x="1900610" y="1350929"/>
                      <a:pt x="1890921" y="1336965"/>
                      <a:pt x="1886760" y="1320950"/>
                    </a:cubicBezTo>
                    <a:cubicBezTo>
                      <a:pt x="1882417" y="1304136"/>
                      <a:pt x="1884446" y="1286314"/>
                      <a:pt x="1892460" y="1270908"/>
                    </a:cubicBezTo>
                    <a:cubicBezTo>
                      <a:pt x="1901009" y="1254665"/>
                      <a:pt x="1915599" y="1242411"/>
                      <a:pt x="1929791" y="1231012"/>
                    </a:cubicBezTo>
                    <a:lnTo>
                      <a:pt x="1943242" y="1219898"/>
                    </a:lnTo>
                    <a:lnTo>
                      <a:pt x="1986216" y="1184504"/>
                    </a:lnTo>
                    <a:cubicBezTo>
                      <a:pt x="1990388" y="1180640"/>
                      <a:pt x="1995210" y="1177557"/>
                      <a:pt x="2000465" y="1175385"/>
                    </a:cubicBezTo>
                    <a:cubicBezTo>
                      <a:pt x="2008045" y="1172763"/>
                      <a:pt x="2019273" y="1171395"/>
                      <a:pt x="2019102" y="1163359"/>
                    </a:cubicBezTo>
                    <a:cubicBezTo>
                      <a:pt x="2019102" y="1158401"/>
                      <a:pt x="2013915" y="1155209"/>
                      <a:pt x="2011693" y="1150763"/>
                    </a:cubicBezTo>
                    <a:cubicBezTo>
                      <a:pt x="2010330" y="1146489"/>
                      <a:pt x="2009447" y="1142072"/>
                      <a:pt x="2009071" y="1137598"/>
                    </a:cubicBezTo>
                    <a:cubicBezTo>
                      <a:pt x="2007988" y="1133209"/>
                      <a:pt x="2003884" y="1128763"/>
                      <a:pt x="1999667" y="1130188"/>
                    </a:cubicBezTo>
                    <a:cubicBezTo>
                      <a:pt x="1998407" y="1127304"/>
                      <a:pt x="1999718" y="1123942"/>
                      <a:pt x="2002602" y="1122682"/>
                    </a:cubicBezTo>
                    <a:cubicBezTo>
                      <a:pt x="2002887" y="1122557"/>
                      <a:pt x="2003183" y="1122454"/>
                      <a:pt x="2003485" y="1122380"/>
                    </a:cubicBezTo>
                    <a:cubicBezTo>
                      <a:pt x="2005366" y="1113204"/>
                      <a:pt x="1988553" y="1110639"/>
                      <a:pt x="1987071" y="1101406"/>
                    </a:cubicBezTo>
                    <a:cubicBezTo>
                      <a:pt x="1986900" y="1098818"/>
                      <a:pt x="1987390" y="1096231"/>
                      <a:pt x="1988496" y="1093883"/>
                    </a:cubicBezTo>
                    <a:cubicBezTo>
                      <a:pt x="1993665" y="1080050"/>
                      <a:pt x="1998829" y="1066200"/>
                      <a:pt x="2003998" y="1052334"/>
                    </a:cubicBezTo>
                    <a:cubicBezTo>
                      <a:pt x="2012548" y="1054100"/>
                      <a:pt x="2013573" y="1065841"/>
                      <a:pt x="2012263" y="1074448"/>
                    </a:cubicBezTo>
                    <a:cubicBezTo>
                      <a:pt x="2010952" y="1083054"/>
                      <a:pt x="2011237" y="1094624"/>
                      <a:pt x="2019615" y="1097245"/>
                    </a:cubicBezTo>
                    <a:cubicBezTo>
                      <a:pt x="2020344" y="1078939"/>
                      <a:pt x="2028592" y="1061738"/>
                      <a:pt x="2042413" y="1049712"/>
                    </a:cubicBezTo>
                    <a:cubicBezTo>
                      <a:pt x="2050734" y="1042644"/>
                      <a:pt x="2061449" y="1036831"/>
                      <a:pt x="2064869" y="1026401"/>
                    </a:cubicBezTo>
                    <a:cubicBezTo>
                      <a:pt x="2066066" y="1022810"/>
                      <a:pt x="2066237" y="1018934"/>
                      <a:pt x="2067718" y="1015458"/>
                    </a:cubicBezTo>
                    <a:cubicBezTo>
                      <a:pt x="2073418" y="1002007"/>
                      <a:pt x="2092283" y="1002463"/>
                      <a:pt x="2106646" y="1005199"/>
                    </a:cubicBezTo>
                    <a:lnTo>
                      <a:pt x="2108869" y="995168"/>
                    </a:lnTo>
                    <a:cubicBezTo>
                      <a:pt x="2111462" y="1002264"/>
                      <a:pt x="2119316" y="1005917"/>
                      <a:pt x="2126412" y="1003324"/>
                    </a:cubicBezTo>
                    <a:cubicBezTo>
                      <a:pt x="2126417" y="1003324"/>
                      <a:pt x="2126417" y="1003318"/>
                      <a:pt x="2126423" y="1003318"/>
                    </a:cubicBezTo>
                    <a:cubicBezTo>
                      <a:pt x="2125112" y="981546"/>
                      <a:pt x="2124884" y="962624"/>
                      <a:pt x="2123573" y="940624"/>
                    </a:cubicBezTo>
                    <a:lnTo>
                      <a:pt x="2164154" y="918282"/>
                    </a:lnTo>
                    <a:cubicBezTo>
                      <a:pt x="2167026" y="916373"/>
                      <a:pt x="2170343" y="915233"/>
                      <a:pt x="2173786" y="914976"/>
                    </a:cubicBezTo>
                    <a:cubicBezTo>
                      <a:pt x="2177918" y="915774"/>
                      <a:pt x="2181947" y="917017"/>
                      <a:pt x="2185812" y="918681"/>
                    </a:cubicBezTo>
                    <a:cubicBezTo>
                      <a:pt x="2193791" y="920619"/>
                      <a:pt x="2200402" y="916401"/>
                      <a:pt x="2206786" y="910645"/>
                    </a:cubicBezTo>
                    <a:cubicBezTo>
                      <a:pt x="2206911" y="904415"/>
                      <a:pt x="2206569" y="898185"/>
                      <a:pt x="2205760" y="89200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0" name="Freihandform: Form 286">
                <a:extLst>
                  <a:ext uri="{FF2B5EF4-FFF2-40B4-BE49-F238E27FC236}">
                    <a16:creationId xmlns:a16="http://schemas.microsoft.com/office/drawing/2014/main" id="{4E74FF4A-BB17-81D3-489D-0643979662E6}"/>
                  </a:ext>
                </a:extLst>
              </p:cNvPr>
              <p:cNvSpPr/>
              <p:nvPr/>
            </p:nvSpPr>
            <p:spPr>
              <a:xfrm>
                <a:off x="1201794" y="3453123"/>
                <a:ext cx="664730" cy="445004"/>
              </a:xfrm>
              <a:custGeom>
                <a:avLst/>
                <a:gdLst>
                  <a:gd name="connsiteX0" fmla="*/ 533927 w 664730"/>
                  <a:gd name="connsiteY0" fmla="*/ 445005 h 445004"/>
                  <a:gd name="connsiteX1" fmla="*/ 497906 w 664730"/>
                  <a:gd name="connsiteY1" fmla="*/ 416906 h 445004"/>
                  <a:gd name="connsiteX2" fmla="*/ 478528 w 664730"/>
                  <a:gd name="connsiteY2" fmla="*/ 410637 h 445004"/>
                  <a:gd name="connsiteX3" fmla="*/ 445015 w 664730"/>
                  <a:gd name="connsiteY3" fmla="*/ 429616 h 445004"/>
                  <a:gd name="connsiteX4" fmla="*/ 430823 w 664730"/>
                  <a:gd name="connsiteY4" fmla="*/ 407844 h 445004"/>
                  <a:gd name="connsiteX5" fmla="*/ 356730 w 664730"/>
                  <a:gd name="connsiteY5" fmla="*/ 385046 h 445004"/>
                  <a:gd name="connsiteX6" fmla="*/ 313357 w 664730"/>
                  <a:gd name="connsiteY6" fmla="*/ 360938 h 445004"/>
                  <a:gd name="connsiteX7" fmla="*/ 297228 w 664730"/>
                  <a:gd name="connsiteY7" fmla="*/ 338140 h 445004"/>
                  <a:gd name="connsiteX8" fmla="*/ 272606 w 664730"/>
                  <a:gd name="connsiteY8" fmla="*/ 323036 h 445004"/>
                  <a:gd name="connsiteX9" fmla="*/ 268103 w 664730"/>
                  <a:gd name="connsiteY9" fmla="*/ 308958 h 445004"/>
                  <a:gd name="connsiteX10" fmla="*/ 238352 w 664730"/>
                  <a:gd name="connsiteY10" fmla="*/ 244098 h 445004"/>
                  <a:gd name="connsiteX11" fmla="*/ 213502 w 664730"/>
                  <a:gd name="connsiteY11" fmla="*/ 218679 h 445004"/>
                  <a:gd name="connsiteX12" fmla="*/ 199140 w 664730"/>
                  <a:gd name="connsiteY12" fmla="*/ 208648 h 445004"/>
                  <a:gd name="connsiteX13" fmla="*/ 198513 w 664730"/>
                  <a:gd name="connsiteY13" fmla="*/ 197249 h 445004"/>
                  <a:gd name="connsiteX14" fmla="*/ 181927 w 664730"/>
                  <a:gd name="connsiteY14" fmla="*/ 186762 h 445004"/>
                  <a:gd name="connsiteX15" fmla="*/ 171212 w 664730"/>
                  <a:gd name="connsiteY15" fmla="*/ 172342 h 445004"/>
                  <a:gd name="connsiteX16" fmla="*/ 175544 w 664730"/>
                  <a:gd name="connsiteY16" fmla="*/ 167042 h 445004"/>
                  <a:gd name="connsiteX17" fmla="*/ 167508 w 664730"/>
                  <a:gd name="connsiteY17" fmla="*/ 150741 h 445004"/>
                  <a:gd name="connsiteX18" fmla="*/ 149440 w 664730"/>
                  <a:gd name="connsiteY18" fmla="*/ 141508 h 445004"/>
                  <a:gd name="connsiteX19" fmla="*/ 131544 w 664730"/>
                  <a:gd name="connsiteY19" fmla="*/ 118026 h 445004"/>
                  <a:gd name="connsiteX20" fmla="*/ 124191 w 664730"/>
                  <a:gd name="connsiteY20" fmla="*/ 117456 h 445004"/>
                  <a:gd name="connsiteX21" fmla="*/ 122197 w 664730"/>
                  <a:gd name="connsiteY21" fmla="*/ 110047 h 445004"/>
                  <a:gd name="connsiteX22" fmla="*/ 105554 w 664730"/>
                  <a:gd name="connsiteY22" fmla="*/ 100415 h 445004"/>
                  <a:gd name="connsiteX23" fmla="*/ 96093 w 664730"/>
                  <a:gd name="connsiteY23" fmla="*/ 86394 h 445004"/>
                  <a:gd name="connsiteX24" fmla="*/ 104300 w 664730"/>
                  <a:gd name="connsiteY24" fmla="*/ 81891 h 445004"/>
                  <a:gd name="connsiteX25" fmla="*/ 100482 w 664730"/>
                  <a:gd name="connsiteY25" fmla="*/ 71347 h 445004"/>
                  <a:gd name="connsiteX26" fmla="*/ 83383 w 664730"/>
                  <a:gd name="connsiteY26" fmla="*/ 45928 h 445004"/>
                  <a:gd name="connsiteX27" fmla="*/ 92844 w 664730"/>
                  <a:gd name="connsiteY27" fmla="*/ 36865 h 445004"/>
                  <a:gd name="connsiteX28" fmla="*/ 63777 w 664730"/>
                  <a:gd name="connsiteY28" fmla="*/ 22503 h 445004"/>
                  <a:gd name="connsiteX29" fmla="*/ 55000 w 664730"/>
                  <a:gd name="connsiteY29" fmla="*/ 23130 h 445004"/>
                  <a:gd name="connsiteX30" fmla="*/ 51580 w 664730"/>
                  <a:gd name="connsiteY30" fmla="*/ 32420 h 445004"/>
                  <a:gd name="connsiteX31" fmla="*/ 62352 w 664730"/>
                  <a:gd name="connsiteY31" fmla="*/ 75109 h 445004"/>
                  <a:gd name="connsiteX32" fmla="*/ 78596 w 664730"/>
                  <a:gd name="connsiteY32" fmla="*/ 86109 h 445004"/>
                  <a:gd name="connsiteX33" fmla="*/ 81388 w 664730"/>
                  <a:gd name="connsiteY33" fmla="*/ 103207 h 445004"/>
                  <a:gd name="connsiteX34" fmla="*/ 91590 w 664730"/>
                  <a:gd name="connsiteY34" fmla="*/ 106855 h 445004"/>
                  <a:gd name="connsiteX35" fmla="*/ 93870 w 664730"/>
                  <a:gd name="connsiteY35" fmla="*/ 114891 h 445004"/>
                  <a:gd name="connsiteX36" fmla="*/ 111368 w 664730"/>
                  <a:gd name="connsiteY36" fmla="*/ 147549 h 445004"/>
                  <a:gd name="connsiteX37" fmla="*/ 116725 w 664730"/>
                  <a:gd name="connsiteY37" fmla="*/ 157637 h 445004"/>
                  <a:gd name="connsiteX38" fmla="*/ 142487 w 664730"/>
                  <a:gd name="connsiteY38" fmla="*/ 205855 h 445004"/>
                  <a:gd name="connsiteX39" fmla="*/ 148186 w 664730"/>
                  <a:gd name="connsiteY39" fmla="*/ 214575 h 445004"/>
                  <a:gd name="connsiteX40" fmla="*/ 158730 w 664730"/>
                  <a:gd name="connsiteY40" fmla="*/ 222554 h 445004"/>
                  <a:gd name="connsiteX41" fmla="*/ 156479 w 664730"/>
                  <a:gd name="connsiteY41" fmla="*/ 246629 h 445004"/>
                  <a:gd name="connsiteX42" fmla="*/ 153943 w 664730"/>
                  <a:gd name="connsiteY42" fmla="*/ 248373 h 445004"/>
                  <a:gd name="connsiteX43" fmla="*/ 138440 w 664730"/>
                  <a:gd name="connsiteY43" fmla="*/ 225575 h 445004"/>
                  <a:gd name="connsiteX44" fmla="*/ 116782 w 664730"/>
                  <a:gd name="connsiteY44" fmla="*/ 196109 h 445004"/>
                  <a:gd name="connsiteX45" fmla="*/ 107036 w 664730"/>
                  <a:gd name="connsiteY45" fmla="*/ 172627 h 445004"/>
                  <a:gd name="connsiteX46" fmla="*/ 97005 w 664730"/>
                  <a:gd name="connsiteY46" fmla="*/ 169948 h 445004"/>
                  <a:gd name="connsiteX47" fmla="*/ 93357 w 664730"/>
                  <a:gd name="connsiteY47" fmla="*/ 161741 h 445004"/>
                  <a:gd name="connsiteX48" fmla="*/ 70844 w 664730"/>
                  <a:gd name="connsiteY48" fmla="*/ 147720 h 445004"/>
                  <a:gd name="connsiteX49" fmla="*/ 64119 w 664730"/>
                  <a:gd name="connsiteY49" fmla="*/ 142021 h 445004"/>
                  <a:gd name="connsiteX50" fmla="*/ 68166 w 664730"/>
                  <a:gd name="connsiteY50" fmla="*/ 107824 h 445004"/>
                  <a:gd name="connsiteX51" fmla="*/ 62466 w 664730"/>
                  <a:gd name="connsiteY51" fmla="*/ 100700 h 445004"/>
                  <a:gd name="connsiteX52" fmla="*/ 40808 w 664730"/>
                  <a:gd name="connsiteY52" fmla="*/ 86907 h 445004"/>
                  <a:gd name="connsiteX53" fmla="*/ 33741 w 664730"/>
                  <a:gd name="connsiteY53" fmla="*/ 82860 h 445004"/>
                  <a:gd name="connsiteX54" fmla="*/ 28497 w 664730"/>
                  <a:gd name="connsiteY54" fmla="*/ 70378 h 445004"/>
                  <a:gd name="connsiteX55" fmla="*/ 0 w 664730"/>
                  <a:gd name="connsiteY55" fmla="*/ 6544 h 445004"/>
                  <a:gd name="connsiteX56" fmla="*/ 38927 w 664730"/>
                  <a:gd name="connsiteY56" fmla="*/ 845 h 445004"/>
                  <a:gd name="connsiteX57" fmla="*/ 62637 w 664730"/>
                  <a:gd name="connsiteY57" fmla="*/ 4492 h 445004"/>
                  <a:gd name="connsiteX58" fmla="*/ 71699 w 664730"/>
                  <a:gd name="connsiteY58" fmla="*/ 13213 h 445004"/>
                  <a:gd name="connsiteX59" fmla="*/ 88798 w 664730"/>
                  <a:gd name="connsiteY59" fmla="*/ 15492 h 445004"/>
                  <a:gd name="connsiteX60" fmla="*/ 94896 w 664730"/>
                  <a:gd name="connsiteY60" fmla="*/ 24783 h 445004"/>
                  <a:gd name="connsiteX61" fmla="*/ 101109 w 664730"/>
                  <a:gd name="connsiteY61" fmla="*/ 27005 h 445004"/>
                  <a:gd name="connsiteX62" fmla="*/ 152974 w 664730"/>
                  <a:gd name="connsiteY62" fmla="*/ 35840 h 445004"/>
                  <a:gd name="connsiteX63" fmla="*/ 187171 w 664730"/>
                  <a:gd name="connsiteY63" fmla="*/ 34073 h 445004"/>
                  <a:gd name="connsiteX64" fmla="*/ 199368 w 664730"/>
                  <a:gd name="connsiteY64" fmla="*/ 25581 h 445004"/>
                  <a:gd name="connsiteX65" fmla="*/ 217663 w 664730"/>
                  <a:gd name="connsiteY65" fmla="*/ 21021 h 445004"/>
                  <a:gd name="connsiteX66" fmla="*/ 258585 w 664730"/>
                  <a:gd name="connsiteY66" fmla="*/ 48948 h 445004"/>
                  <a:gd name="connsiteX67" fmla="*/ 260238 w 664730"/>
                  <a:gd name="connsiteY67" fmla="*/ 57099 h 445004"/>
                  <a:gd name="connsiteX68" fmla="*/ 272543 w 664730"/>
                  <a:gd name="connsiteY68" fmla="*/ 74260 h 445004"/>
                  <a:gd name="connsiteX69" fmla="*/ 272378 w 664730"/>
                  <a:gd name="connsiteY69" fmla="*/ 75109 h 445004"/>
                  <a:gd name="connsiteX70" fmla="*/ 284860 w 664730"/>
                  <a:gd name="connsiteY70" fmla="*/ 85026 h 445004"/>
                  <a:gd name="connsiteX71" fmla="*/ 298595 w 664730"/>
                  <a:gd name="connsiteY71" fmla="*/ 91181 h 445004"/>
                  <a:gd name="connsiteX72" fmla="*/ 301673 w 664730"/>
                  <a:gd name="connsiteY72" fmla="*/ 98591 h 445004"/>
                  <a:gd name="connsiteX73" fmla="*/ 308797 w 664730"/>
                  <a:gd name="connsiteY73" fmla="*/ 98591 h 445004"/>
                  <a:gd name="connsiteX74" fmla="*/ 309538 w 664730"/>
                  <a:gd name="connsiteY74" fmla="*/ 82233 h 445004"/>
                  <a:gd name="connsiteX75" fmla="*/ 318828 w 664730"/>
                  <a:gd name="connsiteY75" fmla="*/ 82233 h 445004"/>
                  <a:gd name="connsiteX76" fmla="*/ 328860 w 664730"/>
                  <a:gd name="connsiteY76" fmla="*/ 75736 h 445004"/>
                  <a:gd name="connsiteX77" fmla="*/ 352398 w 664730"/>
                  <a:gd name="connsiteY77" fmla="*/ 87591 h 445004"/>
                  <a:gd name="connsiteX78" fmla="*/ 368471 w 664730"/>
                  <a:gd name="connsiteY78" fmla="*/ 108964 h 445004"/>
                  <a:gd name="connsiteX79" fmla="*/ 384202 w 664730"/>
                  <a:gd name="connsiteY79" fmla="*/ 128285 h 445004"/>
                  <a:gd name="connsiteX80" fmla="*/ 382777 w 664730"/>
                  <a:gd name="connsiteY80" fmla="*/ 134896 h 445004"/>
                  <a:gd name="connsiteX81" fmla="*/ 390015 w 664730"/>
                  <a:gd name="connsiteY81" fmla="*/ 139228 h 445004"/>
                  <a:gd name="connsiteX82" fmla="*/ 389046 w 664730"/>
                  <a:gd name="connsiteY82" fmla="*/ 162026 h 445004"/>
                  <a:gd name="connsiteX83" fmla="*/ 426036 w 664730"/>
                  <a:gd name="connsiteY83" fmla="*/ 177243 h 445004"/>
                  <a:gd name="connsiteX84" fmla="*/ 431450 w 664730"/>
                  <a:gd name="connsiteY84" fmla="*/ 179124 h 445004"/>
                  <a:gd name="connsiteX85" fmla="*/ 431450 w 664730"/>
                  <a:gd name="connsiteY85" fmla="*/ 182316 h 445004"/>
                  <a:gd name="connsiteX86" fmla="*/ 426093 w 664730"/>
                  <a:gd name="connsiteY86" fmla="*/ 194627 h 445004"/>
                  <a:gd name="connsiteX87" fmla="*/ 421818 w 664730"/>
                  <a:gd name="connsiteY87" fmla="*/ 223124 h 445004"/>
                  <a:gd name="connsiteX88" fmla="*/ 421305 w 664730"/>
                  <a:gd name="connsiteY88" fmla="*/ 277782 h 445004"/>
                  <a:gd name="connsiteX89" fmla="*/ 432077 w 664730"/>
                  <a:gd name="connsiteY89" fmla="*/ 302404 h 445004"/>
                  <a:gd name="connsiteX90" fmla="*/ 437036 w 664730"/>
                  <a:gd name="connsiteY90" fmla="*/ 304057 h 445004"/>
                  <a:gd name="connsiteX91" fmla="*/ 439885 w 664730"/>
                  <a:gd name="connsiteY91" fmla="*/ 312777 h 445004"/>
                  <a:gd name="connsiteX92" fmla="*/ 456984 w 664730"/>
                  <a:gd name="connsiteY92" fmla="*/ 332554 h 445004"/>
                  <a:gd name="connsiteX93" fmla="*/ 467003 w 664730"/>
                  <a:gd name="connsiteY93" fmla="*/ 354560 h 445004"/>
                  <a:gd name="connsiteX94" fmla="*/ 468383 w 664730"/>
                  <a:gd name="connsiteY94" fmla="*/ 355010 h 445004"/>
                  <a:gd name="connsiteX95" fmla="*/ 477445 w 664730"/>
                  <a:gd name="connsiteY95" fmla="*/ 357461 h 445004"/>
                  <a:gd name="connsiteX96" fmla="*/ 482118 w 664730"/>
                  <a:gd name="connsiteY96" fmla="*/ 365782 h 445004"/>
                  <a:gd name="connsiteX97" fmla="*/ 489927 w 664730"/>
                  <a:gd name="connsiteY97" fmla="*/ 367207 h 445004"/>
                  <a:gd name="connsiteX98" fmla="*/ 497792 w 664730"/>
                  <a:gd name="connsiteY98" fmla="*/ 361906 h 445004"/>
                  <a:gd name="connsiteX99" fmla="*/ 534098 w 664730"/>
                  <a:gd name="connsiteY99" fmla="*/ 365782 h 445004"/>
                  <a:gd name="connsiteX100" fmla="*/ 538144 w 664730"/>
                  <a:gd name="connsiteY100" fmla="*/ 355751 h 445004"/>
                  <a:gd name="connsiteX101" fmla="*/ 557237 w 664730"/>
                  <a:gd name="connsiteY101" fmla="*/ 357632 h 445004"/>
                  <a:gd name="connsiteX102" fmla="*/ 568352 w 664730"/>
                  <a:gd name="connsiteY102" fmla="*/ 346575 h 445004"/>
                  <a:gd name="connsiteX103" fmla="*/ 582999 w 664730"/>
                  <a:gd name="connsiteY103" fmla="*/ 339394 h 445004"/>
                  <a:gd name="connsiteX104" fmla="*/ 583740 w 664730"/>
                  <a:gd name="connsiteY104" fmla="*/ 299839 h 445004"/>
                  <a:gd name="connsiteX105" fmla="*/ 599471 w 664730"/>
                  <a:gd name="connsiteY105" fmla="*/ 297160 h 445004"/>
                  <a:gd name="connsiteX106" fmla="*/ 602719 w 664730"/>
                  <a:gd name="connsiteY106" fmla="*/ 287528 h 445004"/>
                  <a:gd name="connsiteX107" fmla="*/ 613434 w 664730"/>
                  <a:gd name="connsiteY107" fmla="*/ 284850 h 445004"/>
                  <a:gd name="connsiteX108" fmla="*/ 655040 w 664730"/>
                  <a:gd name="connsiteY108" fmla="*/ 283710 h 445004"/>
                  <a:gd name="connsiteX109" fmla="*/ 662735 w 664730"/>
                  <a:gd name="connsiteY109" fmla="*/ 285648 h 445004"/>
                  <a:gd name="connsiteX110" fmla="*/ 660398 w 664730"/>
                  <a:gd name="connsiteY110" fmla="*/ 298243 h 445004"/>
                  <a:gd name="connsiteX111" fmla="*/ 646206 w 664730"/>
                  <a:gd name="connsiteY111" fmla="*/ 302119 h 445004"/>
                  <a:gd name="connsiteX112" fmla="*/ 634009 w 664730"/>
                  <a:gd name="connsiteY112" fmla="*/ 309471 h 445004"/>
                  <a:gd name="connsiteX113" fmla="*/ 639709 w 664730"/>
                  <a:gd name="connsiteY113" fmla="*/ 329989 h 445004"/>
                  <a:gd name="connsiteX114" fmla="*/ 629792 w 664730"/>
                  <a:gd name="connsiteY114" fmla="*/ 359057 h 445004"/>
                  <a:gd name="connsiteX115" fmla="*/ 628766 w 664730"/>
                  <a:gd name="connsiteY115" fmla="*/ 359684 h 445004"/>
                  <a:gd name="connsiteX116" fmla="*/ 610642 w 664730"/>
                  <a:gd name="connsiteY116" fmla="*/ 372564 h 445004"/>
                  <a:gd name="connsiteX117" fmla="*/ 608077 w 664730"/>
                  <a:gd name="connsiteY117" fmla="*/ 377238 h 445004"/>
                  <a:gd name="connsiteX118" fmla="*/ 602719 w 664730"/>
                  <a:gd name="connsiteY118" fmla="*/ 378378 h 445004"/>
                  <a:gd name="connsiteX119" fmla="*/ 571201 w 664730"/>
                  <a:gd name="connsiteY119" fmla="*/ 374103 h 445004"/>
                  <a:gd name="connsiteX120" fmla="*/ 568397 w 664730"/>
                  <a:gd name="connsiteY120" fmla="*/ 383696 h 445004"/>
                  <a:gd name="connsiteX121" fmla="*/ 567098 w 664730"/>
                  <a:gd name="connsiteY121" fmla="*/ 384248 h 445004"/>
                  <a:gd name="connsiteX122" fmla="*/ 562880 w 664730"/>
                  <a:gd name="connsiteY122" fmla="*/ 385502 h 445004"/>
                  <a:gd name="connsiteX123" fmla="*/ 564020 w 664730"/>
                  <a:gd name="connsiteY123" fmla="*/ 393197 h 445004"/>
                  <a:gd name="connsiteX124" fmla="*/ 567953 w 664730"/>
                  <a:gd name="connsiteY124" fmla="*/ 398497 h 445004"/>
                  <a:gd name="connsiteX125" fmla="*/ 581916 w 664730"/>
                  <a:gd name="connsiteY125" fmla="*/ 410295 h 445004"/>
                  <a:gd name="connsiteX126" fmla="*/ 580947 w 664730"/>
                  <a:gd name="connsiteY126" fmla="*/ 419243 h 445004"/>
                  <a:gd name="connsiteX127" fmla="*/ 569548 w 664730"/>
                  <a:gd name="connsiteY127" fmla="*/ 418958 h 445004"/>
                  <a:gd name="connsiteX128" fmla="*/ 558149 w 664730"/>
                  <a:gd name="connsiteY128" fmla="*/ 417077 h 445004"/>
                  <a:gd name="connsiteX129" fmla="*/ 557237 w 664730"/>
                  <a:gd name="connsiteY129" fmla="*/ 421067 h 445004"/>
                  <a:gd name="connsiteX130" fmla="*/ 542590 w 664730"/>
                  <a:gd name="connsiteY130" fmla="*/ 421922 h 445004"/>
                  <a:gd name="connsiteX131" fmla="*/ 544357 w 664730"/>
                  <a:gd name="connsiteY131" fmla="*/ 437424 h 445004"/>
                  <a:gd name="connsiteX132" fmla="*/ 533927 w 664730"/>
                  <a:gd name="connsiteY132" fmla="*/ 445005 h 44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664730" h="445004">
                    <a:moveTo>
                      <a:pt x="533927" y="445005"/>
                    </a:moveTo>
                    <a:cubicBezTo>
                      <a:pt x="523240" y="434056"/>
                      <a:pt x="511123" y="424606"/>
                      <a:pt x="497906" y="416906"/>
                    </a:cubicBezTo>
                    <a:cubicBezTo>
                      <a:pt x="492492" y="412404"/>
                      <a:pt x="485555" y="410158"/>
                      <a:pt x="478528" y="410637"/>
                    </a:cubicBezTo>
                    <a:cubicBezTo>
                      <a:pt x="465305" y="413430"/>
                      <a:pt x="457440" y="434917"/>
                      <a:pt x="445015" y="429616"/>
                    </a:cubicBezTo>
                    <a:cubicBezTo>
                      <a:pt x="437412" y="424703"/>
                      <a:pt x="432254" y="416787"/>
                      <a:pt x="430823" y="407844"/>
                    </a:cubicBezTo>
                    <a:lnTo>
                      <a:pt x="356730" y="385046"/>
                    </a:lnTo>
                    <a:cubicBezTo>
                      <a:pt x="340657" y="380031"/>
                      <a:pt x="323502" y="374331"/>
                      <a:pt x="313357" y="360938"/>
                    </a:cubicBezTo>
                    <a:cubicBezTo>
                      <a:pt x="307658" y="353528"/>
                      <a:pt x="304580" y="343839"/>
                      <a:pt x="297228" y="338140"/>
                    </a:cubicBezTo>
                    <a:cubicBezTo>
                      <a:pt x="289875" y="332440"/>
                      <a:pt x="278191" y="331015"/>
                      <a:pt x="272606" y="323036"/>
                    </a:cubicBezTo>
                    <a:cubicBezTo>
                      <a:pt x="270126" y="318716"/>
                      <a:pt x="268593" y="313917"/>
                      <a:pt x="268103" y="308958"/>
                    </a:cubicBezTo>
                    <a:cubicBezTo>
                      <a:pt x="263658" y="285226"/>
                      <a:pt x="253438" y="262952"/>
                      <a:pt x="238352" y="244098"/>
                    </a:cubicBezTo>
                    <a:cubicBezTo>
                      <a:pt x="230943" y="234865"/>
                      <a:pt x="224160" y="223922"/>
                      <a:pt x="213502" y="218679"/>
                    </a:cubicBezTo>
                    <a:cubicBezTo>
                      <a:pt x="208088" y="216000"/>
                      <a:pt x="201020" y="214347"/>
                      <a:pt x="199140" y="208648"/>
                    </a:cubicBezTo>
                    <a:cubicBezTo>
                      <a:pt x="197943" y="204943"/>
                      <a:pt x="199539" y="200782"/>
                      <a:pt x="198513" y="197249"/>
                    </a:cubicBezTo>
                    <a:cubicBezTo>
                      <a:pt x="196746" y="190580"/>
                      <a:pt x="188539" y="188699"/>
                      <a:pt x="181927" y="186762"/>
                    </a:cubicBezTo>
                    <a:cubicBezTo>
                      <a:pt x="175316" y="184824"/>
                      <a:pt x="168020" y="178440"/>
                      <a:pt x="171212" y="172342"/>
                    </a:cubicBezTo>
                    <a:cubicBezTo>
                      <a:pt x="172295" y="170347"/>
                      <a:pt x="174347" y="168979"/>
                      <a:pt x="175544" y="167042"/>
                    </a:cubicBezTo>
                    <a:cubicBezTo>
                      <a:pt x="179134" y="161342"/>
                      <a:pt x="173663" y="153762"/>
                      <a:pt x="167508" y="150741"/>
                    </a:cubicBezTo>
                    <a:cubicBezTo>
                      <a:pt x="161352" y="147720"/>
                      <a:pt x="154057" y="146580"/>
                      <a:pt x="149440" y="141508"/>
                    </a:cubicBezTo>
                    <a:cubicBezTo>
                      <a:pt x="142487" y="133871"/>
                      <a:pt x="141917" y="118197"/>
                      <a:pt x="131544" y="118026"/>
                    </a:cubicBezTo>
                    <a:cubicBezTo>
                      <a:pt x="129036" y="118026"/>
                      <a:pt x="126186" y="118995"/>
                      <a:pt x="124191" y="117456"/>
                    </a:cubicBezTo>
                    <a:cubicBezTo>
                      <a:pt x="122197" y="115917"/>
                      <a:pt x="122767" y="112611"/>
                      <a:pt x="122197" y="110047"/>
                    </a:cubicBezTo>
                    <a:cubicBezTo>
                      <a:pt x="120658" y="103435"/>
                      <a:pt x="112166" y="102011"/>
                      <a:pt x="105554" y="100415"/>
                    </a:cubicBezTo>
                    <a:cubicBezTo>
                      <a:pt x="98943" y="98819"/>
                      <a:pt x="91705" y="91580"/>
                      <a:pt x="96093" y="86394"/>
                    </a:cubicBezTo>
                    <a:cubicBezTo>
                      <a:pt x="99000" y="88845"/>
                      <a:pt x="103844" y="85653"/>
                      <a:pt x="104300" y="81891"/>
                    </a:cubicBezTo>
                    <a:cubicBezTo>
                      <a:pt x="104300" y="78038"/>
                      <a:pt x="102950" y="74305"/>
                      <a:pt x="100482" y="71347"/>
                    </a:cubicBezTo>
                    <a:lnTo>
                      <a:pt x="83383" y="45928"/>
                    </a:lnTo>
                    <a:cubicBezTo>
                      <a:pt x="88410" y="45819"/>
                      <a:pt x="92519" y="41881"/>
                      <a:pt x="92844" y="36865"/>
                    </a:cubicBezTo>
                    <a:cubicBezTo>
                      <a:pt x="84329" y="29998"/>
                      <a:pt x="74407" y="25096"/>
                      <a:pt x="63777" y="22503"/>
                    </a:cubicBezTo>
                    <a:cubicBezTo>
                      <a:pt x="60893" y="21465"/>
                      <a:pt x="57707" y="21693"/>
                      <a:pt x="55000" y="23130"/>
                    </a:cubicBezTo>
                    <a:cubicBezTo>
                      <a:pt x="52555" y="25575"/>
                      <a:pt x="51301" y="28972"/>
                      <a:pt x="51580" y="32420"/>
                    </a:cubicBezTo>
                    <a:cubicBezTo>
                      <a:pt x="50782" y="47637"/>
                      <a:pt x="50896" y="65078"/>
                      <a:pt x="62352" y="75109"/>
                    </a:cubicBezTo>
                    <a:cubicBezTo>
                      <a:pt x="67311" y="79440"/>
                      <a:pt x="73751" y="81720"/>
                      <a:pt x="78596" y="86109"/>
                    </a:cubicBezTo>
                    <a:cubicBezTo>
                      <a:pt x="83440" y="90497"/>
                      <a:pt x="86062" y="98819"/>
                      <a:pt x="81388" y="103207"/>
                    </a:cubicBezTo>
                    <a:lnTo>
                      <a:pt x="91590" y="106855"/>
                    </a:lnTo>
                    <a:cubicBezTo>
                      <a:pt x="91499" y="109705"/>
                      <a:pt x="92297" y="112515"/>
                      <a:pt x="93870" y="114891"/>
                    </a:cubicBezTo>
                    <a:cubicBezTo>
                      <a:pt x="99684" y="125760"/>
                      <a:pt x="105514" y="136646"/>
                      <a:pt x="111368" y="147549"/>
                    </a:cubicBezTo>
                    <a:lnTo>
                      <a:pt x="116725" y="157637"/>
                    </a:lnTo>
                    <a:lnTo>
                      <a:pt x="142487" y="205855"/>
                    </a:lnTo>
                    <a:cubicBezTo>
                      <a:pt x="143929" y="209035"/>
                      <a:pt x="145850" y="211976"/>
                      <a:pt x="148186" y="214575"/>
                    </a:cubicBezTo>
                    <a:cubicBezTo>
                      <a:pt x="151378" y="217653"/>
                      <a:pt x="155653" y="219420"/>
                      <a:pt x="158730" y="222554"/>
                    </a:cubicBezTo>
                    <a:cubicBezTo>
                      <a:pt x="164755" y="229827"/>
                      <a:pt x="163752" y="240605"/>
                      <a:pt x="156479" y="246629"/>
                    </a:cubicBezTo>
                    <a:cubicBezTo>
                      <a:pt x="155687" y="247284"/>
                      <a:pt x="154838" y="247871"/>
                      <a:pt x="153943" y="248373"/>
                    </a:cubicBezTo>
                    <a:cubicBezTo>
                      <a:pt x="154513" y="238855"/>
                      <a:pt x="145792" y="231674"/>
                      <a:pt x="138440" y="225575"/>
                    </a:cubicBezTo>
                    <a:cubicBezTo>
                      <a:pt x="128204" y="218377"/>
                      <a:pt x="120601" y="208026"/>
                      <a:pt x="116782" y="196109"/>
                    </a:cubicBezTo>
                    <a:cubicBezTo>
                      <a:pt x="114787" y="187503"/>
                      <a:pt x="115015" y="176446"/>
                      <a:pt x="107036" y="172627"/>
                    </a:cubicBezTo>
                    <a:cubicBezTo>
                      <a:pt x="103901" y="171088"/>
                      <a:pt x="100197" y="171259"/>
                      <a:pt x="97005" y="169948"/>
                    </a:cubicBezTo>
                    <a:cubicBezTo>
                      <a:pt x="93813" y="168637"/>
                      <a:pt x="91306" y="164249"/>
                      <a:pt x="93357" y="161741"/>
                    </a:cubicBezTo>
                    <a:lnTo>
                      <a:pt x="70844" y="147720"/>
                    </a:lnTo>
                    <a:cubicBezTo>
                      <a:pt x="68206" y="146347"/>
                      <a:pt x="65909" y="144397"/>
                      <a:pt x="64119" y="142021"/>
                    </a:cubicBezTo>
                    <a:cubicBezTo>
                      <a:pt x="57907" y="131990"/>
                      <a:pt x="72554" y="119223"/>
                      <a:pt x="68166" y="107824"/>
                    </a:cubicBezTo>
                    <a:cubicBezTo>
                      <a:pt x="66878" y="105020"/>
                      <a:pt x="64917" y="102575"/>
                      <a:pt x="62466" y="100700"/>
                    </a:cubicBezTo>
                    <a:cubicBezTo>
                      <a:pt x="55946" y="95086"/>
                      <a:pt x="48651" y="90441"/>
                      <a:pt x="40808" y="86907"/>
                    </a:cubicBezTo>
                    <a:cubicBezTo>
                      <a:pt x="38243" y="85966"/>
                      <a:pt x="35850" y="84598"/>
                      <a:pt x="33741" y="82860"/>
                    </a:cubicBezTo>
                    <a:cubicBezTo>
                      <a:pt x="30903" y="79247"/>
                      <a:pt x="29090" y="74932"/>
                      <a:pt x="28497" y="70378"/>
                    </a:cubicBezTo>
                    <a:cubicBezTo>
                      <a:pt x="22798" y="47580"/>
                      <a:pt x="5699" y="28943"/>
                      <a:pt x="0" y="6544"/>
                    </a:cubicBezTo>
                    <a:cubicBezTo>
                      <a:pt x="12995" y="5005"/>
                      <a:pt x="25990" y="2897"/>
                      <a:pt x="38927" y="845"/>
                    </a:cubicBezTo>
                    <a:cubicBezTo>
                      <a:pt x="47078" y="-352"/>
                      <a:pt x="56482" y="-1093"/>
                      <a:pt x="62637" y="4492"/>
                    </a:cubicBezTo>
                    <a:cubicBezTo>
                      <a:pt x="65829" y="7285"/>
                      <a:pt x="67824" y="11617"/>
                      <a:pt x="71699" y="13213"/>
                    </a:cubicBezTo>
                    <a:cubicBezTo>
                      <a:pt x="77399" y="15492"/>
                      <a:pt x="84466" y="11617"/>
                      <a:pt x="88798" y="15492"/>
                    </a:cubicBezTo>
                    <a:cubicBezTo>
                      <a:pt x="91647" y="17886"/>
                      <a:pt x="92046" y="22332"/>
                      <a:pt x="94896" y="24783"/>
                    </a:cubicBezTo>
                    <a:cubicBezTo>
                      <a:pt x="96743" y="26036"/>
                      <a:pt x="98880" y="26806"/>
                      <a:pt x="101109" y="27005"/>
                    </a:cubicBezTo>
                    <a:lnTo>
                      <a:pt x="152974" y="35840"/>
                    </a:lnTo>
                    <a:cubicBezTo>
                      <a:pt x="164373" y="37777"/>
                      <a:pt x="176798" y="39601"/>
                      <a:pt x="187171" y="34073"/>
                    </a:cubicBezTo>
                    <a:cubicBezTo>
                      <a:pt x="191559" y="31736"/>
                      <a:pt x="195150" y="28373"/>
                      <a:pt x="199368" y="25581"/>
                    </a:cubicBezTo>
                    <a:cubicBezTo>
                      <a:pt x="204873" y="22269"/>
                      <a:pt x="211245" y="20679"/>
                      <a:pt x="217663" y="21021"/>
                    </a:cubicBezTo>
                    <a:cubicBezTo>
                      <a:pt x="234761" y="22047"/>
                      <a:pt x="247585" y="36011"/>
                      <a:pt x="258585" y="48948"/>
                    </a:cubicBezTo>
                    <a:cubicBezTo>
                      <a:pt x="260580" y="51285"/>
                      <a:pt x="262518" y="55047"/>
                      <a:pt x="260238" y="57099"/>
                    </a:cubicBezTo>
                    <a:cubicBezTo>
                      <a:pt x="268377" y="58438"/>
                      <a:pt x="273882" y="66127"/>
                      <a:pt x="272543" y="74260"/>
                    </a:cubicBezTo>
                    <a:cubicBezTo>
                      <a:pt x="272497" y="74545"/>
                      <a:pt x="272441" y="74830"/>
                      <a:pt x="272378" y="75109"/>
                    </a:cubicBezTo>
                    <a:cubicBezTo>
                      <a:pt x="278077" y="75109"/>
                      <a:pt x="281611" y="80467"/>
                      <a:pt x="284860" y="85026"/>
                    </a:cubicBezTo>
                    <a:cubicBezTo>
                      <a:pt x="288108" y="89586"/>
                      <a:pt x="293865" y="94088"/>
                      <a:pt x="298595" y="91181"/>
                    </a:cubicBezTo>
                    <a:lnTo>
                      <a:pt x="301673" y="98591"/>
                    </a:lnTo>
                    <a:lnTo>
                      <a:pt x="308797" y="98591"/>
                    </a:lnTo>
                    <a:cubicBezTo>
                      <a:pt x="310382" y="93279"/>
                      <a:pt x="310633" y="87665"/>
                      <a:pt x="309538" y="82233"/>
                    </a:cubicBezTo>
                    <a:lnTo>
                      <a:pt x="318828" y="82233"/>
                    </a:lnTo>
                    <a:cubicBezTo>
                      <a:pt x="316036" y="77902"/>
                      <a:pt x="323844" y="74596"/>
                      <a:pt x="328860" y="75736"/>
                    </a:cubicBezTo>
                    <a:cubicBezTo>
                      <a:pt x="337546" y="77742"/>
                      <a:pt x="345616" y="81806"/>
                      <a:pt x="352398" y="87591"/>
                    </a:cubicBezTo>
                    <a:cubicBezTo>
                      <a:pt x="359158" y="93547"/>
                      <a:pt x="364629" y="100819"/>
                      <a:pt x="368471" y="108964"/>
                    </a:cubicBezTo>
                    <a:cubicBezTo>
                      <a:pt x="372233" y="116715"/>
                      <a:pt x="375880" y="126062"/>
                      <a:pt x="384202" y="128285"/>
                    </a:cubicBezTo>
                    <a:cubicBezTo>
                      <a:pt x="383745" y="130508"/>
                      <a:pt x="383290" y="132731"/>
                      <a:pt x="382777" y="134896"/>
                    </a:cubicBezTo>
                    <a:lnTo>
                      <a:pt x="390015" y="139228"/>
                    </a:lnTo>
                    <a:cubicBezTo>
                      <a:pt x="389673" y="146865"/>
                      <a:pt x="389388" y="154560"/>
                      <a:pt x="389046" y="162026"/>
                    </a:cubicBezTo>
                    <a:cubicBezTo>
                      <a:pt x="398735" y="171430"/>
                      <a:pt x="413155" y="173425"/>
                      <a:pt x="426036" y="177243"/>
                    </a:cubicBezTo>
                    <a:cubicBezTo>
                      <a:pt x="427860" y="177813"/>
                      <a:pt x="429626" y="178497"/>
                      <a:pt x="431450" y="179124"/>
                    </a:cubicBezTo>
                    <a:cubicBezTo>
                      <a:pt x="431536" y="180184"/>
                      <a:pt x="431536" y="181256"/>
                      <a:pt x="431450" y="182316"/>
                    </a:cubicBezTo>
                    <a:cubicBezTo>
                      <a:pt x="430179" y="186625"/>
                      <a:pt x="428378" y="190763"/>
                      <a:pt x="426093" y="194627"/>
                    </a:cubicBezTo>
                    <a:cubicBezTo>
                      <a:pt x="422684" y="203718"/>
                      <a:pt x="421225" y="213429"/>
                      <a:pt x="421818" y="223124"/>
                    </a:cubicBezTo>
                    <a:lnTo>
                      <a:pt x="421305" y="277782"/>
                    </a:lnTo>
                    <a:cubicBezTo>
                      <a:pt x="421305" y="287414"/>
                      <a:pt x="422844" y="299611"/>
                      <a:pt x="432077" y="302404"/>
                    </a:cubicBezTo>
                    <a:cubicBezTo>
                      <a:pt x="433810" y="302689"/>
                      <a:pt x="435480" y="303247"/>
                      <a:pt x="437036" y="304057"/>
                    </a:cubicBezTo>
                    <a:cubicBezTo>
                      <a:pt x="439543" y="305938"/>
                      <a:pt x="439543" y="309756"/>
                      <a:pt x="439885" y="312777"/>
                    </a:cubicBezTo>
                    <a:cubicBezTo>
                      <a:pt x="441094" y="322204"/>
                      <a:pt x="447830" y="329995"/>
                      <a:pt x="456984" y="332554"/>
                    </a:cubicBezTo>
                    <a:cubicBezTo>
                      <a:pt x="453672" y="341400"/>
                      <a:pt x="458164" y="351248"/>
                      <a:pt x="467003" y="354560"/>
                    </a:cubicBezTo>
                    <a:cubicBezTo>
                      <a:pt x="467459" y="354731"/>
                      <a:pt x="467915" y="354879"/>
                      <a:pt x="468383" y="355010"/>
                    </a:cubicBezTo>
                    <a:cubicBezTo>
                      <a:pt x="471552" y="355107"/>
                      <a:pt x="474658" y="355945"/>
                      <a:pt x="477445" y="357461"/>
                    </a:cubicBezTo>
                    <a:cubicBezTo>
                      <a:pt x="479896" y="359513"/>
                      <a:pt x="480466" y="363160"/>
                      <a:pt x="482118" y="365782"/>
                    </a:cubicBezTo>
                    <a:cubicBezTo>
                      <a:pt x="483771" y="368404"/>
                      <a:pt x="488502" y="370057"/>
                      <a:pt x="489927" y="367207"/>
                    </a:cubicBezTo>
                    <a:cubicBezTo>
                      <a:pt x="489471" y="363673"/>
                      <a:pt x="494258" y="362134"/>
                      <a:pt x="497792" y="361906"/>
                    </a:cubicBezTo>
                    <a:cubicBezTo>
                      <a:pt x="510103" y="361166"/>
                      <a:pt x="522984" y="360539"/>
                      <a:pt x="534098" y="365782"/>
                    </a:cubicBezTo>
                    <a:lnTo>
                      <a:pt x="538144" y="355751"/>
                    </a:lnTo>
                    <a:cubicBezTo>
                      <a:pt x="544568" y="355232"/>
                      <a:pt x="551037" y="355871"/>
                      <a:pt x="557237" y="357632"/>
                    </a:cubicBezTo>
                    <a:cubicBezTo>
                      <a:pt x="557636" y="351932"/>
                      <a:pt x="562937" y="348456"/>
                      <a:pt x="568352" y="346575"/>
                    </a:cubicBezTo>
                    <a:cubicBezTo>
                      <a:pt x="573749" y="345418"/>
                      <a:pt x="578781" y="342950"/>
                      <a:pt x="582999" y="339394"/>
                    </a:cubicBezTo>
                    <a:cubicBezTo>
                      <a:pt x="592118" y="329248"/>
                      <a:pt x="580719" y="313119"/>
                      <a:pt x="583740" y="299839"/>
                    </a:cubicBezTo>
                    <a:cubicBezTo>
                      <a:pt x="588801" y="298095"/>
                      <a:pt x="594119" y="297195"/>
                      <a:pt x="599471" y="297160"/>
                    </a:cubicBezTo>
                    <a:cubicBezTo>
                      <a:pt x="597977" y="293587"/>
                      <a:pt x="599368" y="289466"/>
                      <a:pt x="602719" y="287528"/>
                    </a:cubicBezTo>
                    <a:cubicBezTo>
                      <a:pt x="605996" y="285722"/>
                      <a:pt x="609690" y="284798"/>
                      <a:pt x="613434" y="284850"/>
                    </a:cubicBezTo>
                    <a:cubicBezTo>
                      <a:pt x="627284" y="283938"/>
                      <a:pt x="641191" y="283539"/>
                      <a:pt x="655040" y="283710"/>
                    </a:cubicBezTo>
                    <a:cubicBezTo>
                      <a:pt x="657754" y="283413"/>
                      <a:pt x="660483" y="284103"/>
                      <a:pt x="662735" y="285648"/>
                    </a:cubicBezTo>
                    <a:cubicBezTo>
                      <a:pt x="666496" y="288839"/>
                      <a:pt x="664502" y="295451"/>
                      <a:pt x="660398" y="298243"/>
                    </a:cubicBezTo>
                    <a:cubicBezTo>
                      <a:pt x="655992" y="300523"/>
                      <a:pt x="651159" y="301845"/>
                      <a:pt x="646206" y="302119"/>
                    </a:cubicBezTo>
                    <a:cubicBezTo>
                      <a:pt x="641185" y="302438"/>
                      <a:pt x="636637" y="305180"/>
                      <a:pt x="634009" y="309471"/>
                    </a:cubicBezTo>
                    <a:cubicBezTo>
                      <a:pt x="630989" y="316197"/>
                      <a:pt x="636859" y="323150"/>
                      <a:pt x="639709" y="329989"/>
                    </a:cubicBezTo>
                    <a:cubicBezTo>
                      <a:pt x="643590" y="340807"/>
                      <a:pt x="639475" y="352867"/>
                      <a:pt x="629792" y="359057"/>
                    </a:cubicBezTo>
                    <a:lnTo>
                      <a:pt x="628766" y="359684"/>
                    </a:lnTo>
                    <a:cubicBezTo>
                      <a:pt x="620975" y="360738"/>
                      <a:pt x="614204" y="365554"/>
                      <a:pt x="610642" y="372564"/>
                    </a:cubicBezTo>
                    <a:cubicBezTo>
                      <a:pt x="610169" y="374303"/>
                      <a:pt x="609291" y="375904"/>
                      <a:pt x="608077" y="377238"/>
                    </a:cubicBezTo>
                    <a:cubicBezTo>
                      <a:pt x="606475" y="378218"/>
                      <a:pt x="604583" y="378617"/>
                      <a:pt x="602719" y="378378"/>
                    </a:cubicBezTo>
                    <a:cubicBezTo>
                      <a:pt x="592090" y="378099"/>
                      <a:pt x="581523" y="376668"/>
                      <a:pt x="571201" y="374103"/>
                    </a:cubicBezTo>
                    <a:cubicBezTo>
                      <a:pt x="573076" y="377529"/>
                      <a:pt x="571822" y="381820"/>
                      <a:pt x="568397" y="383696"/>
                    </a:cubicBezTo>
                    <a:cubicBezTo>
                      <a:pt x="567987" y="383923"/>
                      <a:pt x="567548" y="384106"/>
                      <a:pt x="567098" y="384248"/>
                    </a:cubicBezTo>
                    <a:cubicBezTo>
                      <a:pt x="565673" y="384647"/>
                      <a:pt x="564020" y="384533"/>
                      <a:pt x="562880" y="385502"/>
                    </a:cubicBezTo>
                    <a:cubicBezTo>
                      <a:pt x="560657" y="387326"/>
                      <a:pt x="562310" y="391202"/>
                      <a:pt x="564020" y="393197"/>
                    </a:cubicBezTo>
                    <a:lnTo>
                      <a:pt x="567953" y="398497"/>
                    </a:lnTo>
                    <a:cubicBezTo>
                      <a:pt x="571082" y="403946"/>
                      <a:pt x="576023" y="408123"/>
                      <a:pt x="581916" y="410295"/>
                    </a:cubicBezTo>
                    <a:cubicBezTo>
                      <a:pt x="582971" y="413270"/>
                      <a:pt x="582617" y="416564"/>
                      <a:pt x="580947" y="419243"/>
                    </a:cubicBezTo>
                    <a:cubicBezTo>
                      <a:pt x="578155" y="422264"/>
                      <a:pt x="573139" y="420839"/>
                      <a:pt x="569548" y="418958"/>
                    </a:cubicBezTo>
                    <a:cubicBezTo>
                      <a:pt x="565958" y="417077"/>
                      <a:pt x="561455" y="414912"/>
                      <a:pt x="558149" y="417077"/>
                    </a:cubicBezTo>
                    <a:cubicBezTo>
                      <a:pt x="557807" y="418388"/>
                      <a:pt x="557523" y="419699"/>
                      <a:pt x="557237" y="421067"/>
                    </a:cubicBezTo>
                    <a:cubicBezTo>
                      <a:pt x="552382" y="421694"/>
                      <a:pt x="547486" y="421979"/>
                      <a:pt x="542590" y="421922"/>
                    </a:cubicBezTo>
                    <a:cubicBezTo>
                      <a:pt x="545480" y="426561"/>
                      <a:pt x="546129" y="432255"/>
                      <a:pt x="544357" y="437424"/>
                    </a:cubicBezTo>
                    <a:cubicBezTo>
                      <a:pt x="542607" y="441733"/>
                      <a:pt x="538566" y="444674"/>
                      <a:pt x="533927" y="44500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1" name="Freihandform: Form 287">
                <a:extLst>
                  <a:ext uri="{FF2B5EF4-FFF2-40B4-BE49-F238E27FC236}">
                    <a16:creationId xmlns:a16="http://schemas.microsoft.com/office/drawing/2014/main" id="{5430E2D7-7FE2-F9C6-4B20-778A189013E3}"/>
                  </a:ext>
                </a:extLst>
              </p:cNvPr>
              <p:cNvSpPr/>
              <p:nvPr/>
            </p:nvSpPr>
            <p:spPr>
              <a:xfrm>
                <a:off x="1735949" y="3813149"/>
                <a:ext cx="94554" cy="114502"/>
              </a:xfrm>
              <a:custGeom>
                <a:avLst/>
                <a:gdLst>
                  <a:gd name="connsiteX0" fmla="*/ 59958 w 94554"/>
                  <a:gd name="connsiteY0" fmla="*/ 111995 h 114502"/>
                  <a:gd name="connsiteX1" fmla="*/ 54601 w 94554"/>
                  <a:gd name="connsiteY1" fmla="*/ 114502 h 114502"/>
                  <a:gd name="connsiteX2" fmla="*/ 39212 w 94554"/>
                  <a:gd name="connsiteY2" fmla="*/ 109943 h 114502"/>
                  <a:gd name="connsiteX3" fmla="*/ 25021 w 94554"/>
                  <a:gd name="connsiteY3" fmla="*/ 108689 h 114502"/>
                  <a:gd name="connsiteX4" fmla="*/ 20803 w 94554"/>
                  <a:gd name="connsiteY4" fmla="*/ 97290 h 114502"/>
                  <a:gd name="connsiteX5" fmla="*/ 0 w 94554"/>
                  <a:gd name="connsiteY5" fmla="*/ 85207 h 114502"/>
                  <a:gd name="connsiteX6" fmla="*/ 0 w 94554"/>
                  <a:gd name="connsiteY6" fmla="*/ 85207 h 114502"/>
                  <a:gd name="connsiteX7" fmla="*/ 10145 w 94554"/>
                  <a:gd name="connsiteY7" fmla="*/ 77741 h 114502"/>
                  <a:gd name="connsiteX8" fmla="*/ 8378 w 94554"/>
                  <a:gd name="connsiteY8" fmla="*/ 62238 h 114502"/>
                  <a:gd name="connsiteX9" fmla="*/ 23026 w 94554"/>
                  <a:gd name="connsiteY9" fmla="*/ 61383 h 114502"/>
                  <a:gd name="connsiteX10" fmla="*/ 23938 w 94554"/>
                  <a:gd name="connsiteY10" fmla="*/ 57394 h 114502"/>
                  <a:gd name="connsiteX11" fmla="*/ 35337 w 94554"/>
                  <a:gd name="connsiteY11" fmla="*/ 59274 h 114502"/>
                  <a:gd name="connsiteX12" fmla="*/ 46736 w 94554"/>
                  <a:gd name="connsiteY12" fmla="*/ 59560 h 114502"/>
                  <a:gd name="connsiteX13" fmla="*/ 47705 w 94554"/>
                  <a:gd name="connsiteY13" fmla="*/ 50611 h 114502"/>
                  <a:gd name="connsiteX14" fmla="*/ 33741 w 94554"/>
                  <a:gd name="connsiteY14" fmla="*/ 38813 h 114502"/>
                  <a:gd name="connsiteX15" fmla="*/ 29808 w 94554"/>
                  <a:gd name="connsiteY15" fmla="*/ 33513 h 114502"/>
                  <a:gd name="connsiteX16" fmla="*/ 28668 w 94554"/>
                  <a:gd name="connsiteY16" fmla="*/ 25819 h 114502"/>
                  <a:gd name="connsiteX17" fmla="*/ 32886 w 94554"/>
                  <a:gd name="connsiteY17" fmla="*/ 24565 h 114502"/>
                  <a:gd name="connsiteX18" fmla="*/ 37542 w 94554"/>
                  <a:gd name="connsiteY18" fmla="*/ 15719 h 114502"/>
                  <a:gd name="connsiteX19" fmla="*/ 36990 w 94554"/>
                  <a:gd name="connsiteY19" fmla="*/ 14420 h 114502"/>
                  <a:gd name="connsiteX20" fmla="*/ 68508 w 94554"/>
                  <a:gd name="connsiteY20" fmla="*/ 18694 h 114502"/>
                  <a:gd name="connsiteX21" fmla="*/ 73865 w 94554"/>
                  <a:gd name="connsiteY21" fmla="*/ 17554 h 114502"/>
                  <a:gd name="connsiteX22" fmla="*/ 76430 w 94554"/>
                  <a:gd name="connsiteY22" fmla="*/ 12881 h 114502"/>
                  <a:gd name="connsiteX23" fmla="*/ 94554 w 94554"/>
                  <a:gd name="connsiteY23" fmla="*/ 0 h 114502"/>
                  <a:gd name="connsiteX24" fmla="*/ 89767 w 94554"/>
                  <a:gd name="connsiteY24" fmla="*/ 3477 h 114502"/>
                  <a:gd name="connsiteX25" fmla="*/ 87544 w 94554"/>
                  <a:gd name="connsiteY25" fmla="*/ 12938 h 114502"/>
                  <a:gd name="connsiteX26" fmla="*/ 87544 w 94554"/>
                  <a:gd name="connsiteY26" fmla="*/ 51694 h 114502"/>
                  <a:gd name="connsiteX27" fmla="*/ 86176 w 94554"/>
                  <a:gd name="connsiteY27" fmla="*/ 58249 h 114502"/>
                  <a:gd name="connsiteX28" fmla="*/ 78596 w 94554"/>
                  <a:gd name="connsiteY28" fmla="*/ 62694 h 114502"/>
                  <a:gd name="connsiteX29" fmla="*/ 76145 w 94554"/>
                  <a:gd name="connsiteY29" fmla="*/ 69932 h 114502"/>
                  <a:gd name="connsiteX30" fmla="*/ 88969 w 94554"/>
                  <a:gd name="connsiteY30" fmla="*/ 69932 h 114502"/>
                  <a:gd name="connsiteX31" fmla="*/ 85777 w 94554"/>
                  <a:gd name="connsiteY31" fmla="*/ 71414 h 114502"/>
                  <a:gd name="connsiteX32" fmla="*/ 83098 w 94554"/>
                  <a:gd name="connsiteY32" fmla="*/ 80876 h 114502"/>
                  <a:gd name="connsiteX33" fmla="*/ 75347 w 94554"/>
                  <a:gd name="connsiteY33" fmla="*/ 84751 h 114502"/>
                  <a:gd name="connsiteX34" fmla="*/ 74948 w 94554"/>
                  <a:gd name="connsiteY34" fmla="*/ 91647 h 114502"/>
                  <a:gd name="connsiteX35" fmla="*/ 64974 w 94554"/>
                  <a:gd name="connsiteY35" fmla="*/ 100881 h 114502"/>
                  <a:gd name="connsiteX36" fmla="*/ 59958 w 94554"/>
                  <a:gd name="connsiteY36" fmla="*/ 111995 h 11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4554" h="114502">
                    <a:moveTo>
                      <a:pt x="59958" y="111995"/>
                    </a:moveTo>
                    <a:cubicBezTo>
                      <a:pt x="58266" y="113015"/>
                      <a:pt x="56470" y="113853"/>
                      <a:pt x="54601" y="114502"/>
                    </a:cubicBezTo>
                    <a:cubicBezTo>
                      <a:pt x="49813" y="112012"/>
                      <a:pt x="44587" y="110462"/>
                      <a:pt x="39212" y="109943"/>
                    </a:cubicBezTo>
                    <a:cubicBezTo>
                      <a:pt x="34448" y="110251"/>
                      <a:pt x="29660" y="109829"/>
                      <a:pt x="25021" y="108689"/>
                    </a:cubicBezTo>
                    <a:cubicBezTo>
                      <a:pt x="20575" y="106865"/>
                      <a:pt x="17497" y="100710"/>
                      <a:pt x="20803" y="97290"/>
                    </a:cubicBezTo>
                    <a:cubicBezTo>
                      <a:pt x="12653" y="99684"/>
                      <a:pt x="5642" y="91591"/>
                      <a:pt x="0" y="85207"/>
                    </a:cubicBezTo>
                    <a:lnTo>
                      <a:pt x="0" y="85207"/>
                    </a:lnTo>
                    <a:cubicBezTo>
                      <a:pt x="4502" y="84791"/>
                      <a:pt x="8412" y="81919"/>
                      <a:pt x="10145" y="77741"/>
                    </a:cubicBezTo>
                    <a:cubicBezTo>
                      <a:pt x="11918" y="72571"/>
                      <a:pt x="11268" y="66878"/>
                      <a:pt x="8378" y="62238"/>
                    </a:cubicBezTo>
                    <a:cubicBezTo>
                      <a:pt x="13274" y="62295"/>
                      <a:pt x="18170" y="62010"/>
                      <a:pt x="23026" y="61383"/>
                    </a:cubicBezTo>
                    <a:cubicBezTo>
                      <a:pt x="23026" y="60015"/>
                      <a:pt x="23596" y="58705"/>
                      <a:pt x="23938" y="57394"/>
                    </a:cubicBezTo>
                    <a:cubicBezTo>
                      <a:pt x="27414" y="55228"/>
                      <a:pt x="31860" y="57394"/>
                      <a:pt x="35337" y="59274"/>
                    </a:cubicBezTo>
                    <a:cubicBezTo>
                      <a:pt x="38813" y="61155"/>
                      <a:pt x="44000" y="62580"/>
                      <a:pt x="46736" y="59560"/>
                    </a:cubicBezTo>
                    <a:cubicBezTo>
                      <a:pt x="48406" y="56881"/>
                      <a:pt x="48759" y="53586"/>
                      <a:pt x="47705" y="50611"/>
                    </a:cubicBezTo>
                    <a:cubicBezTo>
                      <a:pt x="41811" y="48440"/>
                      <a:pt x="36870" y="44262"/>
                      <a:pt x="33741" y="38813"/>
                    </a:cubicBezTo>
                    <a:lnTo>
                      <a:pt x="29808" y="33513"/>
                    </a:lnTo>
                    <a:cubicBezTo>
                      <a:pt x="28098" y="31233"/>
                      <a:pt x="26445" y="27813"/>
                      <a:pt x="28668" y="25819"/>
                    </a:cubicBezTo>
                    <a:cubicBezTo>
                      <a:pt x="29808" y="24850"/>
                      <a:pt x="31461" y="24964"/>
                      <a:pt x="32886" y="24565"/>
                    </a:cubicBezTo>
                    <a:cubicBezTo>
                      <a:pt x="36613" y="23408"/>
                      <a:pt x="38699" y="19447"/>
                      <a:pt x="37542" y="15719"/>
                    </a:cubicBezTo>
                    <a:cubicBezTo>
                      <a:pt x="37400" y="15269"/>
                      <a:pt x="37218" y="14836"/>
                      <a:pt x="36990" y="14420"/>
                    </a:cubicBezTo>
                    <a:cubicBezTo>
                      <a:pt x="47311" y="16984"/>
                      <a:pt x="57878" y="18415"/>
                      <a:pt x="68508" y="18694"/>
                    </a:cubicBezTo>
                    <a:cubicBezTo>
                      <a:pt x="70371" y="18934"/>
                      <a:pt x="72264" y="18535"/>
                      <a:pt x="73865" y="17554"/>
                    </a:cubicBezTo>
                    <a:cubicBezTo>
                      <a:pt x="75079" y="16221"/>
                      <a:pt x="75957" y="14619"/>
                      <a:pt x="76430" y="12881"/>
                    </a:cubicBezTo>
                    <a:cubicBezTo>
                      <a:pt x="79992" y="5870"/>
                      <a:pt x="86763" y="1054"/>
                      <a:pt x="94554" y="0"/>
                    </a:cubicBezTo>
                    <a:cubicBezTo>
                      <a:pt x="92759" y="855"/>
                      <a:pt x="91135" y="2035"/>
                      <a:pt x="89767" y="3477"/>
                    </a:cubicBezTo>
                    <a:cubicBezTo>
                      <a:pt x="87966" y="6281"/>
                      <a:pt x="87179" y="9621"/>
                      <a:pt x="87544" y="12938"/>
                    </a:cubicBezTo>
                    <a:lnTo>
                      <a:pt x="87544" y="51694"/>
                    </a:lnTo>
                    <a:cubicBezTo>
                      <a:pt x="87755" y="53968"/>
                      <a:pt x="87276" y="56248"/>
                      <a:pt x="86176" y="58249"/>
                    </a:cubicBezTo>
                    <a:cubicBezTo>
                      <a:pt x="84466" y="60642"/>
                      <a:pt x="81160" y="61269"/>
                      <a:pt x="78596" y="62694"/>
                    </a:cubicBezTo>
                    <a:cubicBezTo>
                      <a:pt x="76031" y="64119"/>
                      <a:pt x="73979" y="67938"/>
                      <a:pt x="76145" y="69932"/>
                    </a:cubicBezTo>
                    <a:cubicBezTo>
                      <a:pt x="80419" y="69932"/>
                      <a:pt x="84694" y="69932"/>
                      <a:pt x="88969" y="69932"/>
                    </a:cubicBezTo>
                    <a:cubicBezTo>
                      <a:pt x="87949" y="70520"/>
                      <a:pt x="86883" y="71015"/>
                      <a:pt x="85777" y="71414"/>
                    </a:cubicBezTo>
                    <a:cubicBezTo>
                      <a:pt x="87493" y="74783"/>
                      <a:pt x="86324" y="78903"/>
                      <a:pt x="83098" y="80876"/>
                    </a:cubicBezTo>
                    <a:cubicBezTo>
                      <a:pt x="80534" y="82300"/>
                      <a:pt x="76886" y="82243"/>
                      <a:pt x="75347" y="84751"/>
                    </a:cubicBezTo>
                    <a:cubicBezTo>
                      <a:pt x="73808" y="87259"/>
                      <a:pt x="75005" y="89311"/>
                      <a:pt x="74948" y="91647"/>
                    </a:cubicBezTo>
                    <a:cubicBezTo>
                      <a:pt x="74731" y="96948"/>
                      <a:pt x="70274" y="101075"/>
                      <a:pt x="64974" y="100881"/>
                    </a:cubicBezTo>
                    <a:cubicBezTo>
                      <a:pt x="66279" y="105315"/>
                      <a:pt x="64148" y="110040"/>
                      <a:pt x="59958" y="1119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2" name="Freihandform: Form 288">
                <a:extLst>
                  <a:ext uri="{FF2B5EF4-FFF2-40B4-BE49-F238E27FC236}">
                    <a16:creationId xmlns:a16="http://schemas.microsoft.com/office/drawing/2014/main" id="{459CC2A4-A6FA-39C2-FFD9-E1FECA1A1D8D}"/>
                  </a:ext>
                </a:extLst>
              </p:cNvPr>
              <p:cNvSpPr/>
              <p:nvPr/>
            </p:nvSpPr>
            <p:spPr>
              <a:xfrm>
                <a:off x="1790550" y="3913801"/>
                <a:ext cx="57738" cy="27325"/>
              </a:xfrm>
              <a:custGeom>
                <a:avLst/>
                <a:gdLst>
                  <a:gd name="connsiteX0" fmla="*/ 57394 w 57738"/>
                  <a:gd name="connsiteY0" fmla="*/ 24565 h 27325"/>
                  <a:gd name="connsiteX1" fmla="*/ 18580 w 57738"/>
                  <a:gd name="connsiteY1" fmla="*/ 23197 h 27325"/>
                  <a:gd name="connsiteX2" fmla="*/ 0 w 57738"/>
                  <a:gd name="connsiteY2" fmla="*/ 13907 h 27325"/>
                  <a:gd name="connsiteX3" fmla="*/ 5358 w 57738"/>
                  <a:gd name="connsiteY3" fmla="*/ 11399 h 27325"/>
                  <a:gd name="connsiteX4" fmla="*/ 10202 w 57738"/>
                  <a:gd name="connsiteY4" fmla="*/ 0 h 27325"/>
                  <a:gd name="connsiteX5" fmla="*/ 12653 w 57738"/>
                  <a:gd name="connsiteY5" fmla="*/ 0 h 27325"/>
                  <a:gd name="connsiteX6" fmla="*/ 24736 w 57738"/>
                  <a:gd name="connsiteY6" fmla="*/ 3705 h 27325"/>
                  <a:gd name="connsiteX7" fmla="*/ 29808 w 57738"/>
                  <a:gd name="connsiteY7" fmla="*/ 3306 h 27325"/>
                  <a:gd name="connsiteX8" fmla="*/ 34254 w 57738"/>
                  <a:gd name="connsiteY8" fmla="*/ 6611 h 27325"/>
                  <a:gd name="connsiteX9" fmla="*/ 43145 w 57738"/>
                  <a:gd name="connsiteY9" fmla="*/ 6953 h 27325"/>
                  <a:gd name="connsiteX10" fmla="*/ 51409 w 57738"/>
                  <a:gd name="connsiteY10" fmla="*/ 9461 h 27325"/>
                  <a:gd name="connsiteX11" fmla="*/ 53860 w 57738"/>
                  <a:gd name="connsiteY11" fmla="*/ 15616 h 27325"/>
                  <a:gd name="connsiteX12" fmla="*/ 56368 w 57738"/>
                  <a:gd name="connsiteY12" fmla="*/ 18067 h 27325"/>
                  <a:gd name="connsiteX13" fmla="*/ 57394 w 57738"/>
                  <a:gd name="connsiteY13" fmla="*/ 24565 h 2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38" h="27325">
                    <a:moveTo>
                      <a:pt x="57394" y="24565"/>
                    </a:moveTo>
                    <a:cubicBezTo>
                      <a:pt x="44695" y="28668"/>
                      <a:pt x="30960" y="28184"/>
                      <a:pt x="18580" y="23197"/>
                    </a:cubicBezTo>
                    <a:cubicBezTo>
                      <a:pt x="12197" y="20632"/>
                      <a:pt x="6212" y="16870"/>
                      <a:pt x="0" y="13907"/>
                    </a:cubicBezTo>
                    <a:cubicBezTo>
                      <a:pt x="1869" y="13257"/>
                      <a:pt x="3665" y="12419"/>
                      <a:pt x="5358" y="11399"/>
                    </a:cubicBezTo>
                    <a:cubicBezTo>
                      <a:pt x="9621" y="9370"/>
                      <a:pt x="11695" y="4480"/>
                      <a:pt x="10202" y="0"/>
                    </a:cubicBezTo>
                    <a:cubicBezTo>
                      <a:pt x="11017" y="114"/>
                      <a:pt x="11838" y="114"/>
                      <a:pt x="12653" y="0"/>
                    </a:cubicBezTo>
                    <a:cubicBezTo>
                      <a:pt x="16130" y="2599"/>
                      <a:pt x="20398" y="3910"/>
                      <a:pt x="24736" y="3705"/>
                    </a:cubicBezTo>
                    <a:cubicBezTo>
                      <a:pt x="26092" y="2325"/>
                      <a:pt x="28252" y="2154"/>
                      <a:pt x="29808" y="3306"/>
                    </a:cubicBezTo>
                    <a:cubicBezTo>
                      <a:pt x="31404" y="4275"/>
                      <a:pt x="32601" y="5757"/>
                      <a:pt x="34254" y="6611"/>
                    </a:cubicBezTo>
                    <a:cubicBezTo>
                      <a:pt x="37121" y="7580"/>
                      <a:pt x="40210" y="7700"/>
                      <a:pt x="43145" y="6953"/>
                    </a:cubicBezTo>
                    <a:cubicBezTo>
                      <a:pt x="46149" y="6269"/>
                      <a:pt x="49289" y="7221"/>
                      <a:pt x="51409" y="9461"/>
                    </a:cubicBezTo>
                    <a:cubicBezTo>
                      <a:pt x="52606" y="11285"/>
                      <a:pt x="52492" y="13850"/>
                      <a:pt x="53860" y="15616"/>
                    </a:cubicBezTo>
                    <a:cubicBezTo>
                      <a:pt x="55228" y="17383"/>
                      <a:pt x="55627" y="17155"/>
                      <a:pt x="56368" y="18067"/>
                    </a:cubicBezTo>
                    <a:cubicBezTo>
                      <a:pt x="57713" y="19948"/>
                      <a:pt x="58095" y="22359"/>
                      <a:pt x="57394" y="2456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3" name="Freihandform: Form 289">
                <a:extLst>
                  <a:ext uri="{FF2B5EF4-FFF2-40B4-BE49-F238E27FC236}">
                    <a16:creationId xmlns:a16="http://schemas.microsoft.com/office/drawing/2014/main" id="{2C44153F-768D-15C5-B9ED-8ABA4AAFCB67}"/>
                  </a:ext>
                </a:extLst>
              </p:cNvPr>
              <p:cNvSpPr/>
              <p:nvPr/>
            </p:nvSpPr>
            <p:spPr>
              <a:xfrm>
                <a:off x="1803203" y="3873133"/>
                <a:ext cx="136841" cy="78512"/>
              </a:xfrm>
              <a:custGeom>
                <a:avLst/>
                <a:gdLst>
                  <a:gd name="connsiteX0" fmla="*/ 51751 w 136841"/>
                  <a:gd name="connsiteY0" fmla="*/ 76176 h 78512"/>
                  <a:gd name="connsiteX1" fmla="*/ 48047 w 136841"/>
                  <a:gd name="connsiteY1" fmla="*/ 78512 h 78512"/>
                  <a:gd name="connsiteX2" fmla="*/ 45539 w 136841"/>
                  <a:gd name="connsiteY2" fmla="*/ 64948 h 78512"/>
                  <a:gd name="connsiteX3" fmla="*/ 44741 w 136841"/>
                  <a:gd name="connsiteY3" fmla="*/ 64948 h 78512"/>
                  <a:gd name="connsiteX4" fmla="*/ 43715 w 136841"/>
                  <a:gd name="connsiteY4" fmla="*/ 58279 h 78512"/>
                  <a:gd name="connsiteX5" fmla="*/ 41207 w 136841"/>
                  <a:gd name="connsiteY5" fmla="*/ 55829 h 78512"/>
                  <a:gd name="connsiteX6" fmla="*/ 38757 w 136841"/>
                  <a:gd name="connsiteY6" fmla="*/ 49673 h 78512"/>
                  <a:gd name="connsiteX7" fmla="*/ 30492 w 136841"/>
                  <a:gd name="connsiteY7" fmla="*/ 47165 h 78512"/>
                  <a:gd name="connsiteX8" fmla="*/ 21601 w 136841"/>
                  <a:gd name="connsiteY8" fmla="*/ 46823 h 78512"/>
                  <a:gd name="connsiteX9" fmla="*/ 17155 w 136841"/>
                  <a:gd name="connsiteY9" fmla="*/ 43518 h 78512"/>
                  <a:gd name="connsiteX10" fmla="*/ 12083 w 136841"/>
                  <a:gd name="connsiteY10" fmla="*/ 43917 h 78512"/>
                  <a:gd name="connsiteX11" fmla="*/ 0 w 136841"/>
                  <a:gd name="connsiteY11" fmla="*/ 40212 h 78512"/>
                  <a:gd name="connsiteX12" fmla="*/ 7523 w 136841"/>
                  <a:gd name="connsiteY12" fmla="*/ 31207 h 78512"/>
                  <a:gd name="connsiteX13" fmla="*/ 7922 w 136841"/>
                  <a:gd name="connsiteY13" fmla="*/ 24310 h 78512"/>
                  <a:gd name="connsiteX14" fmla="*/ 15674 w 136841"/>
                  <a:gd name="connsiteY14" fmla="*/ 20435 h 78512"/>
                  <a:gd name="connsiteX15" fmla="*/ 18352 w 136841"/>
                  <a:gd name="connsiteY15" fmla="*/ 10974 h 78512"/>
                  <a:gd name="connsiteX16" fmla="*/ 21544 w 136841"/>
                  <a:gd name="connsiteY16" fmla="*/ 9492 h 78512"/>
                  <a:gd name="connsiteX17" fmla="*/ 75404 w 136841"/>
                  <a:gd name="connsiteY17" fmla="*/ 2026 h 78512"/>
                  <a:gd name="connsiteX18" fmla="*/ 88741 w 136841"/>
                  <a:gd name="connsiteY18" fmla="*/ 31 h 78512"/>
                  <a:gd name="connsiteX19" fmla="*/ 122026 w 136841"/>
                  <a:gd name="connsiteY19" fmla="*/ 9492 h 78512"/>
                  <a:gd name="connsiteX20" fmla="*/ 129150 w 136841"/>
                  <a:gd name="connsiteY20" fmla="*/ 19922 h 78512"/>
                  <a:gd name="connsiteX21" fmla="*/ 135875 w 136841"/>
                  <a:gd name="connsiteY21" fmla="*/ 30466 h 78512"/>
                  <a:gd name="connsiteX22" fmla="*/ 122026 w 136841"/>
                  <a:gd name="connsiteY22" fmla="*/ 32005 h 78512"/>
                  <a:gd name="connsiteX23" fmla="*/ 121285 w 136841"/>
                  <a:gd name="connsiteY23" fmla="*/ 37704 h 78512"/>
                  <a:gd name="connsiteX24" fmla="*/ 118207 w 136841"/>
                  <a:gd name="connsiteY24" fmla="*/ 36963 h 78512"/>
                  <a:gd name="connsiteX25" fmla="*/ 110798 w 136841"/>
                  <a:gd name="connsiteY25" fmla="*/ 36507 h 78512"/>
                  <a:gd name="connsiteX26" fmla="*/ 94953 w 136841"/>
                  <a:gd name="connsiteY26" fmla="*/ 36507 h 78512"/>
                  <a:gd name="connsiteX27" fmla="*/ 92730 w 136841"/>
                  <a:gd name="connsiteY27" fmla="*/ 36849 h 78512"/>
                  <a:gd name="connsiteX28" fmla="*/ 90679 w 136841"/>
                  <a:gd name="connsiteY28" fmla="*/ 40725 h 78512"/>
                  <a:gd name="connsiteX29" fmla="*/ 79964 w 136841"/>
                  <a:gd name="connsiteY29" fmla="*/ 49844 h 78512"/>
                  <a:gd name="connsiteX30" fmla="*/ 76715 w 136841"/>
                  <a:gd name="connsiteY30" fmla="*/ 50243 h 78512"/>
                  <a:gd name="connsiteX31" fmla="*/ 74606 w 136841"/>
                  <a:gd name="connsiteY31" fmla="*/ 52409 h 78512"/>
                  <a:gd name="connsiteX32" fmla="*/ 71243 w 136841"/>
                  <a:gd name="connsiteY32" fmla="*/ 53435 h 78512"/>
                  <a:gd name="connsiteX33" fmla="*/ 59503 w 136841"/>
                  <a:gd name="connsiteY33" fmla="*/ 54518 h 78512"/>
                  <a:gd name="connsiteX34" fmla="*/ 60585 w 136841"/>
                  <a:gd name="connsiteY34" fmla="*/ 61984 h 78512"/>
                  <a:gd name="connsiteX35" fmla="*/ 60186 w 136841"/>
                  <a:gd name="connsiteY35" fmla="*/ 65290 h 78512"/>
                  <a:gd name="connsiteX36" fmla="*/ 53746 w 136841"/>
                  <a:gd name="connsiteY36" fmla="*/ 66031 h 78512"/>
                  <a:gd name="connsiteX37" fmla="*/ 50554 w 136841"/>
                  <a:gd name="connsiteY37" fmla="*/ 70419 h 78512"/>
                  <a:gd name="connsiteX38" fmla="*/ 51751 w 136841"/>
                  <a:gd name="connsiteY38" fmla="*/ 76176 h 7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841" h="78512">
                    <a:moveTo>
                      <a:pt x="51751" y="76176"/>
                    </a:moveTo>
                    <a:cubicBezTo>
                      <a:pt x="50469" y="76882"/>
                      <a:pt x="49232" y="77657"/>
                      <a:pt x="48047" y="78512"/>
                    </a:cubicBezTo>
                    <a:cubicBezTo>
                      <a:pt x="47249" y="74010"/>
                      <a:pt x="46394" y="69450"/>
                      <a:pt x="45539" y="64948"/>
                    </a:cubicBezTo>
                    <a:lnTo>
                      <a:pt x="44741" y="64948"/>
                    </a:lnTo>
                    <a:cubicBezTo>
                      <a:pt x="45499" y="62691"/>
                      <a:pt x="45117" y="60206"/>
                      <a:pt x="43715" y="58279"/>
                    </a:cubicBezTo>
                    <a:cubicBezTo>
                      <a:pt x="42974" y="57367"/>
                      <a:pt x="41891" y="56797"/>
                      <a:pt x="41207" y="55829"/>
                    </a:cubicBezTo>
                    <a:cubicBezTo>
                      <a:pt x="40523" y="54860"/>
                      <a:pt x="39953" y="51497"/>
                      <a:pt x="38757" y="49673"/>
                    </a:cubicBezTo>
                    <a:cubicBezTo>
                      <a:pt x="36636" y="47433"/>
                      <a:pt x="33496" y="46481"/>
                      <a:pt x="30492" y="47165"/>
                    </a:cubicBezTo>
                    <a:cubicBezTo>
                      <a:pt x="27557" y="47912"/>
                      <a:pt x="24468" y="47792"/>
                      <a:pt x="21601" y="46823"/>
                    </a:cubicBezTo>
                    <a:cubicBezTo>
                      <a:pt x="19948" y="45968"/>
                      <a:pt x="18751" y="44486"/>
                      <a:pt x="17155" y="43518"/>
                    </a:cubicBezTo>
                    <a:cubicBezTo>
                      <a:pt x="15599" y="42366"/>
                      <a:pt x="13439" y="42537"/>
                      <a:pt x="12083" y="43917"/>
                    </a:cubicBezTo>
                    <a:cubicBezTo>
                      <a:pt x="7746" y="44122"/>
                      <a:pt x="3477" y="42811"/>
                      <a:pt x="0" y="40212"/>
                    </a:cubicBezTo>
                    <a:cubicBezTo>
                      <a:pt x="4258" y="39260"/>
                      <a:pt x="7347" y="35567"/>
                      <a:pt x="7523" y="31207"/>
                    </a:cubicBezTo>
                    <a:cubicBezTo>
                      <a:pt x="7523" y="28870"/>
                      <a:pt x="6725" y="26305"/>
                      <a:pt x="7922" y="24310"/>
                    </a:cubicBezTo>
                    <a:cubicBezTo>
                      <a:pt x="9119" y="22316"/>
                      <a:pt x="13109" y="21860"/>
                      <a:pt x="15674" y="20435"/>
                    </a:cubicBezTo>
                    <a:cubicBezTo>
                      <a:pt x="18900" y="18463"/>
                      <a:pt x="20068" y="14342"/>
                      <a:pt x="18352" y="10974"/>
                    </a:cubicBezTo>
                    <a:cubicBezTo>
                      <a:pt x="19458" y="10575"/>
                      <a:pt x="20524" y="10079"/>
                      <a:pt x="21544" y="9492"/>
                    </a:cubicBezTo>
                    <a:cubicBezTo>
                      <a:pt x="39731" y="9178"/>
                      <a:pt x="57816" y="6671"/>
                      <a:pt x="75404" y="2026"/>
                    </a:cubicBezTo>
                    <a:cubicBezTo>
                      <a:pt x="79684" y="521"/>
                      <a:pt x="84210" y="-157"/>
                      <a:pt x="88741" y="31"/>
                    </a:cubicBezTo>
                    <a:cubicBezTo>
                      <a:pt x="100596" y="1342"/>
                      <a:pt x="111539" y="14735"/>
                      <a:pt x="122026" y="9492"/>
                    </a:cubicBezTo>
                    <a:cubicBezTo>
                      <a:pt x="119062" y="13367"/>
                      <a:pt x="124591" y="18098"/>
                      <a:pt x="129150" y="19922"/>
                    </a:cubicBezTo>
                    <a:cubicBezTo>
                      <a:pt x="133710" y="21746"/>
                      <a:pt x="139067" y="26761"/>
                      <a:pt x="135875" y="30466"/>
                    </a:cubicBezTo>
                    <a:lnTo>
                      <a:pt x="122026" y="32005"/>
                    </a:lnTo>
                    <a:cubicBezTo>
                      <a:pt x="121598" y="33880"/>
                      <a:pt x="121353" y="35784"/>
                      <a:pt x="121285" y="37704"/>
                    </a:cubicBezTo>
                    <a:cubicBezTo>
                      <a:pt x="120270" y="37402"/>
                      <a:pt x="119244" y="37157"/>
                      <a:pt x="118207" y="36963"/>
                    </a:cubicBezTo>
                    <a:cubicBezTo>
                      <a:pt x="115756" y="36587"/>
                      <a:pt x="113277" y="36433"/>
                      <a:pt x="110798" y="36507"/>
                    </a:cubicBezTo>
                    <a:lnTo>
                      <a:pt x="94953" y="36507"/>
                    </a:lnTo>
                    <a:cubicBezTo>
                      <a:pt x="94195" y="36445"/>
                      <a:pt x="93437" y="36564"/>
                      <a:pt x="92730" y="36849"/>
                    </a:cubicBezTo>
                    <a:cubicBezTo>
                      <a:pt x="91420" y="37590"/>
                      <a:pt x="91078" y="39300"/>
                      <a:pt x="90679" y="40725"/>
                    </a:cubicBezTo>
                    <a:cubicBezTo>
                      <a:pt x="89430" y="45746"/>
                      <a:pt x="85122" y="49411"/>
                      <a:pt x="79964" y="49844"/>
                    </a:cubicBezTo>
                    <a:cubicBezTo>
                      <a:pt x="78864" y="49685"/>
                      <a:pt x="77741" y="49827"/>
                      <a:pt x="76715" y="50243"/>
                    </a:cubicBezTo>
                    <a:cubicBezTo>
                      <a:pt x="75860" y="50756"/>
                      <a:pt x="75404" y="51782"/>
                      <a:pt x="74606" y="52409"/>
                    </a:cubicBezTo>
                    <a:cubicBezTo>
                      <a:pt x="73609" y="53070"/>
                      <a:pt x="72440" y="53429"/>
                      <a:pt x="71243" y="53435"/>
                    </a:cubicBezTo>
                    <a:lnTo>
                      <a:pt x="59503" y="54518"/>
                    </a:lnTo>
                    <a:cubicBezTo>
                      <a:pt x="59902" y="57025"/>
                      <a:pt x="60243" y="59533"/>
                      <a:pt x="60585" y="61984"/>
                    </a:cubicBezTo>
                    <a:cubicBezTo>
                      <a:pt x="60899" y="63095"/>
                      <a:pt x="60756" y="64287"/>
                      <a:pt x="60186" y="65290"/>
                    </a:cubicBezTo>
                    <a:cubicBezTo>
                      <a:pt x="58762" y="66999"/>
                      <a:pt x="55912" y="65290"/>
                      <a:pt x="53746" y="66031"/>
                    </a:cubicBezTo>
                    <a:cubicBezTo>
                      <a:pt x="51854" y="66663"/>
                      <a:pt x="50572" y="68424"/>
                      <a:pt x="50554" y="70419"/>
                    </a:cubicBezTo>
                    <a:cubicBezTo>
                      <a:pt x="50543" y="72403"/>
                      <a:pt x="50948" y="74363"/>
                      <a:pt x="51751" y="76176"/>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4" name="Freihandform: Form 290">
                <a:extLst>
                  <a:ext uri="{FF2B5EF4-FFF2-40B4-BE49-F238E27FC236}">
                    <a16:creationId xmlns:a16="http://schemas.microsoft.com/office/drawing/2014/main" id="{B892F72B-BCE5-2E9F-4702-2B9B64A09989}"/>
                  </a:ext>
                </a:extLst>
              </p:cNvPr>
              <p:cNvSpPr/>
              <p:nvPr/>
            </p:nvSpPr>
            <p:spPr>
              <a:xfrm>
                <a:off x="1851249" y="3909812"/>
                <a:ext cx="80173" cy="89922"/>
              </a:xfrm>
              <a:custGeom>
                <a:avLst/>
                <a:gdLst>
                  <a:gd name="connsiteX0" fmla="*/ 62181 w 80173"/>
                  <a:gd name="connsiteY0" fmla="*/ 89539 h 89922"/>
                  <a:gd name="connsiteX1" fmla="*/ 36705 w 80173"/>
                  <a:gd name="connsiteY1" fmla="*/ 88342 h 89922"/>
                  <a:gd name="connsiteX2" fmla="*/ 23767 w 80173"/>
                  <a:gd name="connsiteY2" fmla="*/ 75404 h 89922"/>
                  <a:gd name="connsiteX3" fmla="*/ 15731 w 80173"/>
                  <a:gd name="connsiteY3" fmla="*/ 59958 h 89922"/>
                  <a:gd name="connsiteX4" fmla="*/ 2394 w 80173"/>
                  <a:gd name="connsiteY4" fmla="*/ 54715 h 89922"/>
                  <a:gd name="connsiteX5" fmla="*/ 0 w 80173"/>
                  <a:gd name="connsiteY5" fmla="*/ 41834 h 89922"/>
                  <a:gd name="connsiteX6" fmla="*/ 3705 w 80173"/>
                  <a:gd name="connsiteY6" fmla="*/ 39497 h 89922"/>
                  <a:gd name="connsiteX7" fmla="*/ 2508 w 80173"/>
                  <a:gd name="connsiteY7" fmla="*/ 33798 h 89922"/>
                  <a:gd name="connsiteX8" fmla="*/ 5699 w 80173"/>
                  <a:gd name="connsiteY8" fmla="*/ 29409 h 89922"/>
                  <a:gd name="connsiteX9" fmla="*/ 12140 w 80173"/>
                  <a:gd name="connsiteY9" fmla="*/ 28668 h 89922"/>
                  <a:gd name="connsiteX10" fmla="*/ 12539 w 80173"/>
                  <a:gd name="connsiteY10" fmla="*/ 25363 h 89922"/>
                  <a:gd name="connsiteX11" fmla="*/ 11456 w 80173"/>
                  <a:gd name="connsiteY11" fmla="*/ 17896 h 89922"/>
                  <a:gd name="connsiteX12" fmla="*/ 23197 w 80173"/>
                  <a:gd name="connsiteY12" fmla="*/ 16813 h 89922"/>
                  <a:gd name="connsiteX13" fmla="*/ 26560 w 80173"/>
                  <a:gd name="connsiteY13" fmla="*/ 15788 h 89922"/>
                  <a:gd name="connsiteX14" fmla="*/ 28668 w 80173"/>
                  <a:gd name="connsiteY14" fmla="*/ 13622 h 89922"/>
                  <a:gd name="connsiteX15" fmla="*/ 31917 w 80173"/>
                  <a:gd name="connsiteY15" fmla="*/ 13223 h 89922"/>
                  <a:gd name="connsiteX16" fmla="*/ 42632 w 80173"/>
                  <a:gd name="connsiteY16" fmla="*/ 4104 h 89922"/>
                  <a:gd name="connsiteX17" fmla="*/ 44684 w 80173"/>
                  <a:gd name="connsiteY17" fmla="*/ 228 h 89922"/>
                  <a:gd name="connsiteX18" fmla="*/ 46907 w 80173"/>
                  <a:gd name="connsiteY18" fmla="*/ 57 h 89922"/>
                  <a:gd name="connsiteX19" fmla="*/ 62751 w 80173"/>
                  <a:gd name="connsiteY19" fmla="*/ 57 h 89922"/>
                  <a:gd name="connsiteX20" fmla="*/ 70161 w 80173"/>
                  <a:gd name="connsiteY20" fmla="*/ 513 h 89922"/>
                  <a:gd name="connsiteX21" fmla="*/ 73238 w 80173"/>
                  <a:gd name="connsiteY21" fmla="*/ 1254 h 89922"/>
                  <a:gd name="connsiteX22" fmla="*/ 79793 w 80173"/>
                  <a:gd name="connsiteY22" fmla="*/ 47477 h 89922"/>
                  <a:gd name="connsiteX23" fmla="*/ 77798 w 80173"/>
                  <a:gd name="connsiteY23" fmla="*/ 64575 h 89922"/>
                  <a:gd name="connsiteX24" fmla="*/ 79679 w 80173"/>
                  <a:gd name="connsiteY24" fmla="*/ 88741 h 89922"/>
                  <a:gd name="connsiteX25" fmla="*/ 74264 w 80173"/>
                  <a:gd name="connsiteY25" fmla="*/ 89767 h 89922"/>
                  <a:gd name="connsiteX26" fmla="*/ 62181 w 80173"/>
                  <a:gd name="connsiteY26" fmla="*/ 89539 h 8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173" h="89922">
                    <a:moveTo>
                      <a:pt x="62181" y="89539"/>
                    </a:moveTo>
                    <a:lnTo>
                      <a:pt x="36705" y="88342"/>
                    </a:lnTo>
                    <a:cubicBezTo>
                      <a:pt x="37674" y="82243"/>
                      <a:pt x="29922" y="77912"/>
                      <a:pt x="23767" y="75404"/>
                    </a:cubicBezTo>
                    <a:cubicBezTo>
                      <a:pt x="17611" y="72896"/>
                      <a:pt x="10487" y="64575"/>
                      <a:pt x="15731" y="59958"/>
                    </a:cubicBezTo>
                    <a:lnTo>
                      <a:pt x="2394" y="54715"/>
                    </a:lnTo>
                    <a:lnTo>
                      <a:pt x="0" y="41834"/>
                    </a:lnTo>
                    <a:cubicBezTo>
                      <a:pt x="1186" y="40979"/>
                      <a:pt x="2422" y="40204"/>
                      <a:pt x="3705" y="39497"/>
                    </a:cubicBezTo>
                    <a:cubicBezTo>
                      <a:pt x="2907" y="37702"/>
                      <a:pt x="2502" y="35759"/>
                      <a:pt x="2508" y="33798"/>
                    </a:cubicBezTo>
                    <a:cubicBezTo>
                      <a:pt x="2525" y="31803"/>
                      <a:pt x="3807" y="30042"/>
                      <a:pt x="5699" y="29409"/>
                    </a:cubicBezTo>
                    <a:cubicBezTo>
                      <a:pt x="7865" y="28896"/>
                      <a:pt x="10715" y="30378"/>
                      <a:pt x="12140" y="28668"/>
                    </a:cubicBezTo>
                    <a:cubicBezTo>
                      <a:pt x="12710" y="27665"/>
                      <a:pt x="12852" y="26474"/>
                      <a:pt x="12539" y="25363"/>
                    </a:cubicBezTo>
                    <a:cubicBezTo>
                      <a:pt x="12197" y="22912"/>
                      <a:pt x="11855" y="20404"/>
                      <a:pt x="11456" y="17896"/>
                    </a:cubicBezTo>
                    <a:lnTo>
                      <a:pt x="23197" y="16813"/>
                    </a:lnTo>
                    <a:cubicBezTo>
                      <a:pt x="24394" y="16808"/>
                      <a:pt x="25562" y="16449"/>
                      <a:pt x="26560" y="15788"/>
                    </a:cubicBezTo>
                    <a:cubicBezTo>
                      <a:pt x="27358" y="15161"/>
                      <a:pt x="27813" y="14135"/>
                      <a:pt x="28668" y="13622"/>
                    </a:cubicBezTo>
                    <a:cubicBezTo>
                      <a:pt x="29694" y="13206"/>
                      <a:pt x="30817" y="13063"/>
                      <a:pt x="31917" y="13223"/>
                    </a:cubicBezTo>
                    <a:cubicBezTo>
                      <a:pt x="37075" y="12790"/>
                      <a:pt x="41384" y="9125"/>
                      <a:pt x="42632" y="4104"/>
                    </a:cubicBezTo>
                    <a:cubicBezTo>
                      <a:pt x="43031" y="2679"/>
                      <a:pt x="43373" y="969"/>
                      <a:pt x="44684" y="228"/>
                    </a:cubicBezTo>
                    <a:cubicBezTo>
                      <a:pt x="45402" y="0"/>
                      <a:pt x="46160" y="-57"/>
                      <a:pt x="46907" y="57"/>
                    </a:cubicBezTo>
                    <a:lnTo>
                      <a:pt x="62751" y="57"/>
                    </a:lnTo>
                    <a:cubicBezTo>
                      <a:pt x="65231" y="-17"/>
                      <a:pt x="67710" y="137"/>
                      <a:pt x="70161" y="513"/>
                    </a:cubicBezTo>
                    <a:cubicBezTo>
                      <a:pt x="71198" y="707"/>
                      <a:pt x="72224" y="952"/>
                      <a:pt x="73238" y="1254"/>
                    </a:cubicBezTo>
                    <a:cubicBezTo>
                      <a:pt x="72497" y="16529"/>
                      <a:pt x="82186" y="32031"/>
                      <a:pt x="79793" y="47477"/>
                    </a:cubicBezTo>
                    <a:cubicBezTo>
                      <a:pt x="78026" y="52994"/>
                      <a:pt x="77353" y="58801"/>
                      <a:pt x="77798" y="64575"/>
                    </a:cubicBezTo>
                    <a:cubicBezTo>
                      <a:pt x="75210" y="72560"/>
                      <a:pt x="75889" y="81252"/>
                      <a:pt x="79679" y="88741"/>
                    </a:cubicBezTo>
                    <a:cubicBezTo>
                      <a:pt x="77855" y="89140"/>
                      <a:pt x="76088" y="89539"/>
                      <a:pt x="74264" y="89767"/>
                    </a:cubicBezTo>
                    <a:cubicBezTo>
                      <a:pt x="70235" y="90034"/>
                      <a:pt x="66194" y="89955"/>
                      <a:pt x="62181" y="8953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5" name="Freihandform: Form 291">
                <a:extLst>
                  <a:ext uri="{FF2B5EF4-FFF2-40B4-BE49-F238E27FC236}">
                    <a16:creationId xmlns:a16="http://schemas.microsoft.com/office/drawing/2014/main" id="{DDDC747E-9882-9401-AF8A-81D849DBA41C}"/>
                  </a:ext>
                </a:extLst>
              </p:cNvPr>
              <p:cNvSpPr/>
              <p:nvPr/>
            </p:nvSpPr>
            <p:spPr>
              <a:xfrm>
                <a:off x="1875596" y="3998040"/>
                <a:ext cx="83601" cy="60357"/>
              </a:xfrm>
              <a:custGeom>
                <a:avLst/>
                <a:gdLst>
                  <a:gd name="connsiteX0" fmla="*/ 64679 w 83601"/>
                  <a:gd name="connsiteY0" fmla="*/ 60357 h 60357"/>
                  <a:gd name="connsiteX1" fmla="*/ 63995 w 83601"/>
                  <a:gd name="connsiteY1" fmla="*/ 60357 h 60357"/>
                  <a:gd name="connsiteX2" fmla="*/ 55845 w 83601"/>
                  <a:gd name="connsiteY2" fmla="*/ 43544 h 60357"/>
                  <a:gd name="connsiteX3" fmla="*/ 40719 w 83601"/>
                  <a:gd name="connsiteY3" fmla="*/ 25300 h 60357"/>
                  <a:gd name="connsiteX4" fmla="*/ 40855 w 83601"/>
                  <a:gd name="connsiteY4" fmla="*/ 24223 h 60357"/>
                  <a:gd name="connsiteX5" fmla="*/ 14923 w 83601"/>
                  <a:gd name="connsiteY5" fmla="*/ 21658 h 60357"/>
                  <a:gd name="connsiteX6" fmla="*/ 3524 w 83601"/>
                  <a:gd name="connsiteY6" fmla="*/ 18409 h 60357"/>
                  <a:gd name="connsiteX7" fmla="*/ 1073 w 83601"/>
                  <a:gd name="connsiteY7" fmla="*/ 7979 h 60357"/>
                  <a:gd name="connsiteX8" fmla="*/ 12472 w 83601"/>
                  <a:gd name="connsiteY8" fmla="*/ 969 h 60357"/>
                  <a:gd name="connsiteX9" fmla="*/ 12472 w 83601"/>
                  <a:gd name="connsiteY9" fmla="*/ 0 h 60357"/>
                  <a:gd name="connsiteX10" fmla="*/ 37949 w 83601"/>
                  <a:gd name="connsiteY10" fmla="*/ 1197 h 60357"/>
                  <a:gd name="connsiteX11" fmla="*/ 50032 w 83601"/>
                  <a:gd name="connsiteY11" fmla="*/ 1197 h 60357"/>
                  <a:gd name="connsiteX12" fmla="*/ 55446 w 83601"/>
                  <a:gd name="connsiteY12" fmla="*/ 171 h 60357"/>
                  <a:gd name="connsiteX13" fmla="*/ 74140 w 83601"/>
                  <a:gd name="connsiteY13" fmla="*/ 26445 h 60357"/>
                  <a:gd name="connsiteX14" fmla="*/ 83602 w 83601"/>
                  <a:gd name="connsiteY14" fmla="*/ 36534 h 60357"/>
                  <a:gd name="connsiteX15" fmla="*/ 82063 w 83601"/>
                  <a:gd name="connsiteY15" fmla="*/ 38984 h 60357"/>
                  <a:gd name="connsiteX16" fmla="*/ 77446 w 83601"/>
                  <a:gd name="connsiteY16" fmla="*/ 41492 h 60357"/>
                  <a:gd name="connsiteX17" fmla="*/ 74425 w 83601"/>
                  <a:gd name="connsiteY17" fmla="*/ 55456 h 60357"/>
                  <a:gd name="connsiteX18" fmla="*/ 64679 w 83601"/>
                  <a:gd name="connsiteY18" fmla="*/ 60357 h 6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3601" h="60357">
                    <a:moveTo>
                      <a:pt x="64679" y="60357"/>
                    </a:moveTo>
                    <a:lnTo>
                      <a:pt x="63995" y="60357"/>
                    </a:lnTo>
                    <a:cubicBezTo>
                      <a:pt x="57555" y="56881"/>
                      <a:pt x="52596" y="49813"/>
                      <a:pt x="55845" y="43544"/>
                    </a:cubicBezTo>
                    <a:cubicBezTo>
                      <a:pt x="46629" y="42683"/>
                      <a:pt x="39858" y="34516"/>
                      <a:pt x="40719" y="25300"/>
                    </a:cubicBezTo>
                    <a:cubicBezTo>
                      <a:pt x="40753" y="24941"/>
                      <a:pt x="40799" y="24582"/>
                      <a:pt x="40855" y="24223"/>
                    </a:cubicBezTo>
                    <a:lnTo>
                      <a:pt x="14923" y="21658"/>
                    </a:lnTo>
                    <a:cubicBezTo>
                      <a:pt x="10899" y="21624"/>
                      <a:pt x="6961" y="20501"/>
                      <a:pt x="3524" y="18409"/>
                    </a:cubicBezTo>
                    <a:cubicBezTo>
                      <a:pt x="47" y="16147"/>
                      <a:pt x="-1030" y="11553"/>
                      <a:pt x="1073" y="7979"/>
                    </a:cubicBezTo>
                    <a:cubicBezTo>
                      <a:pt x="5633" y="7010"/>
                      <a:pt x="10876" y="5415"/>
                      <a:pt x="12472" y="969"/>
                    </a:cubicBezTo>
                    <a:cubicBezTo>
                      <a:pt x="12506" y="644"/>
                      <a:pt x="12506" y="325"/>
                      <a:pt x="12472" y="0"/>
                    </a:cubicBezTo>
                    <a:lnTo>
                      <a:pt x="37949" y="1197"/>
                    </a:lnTo>
                    <a:cubicBezTo>
                      <a:pt x="41967" y="1539"/>
                      <a:pt x="46013" y="1539"/>
                      <a:pt x="50032" y="1197"/>
                    </a:cubicBezTo>
                    <a:cubicBezTo>
                      <a:pt x="51856" y="1197"/>
                      <a:pt x="53622" y="570"/>
                      <a:pt x="55446" y="171"/>
                    </a:cubicBezTo>
                    <a:cubicBezTo>
                      <a:pt x="60348" y="9803"/>
                      <a:pt x="66646" y="18660"/>
                      <a:pt x="74140" y="26445"/>
                    </a:cubicBezTo>
                    <a:cubicBezTo>
                      <a:pt x="77161" y="29922"/>
                      <a:pt x="80296" y="33342"/>
                      <a:pt x="83602" y="36534"/>
                    </a:cubicBezTo>
                    <a:cubicBezTo>
                      <a:pt x="83339" y="37485"/>
                      <a:pt x="82804" y="38335"/>
                      <a:pt x="82063" y="38984"/>
                    </a:cubicBezTo>
                    <a:cubicBezTo>
                      <a:pt x="80752" y="40124"/>
                      <a:pt x="78814" y="40352"/>
                      <a:pt x="77446" y="41492"/>
                    </a:cubicBezTo>
                    <a:cubicBezTo>
                      <a:pt x="73627" y="44570"/>
                      <a:pt x="76648" y="51067"/>
                      <a:pt x="74425" y="55456"/>
                    </a:cubicBezTo>
                    <a:cubicBezTo>
                      <a:pt x="72146" y="58556"/>
                      <a:pt x="68526" y="60374"/>
                      <a:pt x="64679" y="6035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6" name="Freihandform: Form 292">
                <a:extLst>
                  <a:ext uri="{FF2B5EF4-FFF2-40B4-BE49-F238E27FC236}">
                    <a16:creationId xmlns:a16="http://schemas.microsoft.com/office/drawing/2014/main" id="{75BB4728-E9CF-177D-47DA-B8BEDF4F64D3}"/>
                  </a:ext>
                </a:extLst>
              </p:cNvPr>
              <p:cNvSpPr/>
              <p:nvPr/>
            </p:nvSpPr>
            <p:spPr>
              <a:xfrm>
                <a:off x="1939648" y="4029263"/>
                <a:ext cx="118093" cy="52461"/>
              </a:xfrm>
              <a:custGeom>
                <a:avLst/>
                <a:gdLst>
                  <a:gd name="connsiteX0" fmla="*/ 118093 w 118093"/>
                  <a:gd name="connsiteY0" fmla="*/ 23662 h 52461"/>
                  <a:gd name="connsiteX1" fmla="*/ 102875 w 118093"/>
                  <a:gd name="connsiteY1" fmla="*/ 25030 h 52461"/>
                  <a:gd name="connsiteX2" fmla="*/ 89197 w 118093"/>
                  <a:gd name="connsiteY2" fmla="*/ 13631 h 52461"/>
                  <a:gd name="connsiteX3" fmla="*/ 67995 w 118093"/>
                  <a:gd name="connsiteY3" fmla="*/ 25030 h 52461"/>
                  <a:gd name="connsiteX4" fmla="*/ 66798 w 118093"/>
                  <a:gd name="connsiteY4" fmla="*/ 51590 h 52461"/>
                  <a:gd name="connsiteX5" fmla="*/ 28782 w 118093"/>
                  <a:gd name="connsiteY5" fmla="*/ 34491 h 52461"/>
                  <a:gd name="connsiteX6" fmla="*/ 3876 w 118093"/>
                  <a:gd name="connsiteY6" fmla="*/ 30559 h 52461"/>
                  <a:gd name="connsiteX7" fmla="*/ 0 w 118093"/>
                  <a:gd name="connsiteY7" fmla="*/ 28963 h 52461"/>
                  <a:gd name="connsiteX8" fmla="*/ 684 w 118093"/>
                  <a:gd name="connsiteY8" fmla="*/ 28963 h 52461"/>
                  <a:gd name="connsiteX9" fmla="*/ 10316 w 118093"/>
                  <a:gd name="connsiteY9" fmla="*/ 24118 h 52461"/>
                  <a:gd name="connsiteX10" fmla="*/ 13337 w 118093"/>
                  <a:gd name="connsiteY10" fmla="*/ 10155 h 52461"/>
                  <a:gd name="connsiteX11" fmla="*/ 17953 w 118093"/>
                  <a:gd name="connsiteY11" fmla="*/ 7647 h 52461"/>
                  <a:gd name="connsiteX12" fmla="*/ 19492 w 118093"/>
                  <a:gd name="connsiteY12" fmla="*/ 5196 h 52461"/>
                  <a:gd name="connsiteX13" fmla="*/ 33855 w 118093"/>
                  <a:gd name="connsiteY13" fmla="*/ 16082 h 52461"/>
                  <a:gd name="connsiteX14" fmla="*/ 64176 w 118093"/>
                  <a:gd name="connsiteY14" fmla="*/ 15398 h 52461"/>
                  <a:gd name="connsiteX15" fmla="*/ 83212 w 118093"/>
                  <a:gd name="connsiteY15" fmla="*/ 10 h 52461"/>
                  <a:gd name="connsiteX16" fmla="*/ 99912 w 118093"/>
                  <a:gd name="connsiteY16" fmla="*/ 6735 h 52461"/>
                  <a:gd name="connsiteX17" fmla="*/ 118093 w 118093"/>
                  <a:gd name="connsiteY17" fmla="*/ 23662 h 5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93" h="52461">
                    <a:moveTo>
                      <a:pt x="118093" y="23662"/>
                    </a:moveTo>
                    <a:cubicBezTo>
                      <a:pt x="116041" y="29362"/>
                      <a:pt x="107606" y="28621"/>
                      <a:pt x="102875" y="25030"/>
                    </a:cubicBezTo>
                    <a:cubicBezTo>
                      <a:pt x="98145" y="21439"/>
                      <a:pt x="94725" y="15911"/>
                      <a:pt x="89197" y="13631"/>
                    </a:cubicBezTo>
                    <a:cubicBezTo>
                      <a:pt x="80876" y="10497"/>
                      <a:pt x="71414" y="16937"/>
                      <a:pt x="67995" y="25030"/>
                    </a:cubicBezTo>
                    <a:cubicBezTo>
                      <a:pt x="65305" y="33631"/>
                      <a:pt x="64889" y="42784"/>
                      <a:pt x="66798" y="51590"/>
                    </a:cubicBezTo>
                    <a:cubicBezTo>
                      <a:pt x="53233" y="56434"/>
                      <a:pt x="42233" y="39735"/>
                      <a:pt x="28782" y="34491"/>
                    </a:cubicBezTo>
                    <a:cubicBezTo>
                      <a:pt x="20860" y="31585"/>
                      <a:pt x="12026" y="32782"/>
                      <a:pt x="3876" y="30559"/>
                    </a:cubicBezTo>
                    <a:cubicBezTo>
                      <a:pt x="2525" y="30182"/>
                      <a:pt x="1225" y="29647"/>
                      <a:pt x="0" y="28963"/>
                    </a:cubicBezTo>
                    <a:lnTo>
                      <a:pt x="684" y="28963"/>
                    </a:lnTo>
                    <a:cubicBezTo>
                      <a:pt x="4480" y="28957"/>
                      <a:pt x="8048" y="27162"/>
                      <a:pt x="10316" y="24118"/>
                    </a:cubicBezTo>
                    <a:cubicBezTo>
                      <a:pt x="12539" y="19730"/>
                      <a:pt x="9518" y="13232"/>
                      <a:pt x="13337" y="10155"/>
                    </a:cubicBezTo>
                    <a:cubicBezTo>
                      <a:pt x="14705" y="9015"/>
                      <a:pt x="16643" y="8787"/>
                      <a:pt x="17953" y="7647"/>
                    </a:cubicBezTo>
                    <a:cubicBezTo>
                      <a:pt x="18694" y="6997"/>
                      <a:pt x="19230" y="6148"/>
                      <a:pt x="19492" y="5196"/>
                    </a:cubicBezTo>
                    <a:cubicBezTo>
                      <a:pt x="23693" y="9539"/>
                      <a:pt x="28537" y="13209"/>
                      <a:pt x="33855" y="16082"/>
                    </a:cubicBezTo>
                    <a:cubicBezTo>
                      <a:pt x="43305" y="21497"/>
                      <a:pt x="54977" y="21234"/>
                      <a:pt x="64176" y="15398"/>
                    </a:cubicBezTo>
                    <a:cubicBezTo>
                      <a:pt x="70788" y="10382"/>
                      <a:pt x="75005" y="1320"/>
                      <a:pt x="83212" y="10"/>
                    </a:cubicBezTo>
                    <a:cubicBezTo>
                      <a:pt x="89470" y="-173"/>
                      <a:pt x="95529" y="2261"/>
                      <a:pt x="99912" y="6735"/>
                    </a:cubicBezTo>
                    <a:cubicBezTo>
                      <a:pt x="106335" y="11973"/>
                      <a:pt x="112411" y="17626"/>
                      <a:pt x="118093" y="2366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7" name="Freihandform: Form 293">
                <a:extLst>
                  <a:ext uri="{FF2B5EF4-FFF2-40B4-BE49-F238E27FC236}">
                    <a16:creationId xmlns:a16="http://schemas.microsoft.com/office/drawing/2014/main" id="{BAF04D2C-ADD6-6AA1-D7CE-FDE433CE8D3A}"/>
                  </a:ext>
                </a:extLst>
              </p:cNvPr>
              <p:cNvSpPr/>
              <p:nvPr/>
            </p:nvSpPr>
            <p:spPr>
              <a:xfrm>
                <a:off x="2188371" y="3780491"/>
                <a:ext cx="77191" cy="49680"/>
              </a:xfrm>
              <a:custGeom>
                <a:avLst/>
                <a:gdLst>
                  <a:gd name="connsiteX0" fmla="*/ 72043 w 77191"/>
                  <a:gd name="connsiteY0" fmla="*/ 32487 h 49680"/>
                  <a:gd name="connsiteX1" fmla="*/ 59960 w 77191"/>
                  <a:gd name="connsiteY1" fmla="*/ 33285 h 49680"/>
                  <a:gd name="connsiteX2" fmla="*/ 20520 w 77191"/>
                  <a:gd name="connsiteY2" fmla="*/ 38985 h 49680"/>
                  <a:gd name="connsiteX3" fmla="*/ 19095 w 77191"/>
                  <a:gd name="connsiteY3" fmla="*/ 48959 h 49680"/>
                  <a:gd name="connsiteX4" fmla="*/ 1997 w 77191"/>
                  <a:gd name="connsiteY4" fmla="*/ 48560 h 49680"/>
                  <a:gd name="connsiteX5" fmla="*/ 1085 w 77191"/>
                  <a:gd name="connsiteY5" fmla="*/ 33741 h 49680"/>
                  <a:gd name="connsiteX6" fmla="*/ 2453 w 77191"/>
                  <a:gd name="connsiteY6" fmla="*/ 26959 h 49680"/>
                  <a:gd name="connsiteX7" fmla="*/ 1028 w 77191"/>
                  <a:gd name="connsiteY7" fmla="*/ 12938 h 49680"/>
                  <a:gd name="connsiteX8" fmla="*/ 4561 w 77191"/>
                  <a:gd name="connsiteY8" fmla="*/ 9974 h 49680"/>
                  <a:gd name="connsiteX9" fmla="*/ 7354 w 77191"/>
                  <a:gd name="connsiteY9" fmla="*/ 0 h 49680"/>
                  <a:gd name="connsiteX10" fmla="*/ 10945 w 77191"/>
                  <a:gd name="connsiteY10" fmla="*/ 0 h 49680"/>
                  <a:gd name="connsiteX11" fmla="*/ 37846 w 77191"/>
                  <a:gd name="connsiteY11" fmla="*/ 1710 h 49680"/>
                  <a:gd name="connsiteX12" fmla="*/ 43546 w 77191"/>
                  <a:gd name="connsiteY12" fmla="*/ 2850 h 49680"/>
                  <a:gd name="connsiteX13" fmla="*/ 48561 w 77191"/>
                  <a:gd name="connsiteY13" fmla="*/ 7580 h 49680"/>
                  <a:gd name="connsiteX14" fmla="*/ 56028 w 77191"/>
                  <a:gd name="connsiteY14" fmla="*/ 12197 h 49680"/>
                  <a:gd name="connsiteX15" fmla="*/ 76318 w 77191"/>
                  <a:gd name="connsiteY15" fmla="*/ 22114 h 49680"/>
                  <a:gd name="connsiteX16" fmla="*/ 73394 w 77191"/>
                  <a:gd name="connsiteY16" fmla="*/ 31923 h 49680"/>
                  <a:gd name="connsiteX17" fmla="*/ 72043 w 77191"/>
                  <a:gd name="connsiteY17" fmla="*/ 32487 h 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91" h="49680">
                    <a:moveTo>
                      <a:pt x="72043" y="32487"/>
                    </a:moveTo>
                    <a:cubicBezTo>
                      <a:pt x="68139" y="33724"/>
                      <a:pt x="63996" y="33998"/>
                      <a:pt x="59960" y="33285"/>
                    </a:cubicBezTo>
                    <a:cubicBezTo>
                      <a:pt x="46550" y="32168"/>
                      <a:pt x="33065" y="34117"/>
                      <a:pt x="20520" y="38985"/>
                    </a:cubicBezTo>
                    <a:cubicBezTo>
                      <a:pt x="21198" y="42376"/>
                      <a:pt x="20691" y="45892"/>
                      <a:pt x="19095" y="48959"/>
                    </a:cubicBezTo>
                    <a:cubicBezTo>
                      <a:pt x="13430" y="50041"/>
                      <a:pt x="7605" y="49905"/>
                      <a:pt x="1997" y="48560"/>
                    </a:cubicBezTo>
                    <a:cubicBezTo>
                      <a:pt x="503" y="43766"/>
                      <a:pt x="196" y="38682"/>
                      <a:pt x="1085" y="33741"/>
                    </a:cubicBezTo>
                    <a:cubicBezTo>
                      <a:pt x="1814" y="31547"/>
                      <a:pt x="2276" y="29267"/>
                      <a:pt x="2453" y="26959"/>
                    </a:cubicBezTo>
                    <a:cubicBezTo>
                      <a:pt x="2453" y="22057"/>
                      <a:pt x="-1936" y="16814"/>
                      <a:pt x="1028" y="12938"/>
                    </a:cubicBezTo>
                    <a:cubicBezTo>
                      <a:pt x="2099" y="11832"/>
                      <a:pt x="3285" y="10835"/>
                      <a:pt x="4561" y="9974"/>
                    </a:cubicBezTo>
                    <a:cubicBezTo>
                      <a:pt x="6881" y="7204"/>
                      <a:pt x="7896" y="3574"/>
                      <a:pt x="7354" y="0"/>
                    </a:cubicBezTo>
                    <a:lnTo>
                      <a:pt x="10945" y="0"/>
                    </a:lnTo>
                    <a:lnTo>
                      <a:pt x="37846" y="1710"/>
                    </a:lnTo>
                    <a:cubicBezTo>
                      <a:pt x="39807" y="1653"/>
                      <a:pt x="41756" y="2046"/>
                      <a:pt x="43546" y="2850"/>
                    </a:cubicBezTo>
                    <a:cubicBezTo>
                      <a:pt x="45432" y="4183"/>
                      <a:pt x="47119" y="5774"/>
                      <a:pt x="48561" y="7580"/>
                    </a:cubicBezTo>
                    <a:cubicBezTo>
                      <a:pt x="50784" y="9512"/>
                      <a:pt x="53303" y="11074"/>
                      <a:pt x="56028" y="12197"/>
                    </a:cubicBezTo>
                    <a:lnTo>
                      <a:pt x="76318" y="22114"/>
                    </a:lnTo>
                    <a:cubicBezTo>
                      <a:pt x="78222" y="25631"/>
                      <a:pt x="76911" y="30025"/>
                      <a:pt x="73394" y="31923"/>
                    </a:cubicBezTo>
                    <a:cubicBezTo>
                      <a:pt x="72966" y="32156"/>
                      <a:pt x="72511" y="32345"/>
                      <a:pt x="72043" y="3248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78" name="Freihandform: Form 294">
                <a:extLst>
                  <a:ext uri="{FF2B5EF4-FFF2-40B4-BE49-F238E27FC236}">
                    <a16:creationId xmlns:a16="http://schemas.microsoft.com/office/drawing/2014/main" id="{8310C316-FE35-5D2F-62A7-199857DCFB51}"/>
                  </a:ext>
                </a:extLst>
              </p:cNvPr>
              <p:cNvSpPr/>
              <p:nvPr/>
            </p:nvSpPr>
            <p:spPr>
              <a:xfrm>
                <a:off x="2135081" y="3771679"/>
                <a:ext cx="60559" cy="58396"/>
              </a:xfrm>
              <a:custGeom>
                <a:avLst/>
                <a:gdLst>
                  <a:gd name="connsiteX0" fmla="*/ 55173 w 60559"/>
                  <a:gd name="connsiteY0" fmla="*/ 57656 h 58396"/>
                  <a:gd name="connsiteX1" fmla="*/ 47536 w 60559"/>
                  <a:gd name="connsiteY1" fmla="*/ 51956 h 58396"/>
                  <a:gd name="connsiteX2" fmla="*/ 32489 w 60559"/>
                  <a:gd name="connsiteY2" fmla="*/ 49734 h 58396"/>
                  <a:gd name="connsiteX3" fmla="*/ 27701 w 60559"/>
                  <a:gd name="connsiteY3" fmla="*/ 49734 h 58396"/>
                  <a:gd name="connsiteX4" fmla="*/ 22002 w 60559"/>
                  <a:gd name="connsiteY4" fmla="*/ 54692 h 58396"/>
                  <a:gd name="connsiteX5" fmla="*/ 3707 w 60559"/>
                  <a:gd name="connsiteY5" fmla="*/ 54521 h 58396"/>
                  <a:gd name="connsiteX6" fmla="*/ 401 w 60559"/>
                  <a:gd name="connsiteY6" fmla="*/ 42267 h 58396"/>
                  <a:gd name="connsiteX7" fmla="*/ 37390 w 60559"/>
                  <a:gd name="connsiteY7" fmla="*/ 41526 h 58396"/>
                  <a:gd name="connsiteX8" fmla="*/ 41893 w 60559"/>
                  <a:gd name="connsiteY8" fmla="*/ 40273 h 58396"/>
                  <a:gd name="connsiteX9" fmla="*/ 39784 w 60559"/>
                  <a:gd name="connsiteY9" fmla="*/ 32692 h 58396"/>
                  <a:gd name="connsiteX10" fmla="*/ 33401 w 60559"/>
                  <a:gd name="connsiteY10" fmla="*/ 26708 h 58396"/>
                  <a:gd name="connsiteX11" fmla="*/ 32774 w 60559"/>
                  <a:gd name="connsiteY11" fmla="*/ 22832 h 58396"/>
                  <a:gd name="connsiteX12" fmla="*/ 23598 w 60559"/>
                  <a:gd name="connsiteY12" fmla="*/ 5734 h 58396"/>
                  <a:gd name="connsiteX13" fmla="*/ 34997 w 60559"/>
                  <a:gd name="connsiteY13" fmla="*/ 319 h 58396"/>
                  <a:gd name="connsiteX14" fmla="*/ 47820 w 60559"/>
                  <a:gd name="connsiteY14" fmla="*/ 6361 h 58396"/>
                  <a:gd name="connsiteX15" fmla="*/ 60416 w 60559"/>
                  <a:gd name="connsiteY15" fmla="*/ 8982 h 58396"/>
                  <a:gd name="connsiteX16" fmla="*/ 57624 w 60559"/>
                  <a:gd name="connsiteY16" fmla="*/ 18956 h 58396"/>
                  <a:gd name="connsiteX17" fmla="*/ 54090 w 60559"/>
                  <a:gd name="connsiteY17" fmla="*/ 21920 h 58396"/>
                  <a:gd name="connsiteX18" fmla="*/ 55515 w 60559"/>
                  <a:gd name="connsiteY18" fmla="*/ 35941 h 58396"/>
                  <a:gd name="connsiteX19" fmla="*/ 54147 w 60559"/>
                  <a:gd name="connsiteY19" fmla="*/ 42723 h 58396"/>
                  <a:gd name="connsiteX20" fmla="*/ 55173 w 60559"/>
                  <a:gd name="connsiteY20" fmla="*/ 57656 h 5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9" h="58396">
                    <a:moveTo>
                      <a:pt x="55173" y="57656"/>
                    </a:moveTo>
                    <a:cubicBezTo>
                      <a:pt x="52004" y="56784"/>
                      <a:pt x="49274" y="54749"/>
                      <a:pt x="47536" y="51956"/>
                    </a:cubicBezTo>
                    <a:lnTo>
                      <a:pt x="32489" y="49734"/>
                    </a:lnTo>
                    <a:cubicBezTo>
                      <a:pt x="30916" y="49363"/>
                      <a:pt x="29274" y="49363"/>
                      <a:pt x="27701" y="49734"/>
                    </a:cubicBezTo>
                    <a:cubicBezTo>
                      <a:pt x="25308" y="50532"/>
                      <a:pt x="23883" y="52925"/>
                      <a:pt x="22002" y="54692"/>
                    </a:cubicBezTo>
                    <a:cubicBezTo>
                      <a:pt x="16901" y="59696"/>
                      <a:pt x="8711" y="59622"/>
                      <a:pt x="3707" y="54521"/>
                    </a:cubicBezTo>
                    <a:cubicBezTo>
                      <a:pt x="538" y="51295"/>
                      <a:pt x="-716" y="46650"/>
                      <a:pt x="401" y="42267"/>
                    </a:cubicBezTo>
                    <a:lnTo>
                      <a:pt x="37390" y="41526"/>
                    </a:lnTo>
                    <a:cubicBezTo>
                      <a:pt x="38998" y="41686"/>
                      <a:pt x="40605" y="41241"/>
                      <a:pt x="41893" y="40273"/>
                    </a:cubicBezTo>
                    <a:cubicBezTo>
                      <a:pt x="43945" y="38164"/>
                      <a:pt x="41893" y="34573"/>
                      <a:pt x="39784" y="32692"/>
                    </a:cubicBezTo>
                    <a:cubicBezTo>
                      <a:pt x="37675" y="30811"/>
                      <a:pt x="34370" y="29501"/>
                      <a:pt x="33401" y="26708"/>
                    </a:cubicBezTo>
                    <a:cubicBezTo>
                      <a:pt x="33076" y="25437"/>
                      <a:pt x="32865" y="24143"/>
                      <a:pt x="32774" y="22832"/>
                    </a:cubicBezTo>
                    <a:cubicBezTo>
                      <a:pt x="31463" y="16278"/>
                      <a:pt x="22344" y="12288"/>
                      <a:pt x="23598" y="5734"/>
                    </a:cubicBezTo>
                    <a:cubicBezTo>
                      <a:pt x="24453" y="1117"/>
                      <a:pt x="30437" y="-821"/>
                      <a:pt x="34997" y="319"/>
                    </a:cubicBezTo>
                    <a:cubicBezTo>
                      <a:pt x="39419" y="2006"/>
                      <a:pt x="43706" y="4024"/>
                      <a:pt x="47820" y="6361"/>
                    </a:cubicBezTo>
                    <a:cubicBezTo>
                      <a:pt x="51856" y="7900"/>
                      <a:pt x="56108" y="8783"/>
                      <a:pt x="60416" y="8982"/>
                    </a:cubicBezTo>
                    <a:cubicBezTo>
                      <a:pt x="60958" y="12556"/>
                      <a:pt x="59943" y="16187"/>
                      <a:pt x="57624" y="18956"/>
                    </a:cubicBezTo>
                    <a:cubicBezTo>
                      <a:pt x="56347" y="19817"/>
                      <a:pt x="55161" y="20815"/>
                      <a:pt x="54090" y="21920"/>
                    </a:cubicBezTo>
                    <a:cubicBezTo>
                      <a:pt x="51126" y="25796"/>
                      <a:pt x="55344" y="31039"/>
                      <a:pt x="55515" y="35941"/>
                    </a:cubicBezTo>
                    <a:cubicBezTo>
                      <a:pt x="55338" y="38249"/>
                      <a:pt x="54876" y="40529"/>
                      <a:pt x="54147" y="42723"/>
                    </a:cubicBezTo>
                    <a:cubicBezTo>
                      <a:pt x="53275" y="47710"/>
                      <a:pt x="53628" y="52834"/>
                      <a:pt x="55173" y="5765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79" name="Freihandform: Form 295">
                <a:extLst>
                  <a:ext uri="{FF2B5EF4-FFF2-40B4-BE49-F238E27FC236}">
                    <a16:creationId xmlns:a16="http://schemas.microsoft.com/office/drawing/2014/main" id="{E751F8E0-6C38-6FC0-5F95-76E2657B84C4}"/>
                  </a:ext>
                </a:extLst>
              </p:cNvPr>
              <p:cNvSpPr/>
              <p:nvPr/>
            </p:nvSpPr>
            <p:spPr>
              <a:xfrm>
                <a:off x="2036769" y="3988556"/>
                <a:ext cx="256438" cy="340854"/>
              </a:xfrm>
              <a:custGeom>
                <a:avLst/>
                <a:gdLst>
                  <a:gd name="connsiteX0" fmla="*/ 28324 w 256438"/>
                  <a:gd name="connsiteY0" fmla="*/ 250229 h 340854"/>
                  <a:gd name="connsiteX1" fmla="*/ 4444 w 256438"/>
                  <a:gd name="connsiteY1" fmla="*/ 240141 h 340854"/>
                  <a:gd name="connsiteX2" fmla="*/ 5014 w 256438"/>
                  <a:gd name="connsiteY2" fmla="*/ 236436 h 340854"/>
                  <a:gd name="connsiteX3" fmla="*/ 910 w 256438"/>
                  <a:gd name="connsiteY3" fmla="*/ 231592 h 340854"/>
                  <a:gd name="connsiteX4" fmla="*/ 8832 w 256438"/>
                  <a:gd name="connsiteY4" fmla="*/ 208053 h 340854"/>
                  <a:gd name="connsiteX5" fmla="*/ 26501 w 256438"/>
                  <a:gd name="connsiteY5" fmla="*/ 197566 h 340854"/>
                  <a:gd name="connsiteX6" fmla="*/ 28552 w 256438"/>
                  <a:gd name="connsiteY6" fmla="*/ 192550 h 340854"/>
                  <a:gd name="connsiteX7" fmla="*/ 40236 w 256438"/>
                  <a:gd name="connsiteY7" fmla="*/ 188048 h 340854"/>
                  <a:gd name="connsiteX8" fmla="*/ 43314 w 256438"/>
                  <a:gd name="connsiteY8" fmla="*/ 174483 h 340854"/>
                  <a:gd name="connsiteX9" fmla="*/ 32998 w 256438"/>
                  <a:gd name="connsiteY9" fmla="*/ 167530 h 340854"/>
                  <a:gd name="connsiteX10" fmla="*/ 32485 w 256438"/>
                  <a:gd name="connsiteY10" fmla="*/ 156131 h 340854"/>
                  <a:gd name="connsiteX11" fmla="*/ 35107 w 256438"/>
                  <a:gd name="connsiteY11" fmla="*/ 153680 h 340854"/>
                  <a:gd name="connsiteX12" fmla="*/ 33454 w 256438"/>
                  <a:gd name="connsiteY12" fmla="*/ 132934 h 340854"/>
                  <a:gd name="connsiteX13" fmla="*/ 35050 w 256438"/>
                  <a:gd name="connsiteY13" fmla="*/ 121250 h 340854"/>
                  <a:gd name="connsiteX14" fmla="*/ 29065 w 256438"/>
                  <a:gd name="connsiteY14" fmla="*/ 105178 h 340854"/>
                  <a:gd name="connsiteX15" fmla="*/ 11511 w 256438"/>
                  <a:gd name="connsiteY15" fmla="*/ 88079 h 340854"/>
                  <a:gd name="connsiteX16" fmla="*/ 10542 w 256438"/>
                  <a:gd name="connsiteY16" fmla="*/ 84830 h 340854"/>
                  <a:gd name="connsiteX17" fmla="*/ 7863 w 256438"/>
                  <a:gd name="connsiteY17" fmla="*/ 82665 h 340854"/>
                  <a:gd name="connsiteX18" fmla="*/ 3589 w 256438"/>
                  <a:gd name="connsiteY18" fmla="*/ 76281 h 340854"/>
                  <a:gd name="connsiteX19" fmla="*/ 13506 w 256438"/>
                  <a:gd name="connsiteY19" fmla="*/ 70582 h 340854"/>
                  <a:gd name="connsiteX20" fmla="*/ 22739 w 256438"/>
                  <a:gd name="connsiteY20" fmla="*/ 64198 h 340854"/>
                  <a:gd name="connsiteX21" fmla="*/ 30348 w 256438"/>
                  <a:gd name="connsiteY21" fmla="*/ 66849 h 340854"/>
                  <a:gd name="connsiteX22" fmla="*/ 30889 w 256438"/>
                  <a:gd name="connsiteY22" fmla="*/ 69898 h 340854"/>
                  <a:gd name="connsiteX23" fmla="*/ 35392 w 256438"/>
                  <a:gd name="connsiteY23" fmla="*/ 70468 h 340854"/>
                  <a:gd name="connsiteX24" fmla="*/ 32599 w 256438"/>
                  <a:gd name="connsiteY24" fmla="*/ 77877 h 340854"/>
                  <a:gd name="connsiteX25" fmla="*/ 43656 w 256438"/>
                  <a:gd name="connsiteY25" fmla="*/ 74856 h 340854"/>
                  <a:gd name="connsiteX26" fmla="*/ 44055 w 256438"/>
                  <a:gd name="connsiteY26" fmla="*/ 67276 h 340854"/>
                  <a:gd name="connsiteX27" fmla="*/ 54713 w 256438"/>
                  <a:gd name="connsiteY27" fmla="*/ 64141 h 340854"/>
                  <a:gd name="connsiteX28" fmla="*/ 56024 w 256438"/>
                  <a:gd name="connsiteY28" fmla="*/ 55022 h 340854"/>
                  <a:gd name="connsiteX29" fmla="*/ 65086 w 256438"/>
                  <a:gd name="connsiteY29" fmla="*/ 52001 h 340854"/>
                  <a:gd name="connsiteX30" fmla="*/ 69190 w 256438"/>
                  <a:gd name="connsiteY30" fmla="*/ 45675 h 340854"/>
                  <a:gd name="connsiteX31" fmla="*/ 73407 w 256438"/>
                  <a:gd name="connsiteY31" fmla="*/ 44592 h 340854"/>
                  <a:gd name="connsiteX32" fmla="*/ 75003 w 256438"/>
                  <a:gd name="connsiteY32" fmla="*/ 39919 h 340854"/>
                  <a:gd name="connsiteX33" fmla="*/ 84863 w 256438"/>
                  <a:gd name="connsiteY33" fmla="*/ 32623 h 340854"/>
                  <a:gd name="connsiteX34" fmla="*/ 88910 w 256438"/>
                  <a:gd name="connsiteY34" fmla="*/ 32167 h 340854"/>
                  <a:gd name="connsiteX35" fmla="*/ 92329 w 256438"/>
                  <a:gd name="connsiteY35" fmla="*/ 23447 h 340854"/>
                  <a:gd name="connsiteX36" fmla="*/ 104583 w 256438"/>
                  <a:gd name="connsiteY36" fmla="*/ 16893 h 340854"/>
                  <a:gd name="connsiteX37" fmla="*/ 118832 w 256438"/>
                  <a:gd name="connsiteY37" fmla="*/ 13986 h 340854"/>
                  <a:gd name="connsiteX38" fmla="*/ 123449 w 256438"/>
                  <a:gd name="connsiteY38" fmla="*/ 9027 h 340854"/>
                  <a:gd name="connsiteX39" fmla="*/ 141744 w 256438"/>
                  <a:gd name="connsiteY39" fmla="*/ 79 h 340854"/>
                  <a:gd name="connsiteX40" fmla="*/ 150464 w 256438"/>
                  <a:gd name="connsiteY40" fmla="*/ 1789 h 340854"/>
                  <a:gd name="connsiteX41" fmla="*/ 138780 w 256438"/>
                  <a:gd name="connsiteY41" fmla="*/ 8458 h 340854"/>
                  <a:gd name="connsiteX42" fmla="*/ 136273 w 256438"/>
                  <a:gd name="connsiteY42" fmla="*/ 15411 h 340854"/>
                  <a:gd name="connsiteX43" fmla="*/ 130573 w 256438"/>
                  <a:gd name="connsiteY43" fmla="*/ 17235 h 340854"/>
                  <a:gd name="connsiteX44" fmla="*/ 125329 w 256438"/>
                  <a:gd name="connsiteY44" fmla="*/ 28235 h 340854"/>
                  <a:gd name="connsiteX45" fmla="*/ 126412 w 256438"/>
                  <a:gd name="connsiteY45" fmla="*/ 41286 h 340854"/>
                  <a:gd name="connsiteX46" fmla="*/ 117179 w 256438"/>
                  <a:gd name="connsiteY46" fmla="*/ 48012 h 340854"/>
                  <a:gd name="connsiteX47" fmla="*/ 125443 w 256438"/>
                  <a:gd name="connsiteY47" fmla="*/ 56960 h 340854"/>
                  <a:gd name="connsiteX48" fmla="*/ 137640 w 256438"/>
                  <a:gd name="connsiteY48" fmla="*/ 62659 h 340854"/>
                  <a:gd name="connsiteX49" fmla="*/ 139008 w 256438"/>
                  <a:gd name="connsiteY49" fmla="*/ 69955 h 340854"/>
                  <a:gd name="connsiteX50" fmla="*/ 143055 w 256438"/>
                  <a:gd name="connsiteY50" fmla="*/ 76566 h 340854"/>
                  <a:gd name="connsiteX51" fmla="*/ 142257 w 256438"/>
                  <a:gd name="connsiteY51" fmla="*/ 91442 h 340854"/>
                  <a:gd name="connsiteX52" fmla="*/ 151946 w 256438"/>
                  <a:gd name="connsiteY52" fmla="*/ 107742 h 340854"/>
                  <a:gd name="connsiteX53" fmla="*/ 172008 w 256438"/>
                  <a:gd name="connsiteY53" fmla="*/ 105975 h 340854"/>
                  <a:gd name="connsiteX54" fmla="*/ 191329 w 256438"/>
                  <a:gd name="connsiteY54" fmla="*/ 107685 h 340854"/>
                  <a:gd name="connsiteX55" fmla="*/ 193381 w 256438"/>
                  <a:gd name="connsiteY55" fmla="*/ 111789 h 340854"/>
                  <a:gd name="connsiteX56" fmla="*/ 204780 w 256438"/>
                  <a:gd name="connsiteY56" fmla="*/ 117773 h 340854"/>
                  <a:gd name="connsiteX57" fmla="*/ 211278 w 256438"/>
                  <a:gd name="connsiteY57" fmla="*/ 127348 h 340854"/>
                  <a:gd name="connsiteX58" fmla="*/ 245474 w 256438"/>
                  <a:gd name="connsiteY58" fmla="*/ 123815 h 340854"/>
                  <a:gd name="connsiteX59" fmla="*/ 248723 w 256438"/>
                  <a:gd name="connsiteY59" fmla="*/ 124214 h 340854"/>
                  <a:gd name="connsiteX60" fmla="*/ 250091 w 256438"/>
                  <a:gd name="connsiteY60" fmla="*/ 127634 h 340854"/>
                  <a:gd name="connsiteX61" fmla="*/ 241941 w 256438"/>
                  <a:gd name="connsiteY61" fmla="*/ 147069 h 340854"/>
                  <a:gd name="connsiteX62" fmla="*/ 248837 w 256438"/>
                  <a:gd name="connsiteY62" fmla="*/ 175566 h 340854"/>
                  <a:gd name="connsiteX63" fmla="*/ 255050 w 256438"/>
                  <a:gd name="connsiteY63" fmla="*/ 181265 h 340854"/>
                  <a:gd name="connsiteX64" fmla="*/ 255050 w 256438"/>
                  <a:gd name="connsiteY64" fmla="*/ 189017 h 340854"/>
                  <a:gd name="connsiteX65" fmla="*/ 250433 w 256438"/>
                  <a:gd name="connsiteY65" fmla="*/ 191239 h 340854"/>
                  <a:gd name="connsiteX66" fmla="*/ 250433 w 256438"/>
                  <a:gd name="connsiteY66" fmla="*/ 205773 h 340854"/>
                  <a:gd name="connsiteX67" fmla="*/ 256132 w 256438"/>
                  <a:gd name="connsiteY67" fmla="*/ 220535 h 340854"/>
                  <a:gd name="connsiteX68" fmla="*/ 238635 w 256438"/>
                  <a:gd name="connsiteY68" fmla="*/ 228172 h 340854"/>
                  <a:gd name="connsiteX69" fmla="*/ 214184 w 256438"/>
                  <a:gd name="connsiteY69" fmla="*/ 227716 h 340854"/>
                  <a:gd name="connsiteX70" fmla="*/ 198454 w 256438"/>
                  <a:gd name="connsiteY70" fmla="*/ 233872 h 340854"/>
                  <a:gd name="connsiteX71" fmla="*/ 202329 w 256438"/>
                  <a:gd name="connsiteY71" fmla="*/ 245271 h 340854"/>
                  <a:gd name="connsiteX72" fmla="*/ 214469 w 256438"/>
                  <a:gd name="connsiteY72" fmla="*/ 250115 h 340854"/>
                  <a:gd name="connsiteX73" fmla="*/ 213329 w 256438"/>
                  <a:gd name="connsiteY73" fmla="*/ 256727 h 340854"/>
                  <a:gd name="connsiteX74" fmla="*/ 196447 w 256438"/>
                  <a:gd name="connsiteY74" fmla="*/ 263349 h 340854"/>
                  <a:gd name="connsiteX75" fmla="*/ 196231 w 256438"/>
                  <a:gd name="connsiteY75" fmla="*/ 273084 h 340854"/>
                  <a:gd name="connsiteX76" fmla="*/ 200961 w 256438"/>
                  <a:gd name="connsiteY76" fmla="*/ 289270 h 340854"/>
                  <a:gd name="connsiteX77" fmla="*/ 207516 w 256438"/>
                  <a:gd name="connsiteY77" fmla="*/ 313208 h 340854"/>
                  <a:gd name="connsiteX78" fmla="*/ 195034 w 256438"/>
                  <a:gd name="connsiteY78" fmla="*/ 339141 h 340854"/>
                  <a:gd name="connsiteX79" fmla="*/ 188651 w 256438"/>
                  <a:gd name="connsiteY79" fmla="*/ 339141 h 340854"/>
                  <a:gd name="connsiteX80" fmla="*/ 185972 w 256438"/>
                  <a:gd name="connsiteY80" fmla="*/ 331788 h 340854"/>
                  <a:gd name="connsiteX81" fmla="*/ 172236 w 256438"/>
                  <a:gd name="connsiteY81" fmla="*/ 324322 h 340854"/>
                  <a:gd name="connsiteX82" fmla="*/ 163801 w 256438"/>
                  <a:gd name="connsiteY82" fmla="*/ 327058 h 340854"/>
                  <a:gd name="connsiteX83" fmla="*/ 147785 w 256438"/>
                  <a:gd name="connsiteY83" fmla="*/ 324949 h 340854"/>
                  <a:gd name="connsiteX84" fmla="*/ 136386 w 256438"/>
                  <a:gd name="connsiteY84" fmla="*/ 328426 h 340854"/>
                  <a:gd name="connsiteX85" fmla="*/ 121397 w 256438"/>
                  <a:gd name="connsiteY85" fmla="*/ 315317 h 340854"/>
                  <a:gd name="connsiteX86" fmla="*/ 109998 w 256438"/>
                  <a:gd name="connsiteY86" fmla="*/ 297820 h 340854"/>
                  <a:gd name="connsiteX87" fmla="*/ 99739 w 256438"/>
                  <a:gd name="connsiteY87" fmla="*/ 292918 h 340854"/>
                  <a:gd name="connsiteX88" fmla="*/ 94438 w 256438"/>
                  <a:gd name="connsiteY88" fmla="*/ 282887 h 340854"/>
                  <a:gd name="connsiteX89" fmla="*/ 73863 w 256438"/>
                  <a:gd name="connsiteY89" fmla="*/ 274452 h 340854"/>
                  <a:gd name="connsiteX90" fmla="*/ 71013 w 256438"/>
                  <a:gd name="connsiteY90" fmla="*/ 269892 h 340854"/>
                  <a:gd name="connsiteX91" fmla="*/ 64288 w 256438"/>
                  <a:gd name="connsiteY91" fmla="*/ 269892 h 340854"/>
                  <a:gd name="connsiteX92" fmla="*/ 45138 w 256438"/>
                  <a:gd name="connsiteY92" fmla="*/ 259918 h 340854"/>
                  <a:gd name="connsiteX93" fmla="*/ 34879 w 256438"/>
                  <a:gd name="connsiteY93" fmla="*/ 259918 h 340854"/>
                  <a:gd name="connsiteX94" fmla="*/ 28324 w 256438"/>
                  <a:gd name="connsiteY94" fmla="*/ 250229 h 34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56438" h="340854">
                    <a:moveTo>
                      <a:pt x="28324" y="250229"/>
                    </a:moveTo>
                    <a:cubicBezTo>
                      <a:pt x="19747" y="248565"/>
                      <a:pt x="11614" y="245128"/>
                      <a:pt x="4444" y="240141"/>
                    </a:cubicBezTo>
                    <a:cubicBezTo>
                      <a:pt x="5247" y="239081"/>
                      <a:pt x="5464" y="237690"/>
                      <a:pt x="5014" y="236436"/>
                    </a:cubicBezTo>
                    <a:cubicBezTo>
                      <a:pt x="4273" y="234442"/>
                      <a:pt x="2107" y="233359"/>
                      <a:pt x="910" y="231592"/>
                    </a:cubicBezTo>
                    <a:cubicBezTo>
                      <a:pt x="-3935" y="224183"/>
                      <a:pt x="12309" y="216146"/>
                      <a:pt x="8832" y="208053"/>
                    </a:cubicBezTo>
                    <a:cubicBezTo>
                      <a:pt x="16458" y="209153"/>
                      <a:pt x="23816" y="204787"/>
                      <a:pt x="26501" y="197566"/>
                    </a:cubicBezTo>
                    <a:cubicBezTo>
                      <a:pt x="26882" y="195788"/>
                      <a:pt x="27578" y="194089"/>
                      <a:pt x="28552" y="192550"/>
                    </a:cubicBezTo>
                    <a:cubicBezTo>
                      <a:pt x="31231" y="189302"/>
                      <a:pt x="36703" y="190442"/>
                      <a:pt x="40236" y="188048"/>
                    </a:cubicBezTo>
                    <a:cubicBezTo>
                      <a:pt x="43770" y="185654"/>
                      <a:pt x="43998" y="179328"/>
                      <a:pt x="43314" y="174483"/>
                    </a:cubicBezTo>
                    <a:cubicBezTo>
                      <a:pt x="39370" y="173018"/>
                      <a:pt x="35836" y="170636"/>
                      <a:pt x="32998" y="167530"/>
                    </a:cubicBezTo>
                    <a:cubicBezTo>
                      <a:pt x="30239" y="164292"/>
                      <a:pt x="30028" y="159602"/>
                      <a:pt x="32485" y="156131"/>
                    </a:cubicBezTo>
                    <a:cubicBezTo>
                      <a:pt x="33283" y="155276"/>
                      <a:pt x="34309" y="154592"/>
                      <a:pt x="35107" y="153680"/>
                    </a:cubicBezTo>
                    <a:cubicBezTo>
                      <a:pt x="39951" y="148322"/>
                      <a:pt x="33967" y="140172"/>
                      <a:pt x="33454" y="132934"/>
                    </a:cubicBezTo>
                    <a:cubicBezTo>
                      <a:pt x="33619" y="128996"/>
                      <a:pt x="34155" y="125086"/>
                      <a:pt x="35050" y="121250"/>
                    </a:cubicBezTo>
                    <a:cubicBezTo>
                      <a:pt x="35169" y="115328"/>
                      <a:pt x="33032" y="109578"/>
                      <a:pt x="29065" y="105178"/>
                    </a:cubicBezTo>
                    <a:cubicBezTo>
                      <a:pt x="28666" y="96571"/>
                      <a:pt x="13677" y="96172"/>
                      <a:pt x="11511" y="88079"/>
                    </a:cubicBezTo>
                    <a:cubicBezTo>
                      <a:pt x="11334" y="86956"/>
                      <a:pt x="11009" y="85862"/>
                      <a:pt x="10542" y="84830"/>
                    </a:cubicBezTo>
                    <a:cubicBezTo>
                      <a:pt x="9812" y="83930"/>
                      <a:pt x="8895" y="83189"/>
                      <a:pt x="7863" y="82665"/>
                    </a:cubicBezTo>
                    <a:cubicBezTo>
                      <a:pt x="5333" y="81530"/>
                      <a:pt x="3674" y="79051"/>
                      <a:pt x="3589" y="76281"/>
                    </a:cubicBezTo>
                    <a:cubicBezTo>
                      <a:pt x="3988" y="72121"/>
                      <a:pt x="9288" y="70867"/>
                      <a:pt x="13506" y="70582"/>
                    </a:cubicBezTo>
                    <a:cubicBezTo>
                      <a:pt x="17723" y="70297"/>
                      <a:pt x="23024" y="68359"/>
                      <a:pt x="22739" y="64198"/>
                    </a:cubicBezTo>
                    <a:cubicBezTo>
                      <a:pt x="25572" y="62830"/>
                      <a:pt x="28980" y="64016"/>
                      <a:pt x="30348" y="66849"/>
                    </a:cubicBezTo>
                    <a:cubicBezTo>
                      <a:pt x="30809" y="67800"/>
                      <a:pt x="30992" y="68855"/>
                      <a:pt x="30889" y="69898"/>
                    </a:cubicBezTo>
                    <a:lnTo>
                      <a:pt x="35392" y="70468"/>
                    </a:lnTo>
                    <a:lnTo>
                      <a:pt x="32599" y="77877"/>
                    </a:lnTo>
                    <a:cubicBezTo>
                      <a:pt x="36760" y="78903"/>
                      <a:pt x="42573" y="78960"/>
                      <a:pt x="43656" y="74856"/>
                    </a:cubicBezTo>
                    <a:cubicBezTo>
                      <a:pt x="44283" y="72349"/>
                      <a:pt x="42573" y="69157"/>
                      <a:pt x="44055" y="67276"/>
                    </a:cubicBezTo>
                    <a:cubicBezTo>
                      <a:pt x="46221" y="64084"/>
                      <a:pt x="52262" y="67276"/>
                      <a:pt x="54713" y="64141"/>
                    </a:cubicBezTo>
                    <a:cubicBezTo>
                      <a:pt x="57164" y="61007"/>
                      <a:pt x="54371" y="57701"/>
                      <a:pt x="56024" y="55022"/>
                    </a:cubicBezTo>
                    <a:cubicBezTo>
                      <a:pt x="57677" y="52343"/>
                      <a:pt x="62008" y="53198"/>
                      <a:pt x="65086" y="52001"/>
                    </a:cubicBezTo>
                    <a:cubicBezTo>
                      <a:pt x="67651" y="50970"/>
                      <a:pt x="69292" y="48439"/>
                      <a:pt x="69190" y="45675"/>
                    </a:cubicBezTo>
                    <a:cubicBezTo>
                      <a:pt x="70387" y="46758"/>
                      <a:pt x="72495" y="45675"/>
                      <a:pt x="73407" y="44592"/>
                    </a:cubicBezTo>
                    <a:cubicBezTo>
                      <a:pt x="74148" y="43116"/>
                      <a:pt x="74690" y="41543"/>
                      <a:pt x="75003" y="39919"/>
                    </a:cubicBezTo>
                    <a:cubicBezTo>
                      <a:pt x="76491" y="35701"/>
                      <a:pt x="80395" y="32811"/>
                      <a:pt x="84863" y="32623"/>
                    </a:cubicBezTo>
                    <a:cubicBezTo>
                      <a:pt x="86231" y="32760"/>
                      <a:pt x="87610" y="32606"/>
                      <a:pt x="88910" y="32167"/>
                    </a:cubicBezTo>
                    <a:cubicBezTo>
                      <a:pt x="91874" y="30742"/>
                      <a:pt x="91247" y="26468"/>
                      <a:pt x="92329" y="23447"/>
                    </a:cubicBezTo>
                    <a:cubicBezTo>
                      <a:pt x="93982" y="18774"/>
                      <a:pt x="99682" y="17121"/>
                      <a:pt x="104583" y="16893"/>
                    </a:cubicBezTo>
                    <a:cubicBezTo>
                      <a:pt x="109513" y="17292"/>
                      <a:pt x="114455" y="16283"/>
                      <a:pt x="118832" y="13986"/>
                    </a:cubicBezTo>
                    <a:cubicBezTo>
                      <a:pt x="120530" y="12487"/>
                      <a:pt x="122075" y="10828"/>
                      <a:pt x="123449" y="9027"/>
                    </a:cubicBezTo>
                    <a:cubicBezTo>
                      <a:pt x="128156" y="3784"/>
                      <a:pt x="134716" y="581"/>
                      <a:pt x="141744" y="79"/>
                    </a:cubicBezTo>
                    <a:cubicBezTo>
                      <a:pt x="144759" y="-229"/>
                      <a:pt x="147791" y="364"/>
                      <a:pt x="150464" y="1789"/>
                    </a:cubicBezTo>
                    <a:cubicBezTo>
                      <a:pt x="145335" y="2815"/>
                      <a:pt x="140433" y="4012"/>
                      <a:pt x="138780" y="8458"/>
                    </a:cubicBezTo>
                    <a:cubicBezTo>
                      <a:pt x="137868" y="10794"/>
                      <a:pt x="138153" y="13815"/>
                      <a:pt x="136273" y="15411"/>
                    </a:cubicBezTo>
                    <a:cubicBezTo>
                      <a:pt x="134392" y="17007"/>
                      <a:pt x="132340" y="16551"/>
                      <a:pt x="130573" y="17235"/>
                    </a:cubicBezTo>
                    <a:cubicBezTo>
                      <a:pt x="126618" y="19366"/>
                      <a:pt x="124492" y="23817"/>
                      <a:pt x="125329" y="28235"/>
                    </a:cubicBezTo>
                    <a:cubicBezTo>
                      <a:pt x="126224" y="32526"/>
                      <a:pt x="126583" y="36909"/>
                      <a:pt x="126412" y="41286"/>
                    </a:cubicBezTo>
                    <a:cubicBezTo>
                      <a:pt x="125614" y="45618"/>
                      <a:pt x="121169" y="49779"/>
                      <a:pt x="117179" y="48012"/>
                    </a:cubicBezTo>
                    <a:cubicBezTo>
                      <a:pt x="115298" y="52343"/>
                      <a:pt x="120770" y="56162"/>
                      <a:pt x="125443" y="56960"/>
                    </a:cubicBezTo>
                    <a:cubicBezTo>
                      <a:pt x="130117" y="57758"/>
                      <a:pt x="135760" y="58271"/>
                      <a:pt x="137640" y="62659"/>
                    </a:cubicBezTo>
                    <a:cubicBezTo>
                      <a:pt x="138609" y="64939"/>
                      <a:pt x="138153" y="67618"/>
                      <a:pt x="139008" y="69955"/>
                    </a:cubicBezTo>
                    <a:cubicBezTo>
                      <a:pt x="139863" y="72291"/>
                      <a:pt x="142143" y="74115"/>
                      <a:pt x="143055" y="76566"/>
                    </a:cubicBezTo>
                    <a:cubicBezTo>
                      <a:pt x="144822" y="81297"/>
                      <a:pt x="141003" y="86597"/>
                      <a:pt x="142257" y="91442"/>
                    </a:cubicBezTo>
                    <a:cubicBezTo>
                      <a:pt x="143910" y="97825"/>
                      <a:pt x="153656" y="101359"/>
                      <a:pt x="151946" y="107742"/>
                    </a:cubicBezTo>
                    <a:cubicBezTo>
                      <a:pt x="157646" y="112074"/>
                      <a:pt x="165511" y="108825"/>
                      <a:pt x="172008" y="105975"/>
                    </a:cubicBezTo>
                    <a:cubicBezTo>
                      <a:pt x="178506" y="103126"/>
                      <a:pt x="187568" y="101701"/>
                      <a:pt x="191329" y="107685"/>
                    </a:cubicBezTo>
                    <a:cubicBezTo>
                      <a:pt x="192127" y="108996"/>
                      <a:pt x="192583" y="110535"/>
                      <a:pt x="193381" y="111789"/>
                    </a:cubicBezTo>
                    <a:cubicBezTo>
                      <a:pt x="195775" y="115437"/>
                      <a:pt x="200619" y="116235"/>
                      <a:pt x="204780" y="117773"/>
                    </a:cubicBezTo>
                    <a:cubicBezTo>
                      <a:pt x="208941" y="119312"/>
                      <a:pt x="213044" y="123473"/>
                      <a:pt x="211278" y="127348"/>
                    </a:cubicBezTo>
                    <a:lnTo>
                      <a:pt x="245474" y="123815"/>
                    </a:lnTo>
                    <a:cubicBezTo>
                      <a:pt x="246569" y="123570"/>
                      <a:pt x="247720" y="123706"/>
                      <a:pt x="248723" y="124214"/>
                    </a:cubicBezTo>
                    <a:cubicBezTo>
                      <a:pt x="249669" y="125091"/>
                      <a:pt x="250176" y="126345"/>
                      <a:pt x="250091" y="127634"/>
                    </a:cubicBezTo>
                    <a:cubicBezTo>
                      <a:pt x="250091" y="134758"/>
                      <a:pt x="244392" y="140514"/>
                      <a:pt x="241941" y="147069"/>
                    </a:cubicBezTo>
                    <a:cubicBezTo>
                      <a:pt x="238031" y="157071"/>
                      <a:pt x="240784" y="168453"/>
                      <a:pt x="248837" y="175566"/>
                    </a:cubicBezTo>
                    <a:cubicBezTo>
                      <a:pt x="251145" y="177190"/>
                      <a:pt x="253231" y="179105"/>
                      <a:pt x="255050" y="181265"/>
                    </a:cubicBezTo>
                    <a:cubicBezTo>
                      <a:pt x="256902" y="183517"/>
                      <a:pt x="256902" y="186766"/>
                      <a:pt x="255050" y="189017"/>
                    </a:cubicBezTo>
                    <a:cubicBezTo>
                      <a:pt x="253562" y="189860"/>
                      <a:pt x="252017" y="190601"/>
                      <a:pt x="250433" y="191239"/>
                    </a:cubicBezTo>
                    <a:cubicBezTo>
                      <a:pt x="245816" y="194032"/>
                      <a:pt x="247298" y="201214"/>
                      <a:pt x="250433" y="205773"/>
                    </a:cubicBezTo>
                    <a:cubicBezTo>
                      <a:pt x="253568" y="210333"/>
                      <a:pt x="257443" y="215291"/>
                      <a:pt x="256132" y="220535"/>
                    </a:cubicBezTo>
                    <a:cubicBezTo>
                      <a:pt x="254252" y="227146"/>
                      <a:pt x="245531" y="228286"/>
                      <a:pt x="238635" y="228172"/>
                    </a:cubicBezTo>
                    <a:lnTo>
                      <a:pt x="214184" y="227716"/>
                    </a:lnTo>
                    <a:cubicBezTo>
                      <a:pt x="208200" y="227716"/>
                      <a:pt x="200790" y="228343"/>
                      <a:pt x="198454" y="233872"/>
                    </a:cubicBezTo>
                    <a:cubicBezTo>
                      <a:pt x="197183" y="238106"/>
                      <a:pt x="198739" y="242689"/>
                      <a:pt x="202329" y="245271"/>
                    </a:cubicBezTo>
                    <a:cubicBezTo>
                      <a:pt x="205983" y="247738"/>
                      <a:pt x="210121" y="249391"/>
                      <a:pt x="214469" y="250115"/>
                    </a:cubicBezTo>
                    <a:cubicBezTo>
                      <a:pt x="214070" y="252338"/>
                      <a:pt x="213728" y="254561"/>
                      <a:pt x="213329" y="256727"/>
                    </a:cubicBezTo>
                    <a:cubicBezTo>
                      <a:pt x="206838" y="253894"/>
                      <a:pt x="199280" y="256858"/>
                      <a:pt x="196447" y="263349"/>
                    </a:cubicBezTo>
                    <a:cubicBezTo>
                      <a:pt x="195097" y="266438"/>
                      <a:pt x="195023" y="269938"/>
                      <a:pt x="196231" y="273084"/>
                    </a:cubicBezTo>
                    <a:cubicBezTo>
                      <a:pt x="198397" y="278783"/>
                      <a:pt x="204381" y="284483"/>
                      <a:pt x="200961" y="289270"/>
                    </a:cubicBezTo>
                    <a:cubicBezTo>
                      <a:pt x="207003" y="295654"/>
                      <a:pt x="209465" y="304636"/>
                      <a:pt x="207516" y="313208"/>
                    </a:cubicBezTo>
                    <a:cubicBezTo>
                      <a:pt x="206005" y="322897"/>
                      <a:pt x="201663" y="331920"/>
                      <a:pt x="195034" y="339141"/>
                    </a:cubicBezTo>
                    <a:cubicBezTo>
                      <a:pt x="194236" y="341649"/>
                      <a:pt x="190247" y="341193"/>
                      <a:pt x="188651" y="339141"/>
                    </a:cubicBezTo>
                    <a:cubicBezTo>
                      <a:pt x="187408" y="336833"/>
                      <a:pt x="186502" y="334359"/>
                      <a:pt x="185972" y="331788"/>
                    </a:cubicBezTo>
                    <a:cubicBezTo>
                      <a:pt x="183709" y="326385"/>
                      <a:pt x="177998" y="323279"/>
                      <a:pt x="172236" y="324322"/>
                    </a:cubicBezTo>
                    <a:cubicBezTo>
                      <a:pt x="169329" y="324949"/>
                      <a:pt x="166537" y="326659"/>
                      <a:pt x="163801" y="327058"/>
                    </a:cubicBezTo>
                    <a:cubicBezTo>
                      <a:pt x="158443" y="327799"/>
                      <a:pt x="153143" y="324265"/>
                      <a:pt x="147785" y="324949"/>
                    </a:cubicBezTo>
                    <a:cubicBezTo>
                      <a:pt x="143853" y="325462"/>
                      <a:pt x="140490" y="328141"/>
                      <a:pt x="136386" y="328426"/>
                    </a:cubicBezTo>
                    <a:cubicBezTo>
                      <a:pt x="129319" y="328996"/>
                      <a:pt x="124076" y="321929"/>
                      <a:pt x="121397" y="315317"/>
                    </a:cubicBezTo>
                    <a:cubicBezTo>
                      <a:pt x="118718" y="308706"/>
                      <a:pt x="116381" y="301125"/>
                      <a:pt x="109998" y="297820"/>
                    </a:cubicBezTo>
                    <a:cubicBezTo>
                      <a:pt x="106635" y="296053"/>
                      <a:pt x="102361" y="295711"/>
                      <a:pt x="99739" y="292918"/>
                    </a:cubicBezTo>
                    <a:cubicBezTo>
                      <a:pt x="97117" y="290125"/>
                      <a:pt x="97003" y="285680"/>
                      <a:pt x="94438" y="282887"/>
                    </a:cubicBezTo>
                    <a:cubicBezTo>
                      <a:pt x="89309" y="277188"/>
                      <a:pt x="77796" y="281006"/>
                      <a:pt x="73863" y="274452"/>
                    </a:cubicBezTo>
                    <a:cubicBezTo>
                      <a:pt x="72894" y="272913"/>
                      <a:pt x="72552" y="270918"/>
                      <a:pt x="71013" y="269892"/>
                    </a:cubicBezTo>
                    <a:cubicBezTo>
                      <a:pt x="69475" y="268866"/>
                      <a:pt x="66625" y="269892"/>
                      <a:pt x="64288" y="269892"/>
                    </a:cubicBezTo>
                    <a:cubicBezTo>
                      <a:pt x="56936" y="270291"/>
                      <a:pt x="52433" y="260716"/>
                      <a:pt x="45138" y="259918"/>
                    </a:cubicBezTo>
                    <a:cubicBezTo>
                      <a:pt x="41718" y="259519"/>
                      <a:pt x="38128" y="261115"/>
                      <a:pt x="34879" y="259918"/>
                    </a:cubicBezTo>
                    <a:cubicBezTo>
                      <a:pt x="31630" y="258721"/>
                      <a:pt x="29521" y="253820"/>
                      <a:pt x="28324" y="25022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0" name="Freihandform: Form 296">
                <a:extLst>
                  <a:ext uri="{FF2B5EF4-FFF2-40B4-BE49-F238E27FC236}">
                    <a16:creationId xmlns:a16="http://schemas.microsoft.com/office/drawing/2014/main" id="{F63D4515-ACDF-B294-50B9-3C61CC11A74B}"/>
                  </a:ext>
                </a:extLst>
              </p:cNvPr>
              <p:cNvSpPr/>
              <p:nvPr/>
            </p:nvSpPr>
            <p:spPr>
              <a:xfrm>
                <a:off x="2153058" y="3967718"/>
                <a:ext cx="298174" cy="272662"/>
              </a:xfrm>
              <a:custGeom>
                <a:avLst/>
                <a:gdLst>
                  <a:gd name="connsiteX0" fmla="*/ 136424 w 298174"/>
                  <a:gd name="connsiteY0" fmla="*/ 244678 h 272662"/>
                  <a:gd name="connsiteX1" fmla="*/ 139330 w 298174"/>
                  <a:gd name="connsiteY1" fmla="*/ 240461 h 272662"/>
                  <a:gd name="connsiteX2" fmla="*/ 133631 w 298174"/>
                  <a:gd name="connsiteY2" fmla="*/ 225699 h 272662"/>
                  <a:gd name="connsiteX3" fmla="*/ 133631 w 298174"/>
                  <a:gd name="connsiteY3" fmla="*/ 211166 h 272662"/>
                  <a:gd name="connsiteX4" fmla="*/ 138248 w 298174"/>
                  <a:gd name="connsiteY4" fmla="*/ 208943 h 272662"/>
                  <a:gd name="connsiteX5" fmla="*/ 138248 w 298174"/>
                  <a:gd name="connsiteY5" fmla="*/ 201191 h 272662"/>
                  <a:gd name="connsiteX6" fmla="*/ 132035 w 298174"/>
                  <a:gd name="connsiteY6" fmla="*/ 195492 h 272662"/>
                  <a:gd name="connsiteX7" fmla="*/ 125139 w 298174"/>
                  <a:gd name="connsiteY7" fmla="*/ 166995 h 272662"/>
                  <a:gd name="connsiteX8" fmla="*/ 133289 w 298174"/>
                  <a:gd name="connsiteY8" fmla="*/ 147559 h 272662"/>
                  <a:gd name="connsiteX9" fmla="*/ 131921 w 298174"/>
                  <a:gd name="connsiteY9" fmla="*/ 144140 h 272662"/>
                  <a:gd name="connsiteX10" fmla="*/ 128672 w 298174"/>
                  <a:gd name="connsiteY10" fmla="*/ 143741 h 272662"/>
                  <a:gd name="connsiteX11" fmla="*/ 94475 w 298174"/>
                  <a:gd name="connsiteY11" fmla="*/ 147274 h 272662"/>
                  <a:gd name="connsiteX12" fmla="*/ 87978 w 298174"/>
                  <a:gd name="connsiteY12" fmla="*/ 137699 h 272662"/>
                  <a:gd name="connsiteX13" fmla="*/ 76579 w 298174"/>
                  <a:gd name="connsiteY13" fmla="*/ 131715 h 272662"/>
                  <a:gd name="connsiteX14" fmla="*/ 74527 w 298174"/>
                  <a:gd name="connsiteY14" fmla="*/ 127611 h 272662"/>
                  <a:gd name="connsiteX15" fmla="*/ 55206 w 298174"/>
                  <a:gd name="connsiteY15" fmla="*/ 125901 h 272662"/>
                  <a:gd name="connsiteX16" fmla="*/ 35144 w 298174"/>
                  <a:gd name="connsiteY16" fmla="*/ 127668 h 272662"/>
                  <a:gd name="connsiteX17" fmla="*/ 25455 w 298174"/>
                  <a:gd name="connsiteY17" fmla="*/ 111368 h 272662"/>
                  <a:gd name="connsiteX18" fmla="*/ 26253 w 298174"/>
                  <a:gd name="connsiteY18" fmla="*/ 96492 h 272662"/>
                  <a:gd name="connsiteX19" fmla="*/ 22206 w 298174"/>
                  <a:gd name="connsiteY19" fmla="*/ 89881 h 272662"/>
                  <a:gd name="connsiteX20" fmla="*/ 20838 w 298174"/>
                  <a:gd name="connsiteY20" fmla="*/ 82585 h 272662"/>
                  <a:gd name="connsiteX21" fmla="*/ 8641 w 298174"/>
                  <a:gd name="connsiteY21" fmla="*/ 76886 h 272662"/>
                  <a:gd name="connsiteX22" fmla="*/ 377 w 298174"/>
                  <a:gd name="connsiteY22" fmla="*/ 67938 h 272662"/>
                  <a:gd name="connsiteX23" fmla="*/ 9610 w 298174"/>
                  <a:gd name="connsiteY23" fmla="*/ 61212 h 272662"/>
                  <a:gd name="connsiteX24" fmla="*/ 8527 w 298174"/>
                  <a:gd name="connsiteY24" fmla="*/ 48161 h 272662"/>
                  <a:gd name="connsiteX25" fmla="*/ 13771 w 298174"/>
                  <a:gd name="connsiteY25" fmla="*/ 37161 h 272662"/>
                  <a:gd name="connsiteX26" fmla="*/ 19471 w 298174"/>
                  <a:gd name="connsiteY26" fmla="*/ 35337 h 272662"/>
                  <a:gd name="connsiteX27" fmla="*/ 21978 w 298174"/>
                  <a:gd name="connsiteY27" fmla="*/ 28383 h 272662"/>
                  <a:gd name="connsiteX28" fmla="*/ 33662 w 298174"/>
                  <a:gd name="connsiteY28" fmla="*/ 21715 h 272662"/>
                  <a:gd name="connsiteX29" fmla="*/ 35372 w 298174"/>
                  <a:gd name="connsiteY29" fmla="*/ 22912 h 272662"/>
                  <a:gd name="connsiteX30" fmla="*/ 36398 w 298174"/>
                  <a:gd name="connsiteY30" fmla="*/ 32886 h 272662"/>
                  <a:gd name="connsiteX31" fmla="*/ 31382 w 298174"/>
                  <a:gd name="connsiteY31" fmla="*/ 37275 h 272662"/>
                  <a:gd name="connsiteX32" fmla="*/ 30926 w 298174"/>
                  <a:gd name="connsiteY32" fmla="*/ 41378 h 272662"/>
                  <a:gd name="connsiteX33" fmla="*/ 26310 w 298174"/>
                  <a:gd name="connsiteY33" fmla="*/ 52321 h 272662"/>
                  <a:gd name="connsiteX34" fmla="*/ 28932 w 298174"/>
                  <a:gd name="connsiteY34" fmla="*/ 65829 h 272662"/>
                  <a:gd name="connsiteX35" fmla="*/ 39875 w 298174"/>
                  <a:gd name="connsiteY35" fmla="*/ 68565 h 272662"/>
                  <a:gd name="connsiteX36" fmla="*/ 50989 w 298174"/>
                  <a:gd name="connsiteY36" fmla="*/ 73238 h 272662"/>
                  <a:gd name="connsiteX37" fmla="*/ 56688 w 298174"/>
                  <a:gd name="connsiteY37" fmla="*/ 59445 h 272662"/>
                  <a:gd name="connsiteX38" fmla="*/ 55491 w 298174"/>
                  <a:gd name="connsiteY38" fmla="*/ 53746 h 272662"/>
                  <a:gd name="connsiteX39" fmla="*/ 48652 w 298174"/>
                  <a:gd name="connsiteY39" fmla="*/ 48047 h 272662"/>
                  <a:gd name="connsiteX40" fmla="*/ 45688 w 298174"/>
                  <a:gd name="connsiteY40" fmla="*/ 40295 h 272662"/>
                  <a:gd name="connsiteX41" fmla="*/ 50875 w 298174"/>
                  <a:gd name="connsiteY41" fmla="*/ 36249 h 272662"/>
                  <a:gd name="connsiteX42" fmla="*/ 58968 w 298174"/>
                  <a:gd name="connsiteY42" fmla="*/ 23881 h 272662"/>
                  <a:gd name="connsiteX43" fmla="*/ 67745 w 298174"/>
                  <a:gd name="connsiteY43" fmla="*/ 23881 h 272662"/>
                  <a:gd name="connsiteX44" fmla="*/ 80113 w 298174"/>
                  <a:gd name="connsiteY44" fmla="*/ 17042 h 272662"/>
                  <a:gd name="connsiteX45" fmla="*/ 80113 w 298174"/>
                  <a:gd name="connsiteY45" fmla="*/ 6839 h 272662"/>
                  <a:gd name="connsiteX46" fmla="*/ 87009 w 298174"/>
                  <a:gd name="connsiteY46" fmla="*/ 0 h 272662"/>
                  <a:gd name="connsiteX47" fmla="*/ 88833 w 298174"/>
                  <a:gd name="connsiteY47" fmla="*/ 13565 h 272662"/>
                  <a:gd name="connsiteX48" fmla="*/ 89916 w 298174"/>
                  <a:gd name="connsiteY48" fmla="*/ 17042 h 272662"/>
                  <a:gd name="connsiteX49" fmla="*/ 98009 w 298174"/>
                  <a:gd name="connsiteY49" fmla="*/ 21943 h 272662"/>
                  <a:gd name="connsiteX50" fmla="*/ 99890 w 298174"/>
                  <a:gd name="connsiteY50" fmla="*/ 31689 h 272662"/>
                  <a:gd name="connsiteX51" fmla="*/ 104336 w 298174"/>
                  <a:gd name="connsiteY51" fmla="*/ 32829 h 272662"/>
                  <a:gd name="connsiteX52" fmla="*/ 107527 w 298174"/>
                  <a:gd name="connsiteY52" fmla="*/ 39326 h 272662"/>
                  <a:gd name="connsiteX53" fmla="*/ 118926 w 298174"/>
                  <a:gd name="connsiteY53" fmla="*/ 44171 h 272662"/>
                  <a:gd name="connsiteX54" fmla="*/ 120636 w 298174"/>
                  <a:gd name="connsiteY54" fmla="*/ 48275 h 272662"/>
                  <a:gd name="connsiteX55" fmla="*/ 134144 w 298174"/>
                  <a:gd name="connsiteY55" fmla="*/ 51922 h 272662"/>
                  <a:gd name="connsiteX56" fmla="*/ 153123 w 298174"/>
                  <a:gd name="connsiteY56" fmla="*/ 54373 h 272662"/>
                  <a:gd name="connsiteX57" fmla="*/ 167999 w 298174"/>
                  <a:gd name="connsiteY57" fmla="*/ 44285 h 272662"/>
                  <a:gd name="connsiteX58" fmla="*/ 173299 w 298174"/>
                  <a:gd name="connsiteY58" fmla="*/ 40181 h 272662"/>
                  <a:gd name="connsiteX59" fmla="*/ 176092 w 298174"/>
                  <a:gd name="connsiteY59" fmla="*/ 53347 h 272662"/>
                  <a:gd name="connsiteX60" fmla="*/ 187115 w 298174"/>
                  <a:gd name="connsiteY60" fmla="*/ 55758 h 272662"/>
                  <a:gd name="connsiteX61" fmla="*/ 187776 w 298174"/>
                  <a:gd name="connsiteY61" fmla="*/ 55285 h 272662"/>
                  <a:gd name="connsiteX62" fmla="*/ 248475 w 298174"/>
                  <a:gd name="connsiteY62" fmla="*/ 34824 h 272662"/>
                  <a:gd name="connsiteX63" fmla="*/ 237281 w 298174"/>
                  <a:gd name="connsiteY63" fmla="*/ 42005 h 272662"/>
                  <a:gd name="connsiteX64" fmla="*/ 236620 w 298174"/>
                  <a:gd name="connsiteY64" fmla="*/ 41834 h 272662"/>
                  <a:gd name="connsiteX65" fmla="*/ 237817 w 298174"/>
                  <a:gd name="connsiteY65" fmla="*/ 49528 h 272662"/>
                  <a:gd name="connsiteX66" fmla="*/ 246423 w 298174"/>
                  <a:gd name="connsiteY66" fmla="*/ 54601 h 272662"/>
                  <a:gd name="connsiteX67" fmla="*/ 245455 w 298174"/>
                  <a:gd name="connsiteY67" fmla="*/ 67710 h 272662"/>
                  <a:gd name="connsiteX68" fmla="*/ 248874 w 298174"/>
                  <a:gd name="connsiteY68" fmla="*/ 71756 h 272662"/>
                  <a:gd name="connsiteX69" fmla="*/ 260729 w 298174"/>
                  <a:gd name="connsiteY69" fmla="*/ 81674 h 272662"/>
                  <a:gd name="connsiteX70" fmla="*/ 286377 w 298174"/>
                  <a:gd name="connsiteY70" fmla="*/ 89425 h 272662"/>
                  <a:gd name="connsiteX71" fmla="*/ 294299 w 298174"/>
                  <a:gd name="connsiteY71" fmla="*/ 85663 h 272662"/>
                  <a:gd name="connsiteX72" fmla="*/ 298175 w 298174"/>
                  <a:gd name="connsiteY72" fmla="*/ 87886 h 272662"/>
                  <a:gd name="connsiteX73" fmla="*/ 287859 w 298174"/>
                  <a:gd name="connsiteY73" fmla="*/ 102534 h 272662"/>
                  <a:gd name="connsiteX74" fmla="*/ 279480 w 298174"/>
                  <a:gd name="connsiteY74" fmla="*/ 126243 h 272662"/>
                  <a:gd name="connsiteX75" fmla="*/ 274465 w 298174"/>
                  <a:gd name="connsiteY75" fmla="*/ 127782 h 272662"/>
                  <a:gd name="connsiteX76" fmla="*/ 272926 w 298174"/>
                  <a:gd name="connsiteY76" fmla="*/ 152404 h 272662"/>
                  <a:gd name="connsiteX77" fmla="*/ 280563 w 298174"/>
                  <a:gd name="connsiteY77" fmla="*/ 162948 h 272662"/>
                  <a:gd name="connsiteX78" fmla="*/ 283242 w 298174"/>
                  <a:gd name="connsiteY78" fmla="*/ 174917 h 272662"/>
                  <a:gd name="connsiteX79" fmla="*/ 273553 w 298174"/>
                  <a:gd name="connsiteY79" fmla="*/ 180958 h 272662"/>
                  <a:gd name="connsiteX80" fmla="*/ 267854 w 298174"/>
                  <a:gd name="connsiteY80" fmla="*/ 189849 h 272662"/>
                  <a:gd name="connsiteX81" fmla="*/ 250755 w 298174"/>
                  <a:gd name="connsiteY81" fmla="*/ 189849 h 272662"/>
                  <a:gd name="connsiteX82" fmla="*/ 246081 w 298174"/>
                  <a:gd name="connsiteY82" fmla="*/ 190704 h 272662"/>
                  <a:gd name="connsiteX83" fmla="*/ 242263 w 298174"/>
                  <a:gd name="connsiteY83" fmla="*/ 200564 h 272662"/>
                  <a:gd name="connsiteX84" fmla="*/ 234740 w 298174"/>
                  <a:gd name="connsiteY84" fmla="*/ 205238 h 272662"/>
                  <a:gd name="connsiteX85" fmla="*/ 231434 w 298174"/>
                  <a:gd name="connsiteY85" fmla="*/ 198798 h 272662"/>
                  <a:gd name="connsiteX86" fmla="*/ 222657 w 298174"/>
                  <a:gd name="connsiteY86" fmla="*/ 197145 h 272662"/>
                  <a:gd name="connsiteX87" fmla="*/ 218838 w 298174"/>
                  <a:gd name="connsiteY87" fmla="*/ 192756 h 272662"/>
                  <a:gd name="connsiteX88" fmla="*/ 200714 w 298174"/>
                  <a:gd name="connsiteY88" fmla="*/ 188767 h 272662"/>
                  <a:gd name="connsiteX89" fmla="*/ 201968 w 298174"/>
                  <a:gd name="connsiteY89" fmla="*/ 202730 h 272662"/>
                  <a:gd name="connsiteX90" fmla="*/ 203962 w 298174"/>
                  <a:gd name="connsiteY90" fmla="*/ 210824 h 272662"/>
                  <a:gd name="connsiteX91" fmla="*/ 219807 w 298174"/>
                  <a:gd name="connsiteY91" fmla="*/ 231342 h 272662"/>
                  <a:gd name="connsiteX92" fmla="*/ 215703 w 298174"/>
                  <a:gd name="connsiteY92" fmla="*/ 244336 h 272662"/>
                  <a:gd name="connsiteX93" fmla="*/ 203677 w 298174"/>
                  <a:gd name="connsiteY93" fmla="*/ 249067 h 272662"/>
                  <a:gd name="connsiteX94" fmla="*/ 203051 w 298174"/>
                  <a:gd name="connsiteY94" fmla="*/ 258072 h 272662"/>
                  <a:gd name="connsiteX95" fmla="*/ 194045 w 298174"/>
                  <a:gd name="connsiteY95" fmla="*/ 260979 h 272662"/>
                  <a:gd name="connsiteX96" fmla="*/ 188346 w 298174"/>
                  <a:gd name="connsiteY96" fmla="*/ 260466 h 272662"/>
                  <a:gd name="connsiteX97" fmla="*/ 183957 w 298174"/>
                  <a:gd name="connsiteY97" fmla="*/ 272663 h 272662"/>
                  <a:gd name="connsiteX98" fmla="*/ 161444 w 298174"/>
                  <a:gd name="connsiteY98" fmla="*/ 270212 h 272662"/>
                  <a:gd name="connsiteX99" fmla="*/ 153180 w 298174"/>
                  <a:gd name="connsiteY99" fmla="*/ 267818 h 272662"/>
                  <a:gd name="connsiteX100" fmla="*/ 150900 w 298174"/>
                  <a:gd name="connsiteY100" fmla="*/ 260295 h 272662"/>
                  <a:gd name="connsiteX101" fmla="*/ 136424 w 298174"/>
                  <a:gd name="connsiteY101" fmla="*/ 244678 h 27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8174" h="272662">
                    <a:moveTo>
                      <a:pt x="136424" y="244678"/>
                    </a:moveTo>
                    <a:cubicBezTo>
                      <a:pt x="137820" y="243618"/>
                      <a:pt x="138835" y="242142"/>
                      <a:pt x="139330" y="240461"/>
                    </a:cubicBezTo>
                    <a:cubicBezTo>
                      <a:pt x="140812" y="235217"/>
                      <a:pt x="136766" y="230259"/>
                      <a:pt x="133631" y="225699"/>
                    </a:cubicBezTo>
                    <a:cubicBezTo>
                      <a:pt x="130496" y="221140"/>
                      <a:pt x="129185" y="213958"/>
                      <a:pt x="133631" y="211166"/>
                    </a:cubicBezTo>
                    <a:cubicBezTo>
                      <a:pt x="135215" y="210527"/>
                      <a:pt x="136760" y="209786"/>
                      <a:pt x="138248" y="208943"/>
                    </a:cubicBezTo>
                    <a:cubicBezTo>
                      <a:pt x="140100" y="206691"/>
                      <a:pt x="140100" y="203443"/>
                      <a:pt x="138248" y="201191"/>
                    </a:cubicBezTo>
                    <a:cubicBezTo>
                      <a:pt x="136429" y="199031"/>
                      <a:pt x="134343" y="197116"/>
                      <a:pt x="132035" y="195492"/>
                    </a:cubicBezTo>
                    <a:cubicBezTo>
                      <a:pt x="123982" y="188379"/>
                      <a:pt x="121229" y="176997"/>
                      <a:pt x="125139" y="166995"/>
                    </a:cubicBezTo>
                    <a:cubicBezTo>
                      <a:pt x="127817" y="160440"/>
                      <a:pt x="133346" y="154684"/>
                      <a:pt x="133289" y="147559"/>
                    </a:cubicBezTo>
                    <a:cubicBezTo>
                      <a:pt x="133374" y="146271"/>
                      <a:pt x="132867" y="145017"/>
                      <a:pt x="131921" y="144140"/>
                    </a:cubicBezTo>
                    <a:cubicBezTo>
                      <a:pt x="130918" y="143633"/>
                      <a:pt x="129767" y="143496"/>
                      <a:pt x="128672" y="143741"/>
                    </a:cubicBezTo>
                    <a:lnTo>
                      <a:pt x="94475" y="147274"/>
                    </a:lnTo>
                    <a:cubicBezTo>
                      <a:pt x="96242" y="143342"/>
                      <a:pt x="92025" y="139181"/>
                      <a:pt x="87978" y="137699"/>
                    </a:cubicBezTo>
                    <a:cubicBezTo>
                      <a:pt x="83932" y="136217"/>
                      <a:pt x="79030" y="135362"/>
                      <a:pt x="76579" y="131715"/>
                    </a:cubicBezTo>
                    <a:cubicBezTo>
                      <a:pt x="75781" y="130461"/>
                      <a:pt x="75325" y="128922"/>
                      <a:pt x="74527" y="127611"/>
                    </a:cubicBezTo>
                    <a:cubicBezTo>
                      <a:pt x="70766" y="121627"/>
                      <a:pt x="61703" y="123109"/>
                      <a:pt x="55206" y="125901"/>
                    </a:cubicBezTo>
                    <a:cubicBezTo>
                      <a:pt x="48709" y="128694"/>
                      <a:pt x="40729" y="132000"/>
                      <a:pt x="35144" y="127668"/>
                    </a:cubicBezTo>
                    <a:cubicBezTo>
                      <a:pt x="36683" y="121285"/>
                      <a:pt x="27108" y="117751"/>
                      <a:pt x="25455" y="111368"/>
                    </a:cubicBezTo>
                    <a:cubicBezTo>
                      <a:pt x="24201" y="106523"/>
                      <a:pt x="28020" y="101223"/>
                      <a:pt x="26253" y="96492"/>
                    </a:cubicBezTo>
                    <a:cubicBezTo>
                      <a:pt x="25341" y="94041"/>
                      <a:pt x="23061" y="92332"/>
                      <a:pt x="22206" y="89881"/>
                    </a:cubicBezTo>
                    <a:cubicBezTo>
                      <a:pt x="21351" y="87430"/>
                      <a:pt x="21807" y="84865"/>
                      <a:pt x="20838" y="82585"/>
                    </a:cubicBezTo>
                    <a:cubicBezTo>
                      <a:pt x="18957" y="78311"/>
                      <a:pt x="13258" y="77798"/>
                      <a:pt x="8641" y="76886"/>
                    </a:cubicBezTo>
                    <a:cubicBezTo>
                      <a:pt x="4025" y="75974"/>
                      <a:pt x="-1504" y="72269"/>
                      <a:pt x="377" y="67938"/>
                    </a:cubicBezTo>
                    <a:cubicBezTo>
                      <a:pt x="4367" y="69705"/>
                      <a:pt x="8812" y="65544"/>
                      <a:pt x="9610" y="61212"/>
                    </a:cubicBezTo>
                    <a:cubicBezTo>
                      <a:pt x="9781" y="56835"/>
                      <a:pt x="9422" y="52452"/>
                      <a:pt x="8527" y="48161"/>
                    </a:cubicBezTo>
                    <a:cubicBezTo>
                      <a:pt x="7690" y="43744"/>
                      <a:pt x="9816" y="39292"/>
                      <a:pt x="13771" y="37161"/>
                    </a:cubicBezTo>
                    <a:cubicBezTo>
                      <a:pt x="15709" y="36477"/>
                      <a:pt x="18046" y="36705"/>
                      <a:pt x="19471" y="35337"/>
                    </a:cubicBezTo>
                    <a:cubicBezTo>
                      <a:pt x="20895" y="33969"/>
                      <a:pt x="21066" y="30720"/>
                      <a:pt x="21978" y="28383"/>
                    </a:cubicBezTo>
                    <a:cubicBezTo>
                      <a:pt x="23631" y="23938"/>
                      <a:pt x="28533" y="22684"/>
                      <a:pt x="33662" y="21715"/>
                    </a:cubicBezTo>
                    <a:cubicBezTo>
                      <a:pt x="34266" y="22063"/>
                      <a:pt x="34842" y="22462"/>
                      <a:pt x="35372" y="22912"/>
                    </a:cubicBezTo>
                    <a:cubicBezTo>
                      <a:pt x="38307" y="25437"/>
                      <a:pt x="38757" y="29814"/>
                      <a:pt x="36398" y="32886"/>
                    </a:cubicBezTo>
                    <a:cubicBezTo>
                      <a:pt x="34802" y="34482"/>
                      <a:pt x="32237" y="35223"/>
                      <a:pt x="31382" y="37275"/>
                    </a:cubicBezTo>
                    <a:cubicBezTo>
                      <a:pt x="31000" y="38608"/>
                      <a:pt x="30847" y="39993"/>
                      <a:pt x="30926" y="41378"/>
                    </a:cubicBezTo>
                    <a:cubicBezTo>
                      <a:pt x="30641" y="45368"/>
                      <a:pt x="27678" y="48560"/>
                      <a:pt x="26310" y="52321"/>
                    </a:cubicBezTo>
                    <a:cubicBezTo>
                      <a:pt x="24703" y="56966"/>
                      <a:pt x="25700" y="62119"/>
                      <a:pt x="28932" y="65829"/>
                    </a:cubicBezTo>
                    <a:cubicBezTo>
                      <a:pt x="32237" y="63492"/>
                      <a:pt x="36797" y="65829"/>
                      <a:pt x="39875" y="68565"/>
                    </a:cubicBezTo>
                    <a:cubicBezTo>
                      <a:pt x="42952" y="71300"/>
                      <a:pt x="46942" y="74264"/>
                      <a:pt x="50989" y="73238"/>
                    </a:cubicBezTo>
                    <a:cubicBezTo>
                      <a:pt x="56232" y="71813"/>
                      <a:pt x="57144" y="64860"/>
                      <a:pt x="56688" y="59445"/>
                    </a:cubicBezTo>
                    <a:cubicBezTo>
                      <a:pt x="56722" y="57479"/>
                      <a:pt x="56312" y="55530"/>
                      <a:pt x="55491" y="53746"/>
                    </a:cubicBezTo>
                    <a:cubicBezTo>
                      <a:pt x="53650" y="51375"/>
                      <a:pt x="51319" y="49432"/>
                      <a:pt x="48652" y="48047"/>
                    </a:cubicBezTo>
                    <a:cubicBezTo>
                      <a:pt x="46258" y="46223"/>
                      <a:pt x="44206" y="42917"/>
                      <a:pt x="45688" y="40295"/>
                    </a:cubicBezTo>
                    <a:cubicBezTo>
                      <a:pt x="47170" y="37674"/>
                      <a:pt x="49222" y="37674"/>
                      <a:pt x="50875" y="36249"/>
                    </a:cubicBezTo>
                    <a:cubicBezTo>
                      <a:pt x="54693" y="32943"/>
                      <a:pt x="54294" y="25705"/>
                      <a:pt x="58968" y="23881"/>
                    </a:cubicBezTo>
                    <a:cubicBezTo>
                      <a:pt x="61761" y="22798"/>
                      <a:pt x="64667" y="24280"/>
                      <a:pt x="67745" y="23881"/>
                    </a:cubicBezTo>
                    <a:cubicBezTo>
                      <a:pt x="72476" y="22798"/>
                      <a:pt x="75325" y="16357"/>
                      <a:pt x="80113" y="17042"/>
                    </a:cubicBezTo>
                    <a:cubicBezTo>
                      <a:pt x="79457" y="13673"/>
                      <a:pt x="79457" y="10208"/>
                      <a:pt x="80113" y="6839"/>
                    </a:cubicBezTo>
                    <a:cubicBezTo>
                      <a:pt x="80882" y="3408"/>
                      <a:pt x="83572" y="741"/>
                      <a:pt x="87009" y="0"/>
                    </a:cubicBezTo>
                    <a:cubicBezTo>
                      <a:pt x="87579" y="4503"/>
                      <a:pt x="88206" y="9005"/>
                      <a:pt x="88833" y="13565"/>
                    </a:cubicBezTo>
                    <a:cubicBezTo>
                      <a:pt x="88901" y="14796"/>
                      <a:pt x="89278" y="15987"/>
                      <a:pt x="89916" y="17042"/>
                    </a:cubicBezTo>
                    <a:cubicBezTo>
                      <a:pt x="91797" y="19606"/>
                      <a:pt x="96356" y="19150"/>
                      <a:pt x="98009" y="21943"/>
                    </a:cubicBezTo>
                    <a:cubicBezTo>
                      <a:pt x="99662" y="24736"/>
                      <a:pt x="97040" y="29751"/>
                      <a:pt x="99890" y="31689"/>
                    </a:cubicBezTo>
                    <a:cubicBezTo>
                      <a:pt x="101144" y="32544"/>
                      <a:pt x="102911" y="32202"/>
                      <a:pt x="104336" y="32829"/>
                    </a:cubicBezTo>
                    <a:cubicBezTo>
                      <a:pt x="106672" y="33798"/>
                      <a:pt x="107299" y="36819"/>
                      <a:pt x="107527" y="39326"/>
                    </a:cubicBezTo>
                    <a:cubicBezTo>
                      <a:pt x="111996" y="38033"/>
                      <a:pt x="116755" y="40056"/>
                      <a:pt x="118926" y="44171"/>
                    </a:cubicBezTo>
                    <a:cubicBezTo>
                      <a:pt x="119411" y="45573"/>
                      <a:pt x="119986" y="46941"/>
                      <a:pt x="120636" y="48275"/>
                    </a:cubicBezTo>
                    <a:cubicBezTo>
                      <a:pt x="123201" y="52492"/>
                      <a:pt x="129242" y="52435"/>
                      <a:pt x="134144" y="51922"/>
                    </a:cubicBezTo>
                    <a:cubicBezTo>
                      <a:pt x="140527" y="51181"/>
                      <a:pt x="146740" y="54544"/>
                      <a:pt x="153123" y="54373"/>
                    </a:cubicBezTo>
                    <a:cubicBezTo>
                      <a:pt x="159712" y="54487"/>
                      <a:pt x="165668" y="50452"/>
                      <a:pt x="167999" y="44285"/>
                    </a:cubicBezTo>
                    <a:cubicBezTo>
                      <a:pt x="168797" y="41264"/>
                      <a:pt x="172558" y="37218"/>
                      <a:pt x="173299" y="40181"/>
                    </a:cubicBezTo>
                    <a:cubicBezTo>
                      <a:pt x="172883" y="44752"/>
                      <a:pt x="173858" y="49340"/>
                      <a:pt x="176092" y="53347"/>
                    </a:cubicBezTo>
                    <a:cubicBezTo>
                      <a:pt x="178469" y="57058"/>
                      <a:pt x="183404" y="58135"/>
                      <a:pt x="187115" y="55758"/>
                    </a:cubicBezTo>
                    <a:cubicBezTo>
                      <a:pt x="187343" y="55610"/>
                      <a:pt x="187565" y="55456"/>
                      <a:pt x="187776" y="55285"/>
                    </a:cubicBezTo>
                    <a:cubicBezTo>
                      <a:pt x="203370" y="38825"/>
                      <a:pt x="226099" y="31165"/>
                      <a:pt x="248475" y="34824"/>
                    </a:cubicBezTo>
                    <a:cubicBezTo>
                      <a:pt x="247364" y="39896"/>
                      <a:pt x="242354" y="43111"/>
                      <a:pt x="237281" y="42005"/>
                    </a:cubicBezTo>
                    <a:cubicBezTo>
                      <a:pt x="237059" y="41954"/>
                      <a:pt x="236837" y="41897"/>
                      <a:pt x="236620" y="41834"/>
                    </a:cubicBezTo>
                    <a:cubicBezTo>
                      <a:pt x="233315" y="42518"/>
                      <a:pt x="234797" y="47990"/>
                      <a:pt x="237817" y="49528"/>
                    </a:cubicBezTo>
                    <a:cubicBezTo>
                      <a:pt x="240838" y="51067"/>
                      <a:pt x="244885" y="51523"/>
                      <a:pt x="246423" y="54601"/>
                    </a:cubicBezTo>
                    <a:cubicBezTo>
                      <a:pt x="248361" y="58648"/>
                      <a:pt x="243973" y="63492"/>
                      <a:pt x="245455" y="67710"/>
                    </a:cubicBezTo>
                    <a:cubicBezTo>
                      <a:pt x="246218" y="69334"/>
                      <a:pt x="247398" y="70730"/>
                      <a:pt x="248874" y="71756"/>
                    </a:cubicBezTo>
                    <a:lnTo>
                      <a:pt x="260729" y="81674"/>
                    </a:lnTo>
                    <a:cubicBezTo>
                      <a:pt x="268082" y="87772"/>
                      <a:pt x="278113" y="94155"/>
                      <a:pt x="286377" y="89425"/>
                    </a:cubicBezTo>
                    <a:cubicBezTo>
                      <a:pt x="288942" y="87943"/>
                      <a:pt x="291335" y="85378"/>
                      <a:pt x="294299" y="85663"/>
                    </a:cubicBezTo>
                    <a:cubicBezTo>
                      <a:pt x="295838" y="85846"/>
                      <a:pt x="297240" y="86649"/>
                      <a:pt x="298175" y="87886"/>
                    </a:cubicBezTo>
                    <a:cubicBezTo>
                      <a:pt x="295348" y="93175"/>
                      <a:pt x="291888" y="98094"/>
                      <a:pt x="287859" y="102534"/>
                    </a:cubicBezTo>
                    <a:cubicBezTo>
                      <a:pt x="292093" y="111396"/>
                      <a:pt x="288337" y="122009"/>
                      <a:pt x="279480" y="126243"/>
                    </a:cubicBezTo>
                    <a:cubicBezTo>
                      <a:pt x="277890" y="127001"/>
                      <a:pt x="276203" y="127520"/>
                      <a:pt x="274465" y="127782"/>
                    </a:cubicBezTo>
                    <a:cubicBezTo>
                      <a:pt x="276517" y="135875"/>
                      <a:pt x="270247" y="144539"/>
                      <a:pt x="272926" y="152404"/>
                    </a:cubicBezTo>
                    <a:cubicBezTo>
                      <a:pt x="274830" y="156342"/>
                      <a:pt x="277412" y="159916"/>
                      <a:pt x="280563" y="162948"/>
                    </a:cubicBezTo>
                    <a:cubicBezTo>
                      <a:pt x="283710" y="166077"/>
                      <a:pt x="284752" y="170745"/>
                      <a:pt x="283242" y="174917"/>
                    </a:cubicBezTo>
                    <a:cubicBezTo>
                      <a:pt x="281361" y="178337"/>
                      <a:pt x="277087" y="179419"/>
                      <a:pt x="273553" y="180958"/>
                    </a:cubicBezTo>
                    <a:cubicBezTo>
                      <a:pt x="270019" y="182497"/>
                      <a:pt x="266372" y="186316"/>
                      <a:pt x="267854" y="189849"/>
                    </a:cubicBezTo>
                    <a:lnTo>
                      <a:pt x="250755" y="189849"/>
                    </a:lnTo>
                    <a:cubicBezTo>
                      <a:pt x="249148" y="189724"/>
                      <a:pt x="247541" y="190020"/>
                      <a:pt x="246081" y="190704"/>
                    </a:cubicBezTo>
                    <a:cubicBezTo>
                      <a:pt x="242890" y="192528"/>
                      <a:pt x="243004" y="196974"/>
                      <a:pt x="242263" y="200564"/>
                    </a:cubicBezTo>
                    <a:cubicBezTo>
                      <a:pt x="241522" y="204155"/>
                      <a:pt x="237190" y="207917"/>
                      <a:pt x="234740" y="205238"/>
                    </a:cubicBezTo>
                    <a:cubicBezTo>
                      <a:pt x="237019" y="203300"/>
                      <a:pt x="234341" y="199539"/>
                      <a:pt x="231434" y="198798"/>
                    </a:cubicBezTo>
                    <a:cubicBezTo>
                      <a:pt x="228527" y="198057"/>
                      <a:pt x="225165" y="198798"/>
                      <a:pt x="222657" y="197145"/>
                    </a:cubicBezTo>
                    <a:cubicBezTo>
                      <a:pt x="221135" y="195919"/>
                      <a:pt x="219847" y="194432"/>
                      <a:pt x="218838" y="192756"/>
                    </a:cubicBezTo>
                    <a:cubicBezTo>
                      <a:pt x="214409" y="187450"/>
                      <a:pt x="206960" y="185814"/>
                      <a:pt x="200714" y="188767"/>
                    </a:cubicBezTo>
                    <a:cubicBezTo>
                      <a:pt x="200081" y="193457"/>
                      <a:pt x="200508" y="198228"/>
                      <a:pt x="201968" y="202730"/>
                    </a:cubicBezTo>
                    <a:lnTo>
                      <a:pt x="203962" y="210824"/>
                    </a:lnTo>
                    <a:cubicBezTo>
                      <a:pt x="206128" y="219886"/>
                      <a:pt x="210517" y="230829"/>
                      <a:pt x="219807" y="231342"/>
                    </a:cubicBezTo>
                    <a:cubicBezTo>
                      <a:pt x="219716" y="235975"/>
                      <a:pt x="218291" y="240489"/>
                      <a:pt x="215703" y="244336"/>
                    </a:cubicBezTo>
                    <a:cubicBezTo>
                      <a:pt x="213002" y="248178"/>
                      <a:pt x="208271" y="250036"/>
                      <a:pt x="203677" y="249067"/>
                    </a:cubicBezTo>
                    <a:cubicBezTo>
                      <a:pt x="205615" y="251843"/>
                      <a:pt x="205353" y="255593"/>
                      <a:pt x="203051" y="258072"/>
                    </a:cubicBezTo>
                    <a:cubicBezTo>
                      <a:pt x="200714" y="260466"/>
                      <a:pt x="197345" y="261554"/>
                      <a:pt x="194045" y="260979"/>
                    </a:cubicBezTo>
                    <a:cubicBezTo>
                      <a:pt x="192193" y="260449"/>
                      <a:pt x="190261" y="260272"/>
                      <a:pt x="188346" y="260466"/>
                    </a:cubicBezTo>
                    <a:cubicBezTo>
                      <a:pt x="183729" y="261606"/>
                      <a:pt x="183330" y="267989"/>
                      <a:pt x="183957" y="272663"/>
                    </a:cubicBezTo>
                    <a:lnTo>
                      <a:pt x="161444" y="270212"/>
                    </a:lnTo>
                    <a:cubicBezTo>
                      <a:pt x="158538" y="270098"/>
                      <a:pt x="155699" y="269277"/>
                      <a:pt x="153180" y="267818"/>
                    </a:cubicBezTo>
                    <a:cubicBezTo>
                      <a:pt x="150650" y="266234"/>
                      <a:pt x="149675" y="263019"/>
                      <a:pt x="150900" y="260295"/>
                    </a:cubicBezTo>
                    <a:cubicBezTo>
                      <a:pt x="143822" y="257753"/>
                      <a:pt x="138424" y="251928"/>
                      <a:pt x="136424" y="24467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1" name="Freihandform: Form 297">
                <a:extLst>
                  <a:ext uri="{FF2B5EF4-FFF2-40B4-BE49-F238E27FC236}">
                    <a16:creationId xmlns:a16="http://schemas.microsoft.com/office/drawing/2014/main" id="{31A56946-C6DC-B86A-2CF9-7987445BDD82}"/>
                  </a:ext>
                </a:extLst>
              </p:cNvPr>
              <p:cNvSpPr/>
              <p:nvPr/>
            </p:nvSpPr>
            <p:spPr>
              <a:xfrm>
                <a:off x="2426219" y="4055661"/>
                <a:ext cx="93852" cy="171991"/>
              </a:xfrm>
              <a:custGeom>
                <a:avLst/>
                <a:gdLst>
                  <a:gd name="connsiteX0" fmla="*/ 16522 w 93852"/>
                  <a:gd name="connsiteY0" fmla="*/ 84979 h 171991"/>
                  <a:gd name="connsiteX1" fmla="*/ 11735 w 93852"/>
                  <a:gd name="connsiteY1" fmla="*/ 82073 h 171991"/>
                  <a:gd name="connsiteX2" fmla="*/ 8315 w 93852"/>
                  <a:gd name="connsiteY2" fmla="*/ 75062 h 171991"/>
                  <a:gd name="connsiteX3" fmla="*/ 678 w 93852"/>
                  <a:gd name="connsiteY3" fmla="*/ 64518 h 171991"/>
                  <a:gd name="connsiteX4" fmla="*/ 2216 w 93852"/>
                  <a:gd name="connsiteY4" fmla="*/ 39896 h 171991"/>
                  <a:gd name="connsiteX5" fmla="*/ 17149 w 93852"/>
                  <a:gd name="connsiteY5" fmla="*/ 19663 h 171991"/>
                  <a:gd name="connsiteX6" fmla="*/ 15610 w 93852"/>
                  <a:gd name="connsiteY6" fmla="*/ 14648 h 171991"/>
                  <a:gd name="connsiteX7" fmla="*/ 25926 w 93852"/>
                  <a:gd name="connsiteY7" fmla="*/ 0 h 171991"/>
                  <a:gd name="connsiteX8" fmla="*/ 29574 w 93852"/>
                  <a:gd name="connsiteY8" fmla="*/ 4902 h 171991"/>
                  <a:gd name="connsiteX9" fmla="*/ 58926 w 93852"/>
                  <a:gd name="connsiteY9" fmla="*/ 22570 h 171991"/>
                  <a:gd name="connsiteX10" fmla="*/ 64284 w 93852"/>
                  <a:gd name="connsiteY10" fmla="*/ 43943 h 171991"/>
                  <a:gd name="connsiteX11" fmla="*/ 84916 w 93852"/>
                  <a:gd name="connsiteY11" fmla="*/ 48218 h 171991"/>
                  <a:gd name="connsiteX12" fmla="*/ 90957 w 93852"/>
                  <a:gd name="connsiteY12" fmla="*/ 59617 h 171991"/>
                  <a:gd name="connsiteX13" fmla="*/ 89361 w 93852"/>
                  <a:gd name="connsiteY13" fmla="*/ 71358 h 171991"/>
                  <a:gd name="connsiteX14" fmla="*/ 75341 w 93852"/>
                  <a:gd name="connsiteY14" fmla="*/ 86176 h 171991"/>
                  <a:gd name="connsiteX15" fmla="*/ 75797 w 93852"/>
                  <a:gd name="connsiteY15" fmla="*/ 103275 h 171991"/>
                  <a:gd name="connsiteX16" fmla="*/ 74201 w 93852"/>
                  <a:gd name="connsiteY16" fmla="*/ 108974 h 171991"/>
                  <a:gd name="connsiteX17" fmla="*/ 86056 w 93852"/>
                  <a:gd name="connsiteY17" fmla="*/ 124591 h 171991"/>
                  <a:gd name="connsiteX18" fmla="*/ 86683 w 93852"/>
                  <a:gd name="connsiteY18" fmla="*/ 131031 h 171991"/>
                  <a:gd name="connsiteX19" fmla="*/ 90444 w 93852"/>
                  <a:gd name="connsiteY19" fmla="*/ 137072 h 171991"/>
                  <a:gd name="connsiteX20" fmla="*/ 93636 w 93852"/>
                  <a:gd name="connsiteY20" fmla="*/ 149554 h 171991"/>
                  <a:gd name="connsiteX21" fmla="*/ 84574 w 93852"/>
                  <a:gd name="connsiteY21" fmla="*/ 157989 h 171991"/>
                  <a:gd name="connsiteX22" fmla="*/ 72662 w 93852"/>
                  <a:gd name="connsiteY22" fmla="*/ 159528 h 171991"/>
                  <a:gd name="connsiteX23" fmla="*/ 71693 w 93852"/>
                  <a:gd name="connsiteY23" fmla="*/ 169331 h 171991"/>
                  <a:gd name="connsiteX24" fmla="*/ 65025 w 93852"/>
                  <a:gd name="connsiteY24" fmla="*/ 171953 h 171991"/>
                  <a:gd name="connsiteX25" fmla="*/ 40688 w 93852"/>
                  <a:gd name="connsiteY25" fmla="*/ 161067 h 171991"/>
                  <a:gd name="connsiteX26" fmla="*/ 38921 w 93852"/>
                  <a:gd name="connsiteY26" fmla="*/ 156565 h 171991"/>
                  <a:gd name="connsiteX27" fmla="*/ 35330 w 93852"/>
                  <a:gd name="connsiteY27" fmla="*/ 153544 h 171991"/>
                  <a:gd name="connsiteX28" fmla="*/ 25926 w 93852"/>
                  <a:gd name="connsiteY28" fmla="*/ 147844 h 171991"/>
                  <a:gd name="connsiteX29" fmla="*/ 27123 w 93852"/>
                  <a:gd name="connsiteY29" fmla="*/ 125616 h 171991"/>
                  <a:gd name="connsiteX30" fmla="*/ 30600 w 93852"/>
                  <a:gd name="connsiteY30" fmla="*/ 97119 h 171991"/>
                  <a:gd name="connsiteX31" fmla="*/ 28434 w 93852"/>
                  <a:gd name="connsiteY31" fmla="*/ 94725 h 171991"/>
                  <a:gd name="connsiteX32" fmla="*/ 24102 w 93852"/>
                  <a:gd name="connsiteY32" fmla="*/ 94041 h 171991"/>
                  <a:gd name="connsiteX33" fmla="*/ 16522 w 93852"/>
                  <a:gd name="connsiteY33" fmla="*/ 84979 h 17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3852" h="171991">
                    <a:moveTo>
                      <a:pt x="16522" y="84979"/>
                    </a:moveTo>
                    <a:cubicBezTo>
                      <a:pt x="15223" y="83589"/>
                      <a:pt x="13564" y="82585"/>
                      <a:pt x="11735" y="82073"/>
                    </a:cubicBezTo>
                    <a:cubicBezTo>
                      <a:pt x="11222" y="79479"/>
                      <a:pt x="10042" y="77063"/>
                      <a:pt x="8315" y="75062"/>
                    </a:cubicBezTo>
                    <a:cubicBezTo>
                      <a:pt x="5163" y="72030"/>
                      <a:pt x="2581" y="68456"/>
                      <a:pt x="678" y="64518"/>
                    </a:cubicBezTo>
                    <a:cubicBezTo>
                      <a:pt x="-2001" y="56653"/>
                      <a:pt x="4268" y="47990"/>
                      <a:pt x="2216" y="39896"/>
                    </a:cubicBezTo>
                    <a:cubicBezTo>
                      <a:pt x="11928" y="38432"/>
                      <a:pt x="18614" y="29369"/>
                      <a:pt x="17149" y="19663"/>
                    </a:cubicBezTo>
                    <a:cubicBezTo>
                      <a:pt x="16887" y="17925"/>
                      <a:pt x="16368" y="16232"/>
                      <a:pt x="15610" y="14648"/>
                    </a:cubicBezTo>
                    <a:cubicBezTo>
                      <a:pt x="19640" y="10208"/>
                      <a:pt x="23099" y="5289"/>
                      <a:pt x="25926" y="0"/>
                    </a:cubicBezTo>
                    <a:cubicBezTo>
                      <a:pt x="27237" y="1482"/>
                      <a:pt x="28320" y="3363"/>
                      <a:pt x="29574" y="4902"/>
                    </a:cubicBezTo>
                    <a:cubicBezTo>
                      <a:pt x="36926" y="14021"/>
                      <a:pt x="54253" y="11855"/>
                      <a:pt x="58926" y="22570"/>
                    </a:cubicBezTo>
                    <a:cubicBezTo>
                      <a:pt x="61947" y="29523"/>
                      <a:pt x="58185" y="39668"/>
                      <a:pt x="64284" y="43943"/>
                    </a:cubicBezTo>
                    <a:cubicBezTo>
                      <a:pt x="70382" y="48218"/>
                      <a:pt x="80014" y="42917"/>
                      <a:pt x="84916" y="48218"/>
                    </a:cubicBezTo>
                    <a:cubicBezTo>
                      <a:pt x="87936" y="51466"/>
                      <a:pt x="87538" y="57394"/>
                      <a:pt x="90957" y="59617"/>
                    </a:cubicBezTo>
                    <a:cubicBezTo>
                      <a:pt x="90860" y="63578"/>
                      <a:pt x="90325" y="67516"/>
                      <a:pt x="89361" y="71358"/>
                    </a:cubicBezTo>
                    <a:cubicBezTo>
                      <a:pt x="87840" y="78539"/>
                      <a:pt x="82425" y="84261"/>
                      <a:pt x="75341" y="86176"/>
                    </a:cubicBezTo>
                    <a:cubicBezTo>
                      <a:pt x="77626" y="91619"/>
                      <a:pt x="77786" y="97718"/>
                      <a:pt x="75797" y="103275"/>
                    </a:cubicBezTo>
                    <a:cubicBezTo>
                      <a:pt x="74930" y="105064"/>
                      <a:pt x="74389" y="106996"/>
                      <a:pt x="74201" y="108974"/>
                    </a:cubicBezTo>
                    <a:cubicBezTo>
                      <a:pt x="74201" y="115642"/>
                      <a:pt x="84403" y="118036"/>
                      <a:pt x="86056" y="124591"/>
                    </a:cubicBezTo>
                    <a:cubicBezTo>
                      <a:pt x="86569" y="126699"/>
                      <a:pt x="86056" y="128922"/>
                      <a:pt x="86683" y="131031"/>
                    </a:cubicBezTo>
                    <a:cubicBezTo>
                      <a:pt x="87526" y="133271"/>
                      <a:pt x="88803" y="135328"/>
                      <a:pt x="90444" y="137072"/>
                    </a:cubicBezTo>
                    <a:cubicBezTo>
                      <a:pt x="93214" y="140600"/>
                      <a:pt x="94371" y="145131"/>
                      <a:pt x="93636" y="149554"/>
                    </a:cubicBezTo>
                    <a:cubicBezTo>
                      <a:pt x="92724" y="154011"/>
                      <a:pt x="89088" y="157402"/>
                      <a:pt x="84574" y="157989"/>
                    </a:cubicBezTo>
                    <a:cubicBezTo>
                      <a:pt x="80356" y="157989"/>
                      <a:pt x="74885" y="155938"/>
                      <a:pt x="72662" y="159528"/>
                    </a:cubicBezTo>
                    <a:cubicBezTo>
                      <a:pt x="70439" y="163119"/>
                      <a:pt x="73346" y="166425"/>
                      <a:pt x="71693" y="169331"/>
                    </a:cubicBezTo>
                    <a:cubicBezTo>
                      <a:pt x="70023" y="171224"/>
                      <a:pt x="67538" y="172204"/>
                      <a:pt x="65025" y="171953"/>
                    </a:cubicBezTo>
                    <a:cubicBezTo>
                      <a:pt x="55507" y="172238"/>
                      <a:pt x="44051" y="169958"/>
                      <a:pt x="40688" y="161067"/>
                    </a:cubicBezTo>
                    <a:cubicBezTo>
                      <a:pt x="40277" y="159500"/>
                      <a:pt x="39685" y="157989"/>
                      <a:pt x="38921" y="156565"/>
                    </a:cubicBezTo>
                    <a:cubicBezTo>
                      <a:pt x="37958" y="155311"/>
                      <a:pt x="36732" y="154279"/>
                      <a:pt x="35330" y="153544"/>
                    </a:cubicBezTo>
                    <a:lnTo>
                      <a:pt x="25926" y="147844"/>
                    </a:lnTo>
                    <a:cubicBezTo>
                      <a:pt x="25294" y="140418"/>
                      <a:pt x="25698" y="132935"/>
                      <a:pt x="27123" y="125616"/>
                    </a:cubicBezTo>
                    <a:cubicBezTo>
                      <a:pt x="29460" y="115984"/>
                      <a:pt x="35216" y="105725"/>
                      <a:pt x="30600" y="97119"/>
                    </a:cubicBezTo>
                    <a:cubicBezTo>
                      <a:pt x="30150" y="96116"/>
                      <a:pt x="29392" y="95278"/>
                      <a:pt x="28434" y="94725"/>
                    </a:cubicBezTo>
                    <a:cubicBezTo>
                      <a:pt x="27015" y="94349"/>
                      <a:pt x="25567" y="94121"/>
                      <a:pt x="24102" y="94041"/>
                    </a:cubicBezTo>
                    <a:cubicBezTo>
                      <a:pt x="20227" y="93015"/>
                      <a:pt x="19087" y="87886"/>
                      <a:pt x="16522" y="849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2" name="Freihandform: Form 298">
                <a:extLst>
                  <a:ext uri="{FF2B5EF4-FFF2-40B4-BE49-F238E27FC236}">
                    <a16:creationId xmlns:a16="http://schemas.microsoft.com/office/drawing/2014/main" id="{7AA0D7D4-8D3B-E599-AAD2-0308505EE444}"/>
                  </a:ext>
                </a:extLst>
              </p:cNvPr>
              <p:cNvSpPr/>
              <p:nvPr/>
            </p:nvSpPr>
            <p:spPr>
              <a:xfrm>
                <a:off x="2500420" y="4113777"/>
                <a:ext cx="88113" cy="103977"/>
              </a:xfrm>
              <a:custGeom>
                <a:avLst/>
                <a:gdLst>
                  <a:gd name="connsiteX0" fmla="*/ 19663 w 88113"/>
                  <a:gd name="connsiteY0" fmla="*/ 88247 h 103977"/>
                  <a:gd name="connsiteX1" fmla="*/ 16243 w 88113"/>
                  <a:gd name="connsiteY1" fmla="*/ 79127 h 103977"/>
                  <a:gd name="connsiteX2" fmla="*/ 12482 w 88113"/>
                  <a:gd name="connsiteY2" fmla="*/ 73086 h 103977"/>
                  <a:gd name="connsiteX3" fmla="*/ 11855 w 88113"/>
                  <a:gd name="connsiteY3" fmla="*/ 66645 h 103977"/>
                  <a:gd name="connsiteX4" fmla="*/ 0 w 88113"/>
                  <a:gd name="connsiteY4" fmla="*/ 51029 h 103977"/>
                  <a:gd name="connsiteX5" fmla="*/ 1596 w 88113"/>
                  <a:gd name="connsiteY5" fmla="*/ 45329 h 103977"/>
                  <a:gd name="connsiteX6" fmla="*/ 1140 w 88113"/>
                  <a:gd name="connsiteY6" fmla="*/ 28231 h 103977"/>
                  <a:gd name="connsiteX7" fmla="*/ 15160 w 88113"/>
                  <a:gd name="connsiteY7" fmla="*/ 13412 h 103977"/>
                  <a:gd name="connsiteX8" fmla="*/ 16756 w 88113"/>
                  <a:gd name="connsiteY8" fmla="*/ 1671 h 103977"/>
                  <a:gd name="connsiteX9" fmla="*/ 17497 w 88113"/>
                  <a:gd name="connsiteY9" fmla="*/ 2184 h 103977"/>
                  <a:gd name="connsiteX10" fmla="*/ 26559 w 88113"/>
                  <a:gd name="connsiteY10" fmla="*/ 1501 h 103977"/>
                  <a:gd name="connsiteX11" fmla="*/ 58249 w 88113"/>
                  <a:gd name="connsiteY11" fmla="*/ 5889 h 103977"/>
                  <a:gd name="connsiteX12" fmla="*/ 62751 w 88113"/>
                  <a:gd name="connsiteY12" fmla="*/ 873 h 103977"/>
                  <a:gd name="connsiteX13" fmla="*/ 74150 w 88113"/>
                  <a:gd name="connsiteY13" fmla="*/ 2982 h 103977"/>
                  <a:gd name="connsiteX14" fmla="*/ 88114 w 88113"/>
                  <a:gd name="connsiteY14" fmla="*/ 12159 h 103977"/>
                  <a:gd name="connsiteX15" fmla="*/ 78083 w 88113"/>
                  <a:gd name="connsiteY15" fmla="*/ 30568 h 103977"/>
                  <a:gd name="connsiteX16" fmla="*/ 73637 w 88113"/>
                  <a:gd name="connsiteY16" fmla="*/ 39573 h 103977"/>
                  <a:gd name="connsiteX17" fmla="*/ 76088 w 88113"/>
                  <a:gd name="connsiteY17" fmla="*/ 45899 h 103977"/>
                  <a:gd name="connsiteX18" fmla="*/ 78881 w 88113"/>
                  <a:gd name="connsiteY18" fmla="*/ 69609 h 103977"/>
                  <a:gd name="connsiteX19" fmla="*/ 72497 w 88113"/>
                  <a:gd name="connsiteY19" fmla="*/ 80039 h 103977"/>
                  <a:gd name="connsiteX20" fmla="*/ 68394 w 88113"/>
                  <a:gd name="connsiteY20" fmla="*/ 80039 h 103977"/>
                  <a:gd name="connsiteX21" fmla="*/ 65259 w 88113"/>
                  <a:gd name="connsiteY21" fmla="*/ 84770 h 103977"/>
                  <a:gd name="connsiteX22" fmla="*/ 61326 w 88113"/>
                  <a:gd name="connsiteY22" fmla="*/ 85967 h 103977"/>
                  <a:gd name="connsiteX23" fmla="*/ 40922 w 88113"/>
                  <a:gd name="connsiteY23" fmla="*/ 86879 h 103977"/>
                  <a:gd name="connsiteX24" fmla="*/ 40922 w 88113"/>
                  <a:gd name="connsiteY24" fmla="*/ 95827 h 103977"/>
                  <a:gd name="connsiteX25" fmla="*/ 37730 w 88113"/>
                  <a:gd name="connsiteY25" fmla="*/ 103635 h 103977"/>
                  <a:gd name="connsiteX26" fmla="*/ 33684 w 88113"/>
                  <a:gd name="connsiteY26" fmla="*/ 103635 h 103977"/>
                  <a:gd name="connsiteX27" fmla="*/ 19663 w 88113"/>
                  <a:gd name="connsiteY27" fmla="*/ 88247 h 1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113" h="103977">
                    <a:moveTo>
                      <a:pt x="19663" y="88247"/>
                    </a:moveTo>
                    <a:cubicBezTo>
                      <a:pt x="19429" y="84941"/>
                      <a:pt x="18244" y="81772"/>
                      <a:pt x="16243" y="79127"/>
                    </a:cubicBezTo>
                    <a:cubicBezTo>
                      <a:pt x="14602" y="77383"/>
                      <a:pt x="13325" y="75326"/>
                      <a:pt x="12482" y="73086"/>
                    </a:cubicBezTo>
                    <a:cubicBezTo>
                      <a:pt x="11912" y="70977"/>
                      <a:pt x="12482" y="68754"/>
                      <a:pt x="11855" y="66645"/>
                    </a:cubicBezTo>
                    <a:cubicBezTo>
                      <a:pt x="10202" y="60091"/>
                      <a:pt x="171" y="57697"/>
                      <a:pt x="0" y="51029"/>
                    </a:cubicBezTo>
                    <a:cubicBezTo>
                      <a:pt x="188" y="49051"/>
                      <a:pt x="729" y="47119"/>
                      <a:pt x="1596" y="45329"/>
                    </a:cubicBezTo>
                    <a:cubicBezTo>
                      <a:pt x="3585" y="39772"/>
                      <a:pt x="3425" y="33674"/>
                      <a:pt x="1140" y="28231"/>
                    </a:cubicBezTo>
                    <a:cubicBezTo>
                      <a:pt x="8224" y="26316"/>
                      <a:pt x="13639" y="20594"/>
                      <a:pt x="15160" y="13412"/>
                    </a:cubicBezTo>
                    <a:cubicBezTo>
                      <a:pt x="16124" y="9571"/>
                      <a:pt x="16659" y="5633"/>
                      <a:pt x="16756" y="1671"/>
                    </a:cubicBezTo>
                    <a:lnTo>
                      <a:pt x="17497" y="2184"/>
                    </a:lnTo>
                    <a:cubicBezTo>
                      <a:pt x="20290" y="3495"/>
                      <a:pt x="23482" y="1899"/>
                      <a:pt x="26559" y="1501"/>
                    </a:cubicBezTo>
                    <a:cubicBezTo>
                      <a:pt x="37673" y="76"/>
                      <a:pt x="50155" y="13697"/>
                      <a:pt x="58249" y="5889"/>
                    </a:cubicBezTo>
                    <a:cubicBezTo>
                      <a:pt x="59844" y="4350"/>
                      <a:pt x="60870" y="2070"/>
                      <a:pt x="62751" y="873"/>
                    </a:cubicBezTo>
                    <a:cubicBezTo>
                      <a:pt x="66171" y="-1235"/>
                      <a:pt x="70559" y="873"/>
                      <a:pt x="74150" y="2982"/>
                    </a:cubicBezTo>
                    <a:cubicBezTo>
                      <a:pt x="78881" y="5946"/>
                      <a:pt x="83497" y="9081"/>
                      <a:pt x="88114" y="12159"/>
                    </a:cubicBezTo>
                    <a:cubicBezTo>
                      <a:pt x="85840" y="18821"/>
                      <a:pt x="82443" y="25045"/>
                      <a:pt x="78083" y="30568"/>
                    </a:cubicBezTo>
                    <a:cubicBezTo>
                      <a:pt x="75564" y="32933"/>
                      <a:pt x="73985" y="36130"/>
                      <a:pt x="73637" y="39573"/>
                    </a:cubicBezTo>
                    <a:cubicBezTo>
                      <a:pt x="74013" y="41830"/>
                      <a:pt x="74845" y="43979"/>
                      <a:pt x="76088" y="45899"/>
                    </a:cubicBezTo>
                    <a:cubicBezTo>
                      <a:pt x="78966" y="53451"/>
                      <a:pt x="79924" y="61596"/>
                      <a:pt x="78881" y="69609"/>
                    </a:cubicBezTo>
                    <a:cubicBezTo>
                      <a:pt x="78881" y="74112"/>
                      <a:pt x="77057" y="80096"/>
                      <a:pt x="72497" y="80039"/>
                    </a:cubicBezTo>
                    <a:cubicBezTo>
                      <a:pt x="71129" y="80039"/>
                      <a:pt x="69648" y="79355"/>
                      <a:pt x="68394" y="80039"/>
                    </a:cubicBezTo>
                    <a:cubicBezTo>
                      <a:pt x="67140" y="80723"/>
                      <a:pt x="66684" y="83459"/>
                      <a:pt x="65259" y="84770"/>
                    </a:cubicBezTo>
                    <a:cubicBezTo>
                      <a:pt x="64119" y="85596"/>
                      <a:pt x="62734" y="86018"/>
                      <a:pt x="61326" y="85967"/>
                    </a:cubicBezTo>
                    <a:lnTo>
                      <a:pt x="40922" y="86879"/>
                    </a:lnTo>
                    <a:cubicBezTo>
                      <a:pt x="40329" y="89831"/>
                      <a:pt x="40329" y="92874"/>
                      <a:pt x="40922" y="95827"/>
                    </a:cubicBezTo>
                    <a:cubicBezTo>
                      <a:pt x="41572" y="98836"/>
                      <a:pt x="40301" y="101942"/>
                      <a:pt x="37730" y="103635"/>
                    </a:cubicBezTo>
                    <a:cubicBezTo>
                      <a:pt x="36420" y="104091"/>
                      <a:pt x="34995" y="104091"/>
                      <a:pt x="33684" y="103635"/>
                    </a:cubicBezTo>
                    <a:cubicBezTo>
                      <a:pt x="26730" y="101925"/>
                      <a:pt x="23938" y="94288"/>
                      <a:pt x="19663" y="8824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3" name="Freihandform: Form 299">
                <a:extLst>
                  <a:ext uri="{FF2B5EF4-FFF2-40B4-BE49-F238E27FC236}">
                    <a16:creationId xmlns:a16="http://schemas.microsoft.com/office/drawing/2014/main" id="{B5D627DB-D198-62B2-A62A-2C5BE343F976}"/>
                  </a:ext>
                </a:extLst>
              </p:cNvPr>
              <p:cNvSpPr/>
              <p:nvPr/>
            </p:nvSpPr>
            <p:spPr>
              <a:xfrm>
                <a:off x="2573145" y="4125936"/>
                <a:ext cx="61725" cy="86974"/>
              </a:xfrm>
              <a:custGeom>
                <a:avLst/>
                <a:gdLst>
                  <a:gd name="connsiteX0" fmla="*/ 2793 w 61725"/>
                  <a:gd name="connsiteY0" fmla="*/ 79736 h 86974"/>
                  <a:gd name="connsiteX1" fmla="*/ 0 w 61725"/>
                  <a:gd name="connsiteY1" fmla="*/ 67824 h 86974"/>
                  <a:gd name="connsiteX2" fmla="*/ 5985 w 61725"/>
                  <a:gd name="connsiteY2" fmla="*/ 57451 h 86974"/>
                  <a:gd name="connsiteX3" fmla="*/ 3192 w 61725"/>
                  <a:gd name="connsiteY3" fmla="*/ 33741 h 86974"/>
                  <a:gd name="connsiteX4" fmla="*/ 741 w 61725"/>
                  <a:gd name="connsiteY4" fmla="*/ 27414 h 86974"/>
                  <a:gd name="connsiteX5" fmla="*/ 5187 w 61725"/>
                  <a:gd name="connsiteY5" fmla="*/ 18409 h 86974"/>
                  <a:gd name="connsiteX6" fmla="*/ 15218 w 61725"/>
                  <a:gd name="connsiteY6" fmla="*/ 0 h 86974"/>
                  <a:gd name="connsiteX7" fmla="*/ 20005 w 61725"/>
                  <a:gd name="connsiteY7" fmla="*/ 3192 h 86974"/>
                  <a:gd name="connsiteX8" fmla="*/ 27529 w 61725"/>
                  <a:gd name="connsiteY8" fmla="*/ 8435 h 86974"/>
                  <a:gd name="connsiteX9" fmla="*/ 61725 w 61725"/>
                  <a:gd name="connsiteY9" fmla="*/ 42632 h 86974"/>
                  <a:gd name="connsiteX10" fmla="*/ 53461 w 61725"/>
                  <a:gd name="connsiteY10" fmla="*/ 45083 h 86974"/>
                  <a:gd name="connsiteX11" fmla="*/ 55507 w 61725"/>
                  <a:gd name="connsiteY11" fmla="*/ 52880 h 86974"/>
                  <a:gd name="connsiteX12" fmla="*/ 55627 w 61725"/>
                  <a:gd name="connsiteY12" fmla="*/ 52948 h 86974"/>
                  <a:gd name="connsiteX13" fmla="*/ 52036 w 61725"/>
                  <a:gd name="connsiteY13" fmla="*/ 59844 h 86974"/>
                  <a:gd name="connsiteX14" fmla="*/ 59788 w 61725"/>
                  <a:gd name="connsiteY14" fmla="*/ 60243 h 86974"/>
                  <a:gd name="connsiteX15" fmla="*/ 55855 w 61725"/>
                  <a:gd name="connsiteY15" fmla="*/ 62466 h 86974"/>
                  <a:gd name="connsiteX16" fmla="*/ 47420 w 61725"/>
                  <a:gd name="connsiteY16" fmla="*/ 66171 h 86974"/>
                  <a:gd name="connsiteX17" fmla="*/ 43259 w 61725"/>
                  <a:gd name="connsiteY17" fmla="*/ 67083 h 86974"/>
                  <a:gd name="connsiteX18" fmla="*/ 38129 w 61725"/>
                  <a:gd name="connsiteY18" fmla="*/ 74435 h 86974"/>
                  <a:gd name="connsiteX19" fmla="*/ 38928 w 61725"/>
                  <a:gd name="connsiteY19" fmla="*/ 83725 h 86974"/>
                  <a:gd name="connsiteX20" fmla="*/ 17383 w 61725"/>
                  <a:gd name="connsiteY20" fmla="*/ 83326 h 86974"/>
                  <a:gd name="connsiteX21" fmla="*/ 13679 w 61725"/>
                  <a:gd name="connsiteY21" fmla="*/ 86347 h 86974"/>
                  <a:gd name="connsiteX22" fmla="*/ 2793 w 61725"/>
                  <a:gd name="connsiteY22" fmla="*/ 79736 h 8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725" h="86974">
                    <a:moveTo>
                      <a:pt x="2793" y="79736"/>
                    </a:moveTo>
                    <a:cubicBezTo>
                      <a:pt x="1539" y="75860"/>
                      <a:pt x="1425" y="71585"/>
                      <a:pt x="0" y="67824"/>
                    </a:cubicBezTo>
                    <a:cubicBezTo>
                      <a:pt x="4218" y="67539"/>
                      <a:pt x="5699" y="61839"/>
                      <a:pt x="5985" y="57451"/>
                    </a:cubicBezTo>
                    <a:cubicBezTo>
                      <a:pt x="7027" y="49437"/>
                      <a:pt x="6070" y="41293"/>
                      <a:pt x="3192" y="33741"/>
                    </a:cubicBezTo>
                    <a:cubicBezTo>
                      <a:pt x="1949" y="31820"/>
                      <a:pt x="1117" y="29671"/>
                      <a:pt x="741" y="27414"/>
                    </a:cubicBezTo>
                    <a:cubicBezTo>
                      <a:pt x="1089" y="23972"/>
                      <a:pt x="2667" y="20775"/>
                      <a:pt x="5187" y="18409"/>
                    </a:cubicBezTo>
                    <a:cubicBezTo>
                      <a:pt x="9547" y="12886"/>
                      <a:pt x="12943" y="6663"/>
                      <a:pt x="15218" y="0"/>
                    </a:cubicBezTo>
                    <a:cubicBezTo>
                      <a:pt x="16814" y="1083"/>
                      <a:pt x="18466" y="2109"/>
                      <a:pt x="20005" y="3192"/>
                    </a:cubicBezTo>
                    <a:lnTo>
                      <a:pt x="27529" y="8435"/>
                    </a:lnTo>
                    <a:cubicBezTo>
                      <a:pt x="40751" y="17896"/>
                      <a:pt x="53974" y="28269"/>
                      <a:pt x="61725" y="42632"/>
                    </a:cubicBezTo>
                    <a:cubicBezTo>
                      <a:pt x="58733" y="41521"/>
                      <a:pt x="55365" y="42518"/>
                      <a:pt x="53461" y="45083"/>
                    </a:cubicBezTo>
                    <a:cubicBezTo>
                      <a:pt x="51871" y="47801"/>
                      <a:pt x="52788" y="51290"/>
                      <a:pt x="55507" y="52880"/>
                    </a:cubicBezTo>
                    <a:cubicBezTo>
                      <a:pt x="55547" y="52902"/>
                      <a:pt x="55587" y="52925"/>
                      <a:pt x="55627" y="52948"/>
                    </a:cubicBezTo>
                    <a:cubicBezTo>
                      <a:pt x="53136" y="54299"/>
                      <a:pt x="51717" y="57029"/>
                      <a:pt x="52036" y="59844"/>
                    </a:cubicBezTo>
                    <a:lnTo>
                      <a:pt x="59788" y="60243"/>
                    </a:lnTo>
                    <a:lnTo>
                      <a:pt x="55855" y="62466"/>
                    </a:lnTo>
                    <a:cubicBezTo>
                      <a:pt x="53256" y="64136"/>
                      <a:pt x="50412" y="65390"/>
                      <a:pt x="47420" y="66171"/>
                    </a:cubicBezTo>
                    <a:cubicBezTo>
                      <a:pt x="46006" y="66353"/>
                      <a:pt x="44615" y="66661"/>
                      <a:pt x="43259" y="67083"/>
                    </a:cubicBezTo>
                    <a:cubicBezTo>
                      <a:pt x="40369" y="68456"/>
                      <a:pt x="38420" y="71249"/>
                      <a:pt x="38129" y="74435"/>
                    </a:cubicBezTo>
                    <a:cubicBezTo>
                      <a:pt x="37856" y="77553"/>
                      <a:pt x="38124" y="80699"/>
                      <a:pt x="38928" y="83725"/>
                    </a:cubicBezTo>
                    <a:cubicBezTo>
                      <a:pt x="31689" y="85036"/>
                      <a:pt x="23368" y="78995"/>
                      <a:pt x="17383" y="83326"/>
                    </a:cubicBezTo>
                    <a:cubicBezTo>
                      <a:pt x="16215" y="84409"/>
                      <a:pt x="14978" y="85418"/>
                      <a:pt x="13679" y="86347"/>
                    </a:cubicBezTo>
                    <a:cubicBezTo>
                      <a:pt x="9347" y="88627"/>
                      <a:pt x="4332" y="84295"/>
                      <a:pt x="2793" y="7973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4" name="Freihandform: Form 300">
                <a:extLst>
                  <a:ext uri="{FF2B5EF4-FFF2-40B4-BE49-F238E27FC236}">
                    <a16:creationId xmlns:a16="http://schemas.microsoft.com/office/drawing/2014/main" id="{AFFF0967-01B7-19AA-BD72-74B817863D17}"/>
                  </a:ext>
                </a:extLst>
              </p:cNvPr>
              <p:cNvSpPr/>
              <p:nvPr/>
            </p:nvSpPr>
            <p:spPr>
              <a:xfrm>
                <a:off x="1987125" y="4228982"/>
                <a:ext cx="129093" cy="146327"/>
              </a:xfrm>
              <a:custGeom>
                <a:avLst/>
                <a:gdLst>
                  <a:gd name="connsiteX0" fmla="*/ 15617 w 129093"/>
                  <a:gd name="connsiteY0" fmla="*/ 115072 h 146327"/>
                  <a:gd name="connsiteX1" fmla="*/ 16358 w 129093"/>
                  <a:gd name="connsiteY1" fmla="*/ 115072 h 146327"/>
                  <a:gd name="connsiteX2" fmla="*/ 30720 w 129093"/>
                  <a:gd name="connsiteY2" fmla="*/ 96264 h 146327"/>
                  <a:gd name="connsiteX3" fmla="*/ 11399 w 129093"/>
                  <a:gd name="connsiteY3" fmla="*/ 86347 h 146327"/>
                  <a:gd name="connsiteX4" fmla="*/ 0 w 129093"/>
                  <a:gd name="connsiteY4" fmla="*/ 75803 h 146327"/>
                  <a:gd name="connsiteX5" fmla="*/ 4058 w 129093"/>
                  <a:gd name="connsiteY5" fmla="*/ 64757 h 146327"/>
                  <a:gd name="connsiteX6" fmla="*/ 0 w 129093"/>
                  <a:gd name="connsiteY6" fmla="*/ 60700 h 146327"/>
                  <a:gd name="connsiteX7" fmla="*/ 2337 w 129093"/>
                  <a:gd name="connsiteY7" fmla="*/ 48674 h 146327"/>
                  <a:gd name="connsiteX8" fmla="*/ 12368 w 129093"/>
                  <a:gd name="connsiteY8" fmla="*/ 46166 h 146327"/>
                  <a:gd name="connsiteX9" fmla="*/ 17098 w 129093"/>
                  <a:gd name="connsiteY9" fmla="*/ 30321 h 146327"/>
                  <a:gd name="connsiteX10" fmla="*/ 21772 w 129093"/>
                  <a:gd name="connsiteY10" fmla="*/ 29238 h 146327"/>
                  <a:gd name="connsiteX11" fmla="*/ 25249 w 129093"/>
                  <a:gd name="connsiteY11" fmla="*/ 18295 h 146327"/>
                  <a:gd name="connsiteX12" fmla="*/ 36021 w 129093"/>
                  <a:gd name="connsiteY12" fmla="*/ 1197 h 146327"/>
                  <a:gd name="connsiteX13" fmla="*/ 47705 w 129093"/>
                  <a:gd name="connsiteY13" fmla="*/ 3021 h 146327"/>
                  <a:gd name="connsiteX14" fmla="*/ 54487 w 129093"/>
                  <a:gd name="connsiteY14" fmla="*/ 0 h 146327"/>
                  <a:gd name="connsiteX15" fmla="*/ 78368 w 129093"/>
                  <a:gd name="connsiteY15" fmla="*/ 10088 h 146327"/>
                  <a:gd name="connsiteX16" fmla="*/ 84694 w 129093"/>
                  <a:gd name="connsiteY16" fmla="*/ 18922 h 146327"/>
                  <a:gd name="connsiteX17" fmla="*/ 94953 w 129093"/>
                  <a:gd name="connsiteY17" fmla="*/ 18922 h 146327"/>
                  <a:gd name="connsiteX18" fmla="*/ 114104 w 129093"/>
                  <a:gd name="connsiteY18" fmla="*/ 28896 h 146327"/>
                  <a:gd name="connsiteX19" fmla="*/ 120829 w 129093"/>
                  <a:gd name="connsiteY19" fmla="*/ 28896 h 146327"/>
                  <a:gd name="connsiteX20" fmla="*/ 123679 w 129093"/>
                  <a:gd name="connsiteY20" fmla="*/ 33456 h 146327"/>
                  <a:gd name="connsiteX21" fmla="*/ 129093 w 129093"/>
                  <a:gd name="connsiteY21" fmla="*/ 37104 h 146327"/>
                  <a:gd name="connsiteX22" fmla="*/ 124078 w 129093"/>
                  <a:gd name="connsiteY22" fmla="*/ 49016 h 146327"/>
                  <a:gd name="connsiteX23" fmla="*/ 120430 w 129093"/>
                  <a:gd name="connsiteY23" fmla="*/ 56938 h 146327"/>
                  <a:gd name="connsiteX24" fmla="*/ 121114 w 129093"/>
                  <a:gd name="connsiteY24" fmla="*/ 65715 h 146327"/>
                  <a:gd name="connsiteX25" fmla="*/ 104015 w 129093"/>
                  <a:gd name="connsiteY25" fmla="*/ 77741 h 146327"/>
                  <a:gd name="connsiteX26" fmla="*/ 99496 w 129093"/>
                  <a:gd name="connsiteY26" fmla="*/ 92708 h 146327"/>
                  <a:gd name="connsiteX27" fmla="*/ 99000 w 129093"/>
                  <a:gd name="connsiteY27" fmla="*/ 92958 h 146327"/>
                  <a:gd name="connsiteX28" fmla="*/ 84010 w 129093"/>
                  <a:gd name="connsiteY28" fmla="*/ 96777 h 146327"/>
                  <a:gd name="connsiteX29" fmla="*/ 80648 w 129093"/>
                  <a:gd name="connsiteY29" fmla="*/ 100140 h 146327"/>
                  <a:gd name="connsiteX30" fmla="*/ 63891 w 129093"/>
                  <a:gd name="connsiteY30" fmla="*/ 104471 h 146327"/>
                  <a:gd name="connsiteX31" fmla="*/ 61953 w 129093"/>
                  <a:gd name="connsiteY31" fmla="*/ 110171 h 146327"/>
                  <a:gd name="connsiteX32" fmla="*/ 57052 w 129093"/>
                  <a:gd name="connsiteY32" fmla="*/ 114331 h 146327"/>
                  <a:gd name="connsiteX33" fmla="*/ 59673 w 129093"/>
                  <a:gd name="connsiteY33" fmla="*/ 127098 h 146327"/>
                  <a:gd name="connsiteX34" fmla="*/ 50384 w 129093"/>
                  <a:gd name="connsiteY34" fmla="*/ 131487 h 146327"/>
                  <a:gd name="connsiteX35" fmla="*/ 51124 w 129093"/>
                  <a:gd name="connsiteY35" fmla="*/ 146248 h 146327"/>
                  <a:gd name="connsiteX36" fmla="*/ 39725 w 129093"/>
                  <a:gd name="connsiteY36" fmla="*/ 146248 h 146327"/>
                  <a:gd name="connsiteX37" fmla="*/ 35907 w 129093"/>
                  <a:gd name="connsiteY37" fmla="*/ 143838 h 146327"/>
                  <a:gd name="connsiteX38" fmla="*/ 35850 w 129093"/>
                  <a:gd name="connsiteY38" fmla="*/ 142772 h 146327"/>
                  <a:gd name="connsiteX39" fmla="*/ 34767 w 129093"/>
                  <a:gd name="connsiteY39" fmla="*/ 133482 h 146327"/>
                  <a:gd name="connsiteX40" fmla="*/ 27073 w 129093"/>
                  <a:gd name="connsiteY40" fmla="*/ 138212 h 146327"/>
                  <a:gd name="connsiteX41" fmla="*/ 17857 w 129093"/>
                  <a:gd name="connsiteY41" fmla="*/ 135283 h 146327"/>
                  <a:gd name="connsiteX42" fmla="*/ 17725 w 129093"/>
                  <a:gd name="connsiteY42" fmla="*/ 135021 h 146327"/>
                  <a:gd name="connsiteX43" fmla="*/ 16585 w 129093"/>
                  <a:gd name="connsiteY43" fmla="*/ 124078 h 146327"/>
                  <a:gd name="connsiteX44" fmla="*/ 15617 w 129093"/>
                  <a:gd name="connsiteY44" fmla="*/ 115072 h 14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9093" h="146327">
                    <a:moveTo>
                      <a:pt x="15617" y="115072"/>
                    </a:moveTo>
                    <a:lnTo>
                      <a:pt x="16358" y="115072"/>
                    </a:lnTo>
                    <a:cubicBezTo>
                      <a:pt x="24736" y="114104"/>
                      <a:pt x="28839" y="104471"/>
                      <a:pt x="30720" y="96264"/>
                    </a:cubicBezTo>
                    <a:cubicBezTo>
                      <a:pt x="22627" y="96606"/>
                      <a:pt x="11627" y="94497"/>
                      <a:pt x="11399" y="86347"/>
                    </a:cubicBezTo>
                    <a:cubicBezTo>
                      <a:pt x="5420" y="86364"/>
                      <a:pt x="450" y="81765"/>
                      <a:pt x="0" y="75803"/>
                    </a:cubicBezTo>
                    <a:cubicBezTo>
                      <a:pt x="4172" y="73871"/>
                      <a:pt x="5985" y="68930"/>
                      <a:pt x="4058" y="64757"/>
                    </a:cubicBezTo>
                    <a:cubicBezTo>
                      <a:pt x="3226" y="62968"/>
                      <a:pt x="1790" y="61526"/>
                      <a:pt x="0" y="60700"/>
                    </a:cubicBezTo>
                    <a:cubicBezTo>
                      <a:pt x="1539" y="56875"/>
                      <a:pt x="2331" y="52794"/>
                      <a:pt x="2337" y="48674"/>
                    </a:cubicBezTo>
                    <a:lnTo>
                      <a:pt x="12368" y="46166"/>
                    </a:lnTo>
                    <a:cubicBezTo>
                      <a:pt x="11228" y="40466"/>
                      <a:pt x="11342" y="32145"/>
                      <a:pt x="17098" y="30321"/>
                    </a:cubicBezTo>
                    <a:cubicBezTo>
                      <a:pt x="18671" y="30042"/>
                      <a:pt x="20233" y="29683"/>
                      <a:pt x="21772" y="29238"/>
                    </a:cubicBezTo>
                    <a:cubicBezTo>
                      <a:pt x="25477" y="27529"/>
                      <a:pt x="25306" y="22342"/>
                      <a:pt x="25249" y="18295"/>
                    </a:cubicBezTo>
                    <a:cubicBezTo>
                      <a:pt x="25249" y="10829"/>
                      <a:pt x="28611" y="1881"/>
                      <a:pt x="36021" y="1197"/>
                    </a:cubicBezTo>
                    <a:cubicBezTo>
                      <a:pt x="39959" y="1470"/>
                      <a:pt x="43869" y="2080"/>
                      <a:pt x="47705" y="3021"/>
                    </a:cubicBezTo>
                    <a:cubicBezTo>
                      <a:pt x="50309" y="3101"/>
                      <a:pt x="52806" y="1989"/>
                      <a:pt x="54487" y="0"/>
                    </a:cubicBezTo>
                    <a:cubicBezTo>
                      <a:pt x="61657" y="4987"/>
                      <a:pt x="69790" y="8424"/>
                      <a:pt x="78368" y="10088"/>
                    </a:cubicBezTo>
                    <a:cubicBezTo>
                      <a:pt x="79565" y="13679"/>
                      <a:pt x="81161" y="17668"/>
                      <a:pt x="84694" y="18922"/>
                    </a:cubicBezTo>
                    <a:cubicBezTo>
                      <a:pt x="88228" y="20176"/>
                      <a:pt x="91534" y="18523"/>
                      <a:pt x="94953" y="18922"/>
                    </a:cubicBezTo>
                    <a:cubicBezTo>
                      <a:pt x="102249" y="19720"/>
                      <a:pt x="106751" y="29295"/>
                      <a:pt x="114104" y="28896"/>
                    </a:cubicBezTo>
                    <a:cubicBezTo>
                      <a:pt x="116440" y="28896"/>
                      <a:pt x="118948" y="27756"/>
                      <a:pt x="120829" y="28896"/>
                    </a:cubicBezTo>
                    <a:cubicBezTo>
                      <a:pt x="122710" y="30036"/>
                      <a:pt x="122710" y="31917"/>
                      <a:pt x="123679" y="33456"/>
                    </a:cubicBezTo>
                    <a:cubicBezTo>
                      <a:pt x="124927" y="35343"/>
                      <a:pt x="126876" y="36659"/>
                      <a:pt x="129093" y="37104"/>
                    </a:cubicBezTo>
                    <a:cubicBezTo>
                      <a:pt x="127959" y="41281"/>
                      <a:pt x="126272" y="45288"/>
                      <a:pt x="124078" y="49016"/>
                    </a:cubicBezTo>
                    <a:cubicBezTo>
                      <a:pt x="122328" y="51375"/>
                      <a:pt x="121085" y="54077"/>
                      <a:pt x="120430" y="56938"/>
                    </a:cubicBezTo>
                    <a:cubicBezTo>
                      <a:pt x="120088" y="59902"/>
                      <a:pt x="121342" y="62637"/>
                      <a:pt x="121114" y="65715"/>
                    </a:cubicBezTo>
                    <a:cubicBezTo>
                      <a:pt x="120430" y="73124"/>
                      <a:pt x="111539" y="76259"/>
                      <a:pt x="104015" y="77741"/>
                    </a:cubicBezTo>
                    <a:cubicBezTo>
                      <a:pt x="106899" y="83121"/>
                      <a:pt x="104876" y="89824"/>
                      <a:pt x="99496" y="92708"/>
                    </a:cubicBezTo>
                    <a:cubicBezTo>
                      <a:pt x="99330" y="92799"/>
                      <a:pt x="99165" y="92879"/>
                      <a:pt x="99000" y="92958"/>
                    </a:cubicBezTo>
                    <a:cubicBezTo>
                      <a:pt x="94155" y="94953"/>
                      <a:pt x="88000" y="93414"/>
                      <a:pt x="84010" y="96777"/>
                    </a:cubicBezTo>
                    <a:cubicBezTo>
                      <a:pt x="82944" y="97957"/>
                      <a:pt x="81827" y="99074"/>
                      <a:pt x="80648" y="100140"/>
                    </a:cubicBezTo>
                    <a:cubicBezTo>
                      <a:pt x="75746" y="103617"/>
                      <a:pt x="66855" y="99228"/>
                      <a:pt x="63891" y="104471"/>
                    </a:cubicBezTo>
                    <a:cubicBezTo>
                      <a:pt x="62922" y="106181"/>
                      <a:pt x="63093" y="108518"/>
                      <a:pt x="61953" y="110171"/>
                    </a:cubicBezTo>
                    <a:cubicBezTo>
                      <a:pt x="60813" y="111824"/>
                      <a:pt x="58135" y="112451"/>
                      <a:pt x="57052" y="114331"/>
                    </a:cubicBezTo>
                    <a:cubicBezTo>
                      <a:pt x="54886" y="118264"/>
                      <a:pt x="61497" y="122938"/>
                      <a:pt x="59673" y="127098"/>
                    </a:cubicBezTo>
                    <a:lnTo>
                      <a:pt x="50384" y="131487"/>
                    </a:lnTo>
                    <a:lnTo>
                      <a:pt x="51124" y="146248"/>
                    </a:lnTo>
                    <a:lnTo>
                      <a:pt x="39725" y="146248"/>
                    </a:lnTo>
                    <a:cubicBezTo>
                      <a:pt x="38004" y="146636"/>
                      <a:pt x="36294" y="145559"/>
                      <a:pt x="35907" y="143838"/>
                    </a:cubicBezTo>
                    <a:cubicBezTo>
                      <a:pt x="35827" y="143490"/>
                      <a:pt x="35810" y="143131"/>
                      <a:pt x="35850" y="142772"/>
                    </a:cubicBezTo>
                    <a:cubicBezTo>
                      <a:pt x="35508" y="139694"/>
                      <a:pt x="35109" y="136616"/>
                      <a:pt x="34767" y="133482"/>
                    </a:cubicBezTo>
                    <a:cubicBezTo>
                      <a:pt x="32202" y="131316"/>
                      <a:pt x="29751" y="136218"/>
                      <a:pt x="27073" y="138212"/>
                    </a:cubicBezTo>
                    <a:cubicBezTo>
                      <a:pt x="23716" y="139951"/>
                      <a:pt x="19589" y="138640"/>
                      <a:pt x="17857" y="135283"/>
                    </a:cubicBezTo>
                    <a:cubicBezTo>
                      <a:pt x="17811" y="135197"/>
                      <a:pt x="17765" y="135106"/>
                      <a:pt x="17725" y="135021"/>
                    </a:cubicBezTo>
                    <a:cubicBezTo>
                      <a:pt x="16346" y="131550"/>
                      <a:pt x="15953" y="127759"/>
                      <a:pt x="16585" y="124078"/>
                    </a:cubicBezTo>
                    <a:cubicBezTo>
                      <a:pt x="16848" y="121040"/>
                      <a:pt x="16523" y="117985"/>
                      <a:pt x="15617" y="115072"/>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5" name="Freihandform: Form 301">
                <a:extLst>
                  <a:ext uri="{FF2B5EF4-FFF2-40B4-BE49-F238E27FC236}">
                    <a16:creationId xmlns:a16="http://schemas.microsoft.com/office/drawing/2014/main" id="{628423AA-ED6F-D400-4966-15946B97348B}"/>
                  </a:ext>
                </a:extLst>
              </p:cNvPr>
              <p:cNvSpPr/>
              <p:nvPr/>
            </p:nvSpPr>
            <p:spPr>
              <a:xfrm>
                <a:off x="1981239" y="4266200"/>
                <a:ext cx="277347" cy="434698"/>
              </a:xfrm>
              <a:custGeom>
                <a:avLst/>
                <a:gdLst>
                  <a:gd name="connsiteX0" fmla="*/ 242699 w 277347"/>
                  <a:gd name="connsiteY0" fmla="*/ 434699 h 434698"/>
                  <a:gd name="connsiteX1" fmla="*/ 239108 w 277347"/>
                  <a:gd name="connsiteY1" fmla="*/ 428999 h 434698"/>
                  <a:gd name="connsiteX2" fmla="*/ 225886 w 277347"/>
                  <a:gd name="connsiteY2" fmla="*/ 422103 h 434698"/>
                  <a:gd name="connsiteX3" fmla="*/ 217849 w 277347"/>
                  <a:gd name="connsiteY3" fmla="*/ 413041 h 434698"/>
                  <a:gd name="connsiteX4" fmla="*/ 197559 w 277347"/>
                  <a:gd name="connsiteY4" fmla="*/ 395942 h 434698"/>
                  <a:gd name="connsiteX5" fmla="*/ 183083 w 277347"/>
                  <a:gd name="connsiteY5" fmla="*/ 391497 h 434698"/>
                  <a:gd name="connsiteX6" fmla="*/ 181430 w 277347"/>
                  <a:gd name="connsiteY6" fmla="*/ 385798 h 434698"/>
                  <a:gd name="connsiteX7" fmla="*/ 149741 w 277347"/>
                  <a:gd name="connsiteY7" fmla="*/ 367388 h 434698"/>
                  <a:gd name="connsiteX8" fmla="*/ 139197 w 277347"/>
                  <a:gd name="connsiteY8" fmla="*/ 351657 h 434698"/>
                  <a:gd name="connsiteX9" fmla="*/ 128596 w 277347"/>
                  <a:gd name="connsiteY9" fmla="*/ 344020 h 434698"/>
                  <a:gd name="connsiteX10" fmla="*/ 125860 w 277347"/>
                  <a:gd name="connsiteY10" fmla="*/ 334445 h 434698"/>
                  <a:gd name="connsiteX11" fmla="*/ 107451 w 277347"/>
                  <a:gd name="connsiteY11" fmla="*/ 287368 h 434698"/>
                  <a:gd name="connsiteX12" fmla="*/ 98958 w 277347"/>
                  <a:gd name="connsiteY12" fmla="*/ 274373 h 434698"/>
                  <a:gd name="connsiteX13" fmla="*/ 96280 w 277347"/>
                  <a:gd name="connsiteY13" fmla="*/ 238352 h 434698"/>
                  <a:gd name="connsiteX14" fmla="*/ 94684 w 277347"/>
                  <a:gd name="connsiteY14" fmla="*/ 231342 h 434698"/>
                  <a:gd name="connsiteX15" fmla="*/ 75932 w 277347"/>
                  <a:gd name="connsiteY15" fmla="*/ 222223 h 434698"/>
                  <a:gd name="connsiteX16" fmla="*/ 55870 w 277347"/>
                  <a:gd name="connsiteY16" fmla="*/ 195720 h 434698"/>
                  <a:gd name="connsiteX17" fmla="*/ 39969 w 277347"/>
                  <a:gd name="connsiteY17" fmla="*/ 165798 h 434698"/>
                  <a:gd name="connsiteX18" fmla="*/ 30109 w 277347"/>
                  <a:gd name="connsiteY18" fmla="*/ 157248 h 434698"/>
                  <a:gd name="connsiteX19" fmla="*/ 26518 w 277347"/>
                  <a:gd name="connsiteY19" fmla="*/ 150580 h 434698"/>
                  <a:gd name="connsiteX20" fmla="*/ 10161 w 277347"/>
                  <a:gd name="connsiteY20" fmla="*/ 139523 h 434698"/>
                  <a:gd name="connsiteX21" fmla="*/ 243 w 277347"/>
                  <a:gd name="connsiteY21" fmla="*/ 123850 h 434698"/>
                  <a:gd name="connsiteX22" fmla="*/ 13523 w 277347"/>
                  <a:gd name="connsiteY22" fmla="*/ 120031 h 434698"/>
                  <a:gd name="connsiteX23" fmla="*/ 4917 w 277347"/>
                  <a:gd name="connsiteY23" fmla="*/ 90280 h 434698"/>
                  <a:gd name="connsiteX24" fmla="*/ 12839 w 277347"/>
                  <a:gd name="connsiteY24" fmla="*/ 78026 h 434698"/>
                  <a:gd name="connsiteX25" fmla="*/ 21503 w 277347"/>
                  <a:gd name="connsiteY25" fmla="*/ 78026 h 434698"/>
                  <a:gd name="connsiteX26" fmla="*/ 22129 w 277347"/>
                  <a:gd name="connsiteY26" fmla="*/ 86974 h 434698"/>
                  <a:gd name="connsiteX27" fmla="*/ 23269 w 277347"/>
                  <a:gd name="connsiteY27" fmla="*/ 97917 h 434698"/>
                  <a:gd name="connsiteX28" fmla="*/ 32354 w 277347"/>
                  <a:gd name="connsiteY28" fmla="*/ 101240 h 434698"/>
                  <a:gd name="connsiteX29" fmla="*/ 32616 w 277347"/>
                  <a:gd name="connsiteY29" fmla="*/ 101109 h 434698"/>
                  <a:gd name="connsiteX30" fmla="*/ 40311 w 277347"/>
                  <a:gd name="connsiteY30" fmla="*/ 96378 h 434698"/>
                  <a:gd name="connsiteX31" fmla="*/ 41394 w 277347"/>
                  <a:gd name="connsiteY31" fmla="*/ 105668 h 434698"/>
                  <a:gd name="connsiteX32" fmla="*/ 44204 w 277347"/>
                  <a:gd name="connsiteY32" fmla="*/ 109202 h 434698"/>
                  <a:gd name="connsiteX33" fmla="*/ 45269 w 277347"/>
                  <a:gd name="connsiteY33" fmla="*/ 109145 h 434698"/>
                  <a:gd name="connsiteX34" fmla="*/ 56668 w 277347"/>
                  <a:gd name="connsiteY34" fmla="*/ 109145 h 434698"/>
                  <a:gd name="connsiteX35" fmla="*/ 55927 w 277347"/>
                  <a:gd name="connsiteY35" fmla="*/ 94383 h 434698"/>
                  <a:gd name="connsiteX36" fmla="*/ 65217 w 277347"/>
                  <a:gd name="connsiteY36" fmla="*/ 89995 h 434698"/>
                  <a:gd name="connsiteX37" fmla="*/ 62596 w 277347"/>
                  <a:gd name="connsiteY37" fmla="*/ 77228 h 434698"/>
                  <a:gd name="connsiteX38" fmla="*/ 67497 w 277347"/>
                  <a:gd name="connsiteY38" fmla="*/ 73067 h 434698"/>
                  <a:gd name="connsiteX39" fmla="*/ 69435 w 277347"/>
                  <a:gd name="connsiteY39" fmla="*/ 67368 h 434698"/>
                  <a:gd name="connsiteX40" fmla="*/ 86192 w 277347"/>
                  <a:gd name="connsiteY40" fmla="*/ 63036 h 434698"/>
                  <a:gd name="connsiteX41" fmla="*/ 89554 w 277347"/>
                  <a:gd name="connsiteY41" fmla="*/ 59673 h 434698"/>
                  <a:gd name="connsiteX42" fmla="*/ 104544 w 277347"/>
                  <a:gd name="connsiteY42" fmla="*/ 55855 h 434698"/>
                  <a:gd name="connsiteX43" fmla="*/ 109810 w 277347"/>
                  <a:gd name="connsiteY43" fmla="*/ 41133 h 434698"/>
                  <a:gd name="connsiteX44" fmla="*/ 109559 w 277347"/>
                  <a:gd name="connsiteY44" fmla="*/ 40637 h 434698"/>
                  <a:gd name="connsiteX45" fmla="*/ 126658 w 277347"/>
                  <a:gd name="connsiteY45" fmla="*/ 28611 h 434698"/>
                  <a:gd name="connsiteX46" fmla="*/ 125974 w 277347"/>
                  <a:gd name="connsiteY46" fmla="*/ 19834 h 434698"/>
                  <a:gd name="connsiteX47" fmla="*/ 129622 w 277347"/>
                  <a:gd name="connsiteY47" fmla="*/ 11912 h 434698"/>
                  <a:gd name="connsiteX48" fmla="*/ 134637 w 277347"/>
                  <a:gd name="connsiteY48" fmla="*/ 0 h 434698"/>
                  <a:gd name="connsiteX49" fmla="*/ 149798 w 277347"/>
                  <a:gd name="connsiteY49" fmla="*/ 4788 h 434698"/>
                  <a:gd name="connsiteX50" fmla="*/ 155098 w 277347"/>
                  <a:gd name="connsiteY50" fmla="*/ 14819 h 434698"/>
                  <a:gd name="connsiteX51" fmla="*/ 165357 w 277347"/>
                  <a:gd name="connsiteY51" fmla="*/ 19720 h 434698"/>
                  <a:gd name="connsiteX52" fmla="*/ 176756 w 277347"/>
                  <a:gd name="connsiteY52" fmla="*/ 37218 h 434698"/>
                  <a:gd name="connsiteX53" fmla="*/ 191746 w 277347"/>
                  <a:gd name="connsiteY53" fmla="*/ 50326 h 434698"/>
                  <a:gd name="connsiteX54" fmla="*/ 203145 w 277347"/>
                  <a:gd name="connsiteY54" fmla="*/ 46850 h 434698"/>
                  <a:gd name="connsiteX55" fmla="*/ 219160 w 277347"/>
                  <a:gd name="connsiteY55" fmla="*/ 48958 h 434698"/>
                  <a:gd name="connsiteX56" fmla="*/ 227596 w 277347"/>
                  <a:gd name="connsiteY56" fmla="*/ 46223 h 434698"/>
                  <a:gd name="connsiteX57" fmla="*/ 241331 w 277347"/>
                  <a:gd name="connsiteY57" fmla="*/ 53689 h 434698"/>
                  <a:gd name="connsiteX58" fmla="*/ 244010 w 277347"/>
                  <a:gd name="connsiteY58" fmla="*/ 61041 h 434698"/>
                  <a:gd name="connsiteX59" fmla="*/ 250393 w 277347"/>
                  <a:gd name="connsiteY59" fmla="*/ 61041 h 434698"/>
                  <a:gd name="connsiteX60" fmla="*/ 252673 w 277347"/>
                  <a:gd name="connsiteY60" fmla="*/ 58192 h 434698"/>
                  <a:gd name="connsiteX61" fmla="*/ 243269 w 277347"/>
                  <a:gd name="connsiteY61" fmla="*/ 84922 h 434698"/>
                  <a:gd name="connsiteX62" fmla="*/ 227823 w 277347"/>
                  <a:gd name="connsiteY62" fmla="*/ 90280 h 434698"/>
                  <a:gd name="connsiteX63" fmla="*/ 197160 w 277347"/>
                  <a:gd name="connsiteY63" fmla="*/ 110285 h 434698"/>
                  <a:gd name="connsiteX64" fmla="*/ 186331 w 277347"/>
                  <a:gd name="connsiteY64" fmla="*/ 122482 h 434698"/>
                  <a:gd name="connsiteX65" fmla="*/ 182513 w 277347"/>
                  <a:gd name="connsiteY65" fmla="*/ 129036 h 434698"/>
                  <a:gd name="connsiteX66" fmla="*/ 180404 w 277347"/>
                  <a:gd name="connsiteY66" fmla="*/ 144596 h 434698"/>
                  <a:gd name="connsiteX67" fmla="*/ 173849 w 277347"/>
                  <a:gd name="connsiteY67" fmla="*/ 151378 h 434698"/>
                  <a:gd name="connsiteX68" fmla="*/ 175217 w 277347"/>
                  <a:gd name="connsiteY68" fmla="*/ 158046 h 434698"/>
                  <a:gd name="connsiteX69" fmla="*/ 173507 w 277347"/>
                  <a:gd name="connsiteY69" fmla="*/ 163746 h 434698"/>
                  <a:gd name="connsiteX70" fmla="*/ 171171 w 277347"/>
                  <a:gd name="connsiteY70" fmla="*/ 180160 h 434698"/>
                  <a:gd name="connsiteX71" fmla="*/ 180176 w 277347"/>
                  <a:gd name="connsiteY71" fmla="*/ 201419 h 434698"/>
                  <a:gd name="connsiteX72" fmla="*/ 188782 w 277347"/>
                  <a:gd name="connsiteY72" fmla="*/ 213445 h 434698"/>
                  <a:gd name="connsiteX73" fmla="*/ 209357 w 277347"/>
                  <a:gd name="connsiteY73" fmla="*/ 230088 h 434698"/>
                  <a:gd name="connsiteX74" fmla="*/ 223549 w 277347"/>
                  <a:gd name="connsiteY74" fmla="*/ 231399 h 434698"/>
                  <a:gd name="connsiteX75" fmla="*/ 234948 w 277347"/>
                  <a:gd name="connsiteY75" fmla="*/ 223077 h 434698"/>
                  <a:gd name="connsiteX76" fmla="*/ 244067 w 277347"/>
                  <a:gd name="connsiteY76" fmla="*/ 257274 h 434698"/>
                  <a:gd name="connsiteX77" fmla="*/ 261165 w 277347"/>
                  <a:gd name="connsiteY77" fmla="*/ 255849 h 434698"/>
                  <a:gd name="connsiteX78" fmla="*/ 274160 w 277347"/>
                  <a:gd name="connsiteY78" fmla="*/ 264398 h 434698"/>
                  <a:gd name="connsiteX79" fmla="*/ 273305 w 277347"/>
                  <a:gd name="connsiteY79" fmla="*/ 271922 h 434698"/>
                  <a:gd name="connsiteX80" fmla="*/ 276497 w 277347"/>
                  <a:gd name="connsiteY80" fmla="*/ 290445 h 434698"/>
                  <a:gd name="connsiteX81" fmla="*/ 270798 w 277347"/>
                  <a:gd name="connsiteY81" fmla="*/ 299108 h 434698"/>
                  <a:gd name="connsiteX82" fmla="*/ 272849 w 277347"/>
                  <a:gd name="connsiteY82" fmla="*/ 303326 h 434698"/>
                  <a:gd name="connsiteX83" fmla="*/ 272165 w 277347"/>
                  <a:gd name="connsiteY83" fmla="*/ 336554 h 434698"/>
                  <a:gd name="connsiteX84" fmla="*/ 268632 w 277347"/>
                  <a:gd name="connsiteY84" fmla="*/ 370010 h 434698"/>
                  <a:gd name="connsiteX85" fmla="*/ 267378 w 277347"/>
                  <a:gd name="connsiteY85" fmla="*/ 379357 h 434698"/>
                  <a:gd name="connsiteX86" fmla="*/ 274274 w 277347"/>
                  <a:gd name="connsiteY86" fmla="*/ 393093 h 434698"/>
                  <a:gd name="connsiteX87" fmla="*/ 257632 w 277347"/>
                  <a:gd name="connsiteY87" fmla="*/ 413326 h 434698"/>
                  <a:gd name="connsiteX88" fmla="*/ 254668 w 277347"/>
                  <a:gd name="connsiteY88" fmla="*/ 423072 h 434698"/>
                  <a:gd name="connsiteX89" fmla="*/ 242699 w 277347"/>
                  <a:gd name="connsiteY89" fmla="*/ 434699 h 43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77347" h="434698">
                    <a:moveTo>
                      <a:pt x="242699" y="434699"/>
                    </a:moveTo>
                    <a:cubicBezTo>
                      <a:pt x="242067" y="432499"/>
                      <a:pt x="240818" y="430521"/>
                      <a:pt x="239108" y="428999"/>
                    </a:cubicBezTo>
                    <a:cubicBezTo>
                      <a:pt x="235176" y="425865"/>
                      <a:pt x="229077" y="425979"/>
                      <a:pt x="225886" y="422103"/>
                    </a:cubicBezTo>
                    <a:cubicBezTo>
                      <a:pt x="223777" y="419652"/>
                      <a:pt x="219673" y="415663"/>
                      <a:pt x="217849" y="413041"/>
                    </a:cubicBezTo>
                    <a:cubicBezTo>
                      <a:pt x="212720" y="405404"/>
                      <a:pt x="206450" y="397139"/>
                      <a:pt x="197559" y="395942"/>
                    </a:cubicBezTo>
                    <a:cubicBezTo>
                      <a:pt x="192373" y="395088"/>
                      <a:pt x="185704" y="395942"/>
                      <a:pt x="183083" y="391497"/>
                    </a:cubicBezTo>
                    <a:cubicBezTo>
                      <a:pt x="182307" y="389667"/>
                      <a:pt x="181755" y="387758"/>
                      <a:pt x="181430" y="385798"/>
                    </a:cubicBezTo>
                    <a:cubicBezTo>
                      <a:pt x="177611" y="373771"/>
                      <a:pt x="158632" y="376393"/>
                      <a:pt x="149741" y="367388"/>
                    </a:cubicBezTo>
                    <a:cubicBezTo>
                      <a:pt x="145295" y="362828"/>
                      <a:pt x="144041" y="355989"/>
                      <a:pt x="139197" y="351657"/>
                    </a:cubicBezTo>
                    <a:cubicBezTo>
                      <a:pt x="135891" y="348751"/>
                      <a:pt x="131160" y="347554"/>
                      <a:pt x="128596" y="344020"/>
                    </a:cubicBezTo>
                    <a:cubicBezTo>
                      <a:pt x="126880" y="341113"/>
                      <a:pt x="125934" y="337819"/>
                      <a:pt x="125860" y="334445"/>
                    </a:cubicBezTo>
                    <a:cubicBezTo>
                      <a:pt x="123791" y="317449"/>
                      <a:pt x="117459" y="301257"/>
                      <a:pt x="107451" y="287368"/>
                    </a:cubicBezTo>
                    <a:cubicBezTo>
                      <a:pt x="104191" y="283332"/>
                      <a:pt x="101347" y="278978"/>
                      <a:pt x="98958" y="274373"/>
                    </a:cubicBezTo>
                    <a:cubicBezTo>
                      <a:pt x="94057" y="263259"/>
                      <a:pt x="96964" y="250435"/>
                      <a:pt x="96280" y="238352"/>
                    </a:cubicBezTo>
                    <a:cubicBezTo>
                      <a:pt x="96308" y="235924"/>
                      <a:pt x="95761" y="233519"/>
                      <a:pt x="94684" y="231342"/>
                    </a:cubicBezTo>
                    <a:cubicBezTo>
                      <a:pt x="91207" y="225072"/>
                      <a:pt x="82544" y="224901"/>
                      <a:pt x="75932" y="222223"/>
                    </a:cubicBezTo>
                    <a:cubicBezTo>
                      <a:pt x="65332" y="217891"/>
                      <a:pt x="59689" y="206492"/>
                      <a:pt x="55870" y="195720"/>
                    </a:cubicBezTo>
                    <a:cubicBezTo>
                      <a:pt x="52052" y="184948"/>
                      <a:pt x="48632" y="173207"/>
                      <a:pt x="39969" y="165798"/>
                    </a:cubicBezTo>
                    <a:cubicBezTo>
                      <a:pt x="36304" y="163415"/>
                      <a:pt x="32987" y="160537"/>
                      <a:pt x="30109" y="157248"/>
                    </a:cubicBezTo>
                    <a:cubicBezTo>
                      <a:pt x="28684" y="155140"/>
                      <a:pt x="27943" y="152689"/>
                      <a:pt x="26518" y="150580"/>
                    </a:cubicBezTo>
                    <a:cubicBezTo>
                      <a:pt x="22927" y="144881"/>
                      <a:pt x="16031" y="142715"/>
                      <a:pt x="10161" y="139523"/>
                    </a:cubicBezTo>
                    <a:cubicBezTo>
                      <a:pt x="4290" y="136331"/>
                      <a:pt x="-1238" y="130290"/>
                      <a:pt x="243" y="123850"/>
                    </a:cubicBezTo>
                    <a:cubicBezTo>
                      <a:pt x="4974" y="124123"/>
                      <a:pt x="9659" y="122778"/>
                      <a:pt x="13523" y="120031"/>
                    </a:cubicBezTo>
                    <a:cubicBezTo>
                      <a:pt x="6764" y="111676"/>
                      <a:pt x="3663" y="100949"/>
                      <a:pt x="4917" y="90280"/>
                    </a:cubicBezTo>
                    <a:cubicBezTo>
                      <a:pt x="4963" y="85008"/>
                      <a:pt x="8052" y="80231"/>
                      <a:pt x="12839" y="78026"/>
                    </a:cubicBezTo>
                    <a:cubicBezTo>
                      <a:pt x="15718" y="77712"/>
                      <a:pt x="18624" y="77712"/>
                      <a:pt x="21503" y="78026"/>
                    </a:cubicBezTo>
                    <a:cubicBezTo>
                      <a:pt x="22283" y="80938"/>
                      <a:pt x="22500" y="83976"/>
                      <a:pt x="22129" y="86974"/>
                    </a:cubicBezTo>
                    <a:cubicBezTo>
                      <a:pt x="21497" y="90656"/>
                      <a:pt x="21890" y="94446"/>
                      <a:pt x="23269" y="97917"/>
                    </a:cubicBezTo>
                    <a:cubicBezTo>
                      <a:pt x="24860" y="101342"/>
                      <a:pt x="28929" y="102830"/>
                      <a:pt x="32354" y="101240"/>
                    </a:cubicBezTo>
                    <a:cubicBezTo>
                      <a:pt x="32440" y="101194"/>
                      <a:pt x="32531" y="101154"/>
                      <a:pt x="32616" y="101109"/>
                    </a:cubicBezTo>
                    <a:cubicBezTo>
                      <a:pt x="35295" y="99114"/>
                      <a:pt x="37746" y="94212"/>
                      <a:pt x="40311" y="96378"/>
                    </a:cubicBezTo>
                    <a:cubicBezTo>
                      <a:pt x="40653" y="99513"/>
                      <a:pt x="41052" y="102591"/>
                      <a:pt x="41394" y="105668"/>
                    </a:cubicBezTo>
                    <a:cubicBezTo>
                      <a:pt x="41194" y="107418"/>
                      <a:pt x="42448" y="109002"/>
                      <a:pt x="44204" y="109202"/>
                    </a:cubicBezTo>
                    <a:cubicBezTo>
                      <a:pt x="44557" y="109242"/>
                      <a:pt x="44922" y="109225"/>
                      <a:pt x="45269" y="109145"/>
                    </a:cubicBezTo>
                    <a:lnTo>
                      <a:pt x="56668" y="109145"/>
                    </a:lnTo>
                    <a:lnTo>
                      <a:pt x="55927" y="94383"/>
                    </a:lnTo>
                    <a:lnTo>
                      <a:pt x="65217" y="89995"/>
                    </a:lnTo>
                    <a:cubicBezTo>
                      <a:pt x="67041" y="85834"/>
                      <a:pt x="60430" y="81161"/>
                      <a:pt x="62596" y="77228"/>
                    </a:cubicBezTo>
                    <a:cubicBezTo>
                      <a:pt x="63679" y="75347"/>
                      <a:pt x="66186" y="74777"/>
                      <a:pt x="67497" y="73067"/>
                    </a:cubicBezTo>
                    <a:cubicBezTo>
                      <a:pt x="68808" y="71358"/>
                      <a:pt x="68466" y="69135"/>
                      <a:pt x="69435" y="67368"/>
                    </a:cubicBezTo>
                    <a:cubicBezTo>
                      <a:pt x="72399" y="62124"/>
                      <a:pt x="81290" y="66513"/>
                      <a:pt x="86192" y="63036"/>
                    </a:cubicBezTo>
                    <a:cubicBezTo>
                      <a:pt x="87371" y="61970"/>
                      <a:pt x="88488" y="60853"/>
                      <a:pt x="89554" y="59673"/>
                    </a:cubicBezTo>
                    <a:cubicBezTo>
                      <a:pt x="93544" y="56311"/>
                      <a:pt x="99699" y="57850"/>
                      <a:pt x="104544" y="55855"/>
                    </a:cubicBezTo>
                    <a:cubicBezTo>
                      <a:pt x="110061" y="53245"/>
                      <a:pt x="112421" y="46650"/>
                      <a:pt x="109810" y="41133"/>
                    </a:cubicBezTo>
                    <a:cubicBezTo>
                      <a:pt x="109730" y="40962"/>
                      <a:pt x="109645" y="40797"/>
                      <a:pt x="109559" y="40637"/>
                    </a:cubicBezTo>
                    <a:cubicBezTo>
                      <a:pt x="116855" y="39156"/>
                      <a:pt x="125746" y="36021"/>
                      <a:pt x="126658" y="28611"/>
                    </a:cubicBezTo>
                    <a:cubicBezTo>
                      <a:pt x="126658" y="25705"/>
                      <a:pt x="125632" y="22912"/>
                      <a:pt x="125974" y="19834"/>
                    </a:cubicBezTo>
                    <a:cubicBezTo>
                      <a:pt x="126629" y="16967"/>
                      <a:pt x="127872" y="14271"/>
                      <a:pt x="129622" y="11912"/>
                    </a:cubicBezTo>
                    <a:cubicBezTo>
                      <a:pt x="131816" y="8184"/>
                      <a:pt x="133503" y="4178"/>
                      <a:pt x="134637" y="0"/>
                    </a:cubicBezTo>
                    <a:cubicBezTo>
                      <a:pt x="139653" y="1425"/>
                      <a:pt x="146036" y="855"/>
                      <a:pt x="149798" y="4788"/>
                    </a:cubicBezTo>
                    <a:cubicBezTo>
                      <a:pt x="152362" y="7580"/>
                      <a:pt x="152533" y="12026"/>
                      <a:pt x="155098" y="14819"/>
                    </a:cubicBezTo>
                    <a:cubicBezTo>
                      <a:pt x="157663" y="17611"/>
                      <a:pt x="161995" y="17953"/>
                      <a:pt x="165357" y="19720"/>
                    </a:cubicBezTo>
                    <a:cubicBezTo>
                      <a:pt x="171627" y="23026"/>
                      <a:pt x="173964" y="30663"/>
                      <a:pt x="176756" y="37218"/>
                    </a:cubicBezTo>
                    <a:cubicBezTo>
                      <a:pt x="179549" y="43772"/>
                      <a:pt x="184679" y="50896"/>
                      <a:pt x="191746" y="50326"/>
                    </a:cubicBezTo>
                    <a:cubicBezTo>
                      <a:pt x="195678" y="50041"/>
                      <a:pt x="199041" y="47363"/>
                      <a:pt x="203145" y="46850"/>
                    </a:cubicBezTo>
                    <a:cubicBezTo>
                      <a:pt x="208502" y="46166"/>
                      <a:pt x="213803" y="49699"/>
                      <a:pt x="219160" y="48958"/>
                    </a:cubicBezTo>
                    <a:cubicBezTo>
                      <a:pt x="222067" y="48560"/>
                      <a:pt x="224860" y="46850"/>
                      <a:pt x="227596" y="46223"/>
                    </a:cubicBezTo>
                    <a:cubicBezTo>
                      <a:pt x="233358" y="45180"/>
                      <a:pt x="239069" y="48286"/>
                      <a:pt x="241331" y="53689"/>
                    </a:cubicBezTo>
                    <a:cubicBezTo>
                      <a:pt x="241861" y="56260"/>
                      <a:pt x="242767" y="58733"/>
                      <a:pt x="244010" y="61041"/>
                    </a:cubicBezTo>
                    <a:cubicBezTo>
                      <a:pt x="245606" y="63093"/>
                      <a:pt x="249710" y="63549"/>
                      <a:pt x="250393" y="61041"/>
                    </a:cubicBezTo>
                    <a:cubicBezTo>
                      <a:pt x="251203" y="60130"/>
                      <a:pt x="251961" y="59178"/>
                      <a:pt x="252673" y="58192"/>
                    </a:cubicBezTo>
                    <a:cubicBezTo>
                      <a:pt x="253813" y="68622"/>
                      <a:pt x="251704" y="79394"/>
                      <a:pt x="243269" y="84922"/>
                    </a:cubicBezTo>
                    <a:cubicBezTo>
                      <a:pt x="238390" y="87407"/>
                      <a:pt x="233192" y="89208"/>
                      <a:pt x="227823" y="90280"/>
                    </a:cubicBezTo>
                    <a:cubicBezTo>
                      <a:pt x="216123" y="94343"/>
                      <a:pt x="205596" y="101211"/>
                      <a:pt x="197160" y="110285"/>
                    </a:cubicBezTo>
                    <a:cubicBezTo>
                      <a:pt x="193325" y="114149"/>
                      <a:pt x="189711" y="118218"/>
                      <a:pt x="186331" y="122482"/>
                    </a:cubicBezTo>
                    <a:cubicBezTo>
                      <a:pt x="184610" y="124374"/>
                      <a:pt x="183311" y="126608"/>
                      <a:pt x="182513" y="129036"/>
                    </a:cubicBezTo>
                    <a:cubicBezTo>
                      <a:pt x="181145" y="134166"/>
                      <a:pt x="183823" y="140435"/>
                      <a:pt x="180404" y="144596"/>
                    </a:cubicBezTo>
                    <a:cubicBezTo>
                      <a:pt x="178409" y="147047"/>
                      <a:pt x="174704" y="148186"/>
                      <a:pt x="173849" y="151378"/>
                    </a:cubicBezTo>
                    <a:cubicBezTo>
                      <a:pt x="173451" y="153658"/>
                      <a:pt x="175046" y="155767"/>
                      <a:pt x="175217" y="158046"/>
                    </a:cubicBezTo>
                    <a:cubicBezTo>
                      <a:pt x="175081" y="160053"/>
                      <a:pt x="174493" y="161996"/>
                      <a:pt x="173507" y="163746"/>
                    </a:cubicBezTo>
                    <a:cubicBezTo>
                      <a:pt x="171256" y="168904"/>
                      <a:pt x="170453" y="174581"/>
                      <a:pt x="171171" y="180160"/>
                    </a:cubicBezTo>
                    <a:cubicBezTo>
                      <a:pt x="172544" y="187832"/>
                      <a:pt x="175622" y="195099"/>
                      <a:pt x="180176" y="201419"/>
                    </a:cubicBezTo>
                    <a:cubicBezTo>
                      <a:pt x="182855" y="205580"/>
                      <a:pt x="185875" y="209570"/>
                      <a:pt x="188782" y="213445"/>
                    </a:cubicBezTo>
                    <a:cubicBezTo>
                      <a:pt x="193860" y="220889"/>
                      <a:pt x="201019" y="226674"/>
                      <a:pt x="209357" y="230088"/>
                    </a:cubicBezTo>
                    <a:cubicBezTo>
                      <a:pt x="213951" y="231461"/>
                      <a:pt x="218779" y="231906"/>
                      <a:pt x="223549" y="231399"/>
                    </a:cubicBezTo>
                    <a:cubicBezTo>
                      <a:pt x="228735" y="230886"/>
                      <a:pt x="234948" y="228264"/>
                      <a:pt x="234948" y="223077"/>
                    </a:cubicBezTo>
                    <a:lnTo>
                      <a:pt x="244067" y="257274"/>
                    </a:lnTo>
                    <a:cubicBezTo>
                      <a:pt x="249795" y="257223"/>
                      <a:pt x="255511" y="256744"/>
                      <a:pt x="261165" y="255849"/>
                    </a:cubicBezTo>
                    <a:cubicBezTo>
                      <a:pt x="266865" y="255849"/>
                      <a:pt x="273590" y="258699"/>
                      <a:pt x="274160" y="264398"/>
                    </a:cubicBezTo>
                    <a:cubicBezTo>
                      <a:pt x="274160" y="266906"/>
                      <a:pt x="273305" y="269414"/>
                      <a:pt x="273305" y="271922"/>
                    </a:cubicBezTo>
                    <a:cubicBezTo>
                      <a:pt x="273305" y="278362"/>
                      <a:pt x="279575" y="284803"/>
                      <a:pt x="276497" y="290445"/>
                    </a:cubicBezTo>
                    <a:cubicBezTo>
                      <a:pt x="274844" y="293580"/>
                      <a:pt x="270798" y="295575"/>
                      <a:pt x="270798" y="299108"/>
                    </a:cubicBezTo>
                    <a:cubicBezTo>
                      <a:pt x="271117" y="300664"/>
                      <a:pt x="271818" y="302118"/>
                      <a:pt x="272849" y="303326"/>
                    </a:cubicBezTo>
                    <a:cubicBezTo>
                      <a:pt x="279176" y="312958"/>
                      <a:pt x="275984" y="325725"/>
                      <a:pt x="272165" y="336554"/>
                    </a:cubicBezTo>
                    <a:cubicBezTo>
                      <a:pt x="268347" y="347383"/>
                      <a:pt x="264072" y="359352"/>
                      <a:pt x="268632" y="370010"/>
                    </a:cubicBezTo>
                    <a:cubicBezTo>
                      <a:pt x="270114" y="373486"/>
                      <a:pt x="271139" y="379357"/>
                      <a:pt x="267378" y="379357"/>
                    </a:cubicBezTo>
                    <a:cubicBezTo>
                      <a:pt x="271168" y="383022"/>
                      <a:pt x="273602" y="387866"/>
                      <a:pt x="274274" y="393093"/>
                    </a:cubicBezTo>
                    <a:cubicBezTo>
                      <a:pt x="266335" y="397453"/>
                      <a:pt x="260379" y="404697"/>
                      <a:pt x="257632" y="413326"/>
                    </a:cubicBezTo>
                    <a:cubicBezTo>
                      <a:pt x="256851" y="416632"/>
                      <a:pt x="255859" y="419892"/>
                      <a:pt x="254668" y="423072"/>
                    </a:cubicBezTo>
                    <a:cubicBezTo>
                      <a:pt x="251796" y="427951"/>
                      <a:pt x="247658" y="431969"/>
                      <a:pt x="242699" y="43469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6" name="Freihandform: Form 302">
                <a:extLst>
                  <a:ext uri="{FF2B5EF4-FFF2-40B4-BE49-F238E27FC236}">
                    <a16:creationId xmlns:a16="http://schemas.microsoft.com/office/drawing/2014/main" id="{E6463903-CCE1-C81E-F863-AB2853BF5129}"/>
                  </a:ext>
                </a:extLst>
              </p:cNvPr>
              <p:cNvSpPr/>
              <p:nvPr/>
            </p:nvSpPr>
            <p:spPr>
              <a:xfrm>
                <a:off x="2152268" y="4137050"/>
                <a:ext cx="846864" cy="948107"/>
              </a:xfrm>
              <a:custGeom>
                <a:avLst/>
                <a:gdLst>
                  <a:gd name="connsiteX0" fmla="*/ 843834 w 846864"/>
                  <a:gd name="connsiteY0" fmla="*/ 315409 h 948107"/>
                  <a:gd name="connsiteX1" fmla="*/ 837223 w 846864"/>
                  <a:gd name="connsiteY1" fmla="*/ 315409 h 948107"/>
                  <a:gd name="connsiteX2" fmla="*/ 837223 w 846864"/>
                  <a:gd name="connsiteY2" fmla="*/ 328632 h 948107"/>
                  <a:gd name="connsiteX3" fmla="*/ 828902 w 846864"/>
                  <a:gd name="connsiteY3" fmla="*/ 330569 h 948107"/>
                  <a:gd name="connsiteX4" fmla="*/ 823601 w 846864"/>
                  <a:gd name="connsiteY4" fmla="*/ 366818 h 948107"/>
                  <a:gd name="connsiteX5" fmla="*/ 811404 w 846864"/>
                  <a:gd name="connsiteY5" fmla="*/ 367616 h 948107"/>
                  <a:gd name="connsiteX6" fmla="*/ 805420 w 846864"/>
                  <a:gd name="connsiteY6" fmla="*/ 380782 h 948107"/>
                  <a:gd name="connsiteX7" fmla="*/ 792368 w 846864"/>
                  <a:gd name="connsiteY7" fmla="*/ 384657 h 948107"/>
                  <a:gd name="connsiteX8" fmla="*/ 785586 w 846864"/>
                  <a:gd name="connsiteY8" fmla="*/ 397310 h 948107"/>
                  <a:gd name="connsiteX9" fmla="*/ 778974 w 846864"/>
                  <a:gd name="connsiteY9" fmla="*/ 400901 h 948107"/>
                  <a:gd name="connsiteX10" fmla="*/ 776808 w 846864"/>
                  <a:gd name="connsiteY10" fmla="*/ 404777 h 948107"/>
                  <a:gd name="connsiteX11" fmla="*/ 762959 w 846864"/>
                  <a:gd name="connsiteY11" fmla="*/ 418854 h 948107"/>
                  <a:gd name="connsiteX12" fmla="*/ 758342 w 846864"/>
                  <a:gd name="connsiteY12" fmla="*/ 436580 h 948107"/>
                  <a:gd name="connsiteX13" fmla="*/ 750819 w 846864"/>
                  <a:gd name="connsiteY13" fmla="*/ 439885 h 948107"/>
                  <a:gd name="connsiteX14" fmla="*/ 750819 w 846864"/>
                  <a:gd name="connsiteY14" fmla="*/ 460461 h 948107"/>
                  <a:gd name="connsiteX15" fmla="*/ 758114 w 846864"/>
                  <a:gd name="connsiteY15" fmla="*/ 485823 h 948107"/>
                  <a:gd name="connsiteX16" fmla="*/ 758114 w 846864"/>
                  <a:gd name="connsiteY16" fmla="*/ 536321 h 948107"/>
                  <a:gd name="connsiteX17" fmla="*/ 756290 w 846864"/>
                  <a:gd name="connsiteY17" fmla="*/ 548517 h 948107"/>
                  <a:gd name="connsiteX18" fmla="*/ 746031 w 846864"/>
                  <a:gd name="connsiteY18" fmla="*/ 553590 h 948107"/>
                  <a:gd name="connsiteX19" fmla="*/ 733093 w 846864"/>
                  <a:gd name="connsiteY19" fmla="*/ 579694 h 948107"/>
                  <a:gd name="connsiteX20" fmla="*/ 729617 w 846864"/>
                  <a:gd name="connsiteY20" fmla="*/ 591491 h 948107"/>
                  <a:gd name="connsiteX21" fmla="*/ 721125 w 846864"/>
                  <a:gd name="connsiteY21" fmla="*/ 635833 h 948107"/>
                  <a:gd name="connsiteX22" fmla="*/ 713259 w 846864"/>
                  <a:gd name="connsiteY22" fmla="*/ 650025 h 948107"/>
                  <a:gd name="connsiteX23" fmla="*/ 702886 w 846864"/>
                  <a:gd name="connsiteY23" fmla="*/ 652818 h 948107"/>
                  <a:gd name="connsiteX24" fmla="*/ 693881 w 846864"/>
                  <a:gd name="connsiteY24" fmla="*/ 662393 h 948107"/>
                  <a:gd name="connsiteX25" fmla="*/ 685389 w 846864"/>
                  <a:gd name="connsiteY25" fmla="*/ 663020 h 948107"/>
                  <a:gd name="connsiteX26" fmla="*/ 657860 w 846864"/>
                  <a:gd name="connsiteY26" fmla="*/ 678180 h 948107"/>
                  <a:gd name="connsiteX27" fmla="*/ 643498 w 846864"/>
                  <a:gd name="connsiteY27" fmla="*/ 673051 h 948107"/>
                  <a:gd name="connsiteX28" fmla="*/ 630389 w 846864"/>
                  <a:gd name="connsiteY28" fmla="*/ 679263 h 948107"/>
                  <a:gd name="connsiteX29" fmla="*/ 627482 w 846864"/>
                  <a:gd name="connsiteY29" fmla="*/ 687357 h 948107"/>
                  <a:gd name="connsiteX30" fmla="*/ 619332 w 846864"/>
                  <a:gd name="connsiteY30" fmla="*/ 693056 h 948107"/>
                  <a:gd name="connsiteX31" fmla="*/ 598586 w 846864"/>
                  <a:gd name="connsiteY31" fmla="*/ 702460 h 948107"/>
                  <a:gd name="connsiteX32" fmla="*/ 591405 w 846864"/>
                  <a:gd name="connsiteY32" fmla="*/ 706963 h 948107"/>
                  <a:gd name="connsiteX33" fmla="*/ 587073 w 846864"/>
                  <a:gd name="connsiteY33" fmla="*/ 712662 h 948107"/>
                  <a:gd name="connsiteX34" fmla="*/ 566327 w 846864"/>
                  <a:gd name="connsiteY34" fmla="*/ 719730 h 948107"/>
                  <a:gd name="connsiteX35" fmla="*/ 544441 w 846864"/>
                  <a:gd name="connsiteY35" fmla="*/ 753926 h 948107"/>
                  <a:gd name="connsiteX36" fmla="*/ 544042 w 846864"/>
                  <a:gd name="connsiteY36" fmla="*/ 768745 h 948107"/>
                  <a:gd name="connsiteX37" fmla="*/ 549171 w 846864"/>
                  <a:gd name="connsiteY37" fmla="*/ 776439 h 948107"/>
                  <a:gd name="connsiteX38" fmla="*/ 541129 w 846864"/>
                  <a:gd name="connsiteY38" fmla="*/ 806076 h 948107"/>
                  <a:gd name="connsiteX39" fmla="*/ 540622 w 846864"/>
                  <a:gd name="connsiteY39" fmla="*/ 806362 h 948107"/>
                  <a:gd name="connsiteX40" fmla="*/ 533783 w 846864"/>
                  <a:gd name="connsiteY40" fmla="*/ 810693 h 948107"/>
                  <a:gd name="connsiteX41" fmla="*/ 531902 w 846864"/>
                  <a:gd name="connsiteY41" fmla="*/ 816108 h 948107"/>
                  <a:gd name="connsiteX42" fmla="*/ 520503 w 846864"/>
                  <a:gd name="connsiteY42" fmla="*/ 824885 h 948107"/>
                  <a:gd name="connsiteX43" fmla="*/ 515260 w 846864"/>
                  <a:gd name="connsiteY43" fmla="*/ 836740 h 948107"/>
                  <a:gd name="connsiteX44" fmla="*/ 495101 w 846864"/>
                  <a:gd name="connsiteY44" fmla="*/ 853342 h 948107"/>
                  <a:gd name="connsiteX45" fmla="*/ 495026 w 846864"/>
                  <a:gd name="connsiteY45" fmla="*/ 855776 h 948107"/>
                  <a:gd name="connsiteX46" fmla="*/ 494115 w 846864"/>
                  <a:gd name="connsiteY46" fmla="*/ 860221 h 948107"/>
                  <a:gd name="connsiteX47" fmla="*/ 490068 w 846864"/>
                  <a:gd name="connsiteY47" fmla="*/ 860221 h 948107"/>
                  <a:gd name="connsiteX48" fmla="*/ 478156 w 846864"/>
                  <a:gd name="connsiteY48" fmla="*/ 869056 h 948107"/>
                  <a:gd name="connsiteX49" fmla="*/ 478156 w 846864"/>
                  <a:gd name="connsiteY49" fmla="*/ 885014 h 948107"/>
                  <a:gd name="connsiteX50" fmla="*/ 465788 w 846864"/>
                  <a:gd name="connsiteY50" fmla="*/ 918755 h 948107"/>
                  <a:gd name="connsiteX51" fmla="*/ 458607 w 846864"/>
                  <a:gd name="connsiteY51" fmla="*/ 923543 h 948107"/>
                  <a:gd name="connsiteX52" fmla="*/ 456669 w 846864"/>
                  <a:gd name="connsiteY52" fmla="*/ 932434 h 948107"/>
                  <a:gd name="connsiteX53" fmla="*/ 441622 w 846864"/>
                  <a:gd name="connsiteY53" fmla="*/ 945600 h 948107"/>
                  <a:gd name="connsiteX54" fmla="*/ 438944 w 846864"/>
                  <a:gd name="connsiteY54" fmla="*/ 948108 h 948107"/>
                  <a:gd name="connsiteX55" fmla="*/ 438944 w 846864"/>
                  <a:gd name="connsiteY55" fmla="*/ 945201 h 948107"/>
                  <a:gd name="connsiteX56" fmla="*/ 432275 w 846864"/>
                  <a:gd name="connsiteY56" fmla="*/ 906957 h 948107"/>
                  <a:gd name="connsiteX57" fmla="*/ 425493 w 846864"/>
                  <a:gd name="connsiteY57" fmla="*/ 897895 h 948107"/>
                  <a:gd name="connsiteX58" fmla="*/ 406514 w 846864"/>
                  <a:gd name="connsiteY58" fmla="*/ 892196 h 948107"/>
                  <a:gd name="connsiteX59" fmla="*/ 399731 w 846864"/>
                  <a:gd name="connsiteY59" fmla="*/ 882791 h 948107"/>
                  <a:gd name="connsiteX60" fmla="*/ 388332 w 846864"/>
                  <a:gd name="connsiteY60" fmla="*/ 880170 h 948107"/>
                  <a:gd name="connsiteX61" fmla="*/ 382975 w 846864"/>
                  <a:gd name="connsiteY61" fmla="*/ 865693 h 948107"/>
                  <a:gd name="connsiteX62" fmla="*/ 360177 w 846864"/>
                  <a:gd name="connsiteY62" fmla="*/ 859994 h 948107"/>
                  <a:gd name="connsiteX63" fmla="*/ 369125 w 846864"/>
                  <a:gd name="connsiteY63" fmla="*/ 840672 h 948107"/>
                  <a:gd name="connsiteX64" fmla="*/ 388446 w 846864"/>
                  <a:gd name="connsiteY64" fmla="*/ 816165 h 948107"/>
                  <a:gd name="connsiteX65" fmla="*/ 398249 w 846864"/>
                  <a:gd name="connsiteY65" fmla="*/ 811605 h 948107"/>
                  <a:gd name="connsiteX66" fmla="*/ 409135 w 846864"/>
                  <a:gd name="connsiteY66" fmla="*/ 793595 h 948107"/>
                  <a:gd name="connsiteX67" fmla="*/ 421446 w 846864"/>
                  <a:gd name="connsiteY67" fmla="*/ 786470 h 948107"/>
                  <a:gd name="connsiteX68" fmla="*/ 426234 w 846864"/>
                  <a:gd name="connsiteY68" fmla="*/ 774501 h 948107"/>
                  <a:gd name="connsiteX69" fmla="*/ 434840 w 846864"/>
                  <a:gd name="connsiteY69" fmla="*/ 769657 h 948107"/>
                  <a:gd name="connsiteX70" fmla="*/ 430679 w 846864"/>
                  <a:gd name="connsiteY70" fmla="*/ 756548 h 948107"/>
                  <a:gd name="connsiteX71" fmla="*/ 422244 w 846864"/>
                  <a:gd name="connsiteY71" fmla="*/ 749310 h 948107"/>
                  <a:gd name="connsiteX72" fmla="*/ 422244 w 846864"/>
                  <a:gd name="connsiteY72" fmla="*/ 733066 h 948107"/>
                  <a:gd name="connsiteX73" fmla="*/ 425778 w 846864"/>
                  <a:gd name="connsiteY73" fmla="*/ 716538 h 948107"/>
                  <a:gd name="connsiteX74" fmla="*/ 417742 w 846864"/>
                  <a:gd name="connsiteY74" fmla="*/ 702517 h 948107"/>
                  <a:gd name="connsiteX75" fmla="*/ 395229 w 846864"/>
                  <a:gd name="connsiteY75" fmla="*/ 699325 h 948107"/>
                  <a:gd name="connsiteX76" fmla="*/ 390384 w 846864"/>
                  <a:gd name="connsiteY76" fmla="*/ 673621 h 948107"/>
                  <a:gd name="connsiteX77" fmla="*/ 385255 w 846864"/>
                  <a:gd name="connsiteY77" fmla="*/ 660056 h 948107"/>
                  <a:gd name="connsiteX78" fmla="*/ 347353 w 846864"/>
                  <a:gd name="connsiteY78" fmla="*/ 653844 h 948107"/>
                  <a:gd name="connsiteX79" fmla="*/ 341027 w 846864"/>
                  <a:gd name="connsiteY79" fmla="*/ 605683 h 948107"/>
                  <a:gd name="connsiteX80" fmla="*/ 344959 w 846864"/>
                  <a:gd name="connsiteY80" fmla="*/ 603460 h 948107"/>
                  <a:gd name="connsiteX81" fmla="*/ 352255 w 846864"/>
                  <a:gd name="connsiteY81" fmla="*/ 544813 h 948107"/>
                  <a:gd name="connsiteX82" fmla="*/ 350944 w 846864"/>
                  <a:gd name="connsiteY82" fmla="*/ 538429 h 948107"/>
                  <a:gd name="connsiteX83" fmla="*/ 344104 w 846864"/>
                  <a:gd name="connsiteY83" fmla="*/ 536890 h 948107"/>
                  <a:gd name="connsiteX84" fmla="*/ 339260 w 846864"/>
                  <a:gd name="connsiteY84" fmla="*/ 526802 h 948107"/>
                  <a:gd name="connsiteX85" fmla="*/ 338519 w 846864"/>
                  <a:gd name="connsiteY85" fmla="*/ 514891 h 948107"/>
                  <a:gd name="connsiteX86" fmla="*/ 321421 w 846864"/>
                  <a:gd name="connsiteY86" fmla="*/ 509932 h 948107"/>
                  <a:gd name="connsiteX87" fmla="*/ 302840 w 846864"/>
                  <a:gd name="connsiteY87" fmla="*/ 509476 h 948107"/>
                  <a:gd name="connsiteX88" fmla="*/ 296172 w 846864"/>
                  <a:gd name="connsiteY88" fmla="*/ 499559 h 948107"/>
                  <a:gd name="connsiteX89" fmla="*/ 294975 w 846864"/>
                  <a:gd name="connsiteY89" fmla="*/ 450714 h 948107"/>
                  <a:gd name="connsiteX90" fmla="*/ 283576 w 846864"/>
                  <a:gd name="connsiteY90" fmla="*/ 451056 h 948107"/>
                  <a:gd name="connsiteX91" fmla="*/ 276509 w 846864"/>
                  <a:gd name="connsiteY91" fmla="*/ 443362 h 948107"/>
                  <a:gd name="connsiteX92" fmla="*/ 264540 w 846864"/>
                  <a:gd name="connsiteY92" fmla="*/ 444160 h 948107"/>
                  <a:gd name="connsiteX93" fmla="*/ 257415 w 846864"/>
                  <a:gd name="connsiteY93" fmla="*/ 436523 h 948107"/>
                  <a:gd name="connsiteX94" fmla="*/ 242540 w 846864"/>
                  <a:gd name="connsiteY94" fmla="*/ 437321 h 948107"/>
                  <a:gd name="connsiteX95" fmla="*/ 214954 w 846864"/>
                  <a:gd name="connsiteY95" fmla="*/ 416346 h 948107"/>
                  <a:gd name="connsiteX96" fmla="*/ 207659 w 846864"/>
                  <a:gd name="connsiteY96" fmla="*/ 417316 h 948107"/>
                  <a:gd name="connsiteX97" fmla="*/ 199794 w 846864"/>
                  <a:gd name="connsiteY97" fmla="*/ 411616 h 948107"/>
                  <a:gd name="connsiteX98" fmla="*/ 190846 w 846864"/>
                  <a:gd name="connsiteY98" fmla="*/ 410248 h 948107"/>
                  <a:gd name="connsiteX99" fmla="*/ 190048 w 846864"/>
                  <a:gd name="connsiteY99" fmla="*/ 395943 h 948107"/>
                  <a:gd name="connsiteX100" fmla="*/ 178649 w 846864"/>
                  <a:gd name="connsiteY100" fmla="*/ 381751 h 948107"/>
                  <a:gd name="connsiteX101" fmla="*/ 183607 w 846864"/>
                  <a:gd name="connsiteY101" fmla="*/ 360435 h 948107"/>
                  <a:gd name="connsiteX102" fmla="*/ 179789 w 846864"/>
                  <a:gd name="connsiteY102" fmla="*/ 352569 h 948107"/>
                  <a:gd name="connsiteX103" fmla="*/ 174089 w 846864"/>
                  <a:gd name="connsiteY103" fmla="*/ 351316 h 948107"/>
                  <a:gd name="connsiteX104" fmla="*/ 153343 w 846864"/>
                  <a:gd name="connsiteY104" fmla="*/ 358497 h 948107"/>
                  <a:gd name="connsiteX105" fmla="*/ 141317 w 846864"/>
                  <a:gd name="connsiteY105" fmla="*/ 358497 h 948107"/>
                  <a:gd name="connsiteX106" fmla="*/ 136530 w 846864"/>
                  <a:gd name="connsiteY106" fmla="*/ 370808 h 948107"/>
                  <a:gd name="connsiteX107" fmla="*/ 124162 w 846864"/>
                  <a:gd name="connsiteY107" fmla="*/ 370808 h 948107"/>
                  <a:gd name="connsiteX108" fmla="*/ 119317 w 846864"/>
                  <a:gd name="connsiteY108" fmla="*/ 378388 h 948107"/>
                  <a:gd name="connsiteX109" fmla="*/ 110198 w 846864"/>
                  <a:gd name="connsiteY109" fmla="*/ 384999 h 948107"/>
                  <a:gd name="connsiteX110" fmla="*/ 102846 w 846864"/>
                  <a:gd name="connsiteY110" fmla="*/ 390699 h 948107"/>
                  <a:gd name="connsiteX111" fmla="*/ 90250 w 846864"/>
                  <a:gd name="connsiteY111" fmla="*/ 383803 h 948107"/>
                  <a:gd name="connsiteX112" fmla="*/ 73151 w 846864"/>
                  <a:gd name="connsiteY112" fmla="*/ 385228 h 948107"/>
                  <a:gd name="connsiteX113" fmla="*/ 64032 w 846864"/>
                  <a:gd name="connsiteY113" fmla="*/ 351031 h 948107"/>
                  <a:gd name="connsiteX114" fmla="*/ 52633 w 846864"/>
                  <a:gd name="connsiteY114" fmla="*/ 359352 h 948107"/>
                  <a:gd name="connsiteX115" fmla="*/ 38442 w 846864"/>
                  <a:gd name="connsiteY115" fmla="*/ 358041 h 948107"/>
                  <a:gd name="connsiteX116" fmla="*/ 17867 w 846864"/>
                  <a:gd name="connsiteY116" fmla="*/ 341399 h 948107"/>
                  <a:gd name="connsiteX117" fmla="*/ 9260 w 846864"/>
                  <a:gd name="connsiteY117" fmla="*/ 329373 h 948107"/>
                  <a:gd name="connsiteX118" fmla="*/ 255 w 846864"/>
                  <a:gd name="connsiteY118" fmla="*/ 308114 h 948107"/>
                  <a:gd name="connsiteX119" fmla="*/ 2592 w 846864"/>
                  <a:gd name="connsiteY119" fmla="*/ 291699 h 948107"/>
                  <a:gd name="connsiteX120" fmla="*/ 4302 w 846864"/>
                  <a:gd name="connsiteY120" fmla="*/ 286000 h 948107"/>
                  <a:gd name="connsiteX121" fmla="*/ 2934 w 846864"/>
                  <a:gd name="connsiteY121" fmla="*/ 279331 h 948107"/>
                  <a:gd name="connsiteX122" fmla="*/ 9488 w 846864"/>
                  <a:gd name="connsiteY122" fmla="*/ 272549 h 948107"/>
                  <a:gd name="connsiteX123" fmla="*/ 11597 w 846864"/>
                  <a:gd name="connsiteY123" fmla="*/ 256989 h 948107"/>
                  <a:gd name="connsiteX124" fmla="*/ 15416 w 846864"/>
                  <a:gd name="connsiteY124" fmla="*/ 250435 h 948107"/>
                  <a:gd name="connsiteX125" fmla="*/ 26245 w 846864"/>
                  <a:gd name="connsiteY125" fmla="*/ 238238 h 948107"/>
                  <a:gd name="connsiteX126" fmla="*/ 56908 w 846864"/>
                  <a:gd name="connsiteY126" fmla="*/ 218233 h 948107"/>
                  <a:gd name="connsiteX127" fmla="*/ 72353 w 846864"/>
                  <a:gd name="connsiteY127" fmla="*/ 212875 h 948107"/>
                  <a:gd name="connsiteX128" fmla="*/ 81758 w 846864"/>
                  <a:gd name="connsiteY128" fmla="*/ 186145 h 948107"/>
                  <a:gd name="connsiteX129" fmla="*/ 91960 w 846864"/>
                  <a:gd name="connsiteY129" fmla="*/ 163062 h 948107"/>
                  <a:gd name="connsiteX130" fmla="*/ 85405 w 846864"/>
                  <a:gd name="connsiteY130" fmla="*/ 139124 h 948107"/>
                  <a:gd name="connsiteX131" fmla="*/ 80675 w 846864"/>
                  <a:gd name="connsiteY131" fmla="*/ 122938 h 948107"/>
                  <a:gd name="connsiteX132" fmla="*/ 88039 w 846864"/>
                  <a:gd name="connsiteY132" fmla="*/ 106364 h 948107"/>
                  <a:gd name="connsiteX133" fmla="*/ 97773 w 846864"/>
                  <a:gd name="connsiteY133" fmla="*/ 106580 h 948107"/>
                  <a:gd name="connsiteX134" fmla="*/ 98913 w 846864"/>
                  <a:gd name="connsiteY134" fmla="*/ 99969 h 948107"/>
                  <a:gd name="connsiteX135" fmla="*/ 86773 w 846864"/>
                  <a:gd name="connsiteY135" fmla="*/ 95124 h 948107"/>
                  <a:gd name="connsiteX136" fmla="*/ 82898 w 846864"/>
                  <a:gd name="connsiteY136" fmla="*/ 83725 h 948107"/>
                  <a:gd name="connsiteX137" fmla="*/ 98628 w 846864"/>
                  <a:gd name="connsiteY137" fmla="*/ 77570 h 948107"/>
                  <a:gd name="connsiteX138" fmla="*/ 123079 w 846864"/>
                  <a:gd name="connsiteY138" fmla="*/ 78026 h 948107"/>
                  <a:gd name="connsiteX139" fmla="*/ 137669 w 846864"/>
                  <a:gd name="connsiteY139" fmla="*/ 74606 h 948107"/>
                  <a:gd name="connsiteX140" fmla="*/ 152944 w 846864"/>
                  <a:gd name="connsiteY140" fmla="*/ 90337 h 948107"/>
                  <a:gd name="connsiteX141" fmla="*/ 155224 w 846864"/>
                  <a:gd name="connsiteY141" fmla="*/ 97860 h 948107"/>
                  <a:gd name="connsiteX142" fmla="*/ 163488 w 846864"/>
                  <a:gd name="connsiteY142" fmla="*/ 100254 h 948107"/>
                  <a:gd name="connsiteX143" fmla="*/ 186001 w 846864"/>
                  <a:gd name="connsiteY143" fmla="*/ 102705 h 948107"/>
                  <a:gd name="connsiteX144" fmla="*/ 190390 w 846864"/>
                  <a:gd name="connsiteY144" fmla="*/ 90508 h 948107"/>
                  <a:gd name="connsiteX145" fmla="*/ 196089 w 846864"/>
                  <a:gd name="connsiteY145" fmla="*/ 91021 h 948107"/>
                  <a:gd name="connsiteX146" fmla="*/ 205094 w 846864"/>
                  <a:gd name="connsiteY146" fmla="*/ 88114 h 948107"/>
                  <a:gd name="connsiteX147" fmla="*/ 205721 w 846864"/>
                  <a:gd name="connsiteY147" fmla="*/ 79109 h 948107"/>
                  <a:gd name="connsiteX148" fmla="*/ 217747 w 846864"/>
                  <a:gd name="connsiteY148" fmla="*/ 74378 h 948107"/>
                  <a:gd name="connsiteX149" fmla="*/ 221851 w 846864"/>
                  <a:gd name="connsiteY149" fmla="*/ 61383 h 948107"/>
                  <a:gd name="connsiteX150" fmla="*/ 206006 w 846864"/>
                  <a:gd name="connsiteY150" fmla="*/ 40865 h 948107"/>
                  <a:gd name="connsiteX151" fmla="*/ 204011 w 846864"/>
                  <a:gd name="connsiteY151" fmla="*/ 32772 h 948107"/>
                  <a:gd name="connsiteX152" fmla="*/ 202757 w 846864"/>
                  <a:gd name="connsiteY152" fmla="*/ 18808 h 948107"/>
                  <a:gd name="connsiteX153" fmla="*/ 220882 w 846864"/>
                  <a:gd name="connsiteY153" fmla="*/ 22798 h 948107"/>
                  <a:gd name="connsiteX154" fmla="*/ 224700 w 846864"/>
                  <a:gd name="connsiteY154" fmla="*/ 27187 h 948107"/>
                  <a:gd name="connsiteX155" fmla="*/ 233478 w 846864"/>
                  <a:gd name="connsiteY155" fmla="*/ 28839 h 948107"/>
                  <a:gd name="connsiteX156" fmla="*/ 236783 w 846864"/>
                  <a:gd name="connsiteY156" fmla="*/ 35280 h 948107"/>
                  <a:gd name="connsiteX157" fmla="*/ 244307 w 846864"/>
                  <a:gd name="connsiteY157" fmla="*/ 30606 h 948107"/>
                  <a:gd name="connsiteX158" fmla="*/ 248125 w 846864"/>
                  <a:gd name="connsiteY158" fmla="*/ 20746 h 948107"/>
                  <a:gd name="connsiteX159" fmla="*/ 252799 w 846864"/>
                  <a:gd name="connsiteY159" fmla="*/ 19891 h 948107"/>
                  <a:gd name="connsiteX160" fmla="*/ 269897 w 846864"/>
                  <a:gd name="connsiteY160" fmla="*/ 19891 h 948107"/>
                  <a:gd name="connsiteX161" fmla="*/ 275597 w 846864"/>
                  <a:gd name="connsiteY161" fmla="*/ 11000 h 948107"/>
                  <a:gd name="connsiteX162" fmla="*/ 285286 w 846864"/>
                  <a:gd name="connsiteY162" fmla="*/ 4959 h 948107"/>
                  <a:gd name="connsiteX163" fmla="*/ 286027 w 846864"/>
                  <a:gd name="connsiteY163" fmla="*/ 0 h 948107"/>
                  <a:gd name="connsiteX164" fmla="*/ 290814 w 846864"/>
                  <a:gd name="connsiteY164" fmla="*/ 2907 h 948107"/>
                  <a:gd name="connsiteX165" fmla="*/ 298395 w 846864"/>
                  <a:gd name="connsiteY165" fmla="*/ 11855 h 948107"/>
                  <a:gd name="connsiteX166" fmla="*/ 302726 w 846864"/>
                  <a:gd name="connsiteY166" fmla="*/ 12539 h 948107"/>
                  <a:gd name="connsiteX167" fmla="*/ 304892 w 846864"/>
                  <a:gd name="connsiteY167" fmla="*/ 14933 h 948107"/>
                  <a:gd name="connsiteX168" fmla="*/ 301415 w 846864"/>
                  <a:gd name="connsiteY168" fmla="*/ 43430 h 948107"/>
                  <a:gd name="connsiteX169" fmla="*/ 300219 w 846864"/>
                  <a:gd name="connsiteY169" fmla="*/ 65658 h 948107"/>
                  <a:gd name="connsiteX170" fmla="*/ 309623 w 846864"/>
                  <a:gd name="connsiteY170" fmla="*/ 71358 h 948107"/>
                  <a:gd name="connsiteX171" fmla="*/ 313213 w 846864"/>
                  <a:gd name="connsiteY171" fmla="*/ 74378 h 948107"/>
                  <a:gd name="connsiteX172" fmla="*/ 314980 w 846864"/>
                  <a:gd name="connsiteY172" fmla="*/ 78881 h 948107"/>
                  <a:gd name="connsiteX173" fmla="*/ 339317 w 846864"/>
                  <a:gd name="connsiteY173" fmla="*/ 89767 h 948107"/>
                  <a:gd name="connsiteX174" fmla="*/ 345985 w 846864"/>
                  <a:gd name="connsiteY174" fmla="*/ 87145 h 948107"/>
                  <a:gd name="connsiteX175" fmla="*/ 346954 w 846864"/>
                  <a:gd name="connsiteY175" fmla="*/ 77342 h 948107"/>
                  <a:gd name="connsiteX176" fmla="*/ 358866 w 846864"/>
                  <a:gd name="connsiteY176" fmla="*/ 75803 h 948107"/>
                  <a:gd name="connsiteX177" fmla="*/ 367928 w 846864"/>
                  <a:gd name="connsiteY177" fmla="*/ 67368 h 948107"/>
                  <a:gd name="connsiteX178" fmla="*/ 367928 w 846864"/>
                  <a:gd name="connsiteY178" fmla="*/ 64005 h 948107"/>
                  <a:gd name="connsiteX179" fmla="*/ 381949 w 846864"/>
                  <a:gd name="connsiteY179" fmla="*/ 79451 h 948107"/>
                  <a:gd name="connsiteX180" fmla="*/ 385996 w 846864"/>
                  <a:gd name="connsiteY180" fmla="*/ 79451 h 948107"/>
                  <a:gd name="connsiteX181" fmla="*/ 389187 w 846864"/>
                  <a:gd name="connsiteY181" fmla="*/ 71642 h 948107"/>
                  <a:gd name="connsiteX182" fmla="*/ 389187 w 846864"/>
                  <a:gd name="connsiteY182" fmla="*/ 62694 h 948107"/>
                  <a:gd name="connsiteX183" fmla="*/ 409591 w 846864"/>
                  <a:gd name="connsiteY183" fmla="*/ 61782 h 948107"/>
                  <a:gd name="connsiteX184" fmla="*/ 413524 w 846864"/>
                  <a:gd name="connsiteY184" fmla="*/ 60585 h 948107"/>
                  <a:gd name="connsiteX185" fmla="*/ 416659 w 846864"/>
                  <a:gd name="connsiteY185" fmla="*/ 55855 h 948107"/>
                  <a:gd name="connsiteX186" fmla="*/ 420762 w 846864"/>
                  <a:gd name="connsiteY186" fmla="*/ 55855 h 948107"/>
                  <a:gd name="connsiteX187" fmla="*/ 421161 w 846864"/>
                  <a:gd name="connsiteY187" fmla="*/ 55855 h 948107"/>
                  <a:gd name="connsiteX188" fmla="*/ 423954 w 846864"/>
                  <a:gd name="connsiteY188" fmla="*/ 67767 h 948107"/>
                  <a:gd name="connsiteX189" fmla="*/ 434783 w 846864"/>
                  <a:gd name="connsiteY189" fmla="*/ 74378 h 948107"/>
                  <a:gd name="connsiteX190" fmla="*/ 438488 w 846864"/>
                  <a:gd name="connsiteY190" fmla="*/ 71358 h 948107"/>
                  <a:gd name="connsiteX191" fmla="*/ 460032 w 846864"/>
                  <a:gd name="connsiteY191" fmla="*/ 71757 h 948107"/>
                  <a:gd name="connsiteX192" fmla="*/ 459234 w 846864"/>
                  <a:gd name="connsiteY192" fmla="*/ 62466 h 948107"/>
                  <a:gd name="connsiteX193" fmla="*/ 464363 w 846864"/>
                  <a:gd name="connsiteY193" fmla="*/ 55114 h 948107"/>
                  <a:gd name="connsiteX194" fmla="*/ 468524 w 846864"/>
                  <a:gd name="connsiteY194" fmla="*/ 54202 h 948107"/>
                  <a:gd name="connsiteX195" fmla="*/ 476959 w 846864"/>
                  <a:gd name="connsiteY195" fmla="*/ 50497 h 948107"/>
                  <a:gd name="connsiteX196" fmla="*/ 480892 w 846864"/>
                  <a:gd name="connsiteY196" fmla="*/ 48275 h 948107"/>
                  <a:gd name="connsiteX197" fmla="*/ 483058 w 846864"/>
                  <a:gd name="connsiteY197" fmla="*/ 48275 h 948107"/>
                  <a:gd name="connsiteX198" fmla="*/ 493488 w 846864"/>
                  <a:gd name="connsiteY198" fmla="*/ 71358 h 948107"/>
                  <a:gd name="connsiteX199" fmla="*/ 505855 w 846864"/>
                  <a:gd name="connsiteY199" fmla="*/ 75347 h 948107"/>
                  <a:gd name="connsiteX200" fmla="*/ 506596 w 846864"/>
                  <a:gd name="connsiteY200" fmla="*/ 88171 h 948107"/>
                  <a:gd name="connsiteX201" fmla="*/ 520959 w 846864"/>
                  <a:gd name="connsiteY201" fmla="*/ 94269 h 948107"/>
                  <a:gd name="connsiteX202" fmla="*/ 500441 w 846864"/>
                  <a:gd name="connsiteY202" fmla="*/ 117637 h 948107"/>
                  <a:gd name="connsiteX203" fmla="*/ 488586 w 846864"/>
                  <a:gd name="connsiteY203" fmla="*/ 124591 h 948107"/>
                  <a:gd name="connsiteX204" fmla="*/ 487959 w 846864"/>
                  <a:gd name="connsiteY204" fmla="*/ 136901 h 948107"/>
                  <a:gd name="connsiteX205" fmla="*/ 503234 w 846864"/>
                  <a:gd name="connsiteY205" fmla="*/ 141233 h 948107"/>
                  <a:gd name="connsiteX206" fmla="*/ 503918 w 846864"/>
                  <a:gd name="connsiteY206" fmla="*/ 126015 h 948107"/>
                  <a:gd name="connsiteX207" fmla="*/ 528311 w 846864"/>
                  <a:gd name="connsiteY207" fmla="*/ 122767 h 948107"/>
                  <a:gd name="connsiteX208" fmla="*/ 549513 w 846864"/>
                  <a:gd name="connsiteY208" fmla="*/ 137357 h 948107"/>
                  <a:gd name="connsiteX209" fmla="*/ 553047 w 846864"/>
                  <a:gd name="connsiteY209" fmla="*/ 144197 h 948107"/>
                  <a:gd name="connsiteX210" fmla="*/ 543814 w 846864"/>
                  <a:gd name="connsiteY210" fmla="*/ 144197 h 948107"/>
                  <a:gd name="connsiteX211" fmla="*/ 534638 w 846864"/>
                  <a:gd name="connsiteY211" fmla="*/ 155596 h 948107"/>
                  <a:gd name="connsiteX212" fmla="*/ 527570 w 846864"/>
                  <a:gd name="connsiteY212" fmla="*/ 167907 h 948107"/>
                  <a:gd name="connsiteX213" fmla="*/ 535322 w 846864"/>
                  <a:gd name="connsiteY213" fmla="*/ 169958 h 948107"/>
                  <a:gd name="connsiteX214" fmla="*/ 545695 w 846864"/>
                  <a:gd name="connsiteY214" fmla="*/ 167565 h 948107"/>
                  <a:gd name="connsiteX215" fmla="*/ 547724 w 846864"/>
                  <a:gd name="connsiteY215" fmla="*/ 158520 h 948107"/>
                  <a:gd name="connsiteX216" fmla="*/ 547519 w 846864"/>
                  <a:gd name="connsiteY216" fmla="*/ 158217 h 948107"/>
                  <a:gd name="connsiteX217" fmla="*/ 576016 w 846864"/>
                  <a:gd name="connsiteY217" fmla="*/ 153430 h 948107"/>
                  <a:gd name="connsiteX218" fmla="*/ 586617 w 846864"/>
                  <a:gd name="connsiteY218" fmla="*/ 160041 h 948107"/>
                  <a:gd name="connsiteX219" fmla="*/ 637912 w 846864"/>
                  <a:gd name="connsiteY219" fmla="*/ 173834 h 948107"/>
                  <a:gd name="connsiteX220" fmla="*/ 642244 w 846864"/>
                  <a:gd name="connsiteY220" fmla="*/ 175886 h 948107"/>
                  <a:gd name="connsiteX221" fmla="*/ 638311 w 846864"/>
                  <a:gd name="connsiteY221" fmla="*/ 197145 h 948107"/>
                  <a:gd name="connsiteX222" fmla="*/ 648274 w 846864"/>
                  <a:gd name="connsiteY222" fmla="*/ 191679 h 948107"/>
                  <a:gd name="connsiteX223" fmla="*/ 648513 w 846864"/>
                  <a:gd name="connsiteY223" fmla="*/ 190590 h 948107"/>
                  <a:gd name="connsiteX224" fmla="*/ 667835 w 846864"/>
                  <a:gd name="connsiteY224" fmla="*/ 196290 h 948107"/>
                  <a:gd name="connsiteX225" fmla="*/ 687042 w 846864"/>
                  <a:gd name="connsiteY225" fmla="*/ 184891 h 948107"/>
                  <a:gd name="connsiteX226" fmla="*/ 696104 w 846864"/>
                  <a:gd name="connsiteY226" fmla="*/ 193611 h 948107"/>
                  <a:gd name="connsiteX227" fmla="*/ 695876 w 846864"/>
                  <a:gd name="connsiteY227" fmla="*/ 195777 h 948107"/>
                  <a:gd name="connsiteX228" fmla="*/ 747741 w 846864"/>
                  <a:gd name="connsiteY228" fmla="*/ 187057 h 948107"/>
                  <a:gd name="connsiteX229" fmla="*/ 757772 w 846864"/>
                  <a:gd name="connsiteY229" fmla="*/ 199140 h 948107"/>
                  <a:gd name="connsiteX230" fmla="*/ 771622 w 846864"/>
                  <a:gd name="connsiteY230" fmla="*/ 207005 h 948107"/>
                  <a:gd name="connsiteX231" fmla="*/ 773902 w 846864"/>
                  <a:gd name="connsiteY231" fmla="*/ 211679 h 948107"/>
                  <a:gd name="connsiteX232" fmla="*/ 783363 w 846864"/>
                  <a:gd name="connsiteY232" fmla="*/ 224103 h 948107"/>
                  <a:gd name="connsiteX233" fmla="*/ 795959 w 846864"/>
                  <a:gd name="connsiteY233" fmla="*/ 224103 h 948107"/>
                  <a:gd name="connsiteX234" fmla="*/ 797725 w 846864"/>
                  <a:gd name="connsiteY234" fmla="*/ 236642 h 948107"/>
                  <a:gd name="connsiteX235" fmla="*/ 823145 w 846864"/>
                  <a:gd name="connsiteY235" fmla="*/ 246160 h 948107"/>
                  <a:gd name="connsiteX236" fmla="*/ 826679 w 846864"/>
                  <a:gd name="connsiteY236" fmla="*/ 253855 h 948107"/>
                  <a:gd name="connsiteX237" fmla="*/ 836482 w 846864"/>
                  <a:gd name="connsiteY237" fmla="*/ 256077 h 948107"/>
                  <a:gd name="connsiteX238" fmla="*/ 839902 w 846864"/>
                  <a:gd name="connsiteY238" fmla="*/ 262689 h 948107"/>
                  <a:gd name="connsiteX239" fmla="*/ 845601 w 846864"/>
                  <a:gd name="connsiteY239" fmla="*/ 265595 h 948107"/>
                  <a:gd name="connsiteX240" fmla="*/ 843834 w 846864"/>
                  <a:gd name="connsiteY240" fmla="*/ 315409 h 94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846864" h="948107">
                    <a:moveTo>
                      <a:pt x="843834" y="315409"/>
                    </a:moveTo>
                    <a:lnTo>
                      <a:pt x="837223" y="315409"/>
                    </a:lnTo>
                    <a:lnTo>
                      <a:pt x="837223" y="328632"/>
                    </a:lnTo>
                    <a:lnTo>
                      <a:pt x="828902" y="330569"/>
                    </a:lnTo>
                    <a:lnTo>
                      <a:pt x="823601" y="366818"/>
                    </a:lnTo>
                    <a:cubicBezTo>
                      <a:pt x="819623" y="367850"/>
                      <a:pt x="815485" y="368123"/>
                      <a:pt x="811404" y="367616"/>
                    </a:cubicBezTo>
                    <a:cubicBezTo>
                      <a:pt x="810378" y="372387"/>
                      <a:pt x="808338" y="376878"/>
                      <a:pt x="805420" y="380782"/>
                    </a:cubicBezTo>
                    <a:cubicBezTo>
                      <a:pt x="802405" y="384817"/>
                      <a:pt x="797099" y="386390"/>
                      <a:pt x="792368" y="384657"/>
                    </a:cubicBezTo>
                    <a:cubicBezTo>
                      <a:pt x="792898" y="389861"/>
                      <a:pt x="790219" y="394871"/>
                      <a:pt x="785586" y="397310"/>
                    </a:cubicBezTo>
                    <a:cubicBezTo>
                      <a:pt x="783175" y="398080"/>
                      <a:pt x="780929" y="399294"/>
                      <a:pt x="778974" y="400901"/>
                    </a:cubicBezTo>
                    <a:cubicBezTo>
                      <a:pt x="778096" y="402098"/>
                      <a:pt x="777373" y="403403"/>
                      <a:pt x="776808" y="404777"/>
                    </a:cubicBezTo>
                    <a:cubicBezTo>
                      <a:pt x="773902" y="410761"/>
                      <a:pt x="767746" y="414295"/>
                      <a:pt x="762959" y="418854"/>
                    </a:cubicBezTo>
                    <a:cubicBezTo>
                      <a:pt x="758171" y="423414"/>
                      <a:pt x="754637" y="431051"/>
                      <a:pt x="758342" y="436580"/>
                    </a:cubicBezTo>
                    <a:lnTo>
                      <a:pt x="750819" y="439885"/>
                    </a:lnTo>
                    <a:lnTo>
                      <a:pt x="750819" y="460461"/>
                    </a:lnTo>
                    <a:cubicBezTo>
                      <a:pt x="759340" y="465835"/>
                      <a:pt x="762474" y="476744"/>
                      <a:pt x="758114" y="485823"/>
                    </a:cubicBezTo>
                    <a:cubicBezTo>
                      <a:pt x="750477" y="500357"/>
                      <a:pt x="758114" y="520020"/>
                      <a:pt x="758114" y="536321"/>
                    </a:cubicBezTo>
                    <a:cubicBezTo>
                      <a:pt x="758496" y="540476"/>
                      <a:pt x="757869" y="544659"/>
                      <a:pt x="756290" y="548517"/>
                    </a:cubicBezTo>
                    <a:cubicBezTo>
                      <a:pt x="754541" y="552461"/>
                      <a:pt x="750226" y="554593"/>
                      <a:pt x="746031" y="553590"/>
                    </a:cubicBezTo>
                    <a:cubicBezTo>
                      <a:pt x="748995" y="563222"/>
                      <a:pt x="737710" y="570688"/>
                      <a:pt x="733093" y="579694"/>
                    </a:cubicBezTo>
                    <a:cubicBezTo>
                      <a:pt x="731389" y="583444"/>
                      <a:pt x="730215" y="587416"/>
                      <a:pt x="729617" y="591491"/>
                    </a:cubicBezTo>
                    <a:cubicBezTo>
                      <a:pt x="726767" y="606253"/>
                      <a:pt x="723917" y="621072"/>
                      <a:pt x="721125" y="635833"/>
                    </a:cubicBezTo>
                    <a:cubicBezTo>
                      <a:pt x="720042" y="641533"/>
                      <a:pt x="718389" y="647688"/>
                      <a:pt x="713259" y="650025"/>
                    </a:cubicBezTo>
                    <a:cubicBezTo>
                      <a:pt x="709954" y="651507"/>
                      <a:pt x="705964" y="650937"/>
                      <a:pt x="702886" y="652818"/>
                    </a:cubicBezTo>
                    <a:cubicBezTo>
                      <a:pt x="699809" y="654698"/>
                      <a:pt x="697871" y="660455"/>
                      <a:pt x="693881" y="662393"/>
                    </a:cubicBezTo>
                    <a:cubicBezTo>
                      <a:pt x="691145" y="663293"/>
                      <a:pt x="688227" y="663504"/>
                      <a:pt x="685389" y="663020"/>
                    </a:cubicBezTo>
                    <a:cubicBezTo>
                      <a:pt x="674115" y="662592"/>
                      <a:pt x="663526" y="668423"/>
                      <a:pt x="657860" y="678180"/>
                    </a:cubicBezTo>
                    <a:cubicBezTo>
                      <a:pt x="653455" y="675547"/>
                      <a:pt x="648576" y="673803"/>
                      <a:pt x="643498" y="673051"/>
                    </a:cubicBezTo>
                    <a:cubicBezTo>
                      <a:pt x="638288" y="672373"/>
                      <a:pt x="633165" y="674801"/>
                      <a:pt x="630389" y="679263"/>
                    </a:cubicBezTo>
                    <a:cubicBezTo>
                      <a:pt x="629078" y="681828"/>
                      <a:pt x="628964" y="684963"/>
                      <a:pt x="627482" y="687357"/>
                    </a:cubicBezTo>
                    <a:cubicBezTo>
                      <a:pt x="625390" y="690024"/>
                      <a:pt x="622552" y="692007"/>
                      <a:pt x="619332" y="693056"/>
                    </a:cubicBezTo>
                    <a:lnTo>
                      <a:pt x="598586" y="702460"/>
                    </a:lnTo>
                    <a:cubicBezTo>
                      <a:pt x="595930" y="703497"/>
                      <a:pt x="593496" y="705025"/>
                      <a:pt x="591405" y="706963"/>
                    </a:cubicBezTo>
                    <a:cubicBezTo>
                      <a:pt x="589752" y="708786"/>
                      <a:pt x="588726" y="711123"/>
                      <a:pt x="587073" y="712662"/>
                    </a:cubicBezTo>
                    <a:cubicBezTo>
                      <a:pt x="582057" y="718362"/>
                      <a:pt x="573337" y="717279"/>
                      <a:pt x="566327" y="719730"/>
                    </a:cubicBezTo>
                    <a:cubicBezTo>
                      <a:pt x="552990" y="724403"/>
                      <a:pt x="547804" y="740191"/>
                      <a:pt x="544441" y="753926"/>
                    </a:cubicBezTo>
                    <a:cubicBezTo>
                      <a:pt x="542748" y="758703"/>
                      <a:pt x="542606" y="763889"/>
                      <a:pt x="544042" y="768745"/>
                    </a:cubicBezTo>
                    <a:cubicBezTo>
                      <a:pt x="545524" y="771452"/>
                      <a:pt x="547239" y="774028"/>
                      <a:pt x="549171" y="776439"/>
                    </a:cubicBezTo>
                    <a:cubicBezTo>
                      <a:pt x="555133" y="786841"/>
                      <a:pt x="551537" y="800115"/>
                      <a:pt x="541129" y="806076"/>
                    </a:cubicBezTo>
                    <a:cubicBezTo>
                      <a:pt x="540964" y="806173"/>
                      <a:pt x="540793" y="806270"/>
                      <a:pt x="540622" y="806362"/>
                    </a:cubicBezTo>
                    <a:cubicBezTo>
                      <a:pt x="538114" y="807558"/>
                      <a:pt x="534923" y="808356"/>
                      <a:pt x="533783" y="810693"/>
                    </a:cubicBezTo>
                    <a:cubicBezTo>
                      <a:pt x="532985" y="812437"/>
                      <a:pt x="532358" y="814250"/>
                      <a:pt x="531902" y="816108"/>
                    </a:cubicBezTo>
                    <a:cubicBezTo>
                      <a:pt x="530021" y="820667"/>
                      <a:pt x="524721" y="822434"/>
                      <a:pt x="520503" y="824885"/>
                    </a:cubicBezTo>
                    <a:cubicBezTo>
                      <a:pt x="516286" y="827336"/>
                      <a:pt x="512353" y="832807"/>
                      <a:pt x="515260" y="836740"/>
                    </a:cubicBezTo>
                    <a:cubicBezTo>
                      <a:pt x="505109" y="835759"/>
                      <a:pt x="496081" y="843192"/>
                      <a:pt x="495101" y="853342"/>
                    </a:cubicBezTo>
                    <a:cubicBezTo>
                      <a:pt x="495021" y="854151"/>
                      <a:pt x="494998" y="854961"/>
                      <a:pt x="495026" y="855776"/>
                    </a:cubicBezTo>
                    <a:cubicBezTo>
                      <a:pt x="495026" y="857372"/>
                      <a:pt x="495368" y="859310"/>
                      <a:pt x="494115" y="860221"/>
                    </a:cubicBezTo>
                    <a:cubicBezTo>
                      <a:pt x="492861" y="861134"/>
                      <a:pt x="491436" y="860563"/>
                      <a:pt x="490068" y="860221"/>
                    </a:cubicBezTo>
                    <a:cubicBezTo>
                      <a:pt x="484522" y="860034"/>
                      <a:pt x="479587" y="863698"/>
                      <a:pt x="478156" y="869056"/>
                    </a:cubicBezTo>
                    <a:cubicBezTo>
                      <a:pt x="476896" y="874299"/>
                      <a:pt x="476896" y="879771"/>
                      <a:pt x="478156" y="885014"/>
                    </a:cubicBezTo>
                    <a:cubicBezTo>
                      <a:pt x="466757" y="891398"/>
                      <a:pt x="476560" y="911232"/>
                      <a:pt x="465788" y="918755"/>
                    </a:cubicBezTo>
                    <a:cubicBezTo>
                      <a:pt x="463394" y="920408"/>
                      <a:pt x="460089" y="921149"/>
                      <a:pt x="458607" y="923543"/>
                    </a:cubicBezTo>
                    <a:cubicBezTo>
                      <a:pt x="457125" y="925936"/>
                      <a:pt x="457467" y="929242"/>
                      <a:pt x="456669" y="932434"/>
                    </a:cubicBezTo>
                    <a:cubicBezTo>
                      <a:pt x="454845" y="938988"/>
                      <a:pt x="446980" y="941382"/>
                      <a:pt x="441622" y="945600"/>
                    </a:cubicBezTo>
                    <a:cubicBezTo>
                      <a:pt x="440676" y="946375"/>
                      <a:pt x="439782" y="947212"/>
                      <a:pt x="438944" y="948108"/>
                    </a:cubicBezTo>
                    <a:cubicBezTo>
                      <a:pt x="438944" y="947138"/>
                      <a:pt x="438944" y="946170"/>
                      <a:pt x="438944" y="945201"/>
                    </a:cubicBezTo>
                    <a:cubicBezTo>
                      <a:pt x="439833" y="932103"/>
                      <a:pt x="437542" y="918983"/>
                      <a:pt x="432275" y="906957"/>
                    </a:cubicBezTo>
                    <a:cubicBezTo>
                      <a:pt x="431021" y="903304"/>
                      <a:pt x="428645" y="900129"/>
                      <a:pt x="425493" y="897895"/>
                    </a:cubicBezTo>
                    <a:cubicBezTo>
                      <a:pt x="419793" y="894589"/>
                      <a:pt x="411187" y="897211"/>
                      <a:pt x="406514" y="892196"/>
                    </a:cubicBezTo>
                    <a:cubicBezTo>
                      <a:pt x="403778" y="889403"/>
                      <a:pt x="403151" y="884672"/>
                      <a:pt x="399731" y="882791"/>
                    </a:cubicBezTo>
                    <a:cubicBezTo>
                      <a:pt x="396312" y="880911"/>
                      <a:pt x="391182" y="882791"/>
                      <a:pt x="388332" y="880170"/>
                    </a:cubicBezTo>
                    <a:cubicBezTo>
                      <a:pt x="384286" y="876693"/>
                      <a:pt x="387477" y="868771"/>
                      <a:pt x="382975" y="865693"/>
                    </a:cubicBezTo>
                    <a:cubicBezTo>
                      <a:pt x="374973" y="866126"/>
                      <a:pt x="367033" y="864137"/>
                      <a:pt x="360177" y="859994"/>
                    </a:cubicBezTo>
                    <a:cubicBezTo>
                      <a:pt x="363198" y="853553"/>
                      <a:pt x="366161" y="847113"/>
                      <a:pt x="369125" y="840672"/>
                    </a:cubicBezTo>
                    <a:cubicBezTo>
                      <a:pt x="373628" y="830983"/>
                      <a:pt x="378814" y="820610"/>
                      <a:pt x="388446" y="816165"/>
                    </a:cubicBezTo>
                    <a:cubicBezTo>
                      <a:pt x="391889" y="815053"/>
                      <a:pt x="395183" y="813520"/>
                      <a:pt x="398249" y="811605"/>
                    </a:cubicBezTo>
                    <a:cubicBezTo>
                      <a:pt x="403949" y="807216"/>
                      <a:pt x="403949" y="798610"/>
                      <a:pt x="409135" y="793595"/>
                    </a:cubicBezTo>
                    <a:cubicBezTo>
                      <a:pt x="412954" y="790762"/>
                      <a:pt x="417086" y="788368"/>
                      <a:pt x="421446" y="786470"/>
                    </a:cubicBezTo>
                    <a:cubicBezTo>
                      <a:pt x="425436" y="783906"/>
                      <a:pt x="428742" y="778605"/>
                      <a:pt x="426234" y="774501"/>
                    </a:cubicBezTo>
                    <a:lnTo>
                      <a:pt x="434840" y="769657"/>
                    </a:lnTo>
                    <a:cubicBezTo>
                      <a:pt x="435946" y="764858"/>
                      <a:pt x="434356" y="759831"/>
                      <a:pt x="430679" y="756548"/>
                    </a:cubicBezTo>
                    <a:cubicBezTo>
                      <a:pt x="427830" y="754097"/>
                      <a:pt x="423840" y="752672"/>
                      <a:pt x="422244" y="749310"/>
                    </a:cubicBezTo>
                    <a:cubicBezTo>
                      <a:pt x="419907" y="744294"/>
                      <a:pt x="425664" y="737284"/>
                      <a:pt x="422244" y="733066"/>
                    </a:cubicBezTo>
                    <a:cubicBezTo>
                      <a:pt x="424393" y="727811"/>
                      <a:pt x="425590" y="722214"/>
                      <a:pt x="425778" y="716538"/>
                    </a:cubicBezTo>
                    <a:cubicBezTo>
                      <a:pt x="425841" y="710753"/>
                      <a:pt x="422763" y="705390"/>
                      <a:pt x="417742" y="702517"/>
                    </a:cubicBezTo>
                    <a:cubicBezTo>
                      <a:pt x="410845" y="699211"/>
                      <a:pt x="401840" y="703201"/>
                      <a:pt x="395229" y="699325"/>
                    </a:cubicBezTo>
                    <a:cubicBezTo>
                      <a:pt x="393633" y="690719"/>
                      <a:pt x="391980" y="682227"/>
                      <a:pt x="390384" y="673621"/>
                    </a:cubicBezTo>
                    <a:cubicBezTo>
                      <a:pt x="389888" y="668731"/>
                      <a:pt x="388122" y="664051"/>
                      <a:pt x="385255" y="660056"/>
                    </a:cubicBezTo>
                    <a:cubicBezTo>
                      <a:pt x="376534" y="650139"/>
                      <a:pt x="360234" y="656751"/>
                      <a:pt x="347353" y="653844"/>
                    </a:cubicBezTo>
                    <a:cubicBezTo>
                      <a:pt x="351012" y="637549"/>
                      <a:pt x="348767" y="620485"/>
                      <a:pt x="341027" y="605683"/>
                    </a:cubicBezTo>
                    <a:lnTo>
                      <a:pt x="344959" y="603460"/>
                    </a:lnTo>
                    <a:cubicBezTo>
                      <a:pt x="347427" y="583928"/>
                      <a:pt x="349861" y="564379"/>
                      <a:pt x="352255" y="544813"/>
                    </a:cubicBezTo>
                    <a:cubicBezTo>
                      <a:pt x="352540" y="542533"/>
                      <a:pt x="352711" y="539854"/>
                      <a:pt x="350944" y="538429"/>
                    </a:cubicBezTo>
                    <a:cubicBezTo>
                      <a:pt x="349177" y="537005"/>
                      <a:pt x="346327" y="537631"/>
                      <a:pt x="344104" y="536890"/>
                    </a:cubicBezTo>
                    <a:cubicBezTo>
                      <a:pt x="340229" y="535693"/>
                      <a:pt x="339032" y="530792"/>
                      <a:pt x="339260" y="526802"/>
                    </a:cubicBezTo>
                    <a:cubicBezTo>
                      <a:pt x="340052" y="522835"/>
                      <a:pt x="339796" y="518726"/>
                      <a:pt x="338519" y="514891"/>
                    </a:cubicBezTo>
                    <a:cubicBezTo>
                      <a:pt x="335612" y="509191"/>
                      <a:pt x="327690" y="508792"/>
                      <a:pt x="321421" y="509932"/>
                    </a:cubicBezTo>
                    <a:cubicBezTo>
                      <a:pt x="315151" y="511072"/>
                      <a:pt x="308198" y="512953"/>
                      <a:pt x="302840" y="509476"/>
                    </a:cubicBezTo>
                    <a:cubicBezTo>
                      <a:pt x="299614" y="506968"/>
                      <a:pt x="297277" y="503492"/>
                      <a:pt x="296172" y="499559"/>
                    </a:cubicBezTo>
                    <a:cubicBezTo>
                      <a:pt x="290455" y="483845"/>
                      <a:pt x="290033" y="466690"/>
                      <a:pt x="294975" y="450714"/>
                    </a:cubicBezTo>
                    <a:lnTo>
                      <a:pt x="283576" y="451056"/>
                    </a:lnTo>
                    <a:cubicBezTo>
                      <a:pt x="284830" y="447238"/>
                      <a:pt x="280498" y="443704"/>
                      <a:pt x="276509" y="443362"/>
                    </a:cubicBezTo>
                    <a:cubicBezTo>
                      <a:pt x="272519" y="443020"/>
                      <a:pt x="268529" y="444502"/>
                      <a:pt x="264540" y="444160"/>
                    </a:cubicBezTo>
                    <a:cubicBezTo>
                      <a:pt x="260550" y="443818"/>
                      <a:pt x="256219" y="440341"/>
                      <a:pt x="257415" y="436523"/>
                    </a:cubicBezTo>
                    <a:lnTo>
                      <a:pt x="242540" y="437321"/>
                    </a:lnTo>
                    <a:cubicBezTo>
                      <a:pt x="243452" y="423927"/>
                      <a:pt x="228006" y="413326"/>
                      <a:pt x="214954" y="416346"/>
                    </a:cubicBezTo>
                    <a:cubicBezTo>
                      <a:pt x="212623" y="417196"/>
                      <a:pt x="210133" y="417526"/>
                      <a:pt x="207659" y="417316"/>
                    </a:cubicBezTo>
                    <a:cubicBezTo>
                      <a:pt x="204353" y="416632"/>
                      <a:pt x="202245" y="413611"/>
                      <a:pt x="199794" y="411616"/>
                    </a:cubicBezTo>
                    <a:cubicBezTo>
                      <a:pt x="197343" y="409621"/>
                      <a:pt x="193182" y="407854"/>
                      <a:pt x="190846" y="410248"/>
                    </a:cubicBezTo>
                    <a:cubicBezTo>
                      <a:pt x="190561" y="405461"/>
                      <a:pt x="190333" y="400730"/>
                      <a:pt x="190048" y="395943"/>
                    </a:cubicBezTo>
                    <a:cubicBezTo>
                      <a:pt x="183094" y="398279"/>
                      <a:pt x="177452" y="388989"/>
                      <a:pt x="178649" y="381751"/>
                    </a:cubicBezTo>
                    <a:cubicBezTo>
                      <a:pt x="179846" y="374512"/>
                      <a:pt x="183892" y="367730"/>
                      <a:pt x="183607" y="360435"/>
                    </a:cubicBezTo>
                    <a:cubicBezTo>
                      <a:pt x="183755" y="357334"/>
                      <a:pt x="182319" y="354371"/>
                      <a:pt x="179789" y="352569"/>
                    </a:cubicBezTo>
                    <a:cubicBezTo>
                      <a:pt x="178028" y="351663"/>
                      <a:pt x="176067" y="351230"/>
                      <a:pt x="174089" y="351316"/>
                    </a:cubicBezTo>
                    <a:cubicBezTo>
                      <a:pt x="166338" y="350917"/>
                      <a:pt x="156706" y="351316"/>
                      <a:pt x="153343" y="358497"/>
                    </a:cubicBezTo>
                    <a:lnTo>
                      <a:pt x="141317" y="358497"/>
                    </a:lnTo>
                    <a:cubicBezTo>
                      <a:pt x="138296" y="361894"/>
                      <a:pt x="136592" y="366260"/>
                      <a:pt x="136530" y="370808"/>
                    </a:cubicBezTo>
                    <a:lnTo>
                      <a:pt x="124162" y="370808"/>
                    </a:lnTo>
                    <a:cubicBezTo>
                      <a:pt x="124732" y="373942"/>
                      <a:pt x="121882" y="376507"/>
                      <a:pt x="119317" y="378388"/>
                    </a:cubicBezTo>
                    <a:lnTo>
                      <a:pt x="110198" y="384999"/>
                    </a:lnTo>
                    <a:lnTo>
                      <a:pt x="102846" y="390699"/>
                    </a:lnTo>
                    <a:cubicBezTo>
                      <a:pt x="100446" y="386043"/>
                      <a:pt x="95465" y="383313"/>
                      <a:pt x="90250" y="383803"/>
                    </a:cubicBezTo>
                    <a:cubicBezTo>
                      <a:pt x="84596" y="384697"/>
                      <a:pt x="78879" y="385176"/>
                      <a:pt x="73151" y="385228"/>
                    </a:cubicBezTo>
                    <a:lnTo>
                      <a:pt x="64032" y="351031"/>
                    </a:lnTo>
                    <a:cubicBezTo>
                      <a:pt x="64032" y="356217"/>
                      <a:pt x="57706" y="358839"/>
                      <a:pt x="52633" y="359352"/>
                    </a:cubicBezTo>
                    <a:cubicBezTo>
                      <a:pt x="47863" y="359859"/>
                      <a:pt x="43041" y="359415"/>
                      <a:pt x="38442" y="358041"/>
                    </a:cubicBezTo>
                    <a:cubicBezTo>
                      <a:pt x="30103" y="354627"/>
                      <a:pt x="22945" y="348842"/>
                      <a:pt x="17867" y="341399"/>
                    </a:cubicBezTo>
                    <a:cubicBezTo>
                      <a:pt x="14846" y="337523"/>
                      <a:pt x="12167" y="333533"/>
                      <a:pt x="9260" y="329373"/>
                    </a:cubicBezTo>
                    <a:cubicBezTo>
                      <a:pt x="4707" y="323052"/>
                      <a:pt x="1629" y="315785"/>
                      <a:pt x="255" y="308114"/>
                    </a:cubicBezTo>
                    <a:cubicBezTo>
                      <a:pt x="-463" y="302534"/>
                      <a:pt x="341" y="296857"/>
                      <a:pt x="2592" y="291699"/>
                    </a:cubicBezTo>
                    <a:cubicBezTo>
                      <a:pt x="3578" y="289949"/>
                      <a:pt x="4165" y="288006"/>
                      <a:pt x="4302" y="286000"/>
                    </a:cubicBezTo>
                    <a:cubicBezTo>
                      <a:pt x="4302" y="283720"/>
                      <a:pt x="2535" y="281611"/>
                      <a:pt x="2934" y="279331"/>
                    </a:cubicBezTo>
                    <a:cubicBezTo>
                      <a:pt x="3561" y="276140"/>
                      <a:pt x="7493" y="275000"/>
                      <a:pt x="9488" y="272549"/>
                    </a:cubicBezTo>
                    <a:cubicBezTo>
                      <a:pt x="12908" y="268388"/>
                      <a:pt x="10229" y="262119"/>
                      <a:pt x="11597" y="256989"/>
                    </a:cubicBezTo>
                    <a:cubicBezTo>
                      <a:pt x="12395" y="254561"/>
                      <a:pt x="13695" y="252327"/>
                      <a:pt x="15416" y="250435"/>
                    </a:cubicBezTo>
                    <a:cubicBezTo>
                      <a:pt x="18796" y="246172"/>
                      <a:pt x="22409" y="242097"/>
                      <a:pt x="26245" y="238238"/>
                    </a:cubicBezTo>
                    <a:cubicBezTo>
                      <a:pt x="34680" y="229164"/>
                      <a:pt x="45207" y="222297"/>
                      <a:pt x="56908" y="218233"/>
                    </a:cubicBezTo>
                    <a:cubicBezTo>
                      <a:pt x="62277" y="217161"/>
                      <a:pt x="67475" y="215360"/>
                      <a:pt x="72353" y="212875"/>
                    </a:cubicBezTo>
                    <a:cubicBezTo>
                      <a:pt x="80789" y="207176"/>
                      <a:pt x="82898" y="196575"/>
                      <a:pt x="81758" y="186145"/>
                    </a:cubicBezTo>
                    <a:cubicBezTo>
                      <a:pt x="87075" y="179448"/>
                      <a:pt x="90586" y="171503"/>
                      <a:pt x="91960" y="163062"/>
                    </a:cubicBezTo>
                    <a:cubicBezTo>
                      <a:pt x="93909" y="154490"/>
                      <a:pt x="91447" y="145508"/>
                      <a:pt x="85405" y="139124"/>
                    </a:cubicBezTo>
                    <a:cubicBezTo>
                      <a:pt x="88825" y="134280"/>
                      <a:pt x="82840" y="128466"/>
                      <a:pt x="80675" y="122938"/>
                    </a:cubicBezTo>
                    <a:cubicBezTo>
                      <a:pt x="78133" y="116326"/>
                      <a:pt x="81427" y="108906"/>
                      <a:pt x="88039" y="106364"/>
                    </a:cubicBezTo>
                    <a:cubicBezTo>
                      <a:pt x="91185" y="105155"/>
                      <a:pt x="94684" y="105229"/>
                      <a:pt x="97773" y="106580"/>
                    </a:cubicBezTo>
                    <a:cubicBezTo>
                      <a:pt x="98172" y="104414"/>
                      <a:pt x="98514" y="102192"/>
                      <a:pt x="98913" y="99969"/>
                    </a:cubicBezTo>
                    <a:cubicBezTo>
                      <a:pt x="94564" y="99245"/>
                      <a:pt x="90426" y="97592"/>
                      <a:pt x="86773" y="95124"/>
                    </a:cubicBezTo>
                    <a:cubicBezTo>
                      <a:pt x="83182" y="92542"/>
                      <a:pt x="81627" y="87960"/>
                      <a:pt x="82898" y="83725"/>
                    </a:cubicBezTo>
                    <a:cubicBezTo>
                      <a:pt x="85234" y="78026"/>
                      <a:pt x="92644" y="77456"/>
                      <a:pt x="98628" y="77570"/>
                    </a:cubicBezTo>
                    <a:lnTo>
                      <a:pt x="123079" y="78026"/>
                    </a:lnTo>
                    <a:cubicBezTo>
                      <a:pt x="128185" y="78510"/>
                      <a:pt x="133309" y="77308"/>
                      <a:pt x="137669" y="74606"/>
                    </a:cubicBezTo>
                    <a:cubicBezTo>
                      <a:pt x="139795" y="82084"/>
                      <a:pt x="145535" y="87989"/>
                      <a:pt x="152944" y="90337"/>
                    </a:cubicBezTo>
                    <a:cubicBezTo>
                      <a:pt x="151719" y="93061"/>
                      <a:pt x="152693" y="96276"/>
                      <a:pt x="155224" y="97860"/>
                    </a:cubicBezTo>
                    <a:cubicBezTo>
                      <a:pt x="157743" y="99319"/>
                      <a:pt x="160581" y="100140"/>
                      <a:pt x="163488" y="100254"/>
                    </a:cubicBezTo>
                    <a:lnTo>
                      <a:pt x="186001" y="102705"/>
                    </a:lnTo>
                    <a:cubicBezTo>
                      <a:pt x="185374" y="98031"/>
                      <a:pt x="186001" y="91648"/>
                      <a:pt x="190390" y="90508"/>
                    </a:cubicBezTo>
                    <a:cubicBezTo>
                      <a:pt x="192305" y="90314"/>
                      <a:pt x="194237" y="90491"/>
                      <a:pt x="196089" y="91021"/>
                    </a:cubicBezTo>
                    <a:cubicBezTo>
                      <a:pt x="199389" y="91596"/>
                      <a:pt x="202757" y="90508"/>
                      <a:pt x="205094" y="88114"/>
                    </a:cubicBezTo>
                    <a:cubicBezTo>
                      <a:pt x="207397" y="85635"/>
                      <a:pt x="207659" y="81884"/>
                      <a:pt x="205721" y="79109"/>
                    </a:cubicBezTo>
                    <a:cubicBezTo>
                      <a:pt x="210315" y="80078"/>
                      <a:pt x="215046" y="78220"/>
                      <a:pt x="217747" y="74378"/>
                    </a:cubicBezTo>
                    <a:cubicBezTo>
                      <a:pt x="220335" y="70531"/>
                      <a:pt x="221759" y="66017"/>
                      <a:pt x="221851" y="61383"/>
                    </a:cubicBezTo>
                    <a:cubicBezTo>
                      <a:pt x="212561" y="60871"/>
                      <a:pt x="208172" y="49984"/>
                      <a:pt x="206006" y="40865"/>
                    </a:cubicBezTo>
                    <a:lnTo>
                      <a:pt x="204011" y="32772"/>
                    </a:lnTo>
                    <a:cubicBezTo>
                      <a:pt x="202552" y="28270"/>
                      <a:pt x="202125" y="23499"/>
                      <a:pt x="202757" y="18808"/>
                    </a:cubicBezTo>
                    <a:cubicBezTo>
                      <a:pt x="209004" y="15850"/>
                      <a:pt x="216453" y="17492"/>
                      <a:pt x="220882" y="22798"/>
                    </a:cubicBezTo>
                    <a:cubicBezTo>
                      <a:pt x="221891" y="24474"/>
                      <a:pt x="223179" y="25955"/>
                      <a:pt x="224700" y="27187"/>
                    </a:cubicBezTo>
                    <a:cubicBezTo>
                      <a:pt x="227208" y="28839"/>
                      <a:pt x="230400" y="28155"/>
                      <a:pt x="233478" y="28839"/>
                    </a:cubicBezTo>
                    <a:cubicBezTo>
                      <a:pt x="236555" y="29523"/>
                      <a:pt x="239177" y="33342"/>
                      <a:pt x="236783" y="35280"/>
                    </a:cubicBezTo>
                    <a:cubicBezTo>
                      <a:pt x="239234" y="37959"/>
                      <a:pt x="243623" y="34197"/>
                      <a:pt x="244307" y="30606"/>
                    </a:cubicBezTo>
                    <a:cubicBezTo>
                      <a:pt x="244991" y="27016"/>
                      <a:pt x="244934" y="22570"/>
                      <a:pt x="248125" y="20746"/>
                    </a:cubicBezTo>
                    <a:cubicBezTo>
                      <a:pt x="249584" y="20062"/>
                      <a:pt x="251192" y="19766"/>
                      <a:pt x="252799" y="19891"/>
                    </a:cubicBezTo>
                    <a:lnTo>
                      <a:pt x="269897" y="19891"/>
                    </a:lnTo>
                    <a:cubicBezTo>
                      <a:pt x="268301" y="16358"/>
                      <a:pt x="271892" y="12596"/>
                      <a:pt x="275597" y="11000"/>
                    </a:cubicBezTo>
                    <a:cubicBezTo>
                      <a:pt x="279301" y="9404"/>
                      <a:pt x="283405" y="8378"/>
                      <a:pt x="285286" y="4959"/>
                    </a:cubicBezTo>
                    <a:cubicBezTo>
                      <a:pt x="286095" y="3443"/>
                      <a:pt x="286357" y="1687"/>
                      <a:pt x="286027" y="0"/>
                    </a:cubicBezTo>
                    <a:cubicBezTo>
                      <a:pt x="287856" y="513"/>
                      <a:pt x="289515" y="1516"/>
                      <a:pt x="290814" y="2907"/>
                    </a:cubicBezTo>
                    <a:cubicBezTo>
                      <a:pt x="293550" y="5871"/>
                      <a:pt x="294519" y="10943"/>
                      <a:pt x="298395" y="11855"/>
                    </a:cubicBezTo>
                    <a:cubicBezTo>
                      <a:pt x="299859" y="11935"/>
                      <a:pt x="301307" y="12163"/>
                      <a:pt x="302726" y="12539"/>
                    </a:cubicBezTo>
                    <a:cubicBezTo>
                      <a:pt x="303684" y="13092"/>
                      <a:pt x="304442" y="13930"/>
                      <a:pt x="304892" y="14933"/>
                    </a:cubicBezTo>
                    <a:cubicBezTo>
                      <a:pt x="309509" y="23653"/>
                      <a:pt x="303752" y="33912"/>
                      <a:pt x="301415" y="43430"/>
                    </a:cubicBezTo>
                    <a:cubicBezTo>
                      <a:pt x="299990" y="50748"/>
                      <a:pt x="299586" y="58232"/>
                      <a:pt x="300219" y="65658"/>
                    </a:cubicBezTo>
                    <a:lnTo>
                      <a:pt x="309623" y="71358"/>
                    </a:lnTo>
                    <a:cubicBezTo>
                      <a:pt x="311025" y="72093"/>
                      <a:pt x="312250" y="73124"/>
                      <a:pt x="313213" y="74378"/>
                    </a:cubicBezTo>
                    <a:cubicBezTo>
                      <a:pt x="313977" y="75803"/>
                      <a:pt x="314570" y="77313"/>
                      <a:pt x="314980" y="78881"/>
                    </a:cubicBezTo>
                    <a:cubicBezTo>
                      <a:pt x="318343" y="87772"/>
                      <a:pt x="329799" y="90280"/>
                      <a:pt x="339317" y="89767"/>
                    </a:cubicBezTo>
                    <a:cubicBezTo>
                      <a:pt x="341830" y="90018"/>
                      <a:pt x="344315" y="89037"/>
                      <a:pt x="345985" y="87145"/>
                    </a:cubicBezTo>
                    <a:cubicBezTo>
                      <a:pt x="347638" y="84238"/>
                      <a:pt x="345244" y="80192"/>
                      <a:pt x="346954" y="77342"/>
                    </a:cubicBezTo>
                    <a:cubicBezTo>
                      <a:pt x="348664" y="74492"/>
                      <a:pt x="354648" y="76031"/>
                      <a:pt x="358866" y="75803"/>
                    </a:cubicBezTo>
                    <a:cubicBezTo>
                      <a:pt x="363380" y="75216"/>
                      <a:pt x="367016" y="71825"/>
                      <a:pt x="367928" y="67368"/>
                    </a:cubicBezTo>
                    <a:cubicBezTo>
                      <a:pt x="368071" y="66251"/>
                      <a:pt x="368071" y="65122"/>
                      <a:pt x="367928" y="64005"/>
                    </a:cubicBezTo>
                    <a:cubicBezTo>
                      <a:pt x="372203" y="70047"/>
                      <a:pt x="374996" y="77684"/>
                      <a:pt x="381949" y="79451"/>
                    </a:cubicBezTo>
                    <a:cubicBezTo>
                      <a:pt x="383260" y="79907"/>
                      <a:pt x="384685" y="79907"/>
                      <a:pt x="385996" y="79451"/>
                    </a:cubicBezTo>
                    <a:cubicBezTo>
                      <a:pt x="388566" y="77758"/>
                      <a:pt x="389837" y="74652"/>
                      <a:pt x="389187" y="71642"/>
                    </a:cubicBezTo>
                    <a:cubicBezTo>
                      <a:pt x="388594" y="68690"/>
                      <a:pt x="388594" y="65647"/>
                      <a:pt x="389187" y="62694"/>
                    </a:cubicBezTo>
                    <a:lnTo>
                      <a:pt x="409591" y="61782"/>
                    </a:lnTo>
                    <a:cubicBezTo>
                      <a:pt x="410999" y="61834"/>
                      <a:pt x="412384" y="61412"/>
                      <a:pt x="413524" y="60585"/>
                    </a:cubicBezTo>
                    <a:cubicBezTo>
                      <a:pt x="414949" y="59275"/>
                      <a:pt x="414949" y="56710"/>
                      <a:pt x="416659" y="55855"/>
                    </a:cubicBezTo>
                    <a:cubicBezTo>
                      <a:pt x="418368" y="55000"/>
                      <a:pt x="419395" y="55855"/>
                      <a:pt x="420762" y="55855"/>
                    </a:cubicBezTo>
                    <a:lnTo>
                      <a:pt x="421161" y="55855"/>
                    </a:lnTo>
                    <a:cubicBezTo>
                      <a:pt x="422586" y="59617"/>
                      <a:pt x="422700" y="63891"/>
                      <a:pt x="423954" y="67767"/>
                    </a:cubicBezTo>
                    <a:cubicBezTo>
                      <a:pt x="425208" y="71642"/>
                      <a:pt x="430508" y="76658"/>
                      <a:pt x="434783" y="74378"/>
                    </a:cubicBezTo>
                    <a:cubicBezTo>
                      <a:pt x="436082" y="73449"/>
                      <a:pt x="437319" y="72440"/>
                      <a:pt x="438488" y="71358"/>
                    </a:cubicBezTo>
                    <a:cubicBezTo>
                      <a:pt x="444187" y="67026"/>
                      <a:pt x="452793" y="73067"/>
                      <a:pt x="460032" y="71757"/>
                    </a:cubicBezTo>
                    <a:cubicBezTo>
                      <a:pt x="459228" y="68730"/>
                      <a:pt x="458960" y="65584"/>
                      <a:pt x="459234" y="62466"/>
                    </a:cubicBezTo>
                    <a:cubicBezTo>
                      <a:pt x="459524" y="59280"/>
                      <a:pt x="461474" y="56488"/>
                      <a:pt x="464363" y="55114"/>
                    </a:cubicBezTo>
                    <a:cubicBezTo>
                      <a:pt x="465720" y="54692"/>
                      <a:pt x="467110" y="54384"/>
                      <a:pt x="468524" y="54202"/>
                    </a:cubicBezTo>
                    <a:cubicBezTo>
                      <a:pt x="471516" y="53421"/>
                      <a:pt x="474360" y="52167"/>
                      <a:pt x="476959" y="50497"/>
                    </a:cubicBezTo>
                    <a:lnTo>
                      <a:pt x="480892" y="48275"/>
                    </a:lnTo>
                    <a:lnTo>
                      <a:pt x="483058" y="48275"/>
                    </a:lnTo>
                    <a:cubicBezTo>
                      <a:pt x="484585" y="56710"/>
                      <a:pt x="488170" y="64638"/>
                      <a:pt x="493488" y="71358"/>
                    </a:cubicBezTo>
                    <a:lnTo>
                      <a:pt x="505855" y="75347"/>
                    </a:lnTo>
                    <a:lnTo>
                      <a:pt x="506596" y="88171"/>
                    </a:lnTo>
                    <a:cubicBezTo>
                      <a:pt x="512074" y="87857"/>
                      <a:pt x="517380" y="90109"/>
                      <a:pt x="520959" y="94269"/>
                    </a:cubicBezTo>
                    <a:cubicBezTo>
                      <a:pt x="517311" y="104369"/>
                      <a:pt x="509982" y="112713"/>
                      <a:pt x="500441" y="117637"/>
                    </a:cubicBezTo>
                    <a:cubicBezTo>
                      <a:pt x="496138" y="119296"/>
                      <a:pt x="492131" y="121644"/>
                      <a:pt x="488586" y="124591"/>
                    </a:cubicBezTo>
                    <a:cubicBezTo>
                      <a:pt x="485047" y="127834"/>
                      <a:pt x="484767" y="133316"/>
                      <a:pt x="487959" y="136901"/>
                    </a:cubicBezTo>
                    <a:lnTo>
                      <a:pt x="503234" y="141233"/>
                    </a:lnTo>
                    <a:cubicBezTo>
                      <a:pt x="504231" y="136223"/>
                      <a:pt x="504459" y="131094"/>
                      <a:pt x="503918" y="126015"/>
                    </a:cubicBezTo>
                    <a:cubicBezTo>
                      <a:pt x="510831" y="120527"/>
                      <a:pt x="520201" y="119279"/>
                      <a:pt x="528311" y="122767"/>
                    </a:cubicBezTo>
                    <a:cubicBezTo>
                      <a:pt x="536211" y="126295"/>
                      <a:pt x="543398" y="131242"/>
                      <a:pt x="549513" y="137357"/>
                    </a:cubicBezTo>
                    <a:cubicBezTo>
                      <a:pt x="551565" y="139181"/>
                      <a:pt x="553788" y="141632"/>
                      <a:pt x="553047" y="144197"/>
                    </a:cubicBezTo>
                    <a:lnTo>
                      <a:pt x="543814" y="144197"/>
                    </a:lnTo>
                    <a:cubicBezTo>
                      <a:pt x="546037" y="149269"/>
                      <a:pt x="539653" y="153601"/>
                      <a:pt x="534638" y="155596"/>
                    </a:cubicBezTo>
                    <a:cubicBezTo>
                      <a:pt x="529622" y="157591"/>
                      <a:pt x="523980" y="163689"/>
                      <a:pt x="527570" y="167907"/>
                    </a:cubicBezTo>
                    <a:cubicBezTo>
                      <a:pt x="529731" y="169685"/>
                      <a:pt x="532563" y="170431"/>
                      <a:pt x="535322" y="169958"/>
                    </a:cubicBezTo>
                    <a:cubicBezTo>
                      <a:pt x="538935" y="170164"/>
                      <a:pt x="542537" y="169337"/>
                      <a:pt x="545695" y="167565"/>
                    </a:cubicBezTo>
                    <a:cubicBezTo>
                      <a:pt x="548750" y="165627"/>
                      <a:pt x="549662" y="161575"/>
                      <a:pt x="547724" y="158520"/>
                    </a:cubicBezTo>
                    <a:cubicBezTo>
                      <a:pt x="547655" y="158417"/>
                      <a:pt x="547587" y="158314"/>
                      <a:pt x="547519" y="158217"/>
                    </a:cubicBezTo>
                    <a:cubicBezTo>
                      <a:pt x="555190" y="151030"/>
                      <a:pt x="566418" y="149144"/>
                      <a:pt x="576016" y="153430"/>
                    </a:cubicBezTo>
                    <a:cubicBezTo>
                      <a:pt x="579709" y="155368"/>
                      <a:pt x="583249" y="157579"/>
                      <a:pt x="586617" y="160041"/>
                    </a:cubicBezTo>
                    <a:cubicBezTo>
                      <a:pt x="601664" y="169616"/>
                      <a:pt x="620130" y="171896"/>
                      <a:pt x="637912" y="173834"/>
                    </a:cubicBezTo>
                    <a:cubicBezTo>
                      <a:pt x="638995" y="171668"/>
                      <a:pt x="642700" y="173492"/>
                      <a:pt x="642244" y="175886"/>
                    </a:cubicBezTo>
                    <a:lnTo>
                      <a:pt x="638311" y="197145"/>
                    </a:lnTo>
                    <a:cubicBezTo>
                      <a:pt x="642574" y="198387"/>
                      <a:pt x="647031" y="195942"/>
                      <a:pt x="648274" y="191679"/>
                    </a:cubicBezTo>
                    <a:cubicBezTo>
                      <a:pt x="648382" y="191320"/>
                      <a:pt x="648462" y="190961"/>
                      <a:pt x="648513" y="190590"/>
                    </a:cubicBezTo>
                    <a:cubicBezTo>
                      <a:pt x="655239" y="189451"/>
                      <a:pt x="661052" y="196860"/>
                      <a:pt x="667835" y="196290"/>
                    </a:cubicBezTo>
                    <a:cubicBezTo>
                      <a:pt x="674617" y="195720"/>
                      <a:pt x="679234" y="185461"/>
                      <a:pt x="687042" y="184891"/>
                    </a:cubicBezTo>
                    <a:cubicBezTo>
                      <a:pt x="691949" y="184800"/>
                      <a:pt x="696007" y="188698"/>
                      <a:pt x="696104" y="193611"/>
                    </a:cubicBezTo>
                    <a:cubicBezTo>
                      <a:pt x="696115" y="194341"/>
                      <a:pt x="696041" y="195064"/>
                      <a:pt x="695876" y="195777"/>
                    </a:cubicBezTo>
                    <a:cubicBezTo>
                      <a:pt x="712974" y="191217"/>
                      <a:pt x="730073" y="183922"/>
                      <a:pt x="747741" y="187057"/>
                    </a:cubicBezTo>
                    <a:cubicBezTo>
                      <a:pt x="753840" y="188140"/>
                      <a:pt x="761021" y="193839"/>
                      <a:pt x="757772" y="199140"/>
                    </a:cubicBezTo>
                    <a:cubicBezTo>
                      <a:pt x="763546" y="198758"/>
                      <a:pt x="768994" y="201853"/>
                      <a:pt x="771622" y="207005"/>
                    </a:cubicBezTo>
                    <a:cubicBezTo>
                      <a:pt x="772266" y="208618"/>
                      <a:pt x="773030" y="210180"/>
                      <a:pt x="773902" y="211679"/>
                    </a:cubicBezTo>
                    <a:cubicBezTo>
                      <a:pt x="777093" y="216238"/>
                      <a:pt x="785301" y="218860"/>
                      <a:pt x="783363" y="224103"/>
                    </a:cubicBezTo>
                    <a:lnTo>
                      <a:pt x="795959" y="224103"/>
                    </a:lnTo>
                    <a:cubicBezTo>
                      <a:pt x="796586" y="228264"/>
                      <a:pt x="797156" y="232425"/>
                      <a:pt x="797725" y="236642"/>
                    </a:cubicBezTo>
                    <a:cubicBezTo>
                      <a:pt x="807472" y="236015"/>
                      <a:pt x="819783" y="237041"/>
                      <a:pt x="823145" y="246160"/>
                    </a:cubicBezTo>
                    <a:cubicBezTo>
                      <a:pt x="824171" y="248896"/>
                      <a:pt x="824342" y="252202"/>
                      <a:pt x="826679" y="253855"/>
                    </a:cubicBezTo>
                    <a:cubicBezTo>
                      <a:pt x="829016" y="255507"/>
                      <a:pt x="833689" y="254140"/>
                      <a:pt x="836482" y="256077"/>
                    </a:cubicBezTo>
                    <a:cubicBezTo>
                      <a:pt x="839275" y="258015"/>
                      <a:pt x="838933" y="260352"/>
                      <a:pt x="839902" y="262689"/>
                    </a:cubicBezTo>
                    <a:cubicBezTo>
                      <a:pt x="840871" y="265025"/>
                      <a:pt x="843777" y="267134"/>
                      <a:pt x="845601" y="265595"/>
                    </a:cubicBezTo>
                    <a:cubicBezTo>
                      <a:pt x="847750" y="282187"/>
                      <a:pt x="847157" y="299012"/>
                      <a:pt x="843834" y="31540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87" name="Freihandform: Form 303">
                <a:extLst>
                  <a:ext uri="{FF2B5EF4-FFF2-40B4-BE49-F238E27FC236}">
                    <a16:creationId xmlns:a16="http://schemas.microsoft.com/office/drawing/2014/main" id="{51687E57-254F-8636-8074-B2178BC92EC8}"/>
                  </a:ext>
                </a:extLst>
              </p:cNvPr>
              <p:cNvSpPr/>
              <p:nvPr/>
            </p:nvSpPr>
            <p:spPr>
              <a:xfrm>
                <a:off x="2240099" y="4488668"/>
                <a:ext cx="264275" cy="330067"/>
              </a:xfrm>
              <a:custGeom>
                <a:avLst/>
                <a:gdLst>
                  <a:gd name="connsiteX0" fmla="*/ 4870 w 264275"/>
                  <a:gd name="connsiteY0" fmla="*/ 200090 h 330067"/>
                  <a:gd name="connsiteX1" fmla="*/ 26 w 264275"/>
                  <a:gd name="connsiteY1" fmla="*/ 186924 h 330067"/>
                  <a:gd name="connsiteX2" fmla="*/ 15186 w 264275"/>
                  <a:gd name="connsiteY2" fmla="*/ 169826 h 330067"/>
                  <a:gd name="connsiteX3" fmla="*/ 8290 w 264275"/>
                  <a:gd name="connsiteY3" fmla="*/ 156090 h 330067"/>
                  <a:gd name="connsiteX4" fmla="*/ 9544 w 264275"/>
                  <a:gd name="connsiteY4" fmla="*/ 146743 h 330067"/>
                  <a:gd name="connsiteX5" fmla="*/ 13078 w 264275"/>
                  <a:gd name="connsiteY5" fmla="*/ 113287 h 330067"/>
                  <a:gd name="connsiteX6" fmla="*/ 13761 w 264275"/>
                  <a:gd name="connsiteY6" fmla="*/ 80059 h 330067"/>
                  <a:gd name="connsiteX7" fmla="*/ 11710 w 264275"/>
                  <a:gd name="connsiteY7" fmla="*/ 75842 h 330067"/>
                  <a:gd name="connsiteX8" fmla="*/ 17409 w 264275"/>
                  <a:gd name="connsiteY8" fmla="*/ 67179 h 330067"/>
                  <a:gd name="connsiteX9" fmla="*/ 14217 w 264275"/>
                  <a:gd name="connsiteY9" fmla="*/ 48655 h 330067"/>
                  <a:gd name="connsiteX10" fmla="*/ 15072 w 264275"/>
                  <a:gd name="connsiteY10" fmla="*/ 41132 h 330067"/>
                  <a:gd name="connsiteX11" fmla="*/ 14673 w 264275"/>
                  <a:gd name="connsiteY11" fmla="*/ 39479 h 330067"/>
                  <a:gd name="connsiteX12" fmla="*/ 22026 w 264275"/>
                  <a:gd name="connsiteY12" fmla="*/ 33780 h 330067"/>
                  <a:gd name="connsiteX13" fmla="*/ 31145 w 264275"/>
                  <a:gd name="connsiteY13" fmla="*/ 27168 h 330067"/>
                  <a:gd name="connsiteX14" fmla="*/ 35989 w 264275"/>
                  <a:gd name="connsiteY14" fmla="*/ 19588 h 330067"/>
                  <a:gd name="connsiteX15" fmla="*/ 48357 w 264275"/>
                  <a:gd name="connsiteY15" fmla="*/ 19588 h 330067"/>
                  <a:gd name="connsiteX16" fmla="*/ 53145 w 264275"/>
                  <a:gd name="connsiteY16" fmla="*/ 7277 h 330067"/>
                  <a:gd name="connsiteX17" fmla="*/ 65171 w 264275"/>
                  <a:gd name="connsiteY17" fmla="*/ 7277 h 330067"/>
                  <a:gd name="connsiteX18" fmla="*/ 85917 w 264275"/>
                  <a:gd name="connsiteY18" fmla="*/ 96 h 330067"/>
                  <a:gd name="connsiteX19" fmla="*/ 91616 w 264275"/>
                  <a:gd name="connsiteY19" fmla="*/ 1349 h 330067"/>
                  <a:gd name="connsiteX20" fmla="*/ 95435 w 264275"/>
                  <a:gd name="connsiteY20" fmla="*/ 9215 h 330067"/>
                  <a:gd name="connsiteX21" fmla="*/ 90476 w 264275"/>
                  <a:gd name="connsiteY21" fmla="*/ 30531 h 330067"/>
                  <a:gd name="connsiteX22" fmla="*/ 101875 w 264275"/>
                  <a:gd name="connsiteY22" fmla="*/ 44723 h 330067"/>
                  <a:gd name="connsiteX23" fmla="*/ 102673 w 264275"/>
                  <a:gd name="connsiteY23" fmla="*/ 59028 h 330067"/>
                  <a:gd name="connsiteX24" fmla="*/ 111621 w 264275"/>
                  <a:gd name="connsiteY24" fmla="*/ 60396 h 330067"/>
                  <a:gd name="connsiteX25" fmla="*/ 119487 w 264275"/>
                  <a:gd name="connsiteY25" fmla="*/ 66096 h 330067"/>
                  <a:gd name="connsiteX26" fmla="*/ 126782 w 264275"/>
                  <a:gd name="connsiteY26" fmla="*/ 65127 h 330067"/>
                  <a:gd name="connsiteX27" fmla="*/ 154367 w 264275"/>
                  <a:gd name="connsiteY27" fmla="*/ 86101 h 330067"/>
                  <a:gd name="connsiteX28" fmla="*/ 169243 w 264275"/>
                  <a:gd name="connsiteY28" fmla="*/ 85303 h 330067"/>
                  <a:gd name="connsiteX29" fmla="*/ 176367 w 264275"/>
                  <a:gd name="connsiteY29" fmla="*/ 92940 h 330067"/>
                  <a:gd name="connsiteX30" fmla="*/ 188336 w 264275"/>
                  <a:gd name="connsiteY30" fmla="*/ 92142 h 330067"/>
                  <a:gd name="connsiteX31" fmla="*/ 195404 w 264275"/>
                  <a:gd name="connsiteY31" fmla="*/ 99837 h 330067"/>
                  <a:gd name="connsiteX32" fmla="*/ 206803 w 264275"/>
                  <a:gd name="connsiteY32" fmla="*/ 99495 h 330067"/>
                  <a:gd name="connsiteX33" fmla="*/ 207999 w 264275"/>
                  <a:gd name="connsiteY33" fmla="*/ 148339 h 330067"/>
                  <a:gd name="connsiteX34" fmla="*/ 214668 w 264275"/>
                  <a:gd name="connsiteY34" fmla="*/ 158256 h 330067"/>
                  <a:gd name="connsiteX35" fmla="*/ 233248 w 264275"/>
                  <a:gd name="connsiteY35" fmla="*/ 158712 h 330067"/>
                  <a:gd name="connsiteX36" fmla="*/ 250347 w 264275"/>
                  <a:gd name="connsiteY36" fmla="*/ 163671 h 330067"/>
                  <a:gd name="connsiteX37" fmla="*/ 251087 w 264275"/>
                  <a:gd name="connsiteY37" fmla="*/ 175582 h 330067"/>
                  <a:gd name="connsiteX38" fmla="*/ 255932 w 264275"/>
                  <a:gd name="connsiteY38" fmla="*/ 185671 h 330067"/>
                  <a:gd name="connsiteX39" fmla="*/ 262772 w 264275"/>
                  <a:gd name="connsiteY39" fmla="*/ 187210 h 330067"/>
                  <a:gd name="connsiteX40" fmla="*/ 264082 w 264275"/>
                  <a:gd name="connsiteY40" fmla="*/ 193593 h 330067"/>
                  <a:gd name="connsiteX41" fmla="*/ 257357 w 264275"/>
                  <a:gd name="connsiteY41" fmla="*/ 247624 h 330067"/>
                  <a:gd name="connsiteX42" fmla="*/ 253481 w 264275"/>
                  <a:gd name="connsiteY42" fmla="*/ 245401 h 330067"/>
                  <a:gd name="connsiteX43" fmla="*/ 246870 w 264275"/>
                  <a:gd name="connsiteY43" fmla="*/ 242096 h 330067"/>
                  <a:gd name="connsiteX44" fmla="*/ 234103 w 264275"/>
                  <a:gd name="connsiteY44" fmla="*/ 243064 h 330067"/>
                  <a:gd name="connsiteX45" fmla="*/ 220139 w 264275"/>
                  <a:gd name="connsiteY45" fmla="*/ 238676 h 330067"/>
                  <a:gd name="connsiteX46" fmla="*/ 196373 w 264275"/>
                  <a:gd name="connsiteY46" fmla="*/ 238961 h 330067"/>
                  <a:gd name="connsiteX47" fmla="*/ 181098 w 264275"/>
                  <a:gd name="connsiteY47" fmla="*/ 235883 h 330067"/>
                  <a:gd name="connsiteX48" fmla="*/ 172150 w 264275"/>
                  <a:gd name="connsiteY48" fmla="*/ 242836 h 330067"/>
                  <a:gd name="connsiteX49" fmla="*/ 161207 w 264275"/>
                  <a:gd name="connsiteY49" fmla="*/ 265178 h 330067"/>
                  <a:gd name="connsiteX50" fmla="*/ 153912 w 264275"/>
                  <a:gd name="connsiteY50" fmla="*/ 297893 h 330067"/>
                  <a:gd name="connsiteX51" fmla="*/ 120741 w 264275"/>
                  <a:gd name="connsiteY51" fmla="*/ 298976 h 330067"/>
                  <a:gd name="connsiteX52" fmla="*/ 120456 w 264275"/>
                  <a:gd name="connsiteY52" fmla="*/ 310375 h 330067"/>
                  <a:gd name="connsiteX53" fmla="*/ 111621 w 264275"/>
                  <a:gd name="connsiteY53" fmla="*/ 316075 h 330067"/>
                  <a:gd name="connsiteX54" fmla="*/ 100222 w 264275"/>
                  <a:gd name="connsiteY54" fmla="*/ 305929 h 330067"/>
                  <a:gd name="connsiteX55" fmla="*/ 94523 w 264275"/>
                  <a:gd name="connsiteY55" fmla="*/ 305929 h 330067"/>
                  <a:gd name="connsiteX56" fmla="*/ 64088 w 264275"/>
                  <a:gd name="connsiteY56" fmla="*/ 303251 h 330067"/>
                  <a:gd name="connsiteX57" fmla="*/ 55881 w 264275"/>
                  <a:gd name="connsiteY57" fmla="*/ 316417 h 330067"/>
                  <a:gd name="connsiteX58" fmla="*/ 47730 w 264275"/>
                  <a:gd name="connsiteY58" fmla="*/ 316417 h 330067"/>
                  <a:gd name="connsiteX59" fmla="*/ 50694 w 264275"/>
                  <a:gd name="connsiteY59" fmla="*/ 328955 h 330067"/>
                  <a:gd name="connsiteX60" fmla="*/ 42487 w 264275"/>
                  <a:gd name="connsiteY60" fmla="*/ 328100 h 330067"/>
                  <a:gd name="connsiteX61" fmla="*/ 38953 w 264275"/>
                  <a:gd name="connsiteY61" fmla="*/ 320064 h 330067"/>
                  <a:gd name="connsiteX62" fmla="*/ 39352 w 264275"/>
                  <a:gd name="connsiteY62" fmla="*/ 302510 h 330067"/>
                  <a:gd name="connsiteX63" fmla="*/ 31772 w 264275"/>
                  <a:gd name="connsiteY63" fmla="*/ 299660 h 330067"/>
                  <a:gd name="connsiteX64" fmla="*/ 33482 w 264275"/>
                  <a:gd name="connsiteY64" fmla="*/ 290541 h 330067"/>
                  <a:gd name="connsiteX65" fmla="*/ 30632 w 264275"/>
                  <a:gd name="connsiteY65" fmla="*/ 287805 h 330067"/>
                  <a:gd name="connsiteX66" fmla="*/ 25730 w 264275"/>
                  <a:gd name="connsiteY66" fmla="*/ 271619 h 330067"/>
                  <a:gd name="connsiteX67" fmla="*/ 13704 w 264275"/>
                  <a:gd name="connsiteY67" fmla="*/ 261474 h 330067"/>
                  <a:gd name="connsiteX68" fmla="*/ 15699 w 264275"/>
                  <a:gd name="connsiteY68" fmla="*/ 256686 h 330067"/>
                  <a:gd name="connsiteX69" fmla="*/ 18093 w 264275"/>
                  <a:gd name="connsiteY69" fmla="*/ 232292 h 330067"/>
                  <a:gd name="connsiteX70" fmla="*/ 16782 w 264275"/>
                  <a:gd name="connsiteY70" fmla="*/ 227904 h 330067"/>
                  <a:gd name="connsiteX71" fmla="*/ 12052 w 264275"/>
                  <a:gd name="connsiteY71" fmla="*/ 224940 h 330067"/>
                  <a:gd name="connsiteX72" fmla="*/ 9601 w 264275"/>
                  <a:gd name="connsiteY72" fmla="*/ 204593 h 330067"/>
                  <a:gd name="connsiteX73" fmla="*/ 4870 w 264275"/>
                  <a:gd name="connsiteY73" fmla="*/ 200090 h 33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64275" h="330067">
                    <a:moveTo>
                      <a:pt x="4870" y="200090"/>
                    </a:moveTo>
                    <a:cubicBezTo>
                      <a:pt x="1513" y="196556"/>
                      <a:pt x="-236" y="191792"/>
                      <a:pt x="26" y="186924"/>
                    </a:cubicBezTo>
                    <a:cubicBezTo>
                      <a:pt x="3012" y="179680"/>
                      <a:pt x="8353" y="173656"/>
                      <a:pt x="15186" y="169826"/>
                    </a:cubicBezTo>
                    <a:cubicBezTo>
                      <a:pt x="14514" y="164594"/>
                      <a:pt x="12080" y="159749"/>
                      <a:pt x="8290" y="156090"/>
                    </a:cubicBezTo>
                    <a:cubicBezTo>
                      <a:pt x="12052" y="156090"/>
                      <a:pt x="11026" y="150391"/>
                      <a:pt x="9544" y="146743"/>
                    </a:cubicBezTo>
                    <a:cubicBezTo>
                      <a:pt x="4984" y="136199"/>
                      <a:pt x="9259" y="123945"/>
                      <a:pt x="13078" y="113287"/>
                    </a:cubicBezTo>
                    <a:cubicBezTo>
                      <a:pt x="16896" y="102629"/>
                      <a:pt x="20088" y="89691"/>
                      <a:pt x="13761" y="80059"/>
                    </a:cubicBezTo>
                    <a:cubicBezTo>
                      <a:pt x="12730" y="78851"/>
                      <a:pt x="12029" y="77398"/>
                      <a:pt x="11710" y="75842"/>
                    </a:cubicBezTo>
                    <a:cubicBezTo>
                      <a:pt x="11710" y="72308"/>
                      <a:pt x="15756" y="70142"/>
                      <a:pt x="17409" y="67179"/>
                    </a:cubicBezTo>
                    <a:cubicBezTo>
                      <a:pt x="20487" y="61479"/>
                      <a:pt x="14103" y="55095"/>
                      <a:pt x="14217" y="48655"/>
                    </a:cubicBezTo>
                    <a:cubicBezTo>
                      <a:pt x="14217" y="46148"/>
                      <a:pt x="15300" y="43640"/>
                      <a:pt x="15072" y="41132"/>
                    </a:cubicBezTo>
                    <a:cubicBezTo>
                      <a:pt x="14998" y="40568"/>
                      <a:pt x="14867" y="40015"/>
                      <a:pt x="14673" y="39479"/>
                    </a:cubicBezTo>
                    <a:lnTo>
                      <a:pt x="22026" y="33780"/>
                    </a:lnTo>
                    <a:lnTo>
                      <a:pt x="31145" y="27168"/>
                    </a:lnTo>
                    <a:cubicBezTo>
                      <a:pt x="33710" y="25344"/>
                      <a:pt x="36844" y="22723"/>
                      <a:pt x="35989" y="19588"/>
                    </a:cubicBezTo>
                    <a:lnTo>
                      <a:pt x="48357" y="19588"/>
                    </a:lnTo>
                    <a:cubicBezTo>
                      <a:pt x="48420" y="15040"/>
                      <a:pt x="50124" y="10674"/>
                      <a:pt x="53145" y="7277"/>
                    </a:cubicBezTo>
                    <a:lnTo>
                      <a:pt x="65171" y="7277"/>
                    </a:lnTo>
                    <a:cubicBezTo>
                      <a:pt x="68533" y="267"/>
                      <a:pt x="78165" y="-303"/>
                      <a:pt x="85917" y="96"/>
                    </a:cubicBezTo>
                    <a:cubicBezTo>
                      <a:pt x="87894" y="10"/>
                      <a:pt x="89855" y="443"/>
                      <a:pt x="91616" y="1349"/>
                    </a:cubicBezTo>
                    <a:cubicBezTo>
                      <a:pt x="94147" y="3151"/>
                      <a:pt x="95583" y="6114"/>
                      <a:pt x="95435" y="9215"/>
                    </a:cubicBezTo>
                    <a:cubicBezTo>
                      <a:pt x="95435" y="16510"/>
                      <a:pt x="91445" y="23236"/>
                      <a:pt x="90476" y="30531"/>
                    </a:cubicBezTo>
                    <a:cubicBezTo>
                      <a:pt x="89508" y="37826"/>
                      <a:pt x="95207" y="47059"/>
                      <a:pt x="101875" y="44723"/>
                    </a:cubicBezTo>
                    <a:cubicBezTo>
                      <a:pt x="102160" y="49510"/>
                      <a:pt x="102388" y="54241"/>
                      <a:pt x="102673" y="59028"/>
                    </a:cubicBezTo>
                    <a:cubicBezTo>
                      <a:pt x="105010" y="56634"/>
                      <a:pt x="109114" y="58116"/>
                      <a:pt x="111621" y="60396"/>
                    </a:cubicBezTo>
                    <a:cubicBezTo>
                      <a:pt x="114129" y="62676"/>
                      <a:pt x="116181" y="65640"/>
                      <a:pt x="119487" y="66096"/>
                    </a:cubicBezTo>
                    <a:cubicBezTo>
                      <a:pt x="121960" y="66307"/>
                      <a:pt x="124451" y="65976"/>
                      <a:pt x="126782" y="65127"/>
                    </a:cubicBezTo>
                    <a:cubicBezTo>
                      <a:pt x="139834" y="62106"/>
                      <a:pt x="155279" y="72707"/>
                      <a:pt x="154367" y="86101"/>
                    </a:cubicBezTo>
                    <a:lnTo>
                      <a:pt x="169243" y="85303"/>
                    </a:lnTo>
                    <a:cubicBezTo>
                      <a:pt x="168046" y="89122"/>
                      <a:pt x="172378" y="92598"/>
                      <a:pt x="176367" y="92940"/>
                    </a:cubicBezTo>
                    <a:cubicBezTo>
                      <a:pt x="180357" y="93282"/>
                      <a:pt x="184347" y="91800"/>
                      <a:pt x="188336" y="92142"/>
                    </a:cubicBezTo>
                    <a:cubicBezTo>
                      <a:pt x="192326" y="92484"/>
                      <a:pt x="196658" y="96018"/>
                      <a:pt x="195404" y="99837"/>
                    </a:cubicBezTo>
                    <a:lnTo>
                      <a:pt x="206803" y="99495"/>
                    </a:lnTo>
                    <a:cubicBezTo>
                      <a:pt x="201861" y="115470"/>
                      <a:pt x="202283" y="132626"/>
                      <a:pt x="207999" y="148339"/>
                    </a:cubicBezTo>
                    <a:cubicBezTo>
                      <a:pt x="209105" y="152272"/>
                      <a:pt x="211442" y="155748"/>
                      <a:pt x="214668" y="158256"/>
                    </a:cubicBezTo>
                    <a:cubicBezTo>
                      <a:pt x="220025" y="161733"/>
                      <a:pt x="226979" y="159852"/>
                      <a:pt x="233248" y="158712"/>
                    </a:cubicBezTo>
                    <a:cubicBezTo>
                      <a:pt x="239518" y="157572"/>
                      <a:pt x="247440" y="158028"/>
                      <a:pt x="250347" y="163671"/>
                    </a:cubicBezTo>
                    <a:cubicBezTo>
                      <a:pt x="251623" y="167512"/>
                      <a:pt x="251880" y="171616"/>
                      <a:pt x="251087" y="175582"/>
                    </a:cubicBezTo>
                    <a:cubicBezTo>
                      <a:pt x="251087" y="179572"/>
                      <a:pt x="252056" y="184474"/>
                      <a:pt x="255932" y="185671"/>
                    </a:cubicBezTo>
                    <a:cubicBezTo>
                      <a:pt x="258155" y="186412"/>
                      <a:pt x="260948" y="185671"/>
                      <a:pt x="262772" y="187210"/>
                    </a:cubicBezTo>
                    <a:cubicBezTo>
                      <a:pt x="264595" y="188748"/>
                      <a:pt x="264367" y="191313"/>
                      <a:pt x="264082" y="193593"/>
                    </a:cubicBezTo>
                    <a:cubicBezTo>
                      <a:pt x="261877" y="211603"/>
                      <a:pt x="259637" y="229614"/>
                      <a:pt x="257357" y="247624"/>
                    </a:cubicBezTo>
                    <a:cubicBezTo>
                      <a:pt x="256103" y="246883"/>
                      <a:pt x="254735" y="246199"/>
                      <a:pt x="253481" y="245401"/>
                    </a:cubicBezTo>
                    <a:cubicBezTo>
                      <a:pt x="251504" y="243896"/>
                      <a:pt x="249258" y="242779"/>
                      <a:pt x="246870" y="242096"/>
                    </a:cubicBezTo>
                    <a:cubicBezTo>
                      <a:pt x="242595" y="242056"/>
                      <a:pt x="238321" y="242380"/>
                      <a:pt x="234103" y="243064"/>
                    </a:cubicBezTo>
                    <a:cubicBezTo>
                      <a:pt x="229333" y="242010"/>
                      <a:pt x="224659" y="240540"/>
                      <a:pt x="220139" y="238676"/>
                    </a:cubicBezTo>
                    <a:cubicBezTo>
                      <a:pt x="212388" y="236909"/>
                      <a:pt x="204181" y="240442"/>
                      <a:pt x="196373" y="238961"/>
                    </a:cubicBezTo>
                    <a:cubicBezTo>
                      <a:pt x="191186" y="237935"/>
                      <a:pt x="186228" y="234743"/>
                      <a:pt x="181098" y="235883"/>
                    </a:cubicBezTo>
                    <a:cubicBezTo>
                      <a:pt x="177399" y="237091"/>
                      <a:pt x="174236" y="239548"/>
                      <a:pt x="172150" y="242836"/>
                    </a:cubicBezTo>
                    <a:cubicBezTo>
                      <a:pt x="167379" y="249681"/>
                      <a:pt x="163686" y="257216"/>
                      <a:pt x="161207" y="265178"/>
                    </a:cubicBezTo>
                    <a:cubicBezTo>
                      <a:pt x="157616" y="275791"/>
                      <a:pt x="155171" y="286757"/>
                      <a:pt x="153912" y="297893"/>
                    </a:cubicBezTo>
                    <a:cubicBezTo>
                      <a:pt x="142968" y="299905"/>
                      <a:pt x="131792" y="300270"/>
                      <a:pt x="120741" y="298976"/>
                    </a:cubicBezTo>
                    <a:cubicBezTo>
                      <a:pt x="121567" y="302744"/>
                      <a:pt x="121470" y="306653"/>
                      <a:pt x="120456" y="310375"/>
                    </a:cubicBezTo>
                    <a:cubicBezTo>
                      <a:pt x="119378" y="314234"/>
                      <a:pt x="115583" y="316684"/>
                      <a:pt x="111621" y="316075"/>
                    </a:cubicBezTo>
                    <a:cubicBezTo>
                      <a:pt x="106663" y="314650"/>
                      <a:pt x="105295" y="307354"/>
                      <a:pt x="100222" y="305929"/>
                    </a:cubicBezTo>
                    <a:cubicBezTo>
                      <a:pt x="98336" y="305622"/>
                      <a:pt x="96410" y="305622"/>
                      <a:pt x="94523" y="305929"/>
                    </a:cubicBezTo>
                    <a:cubicBezTo>
                      <a:pt x="84036" y="306271"/>
                      <a:pt x="72637" y="297095"/>
                      <a:pt x="64088" y="303251"/>
                    </a:cubicBezTo>
                    <a:cubicBezTo>
                      <a:pt x="64088" y="308950"/>
                      <a:pt x="61694" y="316986"/>
                      <a:pt x="55881" y="316417"/>
                    </a:cubicBezTo>
                    <a:cubicBezTo>
                      <a:pt x="52974" y="316132"/>
                      <a:pt x="49383" y="313795"/>
                      <a:pt x="47730" y="316417"/>
                    </a:cubicBezTo>
                    <a:cubicBezTo>
                      <a:pt x="50472" y="319979"/>
                      <a:pt x="51549" y="324544"/>
                      <a:pt x="50694" y="328955"/>
                    </a:cubicBezTo>
                    <a:cubicBezTo>
                      <a:pt x="48118" y="330716"/>
                      <a:pt x="44647" y="330352"/>
                      <a:pt x="42487" y="328100"/>
                    </a:cubicBezTo>
                    <a:cubicBezTo>
                      <a:pt x="40458" y="325883"/>
                      <a:pt x="39215" y="323056"/>
                      <a:pt x="38953" y="320064"/>
                    </a:cubicBezTo>
                    <a:cubicBezTo>
                      <a:pt x="38286" y="314222"/>
                      <a:pt x="38423" y="308317"/>
                      <a:pt x="39352" y="302510"/>
                    </a:cubicBezTo>
                    <a:cubicBezTo>
                      <a:pt x="36651" y="302111"/>
                      <a:pt x="34069" y="301142"/>
                      <a:pt x="31772" y="299660"/>
                    </a:cubicBezTo>
                    <a:cubicBezTo>
                      <a:pt x="31772" y="296525"/>
                      <a:pt x="34793" y="293447"/>
                      <a:pt x="33482" y="290541"/>
                    </a:cubicBezTo>
                    <a:cubicBezTo>
                      <a:pt x="32752" y="289424"/>
                      <a:pt x="31778" y="288489"/>
                      <a:pt x="30632" y="287805"/>
                    </a:cubicBezTo>
                    <a:cubicBezTo>
                      <a:pt x="25805" y="283947"/>
                      <a:pt x="23855" y="277506"/>
                      <a:pt x="25730" y="271619"/>
                    </a:cubicBezTo>
                    <a:cubicBezTo>
                      <a:pt x="20031" y="270365"/>
                      <a:pt x="12963" y="267230"/>
                      <a:pt x="13704" y="261474"/>
                    </a:cubicBezTo>
                    <a:cubicBezTo>
                      <a:pt x="14103" y="259781"/>
                      <a:pt x="14776" y="258162"/>
                      <a:pt x="15699" y="256686"/>
                    </a:cubicBezTo>
                    <a:cubicBezTo>
                      <a:pt x="18731" y="248929"/>
                      <a:pt x="19558" y="240488"/>
                      <a:pt x="18093" y="232292"/>
                    </a:cubicBezTo>
                    <a:cubicBezTo>
                      <a:pt x="18133" y="230725"/>
                      <a:pt x="17677" y="229192"/>
                      <a:pt x="16782" y="227904"/>
                    </a:cubicBezTo>
                    <a:cubicBezTo>
                      <a:pt x="15585" y="226479"/>
                      <a:pt x="13476" y="226080"/>
                      <a:pt x="12052" y="224940"/>
                    </a:cubicBezTo>
                    <a:cubicBezTo>
                      <a:pt x="6352" y="220551"/>
                      <a:pt x="13648" y="210463"/>
                      <a:pt x="9601" y="204593"/>
                    </a:cubicBezTo>
                    <a:cubicBezTo>
                      <a:pt x="8199" y="202917"/>
                      <a:pt x="6614" y="201407"/>
                      <a:pt x="4870" y="20009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8" name="Freihandform: Form 304">
                <a:extLst>
                  <a:ext uri="{FF2B5EF4-FFF2-40B4-BE49-F238E27FC236}">
                    <a16:creationId xmlns:a16="http://schemas.microsoft.com/office/drawing/2014/main" id="{DCC25BB5-9BC4-B57F-EC5D-625DE3EB55FD}"/>
                  </a:ext>
                </a:extLst>
              </p:cNvPr>
              <p:cNvSpPr/>
              <p:nvPr/>
            </p:nvSpPr>
            <p:spPr>
              <a:xfrm>
                <a:off x="2390135" y="4724765"/>
                <a:ext cx="197205" cy="226169"/>
              </a:xfrm>
              <a:custGeom>
                <a:avLst/>
                <a:gdLst>
                  <a:gd name="connsiteX0" fmla="*/ 0 w 197205"/>
                  <a:gd name="connsiteY0" fmla="*/ 62823 h 226169"/>
                  <a:gd name="connsiteX1" fmla="*/ 4104 w 197205"/>
                  <a:gd name="connsiteY1" fmla="*/ 62253 h 226169"/>
                  <a:gd name="connsiteX2" fmla="*/ 11399 w 197205"/>
                  <a:gd name="connsiteY2" fmla="*/ 29538 h 226169"/>
                  <a:gd name="connsiteX3" fmla="*/ 22342 w 197205"/>
                  <a:gd name="connsiteY3" fmla="*/ 7196 h 226169"/>
                  <a:gd name="connsiteX4" fmla="*/ 31290 w 197205"/>
                  <a:gd name="connsiteY4" fmla="*/ 243 h 226169"/>
                  <a:gd name="connsiteX5" fmla="*/ 46565 w 197205"/>
                  <a:gd name="connsiteY5" fmla="*/ 3320 h 226169"/>
                  <a:gd name="connsiteX6" fmla="*/ 70331 w 197205"/>
                  <a:gd name="connsiteY6" fmla="*/ 3035 h 226169"/>
                  <a:gd name="connsiteX7" fmla="*/ 84295 w 197205"/>
                  <a:gd name="connsiteY7" fmla="*/ 7424 h 226169"/>
                  <a:gd name="connsiteX8" fmla="*/ 97062 w 197205"/>
                  <a:gd name="connsiteY8" fmla="*/ 6455 h 226169"/>
                  <a:gd name="connsiteX9" fmla="*/ 103673 w 197205"/>
                  <a:gd name="connsiteY9" fmla="*/ 9761 h 226169"/>
                  <a:gd name="connsiteX10" fmla="*/ 107549 w 197205"/>
                  <a:gd name="connsiteY10" fmla="*/ 11983 h 226169"/>
                  <a:gd name="connsiteX11" fmla="*/ 106979 w 197205"/>
                  <a:gd name="connsiteY11" fmla="*/ 16600 h 226169"/>
                  <a:gd name="connsiteX12" fmla="*/ 103046 w 197205"/>
                  <a:gd name="connsiteY12" fmla="*/ 18823 h 226169"/>
                  <a:gd name="connsiteX13" fmla="*/ 109373 w 197205"/>
                  <a:gd name="connsiteY13" fmla="*/ 66983 h 226169"/>
                  <a:gd name="connsiteX14" fmla="*/ 147274 w 197205"/>
                  <a:gd name="connsiteY14" fmla="*/ 73196 h 226169"/>
                  <a:gd name="connsiteX15" fmla="*/ 152404 w 197205"/>
                  <a:gd name="connsiteY15" fmla="*/ 86761 h 226169"/>
                  <a:gd name="connsiteX16" fmla="*/ 157248 w 197205"/>
                  <a:gd name="connsiteY16" fmla="*/ 112465 h 226169"/>
                  <a:gd name="connsiteX17" fmla="*/ 179761 w 197205"/>
                  <a:gd name="connsiteY17" fmla="*/ 115657 h 226169"/>
                  <a:gd name="connsiteX18" fmla="*/ 187798 w 197205"/>
                  <a:gd name="connsiteY18" fmla="*/ 129677 h 226169"/>
                  <a:gd name="connsiteX19" fmla="*/ 184264 w 197205"/>
                  <a:gd name="connsiteY19" fmla="*/ 146206 h 226169"/>
                  <a:gd name="connsiteX20" fmla="*/ 184264 w 197205"/>
                  <a:gd name="connsiteY20" fmla="*/ 162449 h 226169"/>
                  <a:gd name="connsiteX21" fmla="*/ 192699 w 197205"/>
                  <a:gd name="connsiteY21" fmla="*/ 169688 h 226169"/>
                  <a:gd name="connsiteX22" fmla="*/ 196860 w 197205"/>
                  <a:gd name="connsiteY22" fmla="*/ 182797 h 226169"/>
                  <a:gd name="connsiteX23" fmla="*/ 188254 w 197205"/>
                  <a:gd name="connsiteY23" fmla="*/ 187641 h 226169"/>
                  <a:gd name="connsiteX24" fmla="*/ 183466 w 197205"/>
                  <a:gd name="connsiteY24" fmla="*/ 199610 h 226169"/>
                  <a:gd name="connsiteX25" fmla="*/ 171155 w 197205"/>
                  <a:gd name="connsiteY25" fmla="*/ 206734 h 226169"/>
                  <a:gd name="connsiteX26" fmla="*/ 160269 w 197205"/>
                  <a:gd name="connsiteY26" fmla="*/ 224745 h 226169"/>
                  <a:gd name="connsiteX27" fmla="*/ 158103 w 197205"/>
                  <a:gd name="connsiteY27" fmla="*/ 226169 h 226169"/>
                  <a:gd name="connsiteX28" fmla="*/ 152404 w 197205"/>
                  <a:gd name="connsiteY28" fmla="*/ 222294 h 226169"/>
                  <a:gd name="connsiteX29" fmla="*/ 148984 w 197205"/>
                  <a:gd name="connsiteY29" fmla="*/ 218703 h 226169"/>
                  <a:gd name="connsiteX30" fmla="*/ 149611 w 197205"/>
                  <a:gd name="connsiteY30" fmla="*/ 209869 h 226169"/>
                  <a:gd name="connsiteX31" fmla="*/ 140207 w 197205"/>
                  <a:gd name="connsiteY31" fmla="*/ 200408 h 226169"/>
                  <a:gd name="connsiteX32" fmla="*/ 125787 w 197205"/>
                  <a:gd name="connsiteY32" fmla="*/ 200408 h 226169"/>
                  <a:gd name="connsiteX33" fmla="*/ 98031 w 197205"/>
                  <a:gd name="connsiteY33" fmla="*/ 190320 h 226169"/>
                  <a:gd name="connsiteX34" fmla="*/ 104243 w 197205"/>
                  <a:gd name="connsiteY34" fmla="*/ 184620 h 226169"/>
                  <a:gd name="connsiteX35" fmla="*/ 104984 w 197205"/>
                  <a:gd name="connsiteY35" fmla="*/ 163419 h 226169"/>
                  <a:gd name="connsiteX36" fmla="*/ 113362 w 197205"/>
                  <a:gd name="connsiteY36" fmla="*/ 157719 h 226169"/>
                  <a:gd name="connsiteX37" fmla="*/ 114445 w 197205"/>
                  <a:gd name="connsiteY37" fmla="*/ 148600 h 226169"/>
                  <a:gd name="connsiteX38" fmla="*/ 100180 w 197205"/>
                  <a:gd name="connsiteY38" fmla="*/ 141093 h 226169"/>
                  <a:gd name="connsiteX39" fmla="*/ 100140 w 197205"/>
                  <a:gd name="connsiteY39" fmla="*/ 140963 h 226169"/>
                  <a:gd name="connsiteX40" fmla="*/ 92331 w 197205"/>
                  <a:gd name="connsiteY40" fmla="*/ 138341 h 226169"/>
                  <a:gd name="connsiteX41" fmla="*/ 86632 w 197205"/>
                  <a:gd name="connsiteY41" fmla="*/ 131273 h 226169"/>
                  <a:gd name="connsiteX42" fmla="*/ 78653 w 197205"/>
                  <a:gd name="connsiteY42" fmla="*/ 130133 h 226169"/>
                  <a:gd name="connsiteX43" fmla="*/ 70445 w 197205"/>
                  <a:gd name="connsiteY43" fmla="*/ 122382 h 226169"/>
                  <a:gd name="connsiteX44" fmla="*/ 61725 w 197205"/>
                  <a:gd name="connsiteY44" fmla="*/ 121869 h 226169"/>
                  <a:gd name="connsiteX45" fmla="*/ 56881 w 197205"/>
                  <a:gd name="connsiteY45" fmla="*/ 116512 h 226169"/>
                  <a:gd name="connsiteX46" fmla="*/ 51181 w 197205"/>
                  <a:gd name="connsiteY46" fmla="*/ 115942 h 226169"/>
                  <a:gd name="connsiteX47" fmla="*/ 40067 w 197205"/>
                  <a:gd name="connsiteY47" fmla="*/ 107450 h 226169"/>
                  <a:gd name="connsiteX48" fmla="*/ 27585 w 197205"/>
                  <a:gd name="connsiteY48" fmla="*/ 104144 h 226169"/>
                  <a:gd name="connsiteX49" fmla="*/ 22456 w 197205"/>
                  <a:gd name="connsiteY49" fmla="*/ 94113 h 226169"/>
                  <a:gd name="connsiteX50" fmla="*/ 12083 w 197205"/>
                  <a:gd name="connsiteY50" fmla="*/ 86988 h 226169"/>
                  <a:gd name="connsiteX51" fmla="*/ 12083 w 197205"/>
                  <a:gd name="connsiteY51" fmla="*/ 80605 h 226169"/>
                  <a:gd name="connsiteX52" fmla="*/ 1482 w 197205"/>
                  <a:gd name="connsiteY52" fmla="*/ 76786 h 226169"/>
                  <a:gd name="connsiteX53" fmla="*/ 0 w 197205"/>
                  <a:gd name="connsiteY53" fmla="*/ 62823 h 226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7205" h="226169">
                    <a:moveTo>
                      <a:pt x="0" y="62823"/>
                    </a:moveTo>
                    <a:lnTo>
                      <a:pt x="4104" y="62253"/>
                    </a:lnTo>
                    <a:cubicBezTo>
                      <a:pt x="5363" y="51116"/>
                      <a:pt x="7808" y="40150"/>
                      <a:pt x="11399" y="29538"/>
                    </a:cubicBezTo>
                    <a:cubicBezTo>
                      <a:pt x="13878" y="21576"/>
                      <a:pt x="17572" y="14041"/>
                      <a:pt x="22342" y="7196"/>
                    </a:cubicBezTo>
                    <a:cubicBezTo>
                      <a:pt x="24428" y="3907"/>
                      <a:pt x="27591" y="1451"/>
                      <a:pt x="31290" y="243"/>
                    </a:cubicBezTo>
                    <a:cubicBezTo>
                      <a:pt x="36420" y="-897"/>
                      <a:pt x="41378" y="2294"/>
                      <a:pt x="46565" y="3320"/>
                    </a:cubicBezTo>
                    <a:cubicBezTo>
                      <a:pt x="54373" y="4802"/>
                      <a:pt x="62580" y="1268"/>
                      <a:pt x="70331" y="3035"/>
                    </a:cubicBezTo>
                    <a:cubicBezTo>
                      <a:pt x="74851" y="4899"/>
                      <a:pt x="79525" y="6369"/>
                      <a:pt x="84295" y="7424"/>
                    </a:cubicBezTo>
                    <a:cubicBezTo>
                      <a:pt x="88513" y="6740"/>
                      <a:pt x="92787" y="6415"/>
                      <a:pt x="97062" y="6455"/>
                    </a:cubicBezTo>
                    <a:cubicBezTo>
                      <a:pt x="99450" y="7139"/>
                      <a:pt x="101696" y="8256"/>
                      <a:pt x="103673" y="9761"/>
                    </a:cubicBezTo>
                    <a:cubicBezTo>
                      <a:pt x="104927" y="10559"/>
                      <a:pt x="106295" y="11243"/>
                      <a:pt x="107549" y="11983"/>
                    </a:cubicBezTo>
                    <a:lnTo>
                      <a:pt x="106979" y="16600"/>
                    </a:lnTo>
                    <a:lnTo>
                      <a:pt x="103046" y="18823"/>
                    </a:lnTo>
                    <a:cubicBezTo>
                      <a:pt x="110786" y="33624"/>
                      <a:pt x="113032" y="50688"/>
                      <a:pt x="109373" y="66983"/>
                    </a:cubicBezTo>
                    <a:cubicBezTo>
                      <a:pt x="122254" y="69890"/>
                      <a:pt x="138554" y="63279"/>
                      <a:pt x="147274" y="73196"/>
                    </a:cubicBezTo>
                    <a:cubicBezTo>
                      <a:pt x="150141" y="77191"/>
                      <a:pt x="151908" y="81870"/>
                      <a:pt x="152404" y="86761"/>
                    </a:cubicBezTo>
                    <a:cubicBezTo>
                      <a:pt x="154000" y="95310"/>
                      <a:pt x="155653" y="103859"/>
                      <a:pt x="157248" y="112465"/>
                    </a:cubicBezTo>
                    <a:cubicBezTo>
                      <a:pt x="163860" y="116341"/>
                      <a:pt x="172865" y="112465"/>
                      <a:pt x="179761" y="115657"/>
                    </a:cubicBezTo>
                    <a:cubicBezTo>
                      <a:pt x="184783" y="118529"/>
                      <a:pt x="187860" y="123893"/>
                      <a:pt x="187798" y="129677"/>
                    </a:cubicBezTo>
                    <a:cubicBezTo>
                      <a:pt x="187610" y="135354"/>
                      <a:pt x="186413" y="140951"/>
                      <a:pt x="184264" y="146206"/>
                    </a:cubicBezTo>
                    <a:cubicBezTo>
                      <a:pt x="187798" y="150424"/>
                      <a:pt x="182041" y="157605"/>
                      <a:pt x="184264" y="162449"/>
                    </a:cubicBezTo>
                    <a:cubicBezTo>
                      <a:pt x="185860" y="165812"/>
                      <a:pt x="189963" y="167237"/>
                      <a:pt x="192699" y="169688"/>
                    </a:cubicBezTo>
                    <a:cubicBezTo>
                      <a:pt x="196375" y="172971"/>
                      <a:pt x="197965" y="177998"/>
                      <a:pt x="196860" y="182797"/>
                    </a:cubicBezTo>
                    <a:lnTo>
                      <a:pt x="188254" y="187641"/>
                    </a:lnTo>
                    <a:cubicBezTo>
                      <a:pt x="190761" y="191745"/>
                      <a:pt x="187456" y="197045"/>
                      <a:pt x="183466" y="199610"/>
                    </a:cubicBezTo>
                    <a:cubicBezTo>
                      <a:pt x="179106" y="201508"/>
                      <a:pt x="174974" y="203902"/>
                      <a:pt x="171155" y="206734"/>
                    </a:cubicBezTo>
                    <a:cubicBezTo>
                      <a:pt x="166140" y="211750"/>
                      <a:pt x="165798" y="220356"/>
                      <a:pt x="160269" y="224745"/>
                    </a:cubicBezTo>
                    <a:cubicBezTo>
                      <a:pt x="159597" y="225292"/>
                      <a:pt x="158873" y="225771"/>
                      <a:pt x="158103" y="226169"/>
                    </a:cubicBezTo>
                    <a:lnTo>
                      <a:pt x="152404" y="222294"/>
                    </a:lnTo>
                    <a:cubicBezTo>
                      <a:pt x="150962" y="221428"/>
                      <a:pt x="149782" y="220185"/>
                      <a:pt x="148984" y="218703"/>
                    </a:cubicBezTo>
                    <a:cubicBezTo>
                      <a:pt x="147844" y="215910"/>
                      <a:pt x="149611" y="213004"/>
                      <a:pt x="149611" y="209869"/>
                    </a:cubicBezTo>
                    <a:cubicBezTo>
                      <a:pt x="149024" y="204928"/>
                      <a:pt x="145143" y="201029"/>
                      <a:pt x="140207" y="200408"/>
                    </a:cubicBezTo>
                    <a:cubicBezTo>
                      <a:pt x="135414" y="199866"/>
                      <a:pt x="130581" y="199866"/>
                      <a:pt x="125787" y="200408"/>
                    </a:cubicBezTo>
                    <a:cubicBezTo>
                      <a:pt x="115614" y="200556"/>
                      <a:pt x="105737" y="196966"/>
                      <a:pt x="98031" y="190320"/>
                    </a:cubicBezTo>
                    <a:cubicBezTo>
                      <a:pt x="99228" y="187647"/>
                      <a:pt x="101479" y="185584"/>
                      <a:pt x="104243" y="184620"/>
                    </a:cubicBezTo>
                    <a:cubicBezTo>
                      <a:pt x="98681" y="178528"/>
                      <a:pt x="99011" y="169106"/>
                      <a:pt x="104984" y="163419"/>
                    </a:cubicBezTo>
                    <a:cubicBezTo>
                      <a:pt x="107606" y="161196"/>
                      <a:pt x="110684" y="159885"/>
                      <a:pt x="113362" y="157719"/>
                    </a:cubicBezTo>
                    <a:cubicBezTo>
                      <a:pt x="116121" y="155468"/>
                      <a:pt x="116600" y="151432"/>
                      <a:pt x="114445" y="148600"/>
                    </a:cubicBezTo>
                    <a:cubicBezTo>
                      <a:pt x="108432" y="150469"/>
                      <a:pt x="102043" y="147107"/>
                      <a:pt x="100180" y="141093"/>
                    </a:cubicBezTo>
                    <a:cubicBezTo>
                      <a:pt x="100168" y="141048"/>
                      <a:pt x="100151" y="141008"/>
                      <a:pt x="100140" y="140963"/>
                    </a:cubicBezTo>
                    <a:cubicBezTo>
                      <a:pt x="97803" y="143071"/>
                      <a:pt x="94041" y="140963"/>
                      <a:pt x="92331" y="138341"/>
                    </a:cubicBezTo>
                    <a:cubicBezTo>
                      <a:pt x="90622" y="135719"/>
                      <a:pt x="89311" y="132641"/>
                      <a:pt x="86632" y="131273"/>
                    </a:cubicBezTo>
                    <a:cubicBezTo>
                      <a:pt x="83953" y="129906"/>
                      <a:pt x="80932" y="131273"/>
                      <a:pt x="78653" y="130133"/>
                    </a:cubicBezTo>
                    <a:cubicBezTo>
                      <a:pt x="75176" y="128538"/>
                      <a:pt x="74093" y="123522"/>
                      <a:pt x="70445" y="122382"/>
                    </a:cubicBezTo>
                    <a:cubicBezTo>
                      <a:pt x="66798" y="121242"/>
                      <a:pt x="64290" y="123351"/>
                      <a:pt x="61725" y="121869"/>
                    </a:cubicBezTo>
                    <a:cubicBezTo>
                      <a:pt x="59161" y="120387"/>
                      <a:pt x="59046" y="117652"/>
                      <a:pt x="56881" y="116512"/>
                    </a:cubicBezTo>
                    <a:cubicBezTo>
                      <a:pt x="55040" y="115942"/>
                      <a:pt x="53102" y="115748"/>
                      <a:pt x="51181" y="115942"/>
                    </a:cubicBezTo>
                    <a:cubicBezTo>
                      <a:pt x="46394" y="115486"/>
                      <a:pt x="43316" y="110983"/>
                      <a:pt x="40067" y="107450"/>
                    </a:cubicBezTo>
                    <a:cubicBezTo>
                      <a:pt x="36819" y="103916"/>
                      <a:pt x="31176" y="101009"/>
                      <a:pt x="27585" y="104144"/>
                    </a:cubicBezTo>
                    <a:cubicBezTo>
                      <a:pt x="30036" y="100610"/>
                      <a:pt x="26332" y="95937"/>
                      <a:pt x="22456" y="94113"/>
                    </a:cubicBezTo>
                    <a:cubicBezTo>
                      <a:pt x="18580" y="92289"/>
                      <a:pt x="13736" y="90921"/>
                      <a:pt x="12083" y="86988"/>
                    </a:cubicBezTo>
                    <a:cubicBezTo>
                      <a:pt x="11370" y="84920"/>
                      <a:pt x="11370" y="82674"/>
                      <a:pt x="12083" y="80605"/>
                    </a:cubicBezTo>
                    <a:lnTo>
                      <a:pt x="1482" y="76786"/>
                    </a:lnTo>
                    <a:cubicBezTo>
                      <a:pt x="2605" y="72101"/>
                      <a:pt x="2086" y="67171"/>
                      <a:pt x="0" y="6282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89" name="Freihandform: Form 305">
                <a:extLst>
                  <a:ext uri="{FF2B5EF4-FFF2-40B4-BE49-F238E27FC236}">
                    <a16:creationId xmlns:a16="http://schemas.microsoft.com/office/drawing/2014/main" id="{D3F9AC49-C345-F96E-3A3A-047750C17A59}"/>
                  </a:ext>
                </a:extLst>
              </p:cNvPr>
              <p:cNvSpPr/>
              <p:nvPr/>
            </p:nvSpPr>
            <p:spPr>
              <a:xfrm>
                <a:off x="2483169" y="4995447"/>
                <a:ext cx="108457" cy="126246"/>
              </a:xfrm>
              <a:custGeom>
                <a:avLst/>
                <a:gdLst>
                  <a:gd name="connsiteX0" fmla="*/ 1234 w 108457"/>
                  <a:gd name="connsiteY0" fmla="*/ 91135 h 126246"/>
                  <a:gd name="connsiteX1" fmla="*/ 1234 w 108457"/>
                  <a:gd name="connsiteY1" fmla="*/ 90109 h 126246"/>
                  <a:gd name="connsiteX2" fmla="*/ 2032 w 108457"/>
                  <a:gd name="connsiteY2" fmla="*/ 77114 h 126246"/>
                  <a:gd name="connsiteX3" fmla="*/ 6307 w 108457"/>
                  <a:gd name="connsiteY3" fmla="*/ 73409 h 126246"/>
                  <a:gd name="connsiteX4" fmla="*/ 8188 w 108457"/>
                  <a:gd name="connsiteY4" fmla="*/ 67197 h 126246"/>
                  <a:gd name="connsiteX5" fmla="*/ 12064 w 108457"/>
                  <a:gd name="connsiteY5" fmla="*/ 31518 h 126246"/>
                  <a:gd name="connsiteX6" fmla="*/ 12804 w 108457"/>
                  <a:gd name="connsiteY6" fmla="*/ 21601 h 126246"/>
                  <a:gd name="connsiteX7" fmla="*/ 14001 w 108457"/>
                  <a:gd name="connsiteY7" fmla="*/ 11855 h 126246"/>
                  <a:gd name="connsiteX8" fmla="*/ 25400 w 108457"/>
                  <a:gd name="connsiteY8" fmla="*/ 2337 h 126246"/>
                  <a:gd name="connsiteX9" fmla="*/ 30701 w 108457"/>
                  <a:gd name="connsiteY9" fmla="*/ 0 h 126246"/>
                  <a:gd name="connsiteX10" fmla="*/ 29504 w 108457"/>
                  <a:gd name="connsiteY10" fmla="*/ 2451 h 126246"/>
                  <a:gd name="connsiteX11" fmla="*/ 52302 w 108457"/>
                  <a:gd name="connsiteY11" fmla="*/ 8151 h 126246"/>
                  <a:gd name="connsiteX12" fmla="*/ 57659 w 108457"/>
                  <a:gd name="connsiteY12" fmla="*/ 22627 h 126246"/>
                  <a:gd name="connsiteX13" fmla="*/ 69058 w 108457"/>
                  <a:gd name="connsiteY13" fmla="*/ 25249 h 126246"/>
                  <a:gd name="connsiteX14" fmla="*/ 75841 w 108457"/>
                  <a:gd name="connsiteY14" fmla="*/ 34653 h 126246"/>
                  <a:gd name="connsiteX15" fmla="*/ 94820 w 108457"/>
                  <a:gd name="connsiteY15" fmla="*/ 40352 h 126246"/>
                  <a:gd name="connsiteX16" fmla="*/ 101602 w 108457"/>
                  <a:gd name="connsiteY16" fmla="*/ 49415 h 126246"/>
                  <a:gd name="connsiteX17" fmla="*/ 108271 w 108457"/>
                  <a:gd name="connsiteY17" fmla="*/ 87658 h 126246"/>
                  <a:gd name="connsiteX18" fmla="*/ 108271 w 108457"/>
                  <a:gd name="connsiteY18" fmla="*/ 90565 h 126246"/>
                  <a:gd name="connsiteX19" fmla="*/ 100861 w 108457"/>
                  <a:gd name="connsiteY19" fmla="*/ 99513 h 126246"/>
                  <a:gd name="connsiteX20" fmla="*/ 64442 w 108457"/>
                  <a:gd name="connsiteY20" fmla="*/ 113420 h 126246"/>
                  <a:gd name="connsiteX21" fmla="*/ 56063 w 108457"/>
                  <a:gd name="connsiteY21" fmla="*/ 114617 h 126246"/>
                  <a:gd name="connsiteX22" fmla="*/ 51048 w 108457"/>
                  <a:gd name="connsiteY22" fmla="*/ 126016 h 126246"/>
                  <a:gd name="connsiteX23" fmla="*/ 39649 w 108457"/>
                  <a:gd name="connsiteY23" fmla="*/ 117979 h 126246"/>
                  <a:gd name="connsiteX24" fmla="*/ 22892 w 108457"/>
                  <a:gd name="connsiteY24" fmla="*/ 114674 h 126246"/>
                  <a:gd name="connsiteX25" fmla="*/ 13203 w 108457"/>
                  <a:gd name="connsiteY25" fmla="*/ 101052 h 126246"/>
                  <a:gd name="connsiteX26" fmla="*/ 1234 w 108457"/>
                  <a:gd name="connsiteY26" fmla="*/ 91135 h 12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8457" h="126246">
                    <a:moveTo>
                      <a:pt x="1234" y="91135"/>
                    </a:moveTo>
                    <a:cubicBezTo>
                      <a:pt x="1234" y="90793"/>
                      <a:pt x="1234" y="90451"/>
                      <a:pt x="1234" y="90109"/>
                    </a:cubicBezTo>
                    <a:cubicBezTo>
                      <a:pt x="-658" y="85908"/>
                      <a:pt x="-361" y="81047"/>
                      <a:pt x="2032" y="77114"/>
                    </a:cubicBezTo>
                    <a:cubicBezTo>
                      <a:pt x="3520" y="75957"/>
                      <a:pt x="4950" y="74720"/>
                      <a:pt x="6307" y="73409"/>
                    </a:cubicBezTo>
                    <a:cubicBezTo>
                      <a:pt x="7510" y="71557"/>
                      <a:pt x="8159" y="69402"/>
                      <a:pt x="8188" y="67197"/>
                    </a:cubicBezTo>
                    <a:cubicBezTo>
                      <a:pt x="9499" y="55285"/>
                      <a:pt x="10753" y="43373"/>
                      <a:pt x="12064" y="31518"/>
                    </a:cubicBezTo>
                    <a:cubicBezTo>
                      <a:pt x="12405" y="28212"/>
                      <a:pt x="12747" y="24907"/>
                      <a:pt x="12804" y="21601"/>
                    </a:cubicBezTo>
                    <a:cubicBezTo>
                      <a:pt x="12622" y="18307"/>
                      <a:pt x="13027" y="15007"/>
                      <a:pt x="14001" y="11855"/>
                    </a:cubicBezTo>
                    <a:cubicBezTo>
                      <a:pt x="16503" y="7393"/>
                      <a:pt x="20561" y="4001"/>
                      <a:pt x="25400" y="2337"/>
                    </a:cubicBezTo>
                    <a:cubicBezTo>
                      <a:pt x="27110" y="1482"/>
                      <a:pt x="28934" y="741"/>
                      <a:pt x="30701" y="0"/>
                    </a:cubicBezTo>
                    <a:lnTo>
                      <a:pt x="29504" y="2451"/>
                    </a:lnTo>
                    <a:cubicBezTo>
                      <a:pt x="36360" y="6595"/>
                      <a:pt x="44305" y="8584"/>
                      <a:pt x="52302" y="8151"/>
                    </a:cubicBezTo>
                    <a:cubicBezTo>
                      <a:pt x="56804" y="11000"/>
                      <a:pt x="53613" y="19150"/>
                      <a:pt x="57659" y="22627"/>
                    </a:cubicBezTo>
                    <a:cubicBezTo>
                      <a:pt x="60680" y="25249"/>
                      <a:pt x="65696" y="23311"/>
                      <a:pt x="69058" y="25249"/>
                    </a:cubicBezTo>
                    <a:cubicBezTo>
                      <a:pt x="72421" y="27187"/>
                      <a:pt x="73105" y="31860"/>
                      <a:pt x="75841" y="34653"/>
                    </a:cubicBezTo>
                    <a:cubicBezTo>
                      <a:pt x="80514" y="39441"/>
                      <a:pt x="89006" y="36819"/>
                      <a:pt x="94820" y="40352"/>
                    </a:cubicBezTo>
                    <a:cubicBezTo>
                      <a:pt x="97972" y="42587"/>
                      <a:pt x="100348" y="45755"/>
                      <a:pt x="101602" y="49415"/>
                    </a:cubicBezTo>
                    <a:cubicBezTo>
                      <a:pt x="106869" y="61440"/>
                      <a:pt x="109160" y="74561"/>
                      <a:pt x="108271" y="87658"/>
                    </a:cubicBezTo>
                    <a:cubicBezTo>
                      <a:pt x="108271" y="88627"/>
                      <a:pt x="108271" y="89596"/>
                      <a:pt x="108271" y="90565"/>
                    </a:cubicBezTo>
                    <a:cubicBezTo>
                      <a:pt x="105649" y="93357"/>
                      <a:pt x="103426" y="96606"/>
                      <a:pt x="100861" y="99513"/>
                    </a:cubicBezTo>
                    <a:cubicBezTo>
                      <a:pt x="91645" y="109704"/>
                      <a:pt x="78109" y="114873"/>
                      <a:pt x="64442" y="113420"/>
                    </a:cubicBezTo>
                    <a:cubicBezTo>
                      <a:pt x="61535" y="113078"/>
                      <a:pt x="58115" y="112565"/>
                      <a:pt x="56063" y="114617"/>
                    </a:cubicBezTo>
                    <a:cubicBezTo>
                      <a:pt x="52929" y="117694"/>
                      <a:pt x="55037" y="124477"/>
                      <a:pt x="51048" y="126016"/>
                    </a:cubicBezTo>
                    <a:cubicBezTo>
                      <a:pt x="47058" y="127554"/>
                      <a:pt x="43809" y="121000"/>
                      <a:pt x="39649" y="117979"/>
                    </a:cubicBezTo>
                    <a:cubicBezTo>
                      <a:pt x="35488" y="114959"/>
                      <a:pt x="28250" y="116953"/>
                      <a:pt x="22892" y="114674"/>
                    </a:cubicBezTo>
                    <a:cubicBezTo>
                      <a:pt x="17535" y="112394"/>
                      <a:pt x="15483" y="106295"/>
                      <a:pt x="13203" y="101052"/>
                    </a:cubicBezTo>
                    <a:cubicBezTo>
                      <a:pt x="10924" y="95808"/>
                      <a:pt x="6820" y="90622"/>
                      <a:pt x="1234" y="911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0" name="Freihandform: Form 306">
                <a:extLst>
                  <a:ext uri="{FF2B5EF4-FFF2-40B4-BE49-F238E27FC236}">
                    <a16:creationId xmlns:a16="http://schemas.microsoft.com/office/drawing/2014/main" id="{A381926B-7A4A-D576-CDDE-5FA72F90459D}"/>
                  </a:ext>
                </a:extLst>
              </p:cNvPr>
              <p:cNvSpPr/>
              <p:nvPr/>
            </p:nvSpPr>
            <p:spPr>
              <a:xfrm>
                <a:off x="2148853" y="4787645"/>
                <a:ext cx="400069" cy="940625"/>
              </a:xfrm>
              <a:custGeom>
                <a:avLst/>
                <a:gdLst>
                  <a:gd name="connsiteX0" fmla="*/ 335323 w 400069"/>
                  <a:gd name="connsiteY0" fmla="*/ 297912 h 940625"/>
                  <a:gd name="connsiteX1" fmla="*/ 335323 w 400069"/>
                  <a:gd name="connsiteY1" fmla="*/ 298937 h 940625"/>
                  <a:gd name="connsiteX2" fmla="*/ 335323 w 400069"/>
                  <a:gd name="connsiteY2" fmla="*/ 298937 h 940625"/>
                  <a:gd name="connsiteX3" fmla="*/ 335665 w 400069"/>
                  <a:gd name="connsiteY3" fmla="*/ 310336 h 940625"/>
                  <a:gd name="connsiteX4" fmla="*/ 337603 w 400069"/>
                  <a:gd name="connsiteY4" fmla="*/ 316036 h 940625"/>
                  <a:gd name="connsiteX5" fmla="*/ 335038 w 400069"/>
                  <a:gd name="connsiteY5" fmla="*/ 319455 h 940625"/>
                  <a:gd name="connsiteX6" fmla="*/ 331733 w 400069"/>
                  <a:gd name="connsiteY6" fmla="*/ 330854 h 940625"/>
                  <a:gd name="connsiteX7" fmla="*/ 352023 w 400069"/>
                  <a:gd name="connsiteY7" fmla="*/ 332792 h 940625"/>
                  <a:gd name="connsiteX8" fmla="*/ 361199 w 400069"/>
                  <a:gd name="connsiteY8" fmla="*/ 347155 h 940625"/>
                  <a:gd name="connsiteX9" fmla="*/ 357494 w 400069"/>
                  <a:gd name="connsiteY9" fmla="*/ 350745 h 940625"/>
                  <a:gd name="connsiteX10" fmla="*/ 363992 w 400069"/>
                  <a:gd name="connsiteY10" fmla="*/ 365165 h 940625"/>
                  <a:gd name="connsiteX11" fmla="*/ 376530 w 400069"/>
                  <a:gd name="connsiteY11" fmla="*/ 377020 h 940625"/>
                  <a:gd name="connsiteX12" fmla="*/ 364391 w 400069"/>
                  <a:gd name="connsiteY12" fmla="*/ 392295 h 940625"/>
                  <a:gd name="connsiteX13" fmla="*/ 354246 w 400069"/>
                  <a:gd name="connsiteY13" fmla="*/ 408424 h 940625"/>
                  <a:gd name="connsiteX14" fmla="*/ 329966 w 400069"/>
                  <a:gd name="connsiteY14" fmla="*/ 423357 h 940625"/>
                  <a:gd name="connsiteX15" fmla="*/ 313950 w 400069"/>
                  <a:gd name="connsiteY15" fmla="*/ 431222 h 940625"/>
                  <a:gd name="connsiteX16" fmla="*/ 308251 w 400069"/>
                  <a:gd name="connsiteY16" fmla="*/ 434015 h 940625"/>
                  <a:gd name="connsiteX17" fmla="*/ 270121 w 400069"/>
                  <a:gd name="connsiteY17" fmla="*/ 444331 h 940625"/>
                  <a:gd name="connsiteX18" fmla="*/ 264935 w 400069"/>
                  <a:gd name="connsiteY18" fmla="*/ 442678 h 940625"/>
                  <a:gd name="connsiteX19" fmla="*/ 261857 w 400069"/>
                  <a:gd name="connsiteY19" fmla="*/ 438745 h 940625"/>
                  <a:gd name="connsiteX20" fmla="*/ 246696 w 400069"/>
                  <a:gd name="connsiteY20" fmla="*/ 435953 h 940625"/>
                  <a:gd name="connsiteX21" fmla="*/ 244132 w 400069"/>
                  <a:gd name="connsiteY21" fmla="*/ 446782 h 940625"/>
                  <a:gd name="connsiteX22" fmla="*/ 251456 w 400069"/>
                  <a:gd name="connsiteY22" fmla="*/ 457782 h 940625"/>
                  <a:gd name="connsiteX23" fmla="*/ 251370 w 400069"/>
                  <a:gd name="connsiteY23" fmla="*/ 458181 h 940625"/>
                  <a:gd name="connsiteX24" fmla="*/ 245101 w 400069"/>
                  <a:gd name="connsiteY24" fmla="*/ 469922 h 940625"/>
                  <a:gd name="connsiteX25" fmla="*/ 249831 w 400069"/>
                  <a:gd name="connsiteY25" fmla="*/ 493574 h 940625"/>
                  <a:gd name="connsiteX26" fmla="*/ 238945 w 400069"/>
                  <a:gd name="connsiteY26" fmla="*/ 504973 h 940625"/>
                  <a:gd name="connsiteX27" fmla="*/ 221847 w 400069"/>
                  <a:gd name="connsiteY27" fmla="*/ 504574 h 940625"/>
                  <a:gd name="connsiteX28" fmla="*/ 204748 w 400069"/>
                  <a:gd name="connsiteY28" fmla="*/ 499844 h 940625"/>
                  <a:gd name="connsiteX29" fmla="*/ 202525 w 400069"/>
                  <a:gd name="connsiteY29" fmla="*/ 493232 h 940625"/>
                  <a:gd name="connsiteX30" fmla="*/ 187764 w 400069"/>
                  <a:gd name="connsiteY30" fmla="*/ 493973 h 940625"/>
                  <a:gd name="connsiteX31" fmla="*/ 181665 w 400069"/>
                  <a:gd name="connsiteY31" fmla="*/ 526460 h 940625"/>
                  <a:gd name="connsiteX32" fmla="*/ 193976 w 400069"/>
                  <a:gd name="connsiteY32" fmla="*/ 536092 h 940625"/>
                  <a:gd name="connsiteX33" fmla="*/ 207712 w 400069"/>
                  <a:gd name="connsiteY33" fmla="*/ 540139 h 940625"/>
                  <a:gd name="connsiteX34" fmla="*/ 219111 w 400069"/>
                  <a:gd name="connsiteY34" fmla="*/ 534440 h 940625"/>
                  <a:gd name="connsiteX35" fmla="*/ 215805 w 400069"/>
                  <a:gd name="connsiteY35" fmla="*/ 550216 h 940625"/>
                  <a:gd name="connsiteX36" fmla="*/ 206116 w 400069"/>
                  <a:gd name="connsiteY36" fmla="*/ 551538 h 940625"/>
                  <a:gd name="connsiteX37" fmla="*/ 191297 w 400069"/>
                  <a:gd name="connsiteY37" fmla="*/ 546294 h 940625"/>
                  <a:gd name="connsiteX38" fmla="*/ 194489 w 400069"/>
                  <a:gd name="connsiteY38" fmla="*/ 559688 h 940625"/>
                  <a:gd name="connsiteX39" fmla="*/ 187063 w 400069"/>
                  <a:gd name="connsiteY39" fmla="*/ 560720 h 940625"/>
                  <a:gd name="connsiteX40" fmla="*/ 186795 w 400069"/>
                  <a:gd name="connsiteY40" fmla="*/ 561113 h 940625"/>
                  <a:gd name="connsiteX41" fmla="*/ 184686 w 400069"/>
                  <a:gd name="connsiteY41" fmla="*/ 569662 h 940625"/>
                  <a:gd name="connsiteX42" fmla="*/ 183603 w 400069"/>
                  <a:gd name="connsiteY42" fmla="*/ 592460 h 940625"/>
                  <a:gd name="connsiteX43" fmla="*/ 180127 w 400069"/>
                  <a:gd name="connsiteY43" fmla="*/ 601807 h 940625"/>
                  <a:gd name="connsiteX44" fmla="*/ 175168 w 400069"/>
                  <a:gd name="connsiteY44" fmla="*/ 603346 h 940625"/>
                  <a:gd name="connsiteX45" fmla="*/ 153225 w 400069"/>
                  <a:gd name="connsiteY45" fmla="*/ 616968 h 940625"/>
                  <a:gd name="connsiteX46" fmla="*/ 149919 w 400069"/>
                  <a:gd name="connsiteY46" fmla="*/ 620502 h 940625"/>
                  <a:gd name="connsiteX47" fmla="*/ 143650 w 400069"/>
                  <a:gd name="connsiteY47" fmla="*/ 621984 h 940625"/>
                  <a:gd name="connsiteX48" fmla="*/ 132251 w 400069"/>
                  <a:gd name="connsiteY48" fmla="*/ 639082 h 940625"/>
                  <a:gd name="connsiteX49" fmla="*/ 131168 w 400069"/>
                  <a:gd name="connsiteY49" fmla="*/ 661082 h 940625"/>
                  <a:gd name="connsiteX50" fmla="*/ 140059 w 400069"/>
                  <a:gd name="connsiteY50" fmla="*/ 664103 h 940625"/>
                  <a:gd name="connsiteX51" fmla="*/ 146899 w 400069"/>
                  <a:gd name="connsiteY51" fmla="*/ 671170 h 940625"/>
                  <a:gd name="connsiteX52" fmla="*/ 170609 w 400069"/>
                  <a:gd name="connsiteY52" fmla="*/ 679320 h 940625"/>
                  <a:gd name="connsiteX53" fmla="*/ 168659 w 400069"/>
                  <a:gd name="connsiteY53" fmla="*/ 694025 h 940625"/>
                  <a:gd name="connsiteX54" fmla="*/ 164909 w 400069"/>
                  <a:gd name="connsiteY54" fmla="*/ 695848 h 940625"/>
                  <a:gd name="connsiteX55" fmla="*/ 160976 w 400069"/>
                  <a:gd name="connsiteY55" fmla="*/ 696704 h 940625"/>
                  <a:gd name="connsiteX56" fmla="*/ 154536 w 400069"/>
                  <a:gd name="connsiteY56" fmla="*/ 709584 h 940625"/>
                  <a:gd name="connsiteX57" fmla="*/ 147412 w 400069"/>
                  <a:gd name="connsiteY57" fmla="*/ 712149 h 940625"/>
                  <a:gd name="connsiteX58" fmla="*/ 143878 w 400069"/>
                  <a:gd name="connsiteY58" fmla="*/ 720071 h 940625"/>
                  <a:gd name="connsiteX59" fmla="*/ 140002 w 400069"/>
                  <a:gd name="connsiteY59" fmla="*/ 723719 h 940625"/>
                  <a:gd name="connsiteX60" fmla="*/ 137551 w 400069"/>
                  <a:gd name="connsiteY60" fmla="*/ 735517 h 940625"/>
                  <a:gd name="connsiteX61" fmla="*/ 123764 w 400069"/>
                  <a:gd name="connsiteY61" fmla="*/ 745195 h 940625"/>
                  <a:gd name="connsiteX62" fmla="*/ 123588 w 400069"/>
                  <a:gd name="connsiteY62" fmla="*/ 746916 h 940625"/>
                  <a:gd name="connsiteX63" fmla="*/ 122619 w 400069"/>
                  <a:gd name="connsiteY63" fmla="*/ 756035 h 940625"/>
                  <a:gd name="connsiteX64" fmla="*/ 118857 w 400069"/>
                  <a:gd name="connsiteY64" fmla="*/ 758030 h 940625"/>
                  <a:gd name="connsiteX65" fmla="*/ 113158 w 400069"/>
                  <a:gd name="connsiteY65" fmla="*/ 764413 h 940625"/>
                  <a:gd name="connsiteX66" fmla="*/ 111619 w 400069"/>
                  <a:gd name="connsiteY66" fmla="*/ 769087 h 940625"/>
                  <a:gd name="connsiteX67" fmla="*/ 99764 w 400069"/>
                  <a:gd name="connsiteY67" fmla="*/ 775584 h 940625"/>
                  <a:gd name="connsiteX68" fmla="*/ 94976 w 400069"/>
                  <a:gd name="connsiteY68" fmla="*/ 788351 h 940625"/>
                  <a:gd name="connsiteX69" fmla="*/ 98225 w 400069"/>
                  <a:gd name="connsiteY69" fmla="*/ 795418 h 940625"/>
                  <a:gd name="connsiteX70" fmla="*/ 96458 w 400069"/>
                  <a:gd name="connsiteY70" fmla="*/ 821750 h 940625"/>
                  <a:gd name="connsiteX71" fmla="*/ 102158 w 400069"/>
                  <a:gd name="connsiteY71" fmla="*/ 830185 h 940625"/>
                  <a:gd name="connsiteX72" fmla="*/ 110707 w 400069"/>
                  <a:gd name="connsiteY72" fmla="*/ 839361 h 940625"/>
                  <a:gd name="connsiteX73" fmla="*/ 97655 w 400069"/>
                  <a:gd name="connsiteY73" fmla="*/ 836967 h 940625"/>
                  <a:gd name="connsiteX74" fmla="*/ 91956 w 400069"/>
                  <a:gd name="connsiteY74" fmla="*/ 831895 h 940625"/>
                  <a:gd name="connsiteX75" fmla="*/ 84660 w 400069"/>
                  <a:gd name="connsiteY75" fmla="*/ 831382 h 940625"/>
                  <a:gd name="connsiteX76" fmla="*/ 82837 w 400069"/>
                  <a:gd name="connsiteY76" fmla="*/ 834175 h 940625"/>
                  <a:gd name="connsiteX77" fmla="*/ 61179 w 400069"/>
                  <a:gd name="connsiteY77" fmla="*/ 831439 h 940625"/>
                  <a:gd name="connsiteX78" fmla="*/ 52686 w 400069"/>
                  <a:gd name="connsiteY78" fmla="*/ 831781 h 940625"/>
                  <a:gd name="connsiteX79" fmla="*/ 46987 w 400069"/>
                  <a:gd name="connsiteY79" fmla="*/ 827848 h 940625"/>
                  <a:gd name="connsiteX80" fmla="*/ 37583 w 400069"/>
                  <a:gd name="connsiteY80" fmla="*/ 825056 h 940625"/>
                  <a:gd name="connsiteX81" fmla="*/ 35588 w 400069"/>
                  <a:gd name="connsiteY81" fmla="*/ 820040 h 940625"/>
                  <a:gd name="connsiteX82" fmla="*/ 32111 w 400069"/>
                  <a:gd name="connsiteY82" fmla="*/ 802942 h 940625"/>
                  <a:gd name="connsiteX83" fmla="*/ 19743 w 400069"/>
                  <a:gd name="connsiteY83" fmla="*/ 792569 h 940625"/>
                  <a:gd name="connsiteX84" fmla="*/ 18433 w 400069"/>
                  <a:gd name="connsiteY84" fmla="*/ 786014 h 940625"/>
                  <a:gd name="connsiteX85" fmla="*/ 7775 w 400069"/>
                  <a:gd name="connsiteY85" fmla="*/ 774102 h 940625"/>
                  <a:gd name="connsiteX86" fmla="*/ 137 w 400069"/>
                  <a:gd name="connsiteY86" fmla="*/ 760651 h 940625"/>
                  <a:gd name="connsiteX87" fmla="*/ 14500 w 400069"/>
                  <a:gd name="connsiteY87" fmla="*/ 741729 h 940625"/>
                  <a:gd name="connsiteX88" fmla="*/ 15298 w 400069"/>
                  <a:gd name="connsiteY88" fmla="*/ 733864 h 940625"/>
                  <a:gd name="connsiteX89" fmla="*/ 23277 w 400069"/>
                  <a:gd name="connsiteY89" fmla="*/ 728507 h 940625"/>
                  <a:gd name="connsiteX90" fmla="*/ 22422 w 400069"/>
                  <a:gd name="connsiteY90" fmla="*/ 717108 h 940625"/>
                  <a:gd name="connsiteX91" fmla="*/ 34904 w 400069"/>
                  <a:gd name="connsiteY91" fmla="*/ 686160 h 940625"/>
                  <a:gd name="connsiteX92" fmla="*/ 43282 w 400069"/>
                  <a:gd name="connsiteY92" fmla="*/ 649569 h 940625"/>
                  <a:gd name="connsiteX93" fmla="*/ 45277 w 400069"/>
                  <a:gd name="connsiteY93" fmla="*/ 635092 h 940625"/>
                  <a:gd name="connsiteX94" fmla="*/ 47842 w 400069"/>
                  <a:gd name="connsiteY94" fmla="*/ 618393 h 940625"/>
                  <a:gd name="connsiteX95" fmla="*/ 52743 w 400069"/>
                  <a:gd name="connsiteY95" fmla="*/ 614289 h 940625"/>
                  <a:gd name="connsiteX96" fmla="*/ 50406 w 400069"/>
                  <a:gd name="connsiteY96" fmla="*/ 606652 h 940625"/>
                  <a:gd name="connsiteX97" fmla="*/ 43567 w 400069"/>
                  <a:gd name="connsiteY97" fmla="*/ 601351 h 940625"/>
                  <a:gd name="connsiteX98" fmla="*/ 40946 w 400069"/>
                  <a:gd name="connsiteY98" fmla="*/ 567155 h 940625"/>
                  <a:gd name="connsiteX99" fmla="*/ 36557 w 400069"/>
                  <a:gd name="connsiteY99" fmla="*/ 560087 h 940625"/>
                  <a:gd name="connsiteX100" fmla="*/ 37754 w 400069"/>
                  <a:gd name="connsiteY100" fmla="*/ 553875 h 940625"/>
                  <a:gd name="connsiteX101" fmla="*/ 38894 w 400069"/>
                  <a:gd name="connsiteY101" fmla="*/ 507139 h 940625"/>
                  <a:gd name="connsiteX102" fmla="*/ 34961 w 400069"/>
                  <a:gd name="connsiteY102" fmla="*/ 500015 h 940625"/>
                  <a:gd name="connsiteX103" fmla="*/ 37811 w 400069"/>
                  <a:gd name="connsiteY103" fmla="*/ 492434 h 940625"/>
                  <a:gd name="connsiteX104" fmla="*/ 43852 w 400069"/>
                  <a:gd name="connsiteY104" fmla="*/ 470890 h 940625"/>
                  <a:gd name="connsiteX105" fmla="*/ 57075 w 400069"/>
                  <a:gd name="connsiteY105" fmla="*/ 453792 h 940625"/>
                  <a:gd name="connsiteX106" fmla="*/ 58671 w 400069"/>
                  <a:gd name="connsiteY106" fmla="*/ 435781 h 940625"/>
                  <a:gd name="connsiteX107" fmla="*/ 61578 w 400069"/>
                  <a:gd name="connsiteY107" fmla="*/ 426777 h 940625"/>
                  <a:gd name="connsiteX108" fmla="*/ 57987 w 400069"/>
                  <a:gd name="connsiteY108" fmla="*/ 414066 h 940625"/>
                  <a:gd name="connsiteX109" fmla="*/ 53142 w 400069"/>
                  <a:gd name="connsiteY109" fmla="*/ 388932 h 940625"/>
                  <a:gd name="connsiteX110" fmla="*/ 54510 w 400069"/>
                  <a:gd name="connsiteY110" fmla="*/ 383632 h 940625"/>
                  <a:gd name="connsiteX111" fmla="*/ 59241 w 400069"/>
                  <a:gd name="connsiteY111" fmla="*/ 380839 h 940625"/>
                  <a:gd name="connsiteX112" fmla="*/ 71495 w 400069"/>
                  <a:gd name="connsiteY112" fmla="*/ 362828 h 940625"/>
                  <a:gd name="connsiteX113" fmla="*/ 70583 w 400069"/>
                  <a:gd name="connsiteY113" fmla="*/ 340315 h 940625"/>
                  <a:gd name="connsiteX114" fmla="*/ 79987 w 400069"/>
                  <a:gd name="connsiteY114" fmla="*/ 322020 h 940625"/>
                  <a:gd name="connsiteX115" fmla="*/ 81241 w 400069"/>
                  <a:gd name="connsiteY115" fmla="*/ 299678 h 940625"/>
                  <a:gd name="connsiteX116" fmla="*/ 77992 w 400069"/>
                  <a:gd name="connsiteY116" fmla="*/ 274885 h 940625"/>
                  <a:gd name="connsiteX117" fmla="*/ 71495 w 400069"/>
                  <a:gd name="connsiteY117" fmla="*/ 269186 h 940625"/>
                  <a:gd name="connsiteX118" fmla="*/ 72179 w 400069"/>
                  <a:gd name="connsiteY118" fmla="*/ 257787 h 940625"/>
                  <a:gd name="connsiteX119" fmla="*/ 65168 w 400069"/>
                  <a:gd name="connsiteY119" fmla="*/ 245077 h 940625"/>
                  <a:gd name="connsiteX120" fmla="*/ 73945 w 400069"/>
                  <a:gd name="connsiteY120" fmla="*/ 229518 h 940625"/>
                  <a:gd name="connsiteX121" fmla="*/ 83122 w 400069"/>
                  <a:gd name="connsiteY121" fmla="*/ 202787 h 940625"/>
                  <a:gd name="connsiteX122" fmla="*/ 84489 w 400069"/>
                  <a:gd name="connsiteY122" fmla="*/ 189565 h 940625"/>
                  <a:gd name="connsiteX123" fmla="*/ 87225 w 400069"/>
                  <a:gd name="connsiteY123" fmla="*/ 186088 h 940625"/>
                  <a:gd name="connsiteX124" fmla="*/ 87225 w 400069"/>
                  <a:gd name="connsiteY124" fmla="*/ 181471 h 940625"/>
                  <a:gd name="connsiteX125" fmla="*/ 93780 w 400069"/>
                  <a:gd name="connsiteY125" fmla="*/ 164373 h 940625"/>
                  <a:gd name="connsiteX126" fmla="*/ 92982 w 400069"/>
                  <a:gd name="connsiteY126" fmla="*/ 151093 h 940625"/>
                  <a:gd name="connsiteX127" fmla="*/ 105065 w 400069"/>
                  <a:gd name="connsiteY127" fmla="*/ 139352 h 940625"/>
                  <a:gd name="connsiteX128" fmla="*/ 106318 w 400069"/>
                  <a:gd name="connsiteY128" fmla="*/ 133653 h 940625"/>
                  <a:gd name="connsiteX129" fmla="*/ 116691 w 400069"/>
                  <a:gd name="connsiteY129" fmla="*/ 120715 h 940625"/>
                  <a:gd name="connsiteX130" fmla="*/ 114469 w 400069"/>
                  <a:gd name="connsiteY130" fmla="*/ 115015 h 940625"/>
                  <a:gd name="connsiteX131" fmla="*/ 116862 w 400069"/>
                  <a:gd name="connsiteY131" fmla="*/ 86518 h 940625"/>
                  <a:gd name="connsiteX132" fmla="*/ 111505 w 400069"/>
                  <a:gd name="connsiteY132" fmla="*/ 76715 h 940625"/>
                  <a:gd name="connsiteX133" fmla="*/ 116635 w 400069"/>
                  <a:gd name="connsiteY133" fmla="*/ 63948 h 940625"/>
                  <a:gd name="connsiteX134" fmla="*/ 118116 w 400069"/>
                  <a:gd name="connsiteY134" fmla="*/ 57166 h 940625"/>
                  <a:gd name="connsiteX135" fmla="*/ 141883 w 400069"/>
                  <a:gd name="connsiteY135" fmla="*/ 46280 h 940625"/>
                  <a:gd name="connsiteX136" fmla="*/ 143365 w 400069"/>
                  <a:gd name="connsiteY136" fmla="*/ 34425 h 940625"/>
                  <a:gd name="connsiteX137" fmla="*/ 140857 w 400069"/>
                  <a:gd name="connsiteY137" fmla="*/ 31404 h 940625"/>
                  <a:gd name="connsiteX138" fmla="*/ 142624 w 400069"/>
                  <a:gd name="connsiteY138" fmla="*/ 30492 h 940625"/>
                  <a:gd name="connsiteX139" fmla="*/ 139660 w 400069"/>
                  <a:gd name="connsiteY139" fmla="*/ 17953 h 940625"/>
                  <a:gd name="connsiteX140" fmla="*/ 147811 w 400069"/>
                  <a:gd name="connsiteY140" fmla="*/ 17953 h 940625"/>
                  <a:gd name="connsiteX141" fmla="*/ 156018 w 400069"/>
                  <a:gd name="connsiteY141" fmla="*/ 4787 h 940625"/>
                  <a:gd name="connsiteX142" fmla="*/ 186453 w 400069"/>
                  <a:gd name="connsiteY142" fmla="*/ 7466 h 940625"/>
                  <a:gd name="connsiteX143" fmla="*/ 192153 w 400069"/>
                  <a:gd name="connsiteY143" fmla="*/ 7466 h 940625"/>
                  <a:gd name="connsiteX144" fmla="*/ 203551 w 400069"/>
                  <a:gd name="connsiteY144" fmla="*/ 17611 h 940625"/>
                  <a:gd name="connsiteX145" fmla="*/ 212386 w 400069"/>
                  <a:gd name="connsiteY145" fmla="*/ 11912 h 940625"/>
                  <a:gd name="connsiteX146" fmla="*/ 212671 w 400069"/>
                  <a:gd name="connsiteY146" fmla="*/ 513 h 940625"/>
                  <a:gd name="connsiteX147" fmla="*/ 241738 w 400069"/>
                  <a:gd name="connsiteY147" fmla="*/ 0 h 940625"/>
                  <a:gd name="connsiteX148" fmla="*/ 243448 w 400069"/>
                  <a:gd name="connsiteY148" fmla="*/ 13679 h 940625"/>
                  <a:gd name="connsiteX149" fmla="*/ 254049 w 400069"/>
                  <a:gd name="connsiteY149" fmla="*/ 17497 h 940625"/>
                  <a:gd name="connsiteX150" fmla="*/ 254049 w 400069"/>
                  <a:gd name="connsiteY150" fmla="*/ 23881 h 940625"/>
                  <a:gd name="connsiteX151" fmla="*/ 264422 w 400069"/>
                  <a:gd name="connsiteY151" fmla="*/ 31005 h 940625"/>
                  <a:gd name="connsiteX152" fmla="*/ 269551 w 400069"/>
                  <a:gd name="connsiteY152" fmla="*/ 41036 h 940625"/>
                  <a:gd name="connsiteX153" fmla="*/ 282033 w 400069"/>
                  <a:gd name="connsiteY153" fmla="*/ 44342 h 940625"/>
                  <a:gd name="connsiteX154" fmla="*/ 293147 w 400069"/>
                  <a:gd name="connsiteY154" fmla="*/ 52834 h 940625"/>
                  <a:gd name="connsiteX155" fmla="*/ 298847 w 400069"/>
                  <a:gd name="connsiteY155" fmla="*/ 53404 h 940625"/>
                  <a:gd name="connsiteX156" fmla="*/ 303691 w 400069"/>
                  <a:gd name="connsiteY156" fmla="*/ 58762 h 940625"/>
                  <a:gd name="connsiteX157" fmla="*/ 312411 w 400069"/>
                  <a:gd name="connsiteY157" fmla="*/ 59274 h 940625"/>
                  <a:gd name="connsiteX158" fmla="*/ 320619 w 400069"/>
                  <a:gd name="connsiteY158" fmla="*/ 67026 h 940625"/>
                  <a:gd name="connsiteX159" fmla="*/ 328598 w 400069"/>
                  <a:gd name="connsiteY159" fmla="*/ 68165 h 940625"/>
                  <a:gd name="connsiteX160" fmla="*/ 334297 w 400069"/>
                  <a:gd name="connsiteY160" fmla="*/ 75233 h 940625"/>
                  <a:gd name="connsiteX161" fmla="*/ 342106 w 400069"/>
                  <a:gd name="connsiteY161" fmla="*/ 77855 h 940625"/>
                  <a:gd name="connsiteX162" fmla="*/ 356280 w 400069"/>
                  <a:gd name="connsiteY162" fmla="*/ 85532 h 940625"/>
                  <a:gd name="connsiteX163" fmla="*/ 356411 w 400069"/>
                  <a:gd name="connsiteY163" fmla="*/ 85492 h 940625"/>
                  <a:gd name="connsiteX164" fmla="*/ 355328 w 400069"/>
                  <a:gd name="connsiteY164" fmla="*/ 94611 h 940625"/>
                  <a:gd name="connsiteX165" fmla="*/ 346950 w 400069"/>
                  <a:gd name="connsiteY165" fmla="*/ 100311 h 940625"/>
                  <a:gd name="connsiteX166" fmla="*/ 346209 w 400069"/>
                  <a:gd name="connsiteY166" fmla="*/ 121513 h 940625"/>
                  <a:gd name="connsiteX167" fmla="*/ 339997 w 400069"/>
                  <a:gd name="connsiteY167" fmla="*/ 127212 h 940625"/>
                  <a:gd name="connsiteX168" fmla="*/ 367753 w 400069"/>
                  <a:gd name="connsiteY168" fmla="*/ 137300 h 940625"/>
                  <a:gd name="connsiteX169" fmla="*/ 382173 w 400069"/>
                  <a:gd name="connsiteY169" fmla="*/ 137300 h 940625"/>
                  <a:gd name="connsiteX170" fmla="*/ 391577 w 400069"/>
                  <a:gd name="connsiteY170" fmla="*/ 146761 h 940625"/>
                  <a:gd name="connsiteX171" fmla="*/ 390950 w 400069"/>
                  <a:gd name="connsiteY171" fmla="*/ 155596 h 940625"/>
                  <a:gd name="connsiteX172" fmla="*/ 394370 w 400069"/>
                  <a:gd name="connsiteY172" fmla="*/ 159186 h 940625"/>
                  <a:gd name="connsiteX173" fmla="*/ 400069 w 400069"/>
                  <a:gd name="connsiteY173" fmla="*/ 163062 h 940625"/>
                  <a:gd name="connsiteX174" fmla="*/ 392432 w 400069"/>
                  <a:gd name="connsiteY174" fmla="*/ 166196 h 940625"/>
                  <a:gd name="connsiteX175" fmla="*/ 373111 w 400069"/>
                  <a:gd name="connsiteY175" fmla="*/ 190704 h 940625"/>
                  <a:gd name="connsiteX176" fmla="*/ 365359 w 400069"/>
                  <a:gd name="connsiteY176" fmla="*/ 207803 h 940625"/>
                  <a:gd name="connsiteX177" fmla="*/ 360059 w 400069"/>
                  <a:gd name="connsiteY177" fmla="*/ 210140 h 940625"/>
                  <a:gd name="connsiteX178" fmla="*/ 348660 w 400069"/>
                  <a:gd name="connsiteY178" fmla="*/ 219658 h 940625"/>
                  <a:gd name="connsiteX179" fmla="*/ 347463 w 400069"/>
                  <a:gd name="connsiteY179" fmla="*/ 229404 h 940625"/>
                  <a:gd name="connsiteX180" fmla="*/ 346722 w 400069"/>
                  <a:gd name="connsiteY180" fmla="*/ 239321 h 940625"/>
                  <a:gd name="connsiteX181" fmla="*/ 342847 w 400069"/>
                  <a:gd name="connsiteY181" fmla="*/ 275000 h 940625"/>
                  <a:gd name="connsiteX182" fmla="*/ 340966 w 400069"/>
                  <a:gd name="connsiteY182" fmla="*/ 281212 h 940625"/>
                  <a:gd name="connsiteX183" fmla="*/ 336691 w 400069"/>
                  <a:gd name="connsiteY183" fmla="*/ 284917 h 940625"/>
                  <a:gd name="connsiteX184" fmla="*/ 335323 w 400069"/>
                  <a:gd name="connsiteY184" fmla="*/ 297912 h 940625"/>
                  <a:gd name="connsiteX185" fmla="*/ 180355 w 400069"/>
                  <a:gd name="connsiteY185" fmla="*/ 915335 h 940625"/>
                  <a:gd name="connsiteX186" fmla="*/ 178474 w 400069"/>
                  <a:gd name="connsiteY186" fmla="*/ 914936 h 940625"/>
                  <a:gd name="connsiteX187" fmla="*/ 164510 w 400069"/>
                  <a:gd name="connsiteY187" fmla="*/ 913056 h 940625"/>
                  <a:gd name="connsiteX188" fmla="*/ 159437 w 400069"/>
                  <a:gd name="connsiteY188" fmla="*/ 913056 h 940625"/>
                  <a:gd name="connsiteX189" fmla="*/ 150717 w 400069"/>
                  <a:gd name="connsiteY189" fmla="*/ 915050 h 940625"/>
                  <a:gd name="connsiteX190" fmla="*/ 147469 w 400069"/>
                  <a:gd name="connsiteY190" fmla="*/ 912086 h 940625"/>
                  <a:gd name="connsiteX191" fmla="*/ 142168 w 400069"/>
                  <a:gd name="connsiteY191" fmla="*/ 912086 h 940625"/>
                  <a:gd name="connsiteX192" fmla="*/ 139261 w 400069"/>
                  <a:gd name="connsiteY192" fmla="*/ 907869 h 940625"/>
                  <a:gd name="connsiteX193" fmla="*/ 133277 w 400069"/>
                  <a:gd name="connsiteY193" fmla="*/ 906558 h 940625"/>
                  <a:gd name="connsiteX194" fmla="*/ 129800 w 400069"/>
                  <a:gd name="connsiteY194" fmla="*/ 897268 h 940625"/>
                  <a:gd name="connsiteX195" fmla="*/ 125754 w 400069"/>
                  <a:gd name="connsiteY195" fmla="*/ 894817 h 940625"/>
                  <a:gd name="connsiteX196" fmla="*/ 125754 w 400069"/>
                  <a:gd name="connsiteY196" fmla="*/ 893107 h 940625"/>
                  <a:gd name="connsiteX197" fmla="*/ 125754 w 400069"/>
                  <a:gd name="connsiteY197" fmla="*/ 879998 h 940625"/>
                  <a:gd name="connsiteX198" fmla="*/ 115495 w 400069"/>
                  <a:gd name="connsiteY198" fmla="*/ 874869 h 940625"/>
                  <a:gd name="connsiteX199" fmla="*/ 109111 w 400069"/>
                  <a:gd name="connsiteY199" fmla="*/ 873273 h 940625"/>
                  <a:gd name="connsiteX200" fmla="*/ 108313 w 400069"/>
                  <a:gd name="connsiteY200" fmla="*/ 871278 h 940625"/>
                  <a:gd name="connsiteX201" fmla="*/ 107344 w 400069"/>
                  <a:gd name="connsiteY201" fmla="*/ 859879 h 940625"/>
                  <a:gd name="connsiteX202" fmla="*/ 106888 w 400069"/>
                  <a:gd name="connsiteY202" fmla="*/ 854636 h 940625"/>
                  <a:gd name="connsiteX203" fmla="*/ 100163 w 400069"/>
                  <a:gd name="connsiteY203" fmla="*/ 850646 h 940625"/>
                  <a:gd name="connsiteX204" fmla="*/ 100163 w 400069"/>
                  <a:gd name="connsiteY204" fmla="*/ 850646 h 940625"/>
                  <a:gd name="connsiteX205" fmla="*/ 101588 w 400069"/>
                  <a:gd name="connsiteY205" fmla="*/ 876921 h 940625"/>
                  <a:gd name="connsiteX206" fmla="*/ 103583 w 400069"/>
                  <a:gd name="connsiteY206" fmla="*/ 898294 h 940625"/>
                  <a:gd name="connsiteX207" fmla="*/ 104894 w 400069"/>
                  <a:gd name="connsiteY207" fmla="*/ 908097 h 940625"/>
                  <a:gd name="connsiteX208" fmla="*/ 117774 w 400069"/>
                  <a:gd name="connsiteY208" fmla="*/ 933403 h 940625"/>
                  <a:gd name="connsiteX209" fmla="*/ 113557 w 400069"/>
                  <a:gd name="connsiteY209" fmla="*/ 926221 h 940625"/>
                  <a:gd name="connsiteX210" fmla="*/ 120721 w 400069"/>
                  <a:gd name="connsiteY210" fmla="*/ 926574 h 940625"/>
                  <a:gd name="connsiteX211" fmla="*/ 121650 w 400069"/>
                  <a:gd name="connsiteY211" fmla="*/ 931921 h 940625"/>
                  <a:gd name="connsiteX212" fmla="*/ 128489 w 400069"/>
                  <a:gd name="connsiteY212" fmla="*/ 933232 h 940625"/>
                  <a:gd name="connsiteX213" fmla="*/ 130097 w 400069"/>
                  <a:gd name="connsiteY213" fmla="*/ 939307 h 940625"/>
                  <a:gd name="connsiteX214" fmla="*/ 130085 w 400069"/>
                  <a:gd name="connsiteY214" fmla="*/ 939330 h 940625"/>
                  <a:gd name="connsiteX215" fmla="*/ 140230 w 400069"/>
                  <a:gd name="connsiteY215" fmla="*/ 940584 h 940625"/>
                  <a:gd name="connsiteX216" fmla="*/ 141370 w 400069"/>
                  <a:gd name="connsiteY216" fmla="*/ 931864 h 940625"/>
                  <a:gd name="connsiteX217" fmla="*/ 146101 w 400069"/>
                  <a:gd name="connsiteY217" fmla="*/ 934087 h 940625"/>
                  <a:gd name="connsiteX218" fmla="*/ 150831 w 400069"/>
                  <a:gd name="connsiteY218" fmla="*/ 936423 h 940625"/>
                  <a:gd name="connsiteX219" fmla="*/ 154251 w 400069"/>
                  <a:gd name="connsiteY219" fmla="*/ 933289 h 940625"/>
                  <a:gd name="connsiteX220" fmla="*/ 157728 w 400069"/>
                  <a:gd name="connsiteY220" fmla="*/ 933289 h 940625"/>
                  <a:gd name="connsiteX221" fmla="*/ 158696 w 400069"/>
                  <a:gd name="connsiteY221" fmla="*/ 926563 h 940625"/>
                  <a:gd name="connsiteX222" fmla="*/ 171463 w 400069"/>
                  <a:gd name="connsiteY222" fmla="*/ 926221 h 940625"/>
                  <a:gd name="connsiteX223" fmla="*/ 180754 w 400069"/>
                  <a:gd name="connsiteY223" fmla="*/ 923827 h 940625"/>
                  <a:gd name="connsiteX224" fmla="*/ 180355 w 400069"/>
                  <a:gd name="connsiteY224" fmla="*/ 915335 h 94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400069" h="940625">
                    <a:moveTo>
                      <a:pt x="335323" y="297912"/>
                    </a:moveTo>
                    <a:cubicBezTo>
                      <a:pt x="335323" y="298254"/>
                      <a:pt x="335323" y="298595"/>
                      <a:pt x="335323" y="298937"/>
                    </a:cubicBezTo>
                    <a:lnTo>
                      <a:pt x="335323" y="298937"/>
                    </a:lnTo>
                    <a:cubicBezTo>
                      <a:pt x="333750" y="302602"/>
                      <a:pt x="333876" y="306774"/>
                      <a:pt x="335665" y="310336"/>
                    </a:cubicBezTo>
                    <a:cubicBezTo>
                      <a:pt x="336691" y="312274"/>
                      <a:pt x="338173" y="314269"/>
                      <a:pt x="337603" y="316036"/>
                    </a:cubicBezTo>
                    <a:cubicBezTo>
                      <a:pt x="337033" y="317803"/>
                      <a:pt x="336007" y="318372"/>
                      <a:pt x="335038" y="319455"/>
                    </a:cubicBezTo>
                    <a:cubicBezTo>
                      <a:pt x="332166" y="322499"/>
                      <a:pt x="330935" y="326745"/>
                      <a:pt x="331733" y="330854"/>
                    </a:cubicBezTo>
                    <a:cubicBezTo>
                      <a:pt x="338059" y="333476"/>
                      <a:pt x="345297" y="331595"/>
                      <a:pt x="352023" y="332792"/>
                    </a:cubicBezTo>
                    <a:cubicBezTo>
                      <a:pt x="358748" y="333989"/>
                      <a:pt x="365417" y="341797"/>
                      <a:pt x="361199" y="347155"/>
                    </a:cubicBezTo>
                    <a:cubicBezTo>
                      <a:pt x="360116" y="348523"/>
                      <a:pt x="358520" y="349378"/>
                      <a:pt x="357494" y="350745"/>
                    </a:cubicBezTo>
                    <a:cubicBezTo>
                      <a:pt x="353903" y="355533"/>
                      <a:pt x="358805" y="362144"/>
                      <a:pt x="363992" y="365165"/>
                    </a:cubicBezTo>
                    <a:cubicBezTo>
                      <a:pt x="369178" y="368186"/>
                      <a:pt x="375391" y="370865"/>
                      <a:pt x="376530" y="377020"/>
                    </a:cubicBezTo>
                    <a:cubicBezTo>
                      <a:pt x="377613" y="383859"/>
                      <a:pt x="370432" y="388818"/>
                      <a:pt x="364391" y="392295"/>
                    </a:cubicBezTo>
                    <a:cubicBezTo>
                      <a:pt x="358349" y="395771"/>
                      <a:pt x="351681" y="401984"/>
                      <a:pt x="354246" y="408424"/>
                    </a:cubicBezTo>
                    <a:cubicBezTo>
                      <a:pt x="346511" y="413964"/>
                      <a:pt x="338395" y="418951"/>
                      <a:pt x="329966" y="423357"/>
                    </a:cubicBezTo>
                    <a:cubicBezTo>
                      <a:pt x="324722" y="426150"/>
                      <a:pt x="319365" y="428657"/>
                      <a:pt x="313950" y="431222"/>
                    </a:cubicBezTo>
                    <a:lnTo>
                      <a:pt x="308251" y="434015"/>
                    </a:lnTo>
                    <a:cubicBezTo>
                      <a:pt x="296168" y="439714"/>
                      <a:pt x="283401" y="445414"/>
                      <a:pt x="270121" y="444331"/>
                    </a:cubicBezTo>
                    <a:cubicBezTo>
                      <a:pt x="268269" y="444291"/>
                      <a:pt x="266468" y="443715"/>
                      <a:pt x="264935" y="442678"/>
                    </a:cubicBezTo>
                    <a:cubicBezTo>
                      <a:pt x="263755" y="441492"/>
                      <a:pt x="262723" y="440176"/>
                      <a:pt x="261857" y="438745"/>
                    </a:cubicBezTo>
                    <a:cubicBezTo>
                      <a:pt x="258181" y="434208"/>
                      <a:pt x="251746" y="433023"/>
                      <a:pt x="246696" y="435953"/>
                    </a:cubicBezTo>
                    <a:cubicBezTo>
                      <a:pt x="244531" y="439122"/>
                      <a:pt x="243619" y="442980"/>
                      <a:pt x="244132" y="446782"/>
                    </a:cubicBezTo>
                    <a:cubicBezTo>
                      <a:pt x="249193" y="447796"/>
                      <a:pt x="252476" y="452721"/>
                      <a:pt x="251456" y="457782"/>
                    </a:cubicBezTo>
                    <a:cubicBezTo>
                      <a:pt x="251433" y="457918"/>
                      <a:pt x="251404" y="458050"/>
                      <a:pt x="251370" y="458181"/>
                    </a:cubicBezTo>
                    <a:cubicBezTo>
                      <a:pt x="250230" y="462512"/>
                      <a:pt x="246012" y="465533"/>
                      <a:pt x="245101" y="469922"/>
                    </a:cubicBezTo>
                    <a:cubicBezTo>
                      <a:pt x="243505" y="478129"/>
                      <a:pt x="254220" y="486450"/>
                      <a:pt x="249831" y="493574"/>
                    </a:cubicBezTo>
                    <a:cubicBezTo>
                      <a:pt x="244132" y="493061"/>
                      <a:pt x="242992" y="501212"/>
                      <a:pt x="238945" y="504973"/>
                    </a:cubicBezTo>
                    <a:cubicBezTo>
                      <a:pt x="234899" y="508735"/>
                      <a:pt x="227546" y="507310"/>
                      <a:pt x="221847" y="504574"/>
                    </a:cubicBezTo>
                    <a:cubicBezTo>
                      <a:pt x="216147" y="501839"/>
                      <a:pt x="210448" y="498362"/>
                      <a:pt x="204748" y="499844"/>
                    </a:cubicBezTo>
                    <a:lnTo>
                      <a:pt x="202525" y="493232"/>
                    </a:lnTo>
                    <a:cubicBezTo>
                      <a:pt x="197595" y="492794"/>
                      <a:pt x="192625" y="493044"/>
                      <a:pt x="187764" y="493973"/>
                    </a:cubicBezTo>
                    <a:cubicBezTo>
                      <a:pt x="186880" y="504985"/>
                      <a:pt x="184834" y="515876"/>
                      <a:pt x="181665" y="526460"/>
                    </a:cubicBezTo>
                    <a:cubicBezTo>
                      <a:pt x="186402" y="528774"/>
                      <a:pt x="190591" y="532052"/>
                      <a:pt x="193976" y="536092"/>
                    </a:cubicBezTo>
                    <a:cubicBezTo>
                      <a:pt x="197396" y="539968"/>
                      <a:pt x="202736" y="541541"/>
                      <a:pt x="207712" y="540139"/>
                    </a:cubicBezTo>
                    <a:cubicBezTo>
                      <a:pt x="211759" y="538372"/>
                      <a:pt x="215007" y="533129"/>
                      <a:pt x="219111" y="534440"/>
                    </a:cubicBezTo>
                    <a:cubicBezTo>
                      <a:pt x="222553" y="539712"/>
                      <a:pt x="221072" y="546773"/>
                      <a:pt x="215805" y="550216"/>
                    </a:cubicBezTo>
                    <a:cubicBezTo>
                      <a:pt x="212938" y="552091"/>
                      <a:pt x="209382" y="552575"/>
                      <a:pt x="206116" y="551538"/>
                    </a:cubicBezTo>
                    <a:cubicBezTo>
                      <a:pt x="200987" y="549714"/>
                      <a:pt x="196313" y="544186"/>
                      <a:pt x="191297" y="546294"/>
                    </a:cubicBezTo>
                    <a:cubicBezTo>
                      <a:pt x="191588" y="550911"/>
                      <a:pt x="192665" y="555436"/>
                      <a:pt x="194489" y="559688"/>
                    </a:cubicBezTo>
                    <a:cubicBezTo>
                      <a:pt x="192153" y="557921"/>
                      <a:pt x="188830" y="558383"/>
                      <a:pt x="187063" y="560720"/>
                    </a:cubicBezTo>
                    <a:cubicBezTo>
                      <a:pt x="186972" y="560845"/>
                      <a:pt x="186880" y="560976"/>
                      <a:pt x="186795" y="561113"/>
                    </a:cubicBezTo>
                    <a:cubicBezTo>
                      <a:pt x="185262" y="563689"/>
                      <a:pt x="184527" y="566664"/>
                      <a:pt x="184686" y="569662"/>
                    </a:cubicBezTo>
                    <a:lnTo>
                      <a:pt x="183603" y="592460"/>
                    </a:lnTo>
                    <a:cubicBezTo>
                      <a:pt x="183940" y="595942"/>
                      <a:pt x="182657" y="599391"/>
                      <a:pt x="180127" y="601807"/>
                    </a:cubicBezTo>
                    <a:cubicBezTo>
                      <a:pt x="178588" y="602634"/>
                      <a:pt x="176906" y="603158"/>
                      <a:pt x="175168" y="603346"/>
                    </a:cubicBezTo>
                    <a:cubicBezTo>
                      <a:pt x="166459" y="605107"/>
                      <a:pt x="158668" y="609940"/>
                      <a:pt x="153225" y="616968"/>
                    </a:cubicBezTo>
                    <a:cubicBezTo>
                      <a:pt x="152370" y="618353"/>
                      <a:pt x="151247" y="619555"/>
                      <a:pt x="149919" y="620502"/>
                    </a:cubicBezTo>
                    <a:cubicBezTo>
                      <a:pt x="147913" y="621288"/>
                      <a:pt x="145799" y="621790"/>
                      <a:pt x="143650" y="621984"/>
                    </a:cubicBezTo>
                    <a:cubicBezTo>
                      <a:pt x="136526" y="623636"/>
                      <a:pt x="132992" y="631729"/>
                      <a:pt x="132251" y="639082"/>
                    </a:cubicBezTo>
                    <a:cubicBezTo>
                      <a:pt x="132747" y="646434"/>
                      <a:pt x="132388" y="653815"/>
                      <a:pt x="131168" y="661082"/>
                    </a:cubicBezTo>
                    <a:cubicBezTo>
                      <a:pt x="134457" y="660421"/>
                      <a:pt x="137854" y="661572"/>
                      <a:pt x="140059" y="664103"/>
                    </a:cubicBezTo>
                    <a:cubicBezTo>
                      <a:pt x="142134" y="666650"/>
                      <a:pt x="144419" y="669016"/>
                      <a:pt x="146899" y="671170"/>
                    </a:cubicBezTo>
                    <a:cubicBezTo>
                      <a:pt x="153909" y="675957"/>
                      <a:pt x="164909" y="672994"/>
                      <a:pt x="170609" y="679320"/>
                    </a:cubicBezTo>
                    <a:cubicBezTo>
                      <a:pt x="174131" y="683920"/>
                      <a:pt x="173259" y="690502"/>
                      <a:pt x="168659" y="694025"/>
                    </a:cubicBezTo>
                    <a:cubicBezTo>
                      <a:pt x="167542" y="694874"/>
                      <a:pt x="166271" y="695495"/>
                      <a:pt x="164909" y="695848"/>
                    </a:cubicBezTo>
                    <a:cubicBezTo>
                      <a:pt x="163564" y="695928"/>
                      <a:pt x="162236" y="696219"/>
                      <a:pt x="160976" y="696704"/>
                    </a:cubicBezTo>
                    <a:cubicBezTo>
                      <a:pt x="156588" y="699097"/>
                      <a:pt x="159266" y="708102"/>
                      <a:pt x="154536" y="709584"/>
                    </a:cubicBezTo>
                    <a:cubicBezTo>
                      <a:pt x="152370" y="707646"/>
                      <a:pt x="148837" y="709584"/>
                      <a:pt x="147412" y="712149"/>
                    </a:cubicBezTo>
                    <a:cubicBezTo>
                      <a:pt x="146443" y="714879"/>
                      <a:pt x="145263" y="717529"/>
                      <a:pt x="143878" y="720071"/>
                    </a:cubicBezTo>
                    <a:cubicBezTo>
                      <a:pt x="142670" y="721376"/>
                      <a:pt x="141376" y="722590"/>
                      <a:pt x="140002" y="723719"/>
                    </a:cubicBezTo>
                    <a:cubicBezTo>
                      <a:pt x="137004" y="726865"/>
                      <a:pt x="136053" y="731436"/>
                      <a:pt x="137551" y="735517"/>
                    </a:cubicBezTo>
                    <a:cubicBezTo>
                      <a:pt x="131071" y="734383"/>
                      <a:pt x="124899" y="738714"/>
                      <a:pt x="123764" y="745195"/>
                    </a:cubicBezTo>
                    <a:cubicBezTo>
                      <a:pt x="123662" y="745764"/>
                      <a:pt x="123605" y="746340"/>
                      <a:pt x="123588" y="746916"/>
                    </a:cubicBezTo>
                    <a:cubicBezTo>
                      <a:pt x="123588" y="750108"/>
                      <a:pt x="124842" y="753812"/>
                      <a:pt x="122619" y="756035"/>
                    </a:cubicBezTo>
                    <a:cubicBezTo>
                      <a:pt x="121502" y="756930"/>
                      <a:pt x="120225" y="757608"/>
                      <a:pt x="118857" y="758030"/>
                    </a:cubicBezTo>
                    <a:cubicBezTo>
                      <a:pt x="116201" y="759335"/>
                      <a:pt x="114155" y="761626"/>
                      <a:pt x="113158" y="764413"/>
                    </a:cubicBezTo>
                    <a:cubicBezTo>
                      <a:pt x="112793" y="766015"/>
                      <a:pt x="112274" y="767582"/>
                      <a:pt x="111619" y="769087"/>
                    </a:cubicBezTo>
                    <a:cubicBezTo>
                      <a:pt x="109339" y="773077"/>
                      <a:pt x="103697" y="773190"/>
                      <a:pt x="99764" y="775584"/>
                    </a:cubicBezTo>
                    <a:cubicBezTo>
                      <a:pt x="95518" y="778309"/>
                      <a:pt x="93569" y="783506"/>
                      <a:pt x="94976" y="788351"/>
                    </a:cubicBezTo>
                    <a:cubicBezTo>
                      <a:pt x="95774" y="790802"/>
                      <a:pt x="97427" y="792968"/>
                      <a:pt x="98225" y="795418"/>
                    </a:cubicBezTo>
                    <a:cubicBezTo>
                      <a:pt x="101075" y="803854"/>
                      <a:pt x="93723" y="813201"/>
                      <a:pt x="96458" y="821750"/>
                    </a:cubicBezTo>
                    <a:cubicBezTo>
                      <a:pt x="97706" y="824947"/>
                      <a:pt x="99656" y="827831"/>
                      <a:pt x="102158" y="830185"/>
                    </a:cubicBezTo>
                    <a:lnTo>
                      <a:pt x="110707" y="839361"/>
                    </a:lnTo>
                    <a:cubicBezTo>
                      <a:pt x="106210" y="840154"/>
                      <a:pt x="101577" y="839304"/>
                      <a:pt x="97655" y="836967"/>
                    </a:cubicBezTo>
                    <a:cubicBezTo>
                      <a:pt x="95660" y="835372"/>
                      <a:pt x="94008" y="833320"/>
                      <a:pt x="91956" y="831895"/>
                    </a:cubicBezTo>
                    <a:cubicBezTo>
                      <a:pt x="89830" y="830316"/>
                      <a:pt x="86986" y="830117"/>
                      <a:pt x="84660" y="831382"/>
                    </a:cubicBezTo>
                    <a:cubicBezTo>
                      <a:pt x="83760" y="832083"/>
                      <a:pt x="83116" y="833069"/>
                      <a:pt x="82837" y="834175"/>
                    </a:cubicBezTo>
                    <a:cubicBezTo>
                      <a:pt x="76026" y="831217"/>
                      <a:pt x="68514" y="830265"/>
                      <a:pt x="61179" y="831439"/>
                    </a:cubicBezTo>
                    <a:cubicBezTo>
                      <a:pt x="58437" y="832345"/>
                      <a:pt x="55496" y="832465"/>
                      <a:pt x="52686" y="831781"/>
                    </a:cubicBezTo>
                    <a:cubicBezTo>
                      <a:pt x="50577" y="830869"/>
                      <a:pt x="49153" y="828817"/>
                      <a:pt x="46987" y="827848"/>
                    </a:cubicBezTo>
                    <a:cubicBezTo>
                      <a:pt x="43966" y="826424"/>
                      <a:pt x="39977" y="827278"/>
                      <a:pt x="37583" y="825056"/>
                    </a:cubicBezTo>
                    <a:cubicBezTo>
                      <a:pt x="36369" y="823659"/>
                      <a:pt x="35668" y="821887"/>
                      <a:pt x="35588" y="820040"/>
                    </a:cubicBezTo>
                    <a:cubicBezTo>
                      <a:pt x="34904" y="814341"/>
                      <a:pt x="35930" y="807387"/>
                      <a:pt x="32111" y="802942"/>
                    </a:cubicBezTo>
                    <a:cubicBezTo>
                      <a:pt x="28293" y="798496"/>
                      <a:pt x="21852" y="797584"/>
                      <a:pt x="19743" y="792569"/>
                    </a:cubicBezTo>
                    <a:cubicBezTo>
                      <a:pt x="19162" y="790414"/>
                      <a:pt x="18729" y="788226"/>
                      <a:pt x="18433" y="786014"/>
                    </a:cubicBezTo>
                    <a:cubicBezTo>
                      <a:pt x="17065" y="780714"/>
                      <a:pt x="12049" y="777408"/>
                      <a:pt x="7775" y="774102"/>
                    </a:cubicBezTo>
                    <a:cubicBezTo>
                      <a:pt x="3500" y="770797"/>
                      <a:pt x="-832" y="766009"/>
                      <a:pt x="137" y="760651"/>
                    </a:cubicBezTo>
                    <a:cubicBezTo>
                      <a:pt x="1562" y="752615"/>
                      <a:pt x="13531" y="749766"/>
                      <a:pt x="14500" y="741729"/>
                    </a:cubicBezTo>
                    <a:cubicBezTo>
                      <a:pt x="14785" y="739051"/>
                      <a:pt x="13873" y="736030"/>
                      <a:pt x="15298" y="733864"/>
                    </a:cubicBezTo>
                    <a:cubicBezTo>
                      <a:pt x="16723" y="731698"/>
                      <a:pt x="21339" y="731128"/>
                      <a:pt x="23277" y="728507"/>
                    </a:cubicBezTo>
                    <a:cubicBezTo>
                      <a:pt x="25215" y="725885"/>
                      <a:pt x="23277" y="720983"/>
                      <a:pt x="22422" y="717108"/>
                    </a:cubicBezTo>
                    <a:cubicBezTo>
                      <a:pt x="20199" y="705709"/>
                      <a:pt x="32282" y="697502"/>
                      <a:pt x="34904" y="686160"/>
                    </a:cubicBezTo>
                    <a:lnTo>
                      <a:pt x="43282" y="649569"/>
                    </a:lnTo>
                    <a:cubicBezTo>
                      <a:pt x="44565" y="644850"/>
                      <a:pt x="45237" y="639982"/>
                      <a:pt x="45277" y="635092"/>
                    </a:cubicBezTo>
                    <a:cubicBezTo>
                      <a:pt x="45277" y="629393"/>
                      <a:pt x="43453" y="622268"/>
                      <a:pt x="47842" y="618393"/>
                    </a:cubicBezTo>
                    <a:cubicBezTo>
                      <a:pt x="49438" y="616968"/>
                      <a:pt x="51717" y="616170"/>
                      <a:pt x="52743" y="614289"/>
                    </a:cubicBezTo>
                    <a:cubicBezTo>
                      <a:pt x="53786" y="611508"/>
                      <a:pt x="52823" y="608373"/>
                      <a:pt x="50406" y="606652"/>
                    </a:cubicBezTo>
                    <a:cubicBezTo>
                      <a:pt x="48019" y="605033"/>
                      <a:pt x="45733" y="603261"/>
                      <a:pt x="43567" y="601351"/>
                    </a:cubicBezTo>
                    <a:cubicBezTo>
                      <a:pt x="35702" y="592517"/>
                      <a:pt x="47101" y="577242"/>
                      <a:pt x="40946" y="567155"/>
                    </a:cubicBezTo>
                    <a:cubicBezTo>
                      <a:pt x="39464" y="564761"/>
                      <a:pt x="37070" y="562823"/>
                      <a:pt x="36557" y="560087"/>
                    </a:cubicBezTo>
                    <a:cubicBezTo>
                      <a:pt x="36363" y="557944"/>
                      <a:pt x="36779" y="555790"/>
                      <a:pt x="37754" y="553875"/>
                    </a:cubicBezTo>
                    <a:cubicBezTo>
                      <a:pt x="43453" y="538714"/>
                      <a:pt x="48583" y="520248"/>
                      <a:pt x="38894" y="507139"/>
                    </a:cubicBezTo>
                    <a:cubicBezTo>
                      <a:pt x="36956" y="505173"/>
                      <a:pt x="35594" y="502705"/>
                      <a:pt x="34961" y="500015"/>
                    </a:cubicBezTo>
                    <a:cubicBezTo>
                      <a:pt x="35183" y="497273"/>
                      <a:pt x="36175" y="494646"/>
                      <a:pt x="37811" y="492434"/>
                    </a:cubicBezTo>
                    <a:cubicBezTo>
                      <a:pt x="40638" y="485510"/>
                      <a:pt x="42667" y="478277"/>
                      <a:pt x="43852" y="470890"/>
                    </a:cubicBezTo>
                    <a:cubicBezTo>
                      <a:pt x="45106" y="463333"/>
                      <a:pt x="50076" y="456910"/>
                      <a:pt x="57075" y="453792"/>
                    </a:cubicBezTo>
                    <a:cubicBezTo>
                      <a:pt x="55981" y="447756"/>
                      <a:pt x="56533" y="441532"/>
                      <a:pt x="58671" y="435781"/>
                    </a:cubicBezTo>
                    <a:cubicBezTo>
                      <a:pt x="60022" y="432915"/>
                      <a:pt x="60996" y="429888"/>
                      <a:pt x="61578" y="426777"/>
                    </a:cubicBezTo>
                    <a:cubicBezTo>
                      <a:pt x="61395" y="422319"/>
                      <a:pt x="60164" y="417965"/>
                      <a:pt x="57987" y="414066"/>
                    </a:cubicBezTo>
                    <a:cubicBezTo>
                      <a:pt x="54624" y="406122"/>
                      <a:pt x="52971" y="397555"/>
                      <a:pt x="53142" y="388932"/>
                    </a:cubicBezTo>
                    <a:cubicBezTo>
                      <a:pt x="53028" y="387063"/>
                      <a:pt x="53507" y="385210"/>
                      <a:pt x="54510" y="383632"/>
                    </a:cubicBezTo>
                    <a:cubicBezTo>
                      <a:pt x="55855" y="382355"/>
                      <a:pt x="57474" y="381397"/>
                      <a:pt x="59241" y="380839"/>
                    </a:cubicBezTo>
                    <a:cubicBezTo>
                      <a:pt x="65949" y="377117"/>
                      <a:pt x="70492" y="370432"/>
                      <a:pt x="71495" y="362828"/>
                    </a:cubicBezTo>
                    <a:cubicBezTo>
                      <a:pt x="72412" y="355322"/>
                      <a:pt x="72104" y="347719"/>
                      <a:pt x="70583" y="340315"/>
                    </a:cubicBezTo>
                    <a:cubicBezTo>
                      <a:pt x="77707" y="338150"/>
                      <a:pt x="80386" y="329429"/>
                      <a:pt x="79987" y="322020"/>
                    </a:cubicBezTo>
                    <a:cubicBezTo>
                      <a:pt x="79377" y="314548"/>
                      <a:pt x="79799" y="307031"/>
                      <a:pt x="81241" y="299678"/>
                    </a:cubicBezTo>
                    <a:cubicBezTo>
                      <a:pt x="83236" y="291129"/>
                      <a:pt x="84660" y="280642"/>
                      <a:pt x="77992" y="274885"/>
                    </a:cubicBezTo>
                    <a:cubicBezTo>
                      <a:pt x="75712" y="272948"/>
                      <a:pt x="72635" y="271694"/>
                      <a:pt x="71495" y="269186"/>
                    </a:cubicBezTo>
                    <a:cubicBezTo>
                      <a:pt x="69956" y="265538"/>
                      <a:pt x="72691" y="261378"/>
                      <a:pt x="72179" y="257787"/>
                    </a:cubicBezTo>
                    <a:cubicBezTo>
                      <a:pt x="71495" y="252943"/>
                      <a:pt x="66194" y="249808"/>
                      <a:pt x="65168" y="245077"/>
                    </a:cubicBezTo>
                    <a:cubicBezTo>
                      <a:pt x="63857" y="238979"/>
                      <a:pt x="69728" y="234134"/>
                      <a:pt x="73945" y="229518"/>
                    </a:cubicBezTo>
                    <a:cubicBezTo>
                      <a:pt x="80505" y="222222"/>
                      <a:pt x="83817" y="212573"/>
                      <a:pt x="83122" y="202787"/>
                    </a:cubicBezTo>
                    <a:cubicBezTo>
                      <a:pt x="81959" y="198359"/>
                      <a:pt x="82443" y="193662"/>
                      <a:pt x="84489" y="189565"/>
                    </a:cubicBezTo>
                    <a:cubicBezTo>
                      <a:pt x="85544" y="188527"/>
                      <a:pt x="86461" y="187359"/>
                      <a:pt x="87225" y="186088"/>
                    </a:cubicBezTo>
                    <a:cubicBezTo>
                      <a:pt x="87653" y="184577"/>
                      <a:pt x="87653" y="182981"/>
                      <a:pt x="87225" y="181471"/>
                    </a:cubicBezTo>
                    <a:cubicBezTo>
                      <a:pt x="86085" y="174803"/>
                      <a:pt x="87225" y="165684"/>
                      <a:pt x="93780" y="164373"/>
                    </a:cubicBezTo>
                    <a:cubicBezTo>
                      <a:pt x="94230" y="159933"/>
                      <a:pt x="93962" y="155447"/>
                      <a:pt x="92982" y="151093"/>
                    </a:cubicBezTo>
                    <a:cubicBezTo>
                      <a:pt x="98408" y="148939"/>
                      <a:pt x="102756" y="144715"/>
                      <a:pt x="105065" y="139352"/>
                    </a:cubicBezTo>
                    <a:cubicBezTo>
                      <a:pt x="105327" y="137420"/>
                      <a:pt x="105748" y="135516"/>
                      <a:pt x="106318" y="133653"/>
                    </a:cubicBezTo>
                    <a:cubicBezTo>
                      <a:pt x="108598" y="128409"/>
                      <a:pt x="116976" y="126414"/>
                      <a:pt x="116691" y="120715"/>
                    </a:cubicBezTo>
                    <a:cubicBezTo>
                      <a:pt x="116236" y="118714"/>
                      <a:pt x="115489" y="116794"/>
                      <a:pt x="114469" y="115015"/>
                    </a:cubicBezTo>
                    <a:cubicBezTo>
                      <a:pt x="110935" y="105953"/>
                      <a:pt x="120795" y="95523"/>
                      <a:pt x="116862" y="86518"/>
                    </a:cubicBezTo>
                    <a:cubicBezTo>
                      <a:pt x="115381" y="83041"/>
                      <a:pt x="111904" y="80477"/>
                      <a:pt x="111505" y="76715"/>
                    </a:cubicBezTo>
                    <a:cubicBezTo>
                      <a:pt x="110992" y="72098"/>
                      <a:pt x="115324" y="68451"/>
                      <a:pt x="116635" y="63948"/>
                    </a:cubicBezTo>
                    <a:cubicBezTo>
                      <a:pt x="117011" y="61662"/>
                      <a:pt x="117506" y="59400"/>
                      <a:pt x="118116" y="57166"/>
                    </a:cubicBezTo>
                    <a:cubicBezTo>
                      <a:pt x="121650" y="48845"/>
                      <a:pt x="135215" y="52606"/>
                      <a:pt x="141883" y="46280"/>
                    </a:cubicBezTo>
                    <a:cubicBezTo>
                      <a:pt x="144966" y="43105"/>
                      <a:pt x="145576" y="38266"/>
                      <a:pt x="143365" y="34425"/>
                    </a:cubicBezTo>
                    <a:cubicBezTo>
                      <a:pt x="142635" y="33330"/>
                      <a:pt x="141798" y="32322"/>
                      <a:pt x="140857" y="31404"/>
                    </a:cubicBezTo>
                    <a:cubicBezTo>
                      <a:pt x="141496" y="31204"/>
                      <a:pt x="142094" y="30897"/>
                      <a:pt x="142624" y="30492"/>
                    </a:cubicBezTo>
                    <a:cubicBezTo>
                      <a:pt x="143479" y="26081"/>
                      <a:pt x="142402" y="21515"/>
                      <a:pt x="139660" y="17953"/>
                    </a:cubicBezTo>
                    <a:cubicBezTo>
                      <a:pt x="141313" y="15559"/>
                      <a:pt x="144904" y="17953"/>
                      <a:pt x="147811" y="17953"/>
                    </a:cubicBezTo>
                    <a:cubicBezTo>
                      <a:pt x="153510" y="18523"/>
                      <a:pt x="155904" y="10601"/>
                      <a:pt x="156018" y="4787"/>
                    </a:cubicBezTo>
                    <a:cubicBezTo>
                      <a:pt x="164567" y="-1368"/>
                      <a:pt x="175966" y="7808"/>
                      <a:pt x="186453" y="7466"/>
                    </a:cubicBezTo>
                    <a:cubicBezTo>
                      <a:pt x="188340" y="7158"/>
                      <a:pt x="190266" y="7158"/>
                      <a:pt x="192153" y="7466"/>
                    </a:cubicBezTo>
                    <a:cubicBezTo>
                      <a:pt x="197111" y="8891"/>
                      <a:pt x="198479" y="16186"/>
                      <a:pt x="203551" y="17611"/>
                    </a:cubicBezTo>
                    <a:cubicBezTo>
                      <a:pt x="207512" y="18221"/>
                      <a:pt x="211308" y="15770"/>
                      <a:pt x="212386" y="11912"/>
                    </a:cubicBezTo>
                    <a:cubicBezTo>
                      <a:pt x="213400" y="8190"/>
                      <a:pt x="213497" y="4280"/>
                      <a:pt x="212671" y="513"/>
                    </a:cubicBezTo>
                    <a:cubicBezTo>
                      <a:pt x="222343" y="1624"/>
                      <a:pt x="232111" y="1453"/>
                      <a:pt x="241738" y="0"/>
                    </a:cubicBezTo>
                    <a:cubicBezTo>
                      <a:pt x="243835" y="4235"/>
                      <a:pt x="244434" y="9056"/>
                      <a:pt x="243448" y="13679"/>
                    </a:cubicBezTo>
                    <a:lnTo>
                      <a:pt x="254049" y="17497"/>
                    </a:lnTo>
                    <a:cubicBezTo>
                      <a:pt x="253336" y="19566"/>
                      <a:pt x="253336" y="21812"/>
                      <a:pt x="254049" y="23881"/>
                    </a:cubicBezTo>
                    <a:cubicBezTo>
                      <a:pt x="255702" y="27813"/>
                      <a:pt x="260546" y="29124"/>
                      <a:pt x="264422" y="31005"/>
                    </a:cubicBezTo>
                    <a:cubicBezTo>
                      <a:pt x="268297" y="32886"/>
                      <a:pt x="272002" y="37503"/>
                      <a:pt x="269551" y="41036"/>
                    </a:cubicBezTo>
                    <a:cubicBezTo>
                      <a:pt x="273142" y="37901"/>
                      <a:pt x="278841" y="40751"/>
                      <a:pt x="282033" y="44342"/>
                    </a:cubicBezTo>
                    <a:cubicBezTo>
                      <a:pt x="285225" y="47932"/>
                      <a:pt x="288360" y="52378"/>
                      <a:pt x="293147" y="52834"/>
                    </a:cubicBezTo>
                    <a:cubicBezTo>
                      <a:pt x="295068" y="52640"/>
                      <a:pt x="297006" y="52834"/>
                      <a:pt x="298847" y="53404"/>
                    </a:cubicBezTo>
                    <a:cubicBezTo>
                      <a:pt x="301012" y="54544"/>
                      <a:pt x="301582" y="57565"/>
                      <a:pt x="303691" y="58762"/>
                    </a:cubicBezTo>
                    <a:cubicBezTo>
                      <a:pt x="305800" y="59959"/>
                      <a:pt x="309391" y="58420"/>
                      <a:pt x="312411" y="59274"/>
                    </a:cubicBezTo>
                    <a:cubicBezTo>
                      <a:pt x="315432" y="60129"/>
                      <a:pt x="317142" y="65430"/>
                      <a:pt x="320619" y="67026"/>
                    </a:cubicBezTo>
                    <a:cubicBezTo>
                      <a:pt x="323069" y="68109"/>
                      <a:pt x="326318" y="67026"/>
                      <a:pt x="328598" y="68165"/>
                    </a:cubicBezTo>
                    <a:cubicBezTo>
                      <a:pt x="330878" y="69305"/>
                      <a:pt x="332758" y="72668"/>
                      <a:pt x="334297" y="75233"/>
                    </a:cubicBezTo>
                    <a:cubicBezTo>
                      <a:pt x="335836" y="77798"/>
                      <a:pt x="339997" y="79963"/>
                      <a:pt x="342106" y="77855"/>
                    </a:cubicBezTo>
                    <a:cubicBezTo>
                      <a:pt x="343901" y="83891"/>
                      <a:pt x="350244" y="87327"/>
                      <a:pt x="356280" y="85532"/>
                    </a:cubicBezTo>
                    <a:cubicBezTo>
                      <a:pt x="356326" y="85521"/>
                      <a:pt x="356366" y="85504"/>
                      <a:pt x="356411" y="85492"/>
                    </a:cubicBezTo>
                    <a:cubicBezTo>
                      <a:pt x="358566" y="88330"/>
                      <a:pt x="358087" y="92360"/>
                      <a:pt x="355328" y="94611"/>
                    </a:cubicBezTo>
                    <a:cubicBezTo>
                      <a:pt x="352878" y="97062"/>
                      <a:pt x="349629" y="98373"/>
                      <a:pt x="346950" y="100311"/>
                    </a:cubicBezTo>
                    <a:cubicBezTo>
                      <a:pt x="340977" y="105999"/>
                      <a:pt x="340647" y="115420"/>
                      <a:pt x="346209" y="121513"/>
                    </a:cubicBezTo>
                    <a:cubicBezTo>
                      <a:pt x="343445" y="122476"/>
                      <a:pt x="341194" y="124539"/>
                      <a:pt x="339997" y="127212"/>
                    </a:cubicBezTo>
                    <a:cubicBezTo>
                      <a:pt x="347703" y="133858"/>
                      <a:pt x="357580" y="137448"/>
                      <a:pt x="367753" y="137300"/>
                    </a:cubicBezTo>
                    <a:cubicBezTo>
                      <a:pt x="372547" y="136759"/>
                      <a:pt x="377380" y="136759"/>
                      <a:pt x="382173" y="137300"/>
                    </a:cubicBezTo>
                    <a:cubicBezTo>
                      <a:pt x="387109" y="137921"/>
                      <a:pt x="390990" y="141820"/>
                      <a:pt x="391577" y="146761"/>
                    </a:cubicBezTo>
                    <a:cubicBezTo>
                      <a:pt x="391577" y="149782"/>
                      <a:pt x="389810" y="152803"/>
                      <a:pt x="390950" y="155596"/>
                    </a:cubicBezTo>
                    <a:cubicBezTo>
                      <a:pt x="391748" y="157077"/>
                      <a:pt x="392928" y="158320"/>
                      <a:pt x="394370" y="159186"/>
                    </a:cubicBezTo>
                    <a:lnTo>
                      <a:pt x="400069" y="163062"/>
                    </a:lnTo>
                    <a:cubicBezTo>
                      <a:pt x="397618" y="164316"/>
                      <a:pt x="394940" y="165057"/>
                      <a:pt x="392432" y="166196"/>
                    </a:cubicBezTo>
                    <a:cubicBezTo>
                      <a:pt x="382800" y="170642"/>
                      <a:pt x="377613" y="181015"/>
                      <a:pt x="373111" y="190704"/>
                    </a:cubicBezTo>
                    <a:cubicBezTo>
                      <a:pt x="370546" y="196404"/>
                      <a:pt x="367924" y="202103"/>
                      <a:pt x="365359" y="207803"/>
                    </a:cubicBezTo>
                    <a:cubicBezTo>
                      <a:pt x="363593" y="208544"/>
                      <a:pt x="361769" y="209284"/>
                      <a:pt x="360059" y="210140"/>
                    </a:cubicBezTo>
                    <a:cubicBezTo>
                      <a:pt x="355220" y="211804"/>
                      <a:pt x="351162" y="215195"/>
                      <a:pt x="348660" y="219658"/>
                    </a:cubicBezTo>
                    <a:cubicBezTo>
                      <a:pt x="347685" y="222810"/>
                      <a:pt x="347281" y="226109"/>
                      <a:pt x="347463" y="229404"/>
                    </a:cubicBezTo>
                    <a:cubicBezTo>
                      <a:pt x="347463" y="232710"/>
                      <a:pt x="347064" y="236015"/>
                      <a:pt x="346722" y="239321"/>
                    </a:cubicBezTo>
                    <a:cubicBezTo>
                      <a:pt x="345411" y="251176"/>
                      <a:pt x="344157" y="263088"/>
                      <a:pt x="342847" y="275000"/>
                    </a:cubicBezTo>
                    <a:cubicBezTo>
                      <a:pt x="342818" y="277205"/>
                      <a:pt x="342168" y="279360"/>
                      <a:pt x="340966" y="281212"/>
                    </a:cubicBezTo>
                    <a:cubicBezTo>
                      <a:pt x="339609" y="282523"/>
                      <a:pt x="338179" y="283760"/>
                      <a:pt x="336691" y="284917"/>
                    </a:cubicBezTo>
                    <a:cubicBezTo>
                      <a:pt x="334109" y="288752"/>
                      <a:pt x="333602" y="293620"/>
                      <a:pt x="335323" y="297912"/>
                    </a:cubicBezTo>
                    <a:close/>
                    <a:moveTo>
                      <a:pt x="180355" y="915335"/>
                    </a:moveTo>
                    <a:cubicBezTo>
                      <a:pt x="179750" y="915113"/>
                      <a:pt x="179118" y="914982"/>
                      <a:pt x="178474" y="914936"/>
                    </a:cubicBezTo>
                    <a:lnTo>
                      <a:pt x="164510" y="913056"/>
                    </a:lnTo>
                    <a:cubicBezTo>
                      <a:pt x="162823" y="912856"/>
                      <a:pt x="161125" y="912856"/>
                      <a:pt x="159437" y="913056"/>
                    </a:cubicBezTo>
                    <a:cubicBezTo>
                      <a:pt x="156474" y="913568"/>
                      <a:pt x="153738" y="915620"/>
                      <a:pt x="150717" y="915050"/>
                    </a:cubicBezTo>
                    <a:cubicBezTo>
                      <a:pt x="151572" y="913455"/>
                      <a:pt x="149236" y="911916"/>
                      <a:pt x="147469" y="912086"/>
                    </a:cubicBezTo>
                    <a:cubicBezTo>
                      <a:pt x="145702" y="912258"/>
                      <a:pt x="143707" y="913112"/>
                      <a:pt x="142168" y="912086"/>
                    </a:cubicBezTo>
                    <a:cubicBezTo>
                      <a:pt x="143479" y="910491"/>
                      <a:pt x="141313" y="908154"/>
                      <a:pt x="139261" y="907869"/>
                    </a:cubicBezTo>
                    <a:cubicBezTo>
                      <a:pt x="137210" y="907584"/>
                      <a:pt x="134816" y="907869"/>
                      <a:pt x="133277" y="906558"/>
                    </a:cubicBezTo>
                    <a:cubicBezTo>
                      <a:pt x="130712" y="904278"/>
                      <a:pt x="132479" y="899263"/>
                      <a:pt x="129800" y="897268"/>
                    </a:cubicBezTo>
                    <a:cubicBezTo>
                      <a:pt x="128489" y="896299"/>
                      <a:pt x="126438" y="896242"/>
                      <a:pt x="125754" y="894817"/>
                    </a:cubicBezTo>
                    <a:cubicBezTo>
                      <a:pt x="125640" y="894253"/>
                      <a:pt x="125640" y="893672"/>
                      <a:pt x="125754" y="893107"/>
                    </a:cubicBezTo>
                    <a:cubicBezTo>
                      <a:pt x="125754" y="888719"/>
                      <a:pt x="125754" y="884330"/>
                      <a:pt x="125754" y="879998"/>
                    </a:cubicBezTo>
                    <a:cubicBezTo>
                      <a:pt x="123234" y="876887"/>
                      <a:pt x="119496" y="875017"/>
                      <a:pt x="115495" y="874869"/>
                    </a:cubicBezTo>
                    <a:cubicBezTo>
                      <a:pt x="113215" y="874869"/>
                      <a:pt x="110422" y="874869"/>
                      <a:pt x="109111" y="873273"/>
                    </a:cubicBezTo>
                    <a:cubicBezTo>
                      <a:pt x="108695" y="872680"/>
                      <a:pt x="108422" y="871996"/>
                      <a:pt x="108313" y="871278"/>
                    </a:cubicBezTo>
                    <a:cubicBezTo>
                      <a:pt x="107464" y="867540"/>
                      <a:pt x="107139" y="863704"/>
                      <a:pt x="107344" y="859879"/>
                    </a:cubicBezTo>
                    <a:cubicBezTo>
                      <a:pt x="107601" y="858118"/>
                      <a:pt x="107447" y="856323"/>
                      <a:pt x="106888" y="854636"/>
                    </a:cubicBezTo>
                    <a:cubicBezTo>
                      <a:pt x="105481" y="852242"/>
                      <a:pt x="102939" y="850732"/>
                      <a:pt x="100163" y="850646"/>
                    </a:cubicBezTo>
                    <a:lnTo>
                      <a:pt x="100163" y="850646"/>
                    </a:lnTo>
                    <a:cubicBezTo>
                      <a:pt x="100157" y="859423"/>
                      <a:pt x="100630" y="868195"/>
                      <a:pt x="101588" y="876921"/>
                    </a:cubicBezTo>
                    <a:cubicBezTo>
                      <a:pt x="102215" y="884045"/>
                      <a:pt x="102899" y="891169"/>
                      <a:pt x="103583" y="898294"/>
                    </a:cubicBezTo>
                    <a:cubicBezTo>
                      <a:pt x="103793" y="901588"/>
                      <a:pt x="104227" y="904865"/>
                      <a:pt x="104894" y="908097"/>
                    </a:cubicBezTo>
                    <a:cubicBezTo>
                      <a:pt x="107549" y="917273"/>
                      <a:pt x="111921" y="925856"/>
                      <a:pt x="117774" y="933403"/>
                    </a:cubicBezTo>
                    <a:cubicBezTo>
                      <a:pt x="116720" y="930821"/>
                      <a:pt x="115295" y="928404"/>
                      <a:pt x="113557" y="926221"/>
                    </a:cubicBezTo>
                    <a:cubicBezTo>
                      <a:pt x="115631" y="924340"/>
                      <a:pt x="118840" y="924494"/>
                      <a:pt x="120721" y="926574"/>
                    </a:cubicBezTo>
                    <a:cubicBezTo>
                      <a:pt x="122038" y="928028"/>
                      <a:pt x="122402" y="930108"/>
                      <a:pt x="121650" y="931921"/>
                    </a:cubicBezTo>
                    <a:cubicBezTo>
                      <a:pt x="124009" y="931710"/>
                      <a:pt x="126375" y="932166"/>
                      <a:pt x="128489" y="933232"/>
                    </a:cubicBezTo>
                    <a:cubicBezTo>
                      <a:pt x="130610" y="934463"/>
                      <a:pt x="131333" y="937187"/>
                      <a:pt x="130097" y="939307"/>
                    </a:cubicBezTo>
                    <a:cubicBezTo>
                      <a:pt x="130091" y="939319"/>
                      <a:pt x="130091" y="939324"/>
                      <a:pt x="130085" y="939330"/>
                    </a:cubicBezTo>
                    <a:cubicBezTo>
                      <a:pt x="133368" y="940344"/>
                      <a:pt x="136799" y="940766"/>
                      <a:pt x="140230" y="940584"/>
                    </a:cubicBezTo>
                    <a:cubicBezTo>
                      <a:pt x="140156" y="937637"/>
                      <a:pt x="140544" y="934691"/>
                      <a:pt x="141370" y="931864"/>
                    </a:cubicBezTo>
                    <a:cubicBezTo>
                      <a:pt x="143143" y="932075"/>
                      <a:pt x="144801" y="932856"/>
                      <a:pt x="146101" y="934087"/>
                    </a:cubicBezTo>
                    <a:cubicBezTo>
                      <a:pt x="147417" y="935306"/>
                      <a:pt x="149065" y="936115"/>
                      <a:pt x="150831" y="936423"/>
                    </a:cubicBezTo>
                    <a:cubicBezTo>
                      <a:pt x="152598" y="936423"/>
                      <a:pt x="154593" y="934998"/>
                      <a:pt x="154251" y="933289"/>
                    </a:cubicBezTo>
                    <a:lnTo>
                      <a:pt x="157728" y="933289"/>
                    </a:lnTo>
                    <a:cubicBezTo>
                      <a:pt x="158645" y="931174"/>
                      <a:pt x="158976" y="928849"/>
                      <a:pt x="158696" y="926563"/>
                    </a:cubicBezTo>
                    <a:lnTo>
                      <a:pt x="171463" y="926221"/>
                    </a:lnTo>
                    <a:cubicBezTo>
                      <a:pt x="174741" y="926500"/>
                      <a:pt x="178018" y="925651"/>
                      <a:pt x="180754" y="923827"/>
                    </a:cubicBezTo>
                    <a:cubicBezTo>
                      <a:pt x="183090" y="921377"/>
                      <a:pt x="183375" y="916646"/>
                      <a:pt x="180355" y="915335"/>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1" name="Freihandform: Form 307">
                <a:extLst>
                  <a:ext uri="{FF2B5EF4-FFF2-40B4-BE49-F238E27FC236}">
                    <a16:creationId xmlns:a16="http://schemas.microsoft.com/office/drawing/2014/main" id="{C00E91B8-38DC-8B6B-858C-A7AEC536204A}"/>
                  </a:ext>
                </a:extLst>
              </p:cNvPr>
              <p:cNvSpPr/>
              <p:nvPr/>
            </p:nvSpPr>
            <p:spPr>
              <a:xfrm>
                <a:off x="2110146" y="4676334"/>
                <a:ext cx="183051" cy="1052578"/>
              </a:xfrm>
              <a:custGeom>
                <a:avLst/>
                <a:gdLst>
                  <a:gd name="connsiteX0" fmla="*/ 102450 w 183051"/>
                  <a:gd name="connsiteY0" fmla="*/ 993703 h 1052578"/>
                  <a:gd name="connsiteX1" fmla="*/ 107409 w 183051"/>
                  <a:gd name="connsiteY1" fmla="*/ 994558 h 1052578"/>
                  <a:gd name="connsiteX2" fmla="*/ 108891 w 183051"/>
                  <a:gd name="connsiteY2" fmla="*/ 995413 h 1052578"/>
                  <a:gd name="connsiteX3" fmla="*/ 109746 w 183051"/>
                  <a:gd name="connsiteY3" fmla="*/ 995413 h 1052578"/>
                  <a:gd name="connsiteX4" fmla="*/ 110657 w 183051"/>
                  <a:gd name="connsiteY4" fmla="*/ 997693 h 1052578"/>
                  <a:gd name="connsiteX5" fmla="*/ 110259 w 183051"/>
                  <a:gd name="connsiteY5" fmla="*/ 1002993 h 1052578"/>
                  <a:gd name="connsiteX6" fmla="*/ 100398 w 183051"/>
                  <a:gd name="connsiteY6" fmla="*/ 1002310 h 1052578"/>
                  <a:gd name="connsiteX7" fmla="*/ 97492 w 183051"/>
                  <a:gd name="connsiteY7" fmla="*/ 999688 h 1052578"/>
                  <a:gd name="connsiteX8" fmla="*/ 100855 w 183051"/>
                  <a:gd name="connsiteY8" fmla="*/ 995641 h 1052578"/>
                  <a:gd name="connsiteX9" fmla="*/ 100855 w 183051"/>
                  <a:gd name="connsiteY9" fmla="*/ 994729 h 1052578"/>
                  <a:gd name="connsiteX10" fmla="*/ 102450 w 183051"/>
                  <a:gd name="connsiteY10" fmla="*/ 993703 h 1052578"/>
                  <a:gd name="connsiteX11" fmla="*/ 35653 w 183051"/>
                  <a:gd name="connsiteY11" fmla="*/ 720641 h 1052578"/>
                  <a:gd name="connsiteX12" fmla="*/ 32176 w 183051"/>
                  <a:gd name="connsiteY12" fmla="*/ 718761 h 1052578"/>
                  <a:gd name="connsiteX13" fmla="*/ 24880 w 183051"/>
                  <a:gd name="connsiteY13" fmla="*/ 720641 h 1052578"/>
                  <a:gd name="connsiteX14" fmla="*/ 21461 w 183051"/>
                  <a:gd name="connsiteY14" fmla="*/ 724517 h 1052578"/>
                  <a:gd name="connsiteX15" fmla="*/ 18839 w 183051"/>
                  <a:gd name="connsiteY15" fmla="*/ 728108 h 1052578"/>
                  <a:gd name="connsiteX16" fmla="*/ 17870 w 183051"/>
                  <a:gd name="connsiteY16" fmla="*/ 730046 h 1052578"/>
                  <a:gd name="connsiteX17" fmla="*/ 20663 w 183051"/>
                  <a:gd name="connsiteY17" fmla="*/ 733636 h 1052578"/>
                  <a:gd name="connsiteX18" fmla="*/ 27901 w 183051"/>
                  <a:gd name="connsiteY18" fmla="*/ 736258 h 1052578"/>
                  <a:gd name="connsiteX19" fmla="*/ 34114 w 183051"/>
                  <a:gd name="connsiteY19" fmla="*/ 733180 h 1052578"/>
                  <a:gd name="connsiteX20" fmla="*/ 36336 w 183051"/>
                  <a:gd name="connsiteY20" fmla="*/ 722750 h 1052578"/>
                  <a:gd name="connsiteX21" fmla="*/ 35653 w 183051"/>
                  <a:gd name="connsiteY21" fmla="*/ 720641 h 1052578"/>
                  <a:gd name="connsiteX22" fmla="*/ 99544 w 183051"/>
                  <a:gd name="connsiteY22" fmla="*/ 942921 h 1052578"/>
                  <a:gd name="connsiteX23" fmla="*/ 91051 w 183051"/>
                  <a:gd name="connsiteY23" fmla="*/ 943263 h 1052578"/>
                  <a:gd name="connsiteX24" fmla="*/ 85352 w 183051"/>
                  <a:gd name="connsiteY24" fmla="*/ 939330 h 1052578"/>
                  <a:gd name="connsiteX25" fmla="*/ 75948 w 183051"/>
                  <a:gd name="connsiteY25" fmla="*/ 936537 h 1052578"/>
                  <a:gd name="connsiteX26" fmla="*/ 73953 w 183051"/>
                  <a:gd name="connsiteY26" fmla="*/ 931522 h 1052578"/>
                  <a:gd name="connsiteX27" fmla="*/ 70476 w 183051"/>
                  <a:gd name="connsiteY27" fmla="*/ 914423 h 1052578"/>
                  <a:gd name="connsiteX28" fmla="*/ 58108 w 183051"/>
                  <a:gd name="connsiteY28" fmla="*/ 904050 h 1052578"/>
                  <a:gd name="connsiteX29" fmla="*/ 56798 w 183051"/>
                  <a:gd name="connsiteY29" fmla="*/ 897496 h 1052578"/>
                  <a:gd name="connsiteX30" fmla="*/ 46140 w 183051"/>
                  <a:gd name="connsiteY30" fmla="*/ 885584 h 1052578"/>
                  <a:gd name="connsiteX31" fmla="*/ 38502 w 183051"/>
                  <a:gd name="connsiteY31" fmla="*/ 872133 h 1052578"/>
                  <a:gd name="connsiteX32" fmla="*/ 52865 w 183051"/>
                  <a:gd name="connsiteY32" fmla="*/ 853211 h 1052578"/>
                  <a:gd name="connsiteX33" fmla="*/ 53663 w 183051"/>
                  <a:gd name="connsiteY33" fmla="*/ 845346 h 1052578"/>
                  <a:gd name="connsiteX34" fmla="*/ 61642 w 183051"/>
                  <a:gd name="connsiteY34" fmla="*/ 839988 h 1052578"/>
                  <a:gd name="connsiteX35" fmla="*/ 60787 w 183051"/>
                  <a:gd name="connsiteY35" fmla="*/ 828589 h 1052578"/>
                  <a:gd name="connsiteX36" fmla="*/ 73269 w 183051"/>
                  <a:gd name="connsiteY36" fmla="*/ 797641 h 1052578"/>
                  <a:gd name="connsiteX37" fmla="*/ 81647 w 183051"/>
                  <a:gd name="connsiteY37" fmla="*/ 761051 h 1052578"/>
                  <a:gd name="connsiteX38" fmla="*/ 83642 w 183051"/>
                  <a:gd name="connsiteY38" fmla="*/ 746574 h 1052578"/>
                  <a:gd name="connsiteX39" fmla="*/ 86207 w 183051"/>
                  <a:gd name="connsiteY39" fmla="*/ 729874 h 1052578"/>
                  <a:gd name="connsiteX40" fmla="*/ 91108 w 183051"/>
                  <a:gd name="connsiteY40" fmla="*/ 725771 h 1052578"/>
                  <a:gd name="connsiteX41" fmla="*/ 88771 w 183051"/>
                  <a:gd name="connsiteY41" fmla="*/ 718134 h 1052578"/>
                  <a:gd name="connsiteX42" fmla="*/ 81932 w 183051"/>
                  <a:gd name="connsiteY42" fmla="*/ 712833 h 1052578"/>
                  <a:gd name="connsiteX43" fmla="*/ 79310 w 183051"/>
                  <a:gd name="connsiteY43" fmla="*/ 678636 h 1052578"/>
                  <a:gd name="connsiteX44" fmla="*/ 74922 w 183051"/>
                  <a:gd name="connsiteY44" fmla="*/ 671569 h 1052578"/>
                  <a:gd name="connsiteX45" fmla="*/ 76119 w 183051"/>
                  <a:gd name="connsiteY45" fmla="*/ 665356 h 1052578"/>
                  <a:gd name="connsiteX46" fmla="*/ 77259 w 183051"/>
                  <a:gd name="connsiteY46" fmla="*/ 618621 h 1052578"/>
                  <a:gd name="connsiteX47" fmla="*/ 73326 w 183051"/>
                  <a:gd name="connsiteY47" fmla="*/ 611497 h 1052578"/>
                  <a:gd name="connsiteX48" fmla="*/ 76176 w 183051"/>
                  <a:gd name="connsiteY48" fmla="*/ 603916 h 1052578"/>
                  <a:gd name="connsiteX49" fmla="*/ 82217 w 183051"/>
                  <a:gd name="connsiteY49" fmla="*/ 582372 h 1052578"/>
                  <a:gd name="connsiteX50" fmla="*/ 95440 w 183051"/>
                  <a:gd name="connsiteY50" fmla="*/ 565274 h 1052578"/>
                  <a:gd name="connsiteX51" fmla="*/ 97036 w 183051"/>
                  <a:gd name="connsiteY51" fmla="*/ 547264 h 1052578"/>
                  <a:gd name="connsiteX52" fmla="*/ 99943 w 183051"/>
                  <a:gd name="connsiteY52" fmla="*/ 538258 h 1052578"/>
                  <a:gd name="connsiteX53" fmla="*/ 96352 w 183051"/>
                  <a:gd name="connsiteY53" fmla="*/ 525549 h 1052578"/>
                  <a:gd name="connsiteX54" fmla="*/ 91507 w 183051"/>
                  <a:gd name="connsiteY54" fmla="*/ 500414 h 1052578"/>
                  <a:gd name="connsiteX55" fmla="*/ 92875 w 183051"/>
                  <a:gd name="connsiteY55" fmla="*/ 495113 h 1052578"/>
                  <a:gd name="connsiteX56" fmla="*/ 97606 w 183051"/>
                  <a:gd name="connsiteY56" fmla="*/ 492320 h 1052578"/>
                  <a:gd name="connsiteX57" fmla="*/ 109860 w 183051"/>
                  <a:gd name="connsiteY57" fmla="*/ 474310 h 1052578"/>
                  <a:gd name="connsiteX58" fmla="*/ 108948 w 183051"/>
                  <a:gd name="connsiteY58" fmla="*/ 451797 h 1052578"/>
                  <a:gd name="connsiteX59" fmla="*/ 118352 w 183051"/>
                  <a:gd name="connsiteY59" fmla="*/ 433502 h 1052578"/>
                  <a:gd name="connsiteX60" fmla="*/ 119606 w 183051"/>
                  <a:gd name="connsiteY60" fmla="*/ 411160 h 1052578"/>
                  <a:gd name="connsiteX61" fmla="*/ 116357 w 183051"/>
                  <a:gd name="connsiteY61" fmla="*/ 386367 h 1052578"/>
                  <a:gd name="connsiteX62" fmla="*/ 109860 w 183051"/>
                  <a:gd name="connsiteY62" fmla="*/ 380668 h 1052578"/>
                  <a:gd name="connsiteX63" fmla="*/ 110544 w 183051"/>
                  <a:gd name="connsiteY63" fmla="*/ 369269 h 1052578"/>
                  <a:gd name="connsiteX64" fmla="*/ 103533 w 183051"/>
                  <a:gd name="connsiteY64" fmla="*/ 356559 h 1052578"/>
                  <a:gd name="connsiteX65" fmla="*/ 112310 w 183051"/>
                  <a:gd name="connsiteY65" fmla="*/ 341000 h 1052578"/>
                  <a:gd name="connsiteX66" fmla="*/ 121487 w 183051"/>
                  <a:gd name="connsiteY66" fmla="*/ 314269 h 1052578"/>
                  <a:gd name="connsiteX67" fmla="*/ 122854 w 183051"/>
                  <a:gd name="connsiteY67" fmla="*/ 301046 h 1052578"/>
                  <a:gd name="connsiteX68" fmla="*/ 125590 w 183051"/>
                  <a:gd name="connsiteY68" fmla="*/ 297570 h 1052578"/>
                  <a:gd name="connsiteX69" fmla="*/ 125590 w 183051"/>
                  <a:gd name="connsiteY69" fmla="*/ 292953 h 1052578"/>
                  <a:gd name="connsiteX70" fmla="*/ 132145 w 183051"/>
                  <a:gd name="connsiteY70" fmla="*/ 275855 h 1052578"/>
                  <a:gd name="connsiteX71" fmla="*/ 131347 w 183051"/>
                  <a:gd name="connsiteY71" fmla="*/ 262575 h 1052578"/>
                  <a:gd name="connsiteX72" fmla="*/ 143429 w 183051"/>
                  <a:gd name="connsiteY72" fmla="*/ 250834 h 1052578"/>
                  <a:gd name="connsiteX73" fmla="*/ 144683 w 183051"/>
                  <a:gd name="connsiteY73" fmla="*/ 245134 h 1052578"/>
                  <a:gd name="connsiteX74" fmla="*/ 155056 w 183051"/>
                  <a:gd name="connsiteY74" fmla="*/ 232196 h 1052578"/>
                  <a:gd name="connsiteX75" fmla="*/ 152834 w 183051"/>
                  <a:gd name="connsiteY75" fmla="*/ 226497 h 1052578"/>
                  <a:gd name="connsiteX76" fmla="*/ 155227 w 183051"/>
                  <a:gd name="connsiteY76" fmla="*/ 198000 h 1052578"/>
                  <a:gd name="connsiteX77" fmla="*/ 149870 w 183051"/>
                  <a:gd name="connsiteY77" fmla="*/ 188197 h 1052578"/>
                  <a:gd name="connsiteX78" fmla="*/ 155000 w 183051"/>
                  <a:gd name="connsiteY78" fmla="*/ 175430 h 1052578"/>
                  <a:gd name="connsiteX79" fmla="*/ 156481 w 183051"/>
                  <a:gd name="connsiteY79" fmla="*/ 168648 h 1052578"/>
                  <a:gd name="connsiteX80" fmla="*/ 180248 w 183051"/>
                  <a:gd name="connsiteY80" fmla="*/ 157761 h 1052578"/>
                  <a:gd name="connsiteX81" fmla="*/ 181730 w 183051"/>
                  <a:gd name="connsiteY81" fmla="*/ 145907 h 1052578"/>
                  <a:gd name="connsiteX82" fmla="*/ 179222 w 183051"/>
                  <a:gd name="connsiteY82" fmla="*/ 142886 h 1052578"/>
                  <a:gd name="connsiteX83" fmla="*/ 172782 w 183051"/>
                  <a:gd name="connsiteY83" fmla="*/ 141119 h 1052578"/>
                  <a:gd name="connsiteX84" fmla="*/ 169248 w 183051"/>
                  <a:gd name="connsiteY84" fmla="*/ 133083 h 1052578"/>
                  <a:gd name="connsiteX85" fmla="*/ 169647 w 183051"/>
                  <a:gd name="connsiteY85" fmla="*/ 115528 h 1052578"/>
                  <a:gd name="connsiteX86" fmla="*/ 162067 w 183051"/>
                  <a:gd name="connsiteY86" fmla="*/ 112679 h 1052578"/>
                  <a:gd name="connsiteX87" fmla="*/ 163777 w 183051"/>
                  <a:gd name="connsiteY87" fmla="*/ 103560 h 1052578"/>
                  <a:gd name="connsiteX88" fmla="*/ 160927 w 183051"/>
                  <a:gd name="connsiteY88" fmla="*/ 100824 h 1052578"/>
                  <a:gd name="connsiteX89" fmla="*/ 156025 w 183051"/>
                  <a:gd name="connsiteY89" fmla="*/ 84637 h 1052578"/>
                  <a:gd name="connsiteX90" fmla="*/ 143999 w 183051"/>
                  <a:gd name="connsiteY90" fmla="*/ 74492 h 1052578"/>
                  <a:gd name="connsiteX91" fmla="*/ 145994 w 183051"/>
                  <a:gd name="connsiteY91" fmla="*/ 69705 h 1052578"/>
                  <a:gd name="connsiteX92" fmla="*/ 148388 w 183051"/>
                  <a:gd name="connsiteY92" fmla="*/ 45311 h 1052578"/>
                  <a:gd name="connsiteX93" fmla="*/ 147077 w 183051"/>
                  <a:gd name="connsiteY93" fmla="*/ 40922 h 1052578"/>
                  <a:gd name="connsiteX94" fmla="*/ 142347 w 183051"/>
                  <a:gd name="connsiteY94" fmla="*/ 37959 h 1052578"/>
                  <a:gd name="connsiteX95" fmla="*/ 139896 w 183051"/>
                  <a:gd name="connsiteY95" fmla="*/ 17612 h 1052578"/>
                  <a:gd name="connsiteX96" fmla="*/ 134595 w 183051"/>
                  <a:gd name="connsiteY96" fmla="*/ 13166 h 1052578"/>
                  <a:gd name="connsiteX97" fmla="*/ 129751 w 183051"/>
                  <a:gd name="connsiteY97" fmla="*/ 0 h 1052578"/>
                  <a:gd name="connsiteX98" fmla="*/ 128269 w 183051"/>
                  <a:gd name="connsiteY98" fmla="*/ 3420 h 1052578"/>
                  <a:gd name="connsiteX99" fmla="*/ 125305 w 183051"/>
                  <a:gd name="connsiteY99" fmla="*/ 13166 h 1052578"/>
                  <a:gd name="connsiteX100" fmla="*/ 113564 w 183051"/>
                  <a:gd name="connsiteY100" fmla="*/ 25306 h 1052578"/>
                  <a:gd name="connsiteX101" fmla="*/ 114818 w 183051"/>
                  <a:gd name="connsiteY101" fmla="*/ 34938 h 1052578"/>
                  <a:gd name="connsiteX102" fmla="*/ 108606 w 183051"/>
                  <a:gd name="connsiteY102" fmla="*/ 122938 h 1052578"/>
                  <a:gd name="connsiteX103" fmla="*/ 108321 w 183051"/>
                  <a:gd name="connsiteY103" fmla="*/ 146249 h 1052578"/>
                  <a:gd name="connsiteX104" fmla="*/ 111854 w 183051"/>
                  <a:gd name="connsiteY104" fmla="*/ 156451 h 1052578"/>
                  <a:gd name="connsiteX105" fmla="*/ 109176 w 183051"/>
                  <a:gd name="connsiteY105" fmla="*/ 159357 h 1052578"/>
                  <a:gd name="connsiteX106" fmla="*/ 109176 w 183051"/>
                  <a:gd name="connsiteY106" fmla="*/ 164544 h 1052578"/>
                  <a:gd name="connsiteX107" fmla="*/ 104616 w 183051"/>
                  <a:gd name="connsiteY107" fmla="*/ 215383 h 1052578"/>
                  <a:gd name="connsiteX108" fmla="*/ 100114 w 183051"/>
                  <a:gd name="connsiteY108" fmla="*/ 225243 h 1052578"/>
                  <a:gd name="connsiteX109" fmla="*/ 96466 w 183051"/>
                  <a:gd name="connsiteY109" fmla="*/ 241259 h 1052578"/>
                  <a:gd name="connsiteX110" fmla="*/ 91336 w 183051"/>
                  <a:gd name="connsiteY110" fmla="*/ 254425 h 1052578"/>
                  <a:gd name="connsiteX111" fmla="*/ 96181 w 183051"/>
                  <a:gd name="connsiteY111" fmla="*/ 305720 h 1052578"/>
                  <a:gd name="connsiteX112" fmla="*/ 92134 w 183051"/>
                  <a:gd name="connsiteY112" fmla="*/ 315181 h 1052578"/>
                  <a:gd name="connsiteX113" fmla="*/ 85181 w 183051"/>
                  <a:gd name="connsiteY113" fmla="*/ 320881 h 1052578"/>
                  <a:gd name="connsiteX114" fmla="*/ 81476 w 183051"/>
                  <a:gd name="connsiteY114" fmla="*/ 342652 h 1052578"/>
                  <a:gd name="connsiteX115" fmla="*/ 82787 w 183051"/>
                  <a:gd name="connsiteY115" fmla="*/ 384943 h 1052578"/>
                  <a:gd name="connsiteX116" fmla="*/ 68709 w 183051"/>
                  <a:gd name="connsiteY116" fmla="*/ 430538 h 1052578"/>
                  <a:gd name="connsiteX117" fmla="*/ 63466 w 183051"/>
                  <a:gd name="connsiteY117" fmla="*/ 482403 h 1052578"/>
                  <a:gd name="connsiteX118" fmla="*/ 61585 w 183051"/>
                  <a:gd name="connsiteY118" fmla="*/ 493119 h 1052578"/>
                  <a:gd name="connsiteX119" fmla="*/ 50186 w 183051"/>
                  <a:gd name="connsiteY119" fmla="*/ 510217 h 1052578"/>
                  <a:gd name="connsiteX120" fmla="*/ 48020 w 183051"/>
                  <a:gd name="connsiteY120" fmla="*/ 520191 h 1052578"/>
                  <a:gd name="connsiteX121" fmla="*/ 41295 w 183051"/>
                  <a:gd name="connsiteY121" fmla="*/ 523611 h 1052578"/>
                  <a:gd name="connsiteX122" fmla="*/ 39699 w 183051"/>
                  <a:gd name="connsiteY122" fmla="*/ 531932 h 1052578"/>
                  <a:gd name="connsiteX123" fmla="*/ 39015 w 183051"/>
                  <a:gd name="connsiteY123" fmla="*/ 549885 h 1052578"/>
                  <a:gd name="connsiteX124" fmla="*/ 51611 w 183051"/>
                  <a:gd name="connsiteY124" fmla="*/ 558890 h 1052578"/>
                  <a:gd name="connsiteX125" fmla="*/ 44145 w 183051"/>
                  <a:gd name="connsiteY125" fmla="*/ 585393 h 1052578"/>
                  <a:gd name="connsiteX126" fmla="*/ 36336 w 183051"/>
                  <a:gd name="connsiteY126" fmla="*/ 591377 h 1052578"/>
                  <a:gd name="connsiteX127" fmla="*/ 36336 w 183051"/>
                  <a:gd name="connsiteY127" fmla="*/ 615486 h 1052578"/>
                  <a:gd name="connsiteX128" fmla="*/ 25735 w 183051"/>
                  <a:gd name="connsiteY128" fmla="*/ 659999 h 1052578"/>
                  <a:gd name="connsiteX129" fmla="*/ 28585 w 183051"/>
                  <a:gd name="connsiteY129" fmla="*/ 672196 h 1052578"/>
                  <a:gd name="connsiteX130" fmla="*/ 39984 w 183051"/>
                  <a:gd name="connsiteY130" fmla="*/ 674989 h 1052578"/>
                  <a:gd name="connsiteX131" fmla="*/ 41466 w 183051"/>
                  <a:gd name="connsiteY131" fmla="*/ 635833 h 1052578"/>
                  <a:gd name="connsiteX132" fmla="*/ 44373 w 183051"/>
                  <a:gd name="connsiteY132" fmla="*/ 623522 h 1052578"/>
                  <a:gd name="connsiteX133" fmla="*/ 54917 w 183051"/>
                  <a:gd name="connsiteY133" fmla="*/ 621168 h 1052578"/>
                  <a:gd name="connsiteX134" fmla="*/ 55430 w 183051"/>
                  <a:gd name="connsiteY134" fmla="*/ 621528 h 1052578"/>
                  <a:gd name="connsiteX135" fmla="*/ 59533 w 183051"/>
                  <a:gd name="connsiteY135" fmla="*/ 635263 h 1052578"/>
                  <a:gd name="connsiteX136" fmla="*/ 65803 w 183051"/>
                  <a:gd name="connsiteY136" fmla="*/ 641476 h 1052578"/>
                  <a:gd name="connsiteX137" fmla="*/ 56740 w 183051"/>
                  <a:gd name="connsiteY137" fmla="*/ 656010 h 1052578"/>
                  <a:gd name="connsiteX138" fmla="*/ 56740 w 183051"/>
                  <a:gd name="connsiteY138" fmla="*/ 662849 h 1052578"/>
                  <a:gd name="connsiteX139" fmla="*/ 52409 w 183051"/>
                  <a:gd name="connsiteY139" fmla="*/ 667180 h 1052578"/>
                  <a:gd name="connsiteX140" fmla="*/ 51782 w 183051"/>
                  <a:gd name="connsiteY140" fmla="*/ 729874 h 1052578"/>
                  <a:gd name="connsiteX141" fmla="*/ 42036 w 183051"/>
                  <a:gd name="connsiteY141" fmla="*/ 745491 h 1052578"/>
                  <a:gd name="connsiteX142" fmla="*/ 41637 w 183051"/>
                  <a:gd name="connsiteY142" fmla="*/ 765553 h 1052578"/>
                  <a:gd name="connsiteX143" fmla="*/ 35482 w 183051"/>
                  <a:gd name="connsiteY143" fmla="*/ 764584 h 1052578"/>
                  <a:gd name="connsiteX144" fmla="*/ 27103 w 183051"/>
                  <a:gd name="connsiteY144" fmla="*/ 745833 h 1052578"/>
                  <a:gd name="connsiteX145" fmla="*/ 11145 w 183051"/>
                  <a:gd name="connsiteY145" fmla="*/ 752330 h 1052578"/>
                  <a:gd name="connsiteX146" fmla="*/ 5901 w 183051"/>
                  <a:gd name="connsiteY146" fmla="*/ 761507 h 1052578"/>
                  <a:gd name="connsiteX147" fmla="*/ 3792 w 183051"/>
                  <a:gd name="connsiteY147" fmla="*/ 772336 h 1052578"/>
                  <a:gd name="connsiteX148" fmla="*/ 9150 w 183051"/>
                  <a:gd name="connsiteY148" fmla="*/ 778662 h 1052578"/>
                  <a:gd name="connsiteX149" fmla="*/ 17756 w 183051"/>
                  <a:gd name="connsiteY149" fmla="*/ 780087 h 1052578"/>
                  <a:gd name="connsiteX150" fmla="*/ 30295 w 183051"/>
                  <a:gd name="connsiteY150" fmla="*/ 784361 h 1052578"/>
                  <a:gd name="connsiteX151" fmla="*/ 31127 w 183051"/>
                  <a:gd name="connsiteY151" fmla="*/ 795698 h 1052578"/>
                  <a:gd name="connsiteX152" fmla="*/ 30694 w 183051"/>
                  <a:gd name="connsiteY152" fmla="*/ 796159 h 1052578"/>
                  <a:gd name="connsiteX153" fmla="*/ 24994 w 183051"/>
                  <a:gd name="connsiteY153" fmla="*/ 798610 h 1052578"/>
                  <a:gd name="connsiteX154" fmla="*/ 20150 w 183051"/>
                  <a:gd name="connsiteY154" fmla="*/ 807216 h 1052578"/>
                  <a:gd name="connsiteX155" fmla="*/ 21062 w 183051"/>
                  <a:gd name="connsiteY155" fmla="*/ 809610 h 1052578"/>
                  <a:gd name="connsiteX156" fmla="*/ 24310 w 183051"/>
                  <a:gd name="connsiteY156" fmla="*/ 810921 h 1052578"/>
                  <a:gd name="connsiteX157" fmla="*/ 42720 w 183051"/>
                  <a:gd name="connsiteY157" fmla="*/ 813771 h 1052578"/>
                  <a:gd name="connsiteX158" fmla="*/ 45512 w 183051"/>
                  <a:gd name="connsiteY158" fmla="*/ 815367 h 1052578"/>
                  <a:gd name="connsiteX159" fmla="*/ 45512 w 183051"/>
                  <a:gd name="connsiteY159" fmla="*/ 816963 h 1052578"/>
                  <a:gd name="connsiteX160" fmla="*/ 43575 w 183051"/>
                  <a:gd name="connsiteY160" fmla="*/ 827621 h 1052578"/>
                  <a:gd name="connsiteX161" fmla="*/ 37362 w 183051"/>
                  <a:gd name="connsiteY161" fmla="*/ 826082 h 1052578"/>
                  <a:gd name="connsiteX162" fmla="*/ 32860 w 183051"/>
                  <a:gd name="connsiteY162" fmla="*/ 820382 h 1052578"/>
                  <a:gd name="connsiteX163" fmla="*/ 24937 w 183051"/>
                  <a:gd name="connsiteY163" fmla="*/ 818844 h 1052578"/>
                  <a:gd name="connsiteX164" fmla="*/ 10290 w 183051"/>
                  <a:gd name="connsiteY164" fmla="*/ 819128 h 1052578"/>
                  <a:gd name="connsiteX165" fmla="*/ 6015 w 183051"/>
                  <a:gd name="connsiteY165" fmla="*/ 820040 h 1052578"/>
                  <a:gd name="connsiteX166" fmla="*/ 3678 w 183051"/>
                  <a:gd name="connsiteY166" fmla="*/ 823631 h 1052578"/>
                  <a:gd name="connsiteX167" fmla="*/ 2539 w 183051"/>
                  <a:gd name="connsiteY167" fmla="*/ 829330 h 1052578"/>
                  <a:gd name="connsiteX168" fmla="*/ 8238 w 183051"/>
                  <a:gd name="connsiteY168" fmla="*/ 836968 h 1052578"/>
                  <a:gd name="connsiteX169" fmla="*/ 17528 w 183051"/>
                  <a:gd name="connsiteY169" fmla="*/ 834289 h 1052578"/>
                  <a:gd name="connsiteX170" fmla="*/ 23912 w 183051"/>
                  <a:gd name="connsiteY170" fmla="*/ 828589 h 1052578"/>
                  <a:gd name="connsiteX171" fmla="*/ 27730 w 183051"/>
                  <a:gd name="connsiteY171" fmla="*/ 835714 h 1052578"/>
                  <a:gd name="connsiteX172" fmla="*/ 25621 w 183051"/>
                  <a:gd name="connsiteY172" fmla="*/ 842154 h 1052578"/>
                  <a:gd name="connsiteX173" fmla="*/ 22031 w 183051"/>
                  <a:gd name="connsiteY173" fmla="*/ 843066 h 1052578"/>
                  <a:gd name="connsiteX174" fmla="*/ 7497 w 183051"/>
                  <a:gd name="connsiteY174" fmla="*/ 848367 h 1052578"/>
                  <a:gd name="connsiteX175" fmla="*/ 4932 w 183051"/>
                  <a:gd name="connsiteY175" fmla="*/ 858626 h 1052578"/>
                  <a:gd name="connsiteX176" fmla="*/ 2140 w 183051"/>
                  <a:gd name="connsiteY176" fmla="*/ 859424 h 1052578"/>
                  <a:gd name="connsiteX177" fmla="*/ 800 w 183051"/>
                  <a:gd name="connsiteY177" fmla="*/ 866063 h 1052578"/>
                  <a:gd name="connsiteX178" fmla="*/ 943 w 183051"/>
                  <a:gd name="connsiteY178" fmla="*/ 866263 h 1052578"/>
                  <a:gd name="connsiteX179" fmla="*/ 7497 w 183051"/>
                  <a:gd name="connsiteY179" fmla="*/ 870310 h 1052578"/>
                  <a:gd name="connsiteX180" fmla="*/ 12017 w 183051"/>
                  <a:gd name="connsiteY180" fmla="*/ 876984 h 1052578"/>
                  <a:gd name="connsiteX181" fmla="*/ 15020 w 183051"/>
                  <a:gd name="connsiteY181" fmla="*/ 876750 h 1052578"/>
                  <a:gd name="connsiteX182" fmla="*/ 19523 w 183051"/>
                  <a:gd name="connsiteY182" fmla="*/ 862900 h 1052578"/>
                  <a:gd name="connsiteX183" fmla="*/ 21290 w 183051"/>
                  <a:gd name="connsiteY183" fmla="*/ 854123 h 1052578"/>
                  <a:gd name="connsiteX184" fmla="*/ 31520 w 183051"/>
                  <a:gd name="connsiteY184" fmla="*/ 853730 h 1052578"/>
                  <a:gd name="connsiteX185" fmla="*/ 32347 w 183051"/>
                  <a:gd name="connsiteY185" fmla="*/ 854636 h 1052578"/>
                  <a:gd name="connsiteX186" fmla="*/ 31606 w 183051"/>
                  <a:gd name="connsiteY186" fmla="*/ 866491 h 1052578"/>
                  <a:gd name="connsiteX187" fmla="*/ 27901 w 183051"/>
                  <a:gd name="connsiteY187" fmla="*/ 870880 h 1052578"/>
                  <a:gd name="connsiteX188" fmla="*/ 27160 w 183051"/>
                  <a:gd name="connsiteY188" fmla="*/ 882963 h 1052578"/>
                  <a:gd name="connsiteX189" fmla="*/ 16103 w 183051"/>
                  <a:gd name="connsiteY189" fmla="*/ 892651 h 1052578"/>
                  <a:gd name="connsiteX190" fmla="*/ 12820 w 183051"/>
                  <a:gd name="connsiteY190" fmla="*/ 903703 h 1052578"/>
                  <a:gd name="connsiteX191" fmla="*/ 9948 w 183051"/>
                  <a:gd name="connsiteY191" fmla="*/ 904621 h 1052578"/>
                  <a:gd name="connsiteX192" fmla="*/ 13197 w 183051"/>
                  <a:gd name="connsiteY192" fmla="*/ 918869 h 1052578"/>
                  <a:gd name="connsiteX193" fmla="*/ 41694 w 183051"/>
                  <a:gd name="connsiteY193" fmla="*/ 915336 h 1052578"/>
                  <a:gd name="connsiteX194" fmla="*/ 40668 w 183051"/>
                  <a:gd name="connsiteY194" fmla="*/ 923429 h 1052578"/>
                  <a:gd name="connsiteX195" fmla="*/ 34342 w 183051"/>
                  <a:gd name="connsiteY195" fmla="*/ 930154 h 1052578"/>
                  <a:gd name="connsiteX196" fmla="*/ 39779 w 183051"/>
                  <a:gd name="connsiteY196" fmla="*/ 938538 h 1052578"/>
                  <a:gd name="connsiteX197" fmla="*/ 40041 w 183051"/>
                  <a:gd name="connsiteY197" fmla="*/ 938589 h 1052578"/>
                  <a:gd name="connsiteX198" fmla="*/ 49958 w 183051"/>
                  <a:gd name="connsiteY198" fmla="*/ 933802 h 1052578"/>
                  <a:gd name="connsiteX199" fmla="*/ 53093 w 183051"/>
                  <a:gd name="connsiteY199" fmla="*/ 930895 h 1052578"/>
                  <a:gd name="connsiteX200" fmla="*/ 57595 w 183051"/>
                  <a:gd name="connsiteY200" fmla="*/ 934600 h 1052578"/>
                  <a:gd name="connsiteX201" fmla="*/ 59134 w 183051"/>
                  <a:gd name="connsiteY201" fmla="*/ 940299 h 1052578"/>
                  <a:gd name="connsiteX202" fmla="*/ 49103 w 183051"/>
                  <a:gd name="connsiteY202" fmla="*/ 946968 h 1052578"/>
                  <a:gd name="connsiteX203" fmla="*/ 36051 w 183051"/>
                  <a:gd name="connsiteY203" fmla="*/ 948050 h 1052578"/>
                  <a:gd name="connsiteX204" fmla="*/ 34684 w 183051"/>
                  <a:gd name="connsiteY204" fmla="*/ 949304 h 1052578"/>
                  <a:gd name="connsiteX205" fmla="*/ 38901 w 183051"/>
                  <a:gd name="connsiteY205" fmla="*/ 956315 h 1052578"/>
                  <a:gd name="connsiteX206" fmla="*/ 35823 w 183051"/>
                  <a:gd name="connsiteY206" fmla="*/ 962812 h 1052578"/>
                  <a:gd name="connsiteX207" fmla="*/ 43518 w 183051"/>
                  <a:gd name="connsiteY207" fmla="*/ 966631 h 1052578"/>
                  <a:gd name="connsiteX208" fmla="*/ 52181 w 183051"/>
                  <a:gd name="connsiteY208" fmla="*/ 968341 h 1052578"/>
                  <a:gd name="connsiteX209" fmla="*/ 50585 w 183051"/>
                  <a:gd name="connsiteY209" fmla="*/ 973641 h 1052578"/>
                  <a:gd name="connsiteX210" fmla="*/ 40725 w 183051"/>
                  <a:gd name="connsiteY210" fmla="*/ 977061 h 1052578"/>
                  <a:gd name="connsiteX211" fmla="*/ 44310 w 183051"/>
                  <a:gd name="connsiteY211" fmla="*/ 986476 h 1052578"/>
                  <a:gd name="connsiteX212" fmla="*/ 44544 w 183051"/>
                  <a:gd name="connsiteY212" fmla="*/ 986579 h 1052578"/>
                  <a:gd name="connsiteX213" fmla="*/ 52916 w 183051"/>
                  <a:gd name="connsiteY213" fmla="*/ 982071 h 1052578"/>
                  <a:gd name="connsiteX214" fmla="*/ 53093 w 183051"/>
                  <a:gd name="connsiteY214" fmla="*/ 981335 h 1052578"/>
                  <a:gd name="connsiteX215" fmla="*/ 53663 w 183051"/>
                  <a:gd name="connsiteY215" fmla="*/ 978201 h 1052578"/>
                  <a:gd name="connsiteX216" fmla="*/ 55772 w 183051"/>
                  <a:gd name="connsiteY216" fmla="*/ 976776 h 1052578"/>
                  <a:gd name="connsiteX217" fmla="*/ 64378 w 183051"/>
                  <a:gd name="connsiteY217" fmla="*/ 973128 h 1052578"/>
                  <a:gd name="connsiteX218" fmla="*/ 59647 w 183051"/>
                  <a:gd name="connsiteY218" fmla="*/ 962128 h 1052578"/>
                  <a:gd name="connsiteX219" fmla="*/ 52010 w 183051"/>
                  <a:gd name="connsiteY219" fmla="*/ 959734 h 1052578"/>
                  <a:gd name="connsiteX220" fmla="*/ 48590 w 183051"/>
                  <a:gd name="connsiteY220" fmla="*/ 953465 h 1052578"/>
                  <a:gd name="connsiteX221" fmla="*/ 64207 w 183051"/>
                  <a:gd name="connsiteY221" fmla="*/ 950330 h 1052578"/>
                  <a:gd name="connsiteX222" fmla="*/ 67114 w 183051"/>
                  <a:gd name="connsiteY222" fmla="*/ 950330 h 1052578"/>
                  <a:gd name="connsiteX223" fmla="*/ 68481 w 183051"/>
                  <a:gd name="connsiteY223" fmla="*/ 952895 h 1052578"/>
                  <a:gd name="connsiteX224" fmla="*/ 77088 w 183051"/>
                  <a:gd name="connsiteY224" fmla="*/ 955460 h 1052578"/>
                  <a:gd name="connsiteX225" fmla="*/ 82217 w 183051"/>
                  <a:gd name="connsiteY225" fmla="*/ 961159 h 1052578"/>
                  <a:gd name="connsiteX226" fmla="*/ 68083 w 183051"/>
                  <a:gd name="connsiteY226" fmla="*/ 964009 h 1052578"/>
                  <a:gd name="connsiteX227" fmla="*/ 75908 w 183051"/>
                  <a:gd name="connsiteY227" fmla="*/ 970483 h 1052578"/>
                  <a:gd name="connsiteX228" fmla="*/ 77772 w 183051"/>
                  <a:gd name="connsiteY228" fmla="*/ 970050 h 1052578"/>
                  <a:gd name="connsiteX229" fmla="*/ 87803 w 183051"/>
                  <a:gd name="connsiteY229" fmla="*/ 964921 h 1052578"/>
                  <a:gd name="connsiteX230" fmla="*/ 97036 w 183051"/>
                  <a:gd name="connsiteY230" fmla="*/ 973812 h 1052578"/>
                  <a:gd name="connsiteX231" fmla="*/ 101709 w 183051"/>
                  <a:gd name="connsiteY231" fmla="*/ 962071 h 1052578"/>
                  <a:gd name="connsiteX232" fmla="*/ 121259 w 183051"/>
                  <a:gd name="connsiteY232" fmla="*/ 952325 h 1052578"/>
                  <a:gd name="connsiteX233" fmla="*/ 121259 w 183051"/>
                  <a:gd name="connsiteY233" fmla="*/ 945201 h 1052578"/>
                  <a:gd name="connsiteX234" fmla="*/ 99544 w 183051"/>
                  <a:gd name="connsiteY234" fmla="*/ 942636 h 1052578"/>
                  <a:gd name="connsiteX235" fmla="*/ 67285 w 183051"/>
                  <a:gd name="connsiteY235" fmla="*/ 985268 h 1052578"/>
                  <a:gd name="connsiteX236" fmla="*/ 66886 w 183051"/>
                  <a:gd name="connsiteY236" fmla="*/ 986636 h 1052578"/>
                  <a:gd name="connsiteX237" fmla="*/ 60388 w 183051"/>
                  <a:gd name="connsiteY237" fmla="*/ 988289 h 1052578"/>
                  <a:gd name="connsiteX238" fmla="*/ 60388 w 183051"/>
                  <a:gd name="connsiteY238" fmla="*/ 991708 h 1052578"/>
                  <a:gd name="connsiteX239" fmla="*/ 59875 w 183051"/>
                  <a:gd name="connsiteY239" fmla="*/ 993646 h 1052578"/>
                  <a:gd name="connsiteX240" fmla="*/ 57310 w 183051"/>
                  <a:gd name="connsiteY240" fmla="*/ 1002936 h 1052578"/>
                  <a:gd name="connsiteX241" fmla="*/ 61471 w 183051"/>
                  <a:gd name="connsiteY241" fmla="*/ 1011087 h 1052578"/>
                  <a:gd name="connsiteX242" fmla="*/ 65974 w 183051"/>
                  <a:gd name="connsiteY242" fmla="*/ 1013651 h 1052578"/>
                  <a:gd name="connsiteX243" fmla="*/ 66601 w 183051"/>
                  <a:gd name="connsiteY243" fmla="*/ 1016045 h 1052578"/>
                  <a:gd name="connsiteX244" fmla="*/ 70875 w 183051"/>
                  <a:gd name="connsiteY244" fmla="*/ 1019807 h 1052578"/>
                  <a:gd name="connsiteX245" fmla="*/ 72870 w 183051"/>
                  <a:gd name="connsiteY245" fmla="*/ 1019465 h 1052578"/>
                  <a:gd name="connsiteX246" fmla="*/ 73896 w 183051"/>
                  <a:gd name="connsiteY246" fmla="*/ 1014734 h 1052578"/>
                  <a:gd name="connsiteX247" fmla="*/ 70761 w 183051"/>
                  <a:gd name="connsiteY247" fmla="*/ 1003335 h 1052578"/>
                  <a:gd name="connsiteX248" fmla="*/ 77658 w 183051"/>
                  <a:gd name="connsiteY248" fmla="*/ 1002537 h 1052578"/>
                  <a:gd name="connsiteX249" fmla="*/ 81305 w 183051"/>
                  <a:gd name="connsiteY249" fmla="*/ 1002537 h 1052578"/>
                  <a:gd name="connsiteX250" fmla="*/ 83300 w 183051"/>
                  <a:gd name="connsiteY250" fmla="*/ 999916 h 1052578"/>
                  <a:gd name="connsiteX251" fmla="*/ 88789 w 183051"/>
                  <a:gd name="connsiteY251" fmla="*/ 998605 h 1052578"/>
                  <a:gd name="connsiteX252" fmla="*/ 89341 w 183051"/>
                  <a:gd name="connsiteY252" fmla="*/ 995983 h 1052578"/>
                  <a:gd name="connsiteX253" fmla="*/ 89341 w 183051"/>
                  <a:gd name="connsiteY253" fmla="*/ 993760 h 1052578"/>
                  <a:gd name="connsiteX254" fmla="*/ 90994 w 183051"/>
                  <a:gd name="connsiteY254" fmla="*/ 992563 h 1052578"/>
                  <a:gd name="connsiteX255" fmla="*/ 94984 w 183051"/>
                  <a:gd name="connsiteY255" fmla="*/ 987377 h 1052578"/>
                  <a:gd name="connsiteX256" fmla="*/ 95668 w 183051"/>
                  <a:gd name="connsiteY256" fmla="*/ 980708 h 1052578"/>
                  <a:gd name="connsiteX257" fmla="*/ 95212 w 183051"/>
                  <a:gd name="connsiteY257" fmla="*/ 977745 h 1052578"/>
                  <a:gd name="connsiteX258" fmla="*/ 88601 w 183051"/>
                  <a:gd name="connsiteY258" fmla="*/ 975636 h 1052578"/>
                  <a:gd name="connsiteX259" fmla="*/ 86093 w 183051"/>
                  <a:gd name="connsiteY259" fmla="*/ 976206 h 1052578"/>
                  <a:gd name="connsiteX260" fmla="*/ 84554 w 183051"/>
                  <a:gd name="connsiteY260" fmla="*/ 977859 h 1052578"/>
                  <a:gd name="connsiteX261" fmla="*/ 78854 w 183051"/>
                  <a:gd name="connsiteY261" fmla="*/ 986237 h 1052578"/>
                  <a:gd name="connsiteX262" fmla="*/ 77829 w 183051"/>
                  <a:gd name="connsiteY262" fmla="*/ 979113 h 1052578"/>
                  <a:gd name="connsiteX263" fmla="*/ 71320 w 183051"/>
                  <a:gd name="connsiteY263" fmla="*/ 977956 h 1052578"/>
                  <a:gd name="connsiteX264" fmla="*/ 70932 w 183051"/>
                  <a:gd name="connsiteY264" fmla="*/ 978258 h 1052578"/>
                  <a:gd name="connsiteX265" fmla="*/ 67285 w 183051"/>
                  <a:gd name="connsiteY265" fmla="*/ 985268 h 1052578"/>
                  <a:gd name="connsiteX266" fmla="*/ 142347 w 183051"/>
                  <a:gd name="connsiteY266" fmla="*/ 1009377 h 1052578"/>
                  <a:gd name="connsiteX267" fmla="*/ 140352 w 183051"/>
                  <a:gd name="connsiteY267" fmla="*/ 988004 h 1052578"/>
                  <a:gd name="connsiteX268" fmla="*/ 138927 w 183051"/>
                  <a:gd name="connsiteY268" fmla="*/ 961729 h 1052578"/>
                  <a:gd name="connsiteX269" fmla="*/ 130834 w 183051"/>
                  <a:gd name="connsiteY269" fmla="*/ 961045 h 1052578"/>
                  <a:gd name="connsiteX270" fmla="*/ 129580 w 183051"/>
                  <a:gd name="connsiteY270" fmla="*/ 960418 h 1052578"/>
                  <a:gd name="connsiteX271" fmla="*/ 128953 w 183051"/>
                  <a:gd name="connsiteY271" fmla="*/ 958082 h 1052578"/>
                  <a:gd name="connsiteX272" fmla="*/ 124519 w 183051"/>
                  <a:gd name="connsiteY272" fmla="*/ 955773 h 1052578"/>
                  <a:gd name="connsiteX273" fmla="*/ 123253 w 183051"/>
                  <a:gd name="connsiteY273" fmla="*/ 956486 h 1052578"/>
                  <a:gd name="connsiteX274" fmla="*/ 121714 w 183051"/>
                  <a:gd name="connsiteY274" fmla="*/ 966118 h 1052578"/>
                  <a:gd name="connsiteX275" fmla="*/ 113279 w 183051"/>
                  <a:gd name="connsiteY275" fmla="*/ 969309 h 1052578"/>
                  <a:gd name="connsiteX276" fmla="*/ 105927 w 183051"/>
                  <a:gd name="connsiteY276" fmla="*/ 973755 h 1052578"/>
                  <a:gd name="connsiteX277" fmla="*/ 105927 w 183051"/>
                  <a:gd name="connsiteY277" fmla="*/ 976491 h 1052578"/>
                  <a:gd name="connsiteX278" fmla="*/ 102792 w 183051"/>
                  <a:gd name="connsiteY278" fmla="*/ 979113 h 1052578"/>
                  <a:gd name="connsiteX279" fmla="*/ 104274 w 183051"/>
                  <a:gd name="connsiteY279" fmla="*/ 984812 h 1052578"/>
                  <a:gd name="connsiteX280" fmla="*/ 110657 w 183051"/>
                  <a:gd name="connsiteY280" fmla="*/ 988061 h 1052578"/>
                  <a:gd name="connsiteX281" fmla="*/ 114020 w 183051"/>
                  <a:gd name="connsiteY281" fmla="*/ 985838 h 1052578"/>
                  <a:gd name="connsiteX282" fmla="*/ 126616 w 183051"/>
                  <a:gd name="connsiteY282" fmla="*/ 987263 h 1052578"/>
                  <a:gd name="connsiteX283" fmla="*/ 131746 w 183051"/>
                  <a:gd name="connsiteY283" fmla="*/ 986978 h 1052578"/>
                  <a:gd name="connsiteX284" fmla="*/ 131746 w 183051"/>
                  <a:gd name="connsiteY284" fmla="*/ 989771 h 1052578"/>
                  <a:gd name="connsiteX285" fmla="*/ 118694 w 183051"/>
                  <a:gd name="connsiteY285" fmla="*/ 996496 h 1052578"/>
                  <a:gd name="connsiteX286" fmla="*/ 118694 w 183051"/>
                  <a:gd name="connsiteY286" fmla="*/ 999232 h 1052578"/>
                  <a:gd name="connsiteX287" fmla="*/ 121601 w 183051"/>
                  <a:gd name="connsiteY287" fmla="*/ 1001968 h 1052578"/>
                  <a:gd name="connsiteX288" fmla="*/ 119093 w 183051"/>
                  <a:gd name="connsiteY288" fmla="*/ 1005330 h 1052578"/>
                  <a:gd name="connsiteX289" fmla="*/ 117041 w 183051"/>
                  <a:gd name="connsiteY289" fmla="*/ 1006128 h 1052578"/>
                  <a:gd name="connsiteX290" fmla="*/ 117554 w 183051"/>
                  <a:gd name="connsiteY290" fmla="*/ 1013195 h 1052578"/>
                  <a:gd name="connsiteX291" fmla="*/ 113849 w 183051"/>
                  <a:gd name="connsiteY291" fmla="*/ 1014221 h 1052578"/>
                  <a:gd name="connsiteX292" fmla="*/ 110088 w 183051"/>
                  <a:gd name="connsiteY292" fmla="*/ 1012397 h 1052578"/>
                  <a:gd name="connsiteX293" fmla="*/ 103476 w 183051"/>
                  <a:gd name="connsiteY293" fmla="*/ 1012397 h 1052578"/>
                  <a:gd name="connsiteX294" fmla="*/ 96067 w 183051"/>
                  <a:gd name="connsiteY294" fmla="*/ 1009776 h 1052578"/>
                  <a:gd name="connsiteX295" fmla="*/ 89000 w 183051"/>
                  <a:gd name="connsiteY295" fmla="*/ 1011486 h 1052578"/>
                  <a:gd name="connsiteX296" fmla="*/ 87803 w 183051"/>
                  <a:gd name="connsiteY296" fmla="*/ 1015247 h 1052578"/>
                  <a:gd name="connsiteX297" fmla="*/ 80963 w 183051"/>
                  <a:gd name="connsiteY297" fmla="*/ 1018667 h 1052578"/>
                  <a:gd name="connsiteX298" fmla="*/ 75264 w 183051"/>
                  <a:gd name="connsiteY298" fmla="*/ 1023284 h 1052578"/>
                  <a:gd name="connsiteX299" fmla="*/ 82616 w 183051"/>
                  <a:gd name="connsiteY299" fmla="*/ 1028071 h 1052578"/>
                  <a:gd name="connsiteX300" fmla="*/ 95155 w 183051"/>
                  <a:gd name="connsiteY300" fmla="*/ 1029097 h 1052578"/>
                  <a:gd name="connsiteX301" fmla="*/ 97036 w 183051"/>
                  <a:gd name="connsiteY301" fmla="*/ 1029553 h 1052578"/>
                  <a:gd name="connsiteX302" fmla="*/ 98632 w 183051"/>
                  <a:gd name="connsiteY302" fmla="*/ 1033315 h 1052578"/>
                  <a:gd name="connsiteX303" fmla="*/ 100398 w 183051"/>
                  <a:gd name="connsiteY303" fmla="*/ 1039014 h 1052578"/>
                  <a:gd name="connsiteX304" fmla="*/ 106098 w 183051"/>
                  <a:gd name="connsiteY304" fmla="*/ 1043118 h 1052578"/>
                  <a:gd name="connsiteX305" fmla="*/ 109404 w 183051"/>
                  <a:gd name="connsiteY305" fmla="*/ 1037874 h 1052578"/>
                  <a:gd name="connsiteX306" fmla="*/ 109119 w 183051"/>
                  <a:gd name="connsiteY306" fmla="*/ 1031206 h 1052578"/>
                  <a:gd name="connsiteX307" fmla="*/ 113279 w 183051"/>
                  <a:gd name="connsiteY307" fmla="*/ 1026874 h 1052578"/>
                  <a:gd name="connsiteX308" fmla="*/ 116015 w 183051"/>
                  <a:gd name="connsiteY308" fmla="*/ 1033713 h 1052578"/>
                  <a:gd name="connsiteX309" fmla="*/ 116756 w 183051"/>
                  <a:gd name="connsiteY309" fmla="*/ 1041180 h 1052578"/>
                  <a:gd name="connsiteX310" fmla="*/ 122455 w 183051"/>
                  <a:gd name="connsiteY310" fmla="*/ 1045398 h 1052578"/>
                  <a:gd name="connsiteX311" fmla="*/ 120575 w 183051"/>
                  <a:gd name="connsiteY311" fmla="*/ 1050071 h 1052578"/>
                  <a:gd name="connsiteX312" fmla="*/ 131062 w 183051"/>
                  <a:gd name="connsiteY312" fmla="*/ 1052579 h 1052578"/>
                  <a:gd name="connsiteX313" fmla="*/ 131575 w 183051"/>
                  <a:gd name="connsiteY313" fmla="*/ 1039641 h 1052578"/>
                  <a:gd name="connsiteX314" fmla="*/ 136436 w 183051"/>
                  <a:gd name="connsiteY314" fmla="*/ 1040809 h 1052578"/>
                  <a:gd name="connsiteX315" fmla="*/ 136932 w 183051"/>
                  <a:gd name="connsiteY315" fmla="*/ 1042263 h 1052578"/>
                  <a:gd name="connsiteX316" fmla="*/ 136932 w 183051"/>
                  <a:gd name="connsiteY316" fmla="*/ 1044086 h 1052578"/>
                  <a:gd name="connsiteX317" fmla="*/ 144512 w 183051"/>
                  <a:gd name="connsiteY317" fmla="*/ 1046024 h 1052578"/>
                  <a:gd name="connsiteX318" fmla="*/ 144911 w 183051"/>
                  <a:gd name="connsiteY318" fmla="*/ 1047962 h 1052578"/>
                  <a:gd name="connsiteX319" fmla="*/ 149699 w 183051"/>
                  <a:gd name="connsiteY319" fmla="*/ 1052351 h 1052578"/>
                  <a:gd name="connsiteX320" fmla="*/ 156595 w 183051"/>
                  <a:gd name="connsiteY320" fmla="*/ 1051952 h 1052578"/>
                  <a:gd name="connsiteX321" fmla="*/ 158772 w 183051"/>
                  <a:gd name="connsiteY321" fmla="*/ 1050037 h 1052578"/>
                  <a:gd name="connsiteX322" fmla="*/ 158533 w 183051"/>
                  <a:gd name="connsiteY322" fmla="*/ 1048931 h 1052578"/>
                  <a:gd name="connsiteX323" fmla="*/ 157051 w 183051"/>
                  <a:gd name="connsiteY323" fmla="*/ 1044485 h 1052578"/>
                  <a:gd name="connsiteX324" fmla="*/ 144170 w 183051"/>
                  <a:gd name="connsiteY324" fmla="*/ 1019180 h 1052578"/>
                  <a:gd name="connsiteX325" fmla="*/ 142176 w 183051"/>
                  <a:gd name="connsiteY325" fmla="*/ 1009377 h 10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183051" h="1052578">
                    <a:moveTo>
                      <a:pt x="102450" y="993703"/>
                    </a:moveTo>
                    <a:cubicBezTo>
                      <a:pt x="104149" y="993202"/>
                      <a:pt x="105978" y="993521"/>
                      <a:pt x="107409" y="994558"/>
                    </a:cubicBezTo>
                    <a:cubicBezTo>
                      <a:pt x="107831" y="994951"/>
                      <a:pt x="108338" y="995242"/>
                      <a:pt x="108891" y="995413"/>
                    </a:cubicBezTo>
                    <a:cubicBezTo>
                      <a:pt x="109176" y="995385"/>
                      <a:pt x="109461" y="995385"/>
                      <a:pt x="109746" y="995413"/>
                    </a:cubicBezTo>
                    <a:cubicBezTo>
                      <a:pt x="110601" y="995698"/>
                      <a:pt x="110714" y="996838"/>
                      <a:pt x="110657" y="997693"/>
                    </a:cubicBezTo>
                    <a:cubicBezTo>
                      <a:pt x="110657" y="999460"/>
                      <a:pt x="110373" y="1001227"/>
                      <a:pt x="110259" y="1002993"/>
                    </a:cubicBezTo>
                    <a:cubicBezTo>
                      <a:pt x="106959" y="1003341"/>
                      <a:pt x="103619" y="1003107"/>
                      <a:pt x="100398" y="1002310"/>
                    </a:cubicBezTo>
                    <a:cubicBezTo>
                      <a:pt x="99031" y="1001968"/>
                      <a:pt x="97378" y="1001113"/>
                      <a:pt x="97492" y="999688"/>
                    </a:cubicBezTo>
                    <a:cubicBezTo>
                      <a:pt x="97606" y="998263"/>
                      <a:pt x="100398" y="997408"/>
                      <a:pt x="100855" y="995641"/>
                    </a:cubicBezTo>
                    <a:cubicBezTo>
                      <a:pt x="100855" y="995299"/>
                      <a:pt x="100855" y="995014"/>
                      <a:pt x="100855" y="994729"/>
                    </a:cubicBezTo>
                    <a:cubicBezTo>
                      <a:pt x="101185" y="994148"/>
                      <a:pt x="101783" y="993766"/>
                      <a:pt x="102450" y="993703"/>
                    </a:cubicBezTo>
                    <a:close/>
                    <a:moveTo>
                      <a:pt x="35653" y="720641"/>
                    </a:moveTo>
                    <a:cubicBezTo>
                      <a:pt x="34826" y="719536"/>
                      <a:pt x="33555" y="718852"/>
                      <a:pt x="32176" y="718761"/>
                    </a:cubicBezTo>
                    <a:cubicBezTo>
                      <a:pt x="29588" y="718362"/>
                      <a:pt x="26955" y="719046"/>
                      <a:pt x="24880" y="720641"/>
                    </a:cubicBezTo>
                    <a:cubicBezTo>
                      <a:pt x="23552" y="721753"/>
                      <a:pt x="22395" y="723058"/>
                      <a:pt x="21461" y="724517"/>
                    </a:cubicBezTo>
                    <a:lnTo>
                      <a:pt x="18839" y="728108"/>
                    </a:lnTo>
                    <a:cubicBezTo>
                      <a:pt x="18332" y="728643"/>
                      <a:pt x="17995" y="729316"/>
                      <a:pt x="17870" y="730046"/>
                    </a:cubicBezTo>
                    <a:cubicBezTo>
                      <a:pt x="17870" y="731641"/>
                      <a:pt x="19295" y="732838"/>
                      <a:pt x="20663" y="733636"/>
                    </a:cubicBezTo>
                    <a:cubicBezTo>
                      <a:pt x="22829" y="735084"/>
                      <a:pt x="25314" y="735979"/>
                      <a:pt x="27901" y="736258"/>
                    </a:cubicBezTo>
                    <a:cubicBezTo>
                      <a:pt x="30335" y="736252"/>
                      <a:pt x="32632" y="735112"/>
                      <a:pt x="34114" y="733180"/>
                    </a:cubicBezTo>
                    <a:cubicBezTo>
                      <a:pt x="36165" y="730120"/>
                      <a:pt x="36963" y="726381"/>
                      <a:pt x="36336" y="722750"/>
                    </a:cubicBezTo>
                    <a:cubicBezTo>
                      <a:pt x="36251" y="722009"/>
                      <a:pt x="36017" y="721291"/>
                      <a:pt x="35653" y="720641"/>
                    </a:cubicBezTo>
                    <a:close/>
                    <a:moveTo>
                      <a:pt x="99544" y="942921"/>
                    </a:moveTo>
                    <a:cubicBezTo>
                      <a:pt x="96802" y="943827"/>
                      <a:pt x="93861" y="943947"/>
                      <a:pt x="91051" y="943263"/>
                    </a:cubicBezTo>
                    <a:cubicBezTo>
                      <a:pt x="88942" y="942351"/>
                      <a:pt x="87518" y="940299"/>
                      <a:pt x="85352" y="939330"/>
                    </a:cubicBezTo>
                    <a:cubicBezTo>
                      <a:pt x="82331" y="937905"/>
                      <a:pt x="78342" y="938760"/>
                      <a:pt x="75948" y="936537"/>
                    </a:cubicBezTo>
                    <a:cubicBezTo>
                      <a:pt x="74734" y="935141"/>
                      <a:pt x="74033" y="933369"/>
                      <a:pt x="73953" y="931522"/>
                    </a:cubicBezTo>
                    <a:cubicBezTo>
                      <a:pt x="73269" y="925822"/>
                      <a:pt x="74295" y="918869"/>
                      <a:pt x="70476" y="914423"/>
                    </a:cubicBezTo>
                    <a:cubicBezTo>
                      <a:pt x="66658" y="909978"/>
                      <a:pt x="60217" y="909066"/>
                      <a:pt x="58108" y="904050"/>
                    </a:cubicBezTo>
                    <a:cubicBezTo>
                      <a:pt x="57527" y="901896"/>
                      <a:pt x="57094" y="899708"/>
                      <a:pt x="56798" y="897496"/>
                    </a:cubicBezTo>
                    <a:cubicBezTo>
                      <a:pt x="55430" y="892196"/>
                      <a:pt x="50414" y="888890"/>
                      <a:pt x="46140" y="885584"/>
                    </a:cubicBezTo>
                    <a:cubicBezTo>
                      <a:pt x="41865" y="882279"/>
                      <a:pt x="37533" y="877491"/>
                      <a:pt x="38502" y="872133"/>
                    </a:cubicBezTo>
                    <a:cubicBezTo>
                      <a:pt x="39927" y="864097"/>
                      <a:pt x="51896" y="861248"/>
                      <a:pt x="52865" y="853211"/>
                    </a:cubicBezTo>
                    <a:cubicBezTo>
                      <a:pt x="53150" y="850533"/>
                      <a:pt x="52238" y="847512"/>
                      <a:pt x="53663" y="845346"/>
                    </a:cubicBezTo>
                    <a:cubicBezTo>
                      <a:pt x="55088" y="843180"/>
                      <a:pt x="59704" y="842610"/>
                      <a:pt x="61642" y="839988"/>
                    </a:cubicBezTo>
                    <a:cubicBezTo>
                      <a:pt x="63580" y="837367"/>
                      <a:pt x="61642" y="832465"/>
                      <a:pt x="60787" y="828589"/>
                    </a:cubicBezTo>
                    <a:cubicBezTo>
                      <a:pt x="58564" y="817190"/>
                      <a:pt x="70647" y="808983"/>
                      <a:pt x="73269" y="797641"/>
                    </a:cubicBezTo>
                    <a:lnTo>
                      <a:pt x="81647" y="761051"/>
                    </a:lnTo>
                    <a:cubicBezTo>
                      <a:pt x="82930" y="756332"/>
                      <a:pt x="83602" y="751464"/>
                      <a:pt x="83642" y="746574"/>
                    </a:cubicBezTo>
                    <a:cubicBezTo>
                      <a:pt x="83642" y="740874"/>
                      <a:pt x="81818" y="733750"/>
                      <a:pt x="86207" y="729874"/>
                    </a:cubicBezTo>
                    <a:cubicBezTo>
                      <a:pt x="87803" y="728450"/>
                      <a:pt x="90082" y="727652"/>
                      <a:pt x="91108" y="725771"/>
                    </a:cubicBezTo>
                    <a:cubicBezTo>
                      <a:pt x="92151" y="722989"/>
                      <a:pt x="91188" y="719855"/>
                      <a:pt x="88771" y="718134"/>
                    </a:cubicBezTo>
                    <a:cubicBezTo>
                      <a:pt x="86384" y="716515"/>
                      <a:pt x="84098" y="714743"/>
                      <a:pt x="81932" y="712833"/>
                    </a:cubicBezTo>
                    <a:cubicBezTo>
                      <a:pt x="74067" y="703999"/>
                      <a:pt x="85466" y="688724"/>
                      <a:pt x="79310" y="678636"/>
                    </a:cubicBezTo>
                    <a:cubicBezTo>
                      <a:pt x="77829" y="676243"/>
                      <a:pt x="75435" y="674305"/>
                      <a:pt x="74922" y="671569"/>
                    </a:cubicBezTo>
                    <a:cubicBezTo>
                      <a:pt x="74728" y="669426"/>
                      <a:pt x="75144" y="667272"/>
                      <a:pt x="76119" y="665356"/>
                    </a:cubicBezTo>
                    <a:cubicBezTo>
                      <a:pt x="81818" y="650196"/>
                      <a:pt x="86948" y="631730"/>
                      <a:pt x="77259" y="618621"/>
                    </a:cubicBezTo>
                    <a:cubicBezTo>
                      <a:pt x="75321" y="616655"/>
                      <a:pt x="73959" y="614187"/>
                      <a:pt x="73326" y="611497"/>
                    </a:cubicBezTo>
                    <a:cubicBezTo>
                      <a:pt x="73548" y="608755"/>
                      <a:pt x="74540" y="606128"/>
                      <a:pt x="76176" y="603916"/>
                    </a:cubicBezTo>
                    <a:cubicBezTo>
                      <a:pt x="79003" y="596991"/>
                      <a:pt x="81032" y="589759"/>
                      <a:pt x="82217" y="582372"/>
                    </a:cubicBezTo>
                    <a:cubicBezTo>
                      <a:pt x="83471" y="574815"/>
                      <a:pt x="88441" y="568391"/>
                      <a:pt x="95440" y="565274"/>
                    </a:cubicBezTo>
                    <a:cubicBezTo>
                      <a:pt x="94346" y="559238"/>
                      <a:pt x="94898" y="553014"/>
                      <a:pt x="97036" y="547264"/>
                    </a:cubicBezTo>
                    <a:cubicBezTo>
                      <a:pt x="98387" y="544397"/>
                      <a:pt x="99361" y="541370"/>
                      <a:pt x="99943" y="538258"/>
                    </a:cubicBezTo>
                    <a:cubicBezTo>
                      <a:pt x="99760" y="533801"/>
                      <a:pt x="98529" y="529447"/>
                      <a:pt x="96352" y="525549"/>
                    </a:cubicBezTo>
                    <a:cubicBezTo>
                      <a:pt x="92989" y="517604"/>
                      <a:pt x="91336" y="509037"/>
                      <a:pt x="91507" y="500414"/>
                    </a:cubicBezTo>
                    <a:cubicBezTo>
                      <a:pt x="91393" y="498550"/>
                      <a:pt x="91872" y="496692"/>
                      <a:pt x="92875" y="495113"/>
                    </a:cubicBezTo>
                    <a:cubicBezTo>
                      <a:pt x="94220" y="493837"/>
                      <a:pt x="95839" y="492879"/>
                      <a:pt x="97606" y="492320"/>
                    </a:cubicBezTo>
                    <a:cubicBezTo>
                      <a:pt x="104314" y="488599"/>
                      <a:pt x="108857" y="481913"/>
                      <a:pt x="109860" y="474310"/>
                    </a:cubicBezTo>
                    <a:cubicBezTo>
                      <a:pt x="110777" y="466804"/>
                      <a:pt x="110469" y="459201"/>
                      <a:pt x="108948" y="451797"/>
                    </a:cubicBezTo>
                    <a:cubicBezTo>
                      <a:pt x="116072" y="449631"/>
                      <a:pt x="118751" y="440911"/>
                      <a:pt x="118352" y="433502"/>
                    </a:cubicBezTo>
                    <a:cubicBezTo>
                      <a:pt x="117742" y="426030"/>
                      <a:pt x="118164" y="418512"/>
                      <a:pt x="119606" y="411160"/>
                    </a:cubicBezTo>
                    <a:cubicBezTo>
                      <a:pt x="121601" y="402611"/>
                      <a:pt x="123025" y="392124"/>
                      <a:pt x="116357" y="386367"/>
                    </a:cubicBezTo>
                    <a:cubicBezTo>
                      <a:pt x="114077" y="384430"/>
                      <a:pt x="111000" y="383176"/>
                      <a:pt x="109860" y="380668"/>
                    </a:cubicBezTo>
                    <a:cubicBezTo>
                      <a:pt x="108321" y="377020"/>
                      <a:pt x="111056" y="372860"/>
                      <a:pt x="110544" y="369269"/>
                    </a:cubicBezTo>
                    <a:cubicBezTo>
                      <a:pt x="109860" y="364424"/>
                      <a:pt x="104559" y="361290"/>
                      <a:pt x="103533" y="356559"/>
                    </a:cubicBezTo>
                    <a:cubicBezTo>
                      <a:pt x="102222" y="350461"/>
                      <a:pt x="108093" y="345616"/>
                      <a:pt x="112310" y="341000"/>
                    </a:cubicBezTo>
                    <a:cubicBezTo>
                      <a:pt x="118870" y="333704"/>
                      <a:pt x="122182" y="324055"/>
                      <a:pt x="121487" y="314269"/>
                    </a:cubicBezTo>
                    <a:cubicBezTo>
                      <a:pt x="120324" y="309841"/>
                      <a:pt x="120808" y="305144"/>
                      <a:pt x="122854" y="301046"/>
                    </a:cubicBezTo>
                    <a:cubicBezTo>
                      <a:pt x="123909" y="300009"/>
                      <a:pt x="124826" y="298841"/>
                      <a:pt x="125590" y="297570"/>
                    </a:cubicBezTo>
                    <a:cubicBezTo>
                      <a:pt x="126018" y="296059"/>
                      <a:pt x="126018" y="294463"/>
                      <a:pt x="125590" y="292953"/>
                    </a:cubicBezTo>
                    <a:cubicBezTo>
                      <a:pt x="124450" y="286285"/>
                      <a:pt x="125590" y="277165"/>
                      <a:pt x="132145" y="275855"/>
                    </a:cubicBezTo>
                    <a:cubicBezTo>
                      <a:pt x="132595" y="271415"/>
                      <a:pt x="132327" y="266929"/>
                      <a:pt x="131347" y="262575"/>
                    </a:cubicBezTo>
                    <a:cubicBezTo>
                      <a:pt x="136772" y="260420"/>
                      <a:pt x="141121" y="256197"/>
                      <a:pt x="143429" y="250834"/>
                    </a:cubicBezTo>
                    <a:cubicBezTo>
                      <a:pt x="143692" y="248902"/>
                      <a:pt x="144113" y="246998"/>
                      <a:pt x="144683" y="245134"/>
                    </a:cubicBezTo>
                    <a:cubicBezTo>
                      <a:pt x="146963" y="239891"/>
                      <a:pt x="155341" y="237896"/>
                      <a:pt x="155056" y="232196"/>
                    </a:cubicBezTo>
                    <a:cubicBezTo>
                      <a:pt x="154601" y="230196"/>
                      <a:pt x="153854" y="228275"/>
                      <a:pt x="152834" y="226497"/>
                    </a:cubicBezTo>
                    <a:cubicBezTo>
                      <a:pt x="149300" y="217435"/>
                      <a:pt x="159160" y="207005"/>
                      <a:pt x="155227" y="198000"/>
                    </a:cubicBezTo>
                    <a:cubicBezTo>
                      <a:pt x="153746" y="194523"/>
                      <a:pt x="150269" y="191958"/>
                      <a:pt x="149870" y="188197"/>
                    </a:cubicBezTo>
                    <a:cubicBezTo>
                      <a:pt x="149357" y="183580"/>
                      <a:pt x="153689" y="179932"/>
                      <a:pt x="155000" y="175430"/>
                    </a:cubicBezTo>
                    <a:cubicBezTo>
                      <a:pt x="155376" y="173144"/>
                      <a:pt x="155871" y="170882"/>
                      <a:pt x="156481" y="168648"/>
                    </a:cubicBezTo>
                    <a:cubicBezTo>
                      <a:pt x="160015" y="160326"/>
                      <a:pt x="173580" y="164088"/>
                      <a:pt x="180248" y="157761"/>
                    </a:cubicBezTo>
                    <a:cubicBezTo>
                      <a:pt x="183331" y="154581"/>
                      <a:pt x="183941" y="149748"/>
                      <a:pt x="181730" y="145907"/>
                    </a:cubicBezTo>
                    <a:cubicBezTo>
                      <a:pt x="181000" y="144812"/>
                      <a:pt x="180163" y="143804"/>
                      <a:pt x="179222" y="142886"/>
                    </a:cubicBezTo>
                    <a:cubicBezTo>
                      <a:pt x="176914" y="143422"/>
                      <a:pt x="174492" y="142761"/>
                      <a:pt x="172782" y="141119"/>
                    </a:cubicBezTo>
                    <a:cubicBezTo>
                      <a:pt x="170753" y="138902"/>
                      <a:pt x="169510" y="136075"/>
                      <a:pt x="169248" y="133083"/>
                    </a:cubicBezTo>
                    <a:cubicBezTo>
                      <a:pt x="168581" y="127241"/>
                      <a:pt x="168718" y="121336"/>
                      <a:pt x="169647" y="115528"/>
                    </a:cubicBezTo>
                    <a:cubicBezTo>
                      <a:pt x="166945" y="115129"/>
                      <a:pt x="164364" y="114161"/>
                      <a:pt x="162067" y="112679"/>
                    </a:cubicBezTo>
                    <a:cubicBezTo>
                      <a:pt x="162067" y="109544"/>
                      <a:pt x="165088" y="106466"/>
                      <a:pt x="163777" y="103560"/>
                    </a:cubicBezTo>
                    <a:cubicBezTo>
                      <a:pt x="163047" y="102442"/>
                      <a:pt x="162073" y="101508"/>
                      <a:pt x="160927" y="100824"/>
                    </a:cubicBezTo>
                    <a:cubicBezTo>
                      <a:pt x="156099" y="96965"/>
                      <a:pt x="154150" y="90525"/>
                      <a:pt x="156025" y="84637"/>
                    </a:cubicBezTo>
                    <a:cubicBezTo>
                      <a:pt x="150326" y="83383"/>
                      <a:pt x="143258" y="80249"/>
                      <a:pt x="143999" y="74492"/>
                    </a:cubicBezTo>
                    <a:cubicBezTo>
                      <a:pt x="144398" y="72799"/>
                      <a:pt x="145071" y="71181"/>
                      <a:pt x="145994" y="69705"/>
                    </a:cubicBezTo>
                    <a:cubicBezTo>
                      <a:pt x="149026" y="61948"/>
                      <a:pt x="149853" y="53507"/>
                      <a:pt x="148388" y="45311"/>
                    </a:cubicBezTo>
                    <a:cubicBezTo>
                      <a:pt x="148428" y="43744"/>
                      <a:pt x="147972" y="42210"/>
                      <a:pt x="147077" y="40922"/>
                    </a:cubicBezTo>
                    <a:cubicBezTo>
                      <a:pt x="145880" y="39497"/>
                      <a:pt x="143772" y="39099"/>
                      <a:pt x="142347" y="37959"/>
                    </a:cubicBezTo>
                    <a:cubicBezTo>
                      <a:pt x="136647" y="33570"/>
                      <a:pt x="143943" y="23482"/>
                      <a:pt x="139896" y="17612"/>
                    </a:cubicBezTo>
                    <a:cubicBezTo>
                      <a:pt x="138311" y="15924"/>
                      <a:pt x="136533" y="14431"/>
                      <a:pt x="134595" y="13166"/>
                    </a:cubicBezTo>
                    <a:cubicBezTo>
                      <a:pt x="131238" y="9632"/>
                      <a:pt x="129489" y="4867"/>
                      <a:pt x="129751" y="0"/>
                    </a:cubicBezTo>
                    <a:cubicBezTo>
                      <a:pt x="129198" y="1111"/>
                      <a:pt x="128702" y="2257"/>
                      <a:pt x="128269" y="3420"/>
                    </a:cubicBezTo>
                    <a:cubicBezTo>
                      <a:pt x="127488" y="6725"/>
                      <a:pt x="126496" y="9986"/>
                      <a:pt x="125305" y="13166"/>
                    </a:cubicBezTo>
                    <a:cubicBezTo>
                      <a:pt x="122564" y="18204"/>
                      <a:pt x="118506" y="22399"/>
                      <a:pt x="113564" y="25306"/>
                    </a:cubicBezTo>
                    <a:cubicBezTo>
                      <a:pt x="114436" y="28440"/>
                      <a:pt x="114858" y="31683"/>
                      <a:pt x="114818" y="34938"/>
                    </a:cubicBezTo>
                    <a:cubicBezTo>
                      <a:pt x="115502" y="64461"/>
                      <a:pt x="116129" y="94383"/>
                      <a:pt x="108606" y="122938"/>
                    </a:cubicBezTo>
                    <a:cubicBezTo>
                      <a:pt x="106554" y="130689"/>
                      <a:pt x="104046" y="139466"/>
                      <a:pt x="108321" y="146249"/>
                    </a:cubicBezTo>
                    <a:cubicBezTo>
                      <a:pt x="110373" y="149497"/>
                      <a:pt x="114020" y="153259"/>
                      <a:pt x="111854" y="156451"/>
                    </a:cubicBezTo>
                    <a:cubicBezTo>
                      <a:pt x="111113" y="157591"/>
                      <a:pt x="109803" y="158217"/>
                      <a:pt x="109176" y="159357"/>
                    </a:cubicBezTo>
                    <a:cubicBezTo>
                      <a:pt x="108497" y="161022"/>
                      <a:pt x="108497" y="162880"/>
                      <a:pt x="109176" y="164544"/>
                    </a:cubicBezTo>
                    <a:cubicBezTo>
                      <a:pt x="113633" y="181505"/>
                      <a:pt x="112020" y="199487"/>
                      <a:pt x="104616" y="215383"/>
                    </a:cubicBezTo>
                    <a:cubicBezTo>
                      <a:pt x="102918" y="218575"/>
                      <a:pt x="101413" y="221869"/>
                      <a:pt x="100114" y="225243"/>
                    </a:cubicBezTo>
                    <a:cubicBezTo>
                      <a:pt x="98404" y="230430"/>
                      <a:pt x="98119" y="236015"/>
                      <a:pt x="96466" y="241259"/>
                    </a:cubicBezTo>
                    <a:cubicBezTo>
                      <a:pt x="94813" y="246502"/>
                      <a:pt x="92647" y="249865"/>
                      <a:pt x="91336" y="254425"/>
                    </a:cubicBezTo>
                    <a:cubicBezTo>
                      <a:pt x="86663" y="271181"/>
                      <a:pt x="98803" y="288621"/>
                      <a:pt x="96181" y="305720"/>
                    </a:cubicBezTo>
                    <a:cubicBezTo>
                      <a:pt x="95788" y="309202"/>
                      <a:pt x="94380" y="312491"/>
                      <a:pt x="92134" y="315181"/>
                    </a:cubicBezTo>
                    <a:cubicBezTo>
                      <a:pt x="90082" y="317461"/>
                      <a:pt x="87233" y="318886"/>
                      <a:pt x="85181" y="320881"/>
                    </a:cubicBezTo>
                    <a:cubicBezTo>
                      <a:pt x="79994" y="326580"/>
                      <a:pt x="80735" y="335072"/>
                      <a:pt x="81476" y="342652"/>
                    </a:cubicBezTo>
                    <a:cubicBezTo>
                      <a:pt x="82907" y="356702"/>
                      <a:pt x="83346" y="370831"/>
                      <a:pt x="82787" y="384943"/>
                    </a:cubicBezTo>
                    <a:cubicBezTo>
                      <a:pt x="82160" y="401015"/>
                      <a:pt x="80849" y="419937"/>
                      <a:pt x="68709" y="430538"/>
                    </a:cubicBezTo>
                    <a:cubicBezTo>
                      <a:pt x="66373" y="447637"/>
                      <a:pt x="64663" y="465077"/>
                      <a:pt x="63466" y="482403"/>
                    </a:cubicBezTo>
                    <a:cubicBezTo>
                      <a:pt x="63534" y="486063"/>
                      <a:pt x="62896" y="489699"/>
                      <a:pt x="61585" y="493119"/>
                    </a:cubicBezTo>
                    <a:cubicBezTo>
                      <a:pt x="58678" y="499388"/>
                      <a:pt x="51440" y="503377"/>
                      <a:pt x="50186" y="510217"/>
                    </a:cubicBezTo>
                    <a:cubicBezTo>
                      <a:pt x="49616" y="513694"/>
                      <a:pt x="50585" y="517854"/>
                      <a:pt x="48020" y="520191"/>
                    </a:cubicBezTo>
                    <a:cubicBezTo>
                      <a:pt x="45456" y="522528"/>
                      <a:pt x="43062" y="521844"/>
                      <a:pt x="41295" y="523611"/>
                    </a:cubicBezTo>
                    <a:cubicBezTo>
                      <a:pt x="39528" y="525377"/>
                      <a:pt x="39642" y="529310"/>
                      <a:pt x="39699" y="531932"/>
                    </a:cubicBezTo>
                    <a:cubicBezTo>
                      <a:pt x="39078" y="537894"/>
                      <a:pt x="38844" y="543895"/>
                      <a:pt x="39015" y="549885"/>
                    </a:cubicBezTo>
                    <a:cubicBezTo>
                      <a:pt x="40098" y="555585"/>
                      <a:pt x="46253" y="561569"/>
                      <a:pt x="51611" y="558890"/>
                    </a:cubicBezTo>
                    <a:cubicBezTo>
                      <a:pt x="55145" y="568409"/>
                      <a:pt x="52124" y="579118"/>
                      <a:pt x="44145" y="585393"/>
                    </a:cubicBezTo>
                    <a:cubicBezTo>
                      <a:pt x="41301" y="587052"/>
                      <a:pt x="38673" y="589058"/>
                      <a:pt x="36336" y="591377"/>
                    </a:cubicBezTo>
                    <a:cubicBezTo>
                      <a:pt x="31207" y="597875"/>
                      <a:pt x="35424" y="607222"/>
                      <a:pt x="36336" y="615486"/>
                    </a:cubicBezTo>
                    <a:cubicBezTo>
                      <a:pt x="37875" y="630761"/>
                      <a:pt x="26932" y="644668"/>
                      <a:pt x="25735" y="659999"/>
                    </a:cubicBezTo>
                    <a:cubicBezTo>
                      <a:pt x="25211" y="664274"/>
                      <a:pt x="26220" y="668594"/>
                      <a:pt x="28585" y="672196"/>
                    </a:cubicBezTo>
                    <a:cubicBezTo>
                      <a:pt x="31173" y="675815"/>
                      <a:pt x="36017" y="677001"/>
                      <a:pt x="39984" y="674989"/>
                    </a:cubicBezTo>
                    <a:cubicBezTo>
                      <a:pt x="40440" y="661954"/>
                      <a:pt x="40936" y="648902"/>
                      <a:pt x="41466" y="635833"/>
                    </a:cubicBezTo>
                    <a:cubicBezTo>
                      <a:pt x="41227" y="631536"/>
                      <a:pt x="42235" y="627261"/>
                      <a:pt x="44373" y="623522"/>
                    </a:cubicBezTo>
                    <a:cubicBezTo>
                      <a:pt x="46635" y="619960"/>
                      <a:pt x="51354" y="618906"/>
                      <a:pt x="54917" y="621168"/>
                    </a:cubicBezTo>
                    <a:cubicBezTo>
                      <a:pt x="55093" y="621283"/>
                      <a:pt x="55264" y="621402"/>
                      <a:pt x="55430" y="621528"/>
                    </a:cubicBezTo>
                    <a:cubicBezTo>
                      <a:pt x="58849" y="625004"/>
                      <a:pt x="56627" y="631331"/>
                      <a:pt x="59533" y="635263"/>
                    </a:cubicBezTo>
                    <a:cubicBezTo>
                      <a:pt x="61357" y="637600"/>
                      <a:pt x="64834" y="638683"/>
                      <a:pt x="65803" y="641476"/>
                    </a:cubicBezTo>
                    <a:cubicBezTo>
                      <a:pt x="67855" y="647175"/>
                      <a:pt x="58393" y="650253"/>
                      <a:pt x="56740" y="656010"/>
                    </a:cubicBezTo>
                    <a:cubicBezTo>
                      <a:pt x="56541" y="658284"/>
                      <a:pt x="56541" y="660575"/>
                      <a:pt x="56740" y="662849"/>
                    </a:cubicBezTo>
                    <a:cubicBezTo>
                      <a:pt x="56740" y="665186"/>
                      <a:pt x="54689" y="667693"/>
                      <a:pt x="52409" y="667180"/>
                    </a:cubicBezTo>
                    <a:cubicBezTo>
                      <a:pt x="53800" y="688063"/>
                      <a:pt x="53594" y="709026"/>
                      <a:pt x="51782" y="729874"/>
                    </a:cubicBezTo>
                    <a:cubicBezTo>
                      <a:pt x="51212" y="736543"/>
                      <a:pt x="48761" y="745035"/>
                      <a:pt x="42036" y="745491"/>
                    </a:cubicBezTo>
                    <a:cubicBezTo>
                      <a:pt x="42332" y="752182"/>
                      <a:pt x="42195" y="758879"/>
                      <a:pt x="41637" y="765553"/>
                    </a:cubicBezTo>
                    <a:cubicBezTo>
                      <a:pt x="39534" y="766015"/>
                      <a:pt x="37340" y="765673"/>
                      <a:pt x="35482" y="764584"/>
                    </a:cubicBezTo>
                    <a:cubicBezTo>
                      <a:pt x="31908" y="758714"/>
                      <a:pt x="29092" y="752410"/>
                      <a:pt x="27103" y="745833"/>
                    </a:cubicBezTo>
                    <a:cubicBezTo>
                      <a:pt x="21427" y="746984"/>
                      <a:pt x="16012" y="749190"/>
                      <a:pt x="11145" y="752330"/>
                    </a:cubicBezTo>
                    <a:cubicBezTo>
                      <a:pt x="12969" y="755750"/>
                      <a:pt x="8979" y="759227"/>
                      <a:pt x="5901" y="761507"/>
                    </a:cubicBezTo>
                    <a:cubicBezTo>
                      <a:pt x="2823" y="763786"/>
                      <a:pt x="202" y="770626"/>
                      <a:pt x="3792" y="772336"/>
                    </a:cubicBezTo>
                    <a:cubicBezTo>
                      <a:pt x="4283" y="775271"/>
                      <a:pt x="6340" y="777699"/>
                      <a:pt x="9150" y="778662"/>
                    </a:cubicBezTo>
                    <a:cubicBezTo>
                      <a:pt x="11925" y="779591"/>
                      <a:pt x="14832" y="780070"/>
                      <a:pt x="17756" y="780087"/>
                    </a:cubicBezTo>
                    <a:cubicBezTo>
                      <a:pt x="22299" y="780053"/>
                      <a:pt x="26716" y="781563"/>
                      <a:pt x="30295" y="784361"/>
                    </a:cubicBezTo>
                    <a:cubicBezTo>
                      <a:pt x="33652" y="787263"/>
                      <a:pt x="34028" y="792335"/>
                      <a:pt x="31127" y="795698"/>
                    </a:cubicBezTo>
                    <a:cubicBezTo>
                      <a:pt x="30990" y="795857"/>
                      <a:pt x="30842" y="796011"/>
                      <a:pt x="30694" y="796159"/>
                    </a:cubicBezTo>
                    <a:cubicBezTo>
                      <a:pt x="28881" y="797163"/>
                      <a:pt x="26972" y="797983"/>
                      <a:pt x="24994" y="798610"/>
                    </a:cubicBezTo>
                    <a:cubicBezTo>
                      <a:pt x="21820" y="800269"/>
                      <a:pt x="19922" y="803643"/>
                      <a:pt x="20150" y="807216"/>
                    </a:cubicBezTo>
                    <a:cubicBezTo>
                      <a:pt x="20218" y="808083"/>
                      <a:pt x="20537" y="808915"/>
                      <a:pt x="21062" y="809610"/>
                    </a:cubicBezTo>
                    <a:cubicBezTo>
                      <a:pt x="21979" y="810380"/>
                      <a:pt x="23119" y="810836"/>
                      <a:pt x="24310" y="810921"/>
                    </a:cubicBezTo>
                    <a:lnTo>
                      <a:pt x="42720" y="813771"/>
                    </a:lnTo>
                    <a:cubicBezTo>
                      <a:pt x="43860" y="813771"/>
                      <a:pt x="45171" y="814284"/>
                      <a:pt x="45512" y="815367"/>
                    </a:cubicBezTo>
                    <a:cubicBezTo>
                      <a:pt x="45683" y="815885"/>
                      <a:pt x="45683" y="816444"/>
                      <a:pt x="45512" y="816963"/>
                    </a:cubicBezTo>
                    <a:cubicBezTo>
                      <a:pt x="44886" y="820496"/>
                      <a:pt x="44202" y="824087"/>
                      <a:pt x="43575" y="827621"/>
                    </a:cubicBezTo>
                    <a:cubicBezTo>
                      <a:pt x="41409" y="828715"/>
                      <a:pt x="38764" y="828065"/>
                      <a:pt x="37362" y="826082"/>
                    </a:cubicBezTo>
                    <a:cubicBezTo>
                      <a:pt x="36080" y="824018"/>
                      <a:pt x="34570" y="822103"/>
                      <a:pt x="32860" y="820382"/>
                    </a:cubicBezTo>
                    <a:cubicBezTo>
                      <a:pt x="30449" y="819037"/>
                      <a:pt x="27673" y="818496"/>
                      <a:pt x="24937" y="818844"/>
                    </a:cubicBezTo>
                    <a:lnTo>
                      <a:pt x="10290" y="819128"/>
                    </a:lnTo>
                    <a:cubicBezTo>
                      <a:pt x="8808" y="818986"/>
                      <a:pt x="7315" y="819305"/>
                      <a:pt x="6015" y="820040"/>
                    </a:cubicBezTo>
                    <a:cubicBezTo>
                      <a:pt x="4881" y="820969"/>
                      <a:pt x="4066" y="822223"/>
                      <a:pt x="3678" y="823631"/>
                    </a:cubicBezTo>
                    <a:cubicBezTo>
                      <a:pt x="2881" y="825421"/>
                      <a:pt x="2487" y="827370"/>
                      <a:pt x="2539" y="829330"/>
                    </a:cubicBezTo>
                    <a:cubicBezTo>
                      <a:pt x="2784" y="832773"/>
                      <a:pt x="5012" y="835754"/>
                      <a:pt x="8238" y="836968"/>
                    </a:cubicBezTo>
                    <a:cubicBezTo>
                      <a:pt x="11589" y="838028"/>
                      <a:pt x="15254" y="836973"/>
                      <a:pt x="17528" y="834289"/>
                    </a:cubicBezTo>
                    <a:cubicBezTo>
                      <a:pt x="19466" y="832009"/>
                      <a:pt x="20948" y="828247"/>
                      <a:pt x="23912" y="828589"/>
                    </a:cubicBezTo>
                    <a:cubicBezTo>
                      <a:pt x="26875" y="828931"/>
                      <a:pt x="27673" y="832750"/>
                      <a:pt x="27730" y="835714"/>
                    </a:cubicBezTo>
                    <a:cubicBezTo>
                      <a:pt x="27787" y="838678"/>
                      <a:pt x="27730" y="840900"/>
                      <a:pt x="25621" y="842154"/>
                    </a:cubicBezTo>
                    <a:cubicBezTo>
                      <a:pt x="24504" y="842713"/>
                      <a:pt x="23279" y="843026"/>
                      <a:pt x="22031" y="843066"/>
                    </a:cubicBezTo>
                    <a:cubicBezTo>
                      <a:pt x="16833" y="843636"/>
                      <a:pt x="11846" y="845460"/>
                      <a:pt x="7497" y="848367"/>
                    </a:cubicBezTo>
                    <a:cubicBezTo>
                      <a:pt x="8295" y="852128"/>
                      <a:pt x="8466" y="857144"/>
                      <a:pt x="4932" y="858626"/>
                    </a:cubicBezTo>
                    <a:cubicBezTo>
                      <a:pt x="4020" y="858968"/>
                      <a:pt x="2994" y="859025"/>
                      <a:pt x="2140" y="859424"/>
                    </a:cubicBezTo>
                    <a:cubicBezTo>
                      <a:pt x="-61" y="860888"/>
                      <a:pt x="-665" y="863858"/>
                      <a:pt x="800" y="866063"/>
                    </a:cubicBezTo>
                    <a:cubicBezTo>
                      <a:pt x="846" y="866132"/>
                      <a:pt x="891" y="866195"/>
                      <a:pt x="943" y="866263"/>
                    </a:cubicBezTo>
                    <a:cubicBezTo>
                      <a:pt x="2590" y="868332"/>
                      <a:pt x="4909" y="869762"/>
                      <a:pt x="7497" y="870310"/>
                    </a:cubicBezTo>
                    <a:cubicBezTo>
                      <a:pt x="6904" y="873399"/>
                      <a:pt x="8928" y="876391"/>
                      <a:pt x="12017" y="876984"/>
                    </a:cubicBezTo>
                    <a:cubicBezTo>
                      <a:pt x="13020" y="877178"/>
                      <a:pt x="14057" y="877098"/>
                      <a:pt x="15020" y="876750"/>
                    </a:cubicBezTo>
                    <a:cubicBezTo>
                      <a:pt x="17671" y="872590"/>
                      <a:pt x="19221" y="867825"/>
                      <a:pt x="19523" y="862900"/>
                    </a:cubicBezTo>
                    <a:cubicBezTo>
                      <a:pt x="19244" y="859862"/>
                      <a:pt x="19859" y="856813"/>
                      <a:pt x="21290" y="854123"/>
                    </a:cubicBezTo>
                    <a:cubicBezTo>
                      <a:pt x="24003" y="851188"/>
                      <a:pt x="28585" y="851011"/>
                      <a:pt x="31520" y="853730"/>
                    </a:cubicBezTo>
                    <a:cubicBezTo>
                      <a:pt x="31822" y="854009"/>
                      <a:pt x="32096" y="854311"/>
                      <a:pt x="32347" y="854636"/>
                    </a:cubicBezTo>
                    <a:cubicBezTo>
                      <a:pt x="34735" y="858318"/>
                      <a:pt x="34433" y="863134"/>
                      <a:pt x="31606" y="866491"/>
                    </a:cubicBezTo>
                    <a:cubicBezTo>
                      <a:pt x="30232" y="867830"/>
                      <a:pt x="28990" y="869301"/>
                      <a:pt x="27901" y="870880"/>
                    </a:cubicBezTo>
                    <a:cubicBezTo>
                      <a:pt x="25963" y="874470"/>
                      <a:pt x="27901" y="878916"/>
                      <a:pt x="27160" y="882963"/>
                    </a:cubicBezTo>
                    <a:cubicBezTo>
                      <a:pt x="26328" y="888457"/>
                      <a:pt x="21660" y="892549"/>
                      <a:pt x="16103" y="892651"/>
                    </a:cubicBezTo>
                    <a:cubicBezTo>
                      <a:pt x="18246" y="896607"/>
                      <a:pt x="16776" y="901554"/>
                      <a:pt x="12820" y="903703"/>
                    </a:cubicBezTo>
                    <a:cubicBezTo>
                      <a:pt x="11925" y="904182"/>
                      <a:pt x="10951" y="904495"/>
                      <a:pt x="9948" y="904621"/>
                    </a:cubicBezTo>
                    <a:cubicBezTo>
                      <a:pt x="9458" y="909596"/>
                      <a:pt x="10597" y="914595"/>
                      <a:pt x="13197" y="918869"/>
                    </a:cubicBezTo>
                    <a:cubicBezTo>
                      <a:pt x="22806" y="918858"/>
                      <a:pt x="32375" y="917672"/>
                      <a:pt x="41694" y="915336"/>
                    </a:cubicBezTo>
                    <a:cubicBezTo>
                      <a:pt x="44259" y="917102"/>
                      <a:pt x="42948" y="921035"/>
                      <a:pt x="40668" y="923429"/>
                    </a:cubicBezTo>
                    <a:cubicBezTo>
                      <a:pt x="38388" y="925822"/>
                      <a:pt x="35311" y="927190"/>
                      <a:pt x="34342" y="930154"/>
                    </a:cubicBezTo>
                    <a:cubicBezTo>
                      <a:pt x="33527" y="933973"/>
                      <a:pt x="35966" y="937723"/>
                      <a:pt x="39779" y="938538"/>
                    </a:cubicBezTo>
                    <a:cubicBezTo>
                      <a:pt x="39870" y="938555"/>
                      <a:pt x="39955" y="938572"/>
                      <a:pt x="40041" y="938589"/>
                    </a:cubicBezTo>
                    <a:cubicBezTo>
                      <a:pt x="43979" y="938960"/>
                      <a:pt x="47798" y="937113"/>
                      <a:pt x="49958" y="933802"/>
                    </a:cubicBezTo>
                    <a:cubicBezTo>
                      <a:pt x="50813" y="932605"/>
                      <a:pt x="51668" y="931180"/>
                      <a:pt x="53093" y="930895"/>
                    </a:cubicBezTo>
                    <a:cubicBezTo>
                      <a:pt x="54518" y="930610"/>
                      <a:pt x="56684" y="932719"/>
                      <a:pt x="57595" y="934600"/>
                    </a:cubicBezTo>
                    <a:cubicBezTo>
                      <a:pt x="58599" y="936332"/>
                      <a:pt x="59129" y="938299"/>
                      <a:pt x="59134" y="940299"/>
                    </a:cubicBezTo>
                    <a:cubicBezTo>
                      <a:pt x="58735" y="944688"/>
                      <a:pt x="53435" y="946853"/>
                      <a:pt x="49103" y="946968"/>
                    </a:cubicBezTo>
                    <a:cubicBezTo>
                      <a:pt x="44726" y="946398"/>
                      <a:pt x="40275" y="946768"/>
                      <a:pt x="36051" y="948050"/>
                    </a:cubicBezTo>
                    <a:cubicBezTo>
                      <a:pt x="35470" y="948307"/>
                      <a:pt x="34991" y="948746"/>
                      <a:pt x="34684" y="949304"/>
                    </a:cubicBezTo>
                    <a:cubicBezTo>
                      <a:pt x="33373" y="951926"/>
                      <a:pt x="39015" y="953408"/>
                      <a:pt x="38901" y="956315"/>
                    </a:cubicBezTo>
                    <a:cubicBezTo>
                      <a:pt x="35994" y="956315"/>
                      <a:pt x="34285" y="960247"/>
                      <a:pt x="35823" y="962812"/>
                    </a:cubicBezTo>
                    <a:cubicBezTo>
                      <a:pt x="37670" y="965194"/>
                      <a:pt x="40503" y="966602"/>
                      <a:pt x="43518" y="966631"/>
                    </a:cubicBezTo>
                    <a:cubicBezTo>
                      <a:pt x="46487" y="966676"/>
                      <a:pt x="49422" y="967252"/>
                      <a:pt x="52181" y="968341"/>
                    </a:cubicBezTo>
                    <a:cubicBezTo>
                      <a:pt x="52415" y="970250"/>
                      <a:pt x="51833" y="972176"/>
                      <a:pt x="50585" y="973641"/>
                    </a:cubicBezTo>
                    <a:cubicBezTo>
                      <a:pt x="46909" y="972039"/>
                      <a:pt x="42617" y="973527"/>
                      <a:pt x="40725" y="977061"/>
                    </a:cubicBezTo>
                    <a:cubicBezTo>
                      <a:pt x="39112" y="980651"/>
                      <a:pt x="40719" y="984863"/>
                      <a:pt x="44310" y="986476"/>
                    </a:cubicBezTo>
                    <a:cubicBezTo>
                      <a:pt x="44384" y="986510"/>
                      <a:pt x="44464" y="986545"/>
                      <a:pt x="44544" y="986579"/>
                    </a:cubicBezTo>
                    <a:cubicBezTo>
                      <a:pt x="48100" y="987645"/>
                      <a:pt x="51850" y="985627"/>
                      <a:pt x="52916" y="982071"/>
                    </a:cubicBezTo>
                    <a:cubicBezTo>
                      <a:pt x="52990" y="981825"/>
                      <a:pt x="53047" y="981580"/>
                      <a:pt x="53093" y="981335"/>
                    </a:cubicBezTo>
                    <a:cubicBezTo>
                      <a:pt x="53042" y="980258"/>
                      <a:pt x="53241" y="979187"/>
                      <a:pt x="53663" y="978201"/>
                    </a:cubicBezTo>
                    <a:cubicBezTo>
                      <a:pt x="54238" y="977562"/>
                      <a:pt x="54962" y="977072"/>
                      <a:pt x="55772" y="976776"/>
                    </a:cubicBezTo>
                    <a:lnTo>
                      <a:pt x="64378" y="973128"/>
                    </a:lnTo>
                    <a:cubicBezTo>
                      <a:pt x="65546" y="968808"/>
                      <a:pt x="63591" y="964248"/>
                      <a:pt x="59647" y="962128"/>
                    </a:cubicBezTo>
                    <a:cubicBezTo>
                      <a:pt x="57253" y="960931"/>
                      <a:pt x="54461" y="960817"/>
                      <a:pt x="52010" y="959734"/>
                    </a:cubicBezTo>
                    <a:cubicBezTo>
                      <a:pt x="49559" y="958651"/>
                      <a:pt x="47393" y="955859"/>
                      <a:pt x="48590" y="953465"/>
                    </a:cubicBezTo>
                    <a:lnTo>
                      <a:pt x="64207" y="950330"/>
                    </a:lnTo>
                    <a:cubicBezTo>
                      <a:pt x="65136" y="949925"/>
                      <a:pt x="66185" y="949925"/>
                      <a:pt x="67114" y="950330"/>
                    </a:cubicBezTo>
                    <a:cubicBezTo>
                      <a:pt x="67855" y="950957"/>
                      <a:pt x="68025" y="952040"/>
                      <a:pt x="68481" y="952895"/>
                    </a:cubicBezTo>
                    <a:cubicBezTo>
                      <a:pt x="70020" y="955631"/>
                      <a:pt x="74181" y="955289"/>
                      <a:pt x="77088" y="955460"/>
                    </a:cubicBezTo>
                    <a:cubicBezTo>
                      <a:pt x="79994" y="955631"/>
                      <a:pt x="84041" y="958537"/>
                      <a:pt x="82217" y="961159"/>
                    </a:cubicBezTo>
                    <a:cubicBezTo>
                      <a:pt x="77851" y="963371"/>
                      <a:pt x="72967" y="964357"/>
                      <a:pt x="68083" y="964009"/>
                    </a:cubicBezTo>
                    <a:cubicBezTo>
                      <a:pt x="68453" y="967959"/>
                      <a:pt x="71958" y="970854"/>
                      <a:pt x="75908" y="970483"/>
                    </a:cubicBezTo>
                    <a:cubicBezTo>
                      <a:pt x="76546" y="970421"/>
                      <a:pt x="77173" y="970278"/>
                      <a:pt x="77772" y="970050"/>
                    </a:cubicBezTo>
                    <a:cubicBezTo>
                      <a:pt x="81305" y="968455"/>
                      <a:pt x="84041" y="963838"/>
                      <a:pt x="87803" y="964921"/>
                    </a:cubicBezTo>
                    <a:cubicBezTo>
                      <a:pt x="91564" y="966004"/>
                      <a:pt x="92533" y="974097"/>
                      <a:pt x="97036" y="973812"/>
                    </a:cubicBezTo>
                    <a:cubicBezTo>
                      <a:pt x="96745" y="969395"/>
                      <a:pt x="98466" y="965080"/>
                      <a:pt x="101709" y="962071"/>
                    </a:cubicBezTo>
                    <a:cubicBezTo>
                      <a:pt x="106668" y="956372"/>
                      <a:pt x="113735" y="951071"/>
                      <a:pt x="121259" y="952325"/>
                    </a:cubicBezTo>
                    <a:cubicBezTo>
                      <a:pt x="120689" y="949983"/>
                      <a:pt x="120689" y="947543"/>
                      <a:pt x="121259" y="945201"/>
                    </a:cubicBezTo>
                    <a:cubicBezTo>
                      <a:pt x="114414" y="942288"/>
                      <a:pt x="106879" y="941399"/>
                      <a:pt x="99544" y="942636"/>
                    </a:cubicBezTo>
                    <a:close/>
                    <a:moveTo>
                      <a:pt x="67285" y="985268"/>
                    </a:moveTo>
                    <a:cubicBezTo>
                      <a:pt x="67267" y="985752"/>
                      <a:pt x="67131" y="986220"/>
                      <a:pt x="66886" y="986636"/>
                    </a:cubicBezTo>
                    <a:cubicBezTo>
                      <a:pt x="65632" y="988574"/>
                      <a:pt x="61756" y="986351"/>
                      <a:pt x="60388" y="988289"/>
                    </a:cubicBezTo>
                    <a:cubicBezTo>
                      <a:pt x="59761" y="989258"/>
                      <a:pt x="60388" y="990512"/>
                      <a:pt x="60388" y="991708"/>
                    </a:cubicBezTo>
                    <a:cubicBezTo>
                      <a:pt x="60331" y="992381"/>
                      <a:pt x="60160" y="993036"/>
                      <a:pt x="59875" y="993646"/>
                    </a:cubicBezTo>
                    <a:cubicBezTo>
                      <a:pt x="58502" y="996576"/>
                      <a:pt x="57630" y="999716"/>
                      <a:pt x="57310" y="1002936"/>
                    </a:cubicBezTo>
                    <a:cubicBezTo>
                      <a:pt x="57048" y="1006219"/>
                      <a:pt x="58655" y="1009377"/>
                      <a:pt x="61471" y="1011087"/>
                    </a:cubicBezTo>
                    <a:cubicBezTo>
                      <a:pt x="63067" y="1011828"/>
                      <a:pt x="65176" y="1012112"/>
                      <a:pt x="65974" y="1013651"/>
                    </a:cubicBezTo>
                    <a:cubicBezTo>
                      <a:pt x="66270" y="1014427"/>
                      <a:pt x="66481" y="1015225"/>
                      <a:pt x="66601" y="1016045"/>
                    </a:cubicBezTo>
                    <a:cubicBezTo>
                      <a:pt x="67136" y="1018046"/>
                      <a:pt x="68823" y="1019533"/>
                      <a:pt x="70875" y="1019807"/>
                    </a:cubicBezTo>
                    <a:cubicBezTo>
                      <a:pt x="71559" y="1019927"/>
                      <a:pt x="72266" y="1019807"/>
                      <a:pt x="72870" y="1019465"/>
                    </a:cubicBezTo>
                    <a:cubicBezTo>
                      <a:pt x="74352" y="1018553"/>
                      <a:pt x="74238" y="1016387"/>
                      <a:pt x="73896" y="1014734"/>
                    </a:cubicBezTo>
                    <a:cubicBezTo>
                      <a:pt x="73109" y="1010870"/>
                      <a:pt x="72061" y="1007063"/>
                      <a:pt x="70761" y="1003335"/>
                    </a:cubicBezTo>
                    <a:cubicBezTo>
                      <a:pt x="72978" y="1002589"/>
                      <a:pt x="75327" y="1002321"/>
                      <a:pt x="77658" y="1002537"/>
                    </a:cubicBezTo>
                    <a:cubicBezTo>
                      <a:pt x="78860" y="1002765"/>
                      <a:pt x="80103" y="1002765"/>
                      <a:pt x="81305" y="1002537"/>
                    </a:cubicBezTo>
                    <a:cubicBezTo>
                      <a:pt x="82519" y="1002264"/>
                      <a:pt x="83357" y="1001158"/>
                      <a:pt x="83300" y="999916"/>
                    </a:cubicBezTo>
                    <a:cubicBezTo>
                      <a:pt x="85175" y="1001067"/>
                      <a:pt x="87637" y="1000480"/>
                      <a:pt x="88789" y="998605"/>
                    </a:cubicBezTo>
                    <a:cubicBezTo>
                      <a:pt x="89267" y="997818"/>
                      <a:pt x="89467" y="996895"/>
                      <a:pt x="89341" y="995983"/>
                    </a:cubicBezTo>
                    <a:cubicBezTo>
                      <a:pt x="89341" y="995242"/>
                      <a:pt x="88886" y="994444"/>
                      <a:pt x="89341" y="993760"/>
                    </a:cubicBezTo>
                    <a:cubicBezTo>
                      <a:pt x="89798" y="993076"/>
                      <a:pt x="90367" y="992848"/>
                      <a:pt x="90994" y="992563"/>
                    </a:cubicBezTo>
                    <a:cubicBezTo>
                      <a:pt x="93001" y="991480"/>
                      <a:pt x="94448" y="989594"/>
                      <a:pt x="94984" y="987377"/>
                    </a:cubicBezTo>
                    <a:cubicBezTo>
                      <a:pt x="95497" y="985194"/>
                      <a:pt x="95725" y="982954"/>
                      <a:pt x="95668" y="980708"/>
                    </a:cubicBezTo>
                    <a:cubicBezTo>
                      <a:pt x="95748" y="979700"/>
                      <a:pt x="95594" y="978685"/>
                      <a:pt x="95212" y="977745"/>
                    </a:cubicBezTo>
                    <a:cubicBezTo>
                      <a:pt x="94072" y="975579"/>
                      <a:pt x="91051" y="975465"/>
                      <a:pt x="88601" y="975636"/>
                    </a:cubicBezTo>
                    <a:cubicBezTo>
                      <a:pt x="87734" y="975630"/>
                      <a:pt x="86874" y="975829"/>
                      <a:pt x="86093" y="976206"/>
                    </a:cubicBezTo>
                    <a:cubicBezTo>
                      <a:pt x="85483" y="976656"/>
                      <a:pt x="84959" y="977215"/>
                      <a:pt x="84554" y="977859"/>
                    </a:cubicBezTo>
                    <a:lnTo>
                      <a:pt x="78854" y="986237"/>
                    </a:lnTo>
                    <a:cubicBezTo>
                      <a:pt x="77487" y="984185"/>
                      <a:pt x="78854" y="981278"/>
                      <a:pt x="77829" y="979113"/>
                    </a:cubicBezTo>
                    <a:cubicBezTo>
                      <a:pt x="76352" y="976998"/>
                      <a:pt x="73440" y="976479"/>
                      <a:pt x="71320" y="977956"/>
                    </a:cubicBezTo>
                    <a:cubicBezTo>
                      <a:pt x="71189" y="978047"/>
                      <a:pt x="71058" y="978149"/>
                      <a:pt x="70932" y="978258"/>
                    </a:cubicBezTo>
                    <a:cubicBezTo>
                      <a:pt x="68920" y="980087"/>
                      <a:pt x="67626" y="982572"/>
                      <a:pt x="67285" y="985268"/>
                    </a:cubicBezTo>
                    <a:close/>
                    <a:moveTo>
                      <a:pt x="142347" y="1009377"/>
                    </a:moveTo>
                    <a:cubicBezTo>
                      <a:pt x="141663" y="1002253"/>
                      <a:pt x="140979" y="995128"/>
                      <a:pt x="140352" y="988004"/>
                    </a:cubicBezTo>
                    <a:cubicBezTo>
                      <a:pt x="139394" y="979278"/>
                      <a:pt x="138921" y="970506"/>
                      <a:pt x="138927" y="961729"/>
                    </a:cubicBezTo>
                    <a:cubicBezTo>
                      <a:pt x="136214" y="961701"/>
                      <a:pt x="133512" y="961473"/>
                      <a:pt x="130834" y="961045"/>
                    </a:cubicBezTo>
                    <a:cubicBezTo>
                      <a:pt x="130361" y="960965"/>
                      <a:pt x="129927" y="960749"/>
                      <a:pt x="129580" y="960418"/>
                    </a:cubicBezTo>
                    <a:cubicBezTo>
                      <a:pt x="129010" y="959791"/>
                      <a:pt x="129124" y="958879"/>
                      <a:pt x="128953" y="958082"/>
                    </a:cubicBezTo>
                    <a:cubicBezTo>
                      <a:pt x="128366" y="956218"/>
                      <a:pt x="126382" y="955186"/>
                      <a:pt x="124519" y="955773"/>
                    </a:cubicBezTo>
                    <a:cubicBezTo>
                      <a:pt x="124051" y="955921"/>
                      <a:pt x="123624" y="956161"/>
                      <a:pt x="123253" y="956486"/>
                    </a:cubicBezTo>
                    <a:cubicBezTo>
                      <a:pt x="120974" y="958936"/>
                      <a:pt x="123253" y="963154"/>
                      <a:pt x="121714" y="966118"/>
                    </a:cubicBezTo>
                    <a:cubicBezTo>
                      <a:pt x="120176" y="969082"/>
                      <a:pt x="116471" y="969139"/>
                      <a:pt x="113279" y="969309"/>
                    </a:cubicBezTo>
                    <a:cubicBezTo>
                      <a:pt x="110088" y="969481"/>
                      <a:pt x="106212" y="970621"/>
                      <a:pt x="105927" y="973755"/>
                    </a:cubicBezTo>
                    <a:cubicBezTo>
                      <a:pt x="106098" y="974661"/>
                      <a:pt x="106098" y="975585"/>
                      <a:pt x="105927" y="976491"/>
                    </a:cubicBezTo>
                    <a:cubicBezTo>
                      <a:pt x="105357" y="977745"/>
                      <a:pt x="103647" y="978030"/>
                      <a:pt x="102792" y="979113"/>
                    </a:cubicBezTo>
                    <a:cubicBezTo>
                      <a:pt x="101937" y="980196"/>
                      <a:pt x="102792" y="983159"/>
                      <a:pt x="104274" y="984812"/>
                    </a:cubicBezTo>
                    <a:cubicBezTo>
                      <a:pt x="105756" y="986465"/>
                      <a:pt x="108207" y="988859"/>
                      <a:pt x="110657" y="988061"/>
                    </a:cubicBezTo>
                    <a:cubicBezTo>
                      <a:pt x="111826" y="987394"/>
                      <a:pt x="112949" y="986653"/>
                      <a:pt x="114020" y="985838"/>
                    </a:cubicBezTo>
                    <a:cubicBezTo>
                      <a:pt x="117839" y="983843"/>
                      <a:pt x="122399" y="988346"/>
                      <a:pt x="126616" y="987263"/>
                    </a:cubicBezTo>
                    <a:cubicBezTo>
                      <a:pt x="128383" y="986750"/>
                      <a:pt x="130663" y="985439"/>
                      <a:pt x="131746" y="986978"/>
                    </a:cubicBezTo>
                    <a:cubicBezTo>
                      <a:pt x="132258" y="987839"/>
                      <a:pt x="132258" y="988910"/>
                      <a:pt x="131746" y="989771"/>
                    </a:cubicBezTo>
                    <a:cubicBezTo>
                      <a:pt x="128548" y="993766"/>
                      <a:pt x="123800" y="996211"/>
                      <a:pt x="118694" y="996496"/>
                    </a:cubicBezTo>
                    <a:lnTo>
                      <a:pt x="118694" y="999232"/>
                    </a:lnTo>
                    <a:cubicBezTo>
                      <a:pt x="120233" y="999226"/>
                      <a:pt x="121509" y="1000429"/>
                      <a:pt x="121601" y="1001968"/>
                    </a:cubicBezTo>
                    <a:cubicBezTo>
                      <a:pt x="121543" y="1003501"/>
                      <a:pt x="120546" y="1004834"/>
                      <a:pt x="119093" y="1005330"/>
                    </a:cubicBezTo>
                    <a:cubicBezTo>
                      <a:pt x="118358" y="1005438"/>
                      <a:pt x="117657" y="1005712"/>
                      <a:pt x="117041" y="1006128"/>
                    </a:cubicBezTo>
                    <a:cubicBezTo>
                      <a:pt x="115217" y="1007838"/>
                      <a:pt x="118694" y="1010973"/>
                      <a:pt x="117554" y="1013195"/>
                    </a:cubicBezTo>
                    <a:cubicBezTo>
                      <a:pt x="116722" y="1014381"/>
                      <a:pt x="115172" y="1014808"/>
                      <a:pt x="113849" y="1014221"/>
                    </a:cubicBezTo>
                    <a:cubicBezTo>
                      <a:pt x="112538" y="1013709"/>
                      <a:pt x="111455" y="1012853"/>
                      <a:pt x="110088" y="1012397"/>
                    </a:cubicBezTo>
                    <a:cubicBezTo>
                      <a:pt x="107888" y="1012198"/>
                      <a:pt x="105676" y="1012198"/>
                      <a:pt x="103476" y="1012397"/>
                    </a:cubicBezTo>
                    <a:cubicBezTo>
                      <a:pt x="100923" y="1011771"/>
                      <a:pt x="98444" y="1010893"/>
                      <a:pt x="96067" y="1009776"/>
                    </a:cubicBezTo>
                    <a:cubicBezTo>
                      <a:pt x="93605" y="1008573"/>
                      <a:pt x="90641" y="1009291"/>
                      <a:pt x="89000" y="1011486"/>
                    </a:cubicBezTo>
                    <a:cubicBezTo>
                      <a:pt x="88373" y="1012682"/>
                      <a:pt x="88430" y="1014050"/>
                      <a:pt x="87803" y="1015247"/>
                    </a:cubicBezTo>
                    <a:cubicBezTo>
                      <a:pt x="86606" y="1017641"/>
                      <a:pt x="83585" y="1018154"/>
                      <a:pt x="80963" y="1018667"/>
                    </a:cubicBezTo>
                    <a:cubicBezTo>
                      <a:pt x="78342" y="1019180"/>
                      <a:pt x="75264" y="1020605"/>
                      <a:pt x="75264" y="1023284"/>
                    </a:cubicBezTo>
                    <a:cubicBezTo>
                      <a:pt x="75264" y="1025962"/>
                      <a:pt x="79367" y="1027843"/>
                      <a:pt x="82616" y="1028071"/>
                    </a:cubicBezTo>
                    <a:lnTo>
                      <a:pt x="95155" y="1029097"/>
                    </a:lnTo>
                    <a:cubicBezTo>
                      <a:pt x="95810" y="1029097"/>
                      <a:pt x="96455" y="1029256"/>
                      <a:pt x="97036" y="1029553"/>
                    </a:cubicBezTo>
                    <a:cubicBezTo>
                      <a:pt x="98233" y="1030294"/>
                      <a:pt x="98404" y="1031890"/>
                      <a:pt x="98632" y="1033315"/>
                    </a:cubicBezTo>
                    <a:cubicBezTo>
                      <a:pt x="98928" y="1035292"/>
                      <a:pt x="99527" y="1037213"/>
                      <a:pt x="100398" y="1039014"/>
                    </a:cubicBezTo>
                    <a:cubicBezTo>
                      <a:pt x="101538" y="1041351"/>
                      <a:pt x="103761" y="1043744"/>
                      <a:pt x="106098" y="1043118"/>
                    </a:cubicBezTo>
                    <a:cubicBezTo>
                      <a:pt x="108212" y="1042263"/>
                      <a:pt x="109546" y="1040154"/>
                      <a:pt x="109404" y="1037874"/>
                    </a:cubicBezTo>
                    <a:cubicBezTo>
                      <a:pt x="109193" y="1035657"/>
                      <a:pt x="109102" y="1033434"/>
                      <a:pt x="109119" y="1031206"/>
                    </a:cubicBezTo>
                    <a:cubicBezTo>
                      <a:pt x="109404" y="1029040"/>
                      <a:pt x="111113" y="1026703"/>
                      <a:pt x="113279" y="1026874"/>
                    </a:cubicBezTo>
                    <a:cubicBezTo>
                      <a:pt x="115109" y="1028670"/>
                      <a:pt x="116101" y="1031154"/>
                      <a:pt x="116015" y="1033713"/>
                    </a:cubicBezTo>
                    <a:cubicBezTo>
                      <a:pt x="115918" y="1036227"/>
                      <a:pt x="116163" y="1038735"/>
                      <a:pt x="116756" y="1041180"/>
                    </a:cubicBezTo>
                    <a:cubicBezTo>
                      <a:pt x="117446" y="1043739"/>
                      <a:pt x="119805" y="1045489"/>
                      <a:pt x="122455" y="1045398"/>
                    </a:cubicBezTo>
                    <a:cubicBezTo>
                      <a:pt x="121281" y="1046674"/>
                      <a:pt x="120609" y="1048338"/>
                      <a:pt x="120575" y="1050071"/>
                    </a:cubicBezTo>
                    <a:lnTo>
                      <a:pt x="131062" y="1052579"/>
                    </a:lnTo>
                    <a:lnTo>
                      <a:pt x="131575" y="1039641"/>
                    </a:lnTo>
                    <a:cubicBezTo>
                      <a:pt x="133239" y="1038621"/>
                      <a:pt x="135416" y="1039145"/>
                      <a:pt x="136436" y="1040809"/>
                    </a:cubicBezTo>
                    <a:cubicBezTo>
                      <a:pt x="136704" y="1041248"/>
                      <a:pt x="136875" y="1041750"/>
                      <a:pt x="136932" y="1042263"/>
                    </a:cubicBezTo>
                    <a:cubicBezTo>
                      <a:pt x="136790" y="1042861"/>
                      <a:pt x="136790" y="1043488"/>
                      <a:pt x="136932" y="1044086"/>
                    </a:cubicBezTo>
                    <a:cubicBezTo>
                      <a:pt x="137787" y="1046765"/>
                      <a:pt x="143031" y="1043574"/>
                      <a:pt x="144512" y="1046024"/>
                    </a:cubicBezTo>
                    <a:cubicBezTo>
                      <a:pt x="144763" y="1046640"/>
                      <a:pt x="144900" y="1047295"/>
                      <a:pt x="144911" y="1047962"/>
                    </a:cubicBezTo>
                    <a:cubicBezTo>
                      <a:pt x="145436" y="1050282"/>
                      <a:pt x="147345" y="1052032"/>
                      <a:pt x="149699" y="1052351"/>
                    </a:cubicBezTo>
                    <a:cubicBezTo>
                      <a:pt x="152002" y="1052704"/>
                      <a:pt x="154350" y="1052568"/>
                      <a:pt x="156595" y="1051952"/>
                    </a:cubicBezTo>
                    <a:cubicBezTo>
                      <a:pt x="157724" y="1052026"/>
                      <a:pt x="158704" y="1051165"/>
                      <a:pt x="158772" y="1050037"/>
                    </a:cubicBezTo>
                    <a:cubicBezTo>
                      <a:pt x="158801" y="1049655"/>
                      <a:pt x="158715" y="1049267"/>
                      <a:pt x="158533" y="1048931"/>
                    </a:cubicBezTo>
                    <a:cubicBezTo>
                      <a:pt x="158134" y="1047421"/>
                      <a:pt x="157638" y="1045933"/>
                      <a:pt x="157051" y="1044485"/>
                    </a:cubicBezTo>
                    <a:cubicBezTo>
                      <a:pt x="151198" y="1036939"/>
                      <a:pt x="146826" y="1028356"/>
                      <a:pt x="144170" y="1019180"/>
                    </a:cubicBezTo>
                    <a:cubicBezTo>
                      <a:pt x="143276" y="1015965"/>
                      <a:pt x="142609" y="1012688"/>
                      <a:pt x="142176" y="100937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2" name="Freihandform: Form 308">
                <a:extLst>
                  <a:ext uri="{FF2B5EF4-FFF2-40B4-BE49-F238E27FC236}">
                    <a16:creationId xmlns:a16="http://schemas.microsoft.com/office/drawing/2014/main" id="{7CF37835-E70E-1907-A0FB-F38FB07F2474}"/>
                  </a:ext>
                </a:extLst>
              </p:cNvPr>
              <p:cNvSpPr/>
              <p:nvPr/>
            </p:nvSpPr>
            <p:spPr>
              <a:xfrm>
                <a:off x="4340931" y="4950857"/>
                <a:ext cx="51218" cy="54407"/>
              </a:xfrm>
              <a:custGeom>
                <a:avLst/>
                <a:gdLst>
                  <a:gd name="connsiteX0" fmla="*/ 46983 w 51218"/>
                  <a:gd name="connsiteY0" fmla="*/ 9196 h 54407"/>
                  <a:gd name="connsiteX1" fmla="*/ 51029 w 51218"/>
                  <a:gd name="connsiteY1" fmla="*/ 24813 h 54407"/>
                  <a:gd name="connsiteX2" fmla="*/ 49661 w 51218"/>
                  <a:gd name="connsiteY2" fmla="*/ 30512 h 54407"/>
                  <a:gd name="connsiteX3" fmla="*/ 42708 w 51218"/>
                  <a:gd name="connsiteY3" fmla="*/ 33761 h 54407"/>
                  <a:gd name="connsiteX4" fmla="*/ 33931 w 51218"/>
                  <a:gd name="connsiteY4" fmla="*/ 40315 h 54407"/>
                  <a:gd name="connsiteX5" fmla="*/ 28630 w 51218"/>
                  <a:gd name="connsiteY5" fmla="*/ 41626 h 54407"/>
                  <a:gd name="connsiteX6" fmla="*/ 27661 w 51218"/>
                  <a:gd name="connsiteY6" fmla="*/ 43849 h 54407"/>
                  <a:gd name="connsiteX7" fmla="*/ 25154 w 51218"/>
                  <a:gd name="connsiteY7" fmla="*/ 54393 h 54407"/>
                  <a:gd name="connsiteX8" fmla="*/ 17231 w 51218"/>
                  <a:gd name="connsiteY8" fmla="*/ 52740 h 54407"/>
                  <a:gd name="connsiteX9" fmla="*/ 12216 w 51218"/>
                  <a:gd name="connsiteY9" fmla="*/ 48978 h 54407"/>
                  <a:gd name="connsiteX10" fmla="*/ 4749 w 51218"/>
                  <a:gd name="connsiteY10" fmla="*/ 42367 h 54407"/>
                  <a:gd name="connsiteX11" fmla="*/ 304 w 51218"/>
                  <a:gd name="connsiteY11" fmla="*/ 32792 h 54407"/>
                  <a:gd name="connsiteX12" fmla="*/ 11703 w 51218"/>
                  <a:gd name="connsiteY12" fmla="*/ 26123 h 54407"/>
                  <a:gd name="connsiteX13" fmla="*/ 10386 w 51218"/>
                  <a:gd name="connsiteY13" fmla="*/ 18173 h 54407"/>
                  <a:gd name="connsiteX14" fmla="*/ 11988 w 51218"/>
                  <a:gd name="connsiteY14" fmla="*/ 16662 h 54407"/>
                  <a:gd name="connsiteX15" fmla="*/ 15350 w 51218"/>
                  <a:gd name="connsiteY15" fmla="*/ 15066 h 54407"/>
                  <a:gd name="connsiteX16" fmla="*/ 16376 w 51218"/>
                  <a:gd name="connsiteY16" fmla="*/ 8170 h 54407"/>
                  <a:gd name="connsiteX17" fmla="*/ 27091 w 51218"/>
                  <a:gd name="connsiteY17" fmla="*/ 419 h 54407"/>
                  <a:gd name="connsiteX18" fmla="*/ 31480 w 51218"/>
                  <a:gd name="connsiteY18" fmla="*/ 77 h 54407"/>
                  <a:gd name="connsiteX19" fmla="*/ 36667 w 51218"/>
                  <a:gd name="connsiteY19" fmla="*/ 3155 h 54407"/>
                  <a:gd name="connsiteX20" fmla="*/ 46983 w 51218"/>
                  <a:gd name="connsiteY20" fmla="*/ 9196 h 5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218" h="54407">
                    <a:moveTo>
                      <a:pt x="46983" y="9196"/>
                    </a:moveTo>
                    <a:cubicBezTo>
                      <a:pt x="50323" y="13676"/>
                      <a:pt x="51770" y="19278"/>
                      <a:pt x="51029" y="24813"/>
                    </a:cubicBezTo>
                    <a:cubicBezTo>
                      <a:pt x="51257" y="26813"/>
                      <a:pt x="50773" y="28831"/>
                      <a:pt x="49661" y="30512"/>
                    </a:cubicBezTo>
                    <a:cubicBezTo>
                      <a:pt x="48009" y="32507"/>
                      <a:pt x="44988" y="32507"/>
                      <a:pt x="42708" y="33761"/>
                    </a:cubicBezTo>
                    <a:cubicBezTo>
                      <a:pt x="39402" y="35471"/>
                      <a:pt x="37521" y="39460"/>
                      <a:pt x="33931" y="40315"/>
                    </a:cubicBezTo>
                    <a:cubicBezTo>
                      <a:pt x="32107" y="40714"/>
                      <a:pt x="29884" y="40315"/>
                      <a:pt x="28630" y="41626"/>
                    </a:cubicBezTo>
                    <a:cubicBezTo>
                      <a:pt x="28106" y="42259"/>
                      <a:pt x="27770" y="43034"/>
                      <a:pt x="27661" y="43849"/>
                    </a:cubicBezTo>
                    <a:cubicBezTo>
                      <a:pt x="26806" y="47383"/>
                      <a:pt x="26008" y="50859"/>
                      <a:pt x="25154" y="54393"/>
                    </a:cubicBezTo>
                    <a:cubicBezTo>
                      <a:pt x="22418" y="54507"/>
                      <a:pt x="19694" y="53937"/>
                      <a:pt x="17231" y="52740"/>
                    </a:cubicBezTo>
                    <a:cubicBezTo>
                      <a:pt x="15407" y="51703"/>
                      <a:pt x="13726" y="50437"/>
                      <a:pt x="12216" y="48978"/>
                    </a:cubicBezTo>
                    <a:lnTo>
                      <a:pt x="4749" y="42367"/>
                    </a:lnTo>
                    <a:cubicBezTo>
                      <a:pt x="1900" y="39859"/>
                      <a:pt x="-950" y="36269"/>
                      <a:pt x="304" y="32792"/>
                    </a:cubicBezTo>
                    <a:cubicBezTo>
                      <a:pt x="4430" y="31185"/>
                      <a:pt x="8278" y="28934"/>
                      <a:pt x="11703" y="26123"/>
                    </a:cubicBezTo>
                    <a:cubicBezTo>
                      <a:pt x="9144" y="24294"/>
                      <a:pt x="8551" y="20732"/>
                      <a:pt x="10386" y="18173"/>
                    </a:cubicBezTo>
                    <a:cubicBezTo>
                      <a:pt x="10814" y="17569"/>
                      <a:pt x="11361" y="17056"/>
                      <a:pt x="11988" y="16662"/>
                    </a:cubicBezTo>
                    <a:cubicBezTo>
                      <a:pt x="13179" y="16292"/>
                      <a:pt x="14313" y="15756"/>
                      <a:pt x="15350" y="15066"/>
                    </a:cubicBezTo>
                    <a:cubicBezTo>
                      <a:pt x="17061" y="13414"/>
                      <a:pt x="16091" y="10507"/>
                      <a:pt x="16376" y="8170"/>
                    </a:cubicBezTo>
                    <a:cubicBezTo>
                      <a:pt x="17061" y="3497"/>
                      <a:pt x="22532" y="1502"/>
                      <a:pt x="27091" y="419"/>
                    </a:cubicBezTo>
                    <a:cubicBezTo>
                      <a:pt x="28516" y="20"/>
                      <a:pt x="30010" y="-94"/>
                      <a:pt x="31480" y="77"/>
                    </a:cubicBezTo>
                    <a:cubicBezTo>
                      <a:pt x="33406" y="721"/>
                      <a:pt x="35179" y="1770"/>
                      <a:pt x="36667" y="3155"/>
                    </a:cubicBezTo>
                    <a:cubicBezTo>
                      <a:pt x="40297" y="4819"/>
                      <a:pt x="43757" y="6842"/>
                      <a:pt x="46983" y="91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3" name="Freihandform: Form 309">
                <a:extLst>
                  <a:ext uri="{FF2B5EF4-FFF2-40B4-BE49-F238E27FC236}">
                    <a16:creationId xmlns:a16="http://schemas.microsoft.com/office/drawing/2014/main" id="{099E0FDD-2292-805A-FF9E-D6FDA368AAF4}"/>
                  </a:ext>
                </a:extLst>
              </p:cNvPr>
              <p:cNvSpPr/>
              <p:nvPr/>
            </p:nvSpPr>
            <p:spPr>
              <a:xfrm>
                <a:off x="4427070" y="4878942"/>
                <a:ext cx="25240" cy="34936"/>
              </a:xfrm>
              <a:custGeom>
                <a:avLst/>
                <a:gdLst>
                  <a:gd name="connsiteX0" fmla="*/ 24109 w 25240"/>
                  <a:gd name="connsiteY0" fmla="*/ 11236 h 34936"/>
                  <a:gd name="connsiteX1" fmla="*/ 22798 w 25240"/>
                  <a:gd name="connsiteY1" fmla="*/ 30729 h 34936"/>
                  <a:gd name="connsiteX2" fmla="*/ 20404 w 25240"/>
                  <a:gd name="connsiteY2" fmla="*/ 33977 h 34936"/>
                  <a:gd name="connsiteX3" fmla="*/ 15559 w 25240"/>
                  <a:gd name="connsiteY3" fmla="*/ 34889 h 34936"/>
                  <a:gd name="connsiteX4" fmla="*/ 10373 w 25240"/>
                  <a:gd name="connsiteY4" fmla="*/ 34034 h 34936"/>
                  <a:gd name="connsiteX5" fmla="*/ 5300 w 25240"/>
                  <a:gd name="connsiteY5" fmla="*/ 28335 h 34936"/>
                  <a:gd name="connsiteX6" fmla="*/ 0 w 25240"/>
                  <a:gd name="connsiteY6" fmla="*/ 13915 h 34936"/>
                  <a:gd name="connsiteX7" fmla="*/ 1311 w 25240"/>
                  <a:gd name="connsiteY7" fmla="*/ 7760 h 34936"/>
                  <a:gd name="connsiteX8" fmla="*/ 7352 w 25240"/>
                  <a:gd name="connsiteY8" fmla="*/ 407 h 34936"/>
                  <a:gd name="connsiteX9" fmla="*/ 10658 w 25240"/>
                  <a:gd name="connsiteY9" fmla="*/ 9 h 34936"/>
                  <a:gd name="connsiteX10" fmla="*/ 15445 w 25240"/>
                  <a:gd name="connsiteY10" fmla="*/ 749 h 34936"/>
                  <a:gd name="connsiteX11" fmla="*/ 24109 w 25240"/>
                  <a:gd name="connsiteY11" fmla="*/ 11236 h 3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40" h="34936">
                    <a:moveTo>
                      <a:pt x="24109" y="11236"/>
                    </a:moveTo>
                    <a:cubicBezTo>
                      <a:pt x="25984" y="17682"/>
                      <a:pt x="25516" y="24590"/>
                      <a:pt x="22798" y="30729"/>
                    </a:cubicBezTo>
                    <a:cubicBezTo>
                      <a:pt x="22325" y="32017"/>
                      <a:pt x="21493" y="33145"/>
                      <a:pt x="20404" y="33977"/>
                    </a:cubicBezTo>
                    <a:cubicBezTo>
                      <a:pt x="18911" y="34747"/>
                      <a:pt x="17229" y="35066"/>
                      <a:pt x="15559" y="34889"/>
                    </a:cubicBezTo>
                    <a:cubicBezTo>
                      <a:pt x="13787" y="34981"/>
                      <a:pt x="12020" y="34690"/>
                      <a:pt x="10373" y="34034"/>
                    </a:cubicBezTo>
                    <a:cubicBezTo>
                      <a:pt x="8133" y="32707"/>
                      <a:pt x="6360" y="30712"/>
                      <a:pt x="5300" y="28335"/>
                    </a:cubicBezTo>
                    <a:cubicBezTo>
                      <a:pt x="2171" y="24146"/>
                      <a:pt x="330" y="19136"/>
                      <a:pt x="0" y="13915"/>
                    </a:cubicBezTo>
                    <a:cubicBezTo>
                      <a:pt x="125" y="11806"/>
                      <a:pt x="564" y="9732"/>
                      <a:pt x="1311" y="7760"/>
                    </a:cubicBezTo>
                    <a:cubicBezTo>
                      <a:pt x="2092" y="4511"/>
                      <a:pt x="4320" y="1798"/>
                      <a:pt x="7352" y="407"/>
                    </a:cubicBezTo>
                    <a:cubicBezTo>
                      <a:pt x="8424" y="100"/>
                      <a:pt x="9541" y="-37"/>
                      <a:pt x="10658" y="9"/>
                    </a:cubicBezTo>
                    <a:cubicBezTo>
                      <a:pt x="12282" y="26"/>
                      <a:pt x="13895" y="277"/>
                      <a:pt x="15445" y="749"/>
                    </a:cubicBezTo>
                    <a:cubicBezTo>
                      <a:pt x="19834" y="2670"/>
                      <a:pt x="23049" y="6563"/>
                      <a:pt x="24109" y="1123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4" name="Freihandform: Form 310">
                <a:extLst>
                  <a:ext uri="{FF2B5EF4-FFF2-40B4-BE49-F238E27FC236}">
                    <a16:creationId xmlns:a16="http://schemas.microsoft.com/office/drawing/2014/main" id="{55BAD1AE-323D-CF5D-5DB0-0042767E5ABE}"/>
                  </a:ext>
                </a:extLst>
              </p:cNvPr>
              <p:cNvSpPr/>
              <p:nvPr/>
            </p:nvSpPr>
            <p:spPr>
              <a:xfrm>
                <a:off x="4130248" y="4788272"/>
                <a:ext cx="328623" cy="330093"/>
              </a:xfrm>
              <a:custGeom>
                <a:avLst/>
                <a:gdLst>
                  <a:gd name="connsiteX0" fmla="*/ 318593 w 328623"/>
                  <a:gd name="connsiteY0" fmla="*/ 127212 h 330093"/>
                  <a:gd name="connsiteX1" fmla="*/ 317339 w 328623"/>
                  <a:gd name="connsiteY1" fmla="*/ 124476 h 330093"/>
                  <a:gd name="connsiteX2" fmla="*/ 317339 w 328623"/>
                  <a:gd name="connsiteY2" fmla="*/ 124476 h 330093"/>
                  <a:gd name="connsiteX3" fmla="*/ 312495 w 328623"/>
                  <a:gd name="connsiteY3" fmla="*/ 125388 h 330093"/>
                  <a:gd name="connsiteX4" fmla="*/ 307308 w 328623"/>
                  <a:gd name="connsiteY4" fmla="*/ 124533 h 330093"/>
                  <a:gd name="connsiteX5" fmla="*/ 302235 w 328623"/>
                  <a:gd name="connsiteY5" fmla="*/ 118833 h 330093"/>
                  <a:gd name="connsiteX6" fmla="*/ 296935 w 328623"/>
                  <a:gd name="connsiteY6" fmla="*/ 104414 h 330093"/>
                  <a:gd name="connsiteX7" fmla="*/ 298246 w 328623"/>
                  <a:gd name="connsiteY7" fmla="*/ 98258 h 330093"/>
                  <a:gd name="connsiteX8" fmla="*/ 304173 w 328623"/>
                  <a:gd name="connsiteY8" fmla="*/ 91077 h 330093"/>
                  <a:gd name="connsiteX9" fmla="*/ 307479 w 328623"/>
                  <a:gd name="connsiteY9" fmla="*/ 90678 h 330093"/>
                  <a:gd name="connsiteX10" fmla="*/ 312266 w 328623"/>
                  <a:gd name="connsiteY10" fmla="*/ 91419 h 330093"/>
                  <a:gd name="connsiteX11" fmla="*/ 316085 w 328623"/>
                  <a:gd name="connsiteY11" fmla="*/ 93870 h 330093"/>
                  <a:gd name="connsiteX12" fmla="*/ 322298 w 328623"/>
                  <a:gd name="connsiteY12" fmla="*/ 49414 h 330093"/>
                  <a:gd name="connsiteX13" fmla="*/ 307878 w 328623"/>
                  <a:gd name="connsiteY13" fmla="*/ 12880 h 330093"/>
                  <a:gd name="connsiteX14" fmla="*/ 271458 w 328623"/>
                  <a:gd name="connsiteY14" fmla="*/ 569 h 330093"/>
                  <a:gd name="connsiteX15" fmla="*/ 253049 w 328623"/>
                  <a:gd name="connsiteY15" fmla="*/ 8264 h 330093"/>
                  <a:gd name="connsiteX16" fmla="*/ 227402 w 328623"/>
                  <a:gd name="connsiteY16" fmla="*/ 21942 h 330093"/>
                  <a:gd name="connsiteX17" fmla="*/ 224723 w 328623"/>
                  <a:gd name="connsiteY17" fmla="*/ 23709 h 330093"/>
                  <a:gd name="connsiteX18" fmla="*/ 222101 w 328623"/>
                  <a:gd name="connsiteY18" fmla="*/ 28383 h 330093"/>
                  <a:gd name="connsiteX19" fmla="*/ 196225 w 328623"/>
                  <a:gd name="connsiteY19" fmla="*/ 58248 h 330093"/>
                  <a:gd name="connsiteX20" fmla="*/ 188759 w 328623"/>
                  <a:gd name="connsiteY20" fmla="*/ 63606 h 330093"/>
                  <a:gd name="connsiteX21" fmla="*/ 184427 w 328623"/>
                  <a:gd name="connsiteY21" fmla="*/ 75005 h 330093"/>
                  <a:gd name="connsiteX22" fmla="*/ 152670 w 328623"/>
                  <a:gd name="connsiteY22" fmla="*/ 88267 h 330093"/>
                  <a:gd name="connsiteX23" fmla="*/ 151427 w 328623"/>
                  <a:gd name="connsiteY23" fmla="*/ 87714 h 330093"/>
                  <a:gd name="connsiteX24" fmla="*/ 132106 w 328623"/>
                  <a:gd name="connsiteY24" fmla="*/ 80191 h 330093"/>
                  <a:gd name="connsiteX25" fmla="*/ 116832 w 328623"/>
                  <a:gd name="connsiteY25" fmla="*/ 101393 h 330093"/>
                  <a:gd name="connsiteX26" fmla="*/ 109764 w 328623"/>
                  <a:gd name="connsiteY26" fmla="*/ 105269 h 330093"/>
                  <a:gd name="connsiteX27" fmla="*/ 107370 w 328623"/>
                  <a:gd name="connsiteY27" fmla="*/ 110968 h 330093"/>
                  <a:gd name="connsiteX28" fmla="*/ 84572 w 328623"/>
                  <a:gd name="connsiteY28" fmla="*/ 120600 h 330093"/>
                  <a:gd name="connsiteX29" fmla="*/ 83319 w 328623"/>
                  <a:gd name="connsiteY29" fmla="*/ 120201 h 330093"/>
                  <a:gd name="connsiteX30" fmla="*/ 83319 w 328623"/>
                  <a:gd name="connsiteY30" fmla="*/ 120201 h 330093"/>
                  <a:gd name="connsiteX31" fmla="*/ 82977 w 328623"/>
                  <a:gd name="connsiteY31" fmla="*/ 116212 h 330093"/>
                  <a:gd name="connsiteX32" fmla="*/ 82977 w 328623"/>
                  <a:gd name="connsiteY32" fmla="*/ 88398 h 330093"/>
                  <a:gd name="connsiteX33" fmla="*/ 61319 w 328623"/>
                  <a:gd name="connsiteY33" fmla="*/ 70787 h 330093"/>
                  <a:gd name="connsiteX34" fmla="*/ 59381 w 328623"/>
                  <a:gd name="connsiteY34" fmla="*/ 125274 h 330093"/>
                  <a:gd name="connsiteX35" fmla="*/ 61661 w 328623"/>
                  <a:gd name="connsiteY35" fmla="*/ 139864 h 330093"/>
                  <a:gd name="connsiteX36" fmla="*/ 62687 w 328623"/>
                  <a:gd name="connsiteY36" fmla="*/ 154284 h 330093"/>
                  <a:gd name="connsiteX37" fmla="*/ 63884 w 328623"/>
                  <a:gd name="connsiteY37" fmla="*/ 150124 h 330093"/>
                  <a:gd name="connsiteX38" fmla="*/ 52485 w 328623"/>
                  <a:gd name="connsiteY38" fmla="*/ 171839 h 330093"/>
                  <a:gd name="connsiteX39" fmla="*/ 25127 w 328623"/>
                  <a:gd name="connsiteY39" fmla="*/ 173377 h 330093"/>
                  <a:gd name="connsiteX40" fmla="*/ 8485 w 328623"/>
                  <a:gd name="connsiteY40" fmla="*/ 161124 h 330093"/>
                  <a:gd name="connsiteX41" fmla="*/ 107 w 328623"/>
                  <a:gd name="connsiteY41" fmla="*/ 174916 h 330093"/>
                  <a:gd name="connsiteX42" fmla="*/ 7231 w 328623"/>
                  <a:gd name="connsiteY42" fmla="*/ 185403 h 330093"/>
                  <a:gd name="connsiteX43" fmla="*/ 11733 w 328623"/>
                  <a:gd name="connsiteY43" fmla="*/ 228947 h 330093"/>
                  <a:gd name="connsiteX44" fmla="*/ 29402 w 328623"/>
                  <a:gd name="connsiteY44" fmla="*/ 250092 h 330093"/>
                  <a:gd name="connsiteX45" fmla="*/ 28547 w 328623"/>
                  <a:gd name="connsiteY45" fmla="*/ 261035 h 330093"/>
                  <a:gd name="connsiteX46" fmla="*/ 44049 w 328623"/>
                  <a:gd name="connsiteY46" fmla="*/ 313755 h 330093"/>
                  <a:gd name="connsiteX47" fmla="*/ 52827 w 328623"/>
                  <a:gd name="connsiteY47" fmla="*/ 323672 h 330093"/>
                  <a:gd name="connsiteX48" fmla="*/ 57101 w 328623"/>
                  <a:gd name="connsiteY48" fmla="*/ 329030 h 330093"/>
                  <a:gd name="connsiteX49" fmla="*/ 71635 w 328623"/>
                  <a:gd name="connsiteY49" fmla="*/ 325211 h 330093"/>
                  <a:gd name="connsiteX50" fmla="*/ 154334 w 328623"/>
                  <a:gd name="connsiteY50" fmla="*/ 300419 h 330093"/>
                  <a:gd name="connsiteX51" fmla="*/ 245013 w 328623"/>
                  <a:gd name="connsiteY51" fmla="*/ 261320 h 330093"/>
                  <a:gd name="connsiteX52" fmla="*/ 261256 w 328623"/>
                  <a:gd name="connsiteY52" fmla="*/ 247470 h 330093"/>
                  <a:gd name="connsiteX53" fmla="*/ 276645 w 328623"/>
                  <a:gd name="connsiteY53" fmla="*/ 193269 h 330093"/>
                  <a:gd name="connsiteX54" fmla="*/ 278526 w 328623"/>
                  <a:gd name="connsiteY54" fmla="*/ 183522 h 330093"/>
                  <a:gd name="connsiteX55" fmla="*/ 285251 w 328623"/>
                  <a:gd name="connsiteY55" fmla="*/ 175999 h 330093"/>
                  <a:gd name="connsiteX56" fmla="*/ 317567 w 328623"/>
                  <a:gd name="connsiteY56" fmla="*/ 148755 h 330093"/>
                  <a:gd name="connsiteX57" fmla="*/ 328624 w 328623"/>
                  <a:gd name="connsiteY57" fmla="*/ 138383 h 330093"/>
                  <a:gd name="connsiteX58" fmla="*/ 318593 w 328623"/>
                  <a:gd name="connsiteY58" fmla="*/ 127212 h 330093"/>
                  <a:gd name="connsiteX59" fmla="*/ 260344 w 328623"/>
                  <a:gd name="connsiteY59" fmla="*/ 193098 h 330093"/>
                  <a:gd name="connsiteX60" fmla="*/ 253391 w 328623"/>
                  <a:gd name="connsiteY60" fmla="*/ 196346 h 330093"/>
                  <a:gd name="connsiteX61" fmla="*/ 244614 w 328623"/>
                  <a:gd name="connsiteY61" fmla="*/ 202900 h 330093"/>
                  <a:gd name="connsiteX62" fmla="*/ 239313 w 328623"/>
                  <a:gd name="connsiteY62" fmla="*/ 204212 h 330093"/>
                  <a:gd name="connsiteX63" fmla="*/ 238344 w 328623"/>
                  <a:gd name="connsiteY63" fmla="*/ 206434 h 330093"/>
                  <a:gd name="connsiteX64" fmla="*/ 235837 w 328623"/>
                  <a:gd name="connsiteY64" fmla="*/ 216978 h 330093"/>
                  <a:gd name="connsiteX65" fmla="*/ 227914 w 328623"/>
                  <a:gd name="connsiteY65" fmla="*/ 215326 h 330093"/>
                  <a:gd name="connsiteX66" fmla="*/ 222899 w 328623"/>
                  <a:gd name="connsiteY66" fmla="*/ 211564 h 330093"/>
                  <a:gd name="connsiteX67" fmla="*/ 215432 w 328623"/>
                  <a:gd name="connsiteY67" fmla="*/ 204953 h 330093"/>
                  <a:gd name="connsiteX68" fmla="*/ 210987 w 328623"/>
                  <a:gd name="connsiteY68" fmla="*/ 195377 h 330093"/>
                  <a:gd name="connsiteX69" fmla="*/ 222386 w 328623"/>
                  <a:gd name="connsiteY69" fmla="*/ 188709 h 330093"/>
                  <a:gd name="connsiteX70" fmla="*/ 221069 w 328623"/>
                  <a:gd name="connsiteY70" fmla="*/ 180758 h 330093"/>
                  <a:gd name="connsiteX71" fmla="*/ 222671 w 328623"/>
                  <a:gd name="connsiteY71" fmla="*/ 179248 h 330093"/>
                  <a:gd name="connsiteX72" fmla="*/ 226033 w 328623"/>
                  <a:gd name="connsiteY72" fmla="*/ 177652 h 330093"/>
                  <a:gd name="connsiteX73" fmla="*/ 227059 w 328623"/>
                  <a:gd name="connsiteY73" fmla="*/ 170756 h 330093"/>
                  <a:gd name="connsiteX74" fmla="*/ 237774 w 328623"/>
                  <a:gd name="connsiteY74" fmla="*/ 163004 h 330093"/>
                  <a:gd name="connsiteX75" fmla="*/ 242163 w 328623"/>
                  <a:gd name="connsiteY75" fmla="*/ 162662 h 330093"/>
                  <a:gd name="connsiteX76" fmla="*/ 247350 w 328623"/>
                  <a:gd name="connsiteY76" fmla="*/ 165740 h 330093"/>
                  <a:gd name="connsiteX77" fmla="*/ 257609 w 328623"/>
                  <a:gd name="connsiteY77" fmla="*/ 171896 h 330093"/>
                  <a:gd name="connsiteX78" fmla="*/ 261655 w 328623"/>
                  <a:gd name="connsiteY78" fmla="*/ 187512 h 330093"/>
                  <a:gd name="connsiteX79" fmla="*/ 260344 w 328623"/>
                  <a:gd name="connsiteY79" fmla="*/ 193098 h 33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8623" h="330093">
                    <a:moveTo>
                      <a:pt x="318593" y="127212"/>
                    </a:moveTo>
                    <a:cubicBezTo>
                      <a:pt x="318120" y="126328"/>
                      <a:pt x="317698" y="125416"/>
                      <a:pt x="317339" y="124476"/>
                    </a:cubicBezTo>
                    <a:lnTo>
                      <a:pt x="317339" y="124476"/>
                    </a:lnTo>
                    <a:cubicBezTo>
                      <a:pt x="315846" y="125245"/>
                      <a:pt x="314164" y="125564"/>
                      <a:pt x="312495" y="125388"/>
                    </a:cubicBezTo>
                    <a:cubicBezTo>
                      <a:pt x="310722" y="125479"/>
                      <a:pt x="308955" y="125188"/>
                      <a:pt x="307308" y="124533"/>
                    </a:cubicBezTo>
                    <a:cubicBezTo>
                      <a:pt x="305068" y="123205"/>
                      <a:pt x="303296" y="121210"/>
                      <a:pt x="302235" y="118833"/>
                    </a:cubicBezTo>
                    <a:cubicBezTo>
                      <a:pt x="299107" y="114644"/>
                      <a:pt x="297266" y="109635"/>
                      <a:pt x="296935" y="104414"/>
                    </a:cubicBezTo>
                    <a:cubicBezTo>
                      <a:pt x="297060" y="102305"/>
                      <a:pt x="297499" y="100230"/>
                      <a:pt x="298246" y="98258"/>
                    </a:cubicBezTo>
                    <a:cubicBezTo>
                      <a:pt x="299050" y="95095"/>
                      <a:pt x="301221" y="92462"/>
                      <a:pt x="304173" y="91077"/>
                    </a:cubicBezTo>
                    <a:cubicBezTo>
                      <a:pt x="305245" y="90769"/>
                      <a:pt x="306362" y="90632"/>
                      <a:pt x="307479" y="90678"/>
                    </a:cubicBezTo>
                    <a:cubicBezTo>
                      <a:pt x="309103" y="90695"/>
                      <a:pt x="310716" y="90946"/>
                      <a:pt x="312266" y="91419"/>
                    </a:cubicBezTo>
                    <a:cubicBezTo>
                      <a:pt x="313691" y="91972"/>
                      <a:pt x="314991" y="92804"/>
                      <a:pt x="316085" y="93870"/>
                    </a:cubicBezTo>
                    <a:cubicBezTo>
                      <a:pt x="318422" y="79051"/>
                      <a:pt x="322754" y="64403"/>
                      <a:pt x="322298" y="49414"/>
                    </a:cubicBezTo>
                    <a:cubicBezTo>
                      <a:pt x="322092" y="35889"/>
                      <a:pt x="316969" y="22900"/>
                      <a:pt x="307878" y="12880"/>
                    </a:cubicBezTo>
                    <a:cubicBezTo>
                      <a:pt x="298576" y="2923"/>
                      <a:pt x="284898" y="-1705"/>
                      <a:pt x="271458" y="569"/>
                    </a:cubicBezTo>
                    <a:cubicBezTo>
                      <a:pt x="264989" y="2251"/>
                      <a:pt x="258788" y="4838"/>
                      <a:pt x="253049" y="8264"/>
                    </a:cubicBezTo>
                    <a:lnTo>
                      <a:pt x="227402" y="21942"/>
                    </a:lnTo>
                    <a:cubicBezTo>
                      <a:pt x="226432" y="22410"/>
                      <a:pt x="225532" y="23002"/>
                      <a:pt x="224723" y="23709"/>
                    </a:cubicBezTo>
                    <a:cubicBezTo>
                      <a:pt x="223537" y="25071"/>
                      <a:pt x="222642" y="26661"/>
                      <a:pt x="222101" y="28383"/>
                    </a:cubicBezTo>
                    <a:cubicBezTo>
                      <a:pt x="217046" y="40944"/>
                      <a:pt x="207938" y="51454"/>
                      <a:pt x="196225" y="58248"/>
                    </a:cubicBezTo>
                    <a:cubicBezTo>
                      <a:pt x="193427" y="59559"/>
                      <a:pt x="190896" y="61377"/>
                      <a:pt x="188759" y="63606"/>
                    </a:cubicBezTo>
                    <a:cubicBezTo>
                      <a:pt x="186713" y="67145"/>
                      <a:pt x="185248" y="70998"/>
                      <a:pt x="184427" y="75005"/>
                    </a:cubicBezTo>
                    <a:cubicBezTo>
                      <a:pt x="179321" y="87435"/>
                      <a:pt x="165100" y="93374"/>
                      <a:pt x="152670" y="88267"/>
                    </a:cubicBezTo>
                    <a:cubicBezTo>
                      <a:pt x="152248" y="88090"/>
                      <a:pt x="151838" y="87908"/>
                      <a:pt x="151427" y="87714"/>
                    </a:cubicBezTo>
                    <a:cubicBezTo>
                      <a:pt x="145101" y="84351"/>
                      <a:pt x="138832" y="77797"/>
                      <a:pt x="132106" y="80191"/>
                    </a:cubicBezTo>
                    <a:cubicBezTo>
                      <a:pt x="123671" y="83212"/>
                      <a:pt x="124526" y="96833"/>
                      <a:pt x="116832" y="101393"/>
                    </a:cubicBezTo>
                    <a:cubicBezTo>
                      <a:pt x="114495" y="102818"/>
                      <a:pt x="111531" y="103217"/>
                      <a:pt x="109764" y="105269"/>
                    </a:cubicBezTo>
                    <a:cubicBezTo>
                      <a:pt x="108641" y="107013"/>
                      <a:pt x="107826" y="108945"/>
                      <a:pt x="107370" y="110968"/>
                    </a:cubicBezTo>
                    <a:cubicBezTo>
                      <a:pt x="103181" y="119358"/>
                      <a:pt x="93509" y="123444"/>
                      <a:pt x="84572" y="120600"/>
                    </a:cubicBezTo>
                    <a:lnTo>
                      <a:pt x="83319" y="120201"/>
                    </a:lnTo>
                    <a:lnTo>
                      <a:pt x="83319" y="120201"/>
                    </a:lnTo>
                    <a:cubicBezTo>
                      <a:pt x="83119" y="118879"/>
                      <a:pt x="83005" y="117545"/>
                      <a:pt x="82977" y="116212"/>
                    </a:cubicBezTo>
                    <a:cubicBezTo>
                      <a:pt x="82635" y="106922"/>
                      <a:pt x="85542" y="97403"/>
                      <a:pt x="82977" y="88398"/>
                    </a:cubicBezTo>
                    <a:cubicBezTo>
                      <a:pt x="80116" y="78595"/>
                      <a:pt x="71498" y="71585"/>
                      <a:pt x="61319" y="70787"/>
                    </a:cubicBezTo>
                    <a:cubicBezTo>
                      <a:pt x="58486" y="88803"/>
                      <a:pt x="57831" y="107098"/>
                      <a:pt x="59381" y="125274"/>
                    </a:cubicBezTo>
                    <a:cubicBezTo>
                      <a:pt x="60008" y="130118"/>
                      <a:pt x="60977" y="134963"/>
                      <a:pt x="61661" y="139864"/>
                    </a:cubicBezTo>
                    <a:cubicBezTo>
                      <a:pt x="62259" y="144652"/>
                      <a:pt x="62601" y="149462"/>
                      <a:pt x="62687" y="154284"/>
                    </a:cubicBezTo>
                    <a:lnTo>
                      <a:pt x="63884" y="150124"/>
                    </a:lnTo>
                    <a:cubicBezTo>
                      <a:pt x="62487" y="158388"/>
                      <a:pt x="58492" y="165991"/>
                      <a:pt x="52485" y="171839"/>
                    </a:cubicBezTo>
                    <a:cubicBezTo>
                      <a:pt x="44340" y="177344"/>
                      <a:pt x="33836" y="177931"/>
                      <a:pt x="25127" y="173377"/>
                    </a:cubicBezTo>
                    <a:cubicBezTo>
                      <a:pt x="18926" y="170266"/>
                      <a:pt x="13301" y="166122"/>
                      <a:pt x="8485" y="161124"/>
                    </a:cubicBezTo>
                    <a:cubicBezTo>
                      <a:pt x="4324" y="165284"/>
                      <a:pt x="-806" y="169331"/>
                      <a:pt x="107" y="174916"/>
                    </a:cubicBezTo>
                    <a:cubicBezTo>
                      <a:pt x="790" y="179134"/>
                      <a:pt x="4780" y="181870"/>
                      <a:pt x="7231" y="185403"/>
                    </a:cubicBezTo>
                    <a:cubicBezTo>
                      <a:pt x="15780" y="197600"/>
                      <a:pt x="4267" y="216010"/>
                      <a:pt x="11733" y="228947"/>
                    </a:cubicBezTo>
                    <a:cubicBezTo>
                      <a:pt x="16407" y="237041"/>
                      <a:pt x="27578" y="240916"/>
                      <a:pt x="29402" y="250092"/>
                    </a:cubicBezTo>
                    <a:cubicBezTo>
                      <a:pt x="29795" y="253763"/>
                      <a:pt x="29504" y="257473"/>
                      <a:pt x="28547" y="261035"/>
                    </a:cubicBezTo>
                    <a:cubicBezTo>
                      <a:pt x="25406" y="280054"/>
                      <a:pt x="31112" y="299467"/>
                      <a:pt x="44049" y="313755"/>
                    </a:cubicBezTo>
                    <a:cubicBezTo>
                      <a:pt x="47212" y="316839"/>
                      <a:pt x="50148" y="320156"/>
                      <a:pt x="52827" y="323672"/>
                    </a:cubicBezTo>
                    <a:cubicBezTo>
                      <a:pt x="53858" y="325735"/>
                      <a:pt x="55317" y="327565"/>
                      <a:pt x="57101" y="329030"/>
                    </a:cubicBezTo>
                    <a:cubicBezTo>
                      <a:pt x="61547" y="331937"/>
                      <a:pt x="67246" y="328289"/>
                      <a:pt x="71635" y="325211"/>
                    </a:cubicBezTo>
                    <a:cubicBezTo>
                      <a:pt x="95402" y="308569"/>
                      <a:pt x="126008" y="306631"/>
                      <a:pt x="154334" y="300419"/>
                    </a:cubicBezTo>
                    <a:cubicBezTo>
                      <a:pt x="186770" y="293271"/>
                      <a:pt x="217547" y="279997"/>
                      <a:pt x="245013" y="261320"/>
                    </a:cubicBezTo>
                    <a:cubicBezTo>
                      <a:pt x="251032" y="257462"/>
                      <a:pt x="256491" y="252799"/>
                      <a:pt x="261256" y="247470"/>
                    </a:cubicBezTo>
                    <a:cubicBezTo>
                      <a:pt x="273567" y="232823"/>
                      <a:pt x="275505" y="212362"/>
                      <a:pt x="276645" y="193269"/>
                    </a:cubicBezTo>
                    <a:cubicBezTo>
                      <a:pt x="276594" y="189923"/>
                      <a:pt x="277238" y="186606"/>
                      <a:pt x="278526" y="183522"/>
                    </a:cubicBezTo>
                    <a:cubicBezTo>
                      <a:pt x="280247" y="180593"/>
                      <a:pt x="282532" y="178034"/>
                      <a:pt x="285251" y="175999"/>
                    </a:cubicBezTo>
                    <a:lnTo>
                      <a:pt x="317567" y="148755"/>
                    </a:lnTo>
                    <a:cubicBezTo>
                      <a:pt x="321471" y="145541"/>
                      <a:pt x="325164" y="142076"/>
                      <a:pt x="328624" y="138383"/>
                    </a:cubicBezTo>
                    <a:cubicBezTo>
                      <a:pt x="324640" y="135288"/>
                      <a:pt x="321243" y="131503"/>
                      <a:pt x="318593" y="127212"/>
                    </a:cubicBezTo>
                    <a:close/>
                    <a:moveTo>
                      <a:pt x="260344" y="193098"/>
                    </a:moveTo>
                    <a:cubicBezTo>
                      <a:pt x="258692" y="195092"/>
                      <a:pt x="255671" y="195092"/>
                      <a:pt x="253391" y="196346"/>
                    </a:cubicBezTo>
                    <a:cubicBezTo>
                      <a:pt x="250085" y="198056"/>
                      <a:pt x="248204" y="202046"/>
                      <a:pt x="244614" y="202900"/>
                    </a:cubicBezTo>
                    <a:cubicBezTo>
                      <a:pt x="242790" y="203299"/>
                      <a:pt x="240567" y="202900"/>
                      <a:pt x="239313" y="204212"/>
                    </a:cubicBezTo>
                    <a:cubicBezTo>
                      <a:pt x="238789" y="204844"/>
                      <a:pt x="238453" y="205619"/>
                      <a:pt x="238344" y="206434"/>
                    </a:cubicBezTo>
                    <a:cubicBezTo>
                      <a:pt x="237489" y="209968"/>
                      <a:pt x="236691" y="213445"/>
                      <a:pt x="235837" y="216978"/>
                    </a:cubicBezTo>
                    <a:cubicBezTo>
                      <a:pt x="233101" y="217092"/>
                      <a:pt x="230377" y="216522"/>
                      <a:pt x="227914" y="215326"/>
                    </a:cubicBezTo>
                    <a:cubicBezTo>
                      <a:pt x="226090" y="214288"/>
                      <a:pt x="224409" y="213023"/>
                      <a:pt x="222899" y="211564"/>
                    </a:cubicBezTo>
                    <a:lnTo>
                      <a:pt x="215432" y="204953"/>
                    </a:lnTo>
                    <a:cubicBezTo>
                      <a:pt x="212583" y="202445"/>
                      <a:pt x="209733" y="198854"/>
                      <a:pt x="210987" y="195377"/>
                    </a:cubicBezTo>
                    <a:cubicBezTo>
                      <a:pt x="215113" y="193770"/>
                      <a:pt x="218961" y="191519"/>
                      <a:pt x="222386" y="188709"/>
                    </a:cubicBezTo>
                    <a:cubicBezTo>
                      <a:pt x="219827" y="186879"/>
                      <a:pt x="219234" y="183317"/>
                      <a:pt x="221069" y="180758"/>
                    </a:cubicBezTo>
                    <a:cubicBezTo>
                      <a:pt x="221497" y="180154"/>
                      <a:pt x="222044" y="179641"/>
                      <a:pt x="222671" y="179248"/>
                    </a:cubicBezTo>
                    <a:cubicBezTo>
                      <a:pt x="223862" y="178877"/>
                      <a:pt x="224996" y="178342"/>
                      <a:pt x="226033" y="177652"/>
                    </a:cubicBezTo>
                    <a:cubicBezTo>
                      <a:pt x="227743" y="175999"/>
                      <a:pt x="226774" y="173092"/>
                      <a:pt x="227059" y="170756"/>
                    </a:cubicBezTo>
                    <a:cubicBezTo>
                      <a:pt x="227743" y="166082"/>
                      <a:pt x="233215" y="164087"/>
                      <a:pt x="237774" y="163004"/>
                    </a:cubicBezTo>
                    <a:cubicBezTo>
                      <a:pt x="239199" y="162605"/>
                      <a:pt x="240693" y="162491"/>
                      <a:pt x="242163" y="162662"/>
                    </a:cubicBezTo>
                    <a:cubicBezTo>
                      <a:pt x="244089" y="163306"/>
                      <a:pt x="245862" y="164355"/>
                      <a:pt x="247350" y="165740"/>
                    </a:cubicBezTo>
                    <a:cubicBezTo>
                      <a:pt x="250969" y="167444"/>
                      <a:pt x="254406" y="169508"/>
                      <a:pt x="257609" y="171896"/>
                    </a:cubicBezTo>
                    <a:cubicBezTo>
                      <a:pt x="260943" y="176370"/>
                      <a:pt x="262396" y="181978"/>
                      <a:pt x="261655" y="187512"/>
                    </a:cubicBezTo>
                    <a:cubicBezTo>
                      <a:pt x="261872" y="189467"/>
                      <a:pt x="261410" y="191445"/>
                      <a:pt x="260344" y="19309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5" name="Freihandform: Form 311">
                <a:extLst>
                  <a:ext uri="{FF2B5EF4-FFF2-40B4-BE49-F238E27FC236}">
                    <a16:creationId xmlns:a16="http://schemas.microsoft.com/office/drawing/2014/main" id="{D1CE3F38-557A-2034-80D2-D45DF6A8D394}"/>
                  </a:ext>
                </a:extLst>
              </p:cNvPr>
              <p:cNvSpPr/>
              <p:nvPr/>
            </p:nvSpPr>
            <p:spPr>
              <a:xfrm>
                <a:off x="4042298" y="4665847"/>
                <a:ext cx="191787" cy="298904"/>
              </a:xfrm>
              <a:custGeom>
                <a:avLst/>
                <a:gdLst>
                  <a:gd name="connsiteX0" fmla="*/ 151036 w 191787"/>
                  <a:gd name="connsiteY0" fmla="*/ 193269 h 298904"/>
                  <a:gd name="connsiteX1" fmla="*/ 149497 w 191787"/>
                  <a:gd name="connsiteY1" fmla="*/ 193269 h 298904"/>
                  <a:gd name="connsiteX2" fmla="*/ 147559 w 191787"/>
                  <a:gd name="connsiteY2" fmla="*/ 247756 h 298904"/>
                  <a:gd name="connsiteX3" fmla="*/ 149839 w 191787"/>
                  <a:gd name="connsiteY3" fmla="*/ 262347 h 298904"/>
                  <a:gd name="connsiteX4" fmla="*/ 150865 w 191787"/>
                  <a:gd name="connsiteY4" fmla="*/ 276766 h 298904"/>
                  <a:gd name="connsiteX5" fmla="*/ 140777 w 191787"/>
                  <a:gd name="connsiteY5" fmla="*/ 294321 h 298904"/>
                  <a:gd name="connsiteX6" fmla="*/ 113419 w 191787"/>
                  <a:gd name="connsiteY6" fmla="*/ 295859 h 298904"/>
                  <a:gd name="connsiteX7" fmla="*/ 96777 w 191787"/>
                  <a:gd name="connsiteY7" fmla="*/ 283606 h 298904"/>
                  <a:gd name="connsiteX8" fmla="*/ 98544 w 191787"/>
                  <a:gd name="connsiteY8" fmla="*/ 281725 h 298904"/>
                  <a:gd name="connsiteX9" fmla="*/ 95238 w 191787"/>
                  <a:gd name="connsiteY9" fmla="*/ 267647 h 298904"/>
                  <a:gd name="connsiteX10" fmla="*/ 67539 w 191787"/>
                  <a:gd name="connsiteY10" fmla="*/ 278419 h 298904"/>
                  <a:gd name="connsiteX11" fmla="*/ 56140 w 191787"/>
                  <a:gd name="connsiteY11" fmla="*/ 224616 h 298904"/>
                  <a:gd name="connsiteX12" fmla="*/ 38699 w 191787"/>
                  <a:gd name="connsiteY12" fmla="*/ 164886 h 298904"/>
                  <a:gd name="connsiteX13" fmla="*/ 36990 w 191787"/>
                  <a:gd name="connsiteY13" fmla="*/ 133709 h 298904"/>
                  <a:gd name="connsiteX14" fmla="*/ 29238 w 191787"/>
                  <a:gd name="connsiteY14" fmla="*/ 119233 h 298904"/>
                  <a:gd name="connsiteX15" fmla="*/ 31062 w 191787"/>
                  <a:gd name="connsiteY15" fmla="*/ 89425 h 298904"/>
                  <a:gd name="connsiteX16" fmla="*/ 11684 w 191787"/>
                  <a:gd name="connsiteY16" fmla="*/ 51409 h 298904"/>
                  <a:gd name="connsiteX17" fmla="*/ 4560 w 191787"/>
                  <a:gd name="connsiteY17" fmla="*/ 25419 h 298904"/>
                  <a:gd name="connsiteX18" fmla="*/ 0 w 191787"/>
                  <a:gd name="connsiteY18" fmla="*/ 0 h 298904"/>
                  <a:gd name="connsiteX19" fmla="*/ 18694 w 191787"/>
                  <a:gd name="connsiteY19" fmla="*/ 2622 h 298904"/>
                  <a:gd name="connsiteX20" fmla="*/ 28440 w 191787"/>
                  <a:gd name="connsiteY20" fmla="*/ 5129 h 298904"/>
                  <a:gd name="connsiteX21" fmla="*/ 35052 w 191787"/>
                  <a:gd name="connsiteY21" fmla="*/ 9176 h 298904"/>
                  <a:gd name="connsiteX22" fmla="*/ 43145 w 191787"/>
                  <a:gd name="connsiteY22" fmla="*/ 11057 h 298904"/>
                  <a:gd name="connsiteX23" fmla="*/ 123622 w 191787"/>
                  <a:gd name="connsiteY23" fmla="*/ 14648 h 298904"/>
                  <a:gd name="connsiteX24" fmla="*/ 130575 w 191787"/>
                  <a:gd name="connsiteY24" fmla="*/ 16129 h 298904"/>
                  <a:gd name="connsiteX25" fmla="*/ 133824 w 191787"/>
                  <a:gd name="connsiteY25" fmla="*/ 20746 h 298904"/>
                  <a:gd name="connsiteX26" fmla="*/ 143057 w 191787"/>
                  <a:gd name="connsiteY26" fmla="*/ 23767 h 298904"/>
                  <a:gd name="connsiteX27" fmla="*/ 191787 w 191787"/>
                  <a:gd name="connsiteY27" fmla="*/ 26616 h 298904"/>
                  <a:gd name="connsiteX28" fmla="*/ 175361 w 191787"/>
                  <a:gd name="connsiteY28" fmla="*/ 39372 h 298904"/>
                  <a:gd name="connsiteX29" fmla="*/ 174689 w 191787"/>
                  <a:gd name="connsiteY29" fmla="*/ 39269 h 298904"/>
                  <a:gd name="connsiteX30" fmla="*/ 173093 w 191787"/>
                  <a:gd name="connsiteY30" fmla="*/ 74435 h 298904"/>
                  <a:gd name="connsiteX31" fmla="*/ 171269 w 191787"/>
                  <a:gd name="connsiteY31" fmla="*/ 113875 h 298904"/>
                  <a:gd name="connsiteX32" fmla="*/ 150751 w 191787"/>
                  <a:gd name="connsiteY32" fmla="*/ 125274 h 298904"/>
                  <a:gd name="connsiteX33" fmla="*/ 149839 w 191787"/>
                  <a:gd name="connsiteY33" fmla="*/ 132114 h 298904"/>
                  <a:gd name="connsiteX34" fmla="*/ 151036 w 191787"/>
                  <a:gd name="connsiteY34" fmla="*/ 193269 h 29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1787" h="298904">
                    <a:moveTo>
                      <a:pt x="151036" y="193269"/>
                    </a:moveTo>
                    <a:cubicBezTo>
                      <a:pt x="150523" y="193240"/>
                      <a:pt x="150010" y="193240"/>
                      <a:pt x="149497" y="193269"/>
                    </a:cubicBezTo>
                    <a:cubicBezTo>
                      <a:pt x="146659" y="211285"/>
                      <a:pt x="146009" y="229581"/>
                      <a:pt x="147559" y="247756"/>
                    </a:cubicBezTo>
                    <a:cubicBezTo>
                      <a:pt x="148186" y="252601"/>
                      <a:pt x="149155" y="257445"/>
                      <a:pt x="149839" y="262347"/>
                    </a:cubicBezTo>
                    <a:cubicBezTo>
                      <a:pt x="150437" y="267134"/>
                      <a:pt x="150780" y="271945"/>
                      <a:pt x="150865" y="276766"/>
                    </a:cubicBezTo>
                    <a:cubicBezTo>
                      <a:pt x="149400" y="283520"/>
                      <a:pt x="145872" y="289653"/>
                      <a:pt x="140777" y="294321"/>
                    </a:cubicBezTo>
                    <a:cubicBezTo>
                      <a:pt x="132632" y="299826"/>
                      <a:pt x="122128" y="300413"/>
                      <a:pt x="113419" y="295859"/>
                    </a:cubicBezTo>
                    <a:cubicBezTo>
                      <a:pt x="107219" y="292748"/>
                      <a:pt x="101593" y="288604"/>
                      <a:pt x="96777" y="283606"/>
                    </a:cubicBezTo>
                    <a:cubicBezTo>
                      <a:pt x="97404" y="282979"/>
                      <a:pt x="98031" y="282352"/>
                      <a:pt x="98544" y="281725"/>
                    </a:cubicBezTo>
                    <a:cubicBezTo>
                      <a:pt x="102875" y="276823"/>
                      <a:pt x="101451" y="265880"/>
                      <a:pt x="95238" y="267647"/>
                    </a:cubicBezTo>
                    <a:cubicBezTo>
                      <a:pt x="88268" y="275473"/>
                      <a:pt x="77963" y="279479"/>
                      <a:pt x="67539" y="278419"/>
                    </a:cubicBezTo>
                    <a:cubicBezTo>
                      <a:pt x="66228" y="260044"/>
                      <a:pt x="62392" y="241943"/>
                      <a:pt x="56140" y="224616"/>
                    </a:cubicBezTo>
                    <a:cubicBezTo>
                      <a:pt x="49072" y="205010"/>
                      <a:pt x="39041" y="185803"/>
                      <a:pt x="38699" y="164886"/>
                    </a:cubicBezTo>
                    <a:cubicBezTo>
                      <a:pt x="38699" y="154399"/>
                      <a:pt x="41207" y="143342"/>
                      <a:pt x="36990" y="133709"/>
                    </a:cubicBezTo>
                    <a:cubicBezTo>
                      <a:pt x="34140" y="129030"/>
                      <a:pt x="31552" y="124197"/>
                      <a:pt x="29238" y="119233"/>
                    </a:cubicBezTo>
                    <a:cubicBezTo>
                      <a:pt x="26274" y="109658"/>
                      <a:pt x="31632" y="99456"/>
                      <a:pt x="31062" y="89425"/>
                    </a:cubicBezTo>
                    <a:cubicBezTo>
                      <a:pt x="30264" y="75062"/>
                      <a:pt x="18010" y="64290"/>
                      <a:pt x="11684" y="51409"/>
                    </a:cubicBezTo>
                    <a:cubicBezTo>
                      <a:pt x="8093" y="43128"/>
                      <a:pt x="5694" y="34374"/>
                      <a:pt x="4560" y="25419"/>
                    </a:cubicBezTo>
                    <a:cubicBezTo>
                      <a:pt x="3021" y="16927"/>
                      <a:pt x="1539" y="8321"/>
                      <a:pt x="0" y="0"/>
                    </a:cubicBezTo>
                    <a:lnTo>
                      <a:pt x="18694" y="2622"/>
                    </a:lnTo>
                    <a:cubicBezTo>
                      <a:pt x="22068" y="2872"/>
                      <a:pt x="25368" y="3722"/>
                      <a:pt x="28440" y="5129"/>
                    </a:cubicBezTo>
                    <a:cubicBezTo>
                      <a:pt x="30777" y="6269"/>
                      <a:pt x="32715" y="8093"/>
                      <a:pt x="35052" y="9176"/>
                    </a:cubicBezTo>
                    <a:cubicBezTo>
                      <a:pt x="37633" y="10230"/>
                      <a:pt x="40364" y="10863"/>
                      <a:pt x="43145" y="11057"/>
                    </a:cubicBezTo>
                    <a:cubicBezTo>
                      <a:pt x="69847" y="14249"/>
                      <a:pt x="96743" y="15445"/>
                      <a:pt x="123622" y="14648"/>
                    </a:cubicBezTo>
                    <a:cubicBezTo>
                      <a:pt x="126044" y="14294"/>
                      <a:pt x="128506" y="14824"/>
                      <a:pt x="130575" y="16129"/>
                    </a:cubicBezTo>
                    <a:cubicBezTo>
                      <a:pt x="132000" y="17383"/>
                      <a:pt x="132570" y="19321"/>
                      <a:pt x="133824" y="20746"/>
                    </a:cubicBezTo>
                    <a:cubicBezTo>
                      <a:pt x="136383" y="22929"/>
                      <a:pt x="139700" y="24018"/>
                      <a:pt x="143057" y="23767"/>
                    </a:cubicBezTo>
                    <a:lnTo>
                      <a:pt x="191787" y="26616"/>
                    </a:lnTo>
                    <a:cubicBezTo>
                      <a:pt x="190773" y="34676"/>
                      <a:pt x="183421" y="40386"/>
                      <a:pt x="175361" y="39372"/>
                    </a:cubicBezTo>
                    <a:cubicBezTo>
                      <a:pt x="175139" y="39344"/>
                      <a:pt x="174911" y="39309"/>
                      <a:pt x="174689" y="39269"/>
                    </a:cubicBezTo>
                    <a:cubicBezTo>
                      <a:pt x="173076" y="50919"/>
                      <a:pt x="172546" y="62688"/>
                      <a:pt x="173093" y="74435"/>
                    </a:cubicBezTo>
                    <a:cubicBezTo>
                      <a:pt x="174119" y="87772"/>
                      <a:pt x="177767" y="102192"/>
                      <a:pt x="171269" y="113875"/>
                    </a:cubicBezTo>
                    <a:cubicBezTo>
                      <a:pt x="163119" y="115129"/>
                      <a:pt x="153430" y="117580"/>
                      <a:pt x="150751" y="125274"/>
                    </a:cubicBezTo>
                    <a:cubicBezTo>
                      <a:pt x="150084" y="127491"/>
                      <a:pt x="149776" y="129800"/>
                      <a:pt x="149839" y="132114"/>
                    </a:cubicBezTo>
                    <a:cubicBezTo>
                      <a:pt x="149035" y="152506"/>
                      <a:pt x="149434" y="172928"/>
                      <a:pt x="151036" y="19326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6" name="Freihandform: Form 312">
                <a:extLst>
                  <a:ext uri="{FF2B5EF4-FFF2-40B4-BE49-F238E27FC236}">
                    <a16:creationId xmlns:a16="http://schemas.microsoft.com/office/drawing/2014/main" id="{E217E6DB-0D0D-8AC8-071E-9E5010220039}"/>
                  </a:ext>
                </a:extLst>
              </p:cNvPr>
              <p:cNvSpPr/>
              <p:nvPr/>
            </p:nvSpPr>
            <p:spPr>
              <a:xfrm>
                <a:off x="4192369" y="4685692"/>
                <a:ext cx="194643" cy="224080"/>
              </a:xfrm>
              <a:custGeom>
                <a:avLst/>
                <a:gdLst>
                  <a:gd name="connsiteX0" fmla="*/ 188648 w 194643"/>
                  <a:gd name="connsiteY0" fmla="*/ 111585 h 224080"/>
                  <a:gd name="connsiteX1" fmla="*/ 188648 w 194643"/>
                  <a:gd name="connsiteY1" fmla="*/ 112269 h 224080"/>
                  <a:gd name="connsiteX2" fmla="*/ 165850 w 194643"/>
                  <a:gd name="connsiteY2" fmla="*/ 124522 h 224080"/>
                  <a:gd name="connsiteX3" fmla="*/ 163171 w 194643"/>
                  <a:gd name="connsiteY3" fmla="*/ 126290 h 224080"/>
                  <a:gd name="connsiteX4" fmla="*/ 160550 w 194643"/>
                  <a:gd name="connsiteY4" fmla="*/ 130963 h 224080"/>
                  <a:gd name="connsiteX5" fmla="*/ 134674 w 194643"/>
                  <a:gd name="connsiteY5" fmla="*/ 160828 h 224080"/>
                  <a:gd name="connsiteX6" fmla="*/ 127208 w 194643"/>
                  <a:gd name="connsiteY6" fmla="*/ 166186 h 224080"/>
                  <a:gd name="connsiteX7" fmla="*/ 122876 w 194643"/>
                  <a:gd name="connsiteY7" fmla="*/ 177585 h 224080"/>
                  <a:gd name="connsiteX8" fmla="*/ 91119 w 194643"/>
                  <a:gd name="connsiteY8" fmla="*/ 190847 h 224080"/>
                  <a:gd name="connsiteX9" fmla="*/ 89876 w 194643"/>
                  <a:gd name="connsiteY9" fmla="*/ 190295 h 224080"/>
                  <a:gd name="connsiteX10" fmla="*/ 70555 w 194643"/>
                  <a:gd name="connsiteY10" fmla="*/ 182771 h 224080"/>
                  <a:gd name="connsiteX11" fmla="*/ 55280 w 194643"/>
                  <a:gd name="connsiteY11" fmla="*/ 203973 h 224080"/>
                  <a:gd name="connsiteX12" fmla="*/ 48213 w 194643"/>
                  <a:gd name="connsiteY12" fmla="*/ 207849 h 224080"/>
                  <a:gd name="connsiteX13" fmla="*/ 45819 w 194643"/>
                  <a:gd name="connsiteY13" fmla="*/ 213549 h 224080"/>
                  <a:gd name="connsiteX14" fmla="*/ 23022 w 194643"/>
                  <a:gd name="connsiteY14" fmla="*/ 223181 h 224080"/>
                  <a:gd name="connsiteX15" fmla="*/ 21768 w 194643"/>
                  <a:gd name="connsiteY15" fmla="*/ 222782 h 224080"/>
                  <a:gd name="connsiteX16" fmla="*/ 21426 w 194643"/>
                  <a:gd name="connsiteY16" fmla="*/ 218792 h 224080"/>
                  <a:gd name="connsiteX17" fmla="*/ 21426 w 194643"/>
                  <a:gd name="connsiteY17" fmla="*/ 190979 h 224080"/>
                  <a:gd name="connsiteX18" fmla="*/ 1307 w 194643"/>
                  <a:gd name="connsiteY18" fmla="*/ 173595 h 224080"/>
                  <a:gd name="connsiteX19" fmla="*/ 566 w 194643"/>
                  <a:gd name="connsiteY19" fmla="*/ 112554 h 224080"/>
                  <a:gd name="connsiteX20" fmla="*/ 1477 w 194643"/>
                  <a:gd name="connsiteY20" fmla="*/ 105714 h 224080"/>
                  <a:gd name="connsiteX21" fmla="*/ 21996 w 194643"/>
                  <a:gd name="connsiteY21" fmla="*/ 94315 h 224080"/>
                  <a:gd name="connsiteX22" fmla="*/ 23820 w 194643"/>
                  <a:gd name="connsiteY22" fmla="*/ 54875 h 224080"/>
                  <a:gd name="connsiteX23" fmla="*/ 25415 w 194643"/>
                  <a:gd name="connsiteY23" fmla="*/ 19709 h 224080"/>
                  <a:gd name="connsiteX24" fmla="*/ 41773 w 194643"/>
                  <a:gd name="connsiteY24" fmla="*/ 9393 h 224080"/>
                  <a:gd name="connsiteX25" fmla="*/ 42913 w 194643"/>
                  <a:gd name="connsiteY25" fmla="*/ 8994 h 224080"/>
                  <a:gd name="connsiteX26" fmla="*/ 66167 w 194643"/>
                  <a:gd name="connsiteY26" fmla="*/ 46 h 224080"/>
                  <a:gd name="connsiteX27" fmla="*/ 70840 w 194643"/>
                  <a:gd name="connsiteY27" fmla="*/ 787 h 224080"/>
                  <a:gd name="connsiteX28" fmla="*/ 74602 w 194643"/>
                  <a:gd name="connsiteY28" fmla="*/ 4549 h 224080"/>
                  <a:gd name="connsiteX29" fmla="*/ 81783 w 194643"/>
                  <a:gd name="connsiteY29" fmla="*/ 16518 h 224080"/>
                  <a:gd name="connsiteX30" fmla="*/ 99680 w 194643"/>
                  <a:gd name="connsiteY30" fmla="*/ 1642 h 224080"/>
                  <a:gd name="connsiteX31" fmla="*/ 113928 w 194643"/>
                  <a:gd name="connsiteY31" fmla="*/ 6487 h 224080"/>
                  <a:gd name="connsiteX32" fmla="*/ 118488 w 194643"/>
                  <a:gd name="connsiteY32" fmla="*/ 6999 h 224080"/>
                  <a:gd name="connsiteX33" fmla="*/ 124187 w 194643"/>
                  <a:gd name="connsiteY33" fmla="*/ 19425 h 224080"/>
                  <a:gd name="connsiteX34" fmla="*/ 129488 w 194643"/>
                  <a:gd name="connsiteY34" fmla="*/ 32305 h 224080"/>
                  <a:gd name="connsiteX35" fmla="*/ 140032 w 194643"/>
                  <a:gd name="connsiteY35" fmla="*/ 34357 h 224080"/>
                  <a:gd name="connsiteX36" fmla="*/ 146358 w 194643"/>
                  <a:gd name="connsiteY36" fmla="*/ 49974 h 224080"/>
                  <a:gd name="connsiteX37" fmla="*/ 155762 w 194643"/>
                  <a:gd name="connsiteY37" fmla="*/ 51968 h 224080"/>
                  <a:gd name="connsiteX38" fmla="*/ 157814 w 194643"/>
                  <a:gd name="connsiteY38" fmla="*/ 60061 h 224080"/>
                  <a:gd name="connsiteX39" fmla="*/ 163513 w 194643"/>
                  <a:gd name="connsiteY39" fmla="*/ 62854 h 224080"/>
                  <a:gd name="connsiteX40" fmla="*/ 166477 w 194643"/>
                  <a:gd name="connsiteY40" fmla="*/ 75963 h 224080"/>
                  <a:gd name="connsiteX41" fmla="*/ 171550 w 194643"/>
                  <a:gd name="connsiteY41" fmla="*/ 79155 h 224080"/>
                  <a:gd name="connsiteX42" fmla="*/ 171550 w 194643"/>
                  <a:gd name="connsiteY42" fmla="*/ 83088 h 224080"/>
                  <a:gd name="connsiteX43" fmla="*/ 175710 w 194643"/>
                  <a:gd name="connsiteY43" fmla="*/ 85994 h 224080"/>
                  <a:gd name="connsiteX44" fmla="*/ 183348 w 194643"/>
                  <a:gd name="connsiteY44" fmla="*/ 87932 h 224080"/>
                  <a:gd name="connsiteX45" fmla="*/ 193664 w 194643"/>
                  <a:gd name="connsiteY45" fmla="*/ 93973 h 224080"/>
                  <a:gd name="connsiteX46" fmla="*/ 188648 w 194643"/>
                  <a:gd name="connsiteY46" fmla="*/ 111585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4643" h="224080">
                    <a:moveTo>
                      <a:pt x="188648" y="111585"/>
                    </a:moveTo>
                    <a:lnTo>
                      <a:pt x="188648" y="112269"/>
                    </a:lnTo>
                    <a:lnTo>
                      <a:pt x="165850" y="124522"/>
                    </a:lnTo>
                    <a:cubicBezTo>
                      <a:pt x="164882" y="124990"/>
                      <a:pt x="163981" y="125583"/>
                      <a:pt x="163171" y="126290"/>
                    </a:cubicBezTo>
                    <a:cubicBezTo>
                      <a:pt x="161986" y="127652"/>
                      <a:pt x="161091" y="129242"/>
                      <a:pt x="160550" y="130963"/>
                    </a:cubicBezTo>
                    <a:cubicBezTo>
                      <a:pt x="155494" y="143525"/>
                      <a:pt x="146387" y="154035"/>
                      <a:pt x="134674" y="160828"/>
                    </a:cubicBezTo>
                    <a:cubicBezTo>
                      <a:pt x="131876" y="162139"/>
                      <a:pt x="129345" y="163957"/>
                      <a:pt x="127208" y="166186"/>
                    </a:cubicBezTo>
                    <a:cubicBezTo>
                      <a:pt x="125162" y="169725"/>
                      <a:pt x="123697" y="173578"/>
                      <a:pt x="122876" y="177585"/>
                    </a:cubicBezTo>
                    <a:cubicBezTo>
                      <a:pt x="117769" y="190015"/>
                      <a:pt x="103549" y="195954"/>
                      <a:pt x="91119" y="190847"/>
                    </a:cubicBezTo>
                    <a:cubicBezTo>
                      <a:pt x="90697" y="190671"/>
                      <a:pt x="90287" y="190488"/>
                      <a:pt x="89876" y="190295"/>
                    </a:cubicBezTo>
                    <a:cubicBezTo>
                      <a:pt x="83550" y="186932"/>
                      <a:pt x="77281" y="180378"/>
                      <a:pt x="70555" y="182771"/>
                    </a:cubicBezTo>
                    <a:cubicBezTo>
                      <a:pt x="62120" y="185792"/>
                      <a:pt x="62975" y="199414"/>
                      <a:pt x="55280" y="203973"/>
                    </a:cubicBezTo>
                    <a:cubicBezTo>
                      <a:pt x="52944" y="205398"/>
                      <a:pt x="49980" y="205797"/>
                      <a:pt x="48213" y="207849"/>
                    </a:cubicBezTo>
                    <a:cubicBezTo>
                      <a:pt x="47085" y="209593"/>
                      <a:pt x="46276" y="211525"/>
                      <a:pt x="45819" y="213549"/>
                    </a:cubicBezTo>
                    <a:cubicBezTo>
                      <a:pt x="41630" y="221938"/>
                      <a:pt x="31958" y="226024"/>
                      <a:pt x="23022" y="223181"/>
                    </a:cubicBezTo>
                    <a:lnTo>
                      <a:pt x="21768" y="222782"/>
                    </a:lnTo>
                    <a:cubicBezTo>
                      <a:pt x="21568" y="221459"/>
                      <a:pt x="21454" y="220126"/>
                      <a:pt x="21426" y="218792"/>
                    </a:cubicBezTo>
                    <a:cubicBezTo>
                      <a:pt x="21084" y="209502"/>
                      <a:pt x="23990" y="199984"/>
                      <a:pt x="21426" y="190979"/>
                    </a:cubicBezTo>
                    <a:cubicBezTo>
                      <a:pt x="18696" y="181751"/>
                      <a:pt x="10836" y="174957"/>
                      <a:pt x="1307" y="173595"/>
                    </a:cubicBezTo>
                    <a:cubicBezTo>
                      <a:pt x="-135" y="153282"/>
                      <a:pt x="-386" y="132895"/>
                      <a:pt x="566" y="112554"/>
                    </a:cubicBezTo>
                    <a:cubicBezTo>
                      <a:pt x="497" y="110240"/>
                      <a:pt x="805" y="107932"/>
                      <a:pt x="1477" y="105714"/>
                    </a:cubicBezTo>
                    <a:cubicBezTo>
                      <a:pt x="4156" y="97906"/>
                      <a:pt x="13846" y="95455"/>
                      <a:pt x="21996" y="94315"/>
                    </a:cubicBezTo>
                    <a:cubicBezTo>
                      <a:pt x="28493" y="82916"/>
                      <a:pt x="24845" y="68212"/>
                      <a:pt x="23820" y="54875"/>
                    </a:cubicBezTo>
                    <a:cubicBezTo>
                      <a:pt x="23272" y="43129"/>
                      <a:pt x="23802" y="31359"/>
                      <a:pt x="25415" y="19709"/>
                    </a:cubicBezTo>
                    <a:cubicBezTo>
                      <a:pt x="32671" y="20792"/>
                      <a:pt x="39624" y="16404"/>
                      <a:pt x="41773" y="9393"/>
                    </a:cubicBezTo>
                    <a:lnTo>
                      <a:pt x="42913" y="8994"/>
                    </a:lnTo>
                    <a:cubicBezTo>
                      <a:pt x="50664" y="5860"/>
                      <a:pt x="57788" y="388"/>
                      <a:pt x="66167" y="46"/>
                    </a:cubicBezTo>
                    <a:cubicBezTo>
                      <a:pt x="67762" y="-114"/>
                      <a:pt x="69370" y="143"/>
                      <a:pt x="70840" y="787"/>
                    </a:cubicBezTo>
                    <a:cubicBezTo>
                      <a:pt x="72390" y="1710"/>
                      <a:pt x="73679" y="3004"/>
                      <a:pt x="74602" y="4549"/>
                    </a:cubicBezTo>
                    <a:cubicBezTo>
                      <a:pt x="77320" y="8333"/>
                      <a:pt x="79720" y="12340"/>
                      <a:pt x="81783" y="16518"/>
                    </a:cubicBezTo>
                    <a:cubicBezTo>
                      <a:pt x="88736" y="12642"/>
                      <a:pt x="91700" y="2041"/>
                      <a:pt x="99680" y="1642"/>
                    </a:cubicBezTo>
                    <a:cubicBezTo>
                      <a:pt x="104695" y="1642"/>
                      <a:pt x="108913" y="5803"/>
                      <a:pt x="113928" y="6487"/>
                    </a:cubicBezTo>
                    <a:cubicBezTo>
                      <a:pt x="115461" y="6544"/>
                      <a:pt x="116983" y="6714"/>
                      <a:pt x="118488" y="6999"/>
                    </a:cubicBezTo>
                    <a:cubicBezTo>
                      <a:pt x="123218" y="8368"/>
                      <a:pt x="124187" y="14466"/>
                      <a:pt x="124187" y="19425"/>
                    </a:cubicBezTo>
                    <a:cubicBezTo>
                      <a:pt x="124187" y="24383"/>
                      <a:pt x="124928" y="30367"/>
                      <a:pt x="129488" y="32305"/>
                    </a:cubicBezTo>
                    <a:cubicBezTo>
                      <a:pt x="132851" y="33673"/>
                      <a:pt x="137125" y="32305"/>
                      <a:pt x="140032" y="34357"/>
                    </a:cubicBezTo>
                    <a:cubicBezTo>
                      <a:pt x="144705" y="37891"/>
                      <a:pt x="141058" y="47466"/>
                      <a:pt x="146358" y="49974"/>
                    </a:cubicBezTo>
                    <a:cubicBezTo>
                      <a:pt x="149322" y="51398"/>
                      <a:pt x="153653" y="49460"/>
                      <a:pt x="155762" y="51968"/>
                    </a:cubicBezTo>
                    <a:cubicBezTo>
                      <a:pt x="157871" y="54476"/>
                      <a:pt x="155762" y="57668"/>
                      <a:pt x="157814" y="60061"/>
                    </a:cubicBezTo>
                    <a:cubicBezTo>
                      <a:pt x="159866" y="62455"/>
                      <a:pt x="161918" y="61430"/>
                      <a:pt x="163513" y="62854"/>
                    </a:cubicBezTo>
                    <a:cubicBezTo>
                      <a:pt x="167104" y="65818"/>
                      <a:pt x="162830" y="72999"/>
                      <a:pt x="166477" y="75963"/>
                    </a:cubicBezTo>
                    <a:cubicBezTo>
                      <a:pt x="168073" y="77217"/>
                      <a:pt x="170809" y="77217"/>
                      <a:pt x="171550" y="79155"/>
                    </a:cubicBezTo>
                    <a:cubicBezTo>
                      <a:pt x="172291" y="81092"/>
                      <a:pt x="171550" y="81833"/>
                      <a:pt x="171550" y="83088"/>
                    </a:cubicBezTo>
                    <a:cubicBezTo>
                      <a:pt x="171550" y="84341"/>
                      <a:pt x="174001" y="85538"/>
                      <a:pt x="175710" y="85994"/>
                    </a:cubicBezTo>
                    <a:lnTo>
                      <a:pt x="183348" y="87932"/>
                    </a:lnTo>
                    <a:cubicBezTo>
                      <a:pt x="187474" y="88434"/>
                      <a:pt x="191207" y="90622"/>
                      <a:pt x="193664" y="93973"/>
                    </a:cubicBezTo>
                    <a:cubicBezTo>
                      <a:pt x="196799" y="99388"/>
                      <a:pt x="191669" y="105828"/>
                      <a:pt x="188648" y="11158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7" name="Freihandform: Form 313">
                <a:extLst>
                  <a:ext uri="{FF2B5EF4-FFF2-40B4-BE49-F238E27FC236}">
                    <a16:creationId xmlns:a16="http://schemas.microsoft.com/office/drawing/2014/main" id="{8E01E6AB-DB19-A19B-74E0-09C997FF8517}"/>
                  </a:ext>
                </a:extLst>
              </p:cNvPr>
              <p:cNvSpPr/>
              <p:nvPr/>
            </p:nvSpPr>
            <p:spPr>
              <a:xfrm>
                <a:off x="4306127" y="4619866"/>
                <a:ext cx="169160" cy="178208"/>
              </a:xfrm>
              <a:custGeom>
                <a:avLst/>
                <a:gdLst>
                  <a:gd name="connsiteX0" fmla="*/ 134280 w 169160"/>
                  <a:gd name="connsiteY0" fmla="*/ 168177 h 178208"/>
                  <a:gd name="connsiteX1" fmla="*/ 128580 w 169160"/>
                  <a:gd name="connsiteY1" fmla="*/ 178208 h 178208"/>
                  <a:gd name="connsiteX2" fmla="*/ 95523 w 169160"/>
                  <a:gd name="connsiteY2" fmla="*/ 168975 h 178208"/>
                  <a:gd name="connsiteX3" fmla="*/ 77114 w 169160"/>
                  <a:gd name="connsiteY3" fmla="*/ 176669 h 178208"/>
                  <a:gd name="connsiteX4" fmla="*/ 74492 w 169160"/>
                  <a:gd name="connsiteY4" fmla="*/ 178094 h 178208"/>
                  <a:gd name="connsiteX5" fmla="*/ 74492 w 169160"/>
                  <a:gd name="connsiteY5" fmla="*/ 177410 h 178208"/>
                  <a:gd name="connsiteX6" fmla="*/ 79565 w 169160"/>
                  <a:gd name="connsiteY6" fmla="*/ 159514 h 178208"/>
                  <a:gd name="connsiteX7" fmla="*/ 69249 w 169160"/>
                  <a:gd name="connsiteY7" fmla="*/ 153473 h 178208"/>
                  <a:gd name="connsiteX8" fmla="*/ 61611 w 169160"/>
                  <a:gd name="connsiteY8" fmla="*/ 151535 h 178208"/>
                  <a:gd name="connsiteX9" fmla="*/ 57451 w 169160"/>
                  <a:gd name="connsiteY9" fmla="*/ 148628 h 178208"/>
                  <a:gd name="connsiteX10" fmla="*/ 57451 w 169160"/>
                  <a:gd name="connsiteY10" fmla="*/ 144696 h 178208"/>
                  <a:gd name="connsiteX11" fmla="*/ 52378 w 169160"/>
                  <a:gd name="connsiteY11" fmla="*/ 141504 h 178208"/>
                  <a:gd name="connsiteX12" fmla="*/ 49414 w 169160"/>
                  <a:gd name="connsiteY12" fmla="*/ 128395 h 178208"/>
                  <a:gd name="connsiteX13" fmla="*/ 43715 w 169160"/>
                  <a:gd name="connsiteY13" fmla="*/ 125602 h 178208"/>
                  <a:gd name="connsiteX14" fmla="*/ 41663 w 169160"/>
                  <a:gd name="connsiteY14" fmla="*/ 117509 h 178208"/>
                  <a:gd name="connsiteX15" fmla="*/ 32259 w 169160"/>
                  <a:gd name="connsiteY15" fmla="*/ 115514 h 178208"/>
                  <a:gd name="connsiteX16" fmla="*/ 25933 w 169160"/>
                  <a:gd name="connsiteY16" fmla="*/ 99897 h 178208"/>
                  <a:gd name="connsiteX17" fmla="*/ 15389 w 169160"/>
                  <a:gd name="connsiteY17" fmla="*/ 97846 h 178208"/>
                  <a:gd name="connsiteX18" fmla="*/ 10088 w 169160"/>
                  <a:gd name="connsiteY18" fmla="*/ 84965 h 178208"/>
                  <a:gd name="connsiteX19" fmla="*/ 4389 w 169160"/>
                  <a:gd name="connsiteY19" fmla="*/ 72540 h 178208"/>
                  <a:gd name="connsiteX20" fmla="*/ 0 w 169160"/>
                  <a:gd name="connsiteY20" fmla="*/ 72027 h 178208"/>
                  <a:gd name="connsiteX21" fmla="*/ 32373 w 169160"/>
                  <a:gd name="connsiteY21" fmla="*/ 67980 h 178208"/>
                  <a:gd name="connsiteX22" fmla="*/ 37446 w 169160"/>
                  <a:gd name="connsiteY22" fmla="*/ 65587 h 178208"/>
                  <a:gd name="connsiteX23" fmla="*/ 39497 w 169160"/>
                  <a:gd name="connsiteY23" fmla="*/ 60571 h 178208"/>
                  <a:gd name="connsiteX24" fmla="*/ 51295 w 169160"/>
                  <a:gd name="connsiteY24" fmla="*/ 52193 h 178208"/>
                  <a:gd name="connsiteX25" fmla="*/ 52036 w 169160"/>
                  <a:gd name="connsiteY25" fmla="*/ 48317 h 178208"/>
                  <a:gd name="connsiteX26" fmla="*/ 67539 w 169160"/>
                  <a:gd name="connsiteY26" fmla="*/ 32587 h 178208"/>
                  <a:gd name="connsiteX27" fmla="*/ 69362 w 169160"/>
                  <a:gd name="connsiteY27" fmla="*/ 28141 h 178208"/>
                  <a:gd name="connsiteX28" fmla="*/ 75347 w 169160"/>
                  <a:gd name="connsiteY28" fmla="*/ 25804 h 178208"/>
                  <a:gd name="connsiteX29" fmla="*/ 83155 w 169160"/>
                  <a:gd name="connsiteY29" fmla="*/ 14918 h 178208"/>
                  <a:gd name="connsiteX30" fmla="*/ 90337 w 169160"/>
                  <a:gd name="connsiteY30" fmla="*/ 11157 h 178208"/>
                  <a:gd name="connsiteX31" fmla="*/ 93642 w 169160"/>
                  <a:gd name="connsiteY31" fmla="*/ 6312 h 178208"/>
                  <a:gd name="connsiteX32" fmla="*/ 108176 w 169160"/>
                  <a:gd name="connsiteY32" fmla="*/ 214 h 178208"/>
                  <a:gd name="connsiteX33" fmla="*/ 109487 w 169160"/>
                  <a:gd name="connsiteY33" fmla="*/ 10473 h 178208"/>
                  <a:gd name="connsiteX34" fmla="*/ 117067 w 169160"/>
                  <a:gd name="connsiteY34" fmla="*/ 16856 h 178208"/>
                  <a:gd name="connsiteX35" fmla="*/ 124989 w 169160"/>
                  <a:gd name="connsiteY35" fmla="*/ 16856 h 178208"/>
                  <a:gd name="connsiteX36" fmla="*/ 130233 w 169160"/>
                  <a:gd name="connsiteY36" fmla="*/ 22214 h 178208"/>
                  <a:gd name="connsiteX37" fmla="*/ 140606 w 169160"/>
                  <a:gd name="connsiteY37" fmla="*/ 23867 h 178208"/>
                  <a:gd name="connsiteX38" fmla="*/ 147730 w 169160"/>
                  <a:gd name="connsiteY38" fmla="*/ 30022 h 178208"/>
                  <a:gd name="connsiteX39" fmla="*/ 158160 w 169160"/>
                  <a:gd name="connsiteY39" fmla="*/ 31276 h 178208"/>
                  <a:gd name="connsiteX40" fmla="*/ 161010 w 169160"/>
                  <a:gd name="connsiteY40" fmla="*/ 32131 h 178208"/>
                  <a:gd name="connsiteX41" fmla="*/ 162606 w 169160"/>
                  <a:gd name="connsiteY41" fmla="*/ 34810 h 178208"/>
                  <a:gd name="connsiteX42" fmla="*/ 167850 w 169160"/>
                  <a:gd name="connsiteY42" fmla="*/ 48488 h 178208"/>
                  <a:gd name="connsiteX43" fmla="*/ 169160 w 169160"/>
                  <a:gd name="connsiteY43" fmla="*/ 53732 h 178208"/>
                  <a:gd name="connsiteX44" fmla="*/ 165855 w 169160"/>
                  <a:gd name="connsiteY44" fmla="*/ 62965 h 178208"/>
                  <a:gd name="connsiteX45" fmla="*/ 163347 w 169160"/>
                  <a:gd name="connsiteY45" fmla="*/ 82571 h 178208"/>
                  <a:gd name="connsiteX46" fmla="*/ 160611 w 169160"/>
                  <a:gd name="connsiteY46" fmla="*/ 86048 h 178208"/>
                  <a:gd name="connsiteX47" fmla="*/ 163632 w 169160"/>
                  <a:gd name="connsiteY47" fmla="*/ 94882 h 178208"/>
                  <a:gd name="connsiteX48" fmla="*/ 168932 w 169160"/>
                  <a:gd name="connsiteY48" fmla="*/ 102975 h 178208"/>
                  <a:gd name="connsiteX49" fmla="*/ 167735 w 169160"/>
                  <a:gd name="connsiteY49" fmla="*/ 108675 h 178208"/>
                  <a:gd name="connsiteX50" fmla="*/ 163233 w 169160"/>
                  <a:gd name="connsiteY50" fmla="*/ 120074 h 178208"/>
                  <a:gd name="connsiteX51" fmla="*/ 161067 w 169160"/>
                  <a:gd name="connsiteY51" fmla="*/ 123664 h 178208"/>
                  <a:gd name="connsiteX52" fmla="*/ 158559 w 169160"/>
                  <a:gd name="connsiteY52" fmla="*/ 125374 h 178208"/>
                  <a:gd name="connsiteX53" fmla="*/ 154513 w 169160"/>
                  <a:gd name="connsiteY53" fmla="*/ 137058 h 178208"/>
                  <a:gd name="connsiteX54" fmla="*/ 150580 w 169160"/>
                  <a:gd name="connsiteY54" fmla="*/ 138654 h 178208"/>
                  <a:gd name="connsiteX55" fmla="*/ 149725 w 169160"/>
                  <a:gd name="connsiteY55" fmla="*/ 143556 h 178208"/>
                  <a:gd name="connsiteX56" fmla="*/ 140264 w 169160"/>
                  <a:gd name="connsiteY56" fmla="*/ 161680 h 17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9160" h="178208">
                    <a:moveTo>
                      <a:pt x="134280" y="168177"/>
                    </a:moveTo>
                    <a:cubicBezTo>
                      <a:pt x="132570" y="171625"/>
                      <a:pt x="130666" y="174977"/>
                      <a:pt x="128580" y="178208"/>
                    </a:cubicBezTo>
                    <a:cubicBezTo>
                      <a:pt x="119518" y="170303"/>
                      <a:pt x="107372" y="166912"/>
                      <a:pt x="95523" y="168975"/>
                    </a:cubicBezTo>
                    <a:cubicBezTo>
                      <a:pt x="89054" y="170657"/>
                      <a:pt x="82853" y="173244"/>
                      <a:pt x="77114" y="176669"/>
                    </a:cubicBezTo>
                    <a:lnTo>
                      <a:pt x="74492" y="178094"/>
                    </a:lnTo>
                    <a:lnTo>
                      <a:pt x="74492" y="177410"/>
                    </a:lnTo>
                    <a:cubicBezTo>
                      <a:pt x="77513" y="171711"/>
                      <a:pt x="82642" y="165213"/>
                      <a:pt x="79565" y="159514"/>
                    </a:cubicBezTo>
                    <a:cubicBezTo>
                      <a:pt x="77108" y="156163"/>
                      <a:pt x="73375" y="153974"/>
                      <a:pt x="69249" y="153473"/>
                    </a:cubicBezTo>
                    <a:lnTo>
                      <a:pt x="61611" y="151535"/>
                    </a:lnTo>
                    <a:cubicBezTo>
                      <a:pt x="59902" y="151079"/>
                      <a:pt x="57850" y="150395"/>
                      <a:pt x="57451" y="148628"/>
                    </a:cubicBezTo>
                    <a:cubicBezTo>
                      <a:pt x="57052" y="146861"/>
                      <a:pt x="57850" y="145949"/>
                      <a:pt x="57451" y="144696"/>
                    </a:cubicBezTo>
                    <a:cubicBezTo>
                      <a:pt x="57052" y="143441"/>
                      <a:pt x="53974" y="142758"/>
                      <a:pt x="52378" y="141504"/>
                    </a:cubicBezTo>
                    <a:cubicBezTo>
                      <a:pt x="48730" y="138540"/>
                      <a:pt x="53005" y="131359"/>
                      <a:pt x="49414" y="128395"/>
                    </a:cubicBezTo>
                    <a:cubicBezTo>
                      <a:pt x="47705" y="126970"/>
                      <a:pt x="45026" y="127255"/>
                      <a:pt x="43715" y="125602"/>
                    </a:cubicBezTo>
                    <a:cubicBezTo>
                      <a:pt x="42404" y="123949"/>
                      <a:pt x="43715" y="119903"/>
                      <a:pt x="41663" y="117509"/>
                    </a:cubicBezTo>
                    <a:cubicBezTo>
                      <a:pt x="39611" y="115115"/>
                      <a:pt x="35223" y="116939"/>
                      <a:pt x="32259" y="115514"/>
                    </a:cubicBezTo>
                    <a:cubicBezTo>
                      <a:pt x="26958" y="113006"/>
                      <a:pt x="30606" y="103431"/>
                      <a:pt x="25933" y="99897"/>
                    </a:cubicBezTo>
                    <a:cubicBezTo>
                      <a:pt x="23026" y="97675"/>
                      <a:pt x="18751" y="99213"/>
                      <a:pt x="15389" y="97846"/>
                    </a:cubicBezTo>
                    <a:cubicBezTo>
                      <a:pt x="10829" y="95908"/>
                      <a:pt x="10202" y="89867"/>
                      <a:pt x="10088" y="84965"/>
                    </a:cubicBezTo>
                    <a:cubicBezTo>
                      <a:pt x="9974" y="80063"/>
                      <a:pt x="8891" y="73908"/>
                      <a:pt x="4389" y="72540"/>
                    </a:cubicBezTo>
                    <a:cubicBezTo>
                      <a:pt x="2941" y="72255"/>
                      <a:pt x="1476" y="72084"/>
                      <a:pt x="0" y="72027"/>
                    </a:cubicBezTo>
                    <a:cubicBezTo>
                      <a:pt x="10430" y="69804"/>
                      <a:pt x="21715" y="70032"/>
                      <a:pt x="32373" y="67980"/>
                    </a:cubicBezTo>
                    <a:cubicBezTo>
                      <a:pt x="34294" y="67809"/>
                      <a:pt x="36089" y="66960"/>
                      <a:pt x="37446" y="65587"/>
                    </a:cubicBezTo>
                    <a:cubicBezTo>
                      <a:pt x="38528" y="64105"/>
                      <a:pt x="38586" y="62110"/>
                      <a:pt x="39497" y="60571"/>
                    </a:cubicBezTo>
                    <a:cubicBezTo>
                      <a:pt x="41948" y="56297"/>
                      <a:pt x="49471" y="56809"/>
                      <a:pt x="51295" y="52193"/>
                    </a:cubicBezTo>
                    <a:cubicBezTo>
                      <a:pt x="51654" y="50922"/>
                      <a:pt x="51900" y="49628"/>
                      <a:pt x="52036" y="48317"/>
                    </a:cubicBezTo>
                    <a:cubicBezTo>
                      <a:pt x="53746" y="40965"/>
                      <a:pt x="64917" y="39654"/>
                      <a:pt x="67539" y="32587"/>
                    </a:cubicBezTo>
                    <a:cubicBezTo>
                      <a:pt x="67835" y="30997"/>
                      <a:pt x="68456" y="29481"/>
                      <a:pt x="69362" y="28141"/>
                    </a:cubicBezTo>
                    <a:cubicBezTo>
                      <a:pt x="70844" y="26602"/>
                      <a:pt x="73409" y="26773"/>
                      <a:pt x="75347" y="25804"/>
                    </a:cubicBezTo>
                    <a:cubicBezTo>
                      <a:pt x="79451" y="23810"/>
                      <a:pt x="79679" y="17768"/>
                      <a:pt x="83155" y="14918"/>
                    </a:cubicBezTo>
                    <a:cubicBezTo>
                      <a:pt x="85264" y="13209"/>
                      <a:pt x="88285" y="12924"/>
                      <a:pt x="90337" y="11157"/>
                    </a:cubicBezTo>
                    <a:cubicBezTo>
                      <a:pt x="91631" y="9681"/>
                      <a:pt x="92742" y="8056"/>
                      <a:pt x="93642" y="6312"/>
                    </a:cubicBezTo>
                    <a:cubicBezTo>
                      <a:pt x="96885" y="1621"/>
                      <a:pt x="102556" y="-755"/>
                      <a:pt x="108176" y="214"/>
                    </a:cubicBezTo>
                    <a:cubicBezTo>
                      <a:pt x="107977" y="3685"/>
                      <a:pt x="108421" y="7161"/>
                      <a:pt x="109487" y="10473"/>
                    </a:cubicBezTo>
                    <a:cubicBezTo>
                      <a:pt x="110644" y="13835"/>
                      <a:pt x="113556" y="16292"/>
                      <a:pt x="117067" y="16856"/>
                    </a:cubicBezTo>
                    <a:cubicBezTo>
                      <a:pt x="119746" y="16856"/>
                      <a:pt x="122767" y="15830"/>
                      <a:pt x="124989" y="16856"/>
                    </a:cubicBezTo>
                    <a:cubicBezTo>
                      <a:pt x="127212" y="17882"/>
                      <a:pt x="128238" y="20675"/>
                      <a:pt x="130233" y="22214"/>
                    </a:cubicBezTo>
                    <a:cubicBezTo>
                      <a:pt x="132228" y="23753"/>
                      <a:pt x="137072" y="23695"/>
                      <a:pt x="140606" y="23867"/>
                    </a:cubicBezTo>
                    <a:cubicBezTo>
                      <a:pt x="144140" y="24037"/>
                      <a:pt x="148528" y="26545"/>
                      <a:pt x="147730" y="30022"/>
                    </a:cubicBezTo>
                    <a:lnTo>
                      <a:pt x="158160" y="31276"/>
                    </a:lnTo>
                    <a:cubicBezTo>
                      <a:pt x="159169" y="31304"/>
                      <a:pt x="160155" y="31601"/>
                      <a:pt x="161010" y="32131"/>
                    </a:cubicBezTo>
                    <a:cubicBezTo>
                      <a:pt x="161780" y="32860"/>
                      <a:pt x="162332" y="33784"/>
                      <a:pt x="162606" y="34810"/>
                    </a:cubicBezTo>
                    <a:cubicBezTo>
                      <a:pt x="164373" y="39369"/>
                      <a:pt x="166140" y="43929"/>
                      <a:pt x="167850" y="48488"/>
                    </a:cubicBezTo>
                    <a:cubicBezTo>
                      <a:pt x="168619" y="50136"/>
                      <a:pt x="169064" y="51914"/>
                      <a:pt x="169160" y="53732"/>
                    </a:cubicBezTo>
                    <a:cubicBezTo>
                      <a:pt x="168493" y="56946"/>
                      <a:pt x="167382" y="60058"/>
                      <a:pt x="165855" y="62965"/>
                    </a:cubicBezTo>
                    <a:cubicBezTo>
                      <a:pt x="163917" y="69405"/>
                      <a:pt x="167336" y="77214"/>
                      <a:pt x="163347" y="82571"/>
                    </a:cubicBezTo>
                    <a:cubicBezTo>
                      <a:pt x="162310" y="83626"/>
                      <a:pt x="161392" y="84788"/>
                      <a:pt x="160611" y="86048"/>
                    </a:cubicBezTo>
                    <a:cubicBezTo>
                      <a:pt x="159762" y="89331"/>
                      <a:pt x="160953" y="92802"/>
                      <a:pt x="163632" y="94882"/>
                    </a:cubicBezTo>
                    <a:cubicBezTo>
                      <a:pt x="166248" y="96922"/>
                      <a:pt x="168112" y="99767"/>
                      <a:pt x="168932" y="102975"/>
                    </a:cubicBezTo>
                    <a:cubicBezTo>
                      <a:pt x="168990" y="104941"/>
                      <a:pt x="168579" y="106896"/>
                      <a:pt x="167735" y="108675"/>
                    </a:cubicBezTo>
                    <a:lnTo>
                      <a:pt x="163233" y="120074"/>
                    </a:lnTo>
                    <a:cubicBezTo>
                      <a:pt x="162823" y="121430"/>
                      <a:pt x="162076" y="122667"/>
                      <a:pt x="161067" y="123664"/>
                    </a:cubicBezTo>
                    <a:cubicBezTo>
                      <a:pt x="160269" y="124348"/>
                      <a:pt x="159300" y="124690"/>
                      <a:pt x="158559" y="125374"/>
                    </a:cubicBezTo>
                    <a:cubicBezTo>
                      <a:pt x="155368" y="128224"/>
                      <a:pt x="158217" y="134949"/>
                      <a:pt x="154513" y="137058"/>
                    </a:cubicBezTo>
                    <a:cubicBezTo>
                      <a:pt x="153259" y="137742"/>
                      <a:pt x="151606" y="137685"/>
                      <a:pt x="150580" y="138654"/>
                    </a:cubicBezTo>
                    <a:cubicBezTo>
                      <a:pt x="149554" y="139623"/>
                      <a:pt x="149611" y="141846"/>
                      <a:pt x="149725" y="143556"/>
                    </a:cubicBezTo>
                    <a:cubicBezTo>
                      <a:pt x="150067" y="150566"/>
                      <a:pt x="144995" y="156550"/>
                      <a:pt x="140264" y="16168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8" name="Freihandform: Form 314">
                <a:extLst>
                  <a:ext uri="{FF2B5EF4-FFF2-40B4-BE49-F238E27FC236}">
                    <a16:creationId xmlns:a16="http://schemas.microsoft.com/office/drawing/2014/main" id="{18A97A2B-4047-F91F-C397-681A7609C61D}"/>
                  </a:ext>
                </a:extLst>
              </p:cNvPr>
              <p:cNvSpPr/>
              <p:nvPr/>
            </p:nvSpPr>
            <p:spPr>
              <a:xfrm>
                <a:off x="4416504" y="4516521"/>
                <a:ext cx="200706" cy="410020"/>
              </a:xfrm>
              <a:custGeom>
                <a:avLst/>
                <a:gdLst>
                  <a:gd name="connsiteX0" fmla="*/ 181664 w 200706"/>
                  <a:gd name="connsiteY0" fmla="*/ 5699 h 410020"/>
                  <a:gd name="connsiteX1" fmla="*/ 198135 w 200706"/>
                  <a:gd name="connsiteY1" fmla="*/ 0 h 410020"/>
                  <a:gd name="connsiteX2" fmla="*/ 200586 w 200706"/>
                  <a:gd name="connsiteY2" fmla="*/ 14933 h 410020"/>
                  <a:gd name="connsiteX3" fmla="*/ 185767 w 200706"/>
                  <a:gd name="connsiteY3" fmla="*/ 42404 h 410020"/>
                  <a:gd name="connsiteX4" fmla="*/ 193063 w 200706"/>
                  <a:gd name="connsiteY4" fmla="*/ 78311 h 410020"/>
                  <a:gd name="connsiteX5" fmla="*/ 196938 w 200706"/>
                  <a:gd name="connsiteY5" fmla="*/ 89368 h 410020"/>
                  <a:gd name="connsiteX6" fmla="*/ 193291 w 200706"/>
                  <a:gd name="connsiteY6" fmla="*/ 104129 h 410020"/>
                  <a:gd name="connsiteX7" fmla="*/ 172887 w 200706"/>
                  <a:gd name="connsiteY7" fmla="*/ 150523 h 410020"/>
                  <a:gd name="connsiteX8" fmla="*/ 168270 w 200706"/>
                  <a:gd name="connsiteY8" fmla="*/ 156222 h 410020"/>
                  <a:gd name="connsiteX9" fmla="*/ 156871 w 200706"/>
                  <a:gd name="connsiteY9" fmla="*/ 153430 h 410020"/>
                  <a:gd name="connsiteX10" fmla="*/ 133275 w 200706"/>
                  <a:gd name="connsiteY10" fmla="*/ 165342 h 410020"/>
                  <a:gd name="connsiteX11" fmla="*/ 114524 w 200706"/>
                  <a:gd name="connsiteY11" fmla="*/ 186316 h 410020"/>
                  <a:gd name="connsiteX12" fmla="*/ 100503 w 200706"/>
                  <a:gd name="connsiteY12" fmla="*/ 203927 h 410020"/>
                  <a:gd name="connsiteX13" fmla="*/ 91441 w 200706"/>
                  <a:gd name="connsiteY13" fmla="*/ 298937 h 410020"/>
                  <a:gd name="connsiteX14" fmla="*/ 109623 w 200706"/>
                  <a:gd name="connsiteY14" fmla="*/ 319569 h 410020"/>
                  <a:gd name="connsiteX15" fmla="*/ 59296 w 200706"/>
                  <a:gd name="connsiteY15" fmla="*/ 356559 h 410020"/>
                  <a:gd name="connsiteX16" fmla="*/ 49550 w 200706"/>
                  <a:gd name="connsiteY16" fmla="*/ 366704 h 410020"/>
                  <a:gd name="connsiteX17" fmla="*/ 54053 w 200706"/>
                  <a:gd name="connsiteY17" fmla="*/ 383233 h 410020"/>
                  <a:gd name="connsiteX18" fmla="*/ 42654 w 200706"/>
                  <a:gd name="connsiteY18" fmla="*/ 410020 h 410020"/>
                  <a:gd name="connsiteX19" fmla="*/ 32281 w 200706"/>
                  <a:gd name="connsiteY19" fmla="*/ 399020 h 410020"/>
                  <a:gd name="connsiteX20" fmla="*/ 31027 w 200706"/>
                  <a:gd name="connsiteY20" fmla="*/ 396284 h 410020"/>
                  <a:gd name="connsiteX21" fmla="*/ 33306 w 200706"/>
                  <a:gd name="connsiteY21" fmla="*/ 393150 h 410020"/>
                  <a:gd name="connsiteX22" fmla="*/ 34617 w 200706"/>
                  <a:gd name="connsiteY22" fmla="*/ 373657 h 410020"/>
                  <a:gd name="connsiteX23" fmla="*/ 29830 w 200706"/>
                  <a:gd name="connsiteY23" fmla="*/ 365678 h 410020"/>
                  <a:gd name="connsiteX24" fmla="*/ 36042 w 200706"/>
                  <a:gd name="connsiteY24" fmla="*/ 321222 h 410020"/>
                  <a:gd name="connsiteX25" fmla="*/ 21623 w 200706"/>
                  <a:gd name="connsiteY25" fmla="*/ 284689 h 410020"/>
                  <a:gd name="connsiteX26" fmla="*/ 18260 w 200706"/>
                  <a:gd name="connsiteY26" fmla="*/ 281611 h 410020"/>
                  <a:gd name="connsiteX27" fmla="*/ 23959 w 200706"/>
                  <a:gd name="connsiteY27" fmla="*/ 271580 h 410020"/>
                  <a:gd name="connsiteX28" fmla="*/ 29944 w 200706"/>
                  <a:gd name="connsiteY28" fmla="*/ 265025 h 410020"/>
                  <a:gd name="connsiteX29" fmla="*/ 39405 w 200706"/>
                  <a:gd name="connsiteY29" fmla="*/ 246901 h 410020"/>
                  <a:gd name="connsiteX30" fmla="*/ 40260 w 200706"/>
                  <a:gd name="connsiteY30" fmla="*/ 242000 h 410020"/>
                  <a:gd name="connsiteX31" fmla="*/ 44192 w 200706"/>
                  <a:gd name="connsiteY31" fmla="*/ 240404 h 410020"/>
                  <a:gd name="connsiteX32" fmla="*/ 48239 w 200706"/>
                  <a:gd name="connsiteY32" fmla="*/ 228720 h 410020"/>
                  <a:gd name="connsiteX33" fmla="*/ 50747 w 200706"/>
                  <a:gd name="connsiteY33" fmla="*/ 227010 h 410020"/>
                  <a:gd name="connsiteX34" fmla="*/ 52913 w 200706"/>
                  <a:gd name="connsiteY34" fmla="*/ 223419 h 410020"/>
                  <a:gd name="connsiteX35" fmla="*/ 57415 w 200706"/>
                  <a:gd name="connsiteY35" fmla="*/ 212020 h 410020"/>
                  <a:gd name="connsiteX36" fmla="*/ 58612 w 200706"/>
                  <a:gd name="connsiteY36" fmla="*/ 206321 h 410020"/>
                  <a:gd name="connsiteX37" fmla="*/ 53312 w 200706"/>
                  <a:gd name="connsiteY37" fmla="*/ 198227 h 410020"/>
                  <a:gd name="connsiteX38" fmla="*/ 50291 w 200706"/>
                  <a:gd name="connsiteY38" fmla="*/ 189393 h 410020"/>
                  <a:gd name="connsiteX39" fmla="*/ 53026 w 200706"/>
                  <a:gd name="connsiteY39" fmla="*/ 185917 h 410020"/>
                  <a:gd name="connsiteX40" fmla="*/ 55534 w 200706"/>
                  <a:gd name="connsiteY40" fmla="*/ 166311 h 410020"/>
                  <a:gd name="connsiteX41" fmla="*/ 58840 w 200706"/>
                  <a:gd name="connsiteY41" fmla="*/ 157077 h 410020"/>
                  <a:gd name="connsiteX42" fmla="*/ 57529 w 200706"/>
                  <a:gd name="connsiteY42" fmla="*/ 151834 h 410020"/>
                  <a:gd name="connsiteX43" fmla="*/ 52286 w 200706"/>
                  <a:gd name="connsiteY43" fmla="*/ 138155 h 410020"/>
                  <a:gd name="connsiteX44" fmla="*/ 50690 w 200706"/>
                  <a:gd name="connsiteY44" fmla="*/ 135477 h 410020"/>
                  <a:gd name="connsiteX45" fmla="*/ 47840 w 200706"/>
                  <a:gd name="connsiteY45" fmla="*/ 134622 h 410020"/>
                  <a:gd name="connsiteX46" fmla="*/ 37410 w 200706"/>
                  <a:gd name="connsiteY46" fmla="*/ 133368 h 410020"/>
                  <a:gd name="connsiteX47" fmla="*/ 30286 w 200706"/>
                  <a:gd name="connsiteY47" fmla="*/ 127212 h 410020"/>
                  <a:gd name="connsiteX48" fmla="*/ 19913 w 200706"/>
                  <a:gd name="connsiteY48" fmla="*/ 125559 h 410020"/>
                  <a:gd name="connsiteX49" fmla="*/ 14669 w 200706"/>
                  <a:gd name="connsiteY49" fmla="*/ 120202 h 410020"/>
                  <a:gd name="connsiteX50" fmla="*/ 6747 w 200706"/>
                  <a:gd name="connsiteY50" fmla="*/ 120202 h 410020"/>
                  <a:gd name="connsiteX51" fmla="*/ 21 w 200706"/>
                  <a:gd name="connsiteY51" fmla="*/ 115414 h 410020"/>
                  <a:gd name="connsiteX52" fmla="*/ 21 w 200706"/>
                  <a:gd name="connsiteY52" fmla="*/ 114503 h 410020"/>
                  <a:gd name="connsiteX53" fmla="*/ 17120 w 200706"/>
                  <a:gd name="connsiteY53" fmla="*/ 89425 h 410020"/>
                  <a:gd name="connsiteX54" fmla="*/ 46472 w 200706"/>
                  <a:gd name="connsiteY54" fmla="*/ 78026 h 410020"/>
                  <a:gd name="connsiteX55" fmla="*/ 60151 w 200706"/>
                  <a:gd name="connsiteY55" fmla="*/ 76886 h 410020"/>
                  <a:gd name="connsiteX56" fmla="*/ 71550 w 200706"/>
                  <a:gd name="connsiteY56" fmla="*/ 81332 h 410020"/>
                  <a:gd name="connsiteX57" fmla="*/ 81239 w 200706"/>
                  <a:gd name="connsiteY57" fmla="*/ 81332 h 410020"/>
                  <a:gd name="connsiteX58" fmla="*/ 88591 w 200706"/>
                  <a:gd name="connsiteY58" fmla="*/ 93585 h 410020"/>
                  <a:gd name="connsiteX59" fmla="*/ 85571 w 200706"/>
                  <a:gd name="connsiteY59" fmla="*/ 108746 h 410020"/>
                  <a:gd name="connsiteX60" fmla="*/ 94291 w 200706"/>
                  <a:gd name="connsiteY60" fmla="*/ 136274 h 410020"/>
                  <a:gd name="connsiteX61" fmla="*/ 97938 w 200706"/>
                  <a:gd name="connsiteY61" fmla="*/ 138725 h 410020"/>
                  <a:gd name="connsiteX62" fmla="*/ 106545 w 200706"/>
                  <a:gd name="connsiteY62" fmla="*/ 130461 h 410020"/>
                  <a:gd name="connsiteX63" fmla="*/ 110078 w 200706"/>
                  <a:gd name="connsiteY63" fmla="*/ 117751 h 410020"/>
                  <a:gd name="connsiteX64" fmla="*/ 122731 w 200706"/>
                  <a:gd name="connsiteY64" fmla="*/ 109487 h 410020"/>
                  <a:gd name="connsiteX65" fmla="*/ 123301 w 200706"/>
                  <a:gd name="connsiteY65" fmla="*/ 101622 h 410020"/>
                  <a:gd name="connsiteX66" fmla="*/ 106203 w 200706"/>
                  <a:gd name="connsiteY66" fmla="*/ 60984 h 410020"/>
                  <a:gd name="connsiteX67" fmla="*/ 104493 w 200706"/>
                  <a:gd name="connsiteY67" fmla="*/ 55798 h 410020"/>
                  <a:gd name="connsiteX68" fmla="*/ 101757 w 200706"/>
                  <a:gd name="connsiteY68" fmla="*/ 50098 h 410020"/>
                  <a:gd name="connsiteX69" fmla="*/ 101358 w 200706"/>
                  <a:gd name="connsiteY69" fmla="*/ 44969 h 410020"/>
                  <a:gd name="connsiteX70" fmla="*/ 95659 w 200706"/>
                  <a:gd name="connsiteY70" fmla="*/ 33000 h 410020"/>
                  <a:gd name="connsiteX71" fmla="*/ 94918 w 200706"/>
                  <a:gd name="connsiteY71" fmla="*/ 26389 h 410020"/>
                  <a:gd name="connsiteX72" fmla="*/ 96685 w 200706"/>
                  <a:gd name="connsiteY72" fmla="*/ 12368 h 410020"/>
                  <a:gd name="connsiteX73" fmla="*/ 110249 w 200706"/>
                  <a:gd name="connsiteY73" fmla="*/ 13508 h 410020"/>
                  <a:gd name="connsiteX74" fmla="*/ 126265 w 200706"/>
                  <a:gd name="connsiteY74" fmla="*/ 20176 h 410020"/>
                  <a:gd name="connsiteX75" fmla="*/ 151229 w 200706"/>
                  <a:gd name="connsiteY75" fmla="*/ 16187 h 4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00706" h="410020">
                    <a:moveTo>
                      <a:pt x="181664" y="5699"/>
                    </a:moveTo>
                    <a:cubicBezTo>
                      <a:pt x="187078" y="3761"/>
                      <a:pt x="192607" y="1824"/>
                      <a:pt x="198135" y="0"/>
                    </a:cubicBezTo>
                    <a:cubicBezTo>
                      <a:pt x="199349" y="4901"/>
                      <a:pt x="200170" y="9900"/>
                      <a:pt x="200586" y="14933"/>
                    </a:cubicBezTo>
                    <a:cubicBezTo>
                      <a:pt x="201498" y="26332"/>
                      <a:pt x="197280" y="41492"/>
                      <a:pt x="185767" y="42404"/>
                    </a:cubicBezTo>
                    <a:cubicBezTo>
                      <a:pt x="185488" y="54766"/>
                      <a:pt x="187984" y="67037"/>
                      <a:pt x="193063" y="78311"/>
                    </a:cubicBezTo>
                    <a:cubicBezTo>
                      <a:pt x="194932" y="81765"/>
                      <a:pt x="196243" y="85498"/>
                      <a:pt x="196938" y="89368"/>
                    </a:cubicBezTo>
                    <a:cubicBezTo>
                      <a:pt x="197001" y="94520"/>
                      <a:pt x="195741" y="99598"/>
                      <a:pt x="193291" y="104129"/>
                    </a:cubicBezTo>
                    <a:cubicBezTo>
                      <a:pt x="186508" y="119575"/>
                      <a:pt x="179726" y="135078"/>
                      <a:pt x="172887" y="150523"/>
                    </a:cubicBezTo>
                    <a:cubicBezTo>
                      <a:pt x="172094" y="152923"/>
                      <a:pt x="170453" y="154946"/>
                      <a:pt x="168270" y="156222"/>
                    </a:cubicBezTo>
                    <a:cubicBezTo>
                      <a:pt x="164451" y="157818"/>
                      <a:pt x="160519" y="154627"/>
                      <a:pt x="156871" y="153430"/>
                    </a:cubicBezTo>
                    <a:cubicBezTo>
                      <a:pt x="147923" y="150694"/>
                      <a:pt x="139488" y="158331"/>
                      <a:pt x="133275" y="165342"/>
                    </a:cubicBezTo>
                    <a:cubicBezTo>
                      <a:pt x="127063" y="172352"/>
                      <a:pt x="120793" y="179306"/>
                      <a:pt x="114524" y="186316"/>
                    </a:cubicBezTo>
                    <a:cubicBezTo>
                      <a:pt x="109411" y="191821"/>
                      <a:pt x="104721" y="197709"/>
                      <a:pt x="100503" y="203927"/>
                    </a:cubicBezTo>
                    <a:cubicBezTo>
                      <a:pt x="83063" y="231398"/>
                      <a:pt x="86938" y="266621"/>
                      <a:pt x="91441" y="298937"/>
                    </a:cubicBezTo>
                    <a:cubicBezTo>
                      <a:pt x="101882" y="300163"/>
                      <a:pt x="109725" y="309060"/>
                      <a:pt x="109623" y="319569"/>
                    </a:cubicBezTo>
                    <a:lnTo>
                      <a:pt x="59296" y="356559"/>
                    </a:lnTo>
                    <a:cubicBezTo>
                      <a:pt x="54679" y="359922"/>
                      <a:pt x="48524" y="361119"/>
                      <a:pt x="49550" y="366704"/>
                    </a:cubicBezTo>
                    <a:cubicBezTo>
                      <a:pt x="50576" y="372290"/>
                      <a:pt x="53368" y="377533"/>
                      <a:pt x="54053" y="383233"/>
                    </a:cubicBezTo>
                    <a:cubicBezTo>
                      <a:pt x="55306" y="393321"/>
                      <a:pt x="49892" y="402269"/>
                      <a:pt x="42654" y="410020"/>
                    </a:cubicBezTo>
                    <a:cubicBezTo>
                      <a:pt x="38561" y="407011"/>
                      <a:pt x="35045" y="403283"/>
                      <a:pt x="32281" y="399020"/>
                    </a:cubicBezTo>
                    <a:cubicBezTo>
                      <a:pt x="31808" y="398137"/>
                      <a:pt x="31386" y="397225"/>
                      <a:pt x="31027" y="396284"/>
                    </a:cubicBezTo>
                    <a:cubicBezTo>
                      <a:pt x="32035" y="395441"/>
                      <a:pt x="32816" y="394364"/>
                      <a:pt x="33306" y="393150"/>
                    </a:cubicBezTo>
                    <a:cubicBezTo>
                      <a:pt x="36025" y="387011"/>
                      <a:pt x="36492" y="380109"/>
                      <a:pt x="34617" y="373657"/>
                    </a:cubicBezTo>
                    <a:cubicBezTo>
                      <a:pt x="33751" y="370619"/>
                      <a:pt x="32104" y="367867"/>
                      <a:pt x="29830" y="365678"/>
                    </a:cubicBezTo>
                    <a:cubicBezTo>
                      <a:pt x="32167" y="350860"/>
                      <a:pt x="36498" y="336212"/>
                      <a:pt x="36042" y="321222"/>
                    </a:cubicBezTo>
                    <a:cubicBezTo>
                      <a:pt x="35837" y="307697"/>
                      <a:pt x="30713" y="294708"/>
                      <a:pt x="21623" y="284689"/>
                    </a:cubicBezTo>
                    <a:cubicBezTo>
                      <a:pt x="20568" y="283589"/>
                      <a:pt x="19445" y="282563"/>
                      <a:pt x="18260" y="281611"/>
                    </a:cubicBezTo>
                    <a:cubicBezTo>
                      <a:pt x="20346" y="278379"/>
                      <a:pt x="22249" y="275028"/>
                      <a:pt x="23959" y="271580"/>
                    </a:cubicBezTo>
                    <a:lnTo>
                      <a:pt x="29944" y="265025"/>
                    </a:lnTo>
                    <a:cubicBezTo>
                      <a:pt x="34674" y="259896"/>
                      <a:pt x="39747" y="253911"/>
                      <a:pt x="39405" y="246901"/>
                    </a:cubicBezTo>
                    <a:cubicBezTo>
                      <a:pt x="39405" y="245191"/>
                      <a:pt x="39006" y="243196"/>
                      <a:pt x="40260" y="242000"/>
                    </a:cubicBezTo>
                    <a:cubicBezTo>
                      <a:pt x="41514" y="240803"/>
                      <a:pt x="42939" y="241088"/>
                      <a:pt x="44192" y="240404"/>
                    </a:cubicBezTo>
                    <a:cubicBezTo>
                      <a:pt x="47897" y="238295"/>
                      <a:pt x="45047" y="231570"/>
                      <a:pt x="48239" y="228720"/>
                    </a:cubicBezTo>
                    <a:cubicBezTo>
                      <a:pt x="48980" y="228036"/>
                      <a:pt x="49949" y="227694"/>
                      <a:pt x="50747" y="227010"/>
                    </a:cubicBezTo>
                    <a:cubicBezTo>
                      <a:pt x="51756" y="226012"/>
                      <a:pt x="52502" y="224776"/>
                      <a:pt x="52913" y="223419"/>
                    </a:cubicBezTo>
                    <a:lnTo>
                      <a:pt x="57415" y="212020"/>
                    </a:lnTo>
                    <a:cubicBezTo>
                      <a:pt x="58259" y="210242"/>
                      <a:pt x="58669" y="208287"/>
                      <a:pt x="58612" y="206321"/>
                    </a:cubicBezTo>
                    <a:cubicBezTo>
                      <a:pt x="57786" y="203112"/>
                      <a:pt x="55922" y="200268"/>
                      <a:pt x="53312" y="198227"/>
                    </a:cubicBezTo>
                    <a:cubicBezTo>
                      <a:pt x="50633" y="196153"/>
                      <a:pt x="49442" y="192676"/>
                      <a:pt x="50291" y="189393"/>
                    </a:cubicBezTo>
                    <a:cubicBezTo>
                      <a:pt x="51072" y="188134"/>
                      <a:pt x="51989" y="186971"/>
                      <a:pt x="53026" y="185917"/>
                    </a:cubicBezTo>
                    <a:cubicBezTo>
                      <a:pt x="57016" y="180559"/>
                      <a:pt x="53597" y="172751"/>
                      <a:pt x="55534" y="166311"/>
                    </a:cubicBezTo>
                    <a:cubicBezTo>
                      <a:pt x="57062" y="163404"/>
                      <a:pt x="58173" y="160292"/>
                      <a:pt x="58840" y="157077"/>
                    </a:cubicBezTo>
                    <a:cubicBezTo>
                      <a:pt x="58743" y="155260"/>
                      <a:pt x="58299" y="153481"/>
                      <a:pt x="57529" y="151834"/>
                    </a:cubicBezTo>
                    <a:cubicBezTo>
                      <a:pt x="55819" y="147275"/>
                      <a:pt x="54053" y="142715"/>
                      <a:pt x="52286" y="138155"/>
                    </a:cubicBezTo>
                    <a:cubicBezTo>
                      <a:pt x="52012" y="137129"/>
                      <a:pt x="51459" y="136206"/>
                      <a:pt x="50690" y="135477"/>
                    </a:cubicBezTo>
                    <a:cubicBezTo>
                      <a:pt x="49835" y="134946"/>
                      <a:pt x="48849" y="134650"/>
                      <a:pt x="47840" y="134622"/>
                    </a:cubicBezTo>
                    <a:lnTo>
                      <a:pt x="37410" y="133368"/>
                    </a:lnTo>
                    <a:cubicBezTo>
                      <a:pt x="38208" y="129891"/>
                      <a:pt x="33876" y="127383"/>
                      <a:pt x="30286" y="127212"/>
                    </a:cubicBezTo>
                    <a:cubicBezTo>
                      <a:pt x="26695" y="127041"/>
                      <a:pt x="22706" y="127782"/>
                      <a:pt x="19913" y="125559"/>
                    </a:cubicBezTo>
                    <a:cubicBezTo>
                      <a:pt x="17120" y="123337"/>
                      <a:pt x="16949" y="121285"/>
                      <a:pt x="14669" y="120202"/>
                    </a:cubicBezTo>
                    <a:cubicBezTo>
                      <a:pt x="12390" y="119119"/>
                      <a:pt x="9426" y="120202"/>
                      <a:pt x="6747" y="120202"/>
                    </a:cubicBezTo>
                    <a:cubicBezTo>
                      <a:pt x="3857" y="119797"/>
                      <a:pt x="1350" y="118013"/>
                      <a:pt x="21" y="115414"/>
                    </a:cubicBezTo>
                    <a:cubicBezTo>
                      <a:pt x="-7" y="115112"/>
                      <a:pt x="-7" y="114805"/>
                      <a:pt x="21" y="114503"/>
                    </a:cubicBezTo>
                    <a:cubicBezTo>
                      <a:pt x="1657" y="103998"/>
                      <a:pt x="7938" y="94788"/>
                      <a:pt x="17120" y="89425"/>
                    </a:cubicBezTo>
                    <a:cubicBezTo>
                      <a:pt x="26285" y="84187"/>
                      <a:pt x="36173" y="80345"/>
                      <a:pt x="46472" y="78026"/>
                    </a:cubicBezTo>
                    <a:cubicBezTo>
                      <a:pt x="50861" y="76493"/>
                      <a:pt x="55569" y="76099"/>
                      <a:pt x="60151" y="76886"/>
                    </a:cubicBezTo>
                    <a:cubicBezTo>
                      <a:pt x="63844" y="78630"/>
                      <a:pt x="67652" y="80112"/>
                      <a:pt x="71550" y="81332"/>
                    </a:cubicBezTo>
                    <a:cubicBezTo>
                      <a:pt x="74776" y="81103"/>
                      <a:pt x="78013" y="81103"/>
                      <a:pt x="81239" y="81332"/>
                    </a:cubicBezTo>
                    <a:cubicBezTo>
                      <a:pt x="86169" y="83298"/>
                      <a:pt x="89173" y="88313"/>
                      <a:pt x="88591" y="93585"/>
                    </a:cubicBezTo>
                    <a:cubicBezTo>
                      <a:pt x="87896" y="98698"/>
                      <a:pt x="86887" y="103759"/>
                      <a:pt x="85571" y="108746"/>
                    </a:cubicBezTo>
                    <a:cubicBezTo>
                      <a:pt x="84049" y="118777"/>
                      <a:pt x="87275" y="128945"/>
                      <a:pt x="94291" y="136274"/>
                    </a:cubicBezTo>
                    <a:cubicBezTo>
                      <a:pt x="95265" y="137403"/>
                      <a:pt x="96525" y="138252"/>
                      <a:pt x="97938" y="138725"/>
                    </a:cubicBezTo>
                    <a:cubicBezTo>
                      <a:pt x="102270" y="139922"/>
                      <a:pt x="105804" y="134906"/>
                      <a:pt x="106545" y="130461"/>
                    </a:cubicBezTo>
                    <a:cubicBezTo>
                      <a:pt x="107286" y="126015"/>
                      <a:pt x="107001" y="121000"/>
                      <a:pt x="110078" y="117751"/>
                    </a:cubicBezTo>
                    <a:cubicBezTo>
                      <a:pt x="113156" y="114503"/>
                      <a:pt x="120223" y="113989"/>
                      <a:pt x="122731" y="109487"/>
                    </a:cubicBezTo>
                    <a:cubicBezTo>
                      <a:pt x="123808" y="107008"/>
                      <a:pt x="124008" y="104232"/>
                      <a:pt x="123301" y="101622"/>
                    </a:cubicBezTo>
                    <a:cubicBezTo>
                      <a:pt x="120115" y="87151"/>
                      <a:pt x="114319" y="73381"/>
                      <a:pt x="106203" y="60984"/>
                    </a:cubicBezTo>
                    <a:cubicBezTo>
                      <a:pt x="105929" y="59172"/>
                      <a:pt x="105348" y="57416"/>
                      <a:pt x="104493" y="55798"/>
                    </a:cubicBezTo>
                    <a:cubicBezTo>
                      <a:pt x="103330" y="54031"/>
                      <a:pt x="102413" y="52110"/>
                      <a:pt x="101757" y="50098"/>
                    </a:cubicBezTo>
                    <a:cubicBezTo>
                      <a:pt x="101535" y="48394"/>
                      <a:pt x="101404" y="46684"/>
                      <a:pt x="101358" y="44969"/>
                    </a:cubicBezTo>
                    <a:cubicBezTo>
                      <a:pt x="100674" y="40580"/>
                      <a:pt x="96855" y="37274"/>
                      <a:pt x="95659" y="33000"/>
                    </a:cubicBezTo>
                    <a:cubicBezTo>
                      <a:pt x="95072" y="30845"/>
                      <a:pt x="94821" y="28617"/>
                      <a:pt x="94918" y="26389"/>
                    </a:cubicBezTo>
                    <a:cubicBezTo>
                      <a:pt x="95077" y="21669"/>
                      <a:pt x="95670" y="16979"/>
                      <a:pt x="96685" y="12368"/>
                    </a:cubicBezTo>
                    <a:cubicBezTo>
                      <a:pt x="101199" y="11154"/>
                      <a:pt x="105997" y="11559"/>
                      <a:pt x="110249" y="13508"/>
                    </a:cubicBezTo>
                    <a:cubicBezTo>
                      <a:pt x="115413" y="16130"/>
                      <a:pt x="120765" y="18364"/>
                      <a:pt x="126265" y="20176"/>
                    </a:cubicBezTo>
                    <a:cubicBezTo>
                      <a:pt x="134797" y="21208"/>
                      <a:pt x="143443" y="19823"/>
                      <a:pt x="151229" y="1618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599" name="Freihandform: Form 315">
                <a:extLst>
                  <a:ext uri="{FF2B5EF4-FFF2-40B4-BE49-F238E27FC236}">
                    <a16:creationId xmlns:a16="http://schemas.microsoft.com/office/drawing/2014/main" id="{1A01B674-2984-EC83-9C34-FD18ED55E7F3}"/>
                  </a:ext>
                </a:extLst>
              </p:cNvPr>
              <p:cNvSpPr/>
              <p:nvPr/>
            </p:nvSpPr>
            <p:spPr>
              <a:xfrm>
                <a:off x="4471534" y="4505863"/>
                <a:ext cx="68287" cy="149903"/>
              </a:xfrm>
              <a:custGeom>
                <a:avLst/>
                <a:gdLst>
                  <a:gd name="connsiteX0" fmla="*/ 20396 w 68287"/>
                  <a:gd name="connsiteY0" fmla="*/ 0 h 149903"/>
                  <a:gd name="connsiteX1" fmla="*/ 24841 w 68287"/>
                  <a:gd name="connsiteY1" fmla="*/ 2964 h 149903"/>
                  <a:gd name="connsiteX2" fmla="*/ 27235 w 68287"/>
                  <a:gd name="connsiteY2" fmla="*/ 21316 h 149903"/>
                  <a:gd name="connsiteX3" fmla="*/ 30256 w 68287"/>
                  <a:gd name="connsiteY3" fmla="*/ 51466 h 149903"/>
                  <a:gd name="connsiteX4" fmla="*/ 29173 w 68287"/>
                  <a:gd name="connsiteY4" fmla="*/ 63891 h 149903"/>
                  <a:gd name="connsiteX5" fmla="*/ 36639 w 68287"/>
                  <a:gd name="connsiteY5" fmla="*/ 72668 h 149903"/>
                  <a:gd name="connsiteX6" fmla="*/ 39033 w 68287"/>
                  <a:gd name="connsiteY6" fmla="*/ 73295 h 149903"/>
                  <a:gd name="connsiteX7" fmla="*/ 39033 w 68287"/>
                  <a:gd name="connsiteY7" fmla="*/ 75233 h 149903"/>
                  <a:gd name="connsiteX8" fmla="*/ 40572 w 68287"/>
                  <a:gd name="connsiteY8" fmla="*/ 82927 h 149903"/>
                  <a:gd name="connsiteX9" fmla="*/ 47468 w 68287"/>
                  <a:gd name="connsiteY9" fmla="*/ 85663 h 149903"/>
                  <a:gd name="connsiteX10" fmla="*/ 50774 w 68287"/>
                  <a:gd name="connsiteY10" fmla="*/ 71984 h 149903"/>
                  <a:gd name="connsiteX11" fmla="*/ 67872 w 68287"/>
                  <a:gd name="connsiteY11" fmla="*/ 112622 h 149903"/>
                  <a:gd name="connsiteX12" fmla="*/ 67302 w 68287"/>
                  <a:gd name="connsiteY12" fmla="*/ 120487 h 149903"/>
                  <a:gd name="connsiteX13" fmla="*/ 54649 w 68287"/>
                  <a:gd name="connsiteY13" fmla="*/ 128751 h 149903"/>
                  <a:gd name="connsiteX14" fmla="*/ 51116 w 68287"/>
                  <a:gd name="connsiteY14" fmla="*/ 141461 h 149903"/>
                  <a:gd name="connsiteX15" fmla="*/ 42509 w 68287"/>
                  <a:gd name="connsiteY15" fmla="*/ 149725 h 149903"/>
                  <a:gd name="connsiteX16" fmla="*/ 38862 w 68287"/>
                  <a:gd name="connsiteY16" fmla="*/ 147274 h 149903"/>
                  <a:gd name="connsiteX17" fmla="*/ 30142 w 68287"/>
                  <a:gd name="connsiteY17" fmla="*/ 119746 h 149903"/>
                  <a:gd name="connsiteX18" fmla="*/ 33162 w 68287"/>
                  <a:gd name="connsiteY18" fmla="*/ 104585 h 149903"/>
                  <a:gd name="connsiteX19" fmla="*/ 25810 w 68287"/>
                  <a:gd name="connsiteY19" fmla="*/ 92332 h 149903"/>
                  <a:gd name="connsiteX20" fmla="*/ 16121 w 68287"/>
                  <a:gd name="connsiteY20" fmla="*/ 92332 h 149903"/>
                  <a:gd name="connsiteX21" fmla="*/ 4722 w 68287"/>
                  <a:gd name="connsiteY21" fmla="*/ 87886 h 149903"/>
                  <a:gd name="connsiteX22" fmla="*/ 1473 w 68287"/>
                  <a:gd name="connsiteY22" fmla="*/ 87430 h 149903"/>
                  <a:gd name="connsiteX23" fmla="*/ 504 w 68287"/>
                  <a:gd name="connsiteY23" fmla="*/ 84922 h 149903"/>
                  <a:gd name="connsiteX24" fmla="*/ 48 w 68287"/>
                  <a:gd name="connsiteY24" fmla="*/ 78767 h 149903"/>
                  <a:gd name="connsiteX25" fmla="*/ 48 w 68287"/>
                  <a:gd name="connsiteY25" fmla="*/ 54088 h 149903"/>
                  <a:gd name="connsiteX26" fmla="*/ 1872 w 68287"/>
                  <a:gd name="connsiteY26" fmla="*/ 49129 h 149903"/>
                  <a:gd name="connsiteX27" fmla="*/ 4722 w 68287"/>
                  <a:gd name="connsiteY27" fmla="*/ 48274 h 149903"/>
                  <a:gd name="connsiteX28" fmla="*/ 8598 w 68287"/>
                  <a:gd name="connsiteY28" fmla="*/ 41948 h 149903"/>
                  <a:gd name="connsiteX29" fmla="*/ 8598 w 68287"/>
                  <a:gd name="connsiteY29" fmla="*/ 7124 h 149903"/>
                  <a:gd name="connsiteX30" fmla="*/ 9225 w 68287"/>
                  <a:gd name="connsiteY30" fmla="*/ 3990 h 149903"/>
                  <a:gd name="connsiteX31" fmla="*/ 13442 w 68287"/>
                  <a:gd name="connsiteY31" fmla="*/ 3249 h 149903"/>
                  <a:gd name="connsiteX32" fmla="*/ 20396 w 68287"/>
                  <a:gd name="connsiteY32" fmla="*/ 0 h 14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287" h="149903">
                    <a:moveTo>
                      <a:pt x="20396" y="0"/>
                    </a:moveTo>
                    <a:cubicBezTo>
                      <a:pt x="21946" y="883"/>
                      <a:pt x="23433" y="1869"/>
                      <a:pt x="24841" y="2964"/>
                    </a:cubicBezTo>
                    <a:cubicBezTo>
                      <a:pt x="29629" y="7238"/>
                      <a:pt x="27634" y="14876"/>
                      <a:pt x="27235" y="21316"/>
                    </a:cubicBezTo>
                    <a:cubicBezTo>
                      <a:pt x="26608" y="31404"/>
                      <a:pt x="31110" y="41378"/>
                      <a:pt x="30256" y="51466"/>
                    </a:cubicBezTo>
                    <a:cubicBezTo>
                      <a:pt x="29532" y="55570"/>
                      <a:pt x="29167" y="59725"/>
                      <a:pt x="29173" y="63891"/>
                    </a:cubicBezTo>
                    <a:cubicBezTo>
                      <a:pt x="29304" y="68200"/>
                      <a:pt x="32404" y="71848"/>
                      <a:pt x="36639" y="72668"/>
                    </a:cubicBezTo>
                    <a:cubicBezTo>
                      <a:pt x="37494" y="72668"/>
                      <a:pt x="38520" y="72668"/>
                      <a:pt x="39033" y="73295"/>
                    </a:cubicBezTo>
                    <a:cubicBezTo>
                      <a:pt x="39295" y="73916"/>
                      <a:pt x="39295" y="74612"/>
                      <a:pt x="39033" y="75233"/>
                    </a:cubicBezTo>
                    <a:cubicBezTo>
                      <a:pt x="38668" y="77900"/>
                      <a:pt x="39209" y="80608"/>
                      <a:pt x="40572" y="82927"/>
                    </a:cubicBezTo>
                    <a:cubicBezTo>
                      <a:pt x="42037" y="85236"/>
                      <a:pt x="44818" y="86336"/>
                      <a:pt x="47468" y="85663"/>
                    </a:cubicBezTo>
                    <a:cubicBezTo>
                      <a:pt x="50398" y="81748"/>
                      <a:pt x="51595" y="76806"/>
                      <a:pt x="50774" y="71984"/>
                    </a:cubicBezTo>
                    <a:cubicBezTo>
                      <a:pt x="58890" y="84381"/>
                      <a:pt x="64686" y="98151"/>
                      <a:pt x="67872" y="112622"/>
                    </a:cubicBezTo>
                    <a:cubicBezTo>
                      <a:pt x="68579" y="115232"/>
                      <a:pt x="68379" y="118008"/>
                      <a:pt x="67302" y="120487"/>
                    </a:cubicBezTo>
                    <a:cubicBezTo>
                      <a:pt x="64794" y="124989"/>
                      <a:pt x="58126" y="124989"/>
                      <a:pt x="54649" y="128751"/>
                    </a:cubicBezTo>
                    <a:cubicBezTo>
                      <a:pt x="51173" y="132513"/>
                      <a:pt x="51856" y="137072"/>
                      <a:pt x="51116" y="141461"/>
                    </a:cubicBezTo>
                    <a:cubicBezTo>
                      <a:pt x="50375" y="145849"/>
                      <a:pt x="46841" y="150922"/>
                      <a:pt x="42509" y="149725"/>
                    </a:cubicBezTo>
                    <a:cubicBezTo>
                      <a:pt x="41096" y="149252"/>
                      <a:pt x="39836" y="148403"/>
                      <a:pt x="38862" y="147274"/>
                    </a:cubicBezTo>
                    <a:cubicBezTo>
                      <a:pt x="31846" y="139945"/>
                      <a:pt x="28620" y="129777"/>
                      <a:pt x="30142" y="119746"/>
                    </a:cubicBezTo>
                    <a:cubicBezTo>
                      <a:pt x="31458" y="114759"/>
                      <a:pt x="32467" y="109698"/>
                      <a:pt x="33162" y="104585"/>
                    </a:cubicBezTo>
                    <a:cubicBezTo>
                      <a:pt x="33744" y="99313"/>
                      <a:pt x="30734" y="94298"/>
                      <a:pt x="25810" y="92332"/>
                    </a:cubicBezTo>
                    <a:cubicBezTo>
                      <a:pt x="22584" y="92103"/>
                      <a:pt x="19347" y="92103"/>
                      <a:pt x="16121" y="92332"/>
                    </a:cubicBezTo>
                    <a:cubicBezTo>
                      <a:pt x="12222" y="91112"/>
                      <a:pt x="8415" y="89630"/>
                      <a:pt x="4722" y="87886"/>
                    </a:cubicBezTo>
                    <a:cubicBezTo>
                      <a:pt x="3662" y="87595"/>
                      <a:pt x="2573" y="87441"/>
                      <a:pt x="1473" y="87430"/>
                    </a:cubicBezTo>
                    <a:cubicBezTo>
                      <a:pt x="1074" y="86626"/>
                      <a:pt x="749" y="85783"/>
                      <a:pt x="504" y="84922"/>
                    </a:cubicBezTo>
                    <a:cubicBezTo>
                      <a:pt x="66" y="82899"/>
                      <a:pt x="-89" y="80830"/>
                      <a:pt x="48" y="78767"/>
                    </a:cubicBezTo>
                    <a:lnTo>
                      <a:pt x="48" y="54088"/>
                    </a:lnTo>
                    <a:cubicBezTo>
                      <a:pt x="48" y="52207"/>
                      <a:pt x="48" y="50041"/>
                      <a:pt x="1872" y="49129"/>
                    </a:cubicBezTo>
                    <a:cubicBezTo>
                      <a:pt x="2796" y="48759"/>
                      <a:pt x="3747" y="48474"/>
                      <a:pt x="4722" y="48274"/>
                    </a:cubicBezTo>
                    <a:cubicBezTo>
                      <a:pt x="7019" y="46975"/>
                      <a:pt x="8484" y="44587"/>
                      <a:pt x="8598" y="41948"/>
                    </a:cubicBezTo>
                    <a:cubicBezTo>
                      <a:pt x="10165" y="30395"/>
                      <a:pt x="10165" y="18677"/>
                      <a:pt x="8598" y="7124"/>
                    </a:cubicBezTo>
                    <a:cubicBezTo>
                      <a:pt x="8387" y="6036"/>
                      <a:pt x="8615" y="4913"/>
                      <a:pt x="9225" y="3990"/>
                    </a:cubicBezTo>
                    <a:cubicBezTo>
                      <a:pt x="10250" y="2964"/>
                      <a:pt x="11960" y="3306"/>
                      <a:pt x="13442" y="3249"/>
                    </a:cubicBezTo>
                    <a:cubicBezTo>
                      <a:pt x="16149" y="3351"/>
                      <a:pt x="18737" y="2143"/>
                      <a:pt x="20396"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0" name="Freihandform: Form 316">
                <a:extLst>
                  <a:ext uri="{FF2B5EF4-FFF2-40B4-BE49-F238E27FC236}">
                    <a16:creationId xmlns:a16="http://schemas.microsoft.com/office/drawing/2014/main" id="{FF1D0CA0-71F8-D4F3-53CF-C4B6307BF0D0}"/>
                  </a:ext>
                </a:extLst>
              </p:cNvPr>
              <p:cNvSpPr/>
              <p:nvPr/>
            </p:nvSpPr>
            <p:spPr>
              <a:xfrm>
                <a:off x="4236753" y="4450920"/>
                <a:ext cx="255005" cy="251232"/>
              </a:xfrm>
              <a:custGeom>
                <a:avLst/>
                <a:gdLst>
                  <a:gd name="connsiteX0" fmla="*/ 166264 w 255005"/>
                  <a:gd name="connsiteY0" fmla="*/ 1653 h 251232"/>
                  <a:gd name="connsiteX1" fmla="*/ 177207 w 255005"/>
                  <a:gd name="connsiteY1" fmla="*/ 0 h 251232"/>
                  <a:gd name="connsiteX2" fmla="*/ 183933 w 255005"/>
                  <a:gd name="connsiteY2" fmla="*/ 1311 h 251232"/>
                  <a:gd name="connsiteX3" fmla="*/ 188208 w 255005"/>
                  <a:gd name="connsiteY3" fmla="*/ 5358 h 251232"/>
                  <a:gd name="connsiteX4" fmla="*/ 195959 w 255005"/>
                  <a:gd name="connsiteY4" fmla="*/ 8321 h 251232"/>
                  <a:gd name="connsiteX5" fmla="*/ 202570 w 255005"/>
                  <a:gd name="connsiteY5" fmla="*/ 14021 h 251232"/>
                  <a:gd name="connsiteX6" fmla="*/ 213969 w 255005"/>
                  <a:gd name="connsiteY6" fmla="*/ 18409 h 251232"/>
                  <a:gd name="connsiteX7" fmla="*/ 221093 w 255005"/>
                  <a:gd name="connsiteY7" fmla="*/ 21772 h 251232"/>
                  <a:gd name="connsiteX8" fmla="*/ 232492 w 255005"/>
                  <a:gd name="connsiteY8" fmla="*/ 32259 h 251232"/>
                  <a:gd name="connsiteX9" fmla="*/ 243891 w 255005"/>
                  <a:gd name="connsiteY9" fmla="*/ 35565 h 251232"/>
                  <a:gd name="connsiteX10" fmla="*/ 252213 w 255005"/>
                  <a:gd name="connsiteY10" fmla="*/ 42917 h 251232"/>
                  <a:gd name="connsiteX11" fmla="*/ 252725 w 255005"/>
                  <a:gd name="connsiteY11" fmla="*/ 52606 h 251232"/>
                  <a:gd name="connsiteX12" fmla="*/ 255005 w 255005"/>
                  <a:gd name="connsiteY12" fmla="*/ 54886 h 251232"/>
                  <a:gd name="connsiteX13" fmla="*/ 248964 w 255005"/>
                  <a:gd name="connsiteY13" fmla="*/ 58078 h 251232"/>
                  <a:gd name="connsiteX14" fmla="*/ 244746 w 255005"/>
                  <a:gd name="connsiteY14" fmla="*/ 58819 h 251232"/>
                  <a:gd name="connsiteX15" fmla="*/ 244119 w 255005"/>
                  <a:gd name="connsiteY15" fmla="*/ 61953 h 251232"/>
                  <a:gd name="connsiteX16" fmla="*/ 244119 w 255005"/>
                  <a:gd name="connsiteY16" fmla="*/ 96777 h 251232"/>
                  <a:gd name="connsiteX17" fmla="*/ 240243 w 255005"/>
                  <a:gd name="connsiteY17" fmla="*/ 103104 h 251232"/>
                  <a:gd name="connsiteX18" fmla="*/ 237394 w 255005"/>
                  <a:gd name="connsiteY18" fmla="*/ 103958 h 251232"/>
                  <a:gd name="connsiteX19" fmla="*/ 235570 w 255005"/>
                  <a:gd name="connsiteY19" fmla="*/ 108917 h 251232"/>
                  <a:gd name="connsiteX20" fmla="*/ 235570 w 255005"/>
                  <a:gd name="connsiteY20" fmla="*/ 133596 h 251232"/>
                  <a:gd name="connsiteX21" fmla="*/ 236026 w 255005"/>
                  <a:gd name="connsiteY21" fmla="*/ 139751 h 251232"/>
                  <a:gd name="connsiteX22" fmla="*/ 236995 w 255005"/>
                  <a:gd name="connsiteY22" fmla="*/ 142259 h 251232"/>
                  <a:gd name="connsiteX23" fmla="*/ 226565 w 255005"/>
                  <a:gd name="connsiteY23" fmla="*/ 143855 h 251232"/>
                  <a:gd name="connsiteX24" fmla="*/ 197212 w 255005"/>
                  <a:gd name="connsiteY24" fmla="*/ 155254 h 251232"/>
                  <a:gd name="connsiteX25" fmla="*/ 180114 w 255005"/>
                  <a:gd name="connsiteY25" fmla="*/ 180331 h 251232"/>
                  <a:gd name="connsiteX26" fmla="*/ 180114 w 255005"/>
                  <a:gd name="connsiteY26" fmla="*/ 181243 h 251232"/>
                  <a:gd name="connsiteX27" fmla="*/ 179259 w 255005"/>
                  <a:gd name="connsiteY27" fmla="*/ 179647 h 251232"/>
                  <a:gd name="connsiteX28" fmla="*/ 177948 w 255005"/>
                  <a:gd name="connsiteY28" fmla="*/ 169389 h 251232"/>
                  <a:gd name="connsiteX29" fmla="*/ 163415 w 255005"/>
                  <a:gd name="connsiteY29" fmla="*/ 175487 h 251232"/>
                  <a:gd name="connsiteX30" fmla="*/ 160109 w 255005"/>
                  <a:gd name="connsiteY30" fmla="*/ 180331 h 251232"/>
                  <a:gd name="connsiteX31" fmla="*/ 152928 w 255005"/>
                  <a:gd name="connsiteY31" fmla="*/ 184093 h 251232"/>
                  <a:gd name="connsiteX32" fmla="*/ 145120 w 255005"/>
                  <a:gd name="connsiteY32" fmla="*/ 194979 h 251232"/>
                  <a:gd name="connsiteX33" fmla="*/ 139135 w 255005"/>
                  <a:gd name="connsiteY33" fmla="*/ 197316 h 251232"/>
                  <a:gd name="connsiteX34" fmla="*/ 137311 w 255005"/>
                  <a:gd name="connsiteY34" fmla="*/ 201761 h 251232"/>
                  <a:gd name="connsiteX35" fmla="*/ 121809 w 255005"/>
                  <a:gd name="connsiteY35" fmla="*/ 217492 h 251232"/>
                  <a:gd name="connsiteX36" fmla="*/ 121068 w 255005"/>
                  <a:gd name="connsiteY36" fmla="*/ 221368 h 251232"/>
                  <a:gd name="connsiteX37" fmla="*/ 109270 w 255005"/>
                  <a:gd name="connsiteY37" fmla="*/ 229746 h 251232"/>
                  <a:gd name="connsiteX38" fmla="*/ 107218 w 255005"/>
                  <a:gd name="connsiteY38" fmla="*/ 234761 h 251232"/>
                  <a:gd name="connsiteX39" fmla="*/ 102145 w 255005"/>
                  <a:gd name="connsiteY39" fmla="*/ 237155 h 251232"/>
                  <a:gd name="connsiteX40" fmla="*/ 69772 w 255005"/>
                  <a:gd name="connsiteY40" fmla="*/ 241202 h 251232"/>
                  <a:gd name="connsiteX41" fmla="*/ 69772 w 255005"/>
                  <a:gd name="connsiteY41" fmla="*/ 241202 h 251232"/>
                  <a:gd name="connsiteX42" fmla="*/ 55524 w 255005"/>
                  <a:gd name="connsiteY42" fmla="*/ 236357 h 251232"/>
                  <a:gd name="connsiteX43" fmla="*/ 37627 w 255005"/>
                  <a:gd name="connsiteY43" fmla="*/ 251233 h 251232"/>
                  <a:gd name="connsiteX44" fmla="*/ 30446 w 255005"/>
                  <a:gd name="connsiteY44" fmla="*/ 239264 h 251232"/>
                  <a:gd name="connsiteX45" fmla="*/ 26684 w 255005"/>
                  <a:gd name="connsiteY45" fmla="*/ 235502 h 251232"/>
                  <a:gd name="connsiteX46" fmla="*/ 23265 w 255005"/>
                  <a:gd name="connsiteY46" fmla="*/ 234761 h 251232"/>
                  <a:gd name="connsiteX47" fmla="*/ 23550 w 255005"/>
                  <a:gd name="connsiteY47" fmla="*/ 230031 h 251232"/>
                  <a:gd name="connsiteX48" fmla="*/ 18705 w 255005"/>
                  <a:gd name="connsiteY48" fmla="*/ 220969 h 251232"/>
                  <a:gd name="connsiteX49" fmla="*/ 6679 w 255005"/>
                  <a:gd name="connsiteY49" fmla="*/ 205466 h 251232"/>
                  <a:gd name="connsiteX50" fmla="*/ 2746 w 255005"/>
                  <a:gd name="connsiteY50" fmla="*/ 199367 h 251232"/>
                  <a:gd name="connsiteX51" fmla="*/ 1151 w 255005"/>
                  <a:gd name="connsiteY51" fmla="*/ 190420 h 251232"/>
                  <a:gd name="connsiteX52" fmla="*/ 752 w 255005"/>
                  <a:gd name="connsiteY52" fmla="*/ 124135 h 251232"/>
                  <a:gd name="connsiteX53" fmla="*/ 4114 w 255005"/>
                  <a:gd name="connsiteY53" fmla="*/ 114730 h 251232"/>
                  <a:gd name="connsiteX54" fmla="*/ 10669 w 255005"/>
                  <a:gd name="connsiteY54" fmla="*/ 113078 h 251232"/>
                  <a:gd name="connsiteX55" fmla="*/ 25886 w 255005"/>
                  <a:gd name="connsiteY55" fmla="*/ 113078 h 251232"/>
                  <a:gd name="connsiteX56" fmla="*/ 40990 w 255005"/>
                  <a:gd name="connsiteY56" fmla="*/ 108917 h 251232"/>
                  <a:gd name="connsiteX57" fmla="*/ 42472 w 255005"/>
                  <a:gd name="connsiteY57" fmla="*/ 101393 h 251232"/>
                  <a:gd name="connsiteX58" fmla="*/ 42814 w 255005"/>
                  <a:gd name="connsiteY58" fmla="*/ 77228 h 251232"/>
                  <a:gd name="connsiteX59" fmla="*/ 44068 w 255005"/>
                  <a:gd name="connsiteY59" fmla="*/ 72440 h 251232"/>
                  <a:gd name="connsiteX60" fmla="*/ 48627 w 255005"/>
                  <a:gd name="connsiteY60" fmla="*/ 70731 h 251232"/>
                  <a:gd name="connsiteX61" fmla="*/ 61907 w 255005"/>
                  <a:gd name="connsiteY61" fmla="*/ 70731 h 251232"/>
                  <a:gd name="connsiteX62" fmla="*/ 71596 w 255005"/>
                  <a:gd name="connsiteY62" fmla="*/ 79052 h 251232"/>
                  <a:gd name="connsiteX63" fmla="*/ 101689 w 255005"/>
                  <a:gd name="connsiteY63" fmla="*/ 89881 h 251232"/>
                  <a:gd name="connsiteX64" fmla="*/ 112404 w 255005"/>
                  <a:gd name="connsiteY64" fmla="*/ 84181 h 251232"/>
                  <a:gd name="connsiteX65" fmla="*/ 125171 w 255005"/>
                  <a:gd name="connsiteY65" fmla="*/ 95580 h 251232"/>
                  <a:gd name="connsiteX66" fmla="*/ 138622 w 255005"/>
                  <a:gd name="connsiteY66" fmla="*/ 104813 h 251232"/>
                  <a:gd name="connsiteX67" fmla="*/ 139990 w 255005"/>
                  <a:gd name="connsiteY67" fmla="*/ 108347 h 251232"/>
                  <a:gd name="connsiteX68" fmla="*/ 144264 w 255005"/>
                  <a:gd name="connsiteY68" fmla="*/ 110399 h 251232"/>
                  <a:gd name="connsiteX69" fmla="*/ 146202 w 255005"/>
                  <a:gd name="connsiteY69" fmla="*/ 116098 h 251232"/>
                  <a:gd name="connsiteX70" fmla="*/ 161699 w 255005"/>
                  <a:gd name="connsiteY70" fmla="*/ 125366 h 251232"/>
                  <a:gd name="connsiteX71" fmla="*/ 166207 w 255005"/>
                  <a:gd name="connsiteY71" fmla="*/ 123223 h 251232"/>
                  <a:gd name="connsiteX72" fmla="*/ 169171 w 255005"/>
                  <a:gd name="connsiteY72" fmla="*/ 119518 h 251232"/>
                  <a:gd name="connsiteX73" fmla="*/ 168829 w 255005"/>
                  <a:gd name="connsiteY73" fmla="*/ 100254 h 251232"/>
                  <a:gd name="connsiteX74" fmla="*/ 141757 w 255005"/>
                  <a:gd name="connsiteY74" fmla="*/ 84637 h 251232"/>
                  <a:gd name="connsiteX75" fmla="*/ 141016 w 255005"/>
                  <a:gd name="connsiteY75" fmla="*/ 71471 h 251232"/>
                  <a:gd name="connsiteX76" fmla="*/ 145062 w 255005"/>
                  <a:gd name="connsiteY76" fmla="*/ 45026 h 251232"/>
                  <a:gd name="connsiteX77" fmla="*/ 145062 w 255005"/>
                  <a:gd name="connsiteY77" fmla="*/ 38870 h 251232"/>
                  <a:gd name="connsiteX78" fmla="*/ 139363 w 255005"/>
                  <a:gd name="connsiteY78" fmla="*/ 24109 h 251232"/>
                  <a:gd name="connsiteX79" fmla="*/ 147342 w 255005"/>
                  <a:gd name="connsiteY79" fmla="*/ 8606 h 251232"/>
                  <a:gd name="connsiteX80" fmla="*/ 166264 w 255005"/>
                  <a:gd name="connsiteY80" fmla="*/ 1653 h 2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55005" h="251232">
                    <a:moveTo>
                      <a:pt x="166264" y="1653"/>
                    </a:moveTo>
                    <a:cubicBezTo>
                      <a:pt x="169969" y="1619"/>
                      <a:pt x="173657" y="1060"/>
                      <a:pt x="177207" y="0"/>
                    </a:cubicBezTo>
                    <a:cubicBezTo>
                      <a:pt x="179259" y="741"/>
                      <a:pt x="181881" y="342"/>
                      <a:pt x="183933" y="1311"/>
                    </a:cubicBezTo>
                    <a:cubicBezTo>
                      <a:pt x="185985" y="2280"/>
                      <a:pt x="186783" y="3990"/>
                      <a:pt x="188208" y="5358"/>
                    </a:cubicBezTo>
                    <a:cubicBezTo>
                      <a:pt x="190276" y="7364"/>
                      <a:pt x="193080" y="8435"/>
                      <a:pt x="195959" y="8321"/>
                    </a:cubicBezTo>
                    <a:cubicBezTo>
                      <a:pt x="196358" y="11342"/>
                      <a:pt x="199663" y="12995"/>
                      <a:pt x="202570" y="14021"/>
                    </a:cubicBezTo>
                    <a:lnTo>
                      <a:pt x="213969" y="18409"/>
                    </a:lnTo>
                    <a:cubicBezTo>
                      <a:pt x="216471" y="19236"/>
                      <a:pt x="218865" y="20370"/>
                      <a:pt x="221093" y="21772"/>
                    </a:cubicBezTo>
                    <a:cubicBezTo>
                      <a:pt x="225425" y="24793"/>
                      <a:pt x="228161" y="29751"/>
                      <a:pt x="232492" y="32259"/>
                    </a:cubicBezTo>
                    <a:cubicBezTo>
                      <a:pt x="236157" y="33786"/>
                      <a:pt x="239981" y="34898"/>
                      <a:pt x="243891" y="35565"/>
                    </a:cubicBezTo>
                    <a:cubicBezTo>
                      <a:pt x="247750" y="36408"/>
                      <a:pt x="250902" y="39190"/>
                      <a:pt x="252213" y="42917"/>
                    </a:cubicBezTo>
                    <a:cubicBezTo>
                      <a:pt x="252896" y="46109"/>
                      <a:pt x="251187" y="49700"/>
                      <a:pt x="252725" y="52606"/>
                    </a:cubicBezTo>
                    <a:cubicBezTo>
                      <a:pt x="253307" y="53530"/>
                      <a:pt x="254082" y="54305"/>
                      <a:pt x="255005" y="54886"/>
                    </a:cubicBezTo>
                    <a:cubicBezTo>
                      <a:pt x="253535" y="56761"/>
                      <a:pt x="251340" y="57918"/>
                      <a:pt x="248964" y="58078"/>
                    </a:cubicBezTo>
                    <a:cubicBezTo>
                      <a:pt x="247482" y="58078"/>
                      <a:pt x="245772" y="58078"/>
                      <a:pt x="244746" y="58819"/>
                    </a:cubicBezTo>
                    <a:cubicBezTo>
                      <a:pt x="244136" y="59742"/>
                      <a:pt x="243908" y="60865"/>
                      <a:pt x="244119" y="61953"/>
                    </a:cubicBezTo>
                    <a:cubicBezTo>
                      <a:pt x="245687" y="73506"/>
                      <a:pt x="245687" y="85224"/>
                      <a:pt x="244119" y="96777"/>
                    </a:cubicBezTo>
                    <a:cubicBezTo>
                      <a:pt x="244005" y="99416"/>
                      <a:pt x="242540" y="101804"/>
                      <a:pt x="240243" y="103104"/>
                    </a:cubicBezTo>
                    <a:cubicBezTo>
                      <a:pt x="239269" y="103303"/>
                      <a:pt x="238317" y="103588"/>
                      <a:pt x="237394" y="103958"/>
                    </a:cubicBezTo>
                    <a:cubicBezTo>
                      <a:pt x="235798" y="104870"/>
                      <a:pt x="235570" y="107036"/>
                      <a:pt x="235570" y="108917"/>
                    </a:cubicBezTo>
                    <a:lnTo>
                      <a:pt x="235570" y="133596"/>
                    </a:lnTo>
                    <a:cubicBezTo>
                      <a:pt x="235433" y="135659"/>
                      <a:pt x="235587" y="137728"/>
                      <a:pt x="236026" y="139751"/>
                    </a:cubicBezTo>
                    <a:cubicBezTo>
                      <a:pt x="236271" y="140612"/>
                      <a:pt x="236596" y="141455"/>
                      <a:pt x="236995" y="142259"/>
                    </a:cubicBezTo>
                    <a:cubicBezTo>
                      <a:pt x="233461" y="142282"/>
                      <a:pt x="229945" y="142817"/>
                      <a:pt x="226565" y="143855"/>
                    </a:cubicBezTo>
                    <a:cubicBezTo>
                      <a:pt x="216266" y="146175"/>
                      <a:pt x="206377" y="150016"/>
                      <a:pt x="197212" y="155254"/>
                    </a:cubicBezTo>
                    <a:cubicBezTo>
                      <a:pt x="188031" y="160617"/>
                      <a:pt x="181750" y="169827"/>
                      <a:pt x="180114" y="180331"/>
                    </a:cubicBezTo>
                    <a:cubicBezTo>
                      <a:pt x="180086" y="180633"/>
                      <a:pt x="180086" y="180941"/>
                      <a:pt x="180114" y="181243"/>
                    </a:cubicBezTo>
                    <a:cubicBezTo>
                      <a:pt x="179795" y="180730"/>
                      <a:pt x="179510" y="180195"/>
                      <a:pt x="179259" y="179647"/>
                    </a:cubicBezTo>
                    <a:cubicBezTo>
                      <a:pt x="178193" y="176336"/>
                      <a:pt x="177749" y="172859"/>
                      <a:pt x="177948" y="169389"/>
                    </a:cubicBezTo>
                    <a:cubicBezTo>
                      <a:pt x="172329" y="168419"/>
                      <a:pt x="166658" y="170796"/>
                      <a:pt x="163415" y="175487"/>
                    </a:cubicBezTo>
                    <a:cubicBezTo>
                      <a:pt x="162514" y="177231"/>
                      <a:pt x="161403" y="178855"/>
                      <a:pt x="160109" y="180331"/>
                    </a:cubicBezTo>
                    <a:cubicBezTo>
                      <a:pt x="158057" y="182098"/>
                      <a:pt x="155037" y="182383"/>
                      <a:pt x="152928" y="184093"/>
                    </a:cubicBezTo>
                    <a:cubicBezTo>
                      <a:pt x="149451" y="186943"/>
                      <a:pt x="149223" y="192984"/>
                      <a:pt x="145120" y="194979"/>
                    </a:cubicBezTo>
                    <a:cubicBezTo>
                      <a:pt x="143182" y="195948"/>
                      <a:pt x="140617" y="195777"/>
                      <a:pt x="139135" y="197316"/>
                    </a:cubicBezTo>
                    <a:cubicBezTo>
                      <a:pt x="138229" y="198655"/>
                      <a:pt x="137607" y="200171"/>
                      <a:pt x="137311" y="201761"/>
                    </a:cubicBezTo>
                    <a:cubicBezTo>
                      <a:pt x="134689" y="208829"/>
                      <a:pt x="123518" y="210140"/>
                      <a:pt x="121809" y="217492"/>
                    </a:cubicBezTo>
                    <a:cubicBezTo>
                      <a:pt x="121672" y="218803"/>
                      <a:pt x="121427" y="220097"/>
                      <a:pt x="121068" y="221368"/>
                    </a:cubicBezTo>
                    <a:cubicBezTo>
                      <a:pt x="119244" y="225984"/>
                      <a:pt x="111720" y="225471"/>
                      <a:pt x="109270" y="229746"/>
                    </a:cubicBezTo>
                    <a:cubicBezTo>
                      <a:pt x="108358" y="231285"/>
                      <a:pt x="108301" y="233279"/>
                      <a:pt x="107218" y="234761"/>
                    </a:cubicBezTo>
                    <a:cubicBezTo>
                      <a:pt x="105862" y="236135"/>
                      <a:pt x="104066" y="236984"/>
                      <a:pt x="102145" y="237155"/>
                    </a:cubicBezTo>
                    <a:cubicBezTo>
                      <a:pt x="91487" y="239207"/>
                      <a:pt x="80202" y="238979"/>
                      <a:pt x="69772" y="241202"/>
                    </a:cubicBezTo>
                    <a:lnTo>
                      <a:pt x="69772" y="241202"/>
                    </a:lnTo>
                    <a:cubicBezTo>
                      <a:pt x="64757" y="240518"/>
                      <a:pt x="60539" y="236129"/>
                      <a:pt x="55524" y="236357"/>
                    </a:cubicBezTo>
                    <a:cubicBezTo>
                      <a:pt x="47544" y="236756"/>
                      <a:pt x="44581" y="247357"/>
                      <a:pt x="37627" y="251233"/>
                    </a:cubicBezTo>
                    <a:cubicBezTo>
                      <a:pt x="35564" y="247055"/>
                      <a:pt x="33165" y="243054"/>
                      <a:pt x="30446" y="239264"/>
                    </a:cubicBezTo>
                    <a:cubicBezTo>
                      <a:pt x="29523" y="237719"/>
                      <a:pt x="28229" y="236426"/>
                      <a:pt x="26684" y="235502"/>
                    </a:cubicBezTo>
                    <a:cubicBezTo>
                      <a:pt x="25607" y="235029"/>
                      <a:pt x="24444" y="234778"/>
                      <a:pt x="23265" y="234761"/>
                    </a:cubicBezTo>
                    <a:cubicBezTo>
                      <a:pt x="23589" y="233205"/>
                      <a:pt x="23686" y="231615"/>
                      <a:pt x="23550" y="230031"/>
                    </a:cubicBezTo>
                    <a:cubicBezTo>
                      <a:pt x="22746" y="226640"/>
                      <a:pt x="21076" y="223522"/>
                      <a:pt x="18705" y="220969"/>
                    </a:cubicBezTo>
                    <a:lnTo>
                      <a:pt x="6679" y="205466"/>
                    </a:lnTo>
                    <a:cubicBezTo>
                      <a:pt x="5129" y="203596"/>
                      <a:pt x="3807" y="201551"/>
                      <a:pt x="2746" y="199367"/>
                    </a:cubicBezTo>
                    <a:cubicBezTo>
                      <a:pt x="1755" y="196484"/>
                      <a:pt x="1219" y="193469"/>
                      <a:pt x="1151" y="190420"/>
                    </a:cubicBezTo>
                    <a:cubicBezTo>
                      <a:pt x="-234" y="168351"/>
                      <a:pt x="-371" y="146220"/>
                      <a:pt x="752" y="124135"/>
                    </a:cubicBezTo>
                    <a:cubicBezTo>
                      <a:pt x="455" y="120658"/>
                      <a:pt x="1681" y="117227"/>
                      <a:pt x="4114" y="114730"/>
                    </a:cubicBezTo>
                    <a:cubicBezTo>
                      <a:pt x="6092" y="113551"/>
                      <a:pt x="8366" y="112975"/>
                      <a:pt x="10669" y="113078"/>
                    </a:cubicBezTo>
                    <a:cubicBezTo>
                      <a:pt x="15736" y="112821"/>
                      <a:pt x="20820" y="112821"/>
                      <a:pt x="25886" y="113078"/>
                    </a:cubicBezTo>
                    <a:cubicBezTo>
                      <a:pt x="31586" y="113477"/>
                      <a:pt x="38083" y="113590"/>
                      <a:pt x="40990" y="108917"/>
                    </a:cubicBezTo>
                    <a:cubicBezTo>
                      <a:pt x="42141" y="106586"/>
                      <a:pt x="42654" y="103987"/>
                      <a:pt x="42472" y="101393"/>
                    </a:cubicBezTo>
                    <a:lnTo>
                      <a:pt x="42814" y="77228"/>
                    </a:lnTo>
                    <a:cubicBezTo>
                      <a:pt x="42654" y="75535"/>
                      <a:pt x="43099" y="73837"/>
                      <a:pt x="44068" y="72440"/>
                    </a:cubicBezTo>
                    <a:cubicBezTo>
                      <a:pt x="45339" y="71352"/>
                      <a:pt x="46952" y="70748"/>
                      <a:pt x="48627" y="70731"/>
                    </a:cubicBezTo>
                    <a:cubicBezTo>
                      <a:pt x="53021" y="69961"/>
                      <a:pt x="57513" y="69961"/>
                      <a:pt x="61907" y="70731"/>
                    </a:cubicBezTo>
                    <a:cubicBezTo>
                      <a:pt x="66375" y="71608"/>
                      <a:pt x="70057" y="74766"/>
                      <a:pt x="71596" y="79052"/>
                    </a:cubicBezTo>
                    <a:cubicBezTo>
                      <a:pt x="82425" y="76772"/>
                      <a:pt x="91259" y="93642"/>
                      <a:pt x="101689" y="89881"/>
                    </a:cubicBezTo>
                    <a:cubicBezTo>
                      <a:pt x="105508" y="88513"/>
                      <a:pt x="108358" y="84523"/>
                      <a:pt x="112404" y="84181"/>
                    </a:cubicBezTo>
                    <a:cubicBezTo>
                      <a:pt x="118104" y="84181"/>
                      <a:pt x="120554" y="91762"/>
                      <a:pt x="125171" y="95580"/>
                    </a:cubicBezTo>
                    <a:cubicBezTo>
                      <a:pt x="129788" y="99399"/>
                      <a:pt x="136855" y="99513"/>
                      <a:pt x="138622" y="104813"/>
                    </a:cubicBezTo>
                    <a:cubicBezTo>
                      <a:pt x="138838" y="106073"/>
                      <a:pt x="139300" y="107276"/>
                      <a:pt x="139990" y="108347"/>
                    </a:cubicBezTo>
                    <a:cubicBezTo>
                      <a:pt x="141073" y="109487"/>
                      <a:pt x="143010" y="109430"/>
                      <a:pt x="144264" y="110399"/>
                    </a:cubicBezTo>
                    <a:cubicBezTo>
                      <a:pt x="145518" y="111368"/>
                      <a:pt x="145860" y="114104"/>
                      <a:pt x="146202" y="116098"/>
                    </a:cubicBezTo>
                    <a:cubicBezTo>
                      <a:pt x="147923" y="122938"/>
                      <a:pt x="154860" y="127081"/>
                      <a:pt x="161699" y="125366"/>
                    </a:cubicBezTo>
                    <a:cubicBezTo>
                      <a:pt x="163329" y="124955"/>
                      <a:pt x="164862" y="124226"/>
                      <a:pt x="166207" y="123223"/>
                    </a:cubicBezTo>
                    <a:cubicBezTo>
                      <a:pt x="167381" y="122151"/>
                      <a:pt x="168379" y="120897"/>
                      <a:pt x="169171" y="119518"/>
                    </a:cubicBezTo>
                    <a:cubicBezTo>
                      <a:pt x="173030" y="113636"/>
                      <a:pt x="172893" y="105993"/>
                      <a:pt x="168829" y="100254"/>
                    </a:cubicBezTo>
                    <a:cubicBezTo>
                      <a:pt x="161933" y="92160"/>
                      <a:pt x="146601" y="94155"/>
                      <a:pt x="141757" y="84637"/>
                    </a:cubicBezTo>
                    <a:cubicBezTo>
                      <a:pt x="140138" y="80437"/>
                      <a:pt x="139882" y="75831"/>
                      <a:pt x="141016" y="71471"/>
                    </a:cubicBezTo>
                    <a:cubicBezTo>
                      <a:pt x="142384" y="62694"/>
                      <a:pt x="143695" y="53860"/>
                      <a:pt x="145062" y="45026"/>
                    </a:cubicBezTo>
                    <a:cubicBezTo>
                      <a:pt x="145490" y="42997"/>
                      <a:pt x="145490" y="40900"/>
                      <a:pt x="145062" y="38870"/>
                    </a:cubicBezTo>
                    <a:cubicBezTo>
                      <a:pt x="143695" y="33513"/>
                      <a:pt x="136741" y="28782"/>
                      <a:pt x="139363" y="24109"/>
                    </a:cubicBezTo>
                    <a:cubicBezTo>
                      <a:pt x="145062" y="22000"/>
                      <a:pt x="144264" y="13736"/>
                      <a:pt x="147342" y="8606"/>
                    </a:cubicBezTo>
                    <a:cubicBezTo>
                      <a:pt x="150876" y="2679"/>
                      <a:pt x="159140" y="1881"/>
                      <a:pt x="166264" y="165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1" name="Freihandform: Form 317">
                <a:extLst>
                  <a:ext uri="{FF2B5EF4-FFF2-40B4-BE49-F238E27FC236}">
                    <a16:creationId xmlns:a16="http://schemas.microsoft.com/office/drawing/2014/main" id="{A0F68287-15A9-3628-C974-B06B1B17A837}"/>
                  </a:ext>
                </a:extLst>
              </p:cNvPr>
              <p:cNvSpPr/>
              <p:nvPr/>
            </p:nvSpPr>
            <p:spPr>
              <a:xfrm>
                <a:off x="4037340" y="4398372"/>
                <a:ext cx="259326" cy="296428"/>
              </a:xfrm>
              <a:custGeom>
                <a:avLst/>
                <a:gdLst>
                  <a:gd name="connsiteX0" fmla="*/ 242228 w 259326"/>
                  <a:gd name="connsiteY0" fmla="*/ 113874 h 296428"/>
                  <a:gd name="connsiteX1" fmla="*/ 259326 w 259326"/>
                  <a:gd name="connsiteY1" fmla="*/ 123050 h 296428"/>
                  <a:gd name="connsiteX2" fmla="*/ 247585 w 259326"/>
                  <a:gd name="connsiteY2" fmla="*/ 123050 h 296428"/>
                  <a:gd name="connsiteX3" fmla="*/ 243025 w 259326"/>
                  <a:gd name="connsiteY3" fmla="*/ 124760 h 296428"/>
                  <a:gd name="connsiteX4" fmla="*/ 241772 w 259326"/>
                  <a:gd name="connsiteY4" fmla="*/ 129548 h 296428"/>
                  <a:gd name="connsiteX5" fmla="*/ 241430 w 259326"/>
                  <a:gd name="connsiteY5" fmla="*/ 153714 h 296428"/>
                  <a:gd name="connsiteX6" fmla="*/ 239948 w 259326"/>
                  <a:gd name="connsiteY6" fmla="*/ 161237 h 296428"/>
                  <a:gd name="connsiteX7" fmla="*/ 224844 w 259326"/>
                  <a:gd name="connsiteY7" fmla="*/ 165397 h 296428"/>
                  <a:gd name="connsiteX8" fmla="*/ 209626 w 259326"/>
                  <a:gd name="connsiteY8" fmla="*/ 165397 h 296428"/>
                  <a:gd name="connsiteX9" fmla="*/ 203072 w 259326"/>
                  <a:gd name="connsiteY9" fmla="*/ 167050 h 296428"/>
                  <a:gd name="connsiteX10" fmla="*/ 199709 w 259326"/>
                  <a:gd name="connsiteY10" fmla="*/ 176454 h 296428"/>
                  <a:gd name="connsiteX11" fmla="*/ 200108 w 259326"/>
                  <a:gd name="connsiteY11" fmla="*/ 242739 h 296428"/>
                  <a:gd name="connsiteX12" fmla="*/ 201704 w 259326"/>
                  <a:gd name="connsiteY12" fmla="*/ 251687 h 296428"/>
                  <a:gd name="connsiteX13" fmla="*/ 205637 w 259326"/>
                  <a:gd name="connsiteY13" fmla="*/ 257786 h 296428"/>
                  <a:gd name="connsiteX14" fmla="*/ 217663 w 259326"/>
                  <a:gd name="connsiteY14" fmla="*/ 273288 h 296428"/>
                  <a:gd name="connsiteX15" fmla="*/ 222507 w 259326"/>
                  <a:gd name="connsiteY15" fmla="*/ 282351 h 296428"/>
                  <a:gd name="connsiteX16" fmla="*/ 222222 w 259326"/>
                  <a:gd name="connsiteY16" fmla="*/ 287081 h 296428"/>
                  <a:gd name="connsiteX17" fmla="*/ 220968 w 259326"/>
                  <a:gd name="connsiteY17" fmla="*/ 287081 h 296428"/>
                  <a:gd name="connsiteX18" fmla="*/ 197715 w 259326"/>
                  <a:gd name="connsiteY18" fmla="*/ 296030 h 296428"/>
                  <a:gd name="connsiteX19" fmla="*/ 196575 w 259326"/>
                  <a:gd name="connsiteY19" fmla="*/ 296428 h 296428"/>
                  <a:gd name="connsiteX20" fmla="*/ 197031 w 259326"/>
                  <a:gd name="connsiteY20" fmla="*/ 294092 h 296428"/>
                  <a:gd name="connsiteX21" fmla="*/ 148300 w 259326"/>
                  <a:gd name="connsiteY21" fmla="*/ 291242 h 296428"/>
                  <a:gd name="connsiteX22" fmla="*/ 139067 w 259326"/>
                  <a:gd name="connsiteY22" fmla="*/ 288221 h 296428"/>
                  <a:gd name="connsiteX23" fmla="*/ 135818 w 259326"/>
                  <a:gd name="connsiteY23" fmla="*/ 283604 h 296428"/>
                  <a:gd name="connsiteX24" fmla="*/ 128865 w 259326"/>
                  <a:gd name="connsiteY24" fmla="*/ 282123 h 296428"/>
                  <a:gd name="connsiteX25" fmla="*/ 48388 w 259326"/>
                  <a:gd name="connsiteY25" fmla="*/ 278532 h 296428"/>
                  <a:gd name="connsiteX26" fmla="*/ 40295 w 259326"/>
                  <a:gd name="connsiteY26" fmla="*/ 276651 h 296428"/>
                  <a:gd name="connsiteX27" fmla="*/ 33684 w 259326"/>
                  <a:gd name="connsiteY27" fmla="*/ 272604 h 296428"/>
                  <a:gd name="connsiteX28" fmla="*/ 23938 w 259326"/>
                  <a:gd name="connsiteY28" fmla="*/ 270097 h 296428"/>
                  <a:gd name="connsiteX29" fmla="*/ 5243 w 259326"/>
                  <a:gd name="connsiteY29" fmla="*/ 267475 h 296428"/>
                  <a:gd name="connsiteX30" fmla="*/ 0 w 259326"/>
                  <a:gd name="connsiteY30" fmla="*/ 238009 h 296428"/>
                  <a:gd name="connsiteX31" fmla="*/ 14078 w 259326"/>
                  <a:gd name="connsiteY31" fmla="*/ 205408 h 296428"/>
                  <a:gd name="connsiteX32" fmla="*/ 12311 w 259326"/>
                  <a:gd name="connsiteY32" fmla="*/ 167050 h 296428"/>
                  <a:gd name="connsiteX33" fmla="*/ 34368 w 259326"/>
                  <a:gd name="connsiteY33" fmla="*/ 139636 h 296428"/>
                  <a:gd name="connsiteX34" fmla="*/ 24565 w 259326"/>
                  <a:gd name="connsiteY34" fmla="*/ 99740 h 296428"/>
                  <a:gd name="connsiteX35" fmla="*/ 18865 w 259326"/>
                  <a:gd name="connsiteY35" fmla="*/ 34196 h 296428"/>
                  <a:gd name="connsiteX36" fmla="*/ 9005 w 259326"/>
                  <a:gd name="connsiteY36" fmla="*/ 24791 h 296428"/>
                  <a:gd name="connsiteX37" fmla="*/ 6668 w 259326"/>
                  <a:gd name="connsiteY37" fmla="*/ 455 h 296428"/>
                  <a:gd name="connsiteX38" fmla="*/ 21145 w 259326"/>
                  <a:gd name="connsiteY38" fmla="*/ 455 h 296428"/>
                  <a:gd name="connsiteX39" fmla="*/ 83839 w 259326"/>
                  <a:gd name="connsiteY39" fmla="*/ 740 h 296428"/>
                  <a:gd name="connsiteX40" fmla="*/ 94155 w 259326"/>
                  <a:gd name="connsiteY40" fmla="*/ 6439 h 296428"/>
                  <a:gd name="connsiteX41" fmla="*/ 94155 w 259326"/>
                  <a:gd name="connsiteY41" fmla="*/ 20061 h 296428"/>
                  <a:gd name="connsiteX42" fmla="*/ 95580 w 259326"/>
                  <a:gd name="connsiteY42" fmla="*/ 23880 h 296428"/>
                  <a:gd name="connsiteX43" fmla="*/ 99171 w 259326"/>
                  <a:gd name="connsiteY43" fmla="*/ 25019 h 296428"/>
                  <a:gd name="connsiteX44" fmla="*/ 101850 w 259326"/>
                  <a:gd name="connsiteY44" fmla="*/ 38584 h 296428"/>
                  <a:gd name="connsiteX45" fmla="*/ 105497 w 259326"/>
                  <a:gd name="connsiteY45" fmla="*/ 40351 h 296428"/>
                  <a:gd name="connsiteX46" fmla="*/ 109259 w 259326"/>
                  <a:gd name="connsiteY46" fmla="*/ 49470 h 296428"/>
                  <a:gd name="connsiteX47" fmla="*/ 116440 w 259326"/>
                  <a:gd name="connsiteY47" fmla="*/ 53916 h 296428"/>
                  <a:gd name="connsiteX48" fmla="*/ 122824 w 259326"/>
                  <a:gd name="connsiteY48" fmla="*/ 45823 h 296428"/>
                  <a:gd name="connsiteX49" fmla="*/ 131772 w 259326"/>
                  <a:gd name="connsiteY49" fmla="*/ 48045 h 296428"/>
                  <a:gd name="connsiteX50" fmla="*/ 146248 w 259326"/>
                  <a:gd name="connsiteY50" fmla="*/ 38670 h 296428"/>
                  <a:gd name="connsiteX51" fmla="*/ 146362 w 259326"/>
                  <a:gd name="connsiteY51" fmla="*/ 38071 h 296428"/>
                  <a:gd name="connsiteX52" fmla="*/ 146989 w 259326"/>
                  <a:gd name="connsiteY52" fmla="*/ 34310 h 296428"/>
                  <a:gd name="connsiteX53" fmla="*/ 155653 w 259326"/>
                  <a:gd name="connsiteY53" fmla="*/ 31859 h 296428"/>
                  <a:gd name="connsiteX54" fmla="*/ 162937 w 259326"/>
                  <a:gd name="connsiteY54" fmla="*/ 23030 h 296428"/>
                  <a:gd name="connsiteX55" fmla="*/ 170528 w 259326"/>
                  <a:gd name="connsiteY55" fmla="*/ 26729 h 296428"/>
                  <a:gd name="connsiteX56" fmla="*/ 174233 w 259326"/>
                  <a:gd name="connsiteY56" fmla="*/ 32429 h 296428"/>
                  <a:gd name="connsiteX57" fmla="*/ 178451 w 259326"/>
                  <a:gd name="connsiteY57" fmla="*/ 32828 h 296428"/>
                  <a:gd name="connsiteX58" fmla="*/ 193953 w 259326"/>
                  <a:gd name="connsiteY58" fmla="*/ 31118 h 296428"/>
                  <a:gd name="connsiteX59" fmla="*/ 198170 w 259326"/>
                  <a:gd name="connsiteY59" fmla="*/ 51636 h 296428"/>
                  <a:gd name="connsiteX60" fmla="*/ 201191 w 259326"/>
                  <a:gd name="connsiteY60" fmla="*/ 56423 h 296428"/>
                  <a:gd name="connsiteX61" fmla="*/ 196005 w 259326"/>
                  <a:gd name="connsiteY61" fmla="*/ 65714 h 296428"/>
                  <a:gd name="connsiteX62" fmla="*/ 193668 w 259326"/>
                  <a:gd name="connsiteY62" fmla="*/ 67424 h 296428"/>
                  <a:gd name="connsiteX63" fmla="*/ 196062 w 259326"/>
                  <a:gd name="connsiteY63" fmla="*/ 71470 h 296428"/>
                  <a:gd name="connsiteX64" fmla="*/ 198627 w 259326"/>
                  <a:gd name="connsiteY64" fmla="*/ 86973 h 296428"/>
                  <a:gd name="connsiteX65" fmla="*/ 202274 w 259326"/>
                  <a:gd name="connsiteY65" fmla="*/ 89651 h 296428"/>
                  <a:gd name="connsiteX66" fmla="*/ 206435 w 259326"/>
                  <a:gd name="connsiteY66" fmla="*/ 98999 h 296428"/>
                  <a:gd name="connsiteX67" fmla="*/ 206435 w 259326"/>
                  <a:gd name="connsiteY67" fmla="*/ 125558 h 296428"/>
                  <a:gd name="connsiteX68" fmla="*/ 217726 w 259326"/>
                  <a:gd name="connsiteY68" fmla="*/ 117653 h 296428"/>
                  <a:gd name="connsiteX69" fmla="*/ 217834 w 259326"/>
                  <a:gd name="connsiteY69" fmla="*/ 116838 h 296428"/>
                  <a:gd name="connsiteX70" fmla="*/ 233165 w 259326"/>
                  <a:gd name="connsiteY70" fmla="*/ 117180 h 296428"/>
                  <a:gd name="connsiteX71" fmla="*/ 235445 w 259326"/>
                  <a:gd name="connsiteY71" fmla="*/ 114330 h 296428"/>
                  <a:gd name="connsiteX72" fmla="*/ 242228 w 259326"/>
                  <a:gd name="connsiteY72" fmla="*/ 113874 h 29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59326" h="296428">
                    <a:moveTo>
                      <a:pt x="242228" y="113874"/>
                    </a:moveTo>
                    <a:cubicBezTo>
                      <a:pt x="248360" y="116040"/>
                      <a:pt x="254128" y="119135"/>
                      <a:pt x="259326" y="123050"/>
                    </a:cubicBezTo>
                    <a:cubicBezTo>
                      <a:pt x="255433" y="122509"/>
                      <a:pt x="251478" y="122509"/>
                      <a:pt x="247585" y="123050"/>
                    </a:cubicBezTo>
                    <a:cubicBezTo>
                      <a:pt x="245909" y="123067"/>
                      <a:pt x="244296" y="123672"/>
                      <a:pt x="243025" y="124760"/>
                    </a:cubicBezTo>
                    <a:cubicBezTo>
                      <a:pt x="242056" y="126156"/>
                      <a:pt x="241612" y="127855"/>
                      <a:pt x="241772" y="129548"/>
                    </a:cubicBezTo>
                    <a:lnTo>
                      <a:pt x="241430" y="153714"/>
                    </a:lnTo>
                    <a:cubicBezTo>
                      <a:pt x="241612" y="156307"/>
                      <a:pt x="241099" y="158906"/>
                      <a:pt x="239948" y="161237"/>
                    </a:cubicBezTo>
                    <a:cubicBezTo>
                      <a:pt x="237041" y="165910"/>
                      <a:pt x="230316" y="165796"/>
                      <a:pt x="224844" y="165397"/>
                    </a:cubicBezTo>
                    <a:cubicBezTo>
                      <a:pt x="219777" y="165141"/>
                      <a:pt x="214694" y="165141"/>
                      <a:pt x="209626" y="165397"/>
                    </a:cubicBezTo>
                    <a:cubicBezTo>
                      <a:pt x="207329" y="165295"/>
                      <a:pt x="205050" y="165870"/>
                      <a:pt x="203072" y="167050"/>
                    </a:cubicBezTo>
                    <a:cubicBezTo>
                      <a:pt x="200639" y="169547"/>
                      <a:pt x="199413" y="172978"/>
                      <a:pt x="199709" y="176454"/>
                    </a:cubicBezTo>
                    <a:cubicBezTo>
                      <a:pt x="198587" y="198540"/>
                      <a:pt x="198724" y="220671"/>
                      <a:pt x="200108" y="242739"/>
                    </a:cubicBezTo>
                    <a:cubicBezTo>
                      <a:pt x="200177" y="245789"/>
                      <a:pt x="200713" y="248804"/>
                      <a:pt x="201704" y="251687"/>
                    </a:cubicBezTo>
                    <a:cubicBezTo>
                      <a:pt x="202764" y="253870"/>
                      <a:pt x="204087" y="255916"/>
                      <a:pt x="205637" y="257786"/>
                    </a:cubicBezTo>
                    <a:lnTo>
                      <a:pt x="217663" y="273288"/>
                    </a:lnTo>
                    <a:cubicBezTo>
                      <a:pt x="220034" y="275836"/>
                      <a:pt x="221704" y="278960"/>
                      <a:pt x="222507" y="282351"/>
                    </a:cubicBezTo>
                    <a:cubicBezTo>
                      <a:pt x="222644" y="283935"/>
                      <a:pt x="222547" y="285525"/>
                      <a:pt x="222222" y="287081"/>
                    </a:cubicBezTo>
                    <a:lnTo>
                      <a:pt x="220968" y="287081"/>
                    </a:lnTo>
                    <a:cubicBezTo>
                      <a:pt x="212590" y="287423"/>
                      <a:pt x="205466" y="292781"/>
                      <a:pt x="197715" y="296030"/>
                    </a:cubicBezTo>
                    <a:lnTo>
                      <a:pt x="196575" y="296428"/>
                    </a:lnTo>
                    <a:cubicBezTo>
                      <a:pt x="196809" y="295665"/>
                      <a:pt x="196962" y="294884"/>
                      <a:pt x="197031" y="294092"/>
                    </a:cubicBezTo>
                    <a:lnTo>
                      <a:pt x="148300" y="291242"/>
                    </a:lnTo>
                    <a:cubicBezTo>
                      <a:pt x="144943" y="291493"/>
                      <a:pt x="141626" y="290404"/>
                      <a:pt x="139067" y="288221"/>
                    </a:cubicBezTo>
                    <a:cubicBezTo>
                      <a:pt x="137813" y="286796"/>
                      <a:pt x="137243" y="284858"/>
                      <a:pt x="135818" y="283604"/>
                    </a:cubicBezTo>
                    <a:cubicBezTo>
                      <a:pt x="133749" y="282300"/>
                      <a:pt x="131287" y="281769"/>
                      <a:pt x="128865" y="282123"/>
                    </a:cubicBezTo>
                    <a:cubicBezTo>
                      <a:pt x="101986" y="282920"/>
                      <a:pt x="75090" y="281724"/>
                      <a:pt x="48388" y="278532"/>
                    </a:cubicBezTo>
                    <a:cubicBezTo>
                      <a:pt x="45607" y="278338"/>
                      <a:pt x="42877" y="277706"/>
                      <a:pt x="40295" y="276651"/>
                    </a:cubicBezTo>
                    <a:cubicBezTo>
                      <a:pt x="37958" y="275568"/>
                      <a:pt x="36021" y="273744"/>
                      <a:pt x="33684" y="272604"/>
                    </a:cubicBezTo>
                    <a:cubicBezTo>
                      <a:pt x="30612" y="271197"/>
                      <a:pt x="27312" y="270347"/>
                      <a:pt x="23938" y="270097"/>
                    </a:cubicBezTo>
                    <a:lnTo>
                      <a:pt x="5243" y="267475"/>
                    </a:lnTo>
                    <a:cubicBezTo>
                      <a:pt x="3477" y="257672"/>
                      <a:pt x="1767" y="247869"/>
                      <a:pt x="0" y="238009"/>
                    </a:cubicBezTo>
                    <a:cubicBezTo>
                      <a:pt x="12596" y="234760"/>
                      <a:pt x="16073" y="218289"/>
                      <a:pt x="14078" y="205408"/>
                    </a:cubicBezTo>
                    <a:cubicBezTo>
                      <a:pt x="12083" y="192527"/>
                      <a:pt x="7238" y="179019"/>
                      <a:pt x="12311" y="167050"/>
                    </a:cubicBezTo>
                    <a:cubicBezTo>
                      <a:pt x="16927" y="156164"/>
                      <a:pt x="28554" y="149952"/>
                      <a:pt x="34368" y="139636"/>
                    </a:cubicBezTo>
                    <a:cubicBezTo>
                      <a:pt x="41726" y="125780"/>
                      <a:pt x="37508" y="108608"/>
                      <a:pt x="24565" y="99740"/>
                    </a:cubicBezTo>
                    <a:cubicBezTo>
                      <a:pt x="5642" y="87600"/>
                      <a:pt x="34140" y="50895"/>
                      <a:pt x="18865" y="34196"/>
                    </a:cubicBezTo>
                    <a:cubicBezTo>
                      <a:pt x="15371" y="31283"/>
                      <a:pt x="12077" y="28143"/>
                      <a:pt x="9005" y="24791"/>
                    </a:cubicBezTo>
                    <a:cubicBezTo>
                      <a:pt x="4332" y="17895"/>
                      <a:pt x="6896" y="8890"/>
                      <a:pt x="6668" y="455"/>
                    </a:cubicBezTo>
                    <a:lnTo>
                      <a:pt x="21145" y="455"/>
                    </a:lnTo>
                    <a:lnTo>
                      <a:pt x="83839" y="740"/>
                    </a:lnTo>
                    <a:cubicBezTo>
                      <a:pt x="87715" y="-1654"/>
                      <a:pt x="92901" y="2165"/>
                      <a:pt x="94155" y="6439"/>
                    </a:cubicBezTo>
                    <a:cubicBezTo>
                      <a:pt x="94668" y="10965"/>
                      <a:pt x="94668" y="15536"/>
                      <a:pt x="94155" y="20061"/>
                    </a:cubicBezTo>
                    <a:cubicBezTo>
                      <a:pt x="94013" y="21486"/>
                      <a:pt x="94537" y="22899"/>
                      <a:pt x="95580" y="23880"/>
                    </a:cubicBezTo>
                    <a:cubicBezTo>
                      <a:pt x="96606" y="24563"/>
                      <a:pt x="98031" y="24449"/>
                      <a:pt x="99171" y="25019"/>
                    </a:cubicBezTo>
                    <a:cubicBezTo>
                      <a:pt x="103502" y="27299"/>
                      <a:pt x="98088" y="35393"/>
                      <a:pt x="101850" y="38584"/>
                    </a:cubicBezTo>
                    <a:cubicBezTo>
                      <a:pt x="102875" y="39496"/>
                      <a:pt x="104357" y="39610"/>
                      <a:pt x="105497" y="40351"/>
                    </a:cubicBezTo>
                    <a:cubicBezTo>
                      <a:pt x="108461" y="42061"/>
                      <a:pt x="108461" y="46051"/>
                      <a:pt x="109259" y="49470"/>
                    </a:cubicBezTo>
                    <a:cubicBezTo>
                      <a:pt x="110057" y="52890"/>
                      <a:pt x="113932" y="56252"/>
                      <a:pt x="116440" y="53916"/>
                    </a:cubicBezTo>
                    <a:cubicBezTo>
                      <a:pt x="117580" y="50496"/>
                      <a:pt x="119290" y="46621"/>
                      <a:pt x="122824" y="45823"/>
                    </a:cubicBezTo>
                    <a:cubicBezTo>
                      <a:pt x="126357" y="45025"/>
                      <a:pt x="128523" y="47190"/>
                      <a:pt x="131772" y="48045"/>
                    </a:cubicBezTo>
                    <a:cubicBezTo>
                      <a:pt x="138360" y="49453"/>
                      <a:pt x="144841" y="45258"/>
                      <a:pt x="146248" y="38670"/>
                    </a:cubicBezTo>
                    <a:cubicBezTo>
                      <a:pt x="146294" y="38470"/>
                      <a:pt x="146328" y="38271"/>
                      <a:pt x="146362" y="38071"/>
                    </a:cubicBezTo>
                    <a:cubicBezTo>
                      <a:pt x="146339" y="36789"/>
                      <a:pt x="146551" y="35512"/>
                      <a:pt x="146989" y="34310"/>
                    </a:cubicBezTo>
                    <a:cubicBezTo>
                      <a:pt x="148357" y="31403"/>
                      <a:pt x="152689" y="31403"/>
                      <a:pt x="155653" y="31859"/>
                    </a:cubicBezTo>
                    <a:cubicBezTo>
                      <a:pt x="155225" y="27408"/>
                      <a:pt x="158491" y="23458"/>
                      <a:pt x="162937" y="23030"/>
                    </a:cubicBezTo>
                    <a:cubicBezTo>
                      <a:pt x="165963" y="22740"/>
                      <a:pt x="168892" y="24170"/>
                      <a:pt x="170528" y="26729"/>
                    </a:cubicBezTo>
                    <a:cubicBezTo>
                      <a:pt x="171725" y="28667"/>
                      <a:pt x="172238" y="31175"/>
                      <a:pt x="174233" y="32429"/>
                    </a:cubicBezTo>
                    <a:cubicBezTo>
                      <a:pt x="175572" y="32964"/>
                      <a:pt x="177037" y="33101"/>
                      <a:pt x="178451" y="32828"/>
                    </a:cubicBezTo>
                    <a:lnTo>
                      <a:pt x="193953" y="31118"/>
                    </a:lnTo>
                    <a:cubicBezTo>
                      <a:pt x="192266" y="38242"/>
                      <a:pt x="193811" y="45754"/>
                      <a:pt x="198170" y="51636"/>
                    </a:cubicBezTo>
                    <a:cubicBezTo>
                      <a:pt x="199459" y="53038"/>
                      <a:pt x="200479" y="54657"/>
                      <a:pt x="201191" y="56423"/>
                    </a:cubicBezTo>
                    <a:cubicBezTo>
                      <a:pt x="202000" y="60379"/>
                      <a:pt x="199795" y="64329"/>
                      <a:pt x="196005" y="65714"/>
                    </a:cubicBezTo>
                    <a:cubicBezTo>
                      <a:pt x="195093" y="66113"/>
                      <a:pt x="194010" y="66512"/>
                      <a:pt x="193668" y="67424"/>
                    </a:cubicBezTo>
                    <a:cubicBezTo>
                      <a:pt x="193326" y="68336"/>
                      <a:pt x="194979" y="70216"/>
                      <a:pt x="196062" y="71470"/>
                    </a:cubicBezTo>
                    <a:cubicBezTo>
                      <a:pt x="199595" y="75574"/>
                      <a:pt x="195036" y="82869"/>
                      <a:pt x="198627" y="86973"/>
                    </a:cubicBezTo>
                    <a:cubicBezTo>
                      <a:pt x="199766" y="87964"/>
                      <a:pt x="200986" y="88859"/>
                      <a:pt x="202274" y="89651"/>
                    </a:cubicBezTo>
                    <a:cubicBezTo>
                      <a:pt x="204782" y="92136"/>
                      <a:pt x="206270" y="95471"/>
                      <a:pt x="206435" y="98999"/>
                    </a:cubicBezTo>
                    <a:cubicBezTo>
                      <a:pt x="207860" y="107793"/>
                      <a:pt x="207860" y="116764"/>
                      <a:pt x="206435" y="125558"/>
                    </a:cubicBezTo>
                    <a:cubicBezTo>
                      <a:pt x="211735" y="126493"/>
                      <a:pt x="216791" y="122954"/>
                      <a:pt x="217726" y="117653"/>
                    </a:cubicBezTo>
                    <a:cubicBezTo>
                      <a:pt x="217771" y="117379"/>
                      <a:pt x="217811" y="117112"/>
                      <a:pt x="217834" y="116838"/>
                    </a:cubicBezTo>
                    <a:cubicBezTo>
                      <a:pt x="222450" y="114102"/>
                      <a:pt x="229233" y="120884"/>
                      <a:pt x="233165" y="117180"/>
                    </a:cubicBezTo>
                    <a:cubicBezTo>
                      <a:pt x="234077" y="116382"/>
                      <a:pt x="234533" y="115128"/>
                      <a:pt x="235445" y="114330"/>
                    </a:cubicBezTo>
                    <a:cubicBezTo>
                      <a:pt x="237451" y="112940"/>
                      <a:pt x="240056" y="112763"/>
                      <a:pt x="242228" y="1138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2" name="Freihandform: Form 318">
                <a:extLst>
                  <a:ext uri="{FF2B5EF4-FFF2-40B4-BE49-F238E27FC236}">
                    <a16:creationId xmlns:a16="http://schemas.microsoft.com/office/drawing/2014/main" id="{C818AD3D-E914-463F-B0EA-CFAD4952DCB4}"/>
                  </a:ext>
                </a:extLst>
              </p:cNvPr>
              <p:cNvSpPr/>
              <p:nvPr/>
            </p:nvSpPr>
            <p:spPr>
              <a:xfrm>
                <a:off x="4035459" y="4128320"/>
                <a:ext cx="401789" cy="448577"/>
              </a:xfrm>
              <a:custGeom>
                <a:avLst/>
                <a:gdLst>
                  <a:gd name="connsiteX0" fmla="*/ 351943 w 401789"/>
                  <a:gd name="connsiteY0" fmla="*/ 195045 h 448577"/>
                  <a:gd name="connsiteX1" fmla="*/ 355191 w 401789"/>
                  <a:gd name="connsiteY1" fmla="*/ 205019 h 448577"/>
                  <a:gd name="connsiteX2" fmla="*/ 353880 w 401789"/>
                  <a:gd name="connsiteY2" fmla="*/ 205019 h 448577"/>
                  <a:gd name="connsiteX3" fmla="*/ 353880 w 401789"/>
                  <a:gd name="connsiteY3" fmla="*/ 214993 h 448577"/>
                  <a:gd name="connsiteX4" fmla="*/ 349378 w 401789"/>
                  <a:gd name="connsiteY4" fmla="*/ 224341 h 448577"/>
                  <a:gd name="connsiteX5" fmla="*/ 348808 w 401789"/>
                  <a:gd name="connsiteY5" fmla="*/ 234771 h 448577"/>
                  <a:gd name="connsiteX6" fmla="*/ 353539 w 401789"/>
                  <a:gd name="connsiteY6" fmla="*/ 252667 h 448577"/>
                  <a:gd name="connsiteX7" fmla="*/ 353539 w 401789"/>
                  <a:gd name="connsiteY7" fmla="*/ 275465 h 448577"/>
                  <a:gd name="connsiteX8" fmla="*/ 354393 w 401789"/>
                  <a:gd name="connsiteY8" fmla="*/ 278600 h 448577"/>
                  <a:gd name="connsiteX9" fmla="*/ 358041 w 401789"/>
                  <a:gd name="connsiteY9" fmla="*/ 280139 h 448577"/>
                  <a:gd name="connsiteX10" fmla="*/ 360834 w 401789"/>
                  <a:gd name="connsiteY10" fmla="*/ 291025 h 448577"/>
                  <a:gd name="connsiteX11" fmla="*/ 369497 w 401789"/>
                  <a:gd name="connsiteY11" fmla="*/ 296325 h 448577"/>
                  <a:gd name="connsiteX12" fmla="*/ 368015 w 401789"/>
                  <a:gd name="connsiteY12" fmla="*/ 303449 h 448577"/>
                  <a:gd name="connsiteX13" fmla="*/ 376735 w 401789"/>
                  <a:gd name="connsiteY13" fmla="*/ 307553 h 448577"/>
                  <a:gd name="connsiteX14" fmla="*/ 377191 w 401789"/>
                  <a:gd name="connsiteY14" fmla="*/ 321631 h 448577"/>
                  <a:gd name="connsiteX15" fmla="*/ 378730 w 401789"/>
                  <a:gd name="connsiteY15" fmla="*/ 322657 h 448577"/>
                  <a:gd name="connsiteX16" fmla="*/ 367787 w 401789"/>
                  <a:gd name="connsiteY16" fmla="*/ 324309 h 448577"/>
                  <a:gd name="connsiteX17" fmla="*/ 348694 w 401789"/>
                  <a:gd name="connsiteY17" fmla="*/ 331434 h 448577"/>
                  <a:gd name="connsiteX18" fmla="*/ 340715 w 401789"/>
                  <a:gd name="connsiteY18" fmla="*/ 346936 h 448577"/>
                  <a:gd name="connsiteX19" fmla="*/ 346414 w 401789"/>
                  <a:gd name="connsiteY19" fmla="*/ 361698 h 448577"/>
                  <a:gd name="connsiteX20" fmla="*/ 346414 w 401789"/>
                  <a:gd name="connsiteY20" fmla="*/ 367853 h 448577"/>
                  <a:gd name="connsiteX21" fmla="*/ 342367 w 401789"/>
                  <a:gd name="connsiteY21" fmla="*/ 394299 h 448577"/>
                  <a:gd name="connsiteX22" fmla="*/ 343108 w 401789"/>
                  <a:gd name="connsiteY22" fmla="*/ 407465 h 448577"/>
                  <a:gd name="connsiteX23" fmla="*/ 370181 w 401789"/>
                  <a:gd name="connsiteY23" fmla="*/ 423081 h 448577"/>
                  <a:gd name="connsiteX24" fmla="*/ 370523 w 401789"/>
                  <a:gd name="connsiteY24" fmla="*/ 442346 h 448577"/>
                  <a:gd name="connsiteX25" fmla="*/ 367559 w 401789"/>
                  <a:gd name="connsiteY25" fmla="*/ 446050 h 448577"/>
                  <a:gd name="connsiteX26" fmla="*/ 349697 w 401789"/>
                  <a:gd name="connsiteY26" fmla="*/ 443434 h 448577"/>
                  <a:gd name="connsiteX27" fmla="*/ 347554 w 401789"/>
                  <a:gd name="connsiteY27" fmla="*/ 438926 h 448577"/>
                  <a:gd name="connsiteX28" fmla="*/ 345616 w 401789"/>
                  <a:gd name="connsiteY28" fmla="*/ 433226 h 448577"/>
                  <a:gd name="connsiteX29" fmla="*/ 341342 w 401789"/>
                  <a:gd name="connsiteY29" fmla="*/ 431174 h 448577"/>
                  <a:gd name="connsiteX30" fmla="*/ 339974 w 401789"/>
                  <a:gd name="connsiteY30" fmla="*/ 427641 h 448577"/>
                  <a:gd name="connsiteX31" fmla="*/ 326523 w 401789"/>
                  <a:gd name="connsiteY31" fmla="*/ 418408 h 448577"/>
                  <a:gd name="connsiteX32" fmla="*/ 313756 w 401789"/>
                  <a:gd name="connsiteY32" fmla="*/ 407009 h 448577"/>
                  <a:gd name="connsiteX33" fmla="*/ 303041 w 401789"/>
                  <a:gd name="connsiteY33" fmla="*/ 412708 h 448577"/>
                  <a:gd name="connsiteX34" fmla="*/ 272948 w 401789"/>
                  <a:gd name="connsiteY34" fmla="*/ 401879 h 448577"/>
                  <a:gd name="connsiteX35" fmla="*/ 263259 w 401789"/>
                  <a:gd name="connsiteY35" fmla="*/ 393558 h 448577"/>
                  <a:gd name="connsiteX36" fmla="*/ 261720 w 401789"/>
                  <a:gd name="connsiteY36" fmla="*/ 393558 h 448577"/>
                  <a:gd name="connsiteX37" fmla="*/ 244621 w 401789"/>
                  <a:gd name="connsiteY37" fmla="*/ 384382 h 448577"/>
                  <a:gd name="connsiteX38" fmla="*/ 238409 w 401789"/>
                  <a:gd name="connsiteY38" fmla="*/ 384382 h 448577"/>
                  <a:gd name="connsiteX39" fmla="*/ 236129 w 401789"/>
                  <a:gd name="connsiteY39" fmla="*/ 387232 h 448577"/>
                  <a:gd name="connsiteX40" fmla="*/ 220798 w 401789"/>
                  <a:gd name="connsiteY40" fmla="*/ 386890 h 448577"/>
                  <a:gd name="connsiteX41" fmla="*/ 210214 w 401789"/>
                  <a:gd name="connsiteY41" fmla="*/ 395718 h 448577"/>
                  <a:gd name="connsiteX42" fmla="*/ 209399 w 401789"/>
                  <a:gd name="connsiteY42" fmla="*/ 395610 h 448577"/>
                  <a:gd name="connsiteX43" fmla="*/ 209399 w 401789"/>
                  <a:gd name="connsiteY43" fmla="*/ 369050 h 448577"/>
                  <a:gd name="connsiteX44" fmla="*/ 205238 w 401789"/>
                  <a:gd name="connsiteY44" fmla="*/ 359703 h 448577"/>
                  <a:gd name="connsiteX45" fmla="*/ 201590 w 401789"/>
                  <a:gd name="connsiteY45" fmla="*/ 357024 h 448577"/>
                  <a:gd name="connsiteX46" fmla="*/ 199026 w 401789"/>
                  <a:gd name="connsiteY46" fmla="*/ 341522 h 448577"/>
                  <a:gd name="connsiteX47" fmla="*/ 196632 w 401789"/>
                  <a:gd name="connsiteY47" fmla="*/ 337475 h 448577"/>
                  <a:gd name="connsiteX48" fmla="*/ 198968 w 401789"/>
                  <a:gd name="connsiteY48" fmla="*/ 335765 h 448577"/>
                  <a:gd name="connsiteX49" fmla="*/ 204155 w 401789"/>
                  <a:gd name="connsiteY49" fmla="*/ 326475 h 448577"/>
                  <a:gd name="connsiteX50" fmla="*/ 201134 w 401789"/>
                  <a:gd name="connsiteY50" fmla="*/ 321688 h 448577"/>
                  <a:gd name="connsiteX51" fmla="*/ 196917 w 401789"/>
                  <a:gd name="connsiteY51" fmla="*/ 301170 h 448577"/>
                  <a:gd name="connsiteX52" fmla="*/ 181414 w 401789"/>
                  <a:gd name="connsiteY52" fmla="*/ 302879 h 448577"/>
                  <a:gd name="connsiteX53" fmla="*/ 177197 w 401789"/>
                  <a:gd name="connsiteY53" fmla="*/ 302480 h 448577"/>
                  <a:gd name="connsiteX54" fmla="*/ 173492 w 401789"/>
                  <a:gd name="connsiteY54" fmla="*/ 296781 h 448577"/>
                  <a:gd name="connsiteX55" fmla="*/ 162315 w 401789"/>
                  <a:gd name="connsiteY55" fmla="*/ 294319 h 448577"/>
                  <a:gd name="connsiteX56" fmla="*/ 158616 w 401789"/>
                  <a:gd name="connsiteY56" fmla="*/ 301910 h 448577"/>
                  <a:gd name="connsiteX57" fmla="*/ 149953 w 401789"/>
                  <a:gd name="connsiteY57" fmla="*/ 304361 h 448577"/>
                  <a:gd name="connsiteX58" fmla="*/ 149326 w 401789"/>
                  <a:gd name="connsiteY58" fmla="*/ 308123 h 448577"/>
                  <a:gd name="connsiteX59" fmla="*/ 135334 w 401789"/>
                  <a:gd name="connsiteY59" fmla="*/ 318211 h 448577"/>
                  <a:gd name="connsiteX60" fmla="*/ 134736 w 401789"/>
                  <a:gd name="connsiteY60" fmla="*/ 318097 h 448577"/>
                  <a:gd name="connsiteX61" fmla="*/ 125787 w 401789"/>
                  <a:gd name="connsiteY61" fmla="*/ 315874 h 448577"/>
                  <a:gd name="connsiteX62" fmla="*/ 119404 w 401789"/>
                  <a:gd name="connsiteY62" fmla="*/ 323968 h 448577"/>
                  <a:gd name="connsiteX63" fmla="*/ 112223 w 401789"/>
                  <a:gd name="connsiteY63" fmla="*/ 319522 h 448577"/>
                  <a:gd name="connsiteX64" fmla="*/ 108461 w 401789"/>
                  <a:gd name="connsiteY64" fmla="*/ 310403 h 448577"/>
                  <a:gd name="connsiteX65" fmla="*/ 104813 w 401789"/>
                  <a:gd name="connsiteY65" fmla="*/ 308636 h 448577"/>
                  <a:gd name="connsiteX66" fmla="*/ 102134 w 401789"/>
                  <a:gd name="connsiteY66" fmla="*/ 295071 h 448577"/>
                  <a:gd name="connsiteX67" fmla="*/ 98544 w 401789"/>
                  <a:gd name="connsiteY67" fmla="*/ 293931 h 448577"/>
                  <a:gd name="connsiteX68" fmla="*/ 97119 w 401789"/>
                  <a:gd name="connsiteY68" fmla="*/ 290113 h 448577"/>
                  <a:gd name="connsiteX69" fmla="*/ 97119 w 401789"/>
                  <a:gd name="connsiteY69" fmla="*/ 276491 h 448577"/>
                  <a:gd name="connsiteX70" fmla="*/ 86803 w 401789"/>
                  <a:gd name="connsiteY70" fmla="*/ 270791 h 448577"/>
                  <a:gd name="connsiteX71" fmla="*/ 24109 w 401789"/>
                  <a:gd name="connsiteY71" fmla="*/ 270506 h 448577"/>
                  <a:gd name="connsiteX72" fmla="*/ 9632 w 401789"/>
                  <a:gd name="connsiteY72" fmla="*/ 270506 h 448577"/>
                  <a:gd name="connsiteX73" fmla="*/ 9233 w 401789"/>
                  <a:gd name="connsiteY73" fmla="*/ 266175 h 448577"/>
                  <a:gd name="connsiteX74" fmla="*/ 0 w 401789"/>
                  <a:gd name="connsiteY74" fmla="*/ 247993 h 448577"/>
                  <a:gd name="connsiteX75" fmla="*/ 13223 w 401789"/>
                  <a:gd name="connsiteY75" fmla="*/ 240926 h 448577"/>
                  <a:gd name="connsiteX76" fmla="*/ 23653 w 401789"/>
                  <a:gd name="connsiteY76" fmla="*/ 236880 h 448577"/>
                  <a:gd name="connsiteX77" fmla="*/ 40751 w 401789"/>
                  <a:gd name="connsiteY77" fmla="*/ 234942 h 448577"/>
                  <a:gd name="connsiteX78" fmla="*/ 46451 w 401789"/>
                  <a:gd name="connsiteY78" fmla="*/ 231009 h 448577"/>
                  <a:gd name="connsiteX79" fmla="*/ 54202 w 401789"/>
                  <a:gd name="connsiteY79" fmla="*/ 241154 h 448577"/>
                  <a:gd name="connsiteX80" fmla="*/ 65031 w 401789"/>
                  <a:gd name="connsiteY80" fmla="*/ 237506 h 448577"/>
                  <a:gd name="connsiteX81" fmla="*/ 74777 w 401789"/>
                  <a:gd name="connsiteY81" fmla="*/ 230154 h 448577"/>
                  <a:gd name="connsiteX82" fmla="*/ 81787 w 401789"/>
                  <a:gd name="connsiteY82" fmla="*/ 213455 h 448577"/>
                  <a:gd name="connsiteX83" fmla="*/ 84352 w 401789"/>
                  <a:gd name="connsiteY83" fmla="*/ 176066 h 448577"/>
                  <a:gd name="connsiteX84" fmla="*/ 97461 w 401789"/>
                  <a:gd name="connsiteY84" fmla="*/ 146600 h 448577"/>
                  <a:gd name="connsiteX85" fmla="*/ 109487 w 401789"/>
                  <a:gd name="connsiteY85" fmla="*/ 124942 h 448577"/>
                  <a:gd name="connsiteX86" fmla="*/ 121627 w 401789"/>
                  <a:gd name="connsiteY86" fmla="*/ 92512 h 448577"/>
                  <a:gd name="connsiteX87" fmla="*/ 130746 w 401789"/>
                  <a:gd name="connsiteY87" fmla="*/ 64755 h 448577"/>
                  <a:gd name="connsiteX88" fmla="*/ 133596 w 401789"/>
                  <a:gd name="connsiteY88" fmla="*/ 52729 h 448577"/>
                  <a:gd name="connsiteX89" fmla="*/ 132057 w 401789"/>
                  <a:gd name="connsiteY89" fmla="*/ 27823 h 448577"/>
                  <a:gd name="connsiteX90" fmla="*/ 150922 w 401789"/>
                  <a:gd name="connsiteY90" fmla="*/ 9585 h 448577"/>
                  <a:gd name="connsiteX91" fmla="*/ 155596 w 401789"/>
                  <a:gd name="connsiteY91" fmla="*/ 8046 h 448577"/>
                  <a:gd name="connsiteX92" fmla="*/ 159927 w 401789"/>
                  <a:gd name="connsiteY92" fmla="*/ 9756 h 448577"/>
                  <a:gd name="connsiteX93" fmla="*/ 205067 w 401789"/>
                  <a:gd name="connsiteY93" fmla="*/ 28279 h 448577"/>
                  <a:gd name="connsiteX94" fmla="*/ 208829 w 401789"/>
                  <a:gd name="connsiteY94" fmla="*/ 28279 h 448577"/>
                  <a:gd name="connsiteX95" fmla="*/ 211165 w 401789"/>
                  <a:gd name="connsiteY95" fmla="*/ 24517 h 448577"/>
                  <a:gd name="connsiteX96" fmla="*/ 229404 w 401789"/>
                  <a:gd name="connsiteY96" fmla="*/ 13745 h 448577"/>
                  <a:gd name="connsiteX97" fmla="*/ 287082 w 401789"/>
                  <a:gd name="connsiteY97" fmla="*/ 921 h 448577"/>
                  <a:gd name="connsiteX98" fmla="*/ 294378 w 401789"/>
                  <a:gd name="connsiteY98" fmla="*/ 9 h 448577"/>
                  <a:gd name="connsiteX99" fmla="*/ 304637 w 401789"/>
                  <a:gd name="connsiteY99" fmla="*/ 2916 h 448577"/>
                  <a:gd name="connsiteX100" fmla="*/ 315352 w 401789"/>
                  <a:gd name="connsiteY100" fmla="*/ 4911 h 448577"/>
                  <a:gd name="connsiteX101" fmla="*/ 338150 w 401789"/>
                  <a:gd name="connsiteY101" fmla="*/ 19616 h 448577"/>
                  <a:gd name="connsiteX102" fmla="*/ 376507 w 401789"/>
                  <a:gd name="connsiteY102" fmla="*/ 20698 h 448577"/>
                  <a:gd name="connsiteX103" fmla="*/ 385113 w 401789"/>
                  <a:gd name="connsiteY103" fmla="*/ 27766 h 448577"/>
                  <a:gd name="connsiteX104" fmla="*/ 395031 w 401789"/>
                  <a:gd name="connsiteY104" fmla="*/ 36315 h 448577"/>
                  <a:gd name="connsiteX105" fmla="*/ 396170 w 401789"/>
                  <a:gd name="connsiteY105" fmla="*/ 48341 h 448577"/>
                  <a:gd name="connsiteX106" fmla="*/ 391098 w 401789"/>
                  <a:gd name="connsiteY106" fmla="*/ 53527 h 448577"/>
                  <a:gd name="connsiteX107" fmla="*/ 401585 w 401789"/>
                  <a:gd name="connsiteY107" fmla="*/ 75584 h 448577"/>
                  <a:gd name="connsiteX108" fmla="*/ 396285 w 401789"/>
                  <a:gd name="connsiteY108" fmla="*/ 81626 h 448577"/>
                  <a:gd name="connsiteX109" fmla="*/ 366305 w 401789"/>
                  <a:gd name="connsiteY109" fmla="*/ 150019 h 448577"/>
                  <a:gd name="connsiteX110" fmla="*/ 364424 w 401789"/>
                  <a:gd name="connsiteY110" fmla="*/ 160621 h 448577"/>
                  <a:gd name="connsiteX111" fmla="*/ 360834 w 401789"/>
                  <a:gd name="connsiteY111" fmla="*/ 164439 h 448577"/>
                  <a:gd name="connsiteX112" fmla="*/ 359751 w 401789"/>
                  <a:gd name="connsiteY112" fmla="*/ 168486 h 448577"/>
                  <a:gd name="connsiteX113" fmla="*/ 353652 w 401789"/>
                  <a:gd name="connsiteY113" fmla="*/ 173216 h 448577"/>
                  <a:gd name="connsiteX114" fmla="*/ 352170 w 401789"/>
                  <a:gd name="connsiteY114" fmla="*/ 183133 h 448577"/>
                  <a:gd name="connsiteX115" fmla="*/ 351429 w 401789"/>
                  <a:gd name="connsiteY115" fmla="*/ 190486 h 448577"/>
                  <a:gd name="connsiteX116" fmla="*/ 351943 w 401789"/>
                  <a:gd name="connsiteY116" fmla="*/ 195045 h 44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01789" h="448577">
                    <a:moveTo>
                      <a:pt x="351943" y="195045"/>
                    </a:moveTo>
                    <a:cubicBezTo>
                      <a:pt x="353196" y="198294"/>
                      <a:pt x="354222" y="201657"/>
                      <a:pt x="355191" y="205019"/>
                    </a:cubicBezTo>
                    <a:cubicBezTo>
                      <a:pt x="354758" y="204962"/>
                      <a:pt x="354314" y="204962"/>
                      <a:pt x="353880" y="205019"/>
                    </a:cubicBezTo>
                    <a:cubicBezTo>
                      <a:pt x="355533" y="208137"/>
                      <a:pt x="355533" y="211876"/>
                      <a:pt x="353880" y="214993"/>
                    </a:cubicBezTo>
                    <a:cubicBezTo>
                      <a:pt x="352210" y="218026"/>
                      <a:pt x="350706" y="221143"/>
                      <a:pt x="349378" y="224341"/>
                    </a:cubicBezTo>
                    <a:cubicBezTo>
                      <a:pt x="348477" y="227743"/>
                      <a:pt x="348283" y="231294"/>
                      <a:pt x="348808" y="234771"/>
                    </a:cubicBezTo>
                    <a:cubicBezTo>
                      <a:pt x="349492" y="240937"/>
                      <a:pt x="351087" y="246968"/>
                      <a:pt x="353539" y="252667"/>
                    </a:cubicBezTo>
                    <a:cubicBezTo>
                      <a:pt x="356502" y="259449"/>
                      <a:pt x="353539" y="268227"/>
                      <a:pt x="353539" y="275465"/>
                    </a:cubicBezTo>
                    <a:cubicBezTo>
                      <a:pt x="353459" y="276576"/>
                      <a:pt x="353760" y="277682"/>
                      <a:pt x="354393" y="278600"/>
                    </a:cubicBezTo>
                    <a:cubicBezTo>
                      <a:pt x="355305" y="279569"/>
                      <a:pt x="356787" y="279626"/>
                      <a:pt x="358041" y="280139"/>
                    </a:cubicBezTo>
                    <a:cubicBezTo>
                      <a:pt x="361745" y="281791"/>
                      <a:pt x="361575" y="287035"/>
                      <a:pt x="360834" y="291025"/>
                    </a:cubicBezTo>
                    <a:cubicBezTo>
                      <a:pt x="364595" y="291025"/>
                      <a:pt x="369440" y="292563"/>
                      <a:pt x="369497" y="296325"/>
                    </a:cubicBezTo>
                    <a:cubicBezTo>
                      <a:pt x="369497" y="298776"/>
                      <a:pt x="367103" y="301170"/>
                      <a:pt x="368015" y="303449"/>
                    </a:cubicBezTo>
                    <a:cubicBezTo>
                      <a:pt x="369269" y="306584"/>
                      <a:pt x="374455" y="305159"/>
                      <a:pt x="376735" y="307553"/>
                    </a:cubicBezTo>
                    <a:cubicBezTo>
                      <a:pt x="380212" y="311144"/>
                      <a:pt x="373829" y="318040"/>
                      <a:pt x="377191" y="321631"/>
                    </a:cubicBezTo>
                    <a:cubicBezTo>
                      <a:pt x="377613" y="322092"/>
                      <a:pt x="378143" y="322446"/>
                      <a:pt x="378730" y="322657"/>
                    </a:cubicBezTo>
                    <a:cubicBezTo>
                      <a:pt x="375179" y="323717"/>
                      <a:pt x="371492" y="324275"/>
                      <a:pt x="367787" y="324309"/>
                    </a:cubicBezTo>
                    <a:cubicBezTo>
                      <a:pt x="360663" y="324309"/>
                      <a:pt x="352399" y="325335"/>
                      <a:pt x="348694" y="331434"/>
                    </a:cubicBezTo>
                    <a:cubicBezTo>
                      <a:pt x="345616" y="336563"/>
                      <a:pt x="346357" y="344827"/>
                      <a:pt x="340715" y="346936"/>
                    </a:cubicBezTo>
                    <a:cubicBezTo>
                      <a:pt x="337808" y="351610"/>
                      <a:pt x="344761" y="356340"/>
                      <a:pt x="346414" y="361698"/>
                    </a:cubicBezTo>
                    <a:cubicBezTo>
                      <a:pt x="346841" y="363727"/>
                      <a:pt x="346841" y="365824"/>
                      <a:pt x="346414" y="367853"/>
                    </a:cubicBezTo>
                    <a:cubicBezTo>
                      <a:pt x="345046" y="376687"/>
                      <a:pt x="343735" y="385522"/>
                      <a:pt x="342367" y="394299"/>
                    </a:cubicBezTo>
                    <a:cubicBezTo>
                      <a:pt x="341233" y="398659"/>
                      <a:pt x="341490" y="403264"/>
                      <a:pt x="343108" y="407465"/>
                    </a:cubicBezTo>
                    <a:cubicBezTo>
                      <a:pt x="347953" y="416983"/>
                      <a:pt x="363284" y="414988"/>
                      <a:pt x="370181" y="423081"/>
                    </a:cubicBezTo>
                    <a:cubicBezTo>
                      <a:pt x="374245" y="428821"/>
                      <a:pt x="374381" y="436464"/>
                      <a:pt x="370523" y="442346"/>
                    </a:cubicBezTo>
                    <a:cubicBezTo>
                      <a:pt x="369730" y="443725"/>
                      <a:pt x="368733" y="444973"/>
                      <a:pt x="367559" y="446050"/>
                    </a:cubicBezTo>
                    <a:cubicBezTo>
                      <a:pt x="361905" y="450262"/>
                      <a:pt x="353903" y="449088"/>
                      <a:pt x="349697" y="443434"/>
                    </a:cubicBezTo>
                    <a:cubicBezTo>
                      <a:pt x="348694" y="442089"/>
                      <a:pt x="347964" y="440556"/>
                      <a:pt x="347554" y="438926"/>
                    </a:cubicBezTo>
                    <a:cubicBezTo>
                      <a:pt x="347212" y="436874"/>
                      <a:pt x="347554" y="434423"/>
                      <a:pt x="345616" y="433226"/>
                    </a:cubicBezTo>
                    <a:cubicBezTo>
                      <a:pt x="343678" y="432029"/>
                      <a:pt x="342424" y="432314"/>
                      <a:pt x="341342" y="431174"/>
                    </a:cubicBezTo>
                    <a:cubicBezTo>
                      <a:pt x="340652" y="430103"/>
                      <a:pt x="340190" y="428900"/>
                      <a:pt x="339974" y="427641"/>
                    </a:cubicBezTo>
                    <a:cubicBezTo>
                      <a:pt x="338207" y="422340"/>
                      <a:pt x="330854" y="421941"/>
                      <a:pt x="326523" y="418408"/>
                    </a:cubicBezTo>
                    <a:cubicBezTo>
                      <a:pt x="322191" y="414874"/>
                      <a:pt x="319627" y="407009"/>
                      <a:pt x="313756" y="407009"/>
                    </a:cubicBezTo>
                    <a:cubicBezTo>
                      <a:pt x="309710" y="407009"/>
                      <a:pt x="306860" y="411055"/>
                      <a:pt x="303041" y="412708"/>
                    </a:cubicBezTo>
                    <a:cubicBezTo>
                      <a:pt x="292611" y="416470"/>
                      <a:pt x="283777" y="399599"/>
                      <a:pt x="272948" y="401879"/>
                    </a:cubicBezTo>
                    <a:cubicBezTo>
                      <a:pt x="271409" y="397593"/>
                      <a:pt x="267727" y="394436"/>
                      <a:pt x="263259" y="393558"/>
                    </a:cubicBezTo>
                    <a:lnTo>
                      <a:pt x="261720" y="393558"/>
                    </a:lnTo>
                    <a:cubicBezTo>
                      <a:pt x="256522" y="389642"/>
                      <a:pt x="250754" y="386548"/>
                      <a:pt x="244621" y="384382"/>
                    </a:cubicBezTo>
                    <a:cubicBezTo>
                      <a:pt x="242678" y="383350"/>
                      <a:pt x="240353" y="383350"/>
                      <a:pt x="238409" y="384382"/>
                    </a:cubicBezTo>
                    <a:cubicBezTo>
                      <a:pt x="237497" y="385180"/>
                      <a:pt x="237041" y="386434"/>
                      <a:pt x="236129" y="387232"/>
                    </a:cubicBezTo>
                    <a:cubicBezTo>
                      <a:pt x="232254" y="390936"/>
                      <a:pt x="225414" y="384154"/>
                      <a:pt x="220798" y="386890"/>
                    </a:cubicBezTo>
                    <a:cubicBezTo>
                      <a:pt x="220313" y="392253"/>
                      <a:pt x="215571" y="396203"/>
                      <a:pt x="210214" y="395718"/>
                    </a:cubicBezTo>
                    <a:cubicBezTo>
                      <a:pt x="209940" y="395695"/>
                      <a:pt x="209666" y="395655"/>
                      <a:pt x="209399" y="395610"/>
                    </a:cubicBezTo>
                    <a:cubicBezTo>
                      <a:pt x="210823" y="386816"/>
                      <a:pt x="210823" y="377844"/>
                      <a:pt x="209399" y="369050"/>
                    </a:cubicBezTo>
                    <a:cubicBezTo>
                      <a:pt x="209233" y="365522"/>
                      <a:pt x="207746" y="362188"/>
                      <a:pt x="205238" y="359703"/>
                    </a:cubicBezTo>
                    <a:cubicBezTo>
                      <a:pt x="203950" y="358911"/>
                      <a:pt x="202730" y="358016"/>
                      <a:pt x="201590" y="357024"/>
                    </a:cubicBezTo>
                    <a:cubicBezTo>
                      <a:pt x="198000" y="352978"/>
                      <a:pt x="202559" y="345625"/>
                      <a:pt x="199026" y="341522"/>
                    </a:cubicBezTo>
                    <a:cubicBezTo>
                      <a:pt x="197943" y="340268"/>
                      <a:pt x="196062" y="339014"/>
                      <a:pt x="196632" y="337475"/>
                    </a:cubicBezTo>
                    <a:cubicBezTo>
                      <a:pt x="197202" y="335936"/>
                      <a:pt x="198057" y="336164"/>
                      <a:pt x="198968" y="335765"/>
                    </a:cubicBezTo>
                    <a:cubicBezTo>
                      <a:pt x="202759" y="334380"/>
                      <a:pt x="204964" y="330431"/>
                      <a:pt x="204155" y="326475"/>
                    </a:cubicBezTo>
                    <a:cubicBezTo>
                      <a:pt x="203443" y="324708"/>
                      <a:pt x="202422" y="323090"/>
                      <a:pt x="201134" y="321688"/>
                    </a:cubicBezTo>
                    <a:cubicBezTo>
                      <a:pt x="196774" y="315806"/>
                      <a:pt x="195230" y="308294"/>
                      <a:pt x="196917" y="301170"/>
                    </a:cubicBezTo>
                    <a:lnTo>
                      <a:pt x="181414" y="302879"/>
                    </a:lnTo>
                    <a:cubicBezTo>
                      <a:pt x="180001" y="303153"/>
                      <a:pt x="178536" y="303016"/>
                      <a:pt x="177197" y="302480"/>
                    </a:cubicBezTo>
                    <a:cubicBezTo>
                      <a:pt x="175202" y="301397"/>
                      <a:pt x="174689" y="298890"/>
                      <a:pt x="173492" y="296781"/>
                    </a:cubicBezTo>
                    <a:cubicBezTo>
                      <a:pt x="171087" y="293014"/>
                      <a:pt x="166083" y="291914"/>
                      <a:pt x="162315" y="294319"/>
                    </a:cubicBezTo>
                    <a:cubicBezTo>
                      <a:pt x="159756" y="295955"/>
                      <a:pt x="158326" y="298890"/>
                      <a:pt x="158616" y="301910"/>
                    </a:cubicBezTo>
                    <a:cubicBezTo>
                      <a:pt x="155425" y="301455"/>
                      <a:pt x="151321" y="301455"/>
                      <a:pt x="149953" y="304361"/>
                    </a:cubicBezTo>
                    <a:cubicBezTo>
                      <a:pt x="149514" y="305564"/>
                      <a:pt x="149303" y="306841"/>
                      <a:pt x="149326" y="308123"/>
                    </a:cubicBezTo>
                    <a:cubicBezTo>
                      <a:pt x="148249" y="314774"/>
                      <a:pt x="141985" y="319288"/>
                      <a:pt x="135334" y="318211"/>
                    </a:cubicBezTo>
                    <a:cubicBezTo>
                      <a:pt x="135135" y="318177"/>
                      <a:pt x="134935" y="318137"/>
                      <a:pt x="134736" y="318097"/>
                    </a:cubicBezTo>
                    <a:cubicBezTo>
                      <a:pt x="131715" y="317242"/>
                      <a:pt x="129036" y="315190"/>
                      <a:pt x="125787" y="315874"/>
                    </a:cubicBezTo>
                    <a:cubicBezTo>
                      <a:pt x="122539" y="316558"/>
                      <a:pt x="120544" y="320548"/>
                      <a:pt x="119404" y="323968"/>
                    </a:cubicBezTo>
                    <a:cubicBezTo>
                      <a:pt x="116896" y="326304"/>
                      <a:pt x="113021" y="322828"/>
                      <a:pt x="112223" y="319522"/>
                    </a:cubicBezTo>
                    <a:cubicBezTo>
                      <a:pt x="111425" y="316216"/>
                      <a:pt x="111425" y="312113"/>
                      <a:pt x="108461" y="310403"/>
                    </a:cubicBezTo>
                    <a:cubicBezTo>
                      <a:pt x="107321" y="309662"/>
                      <a:pt x="105839" y="309548"/>
                      <a:pt x="104813" y="308636"/>
                    </a:cubicBezTo>
                    <a:cubicBezTo>
                      <a:pt x="101052" y="305444"/>
                      <a:pt x="106466" y="297237"/>
                      <a:pt x="102134" y="295071"/>
                    </a:cubicBezTo>
                    <a:cubicBezTo>
                      <a:pt x="100995" y="294501"/>
                      <a:pt x="99570" y="294615"/>
                      <a:pt x="98544" y="293931"/>
                    </a:cubicBezTo>
                    <a:cubicBezTo>
                      <a:pt x="97501" y="292951"/>
                      <a:pt x="96977" y="291538"/>
                      <a:pt x="97119" y="290113"/>
                    </a:cubicBezTo>
                    <a:cubicBezTo>
                      <a:pt x="97632" y="285587"/>
                      <a:pt x="97632" y="281016"/>
                      <a:pt x="97119" y="276491"/>
                    </a:cubicBezTo>
                    <a:cubicBezTo>
                      <a:pt x="95865" y="272102"/>
                      <a:pt x="90678" y="268284"/>
                      <a:pt x="86803" y="270791"/>
                    </a:cubicBezTo>
                    <a:lnTo>
                      <a:pt x="24109" y="270506"/>
                    </a:lnTo>
                    <a:lnTo>
                      <a:pt x="9632" y="270506"/>
                    </a:lnTo>
                    <a:cubicBezTo>
                      <a:pt x="9644" y="269053"/>
                      <a:pt x="9507" y="267600"/>
                      <a:pt x="9233" y="266175"/>
                    </a:cubicBezTo>
                    <a:cubicBezTo>
                      <a:pt x="7472" y="259529"/>
                      <a:pt x="4326" y="253334"/>
                      <a:pt x="0" y="247993"/>
                    </a:cubicBezTo>
                    <a:lnTo>
                      <a:pt x="13223" y="240926"/>
                    </a:lnTo>
                    <a:cubicBezTo>
                      <a:pt x="16426" y="238954"/>
                      <a:pt x="19960" y="237581"/>
                      <a:pt x="23653" y="236880"/>
                    </a:cubicBezTo>
                    <a:cubicBezTo>
                      <a:pt x="29352" y="236082"/>
                      <a:pt x="36249" y="238532"/>
                      <a:pt x="40751" y="234942"/>
                    </a:cubicBezTo>
                    <a:cubicBezTo>
                      <a:pt x="42632" y="233460"/>
                      <a:pt x="44171" y="231066"/>
                      <a:pt x="46451" y="231009"/>
                    </a:cubicBezTo>
                    <a:cubicBezTo>
                      <a:pt x="50953" y="231009"/>
                      <a:pt x="50611" y="238475"/>
                      <a:pt x="54202" y="241154"/>
                    </a:cubicBezTo>
                    <a:cubicBezTo>
                      <a:pt x="57793" y="243833"/>
                      <a:pt x="62352" y="240755"/>
                      <a:pt x="65031" y="237506"/>
                    </a:cubicBezTo>
                    <a:cubicBezTo>
                      <a:pt x="67710" y="234258"/>
                      <a:pt x="70730" y="230154"/>
                      <a:pt x="74777" y="230154"/>
                    </a:cubicBezTo>
                    <a:cubicBezTo>
                      <a:pt x="72269" y="224455"/>
                      <a:pt x="78539" y="218755"/>
                      <a:pt x="81787" y="213455"/>
                    </a:cubicBezTo>
                    <a:cubicBezTo>
                      <a:pt x="88342" y="202626"/>
                      <a:pt x="82927" y="188662"/>
                      <a:pt x="84352" y="176066"/>
                    </a:cubicBezTo>
                    <a:cubicBezTo>
                      <a:pt x="86506" y="165402"/>
                      <a:pt x="90981" y="155343"/>
                      <a:pt x="97461" y="146600"/>
                    </a:cubicBezTo>
                    <a:cubicBezTo>
                      <a:pt x="101890" y="139624"/>
                      <a:pt x="105907" y="132391"/>
                      <a:pt x="109487" y="124942"/>
                    </a:cubicBezTo>
                    <a:cubicBezTo>
                      <a:pt x="114155" y="114375"/>
                      <a:pt x="118207" y="103546"/>
                      <a:pt x="121627" y="92512"/>
                    </a:cubicBezTo>
                    <a:cubicBezTo>
                      <a:pt x="124647" y="83222"/>
                      <a:pt x="127725" y="73989"/>
                      <a:pt x="130746" y="64755"/>
                    </a:cubicBezTo>
                    <a:cubicBezTo>
                      <a:pt x="132222" y="60891"/>
                      <a:pt x="133180" y="56845"/>
                      <a:pt x="133596" y="52729"/>
                    </a:cubicBezTo>
                    <a:cubicBezTo>
                      <a:pt x="133995" y="44408"/>
                      <a:pt x="129891" y="35916"/>
                      <a:pt x="132057" y="27823"/>
                    </a:cubicBezTo>
                    <a:cubicBezTo>
                      <a:pt x="134223" y="19730"/>
                      <a:pt x="143000" y="13916"/>
                      <a:pt x="150922" y="9585"/>
                    </a:cubicBezTo>
                    <a:cubicBezTo>
                      <a:pt x="152318" y="8667"/>
                      <a:pt x="153931" y="8137"/>
                      <a:pt x="155596" y="8046"/>
                    </a:cubicBezTo>
                    <a:cubicBezTo>
                      <a:pt x="157163" y="8234"/>
                      <a:pt x="158651" y="8827"/>
                      <a:pt x="159927" y="9756"/>
                    </a:cubicBezTo>
                    <a:cubicBezTo>
                      <a:pt x="173965" y="18145"/>
                      <a:pt x="189183" y="24386"/>
                      <a:pt x="205067" y="28279"/>
                    </a:cubicBezTo>
                    <a:cubicBezTo>
                      <a:pt x="206281" y="28735"/>
                      <a:pt x="207615" y="28735"/>
                      <a:pt x="208829" y="28279"/>
                    </a:cubicBezTo>
                    <a:cubicBezTo>
                      <a:pt x="210140" y="27538"/>
                      <a:pt x="210539" y="25885"/>
                      <a:pt x="211165" y="24517"/>
                    </a:cubicBezTo>
                    <a:cubicBezTo>
                      <a:pt x="214015" y="17735"/>
                      <a:pt x="222222" y="15341"/>
                      <a:pt x="229404" y="13745"/>
                    </a:cubicBezTo>
                    <a:lnTo>
                      <a:pt x="287082" y="921"/>
                    </a:lnTo>
                    <a:cubicBezTo>
                      <a:pt x="289454" y="249"/>
                      <a:pt x="291916" y="-59"/>
                      <a:pt x="294378" y="9"/>
                    </a:cubicBezTo>
                    <a:cubicBezTo>
                      <a:pt x="297872" y="705"/>
                      <a:pt x="301297" y="1679"/>
                      <a:pt x="304637" y="2916"/>
                    </a:cubicBezTo>
                    <a:cubicBezTo>
                      <a:pt x="308171" y="3828"/>
                      <a:pt x="311875" y="3828"/>
                      <a:pt x="315352" y="4911"/>
                    </a:cubicBezTo>
                    <a:cubicBezTo>
                      <a:pt x="324015" y="7590"/>
                      <a:pt x="329544" y="16652"/>
                      <a:pt x="338150" y="19616"/>
                    </a:cubicBezTo>
                    <a:cubicBezTo>
                      <a:pt x="350461" y="23833"/>
                      <a:pt x="365108" y="14486"/>
                      <a:pt x="376507" y="20698"/>
                    </a:cubicBezTo>
                    <a:cubicBezTo>
                      <a:pt x="379602" y="22767"/>
                      <a:pt x="382480" y="25133"/>
                      <a:pt x="385113" y="27766"/>
                    </a:cubicBezTo>
                    <a:cubicBezTo>
                      <a:pt x="388710" y="30256"/>
                      <a:pt x="392033" y="33123"/>
                      <a:pt x="395031" y="36315"/>
                    </a:cubicBezTo>
                    <a:cubicBezTo>
                      <a:pt x="398034" y="39626"/>
                      <a:pt x="398496" y="44522"/>
                      <a:pt x="396170" y="48341"/>
                    </a:cubicBezTo>
                    <a:cubicBezTo>
                      <a:pt x="394689" y="50279"/>
                      <a:pt x="392238" y="51362"/>
                      <a:pt x="391098" y="53527"/>
                    </a:cubicBezTo>
                    <a:cubicBezTo>
                      <a:pt x="387051" y="61222"/>
                      <a:pt x="403808" y="67149"/>
                      <a:pt x="401585" y="75584"/>
                    </a:cubicBezTo>
                    <a:cubicBezTo>
                      <a:pt x="400542" y="78132"/>
                      <a:pt x="398672" y="80258"/>
                      <a:pt x="396285" y="81626"/>
                    </a:cubicBezTo>
                    <a:cubicBezTo>
                      <a:pt x="375219" y="97772"/>
                      <a:pt x="363900" y="123585"/>
                      <a:pt x="366305" y="150019"/>
                    </a:cubicBezTo>
                    <a:cubicBezTo>
                      <a:pt x="367234" y="153662"/>
                      <a:pt x="366550" y="157520"/>
                      <a:pt x="364424" y="160621"/>
                    </a:cubicBezTo>
                    <a:cubicBezTo>
                      <a:pt x="363170" y="161874"/>
                      <a:pt x="361518" y="162843"/>
                      <a:pt x="360834" y="164439"/>
                    </a:cubicBezTo>
                    <a:cubicBezTo>
                      <a:pt x="360150" y="166035"/>
                      <a:pt x="360378" y="167232"/>
                      <a:pt x="359751" y="168486"/>
                    </a:cubicBezTo>
                    <a:cubicBezTo>
                      <a:pt x="358554" y="170823"/>
                      <a:pt x="355362" y="171279"/>
                      <a:pt x="353652" y="173216"/>
                    </a:cubicBezTo>
                    <a:cubicBezTo>
                      <a:pt x="351943" y="175154"/>
                      <a:pt x="352342" y="179714"/>
                      <a:pt x="352170" y="183133"/>
                    </a:cubicBezTo>
                    <a:cubicBezTo>
                      <a:pt x="351697" y="185556"/>
                      <a:pt x="351452" y="188018"/>
                      <a:pt x="351429" y="190486"/>
                    </a:cubicBezTo>
                    <a:cubicBezTo>
                      <a:pt x="351395" y="192025"/>
                      <a:pt x="351566" y="193558"/>
                      <a:pt x="351943" y="19504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3" name="Freihandform: Form 319">
                <a:extLst>
                  <a:ext uri="{FF2B5EF4-FFF2-40B4-BE49-F238E27FC236}">
                    <a16:creationId xmlns:a16="http://schemas.microsoft.com/office/drawing/2014/main" id="{A6285283-916E-0940-96CE-94B79AEE6F62}"/>
                  </a:ext>
                </a:extLst>
              </p:cNvPr>
              <p:cNvSpPr/>
              <p:nvPr/>
            </p:nvSpPr>
            <p:spPr>
              <a:xfrm>
                <a:off x="4386696" y="4283442"/>
                <a:ext cx="38603" cy="34226"/>
              </a:xfrm>
              <a:custGeom>
                <a:avLst/>
                <a:gdLst>
                  <a:gd name="connsiteX0" fmla="*/ 5037 w 38603"/>
                  <a:gd name="connsiteY0" fmla="*/ 32058 h 34226"/>
                  <a:gd name="connsiteX1" fmla="*/ 135 w 38603"/>
                  <a:gd name="connsiteY1" fmla="*/ 28296 h 34226"/>
                  <a:gd name="connsiteX2" fmla="*/ 135 w 38603"/>
                  <a:gd name="connsiteY2" fmla="*/ 28296 h 34226"/>
                  <a:gd name="connsiteX3" fmla="*/ 1617 w 38603"/>
                  <a:gd name="connsiteY3" fmla="*/ 18379 h 34226"/>
                  <a:gd name="connsiteX4" fmla="*/ 7715 w 38603"/>
                  <a:gd name="connsiteY4" fmla="*/ 13649 h 34226"/>
                  <a:gd name="connsiteX5" fmla="*/ 8798 w 38603"/>
                  <a:gd name="connsiteY5" fmla="*/ 9602 h 34226"/>
                  <a:gd name="connsiteX6" fmla="*/ 12389 w 38603"/>
                  <a:gd name="connsiteY6" fmla="*/ 5783 h 34226"/>
                  <a:gd name="connsiteX7" fmla="*/ 14441 w 38603"/>
                  <a:gd name="connsiteY7" fmla="*/ 84 h 34226"/>
                  <a:gd name="connsiteX8" fmla="*/ 31539 w 38603"/>
                  <a:gd name="connsiteY8" fmla="*/ 597 h 34226"/>
                  <a:gd name="connsiteX9" fmla="*/ 35643 w 38603"/>
                  <a:gd name="connsiteY9" fmla="*/ 1680 h 34226"/>
                  <a:gd name="connsiteX10" fmla="*/ 38436 w 38603"/>
                  <a:gd name="connsiteY10" fmla="*/ 10172 h 34226"/>
                  <a:gd name="connsiteX11" fmla="*/ 29031 w 38603"/>
                  <a:gd name="connsiteY11" fmla="*/ 29721 h 34226"/>
                  <a:gd name="connsiteX12" fmla="*/ 24016 w 38603"/>
                  <a:gd name="connsiteY12" fmla="*/ 31317 h 34226"/>
                  <a:gd name="connsiteX13" fmla="*/ 14327 w 38603"/>
                  <a:gd name="connsiteY13" fmla="*/ 33711 h 34226"/>
                  <a:gd name="connsiteX14" fmla="*/ 10394 w 38603"/>
                  <a:gd name="connsiteY14" fmla="*/ 34224 h 34226"/>
                  <a:gd name="connsiteX15" fmla="*/ 5037 w 38603"/>
                  <a:gd name="connsiteY15" fmla="*/ 32058 h 3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03" h="34226">
                    <a:moveTo>
                      <a:pt x="5037" y="32058"/>
                    </a:moveTo>
                    <a:cubicBezTo>
                      <a:pt x="3333" y="30901"/>
                      <a:pt x="1697" y="29647"/>
                      <a:pt x="135" y="28296"/>
                    </a:cubicBezTo>
                    <a:lnTo>
                      <a:pt x="135" y="28296"/>
                    </a:lnTo>
                    <a:cubicBezTo>
                      <a:pt x="135" y="24877"/>
                      <a:pt x="-663" y="20944"/>
                      <a:pt x="1617" y="18379"/>
                    </a:cubicBezTo>
                    <a:cubicBezTo>
                      <a:pt x="3897" y="15815"/>
                      <a:pt x="6519" y="15986"/>
                      <a:pt x="7715" y="13649"/>
                    </a:cubicBezTo>
                    <a:cubicBezTo>
                      <a:pt x="8343" y="12395"/>
                      <a:pt x="8228" y="10913"/>
                      <a:pt x="8798" y="9602"/>
                    </a:cubicBezTo>
                    <a:cubicBezTo>
                      <a:pt x="9368" y="8291"/>
                      <a:pt x="11135" y="7037"/>
                      <a:pt x="12389" y="5783"/>
                    </a:cubicBezTo>
                    <a:cubicBezTo>
                      <a:pt x="13791" y="4222"/>
                      <a:pt x="14526" y="2181"/>
                      <a:pt x="14441" y="84"/>
                    </a:cubicBezTo>
                    <a:cubicBezTo>
                      <a:pt x="20146" y="-121"/>
                      <a:pt x="25857" y="50"/>
                      <a:pt x="31539" y="597"/>
                    </a:cubicBezTo>
                    <a:cubicBezTo>
                      <a:pt x="32970" y="660"/>
                      <a:pt x="34366" y="1030"/>
                      <a:pt x="35643" y="1680"/>
                    </a:cubicBezTo>
                    <a:cubicBezTo>
                      <a:pt x="37985" y="3834"/>
                      <a:pt x="39040" y="7049"/>
                      <a:pt x="38436" y="10172"/>
                    </a:cubicBezTo>
                    <a:cubicBezTo>
                      <a:pt x="38151" y="17752"/>
                      <a:pt x="35871" y="26416"/>
                      <a:pt x="29031" y="29721"/>
                    </a:cubicBezTo>
                    <a:cubicBezTo>
                      <a:pt x="27430" y="30451"/>
                      <a:pt x="25743" y="30987"/>
                      <a:pt x="24016" y="31317"/>
                    </a:cubicBezTo>
                    <a:lnTo>
                      <a:pt x="14327" y="33711"/>
                    </a:lnTo>
                    <a:cubicBezTo>
                      <a:pt x="13050" y="34076"/>
                      <a:pt x="11722" y="34252"/>
                      <a:pt x="10394" y="34224"/>
                    </a:cubicBezTo>
                    <a:cubicBezTo>
                      <a:pt x="8445" y="33990"/>
                      <a:pt x="6598" y="33243"/>
                      <a:pt x="5037" y="3205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4" name="Freihandform: Form 320">
                <a:extLst>
                  <a:ext uri="{FF2B5EF4-FFF2-40B4-BE49-F238E27FC236}">
                    <a16:creationId xmlns:a16="http://schemas.microsoft.com/office/drawing/2014/main" id="{92B6F3DF-D2AC-2FBD-5AB1-CEEE50876674}"/>
                  </a:ext>
                </a:extLst>
              </p:cNvPr>
              <p:cNvSpPr/>
              <p:nvPr/>
            </p:nvSpPr>
            <p:spPr>
              <a:xfrm>
                <a:off x="4386261" y="4311739"/>
                <a:ext cx="38235" cy="43714"/>
              </a:xfrm>
              <a:custGeom>
                <a:avLst/>
                <a:gdLst>
                  <a:gd name="connsiteX0" fmla="*/ 18808 w 38235"/>
                  <a:gd name="connsiteY0" fmla="*/ 43430 h 43714"/>
                  <a:gd name="connsiteX1" fmla="*/ 18808 w 38235"/>
                  <a:gd name="connsiteY1" fmla="*/ 43715 h 43714"/>
                  <a:gd name="connsiteX2" fmla="*/ 10316 w 38235"/>
                  <a:gd name="connsiteY2" fmla="*/ 43430 h 43714"/>
                  <a:gd name="connsiteX3" fmla="*/ 11798 w 38235"/>
                  <a:gd name="connsiteY3" fmla="*/ 30321 h 43714"/>
                  <a:gd name="connsiteX4" fmla="*/ 4560 w 38235"/>
                  <a:gd name="connsiteY4" fmla="*/ 21601 h 43714"/>
                  <a:gd name="connsiteX5" fmla="*/ 1311 w 38235"/>
                  <a:gd name="connsiteY5" fmla="*/ 11627 h 43714"/>
                  <a:gd name="connsiteX6" fmla="*/ 0 w 38235"/>
                  <a:gd name="connsiteY6" fmla="*/ 7295 h 43714"/>
                  <a:gd name="connsiteX7" fmla="*/ 741 w 38235"/>
                  <a:gd name="connsiteY7" fmla="*/ 0 h 43714"/>
                  <a:gd name="connsiteX8" fmla="*/ 5642 w 38235"/>
                  <a:gd name="connsiteY8" fmla="*/ 3762 h 43714"/>
                  <a:gd name="connsiteX9" fmla="*/ 10829 w 38235"/>
                  <a:gd name="connsiteY9" fmla="*/ 6098 h 43714"/>
                  <a:gd name="connsiteX10" fmla="*/ 14762 w 38235"/>
                  <a:gd name="connsiteY10" fmla="*/ 5585 h 43714"/>
                  <a:gd name="connsiteX11" fmla="*/ 24451 w 38235"/>
                  <a:gd name="connsiteY11" fmla="*/ 3192 h 43714"/>
                  <a:gd name="connsiteX12" fmla="*/ 29466 w 38235"/>
                  <a:gd name="connsiteY12" fmla="*/ 1596 h 43714"/>
                  <a:gd name="connsiteX13" fmla="*/ 30948 w 38235"/>
                  <a:gd name="connsiteY13" fmla="*/ 627 h 43714"/>
                  <a:gd name="connsiteX14" fmla="*/ 36648 w 38235"/>
                  <a:gd name="connsiteY14" fmla="*/ 8207 h 43714"/>
                  <a:gd name="connsiteX15" fmla="*/ 32316 w 38235"/>
                  <a:gd name="connsiteY15" fmla="*/ 25819 h 43714"/>
                  <a:gd name="connsiteX16" fmla="*/ 28327 w 38235"/>
                  <a:gd name="connsiteY16" fmla="*/ 29979 h 43714"/>
                  <a:gd name="connsiteX17" fmla="*/ 29295 w 38235"/>
                  <a:gd name="connsiteY17" fmla="*/ 31746 h 43714"/>
                  <a:gd name="connsiteX18" fmla="*/ 26104 w 38235"/>
                  <a:gd name="connsiteY18" fmla="*/ 38813 h 43714"/>
                  <a:gd name="connsiteX19" fmla="*/ 18808 w 38235"/>
                  <a:gd name="connsiteY19" fmla="*/ 43430 h 4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35" h="43714">
                    <a:moveTo>
                      <a:pt x="18808" y="43430"/>
                    </a:moveTo>
                    <a:lnTo>
                      <a:pt x="18808" y="43715"/>
                    </a:lnTo>
                    <a:lnTo>
                      <a:pt x="10316" y="43430"/>
                    </a:lnTo>
                    <a:cubicBezTo>
                      <a:pt x="11769" y="39224"/>
                      <a:pt x="12271" y="34744"/>
                      <a:pt x="11798" y="30321"/>
                    </a:cubicBezTo>
                    <a:cubicBezTo>
                      <a:pt x="11194" y="26292"/>
                      <a:pt x="8407" y="22935"/>
                      <a:pt x="4560" y="21601"/>
                    </a:cubicBezTo>
                    <a:cubicBezTo>
                      <a:pt x="3591" y="18238"/>
                      <a:pt x="2565" y="14876"/>
                      <a:pt x="1311" y="11627"/>
                    </a:cubicBezTo>
                    <a:cubicBezTo>
                      <a:pt x="684" y="10248"/>
                      <a:pt x="245" y="8789"/>
                      <a:pt x="0" y="7295"/>
                    </a:cubicBezTo>
                    <a:cubicBezTo>
                      <a:pt x="51" y="4850"/>
                      <a:pt x="296" y="2405"/>
                      <a:pt x="741" y="0"/>
                    </a:cubicBezTo>
                    <a:cubicBezTo>
                      <a:pt x="2303" y="1345"/>
                      <a:pt x="3939" y="2605"/>
                      <a:pt x="5642" y="3762"/>
                    </a:cubicBezTo>
                    <a:cubicBezTo>
                      <a:pt x="7136" y="4981"/>
                      <a:pt x="8926" y="5785"/>
                      <a:pt x="10829" y="6098"/>
                    </a:cubicBezTo>
                    <a:cubicBezTo>
                      <a:pt x="12157" y="6127"/>
                      <a:pt x="13485" y="5950"/>
                      <a:pt x="14762" y="5585"/>
                    </a:cubicBezTo>
                    <a:lnTo>
                      <a:pt x="24451" y="3192"/>
                    </a:lnTo>
                    <a:cubicBezTo>
                      <a:pt x="26178" y="2861"/>
                      <a:pt x="27865" y="2325"/>
                      <a:pt x="29466" y="1596"/>
                    </a:cubicBezTo>
                    <a:lnTo>
                      <a:pt x="30948" y="627"/>
                    </a:lnTo>
                    <a:cubicBezTo>
                      <a:pt x="33325" y="2758"/>
                      <a:pt x="35257" y="5335"/>
                      <a:pt x="36648" y="8207"/>
                    </a:cubicBezTo>
                    <a:cubicBezTo>
                      <a:pt x="39891" y="14323"/>
                      <a:pt x="38027" y="21903"/>
                      <a:pt x="32316" y="25819"/>
                    </a:cubicBezTo>
                    <a:cubicBezTo>
                      <a:pt x="30435" y="26787"/>
                      <a:pt x="27813" y="27927"/>
                      <a:pt x="28327" y="29979"/>
                    </a:cubicBezTo>
                    <a:cubicBezTo>
                      <a:pt x="28549" y="30617"/>
                      <a:pt x="28874" y="31216"/>
                      <a:pt x="29295" y="31746"/>
                    </a:cubicBezTo>
                    <a:cubicBezTo>
                      <a:pt x="30606" y="34311"/>
                      <a:pt x="28497" y="37445"/>
                      <a:pt x="26104" y="38813"/>
                    </a:cubicBezTo>
                    <a:cubicBezTo>
                      <a:pt x="23402" y="39885"/>
                      <a:pt x="20928" y="41447"/>
                      <a:pt x="18808" y="4343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5" name="Freihandform: Form 321">
                <a:extLst>
                  <a:ext uri="{FF2B5EF4-FFF2-40B4-BE49-F238E27FC236}">
                    <a16:creationId xmlns:a16="http://schemas.microsoft.com/office/drawing/2014/main" id="{6E5487DB-DB72-57CB-48E9-E49C9EE66D43}"/>
                  </a:ext>
                </a:extLst>
              </p:cNvPr>
              <p:cNvSpPr/>
              <p:nvPr/>
            </p:nvSpPr>
            <p:spPr>
              <a:xfrm>
                <a:off x="4401102" y="4275662"/>
                <a:ext cx="214787" cy="261765"/>
              </a:xfrm>
              <a:custGeom>
                <a:avLst/>
                <a:gdLst>
                  <a:gd name="connsiteX0" fmla="*/ 196723 w 214787"/>
                  <a:gd name="connsiteY0" fmla="*/ 82413 h 261765"/>
                  <a:gd name="connsiteX1" fmla="*/ 201853 w 214787"/>
                  <a:gd name="connsiteY1" fmla="*/ 86118 h 261765"/>
                  <a:gd name="connsiteX2" fmla="*/ 186578 w 214787"/>
                  <a:gd name="connsiteY2" fmla="*/ 142029 h 261765"/>
                  <a:gd name="connsiteX3" fmla="*/ 191423 w 214787"/>
                  <a:gd name="connsiteY3" fmla="*/ 156734 h 261765"/>
                  <a:gd name="connsiteX4" fmla="*/ 206241 w 214787"/>
                  <a:gd name="connsiteY4" fmla="*/ 161807 h 261765"/>
                  <a:gd name="connsiteX5" fmla="*/ 214278 w 214787"/>
                  <a:gd name="connsiteY5" fmla="*/ 173206 h 261765"/>
                  <a:gd name="connsiteX6" fmla="*/ 195013 w 214787"/>
                  <a:gd name="connsiteY6" fmla="*/ 190931 h 261765"/>
                  <a:gd name="connsiteX7" fmla="*/ 205956 w 214787"/>
                  <a:gd name="connsiteY7" fmla="*/ 219428 h 261765"/>
                  <a:gd name="connsiteX8" fmla="*/ 213537 w 214787"/>
                  <a:gd name="connsiteY8" fmla="*/ 240744 h 261765"/>
                  <a:gd name="connsiteX9" fmla="*/ 197065 w 214787"/>
                  <a:gd name="connsiteY9" fmla="*/ 246444 h 261765"/>
                  <a:gd name="connsiteX10" fmla="*/ 166345 w 214787"/>
                  <a:gd name="connsiteY10" fmla="*/ 257444 h 261765"/>
                  <a:gd name="connsiteX11" fmla="*/ 141381 w 214787"/>
                  <a:gd name="connsiteY11" fmla="*/ 261433 h 261765"/>
                  <a:gd name="connsiteX12" fmla="*/ 125366 w 214787"/>
                  <a:gd name="connsiteY12" fmla="*/ 254765 h 261765"/>
                  <a:gd name="connsiteX13" fmla="*/ 111801 w 214787"/>
                  <a:gd name="connsiteY13" fmla="*/ 253625 h 261765"/>
                  <a:gd name="connsiteX14" fmla="*/ 112941 w 214787"/>
                  <a:gd name="connsiteY14" fmla="*/ 248382 h 261765"/>
                  <a:gd name="connsiteX15" fmla="*/ 113625 w 214787"/>
                  <a:gd name="connsiteY15" fmla="*/ 243024 h 261765"/>
                  <a:gd name="connsiteX16" fmla="*/ 112314 w 214787"/>
                  <a:gd name="connsiteY16" fmla="*/ 239661 h 261765"/>
                  <a:gd name="connsiteX17" fmla="*/ 107754 w 214787"/>
                  <a:gd name="connsiteY17" fmla="*/ 223646 h 261765"/>
                  <a:gd name="connsiteX18" fmla="*/ 105646 w 214787"/>
                  <a:gd name="connsiteY18" fmla="*/ 212247 h 261765"/>
                  <a:gd name="connsiteX19" fmla="*/ 101542 w 214787"/>
                  <a:gd name="connsiteY19" fmla="*/ 210423 h 261765"/>
                  <a:gd name="connsiteX20" fmla="*/ 80796 w 214787"/>
                  <a:gd name="connsiteY20" fmla="*/ 205863 h 261765"/>
                  <a:gd name="connsiteX21" fmla="*/ 76350 w 214787"/>
                  <a:gd name="connsiteY21" fmla="*/ 203926 h 261765"/>
                  <a:gd name="connsiteX22" fmla="*/ 75496 w 214787"/>
                  <a:gd name="connsiteY22" fmla="*/ 201247 h 261765"/>
                  <a:gd name="connsiteX23" fmla="*/ 68371 w 214787"/>
                  <a:gd name="connsiteY23" fmla="*/ 196858 h 261765"/>
                  <a:gd name="connsiteX24" fmla="*/ 62102 w 214787"/>
                  <a:gd name="connsiteY24" fmla="*/ 191615 h 261765"/>
                  <a:gd name="connsiteX25" fmla="*/ 47796 w 214787"/>
                  <a:gd name="connsiteY25" fmla="*/ 183237 h 261765"/>
                  <a:gd name="connsiteX26" fmla="*/ 40501 w 214787"/>
                  <a:gd name="connsiteY26" fmla="*/ 184832 h 261765"/>
                  <a:gd name="connsiteX27" fmla="*/ 38791 w 214787"/>
                  <a:gd name="connsiteY27" fmla="*/ 177765 h 261765"/>
                  <a:gd name="connsiteX28" fmla="*/ 31894 w 214787"/>
                  <a:gd name="connsiteY28" fmla="*/ 176739 h 261765"/>
                  <a:gd name="connsiteX29" fmla="*/ 28988 w 214787"/>
                  <a:gd name="connsiteY29" fmla="*/ 164998 h 261765"/>
                  <a:gd name="connsiteX30" fmla="*/ 24713 w 214787"/>
                  <a:gd name="connsiteY30" fmla="*/ 151377 h 261765"/>
                  <a:gd name="connsiteX31" fmla="*/ 22319 w 214787"/>
                  <a:gd name="connsiteY31" fmla="*/ 140548 h 261765"/>
                  <a:gd name="connsiteX32" fmla="*/ 15252 w 214787"/>
                  <a:gd name="connsiteY32" fmla="*/ 137812 h 261765"/>
                  <a:gd name="connsiteX33" fmla="*/ 14739 w 214787"/>
                  <a:gd name="connsiteY33" fmla="*/ 134620 h 261765"/>
                  <a:gd name="connsiteX34" fmla="*/ 7672 w 214787"/>
                  <a:gd name="connsiteY34" fmla="*/ 124988 h 261765"/>
                  <a:gd name="connsiteX35" fmla="*/ 9324 w 214787"/>
                  <a:gd name="connsiteY35" fmla="*/ 121226 h 261765"/>
                  <a:gd name="connsiteX36" fmla="*/ 4480 w 214787"/>
                  <a:gd name="connsiteY36" fmla="*/ 115071 h 261765"/>
                  <a:gd name="connsiteX37" fmla="*/ 4480 w 214787"/>
                  <a:gd name="connsiteY37" fmla="*/ 105781 h 261765"/>
                  <a:gd name="connsiteX38" fmla="*/ 34 w 214787"/>
                  <a:gd name="connsiteY38" fmla="*/ 99055 h 261765"/>
                  <a:gd name="connsiteX39" fmla="*/ 4195 w 214787"/>
                  <a:gd name="connsiteY39" fmla="*/ 79791 h 261765"/>
                  <a:gd name="connsiteX40" fmla="*/ 4195 w 214787"/>
                  <a:gd name="connsiteY40" fmla="*/ 79791 h 261765"/>
                  <a:gd name="connsiteX41" fmla="*/ 4195 w 214787"/>
                  <a:gd name="connsiteY41" fmla="*/ 79506 h 261765"/>
                  <a:gd name="connsiteX42" fmla="*/ 11319 w 214787"/>
                  <a:gd name="connsiteY42" fmla="*/ 74890 h 261765"/>
                  <a:gd name="connsiteX43" fmla="*/ 14511 w 214787"/>
                  <a:gd name="connsiteY43" fmla="*/ 67822 h 261765"/>
                  <a:gd name="connsiteX44" fmla="*/ 13542 w 214787"/>
                  <a:gd name="connsiteY44" fmla="*/ 66055 h 261765"/>
                  <a:gd name="connsiteX45" fmla="*/ 17532 w 214787"/>
                  <a:gd name="connsiteY45" fmla="*/ 61895 h 261765"/>
                  <a:gd name="connsiteX46" fmla="*/ 21920 w 214787"/>
                  <a:gd name="connsiteY46" fmla="*/ 44568 h 261765"/>
                  <a:gd name="connsiteX47" fmla="*/ 16221 w 214787"/>
                  <a:gd name="connsiteY47" fmla="*/ 36988 h 261765"/>
                  <a:gd name="connsiteX48" fmla="*/ 24143 w 214787"/>
                  <a:gd name="connsiteY48" fmla="*/ 18408 h 261765"/>
                  <a:gd name="connsiteX49" fmla="*/ 21920 w 214787"/>
                  <a:gd name="connsiteY49" fmla="*/ 10372 h 261765"/>
                  <a:gd name="connsiteX50" fmla="*/ 24599 w 214787"/>
                  <a:gd name="connsiteY50" fmla="*/ 6496 h 261765"/>
                  <a:gd name="connsiteX51" fmla="*/ 30298 w 214787"/>
                  <a:gd name="connsiteY51" fmla="*/ 797 h 261765"/>
                  <a:gd name="connsiteX52" fmla="*/ 38449 w 214787"/>
                  <a:gd name="connsiteY52" fmla="*/ 398 h 261765"/>
                  <a:gd name="connsiteX53" fmla="*/ 49848 w 214787"/>
                  <a:gd name="connsiteY53" fmla="*/ 1879 h 261765"/>
                  <a:gd name="connsiteX54" fmla="*/ 50475 w 214787"/>
                  <a:gd name="connsiteY54" fmla="*/ 4615 h 261765"/>
                  <a:gd name="connsiteX55" fmla="*/ 52185 w 214787"/>
                  <a:gd name="connsiteY55" fmla="*/ 9574 h 261765"/>
                  <a:gd name="connsiteX56" fmla="*/ 49962 w 214787"/>
                  <a:gd name="connsiteY56" fmla="*/ 13962 h 261765"/>
                  <a:gd name="connsiteX57" fmla="*/ 44889 w 214787"/>
                  <a:gd name="connsiteY57" fmla="*/ 15273 h 261765"/>
                  <a:gd name="connsiteX58" fmla="*/ 44889 w 214787"/>
                  <a:gd name="connsiteY58" fmla="*/ 16983 h 261765"/>
                  <a:gd name="connsiteX59" fmla="*/ 45174 w 214787"/>
                  <a:gd name="connsiteY59" fmla="*/ 36247 h 261765"/>
                  <a:gd name="connsiteX60" fmla="*/ 61418 w 214787"/>
                  <a:gd name="connsiteY60" fmla="*/ 37045 h 261765"/>
                  <a:gd name="connsiteX61" fmla="*/ 80511 w 214787"/>
                  <a:gd name="connsiteY61" fmla="*/ 35107 h 261765"/>
                  <a:gd name="connsiteX62" fmla="*/ 82221 w 214787"/>
                  <a:gd name="connsiteY62" fmla="*/ 26900 h 261765"/>
                  <a:gd name="connsiteX63" fmla="*/ 84273 w 214787"/>
                  <a:gd name="connsiteY63" fmla="*/ 25589 h 261765"/>
                  <a:gd name="connsiteX64" fmla="*/ 85755 w 214787"/>
                  <a:gd name="connsiteY64" fmla="*/ 22740 h 261765"/>
                  <a:gd name="connsiteX65" fmla="*/ 85755 w 214787"/>
                  <a:gd name="connsiteY65" fmla="*/ 19719 h 261765"/>
                  <a:gd name="connsiteX66" fmla="*/ 87806 w 214787"/>
                  <a:gd name="connsiteY66" fmla="*/ 18579 h 261765"/>
                  <a:gd name="connsiteX67" fmla="*/ 95557 w 214787"/>
                  <a:gd name="connsiteY67" fmla="*/ 16755 h 261765"/>
                  <a:gd name="connsiteX68" fmla="*/ 92651 w 214787"/>
                  <a:gd name="connsiteY68" fmla="*/ 9289 h 261765"/>
                  <a:gd name="connsiteX69" fmla="*/ 92366 w 214787"/>
                  <a:gd name="connsiteY69" fmla="*/ 7750 h 261765"/>
                  <a:gd name="connsiteX70" fmla="*/ 119609 w 214787"/>
                  <a:gd name="connsiteY70" fmla="*/ 16698 h 261765"/>
                  <a:gd name="connsiteX71" fmla="*/ 135796 w 214787"/>
                  <a:gd name="connsiteY71" fmla="*/ 21942 h 261765"/>
                  <a:gd name="connsiteX72" fmla="*/ 140698 w 214787"/>
                  <a:gd name="connsiteY72" fmla="*/ 30662 h 261765"/>
                  <a:gd name="connsiteX73" fmla="*/ 149019 w 214787"/>
                  <a:gd name="connsiteY73" fmla="*/ 31688 h 261765"/>
                  <a:gd name="connsiteX74" fmla="*/ 153578 w 214787"/>
                  <a:gd name="connsiteY74" fmla="*/ 39268 h 261765"/>
                  <a:gd name="connsiteX75" fmla="*/ 163324 w 214787"/>
                  <a:gd name="connsiteY75" fmla="*/ 41719 h 261765"/>
                  <a:gd name="connsiteX76" fmla="*/ 165889 w 214787"/>
                  <a:gd name="connsiteY76" fmla="*/ 47418 h 261765"/>
                  <a:gd name="connsiteX77" fmla="*/ 174267 w 214787"/>
                  <a:gd name="connsiteY77" fmla="*/ 50154 h 261765"/>
                  <a:gd name="connsiteX78" fmla="*/ 175122 w 214787"/>
                  <a:gd name="connsiteY78" fmla="*/ 60242 h 261765"/>
                  <a:gd name="connsiteX79" fmla="*/ 188117 w 214787"/>
                  <a:gd name="connsiteY79" fmla="*/ 77340 h 261765"/>
                  <a:gd name="connsiteX80" fmla="*/ 193361 w 214787"/>
                  <a:gd name="connsiteY80" fmla="*/ 77796 h 261765"/>
                  <a:gd name="connsiteX81" fmla="*/ 196723 w 214787"/>
                  <a:gd name="connsiteY81" fmla="*/ 82413 h 26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14787" h="261765">
                    <a:moveTo>
                      <a:pt x="196723" y="82413"/>
                    </a:moveTo>
                    <a:cubicBezTo>
                      <a:pt x="198313" y="83804"/>
                      <a:pt x="200029" y="85046"/>
                      <a:pt x="201853" y="86118"/>
                    </a:cubicBezTo>
                    <a:cubicBezTo>
                      <a:pt x="194102" y="104014"/>
                      <a:pt x="186521" y="122594"/>
                      <a:pt x="186578" y="142029"/>
                    </a:cubicBezTo>
                    <a:cubicBezTo>
                      <a:pt x="186054" y="147393"/>
                      <a:pt x="187809" y="152733"/>
                      <a:pt x="191423" y="156734"/>
                    </a:cubicBezTo>
                    <a:cubicBezTo>
                      <a:pt x="195960" y="159430"/>
                      <a:pt x="201004" y="161157"/>
                      <a:pt x="206241" y="161807"/>
                    </a:cubicBezTo>
                    <a:cubicBezTo>
                      <a:pt x="211314" y="163345"/>
                      <a:pt x="216443" y="168418"/>
                      <a:pt x="214278" y="173206"/>
                    </a:cubicBezTo>
                    <a:cubicBezTo>
                      <a:pt x="204703" y="169444"/>
                      <a:pt x="194843" y="180615"/>
                      <a:pt x="195013" y="190931"/>
                    </a:cubicBezTo>
                    <a:cubicBezTo>
                      <a:pt x="195184" y="201247"/>
                      <a:pt x="201397" y="210309"/>
                      <a:pt x="205956" y="219428"/>
                    </a:cubicBezTo>
                    <a:cubicBezTo>
                      <a:pt x="209296" y="226216"/>
                      <a:pt x="211844" y="233369"/>
                      <a:pt x="213537" y="240744"/>
                    </a:cubicBezTo>
                    <a:cubicBezTo>
                      <a:pt x="207837" y="242511"/>
                      <a:pt x="202480" y="244449"/>
                      <a:pt x="197065" y="246444"/>
                    </a:cubicBezTo>
                    <a:lnTo>
                      <a:pt x="166345" y="257444"/>
                    </a:lnTo>
                    <a:cubicBezTo>
                      <a:pt x="158560" y="261080"/>
                      <a:pt x="149913" y="262465"/>
                      <a:pt x="141381" y="261433"/>
                    </a:cubicBezTo>
                    <a:cubicBezTo>
                      <a:pt x="135881" y="259621"/>
                      <a:pt x="130530" y="257387"/>
                      <a:pt x="125366" y="254765"/>
                    </a:cubicBezTo>
                    <a:cubicBezTo>
                      <a:pt x="121114" y="252816"/>
                      <a:pt x="116315" y="252411"/>
                      <a:pt x="111801" y="253625"/>
                    </a:cubicBezTo>
                    <a:cubicBezTo>
                      <a:pt x="112092" y="251858"/>
                      <a:pt x="112474" y="250108"/>
                      <a:pt x="112941" y="248382"/>
                    </a:cubicBezTo>
                    <a:cubicBezTo>
                      <a:pt x="113557" y="246666"/>
                      <a:pt x="113790" y="244837"/>
                      <a:pt x="113625" y="243024"/>
                    </a:cubicBezTo>
                    <a:cubicBezTo>
                      <a:pt x="113334" y="241850"/>
                      <a:pt x="112890" y="240722"/>
                      <a:pt x="112314" y="239661"/>
                    </a:cubicBezTo>
                    <a:cubicBezTo>
                      <a:pt x="109766" y="234669"/>
                      <a:pt x="108216" y="229232"/>
                      <a:pt x="107754" y="223646"/>
                    </a:cubicBezTo>
                    <a:cubicBezTo>
                      <a:pt x="110074" y="219867"/>
                      <a:pt x="109162" y="214948"/>
                      <a:pt x="105646" y="212247"/>
                    </a:cubicBezTo>
                    <a:cubicBezTo>
                      <a:pt x="104363" y="211466"/>
                      <a:pt x="102984" y="210856"/>
                      <a:pt x="101542" y="210423"/>
                    </a:cubicBezTo>
                    <a:cubicBezTo>
                      <a:pt x="94788" y="208252"/>
                      <a:pt x="87840" y="206724"/>
                      <a:pt x="80796" y="205863"/>
                    </a:cubicBezTo>
                    <a:cubicBezTo>
                      <a:pt x="79097" y="205909"/>
                      <a:pt x="77467" y="205203"/>
                      <a:pt x="76350" y="203926"/>
                    </a:cubicBezTo>
                    <a:cubicBezTo>
                      <a:pt x="75974" y="203065"/>
                      <a:pt x="75683" y="202165"/>
                      <a:pt x="75496" y="201247"/>
                    </a:cubicBezTo>
                    <a:cubicBezTo>
                      <a:pt x="74526" y="198511"/>
                      <a:pt x="71164" y="197599"/>
                      <a:pt x="68371" y="196858"/>
                    </a:cubicBezTo>
                    <a:cubicBezTo>
                      <a:pt x="65578" y="196117"/>
                      <a:pt x="62273" y="194522"/>
                      <a:pt x="62102" y="191615"/>
                    </a:cubicBezTo>
                    <a:cubicBezTo>
                      <a:pt x="55849" y="193177"/>
                      <a:pt x="49494" y="189455"/>
                      <a:pt x="47796" y="183237"/>
                    </a:cubicBezTo>
                    <a:lnTo>
                      <a:pt x="40501" y="184832"/>
                    </a:lnTo>
                    <a:cubicBezTo>
                      <a:pt x="41173" y="182342"/>
                      <a:pt x="40529" y="179674"/>
                      <a:pt x="38791" y="177765"/>
                    </a:cubicBezTo>
                    <a:cubicBezTo>
                      <a:pt x="36996" y="175896"/>
                      <a:pt x="34157" y="175474"/>
                      <a:pt x="31894" y="176739"/>
                    </a:cubicBezTo>
                    <a:lnTo>
                      <a:pt x="28988" y="164998"/>
                    </a:lnTo>
                    <a:cubicBezTo>
                      <a:pt x="27967" y="160342"/>
                      <a:pt x="26537" y="155782"/>
                      <a:pt x="24713" y="151377"/>
                    </a:cubicBezTo>
                    <a:cubicBezTo>
                      <a:pt x="22621" y="148179"/>
                      <a:pt x="21772" y="144326"/>
                      <a:pt x="22319" y="140548"/>
                    </a:cubicBezTo>
                    <a:cubicBezTo>
                      <a:pt x="20780" y="138439"/>
                      <a:pt x="16620" y="140092"/>
                      <a:pt x="15252" y="137812"/>
                    </a:cubicBezTo>
                    <a:cubicBezTo>
                      <a:pt x="14876" y="136792"/>
                      <a:pt x="14699" y="135709"/>
                      <a:pt x="14739" y="134620"/>
                    </a:cubicBezTo>
                    <a:cubicBezTo>
                      <a:pt x="13941" y="130516"/>
                      <a:pt x="6817" y="128921"/>
                      <a:pt x="7672" y="124988"/>
                    </a:cubicBezTo>
                    <a:cubicBezTo>
                      <a:pt x="7672" y="123620"/>
                      <a:pt x="9154" y="122594"/>
                      <a:pt x="9324" y="121226"/>
                    </a:cubicBezTo>
                    <a:cubicBezTo>
                      <a:pt x="9324" y="118491"/>
                      <a:pt x="6019" y="117294"/>
                      <a:pt x="4480" y="115071"/>
                    </a:cubicBezTo>
                    <a:cubicBezTo>
                      <a:pt x="2941" y="112848"/>
                      <a:pt x="3967" y="108972"/>
                      <a:pt x="4480" y="105781"/>
                    </a:cubicBezTo>
                    <a:cubicBezTo>
                      <a:pt x="4993" y="102589"/>
                      <a:pt x="3112" y="98429"/>
                      <a:pt x="34" y="99055"/>
                    </a:cubicBezTo>
                    <a:cubicBezTo>
                      <a:pt x="-245" y="92387"/>
                      <a:pt x="1186" y="85753"/>
                      <a:pt x="4195" y="79791"/>
                    </a:cubicBezTo>
                    <a:lnTo>
                      <a:pt x="4195" y="79791"/>
                    </a:lnTo>
                    <a:lnTo>
                      <a:pt x="4195" y="79506"/>
                    </a:lnTo>
                    <a:cubicBezTo>
                      <a:pt x="6264" y="77546"/>
                      <a:pt x="8680" y="75978"/>
                      <a:pt x="11319" y="74890"/>
                    </a:cubicBezTo>
                    <a:cubicBezTo>
                      <a:pt x="13713" y="73408"/>
                      <a:pt x="15822" y="70387"/>
                      <a:pt x="14511" y="67822"/>
                    </a:cubicBezTo>
                    <a:cubicBezTo>
                      <a:pt x="14089" y="67292"/>
                      <a:pt x="13764" y="66694"/>
                      <a:pt x="13542" y="66055"/>
                    </a:cubicBezTo>
                    <a:cubicBezTo>
                      <a:pt x="13029" y="64004"/>
                      <a:pt x="15651" y="62864"/>
                      <a:pt x="17532" y="61895"/>
                    </a:cubicBezTo>
                    <a:cubicBezTo>
                      <a:pt x="23106" y="58019"/>
                      <a:pt x="24981" y="50633"/>
                      <a:pt x="21920" y="44568"/>
                    </a:cubicBezTo>
                    <a:cubicBezTo>
                      <a:pt x="20530" y="41696"/>
                      <a:pt x="18598" y="39120"/>
                      <a:pt x="16221" y="36988"/>
                    </a:cubicBezTo>
                    <a:cubicBezTo>
                      <a:pt x="21612" y="32366"/>
                      <a:pt x="24542" y="25498"/>
                      <a:pt x="24143" y="18408"/>
                    </a:cubicBezTo>
                    <a:cubicBezTo>
                      <a:pt x="24565" y="15535"/>
                      <a:pt x="23761" y="12617"/>
                      <a:pt x="21920" y="10372"/>
                    </a:cubicBezTo>
                    <a:cubicBezTo>
                      <a:pt x="22775" y="9061"/>
                      <a:pt x="23687" y="7807"/>
                      <a:pt x="24599" y="6496"/>
                    </a:cubicBezTo>
                    <a:cubicBezTo>
                      <a:pt x="25939" y="4108"/>
                      <a:pt x="27911" y="2136"/>
                      <a:pt x="30298" y="797"/>
                    </a:cubicBezTo>
                    <a:cubicBezTo>
                      <a:pt x="32920" y="-104"/>
                      <a:pt x="35747" y="-247"/>
                      <a:pt x="38449" y="398"/>
                    </a:cubicBezTo>
                    <a:lnTo>
                      <a:pt x="49848" y="1879"/>
                    </a:lnTo>
                    <a:cubicBezTo>
                      <a:pt x="49916" y="2820"/>
                      <a:pt x="50127" y="3743"/>
                      <a:pt x="50475" y="4615"/>
                    </a:cubicBezTo>
                    <a:cubicBezTo>
                      <a:pt x="51255" y="6188"/>
                      <a:pt x="51831" y="7853"/>
                      <a:pt x="52185" y="9574"/>
                    </a:cubicBezTo>
                    <a:cubicBezTo>
                      <a:pt x="52544" y="11375"/>
                      <a:pt x="51626" y="13187"/>
                      <a:pt x="49962" y="13962"/>
                    </a:cubicBezTo>
                    <a:cubicBezTo>
                      <a:pt x="48252" y="14532"/>
                      <a:pt x="45687" y="13620"/>
                      <a:pt x="44889" y="15273"/>
                    </a:cubicBezTo>
                    <a:cubicBezTo>
                      <a:pt x="44747" y="15832"/>
                      <a:pt x="44747" y="16425"/>
                      <a:pt x="44889" y="16983"/>
                    </a:cubicBezTo>
                    <a:cubicBezTo>
                      <a:pt x="45414" y="23389"/>
                      <a:pt x="45505" y="29824"/>
                      <a:pt x="45174" y="36247"/>
                    </a:cubicBezTo>
                    <a:cubicBezTo>
                      <a:pt x="49905" y="39097"/>
                      <a:pt x="55889" y="37444"/>
                      <a:pt x="61418" y="37045"/>
                    </a:cubicBezTo>
                    <a:cubicBezTo>
                      <a:pt x="67858" y="36646"/>
                      <a:pt x="74812" y="38128"/>
                      <a:pt x="80511" y="35107"/>
                    </a:cubicBezTo>
                    <a:cubicBezTo>
                      <a:pt x="80112" y="32201"/>
                      <a:pt x="79884" y="28667"/>
                      <a:pt x="82221" y="26900"/>
                    </a:cubicBezTo>
                    <a:cubicBezTo>
                      <a:pt x="82848" y="26387"/>
                      <a:pt x="83646" y="26102"/>
                      <a:pt x="84273" y="25589"/>
                    </a:cubicBezTo>
                    <a:cubicBezTo>
                      <a:pt x="85139" y="24882"/>
                      <a:pt x="85675" y="23851"/>
                      <a:pt x="85755" y="22740"/>
                    </a:cubicBezTo>
                    <a:cubicBezTo>
                      <a:pt x="85755" y="21714"/>
                      <a:pt x="85413" y="20574"/>
                      <a:pt x="85755" y="19719"/>
                    </a:cubicBezTo>
                    <a:cubicBezTo>
                      <a:pt x="86262" y="19080"/>
                      <a:pt x="86997" y="18676"/>
                      <a:pt x="87806" y="18579"/>
                    </a:cubicBezTo>
                    <a:cubicBezTo>
                      <a:pt x="90371" y="17895"/>
                      <a:pt x="92936" y="17268"/>
                      <a:pt x="95557" y="16755"/>
                    </a:cubicBezTo>
                    <a:lnTo>
                      <a:pt x="92651" y="9289"/>
                    </a:lnTo>
                    <a:cubicBezTo>
                      <a:pt x="92474" y="8793"/>
                      <a:pt x="92377" y="8274"/>
                      <a:pt x="92366" y="7750"/>
                    </a:cubicBezTo>
                    <a:cubicBezTo>
                      <a:pt x="101924" y="9021"/>
                      <a:pt x="111163" y="12053"/>
                      <a:pt x="119609" y="16698"/>
                    </a:cubicBezTo>
                    <a:cubicBezTo>
                      <a:pt x="124682" y="19719"/>
                      <a:pt x="130210" y="23765"/>
                      <a:pt x="135796" y="21942"/>
                    </a:cubicBezTo>
                    <a:cubicBezTo>
                      <a:pt x="136309" y="25418"/>
                      <a:pt x="137335" y="29579"/>
                      <a:pt x="140698" y="30662"/>
                    </a:cubicBezTo>
                    <a:cubicBezTo>
                      <a:pt x="144060" y="31745"/>
                      <a:pt x="146682" y="30092"/>
                      <a:pt x="149019" y="31688"/>
                    </a:cubicBezTo>
                    <a:cubicBezTo>
                      <a:pt x="151356" y="33283"/>
                      <a:pt x="151184" y="37387"/>
                      <a:pt x="153578" y="39268"/>
                    </a:cubicBezTo>
                    <a:cubicBezTo>
                      <a:pt x="155972" y="41149"/>
                      <a:pt x="160988" y="39268"/>
                      <a:pt x="163324" y="41719"/>
                    </a:cubicBezTo>
                    <a:cubicBezTo>
                      <a:pt x="164806" y="43372"/>
                      <a:pt x="164407" y="46107"/>
                      <a:pt x="165889" y="47418"/>
                    </a:cubicBezTo>
                    <a:cubicBezTo>
                      <a:pt x="167371" y="48729"/>
                      <a:pt x="171988" y="48216"/>
                      <a:pt x="174267" y="50154"/>
                    </a:cubicBezTo>
                    <a:cubicBezTo>
                      <a:pt x="176547" y="52092"/>
                      <a:pt x="174837" y="56765"/>
                      <a:pt x="175122" y="60242"/>
                    </a:cubicBezTo>
                    <a:cubicBezTo>
                      <a:pt x="175749" y="67480"/>
                      <a:pt x="186521" y="70045"/>
                      <a:pt x="188117" y="77340"/>
                    </a:cubicBezTo>
                    <a:cubicBezTo>
                      <a:pt x="189747" y="76206"/>
                      <a:pt x="191953" y="76394"/>
                      <a:pt x="193361" y="77796"/>
                    </a:cubicBezTo>
                    <a:cubicBezTo>
                      <a:pt x="194575" y="79261"/>
                      <a:pt x="195697" y="80806"/>
                      <a:pt x="196723" y="824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6" name="Freihandform: Form 322">
                <a:extLst>
                  <a:ext uri="{FF2B5EF4-FFF2-40B4-BE49-F238E27FC236}">
                    <a16:creationId xmlns:a16="http://schemas.microsoft.com/office/drawing/2014/main" id="{71553CB1-CA58-8EB9-6132-F96F87D9403A}"/>
                  </a:ext>
                </a:extLst>
              </p:cNvPr>
              <p:cNvSpPr/>
              <p:nvPr/>
            </p:nvSpPr>
            <p:spPr>
              <a:xfrm>
                <a:off x="4400590" y="4164470"/>
                <a:ext cx="119943" cy="121563"/>
              </a:xfrm>
              <a:custGeom>
                <a:avLst/>
                <a:gdLst>
                  <a:gd name="connsiteX0" fmla="*/ 96526 w 119943"/>
                  <a:gd name="connsiteY0" fmla="*/ 81668 h 121563"/>
                  <a:gd name="connsiteX1" fmla="*/ 95728 w 119943"/>
                  <a:gd name="connsiteY1" fmla="*/ 84346 h 121563"/>
                  <a:gd name="connsiteX2" fmla="*/ 91795 w 119943"/>
                  <a:gd name="connsiteY2" fmla="*/ 83377 h 121563"/>
                  <a:gd name="connsiteX3" fmla="*/ 88490 w 119943"/>
                  <a:gd name="connsiteY3" fmla="*/ 82979 h 121563"/>
                  <a:gd name="connsiteX4" fmla="*/ 82790 w 119943"/>
                  <a:gd name="connsiteY4" fmla="*/ 84118 h 121563"/>
                  <a:gd name="connsiteX5" fmla="*/ 64210 w 119943"/>
                  <a:gd name="connsiteY5" fmla="*/ 84118 h 121563"/>
                  <a:gd name="connsiteX6" fmla="*/ 63412 w 119943"/>
                  <a:gd name="connsiteY6" fmla="*/ 92953 h 121563"/>
                  <a:gd name="connsiteX7" fmla="*/ 55091 w 119943"/>
                  <a:gd name="connsiteY7" fmla="*/ 95859 h 121563"/>
                  <a:gd name="connsiteX8" fmla="*/ 50588 w 119943"/>
                  <a:gd name="connsiteY8" fmla="*/ 110621 h 121563"/>
                  <a:gd name="connsiteX9" fmla="*/ 50189 w 119943"/>
                  <a:gd name="connsiteY9" fmla="*/ 113072 h 121563"/>
                  <a:gd name="connsiteX10" fmla="*/ 38790 w 119943"/>
                  <a:gd name="connsiteY10" fmla="*/ 111590 h 121563"/>
                  <a:gd name="connsiteX11" fmla="*/ 30640 w 119943"/>
                  <a:gd name="connsiteY11" fmla="*/ 111989 h 121563"/>
                  <a:gd name="connsiteX12" fmla="*/ 24941 w 119943"/>
                  <a:gd name="connsiteY12" fmla="*/ 117688 h 121563"/>
                  <a:gd name="connsiteX13" fmla="*/ 22262 w 119943"/>
                  <a:gd name="connsiteY13" fmla="*/ 121564 h 121563"/>
                  <a:gd name="connsiteX14" fmla="*/ 21521 w 119943"/>
                  <a:gd name="connsiteY14" fmla="*/ 120823 h 121563"/>
                  <a:gd name="connsiteX15" fmla="*/ 17417 w 119943"/>
                  <a:gd name="connsiteY15" fmla="*/ 119740 h 121563"/>
                  <a:gd name="connsiteX16" fmla="*/ 319 w 119943"/>
                  <a:gd name="connsiteY16" fmla="*/ 119227 h 121563"/>
                  <a:gd name="connsiteX17" fmla="*/ 319 w 119943"/>
                  <a:gd name="connsiteY17" fmla="*/ 114098 h 121563"/>
                  <a:gd name="connsiteX18" fmla="*/ 30298 w 119943"/>
                  <a:gd name="connsiteY18" fmla="*/ 45704 h 121563"/>
                  <a:gd name="connsiteX19" fmla="*/ 35599 w 119943"/>
                  <a:gd name="connsiteY19" fmla="*/ 39663 h 121563"/>
                  <a:gd name="connsiteX20" fmla="*/ 25111 w 119943"/>
                  <a:gd name="connsiteY20" fmla="*/ 17606 h 121563"/>
                  <a:gd name="connsiteX21" fmla="*/ 30184 w 119943"/>
                  <a:gd name="connsiteY21" fmla="*/ 12419 h 121563"/>
                  <a:gd name="connsiteX22" fmla="*/ 30184 w 119943"/>
                  <a:gd name="connsiteY22" fmla="*/ 2046 h 121563"/>
                  <a:gd name="connsiteX23" fmla="*/ 91510 w 119943"/>
                  <a:gd name="connsiteY23" fmla="*/ 2046 h 121563"/>
                  <a:gd name="connsiteX24" fmla="*/ 103405 w 119943"/>
                  <a:gd name="connsiteY24" fmla="*/ 2929 h 121563"/>
                  <a:gd name="connsiteX25" fmla="*/ 103878 w 119943"/>
                  <a:gd name="connsiteY25" fmla="*/ 3528 h 121563"/>
                  <a:gd name="connsiteX26" fmla="*/ 106386 w 119943"/>
                  <a:gd name="connsiteY26" fmla="*/ 8657 h 121563"/>
                  <a:gd name="connsiteX27" fmla="*/ 114023 w 119943"/>
                  <a:gd name="connsiteY27" fmla="*/ 15212 h 121563"/>
                  <a:gd name="connsiteX28" fmla="*/ 115106 w 119943"/>
                  <a:gd name="connsiteY28" fmla="*/ 24103 h 121563"/>
                  <a:gd name="connsiteX29" fmla="*/ 119837 w 119943"/>
                  <a:gd name="connsiteY29" fmla="*/ 30657 h 121563"/>
                  <a:gd name="connsiteX30" fmla="*/ 116645 w 119943"/>
                  <a:gd name="connsiteY30" fmla="*/ 39720 h 121563"/>
                  <a:gd name="connsiteX31" fmla="*/ 116246 w 119943"/>
                  <a:gd name="connsiteY31" fmla="*/ 44564 h 121563"/>
                  <a:gd name="connsiteX32" fmla="*/ 110547 w 119943"/>
                  <a:gd name="connsiteY32" fmla="*/ 52999 h 121563"/>
                  <a:gd name="connsiteX33" fmla="*/ 109863 w 119943"/>
                  <a:gd name="connsiteY33" fmla="*/ 62289 h 121563"/>
                  <a:gd name="connsiteX34" fmla="*/ 96526 w 119943"/>
                  <a:gd name="connsiteY34" fmla="*/ 81668 h 12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9943" h="121563">
                    <a:moveTo>
                      <a:pt x="96526" y="81668"/>
                    </a:moveTo>
                    <a:cubicBezTo>
                      <a:pt x="96526" y="82580"/>
                      <a:pt x="96013" y="83434"/>
                      <a:pt x="95728" y="84346"/>
                    </a:cubicBezTo>
                    <a:cubicBezTo>
                      <a:pt x="94417" y="84004"/>
                      <a:pt x="93106" y="83605"/>
                      <a:pt x="91795" y="83377"/>
                    </a:cubicBezTo>
                    <a:cubicBezTo>
                      <a:pt x="90718" y="83104"/>
                      <a:pt x="89607" y="82967"/>
                      <a:pt x="88490" y="82979"/>
                    </a:cubicBezTo>
                    <a:cubicBezTo>
                      <a:pt x="86552" y="83121"/>
                      <a:pt x="84637" y="83503"/>
                      <a:pt x="82790" y="84118"/>
                    </a:cubicBezTo>
                    <a:cubicBezTo>
                      <a:pt x="76692" y="85657"/>
                      <a:pt x="70309" y="85657"/>
                      <a:pt x="64210" y="84118"/>
                    </a:cubicBezTo>
                    <a:cubicBezTo>
                      <a:pt x="65350" y="87025"/>
                      <a:pt x="65054" y="90297"/>
                      <a:pt x="63412" y="92953"/>
                    </a:cubicBezTo>
                    <a:cubicBezTo>
                      <a:pt x="61417" y="95175"/>
                      <a:pt x="57713" y="95004"/>
                      <a:pt x="55091" y="95859"/>
                    </a:cubicBezTo>
                    <a:cubicBezTo>
                      <a:pt x="56322" y="101228"/>
                      <a:pt x="54606" y="106848"/>
                      <a:pt x="50588" y="110621"/>
                    </a:cubicBezTo>
                    <a:cubicBezTo>
                      <a:pt x="50229" y="111385"/>
                      <a:pt x="50093" y="112234"/>
                      <a:pt x="50189" y="113072"/>
                    </a:cubicBezTo>
                    <a:lnTo>
                      <a:pt x="38790" y="111590"/>
                    </a:lnTo>
                    <a:cubicBezTo>
                      <a:pt x="36089" y="110946"/>
                      <a:pt x="33262" y="111088"/>
                      <a:pt x="30640" y="111989"/>
                    </a:cubicBezTo>
                    <a:cubicBezTo>
                      <a:pt x="28252" y="113328"/>
                      <a:pt x="26280" y="115300"/>
                      <a:pt x="24941" y="117688"/>
                    </a:cubicBezTo>
                    <a:cubicBezTo>
                      <a:pt x="24029" y="118999"/>
                      <a:pt x="23117" y="120253"/>
                      <a:pt x="22262" y="121564"/>
                    </a:cubicBezTo>
                    <a:cubicBezTo>
                      <a:pt x="21977" y="121564"/>
                      <a:pt x="21806" y="121051"/>
                      <a:pt x="21521" y="120823"/>
                    </a:cubicBezTo>
                    <a:cubicBezTo>
                      <a:pt x="20244" y="120173"/>
                      <a:pt x="18848" y="119803"/>
                      <a:pt x="17417" y="119740"/>
                    </a:cubicBezTo>
                    <a:cubicBezTo>
                      <a:pt x="11735" y="119193"/>
                      <a:pt x="6024" y="119022"/>
                      <a:pt x="319" y="119227"/>
                    </a:cubicBezTo>
                    <a:cubicBezTo>
                      <a:pt x="461" y="117523"/>
                      <a:pt x="461" y="115802"/>
                      <a:pt x="319" y="114098"/>
                    </a:cubicBezTo>
                    <a:cubicBezTo>
                      <a:pt x="-2086" y="87663"/>
                      <a:pt x="9233" y="61851"/>
                      <a:pt x="30298" y="45704"/>
                    </a:cubicBezTo>
                    <a:cubicBezTo>
                      <a:pt x="32686" y="44336"/>
                      <a:pt x="34556" y="42210"/>
                      <a:pt x="35599" y="39663"/>
                    </a:cubicBezTo>
                    <a:cubicBezTo>
                      <a:pt x="37821" y="31227"/>
                      <a:pt x="21065" y="25300"/>
                      <a:pt x="25111" y="17606"/>
                    </a:cubicBezTo>
                    <a:cubicBezTo>
                      <a:pt x="26251" y="15440"/>
                      <a:pt x="28702" y="14357"/>
                      <a:pt x="30184" y="12419"/>
                    </a:cubicBezTo>
                    <a:cubicBezTo>
                      <a:pt x="32236" y="9267"/>
                      <a:pt x="32236" y="5198"/>
                      <a:pt x="30184" y="2046"/>
                    </a:cubicBezTo>
                    <a:lnTo>
                      <a:pt x="91510" y="2046"/>
                    </a:lnTo>
                    <a:cubicBezTo>
                      <a:pt x="95039" y="-998"/>
                      <a:pt x="100368" y="-598"/>
                      <a:pt x="103405" y="2929"/>
                    </a:cubicBezTo>
                    <a:cubicBezTo>
                      <a:pt x="103571" y="3123"/>
                      <a:pt x="103730" y="3323"/>
                      <a:pt x="103878" y="3528"/>
                    </a:cubicBezTo>
                    <a:cubicBezTo>
                      <a:pt x="104904" y="5124"/>
                      <a:pt x="105360" y="7005"/>
                      <a:pt x="106386" y="8657"/>
                    </a:cubicBezTo>
                    <a:cubicBezTo>
                      <a:pt x="108210" y="11507"/>
                      <a:pt x="111573" y="12932"/>
                      <a:pt x="114023" y="15212"/>
                    </a:cubicBezTo>
                    <a:cubicBezTo>
                      <a:pt x="116474" y="17492"/>
                      <a:pt x="117785" y="22051"/>
                      <a:pt x="115106" y="24103"/>
                    </a:cubicBezTo>
                    <a:cubicBezTo>
                      <a:pt x="118241" y="23305"/>
                      <a:pt x="120464" y="27466"/>
                      <a:pt x="119837" y="30657"/>
                    </a:cubicBezTo>
                    <a:cubicBezTo>
                      <a:pt x="119210" y="33849"/>
                      <a:pt x="117101" y="36357"/>
                      <a:pt x="116645" y="39720"/>
                    </a:cubicBezTo>
                    <a:cubicBezTo>
                      <a:pt x="116645" y="41315"/>
                      <a:pt x="116645" y="42968"/>
                      <a:pt x="116246" y="44564"/>
                    </a:cubicBezTo>
                    <a:cubicBezTo>
                      <a:pt x="114970" y="47750"/>
                      <a:pt x="113026" y="50623"/>
                      <a:pt x="110547" y="52999"/>
                    </a:cubicBezTo>
                    <a:cubicBezTo>
                      <a:pt x="108552" y="55735"/>
                      <a:pt x="107412" y="59896"/>
                      <a:pt x="109863" y="62289"/>
                    </a:cubicBezTo>
                    <a:cubicBezTo>
                      <a:pt x="102225" y="64854"/>
                      <a:pt x="98920" y="73745"/>
                      <a:pt x="96526" y="81668"/>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07" name="Freihandform: Form 323">
                <a:extLst>
                  <a:ext uri="{FF2B5EF4-FFF2-40B4-BE49-F238E27FC236}">
                    <a16:creationId xmlns:a16="http://schemas.microsoft.com/office/drawing/2014/main" id="{7AEF0DC9-506F-2B47-0718-65295ADF7E52}"/>
                  </a:ext>
                </a:extLst>
              </p:cNvPr>
              <p:cNvSpPr/>
              <p:nvPr/>
            </p:nvSpPr>
            <p:spPr>
              <a:xfrm>
                <a:off x="4493354" y="4137632"/>
                <a:ext cx="175258" cy="224148"/>
              </a:xfrm>
              <a:custGeom>
                <a:avLst/>
                <a:gdLst>
                  <a:gd name="connsiteX0" fmla="*/ 161352 w 175258"/>
                  <a:gd name="connsiteY0" fmla="*/ 140024 h 224148"/>
                  <a:gd name="connsiteX1" fmla="*/ 163119 w 175258"/>
                  <a:gd name="connsiteY1" fmla="*/ 151423 h 224148"/>
                  <a:gd name="connsiteX2" fmla="*/ 158274 w 175258"/>
                  <a:gd name="connsiteY2" fmla="*/ 159687 h 224148"/>
                  <a:gd name="connsiteX3" fmla="*/ 146875 w 175258"/>
                  <a:gd name="connsiteY3" fmla="*/ 168350 h 224148"/>
                  <a:gd name="connsiteX4" fmla="*/ 123678 w 175258"/>
                  <a:gd name="connsiteY4" fmla="*/ 204941 h 224148"/>
                  <a:gd name="connsiteX5" fmla="*/ 120886 w 175258"/>
                  <a:gd name="connsiteY5" fmla="*/ 217138 h 224148"/>
                  <a:gd name="connsiteX6" fmla="*/ 110627 w 175258"/>
                  <a:gd name="connsiteY6" fmla="*/ 222324 h 224148"/>
                  <a:gd name="connsiteX7" fmla="*/ 109829 w 175258"/>
                  <a:gd name="connsiteY7" fmla="*/ 224148 h 224148"/>
                  <a:gd name="connsiteX8" fmla="*/ 104699 w 175258"/>
                  <a:gd name="connsiteY8" fmla="*/ 220444 h 224148"/>
                  <a:gd name="connsiteX9" fmla="*/ 100995 w 175258"/>
                  <a:gd name="connsiteY9" fmla="*/ 216055 h 224148"/>
                  <a:gd name="connsiteX10" fmla="*/ 95751 w 175258"/>
                  <a:gd name="connsiteY10" fmla="*/ 215599 h 224148"/>
                  <a:gd name="connsiteX11" fmla="*/ 82756 w 175258"/>
                  <a:gd name="connsiteY11" fmla="*/ 198501 h 224148"/>
                  <a:gd name="connsiteX12" fmla="*/ 81901 w 175258"/>
                  <a:gd name="connsiteY12" fmla="*/ 188412 h 224148"/>
                  <a:gd name="connsiteX13" fmla="*/ 73523 w 175258"/>
                  <a:gd name="connsiteY13" fmla="*/ 185677 h 224148"/>
                  <a:gd name="connsiteX14" fmla="*/ 70958 w 175258"/>
                  <a:gd name="connsiteY14" fmla="*/ 179977 h 224148"/>
                  <a:gd name="connsiteX15" fmla="*/ 61212 w 175258"/>
                  <a:gd name="connsiteY15" fmla="*/ 177526 h 224148"/>
                  <a:gd name="connsiteX16" fmla="*/ 56653 w 175258"/>
                  <a:gd name="connsiteY16" fmla="*/ 169946 h 224148"/>
                  <a:gd name="connsiteX17" fmla="*/ 48331 w 175258"/>
                  <a:gd name="connsiteY17" fmla="*/ 168920 h 224148"/>
                  <a:gd name="connsiteX18" fmla="*/ 43430 w 175258"/>
                  <a:gd name="connsiteY18" fmla="*/ 160200 h 224148"/>
                  <a:gd name="connsiteX19" fmla="*/ 27243 w 175258"/>
                  <a:gd name="connsiteY19" fmla="*/ 154956 h 224148"/>
                  <a:gd name="connsiteX20" fmla="*/ 0 w 175258"/>
                  <a:gd name="connsiteY20" fmla="*/ 146008 h 224148"/>
                  <a:gd name="connsiteX21" fmla="*/ 0 w 175258"/>
                  <a:gd name="connsiteY21" fmla="*/ 145723 h 224148"/>
                  <a:gd name="connsiteX22" fmla="*/ 5699 w 175258"/>
                  <a:gd name="connsiteY22" fmla="*/ 142589 h 224148"/>
                  <a:gd name="connsiteX23" fmla="*/ 7067 w 175258"/>
                  <a:gd name="connsiteY23" fmla="*/ 138599 h 224148"/>
                  <a:gd name="connsiteX24" fmla="*/ 5358 w 175258"/>
                  <a:gd name="connsiteY24" fmla="*/ 134552 h 224148"/>
                  <a:gd name="connsiteX25" fmla="*/ 3305 w 175258"/>
                  <a:gd name="connsiteY25" fmla="*/ 130962 h 224148"/>
                  <a:gd name="connsiteX26" fmla="*/ 2736 w 175258"/>
                  <a:gd name="connsiteY26" fmla="*/ 127998 h 224148"/>
                  <a:gd name="connsiteX27" fmla="*/ 4388 w 175258"/>
                  <a:gd name="connsiteY27" fmla="*/ 126630 h 224148"/>
                  <a:gd name="connsiteX28" fmla="*/ 10487 w 175258"/>
                  <a:gd name="connsiteY28" fmla="*/ 123666 h 224148"/>
                  <a:gd name="connsiteX29" fmla="*/ 14249 w 175258"/>
                  <a:gd name="connsiteY29" fmla="*/ 120589 h 224148"/>
                  <a:gd name="connsiteX30" fmla="*/ 13109 w 175258"/>
                  <a:gd name="connsiteY30" fmla="*/ 115630 h 224148"/>
                  <a:gd name="connsiteX31" fmla="*/ 8549 w 175258"/>
                  <a:gd name="connsiteY31" fmla="*/ 112894 h 224148"/>
                  <a:gd name="connsiteX32" fmla="*/ 3477 w 175258"/>
                  <a:gd name="connsiteY32" fmla="*/ 111185 h 224148"/>
                  <a:gd name="connsiteX33" fmla="*/ 4275 w 175258"/>
                  <a:gd name="connsiteY33" fmla="*/ 108506 h 224148"/>
                  <a:gd name="connsiteX34" fmla="*/ 17896 w 175258"/>
                  <a:gd name="connsiteY34" fmla="*/ 88729 h 224148"/>
                  <a:gd name="connsiteX35" fmla="*/ 18580 w 175258"/>
                  <a:gd name="connsiteY35" fmla="*/ 79438 h 224148"/>
                  <a:gd name="connsiteX36" fmla="*/ 24279 w 175258"/>
                  <a:gd name="connsiteY36" fmla="*/ 71003 h 224148"/>
                  <a:gd name="connsiteX37" fmla="*/ 24678 w 175258"/>
                  <a:gd name="connsiteY37" fmla="*/ 66159 h 224148"/>
                  <a:gd name="connsiteX38" fmla="*/ 27870 w 175258"/>
                  <a:gd name="connsiteY38" fmla="*/ 57097 h 224148"/>
                  <a:gd name="connsiteX39" fmla="*/ 23140 w 175258"/>
                  <a:gd name="connsiteY39" fmla="*/ 50542 h 224148"/>
                  <a:gd name="connsiteX40" fmla="*/ 22057 w 175258"/>
                  <a:gd name="connsiteY40" fmla="*/ 41651 h 224148"/>
                  <a:gd name="connsiteX41" fmla="*/ 14419 w 175258"/>
                  <a:gd name="connsiteY41" fmla="*/ 35097 h 224148"/>
                  <a:gd name="connsiteX42" fmla="*/ 11912 w 175258"/>
                  <a:gd name="connsiteY42" fmla="*/ 29967 h 224148"/>
                  <a:gd name="connsiteX43" fmla="*/ 3192 w 175258"/>
                  <a:gd name="connsiteY43" fmla="*/ 26661 h 224148"/>
                  <a:gd name="connsiteX44" fmla="*/ 3647 w 175258"/>
                  <a:gd name="connsiteY44" fmla="*/ 20449 h 224148"/>
                  <a:gd name="connsiteX45" fmla="*/ 5186 w 175258"/>
                  <a:gd name="connsiteY45" fmla="*/ 16174 h 224148"/>
                  <a:gd name="connsiteX46" fmla="*/ 12083 w 175258"/>
                  <a:gd name="connsiteY46" fmla="*/ 11501 h 224148"/>
                  <a:gd name="connsiteX47" fmla="*/ 12938 w 175258"/>
                  <a:gd name="connsiteY47" fmla="*/ 7340 h 224148"/>
                  <a:gd name="connsiteX48" fmla="*/ 21544 w 175258"/>
                  <a:gd name="connsiteY48" fmla="*/ 4946 h 224148"/>
                  <a:gd name="connsiteX49" fmla="*/ 28383 w 175258"/>
                  <a:gd name="connsiteY49" fmla="*/ 501 h 224148"/>
                  <a:gd name="connsiteX50" fmla="*/ 44228 w 175258"/>
                  <a:gd name="connsiteY50" fmla="*/ 4661 h 224148"/>
                  <a:gd name="connsiteX51" fmla="*/ 48559 w 175258"/>
                  <a:gd name="connsiteY51" fmla="*/ 9278 h 224148"/>
                  <a:gd name="connsiteX52" fmla="*/ 72725 w 175258"/>
                  <a:gd name="connsiteY52" fmla="*/ 12071 h 224148"/>
                  <a:gd name="connsiteX53" fmla="*/ 76088 w 175258"/>
                  <a:gd name="connsiteY53" fmla="*/ 22387 h 224148"/>
                  <a:gd name="connsiteX54" fmla="*/ 83953 w 175258"/>
                  <a:gd name="connsiteY54" fmla="*/ 24040 h 224148"/>
                  <a:gd name="connsiteX55" fmla="*/ 88741 w 175258"/>
                  <a:gd name="connsiteY55" fmla="*/ 29397 h 224148"/>
                  <a:gd name="connsiteX56" fmla="*/ 101508 w 175258"/>
                  <a:gd name="connsiteY56" fmla="*/ 33900 h 224148"/>
                  <a:gd name="connsiteX57" fmla="*/ 104642 w 175258"/>
                  <a:gd name="connsiteY57" fmla="*/ 37604 h 224148"/>
                  <a:gd name="connsiteX58" fmla="*/ 109088 w 175258"/>
                  <a:gd name="connsiteY58" fmla="*/ 38060 h 224148"/>
                  <a:gd name="connsiteX59" fmla="*/ 121969 w 175258"/>
                  <a:gd name="connsiteY59" fmla="*/ 36920 h 224148"/>
                  <a:gd name="connsiteX60" fmla="*/ 127127 w 175258"/>
                  <a:gd name="connsiteY60" fmla="*/ 30725 h 224148"/>
                  <a:gd name="connsiteX61" fmla="*/ 127383 w 175258"/>
                  <a:gd name="connsiteY61" fmla="*/ 30708 h 224148"/>
                  <a:gd name="connsiteX62" fmla="*/ 134336 w 175258"/>
                  <a:gd name="connsiteY62" fmla="*/ 29625 h 224148"/>
                  <a:gd name="connsiteX63" fmla="*/ 134336 w 175258"/>
                  <a:gd name="connsiteY63" fmla="*/ 25522 h 224148"/>
                  <a:gd name="connsiteX64" fmla="*/ 143342 w 175258"/>
                  <a:gd name="connsiteY64" fmla="*/ 20506 h 224148"/>
                  <a:gd name="connsiteX65" fmla="*/ 158787 w 175258"/>
                  <a:gd name="connsiteY65" fmla="*/ 14806 h 224148"/>
                  <a:gd name="connsiteX66" fmla="*/ 166710 w 175258"/>
                  <a:gd name="connsiteY66" fmla="*/ 19195 h 224148"/>
                  <a:gd name="connsiteX67" fmla="*/ 175259 w 175258"/>
                  <a:gd name="connsiteY67" fmla="*/ 20449 h 224148"/>
                  <a:gd name="connsiteX68" fmla="*/ 165171 w 175258"/>
                  <a:gd name="connsiteY68" fmla="*/ 36408 h 224148"/>
                  <a:gd name="connsiteX69" fmla="*/ 162093 w 175258"/>
                  <a:gd name="connsiteY69" fmla="*/ 40454 h 224148"/>
                  <a:gd name="connsiteX70" fmla="*/ 161466 w 175258"/>
                  <a:gd name="connsiteY70" fmla="*/ 44045 h 224148"/>
                  <a:gd name="connsiteX71" fmla="*/ 156564 w 175258"/>
                  <a:gd name="connsiteY71" fmla="*/ 52138 h 224148"/>
                  <a:gd name="connsiteX72" fmla="*/ 155311 w 175258"/>
                  <a:gd name="connsiteY72" fmla="*/ 61029 h 224148"/>
                  <a:gd name="connsiteX73" fmla="*/ 155311 w 175258"/>
                  <a:gd name="connsiteY73" fmla="*/ 135920 h 224148"/>
                  <a:gd name="connsiteX74" fmla="*/ 160822 w 175258"/>
                  <a:gd name="connsiteY74" fmla="*/ 140127 h 224148"/>
                  <a:gd name="connsiteX75" fmla="*/ 161352 w 175258"/>
                  <a:gd name="connsiteY75" fmla="*/ 140024 h 22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5258" h="224148">
                    <a:moveTo>
                      <a:pt x="161352" y="140024"/>
                    </a:moveTo>
                    <a:cubicBezTo>
                      <a:pt x="162281" y="143763"/>
                      <a:pt x="162874" y="147576"/>
                      <a:pt x="163119" y="151423"/>
                    </a:cubicBezTo>
                    <a:cubicBezTo>
                      <a:pt x="161899" y="154392"/>
                      <a:pt x="160269" y="157174"/>
                      <a:pt x="158274" y="159687"/>
                    </a:cubicBezTo>
                    <a:cubicBezTo>
                      <a:pt x="154877" y="163067"/>
                      <a:pt x="151042" y="165979"/>
                      <a:pt x="146875" y="168350"/>
                    </a:cubicBezTo>
                    <a:cubicBezTo>
                      <a:pt x="134507" y="176899"/>
                      <a:pt x="126135" y="190105"/>
                      <a:pt x="123678" y="204941"/>
                    </a:cubicBezTo>
                    <a:cubicBezTo>
                      <a:pt x="123427" y="209130"/>
                      <a:pt x="122482" y="213256"/>
                      <a:pt x="120886" y="217138"/>
                    </a:cubicBezTo>
                    <a:cubicBezTo>
                      <a:pt x="119142" y="221093"/>
                      <a:pt x="114844" y="223265"/>
                      <a:pt x="110627" y="222324"/>
                    </a:cubicBezTo>
                    <a:cubicBezTo>
                      <a:pt x="110342" y="222951"/>
                      <a:pt x="110114" y="223578"/>
                      <a:pt x="109829" y="224148"/>
                    </a:cubicBezTo>
                    <a:cubicBezTo>
                      <a:pt x="108005" y="223077"/>
                      <a:pt x="106289" y="221834"/>
                      <a:pt x="104699" y="220444"/>
                    </a:cubicBezTo>
                    <a:cubicBezTo>
                      <a:pt x="103559" y="218905"/>
                      <a:pt x="102323" y="217440"/>
                      <a:pt x="100995" y="216055"/>
                    </a:cubicBezTo>
                    <a:cubicBezTo>
                      <a:pt x="99587" y="214653"/>
                      <a:pt x="97381" y="214465"/>
                      <a:pt x="95751" y="215599"/>
                    </a:cubicBezTo>
                    <a:cubicBezTo>
                      <a:pt x="93984" y="208589"/>
                      <a:pt x="83383" y="206024"/>
                      <a:pt x="82756" y="198501"/>
                    </a:cubicBezTo>
                    <a:cubicBezTo>
                      <a:pt x="82471" y="195024"/>
                      <a:pt x="84523" y="190749"/>
                      <a:pt x="81901" y="188412"/>
                    </a:cubicBezTo>
                    <a:cubicBezTo>
                      <a:pt x="79280" y="186076"/>
                      <a:pt x="75632" y="187843"/>
                      <a:pt x="73523" y="185677"/>
                    </a:cubicBezTo>
                    <a:cubicBezTo>
                      <a:pt x="71414" y="183511"/>
                      <a:pt x="72440" y="181345"/>
                      <a:pt x="70958" y="179977"/>
                    </a:cubicBezTo>
                    <a:cubicBezTo>
                      <a:pt x="68622" y="177412"/>
                      <a:pt x="63948" y="179578"/>
                      <a:pt x="61212" y="177526"/>
                    </a:cubicBezTo>
                    <a:cubicBezTo>
                      <a:pt x="58476" y="175475"/>
                      <a:pt x="59104" y="171827"/>
                      <a:pt x="56653" y="169946"/>
                    </a:cubicBezTo>
                    <a:cubicBezTo>
                      <a:pt x="54202" y="168065"/>
                      <a:pt x="50953" y="169946"/>
                      <a:pt x="48331" y="168920"/>
                    </a:cubicBezTo>
                    <a:cubicBezTo>
                      <a:pt x="45710" y="167894"/>
                      <a:pt x="43943" y="163677"/>
                      <a:pt x="43430" y="160200"/>
                    </a:cubicBezTo>
                    <a:cubicBezTo>
                      <a:pt x="37730" y="162024"/>
                      <a:pt x="32316" y="157977"/>
                      <a:pt x="27243" y="154956"/>
                    </a:cubicBezTo>
                    <a:cubicBezTo>
                      <a:pt x="18797" y="150311"/>
                      <a:pt x="9558" y="147279"/>
                      <a:pt x="0" y="146008"/>
                    </a:cubicBezTo>
                    <a:cubicBezTo>
                      <a:pt x="0" y="146008"/>
                      <a:pt x="0" y="146008"/>
                      <a:pt x="0" y="145723"/>
                    </a:cubicBezTo>
                    <a:cubicBezTo>
                      <a:pt x="399" y="143558"/>
                      <a:pt x="3647" y="143899"/>
                      <a:pt x="5699" y="142589"/>
                    </a:cubicBezTo>
                    <a:cubicBezTo>
                      <a:pt x="6845" y="141608"/>
                      <a:pt x="7369" y="140081"/>
                      <a:pt x="7067" y="138599"/>
                    </a:cubicBezTo>
                    <a:cubicBezTo>
                      <a:pt x="6742" y="137163"/>
                      <a:pt x="6161" y="135789"/>
                      <a:pt x="5358" y="134552"/>
                    </a:cubicBezTo>
                    <a:lnTo>
                      <a:pt x="3305" y="130962"/>
                    </a:lnTo>
                    <a:cubicBezTo>
                      <a:pt x="2656" y="130118"/>
                      <a:pt x="2445" y="129018"/>
                      <a:pt x="2736" y="127998"/>
                    </a:cubicBezTo>
                    <a:cubicBezTo>
                      <a:pt x="3118" y="127365"/>
                      <a:pt x="3699" y="126887"/>
                      <a:pt x="4388" y="126630"/>
                    </a:cubicBezTo>
                    <a:lnTo>
                      <a:pt x="10487" y="123666"/>
                    </a:lnTo>
                    <a:cubicBezTo>
                      <a:pt x="12071" y="123125"/>
                      <a:pt x="13405" y="122036"/>
                      <a:pt x="14249" y="120589"/>
                    </a:cubicBezTo>
                    <a:cubicBezTo>
                      <a:pt x="14881" y="118856"/>
                      <a:pt x="14431" y="116913"/>
                      <a:pt x="13109" y="115630"/>
                    </a:cubicBezTo>
                    <a:cubicBezTo>
                      <a:pt x="11826" y="114371"/>
                      <a:pt x="10265" y="113436"/>
                      <a:pt x="8549" y="112894"/>
                    </a:cubicBezTo>
                    <a:cubicBezTo>
                      <a:pt x="6891" y="112239"/>
                      <a:pt x="5198" y="111669"/>
                      <a:pt x="3477" y="111185"/>
                    </a:cubicBezTo>
                    <a:cubicBezTo>
                      <a:pt x="3477" y="110273"/>
                      <a:pt x="4046" y="109418"/>
                      <a:pt x="4275" y="108506"/>
                    </a:cubicBezTo>
                    <a:cubicBezTo>
                      <a:pt x="6725" y="100583"/>
                      <a:pt x="9974" y="91692"/>
                      <a:pt x="17896" y="88729"/>
                    </a:cubicBezTo>
                    <a:cubicBezTo>
                      <a:pt x="15445" y="86335"/>
                      <a:pt x="16585" y="82174"/>
                      <a:pt x="18580" y="79438"/>
                    </a:cubicBezTo>
                    <a:cubicBezTo>
                      <a:pt x="21059" y="77062"/>
                      <a:pt x="22997" y="74189"/>
                      <a:pt x="24279" y="71003"/>
                    </a:cubicBezTo>
                    <a:cubicBezTo>
                      <a:pt x="24621" y="69408"/>
                      <a:pt x="24279" y="67755"/>
                      <a:pt x="24678" y="66159"/>
                    </a:cubicBezTo>
                    <a:cubicBezTo>
                      <a:pt x="25135" y="62967"/>
                      <a:pt x="27300" y="60459"/>
                      <a:pt x="27870" y="57097"/>
                    </a:cubicBezTo>
                    <a:cubicBezTo>
                      <a:pt x="28440" y="53734"/>
                      <a:pt x="26274" y="49744"/>
                      <a:pt x="23140" y="50542"/>
                    </a:cubicBezTo>
                    <a:cubicBezTo>
                      <a:pt x="25818" y="48490"/>
                      <a:pt x="24565" y="43988"/>
                      <a:pt x="22057" y="41651"/>
                    </a:cubicBezTo>
                    <a:cubicBezTo>
                      <a:pt x="19549" y="39314"/>
                      <a:pt x="16357" y="37946"/>
                      <a:pt x="14419" y="35097"/>
                    </a:cubicBezTo>
                    <a:cubicBezTo>
                      <a:pt x="13394" y="33444"/>
                      <a:pt x="12938" y="31563"/>
                      <a:pt x="11912" y="29967"/>
                    </a:cubicBezTo>
                    <a:cubicBezTo>
                      <a:pt x="9934" y="27214"/>
                      <a:pt x="6497" y="25909"/>
                      <a:pt x="3192" y="26661"/>
                    </a:cubicBezTo>
                    <a:cubicBezTo>
                      <a:pt x="3192" y="24610"/>
                      <a:pt x="3192" y="22501"/>
                      <a:pt x="3647" y="20449"/>
                    </a:cubicBezTo>
                    <a:cubicBezTo>
                      <a:pt x="3733" y="18904"/>
                      <a:pt x="4269" y="17417"/>
                      <a:pt x="5186" y="16174"/>
                    </a:cubicBezTo>
                    <a:cubicBezTo>
                      <a:pt x="7067" y="14066"/>
                      <a:pt x="10886" y="14066"/>
                      <a:pt x="12083" y="11501"/>
                    </a:cubicBezTo>
                    <a:cubicBezTo>
                      <a:pt x="12710" y="10247"/>
                      <a:pt x="12083" y="8651"/>
                      <a:pt x="12938" y="7340"/>
                    </a:cubicBezTo>
                    <a:cubicBezTo>
                      <a:pt x="14192" y="4377"/>
                      <a:pt x="18352" y="4661"/>
                      <a:pt x="21544" y="4946"/>
                    </a:cubicBezTo>
                    <a:cubicBezTo>
                      <a:pt x="24736" y="5231"/>
                      <a:pt x="29124" y="3578"/>
                      <a:pt x="28383" y="501"/>
                    </a:cubicBezTo>
                    <a:cubicBezTo>
                      <a:pt x="34031" y="-896"/>
                      <a:pt x="39999" y="672"/>
                      <a:pt x="44228" y="4661"/>
                    </a:cubicBezTo>
                    <a:cubicBezTo>
                      <a:pt x="45767" y="6143"/>
                      <a:pt x="46964" y="7853"/>
                      <a:pt x="48559" y="9278"/>
                    </a:cubicBezTo>
                    <a:cubicBezTo>
                      <a:pt x="54829" y="14977"/>
                      <a:pt x="64461" y="13667"/>
                      <a:pt x="72725" y="12071"/>
                    </a:cubicBezTo>
                    <a:cubicBezTo>
                      <a:pt x="72725" y="15832"/>
                      <a:pt x="72725" y="20278"/>
                      <a:pt x="76088" y="22387"/>
                    </a:cubicBezTo>
                    <a:cubicBezTo>
                      <a:pt x="78579" y="23441"/>
                      <a:pt x="81252" y="24005"/>
                      <a:pt x="83953" y="24040"/>
                    </a:cubicBezTo>
                    <a:cubicBezTo>
                      <a:pt x="86632" y="24553"/>
                      <a:pt x="89653" y="26832"/>
                      <a:pt x="88741" y="29397"/>
                    </a:cubicBezTo>
                    <a:cubicBezTo>
                      <a:pt x="93517" y="28200"/>
                      <a:pt x="98544" y="29973"/>
                      <a:pt x="101508" y="33900"/>
                    </a:cubicBezTo>
                    <a:cubicBezTo>
                      <a:pt x="102277" y="35347"/>
                      <a:pt x="103343" y="36607"/>
                      <a:pt x="104642" y="37604"/>
                    </a:cubicBezTo>
                    <a:cubicBezTo>
                      <a:pt x="106056" y="38152"/>
                      <a:pt x="107589" y="38311"/>
                      <a:pt x="109088" y="38060"/>
                    </a:cubicBezTo>
                    <a:lnTo>
                      <a:pt x="121969" y="36920"/>
                    </a:lnTo>
                    <a:cubicBezTo>
                      <a:pt x="121684" y="33786"/>
                      <a:pt x="123992" y="31010"/>
                      <a:pt x="127127" y="30725"/>
                    </a:cubicBezTo>
                    <a:cubicBezTo>
                      <a:pt x="127212" y="30719"/>
                      <a:pt x="127298" y="30714"/>
                      <a:pt x="127383" y="30708"/>
                    </a:cubicBezTo>
                    <a:cubicBezTo>
                      <a:pt x="129891" y="30708"/>
                      <a:pt x="133083" y="31848"/>
                      <a:pt x="134336" y="29625"/>
                    </a:cubicBezTo>
                    <a:cubicBezTo>
                      <a:pt x="134963" y="28371"/>
                      <a:pt x="134336" y="26889"/>
                      <a:pt x="134336" y="25522"/>
                    </a:cubicBezTo>
                    <a:cubicBezTo>
                      <a:pt x="134735" y="21817"/>
                      <a:pt x="140036" y="21475"/>
                      <a:pt x="143342" y="20506"/>
                    </a:cubicBezTo>
                    <a:cubicBezTo>
                      <a:pt x="148756" y="19081"/>
                      <a:pt x="153316" y="14009"/>
                      <a:pt x="158787" y="14806"/>
                    </a:cubicBezTo>
                    <a:cubicBezTo>
                      <a:pt x="161694" y="15724"/>
                      <a:pt x="164390" y="17217"/>
                      <a:pt x="166710" y="19195"/>
                    </a:cubicBezTo>
                    <a:cubicBezTo>
                      <a:pt x="169080" y="21224"/>
                      <a:pt x="172403" y="21714"/>
                      <a:pt x="175259" y="20449"/>
                    </a:cubicBezTo>
                    <a:cubicBezTo>
                      <a:pt x="173036" y="26411"/>
                      <a:pt x="169599" y="31842"/>
                      <a:pt x="165171" y="36408"/>
                    </a:cubicBezTo>
                    <a:cubicBezTo>
                      <a:pt x="163865" y="37519"/>
                      <a:pt x="162811" y="38898"/>
                      <a:pt x="162093" y="40454"/>
                    </a:cubicBezTo>
                    <a:cubicBezTo>
                      <a:pt x="161797" y="41634"/>
                      <a:pt x="161586" y="42836"/>
                      <a:pt x="161466" y="44045"/>
                    </a:cubicBezTo>
                    <a:cubicBezTo>
                      <a:pt x="160366" y="47031"/>
                      <a:pt x="158702" y="49779"/>
                      <a:pt x="156564" y="52138"/>
                    </a:cubicBezTo>
                    <a:cubicBezTo>
                      <a:pt x="154444" y="54600"/>
                      <a:pt x="153954" y="58077"/>
                      <a:pt x="155311" y="61029"/>
                    </a:cubicBezTo>
                    <a:lnTo>
                      <a:pt x="155311" y="135920"/>
                    </a:lnTo>
                    <a:cubicBezTo>
                      <a:pt x="155670" y="138605"/>
                      <a:pt x="158137" y="140486"/>
                      <a:pt x="160822" y="140127"/>
                    </a:cubicBezTo>
                    <a:cubicBezTo>
                      <a:pt x="160999" y="140104"/>
                      <a:pt x="161175" y="140069"/>
                      <a:pt x="161352" y="1400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8" name="Freihandform: Form 324">
                <a:extLst>
                  <a:ext uri="{FF2B5EF4-FFF2-40B4-BE49-F238E27FC236}">
                    <a16:creationId xmlns:a16="http://schemas.microsoft.com/office/drawing/2014/main" id="{AE45D5D7-0A10-FF96-3730-739964E097DB}"/>
                  </a:ext>
                </a:extLst>
              </p:cNvPr>
              <p:cNvSpPr/>
              <p:nvPr/>
            </p:nvSpPr>
            <p:spPr>
              <a:xfrm>
                <a:off x="4024009" y="4165775"/>
                <a:ext cx="144247" cy="210595"/>
              </a:xfrm>
              <a:custGeom>
                <a:avLst/>
                <a:gdLst>
                  <a:gd name="connsiteX0" fmla="*/ 131537 w 144247"/>
                  <a:gd name="connsiteY0" fmla="*/ 855 h 210595"/>
                  <a:gd name="connsiteX1" fmla="*/ 142423 w 144247"/>
                  <a:gd name="connsiteY1" fmla="*/ 0 h 210595"/>
                  <a:gd name="connsiteX2" fmla="*/ 144247 w 144247"/>
                  <a:gd name="connsiteY2" fmla="*/ 15332 h 210595"/>
                  <a:gd name="connsiteX3" fmla="*/ 141397 w 144247"/>
                  <a:gd name="connsiteY3" fmla="*/ 27358 h 210595"/>
                  <a:gd name="connsiteX4" fmla="*/ 132278 w 144247"/>
                  <a:gd name="connsiteY4" fmla="*/ 55114 h 210595"/>
                  <a:gd name="connsiteX5" fmla="*/ 120138 w 144247"/>
                  <a:gd name="connsiteY5" fmla="*/ 87544 h 210595"/>
                  <a:gd name="connsiteX6" fmla="*/ 108113 w 144247"/>
                  <a:gd name="connsiteY6" fmla="*/ 109202 h 210595"/>
                  <a:gd name="connsiteX7" fmla="*/ 95003 w 144247"/>
                  <a:gd name="connsiteY7" fmla="*/ 138668 h 210595"/>
                  <a:gd name="connsiteX8" fmla="*/ 92439 w 144247"/>
                  <a:gd name="connsiteY8" fmla="*/ 176057 h 210595"/>
                  <a:gd name="connsiteX9" fmla="*/ 85428 w 144247"/>
                  <a:gd name="connsiteY9" fmla="*/ 192756 h 210595"/>
                  <a:gd name="connsiteX10" fmla="*/ 75683 w 144247"/>
                  <a:gd name="connsiteY10" fmla="*/ 200109 h 210595"/>
                  <a:gd name="connsiteX11" fmla="*/ 64853 w 144247"/>
                  <a:gd name="connsiteY11" fmla="*/ 203756 h 210595"/>
                  <a:gd name="connsiteX12" fmla="*/ 57102 w 144247"/>
                  <a:gd name="connsiteY12" fmla="*/ 193611 h 210595"/>
                  <a:gd name="connsiteX13" fmla="*/ 51403 w 144247"/>
                  <a:gd name="connsiteY13" fmla="*/ 197544 h 210595"/>
                  <a:gd name="connsiteX14" fmla="*/ 34304 w 144247"/>
                  <a:gd name="connsiteY14" fmla="*/ 199482 h 210595"/>
                  <a:gd name="connsiteX15" fmla="*/ 23874 w 144247"/>
                  <a:gd name="connsiteY15" fmla="*/ 203528 h 210595"/>
                  <a:gd name="connsiteX16" fmla="*/ 10651 w 144247"/>
                  <a:gd name="connsiteY16" fmla="*/ 210596 h 210595"/>
                  <a:gd name="connsiteX17" fmla="*/ 1532 w 144247"/>
                  <a:gd name="connsiteY17" fmla="*/ 182098 h 210595"/>
                  <a:gd name="connsiteX18" fmla="*/ 5522 w 144247"/>
                  <a:gd name="connsiteY18" fmla="*/ 173606 h 210595"/>
                  <a:gd name="connsiteX19" fmla="*/ 4382 w 144247"/>
                  <a:gd name="connsiteY19" fmla="*/ 168647 h 210595"/>
                  <a:gd name="connsiteX20" fmla="*/ 2615 w 144247"/>
                  <a:gd name="connsiteY20" fmla="*/ 151549 h 210595"/>
                  <a:gd name="connsiteX21" fmla="*/ 19258 w 144247"/>
                  <a:gd name="connsiteY21" fmla="*/ 145849 h 210595"/>
                  <a:gd name="connsiteX22" fmla="*/ 23646 w 144247"/>
                  <a:gd name="connsiteY22" fmla="*/ 134166 h 210595"/>
                  <a:gd name="connsiteX23" fmla="*/ 30542 w 144247"/>
                  <a:gd name="connsiteY23" fmla="*/ 137129 h 210595"/>
                  <a:gd name="connsiteX24" fmla="*/ 31854 w 144247"/>
                  <a:gd name="connsiteY24" fmla="*/ 145166 h 210595"/>
                  <a:gd name="connsiteX25" fmla="*/ 38864 w 144247"/>
                  <a:gd name="connsiteY25" fmla="*/ 148756 h 210595"/>
                  <a:gd name="connsiteX26" fmla="*/ 43081 w 144247"/>
                  <a:gd name="connsiteY26" fmla="*/ 156394 h 210595"/>
                  <a:gd name="connsiteX27" fmla="*/ 52771 w 144247"/>
                  <a:gd name="connsiteY27" fmla="*/ 155881 h 210595"/>
                  <a:gd name="connsiteX28" fmla="*/ 59040 w 144247"/>
                  <a:gd name="connsiteY28" fmla="*/ 147616 h 210595"/>
                  <a:gd name="connsiteX29" fmla="*/ 63314 w 144247"/>
                  <a:gd name="connsiteY29" fmla="*/ 138041 h 210595"/>
                  <a:gd name="connsiteX30" fmla="*/ 64683 w 144247"/>
                  <a:gd name="connsiteY30" fmla="*/ 117694 h 210595"/>
                  <a:gd name="connsiteX31" fmla="*/ 65537 w 144247"/>
                  <a:gd name="connsiteY31" fmla="*/ 109886 h 210595"/>
                  <a:gd name="connsiteX32" fmla="*/ 55734 w 144247"/>
                  <a:gd name="connsiteY32" fmla="*/ 98487 h 210595"/>
                  <a:gd name="connsiteX33" fmla="*/ 49180 w 144247"/>
                  <a:gd name="connsiteY33" fmla="*/ 85435 h 210595"/>
                  <a:gd name="connsiteX34" fmla="*/ 60921 w 144247"/>
                  <a:gd name="connsiteY34" fmla="*/ 70560 h 210595"/>
                  <a:gd name="connsiteX35" fmla="*/ 51973 w 144247"/>
                  <a:gd name="connsiteY35" fmla="*/ 63378 h 210595"/>
                  <a:gd name="connsiteX36" fmla="*/ 40574 w 144247"/>
                  <a:gd name="connsiteY36" fmla="*/ 59959 h 210595"/>
                  <a:gd name="connsiteX37" fmla="*/ 35786 w 144247"/>
                  <a:gd name="connsiteY37" fmla="*/ 57793 h 210595"/>
                  <a:gd name="connsiteX38" fmla="*/ 33734 w 144247"/>
                  <a:gd name="connsiteY38" fmla="*/ 44456 h 210595"/>
                  <a:gd name="connsiteX39" fmla="*/ 35159 w 144247"/>
                  <a:gd name="connsiteY39" fmla="*/ 40808 h 210595"/>
                  <a:gd name="connsiteX40" fmla="*/ 37895 w 144247"/>
                  <a:gd name="connsiteY40" fmla="*/ 38984 h 210595"/>
                  <a:gd name="connsiteX41" fmla="*/ 61434 w 144247"/>
                  <a:gd name="connsiteY41" fmla="*/ 38984 h 210595"/>
                  <a:gd name="connsiteX42" fmla="*/ 79273 w 144247"/>
                  <a:gd name="connsiteY42" fmla="*/ 42518 h 210595"/>
                  <a:gd name="connsiteX43" fmla="*/ 93294 w 144247"/>
                  <a:gd name="connsiteY43" fmla="*/ 40352 h 210595"/>
                  <a:gd name="connsiteX44" fmla="*/ 95801 w 144247"/>
                  <a:gd name="connsiteY44" fmla="*/ 34938 h 210595"/>
                  <a:gd name="connsiteX45" fmla="*/ 104579 w 144247"/>
                  <a:gd name="connsiteY45" fmla="*/ 14249 h 210595"/>
                  <a:gd name="connsiteX46" fmla="*/ 112045 w 144247"/>
                  <a:gd name="connsiteY46" fmla="*/ 4959 h 210595"/>
                  <a:gd name="connsiteX47" fmla="*/ 131537 w 144247"/>
                  <a:gd name="connsiteY47" fmla="*/ 855 h 21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44247" h="210595">
                    <a:moveTo>
                      <a:pt x="131537" y="855"/>
                    </a:moveTo>
                    <a:cubicBezTo>
                      <a:pt x="135179" y="769"/>
                      <a:pt x="138815" y="484"/>
                      <a:pt x="142423" y="0"/>
                    </a:cubicBezTo>
                    <a:cubicBezTo>
                      <a:pt x="143449" y="5050"/>
                      <a:pt x="144059" y="10179"/>
                      <a:pt x="144247" y="15332"/>
                    </a:cubicBezTo>
                    <a:cubicBezTo>
                      <a:pt x="143831" y="19447"/>
                      <a:pt x="142874" y="23493"/>
                      <a:pt x="141397" y="27358"/>
                    </a:cubicBezTo>
                    <a:cubicBezTo>
                      <a:pt x="138377" y="36591"/>
                      <a:pt x="135299" y="45824"/>
                      <a:pt x="132278" y="55114"/>
                    </a:cubicBezTo>
                    <a:cubicBezTo>
                      <a:pt x="128858" y="66148"/>
                      <a:pt x="124806" y="76977"/>
                      <a:pt x="120138" y="87544"/>
                    </a:cubicBezTo>
                    <a:cubicBezTo>
                      <a:pt x="116559" y="94993"/>
                      <a:pt x="112541" y="102226"/>
                      <a:pt x="108113" y="109202"/>
                    </a:cubicBezTo>
                    <a:cubicBezTo>
                      <a:pt x="101632" y="117945"/>
                      <a:pt x="97158" y="128005"/>
                      <a:pt x="95003" y="138668"/>
                    </a:cubicBezTo>
                    <a:cubicBezTo>
                      <a:pt x="93579" y="151264"/>
                      <a:pt x="98993" y="165228"/>
                      <a:pt x="92439" y="176057"/>
                    </a:cubicBezTo>
                    <a:cubicBezTo>
                      <a:pt x="89190" y="181471"/>
                      <a:pt x="82921" y="186943"/>
                      <a:pt x="85428" y="192756"/>
                    </a:cubicBezTo>
                    <a:cubicBezTo>
                      <a:pt x="81211" y="192756"/>
                      <a:pt x="78361" y="196860"/>
                      <a:pt x="75683" y="200109"/>
                    </a:cubicBezTo>
                    <a:cubicBezTo>
                      <a:pt x="73004" y="203357"/>
                      <a:pt x="68216" y="206321"/>
                      <a:pt x="64853" y="203756"/>
                    </a:cubicBezTo>
                    <a:cubicBezTo>
                      <a:pt x="61491" y="201191"/>
                      <a:pt x="61605" y="193611"/>
                      <a:pt x="57102" y="193611"/>
                    </a:cubicBezTo>
                    <a:cubicBezTo>
                      <a:pt x="54765" y="193611"/>
                      <a:pt x="53227" y="196062"/>
                      <a:pt x="51403" y="197544"/>
                    </a:cubicBezTo>
                    <a:cubicBezTo>
                      <a:pt x="46786" y="201134"/>
                      <a:pt x="40004" y="198684"/>
                      <a:pt x="34304" y="199482"/>
                    </a:cubicBezTo>
                    <a:cubicBezTo>
                      <a:pt x="30611" y="200183"/>
                      <a:pt x="27077" y="201556"/>
                      <a:pt x="23874" y="203528"/>
                    </a:cubicBezTo>
                    <a:lnTo>
                      <a:pt x="10651" y="210596"/>
                    </a:lnTo>
                    <a:cubicBezTo>
                      <a:pt x="3926" y="201077"/>
                      <a:pt x="-3198" y="192015"/>
                      <a:pt x="1532" y="182098"/>
                    </a:cubicBezTo>
                    <a:cubicBezTo>
                      <a:pt x="3350" y="179522"/>
                      <a:pt x="4701" y="176650"/>
                      <a:pt x="5522" y="173606"/>
                    </a:cubicBezTo>
                    <a:cubicBezTo>
                      <a:pt x="5630" y="171879"/>
                      <a:pt x="5231" y="170158"/>
                      <a:pt x="4382" y="168647"/>
                    </a:cubicBezTo>
                    <a:cubicBezTo>
                      <a:pt x="5357" y="162891"/>
                      <a:pt x="4747" y="156981"/>
                      <a:pt x="2615" y="151549"/>
                    </a:cubicBezTo>
                    <a:cubicBezTo>
                      <a:pt x="8885" y="152062"/>
                      <a:pt x="16807" y="151549"/>
                      <a:pt x="19258" y="145849"/>
                    </a:cubicBezTo>
                    <a:cubicBezTo>
                      <a:pt x="20967" y="141917"/>
                      <a:pt x="19771" y="135990"/>
                      <a:pt x="23646" y="134166"/>
                    </a:cubicBezTo>
                    <a:cubicBezTo>
                      <a:pt x="26365" y="133288"/>
                      <a:pt x="29311" y="134553"/>
                      <a:pt x="30542" y="137129"/>
                    </a:cubicBezTo>
                    <a:cubicBezTo>
                      <a:pt x="31637" y="139660"/>
                      <a:pt x="32087" y="142418"/>
                      <a:pt x="31854" y="145166"/>
                    </a:cubicBezTo>
                    <a:cubicBezTo>
                      <a:pt x="34361" y="143684"/>
                      <a:pt x="37553" y="146078"/>
                      <a:pt x="38864" y="148756"/>
                    </a:cubicBezTo>
                    <a:cubicBezTo>
                      <a:pt x="39713" y="151572"/>
                      <a:pt x="41149" y="154176"/>
                      <a:pt x="43081" y="156394"/>
                    </a:cubicBezTo>
                    <a:cubicBezTo>
                      <a:pt x="46079" y="158337"/>
                      <a:pt x="49989" y="158132"/>
                      <a:pt x="52771" y="155881"/>
                    </a:cubicBezTo>
                    <a:cubicBezTo>
                      <a:pt x="55449" y="153624"/>
                      <a:pt x="57586" y="150802"/>
                      <a:pt x="59040" y="147616"/>
                    </a:cubicBezTo>
                    <a:cubicBezTo>
                      <a:pt x="60858" y="144613"/>
                      <a:pt x="62289" y="141398"/>
                      <a:pt x="63314" y="138041"/>
                    </a:cubicBezTo>
                    <a:cubicBezTo>
                      <a:pt x="65025" y="131487"/>
                      <a:pt x="63314" y="124420"/>
                      <a:pt x="64683" y="117694"/>
                    </a:cubicBezTo>
                    <a:cubicBezTo>
                      <a:pt x="65338" y="115146"/>
                      <a:pt x="65623" y="112513"/>
                      <a:pt x="65537" y="109886"/>
                    </a:cubicBezTo>
                    <a:cubicBezTo>
                      <a:pt x="64796" y="104699"/>
                      <a:pt x="59838" y="101394"/>
                      <a:pt x="55734" y="98487"/>
                    </a:cubicBezTo>
                    <a:cubicBezTo>
                      <a:pt x="51631" y="95580"/>
                      <a:pt x="47470" y="90337"/>
                      <a:pt x="49180" y="85435"/>
                    </a:cubicBezTo>
                    <a:cubicBezTo>
                      <a:pt x="51403" y="79223"/>
                      <a:pt x="61605" y="77114"/>
                      <a:pt x="60921" y="70560"/>
                    </a:cubicBezTo>
                    <a:cubicBezTo>
                      <a:pt x="60465" y="66570"/>
                      <a:pt x="55848" y="64575"/>
                      <a:pt x="51973" y="63378"/>
                    </a:cubicBezTo>
                    <a:lnTo>
                      <a:pt x="40574" y="59959"/>
                    </a:lnTo>
                    <a:cubicBezTo>
                      <a:pt x="38852" y="59560"/>
                      <a:pt x="37222" y="58819"/>
                      <a:pt x="35786" y="57793"/>
                    </a:cubicBezTo>
                    <a:cubicBezTo>
                      <a:pt x="32196" y="54772"/>
                      <a:pt x="32765" y="49129"/>
                      <a:pt x="33734" y="44456"/>
                    </a:cubicBezTo>
                    <a:cubicBezTo>
                      <a:pt x="33917" y="43145"/>
                      <a:pt x="34407" y="41897"/>
                      <a:pt x="35159" y="40808"/>
                    </a:cubicBezTo>
                    <a:cubicBezTo>
                      <a:pt x="35900" y="39976"/>
                      <a:pt x="36841" y="39344"/>
                      <a:pt x="37895" y="38984"/>
                    </a:cubicBezTo>
                    <a:cubicBezTo>
                      <a:pt x="45561" y="36619"/>
                      <a:pt x="53768" y="36619"/>
                      <a:pt x="61434" y="38984"/>
                    </a:cubicBezTo>
                    <a:lnTo>
                      <a:pt x="79273" y="42518"/>
                    </a:lnTo>
                    <a:cubicBezTo>
                      <a:pt x="84175" y="43544"/>
                      <a:pt x="90102" y="44171"/>
                      <a:pt x="93294" y="40352"/>
                    </a:cubicBezTo>
                    <a:cubicBezTo>
                      <a:pt x="94468" y="38722"/>
                      <a:pt x="95323" y="36887"/>
                      <a:pt x="95801" y="34938"/>
                    </a:cubicBezTo>
                    <a:cubicBezTo>
                      <a:pt x="98013" y="27762"/>
                      <a:pt x="100954" y="20826"/>
                      <a:pt x="104579" y="14249"/>
                    </a:cubicBezTo>
                    <a:cubicBezTo>
                      <a:pt x="106328" y="10624"/>
                      <a:pt x="108882" y="7444"/>
                      <a:pt x="112045" y="4959"/>
                    </a:cubicBezTo>
                    <a:cubicBezTo>
                      <a:pt x="118001" y="1704"/>
                      <a:pt x="124778" y="279"/>
                      <a:pt x="131537" y="85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09" name="Freihandform: Form 325">
                <a:extLst>
                  <a:ext uri="{FF2B5EF4-FFF2-40B4-BE49-F238E27FC236}">
                    <a16:creationId xmlns:a16="http://schemas.microsoft.com/office/drawing/2014/main" id="{06D87E3D-8B73-707C-D5EC-6A235644151D}"/>
                  </a:ext>
                </a:extLst>
              </p:cNvPr>
              <p:cNvSpPr/>
              <p:nvPr/>
            </p:nvSpPr>
            <p:spPr>
              <a:xfrm>
                <a:off x="3976535" y="4198095"/>
                <a:ext cx="112912" cy="136042"/>
              </a:xfrm>
              <a:custGeom>
                <a:avLst/>
                <a:gdLst>
                  <a:gd name="connsiteX0" fmla="*/ 70779 w 112912"/>
                  <a:gd name="connsiteY0" fmla="*/ 3131 h 136042"/>
                  <a:gd name="connsiteX1" fmla="*/ 81779 w 112912"/>
                  <a:gd name="connsiteY1" fmla="*/ 9514 h 136042"/>
                  <a:gd name="connsiteX2" fmla="*/ 81095 w 112912"/>
                  <a:gd name="connsiteY2" fmla="*/ 11851 h 136042"/>
                  <a:gd name="connsiteX3" fmla="*/ 83147 w 112912"/>
                  <a:gd name="connsiteY3" fmla="*/ 25188 h 136042"/>
                  <a:gd name="connsiteX4" fmla="*/ 87934 w 112912"/>
                  <a:gd name="connsiteY4" fmla="*/ 27354 h 136042"/>
                  <a:gd name="connsiteX5" fmla="*/ 99333 w 112912"/>
                  <a:gd name="connsiteY5" fmla="*/ 30773 h 136042"/>
                  <a:gd name="connsiteX6" fmla="*/ 108281 w 112912"/>
                  <a:gd name="connsiteY6" fmla="*/ 37955 h 136042"/>
                  <a:gd name="connsiteX7" fmla="*/ 96540 w 112912"/>
                  <a:gd name="connsiteY7" fmla="*/ 52830 h 136042"/>
                  <a:gd name="connsiteX8" fmla="*/ 103095 w 112912"/>
                  <a:gd name="connsiteY8" fmla="*/ 65882 h 136042"/>
                  <a:gd name="connsiteX9" fmla="*/ 112898 w 112912"/>
                  <a:gd name="connsiteY9" fmla="*/ 77281 h 136042"/>
                  <a:gd name="connsiteX10" fmla="*/ 112043 w 112912"/>
                  <a:gd name="connsiteY10" fmla="*/ 85089 h 136042"/>
                  <a:gd name="connsiteX11" fmla="*/ 110675 w 112912"/>
                  <a:gd name="connsiteY11" fmla="*/ 105437 h 136042"/>
                  <a:gd name="connsiteX12" fmla="*/ 106401 w 112912"/>
                  <a:gd name="connsiteY12" fmla="*/ 115012 h 136042"/>
                  <a:gd name="connsiteX13" fmla="*/ 100131 w 112912"/>
                  <a:gd name="connsiteY13" fmla="*/ 123276 h 136042"/>
                  <a:gd name="connsiteX14" fmla="*/ 90442 w 112912"/>
                  <a:gd name="connsiteY14" fmla="*/ 123789 h 136042"/>
                  <a:gd name="connsiteX15" fmla="*/ 86224 w 112912"/>
                  <a:gd name="connsiteY15" fmla="*/ 116152 h 136042"/>
                  <a:gd name="connsiteX16" fmla="*/ 79214 w 112912"/>
                  <a:gd name="connsiteY16" fmla="*/ 112561 h 136042"/>
                  <a:gd name="connsiteX17" fmla="*/ 77903 w 112912"/>
                  <a:gd name="connsiteY17" fmla="*/ 104525 h 136042"/>
                  <a:gd name="connsiteX18" fmla="*/ 71007 w 112912"/>
                  <a:gd name="connsiteY18" fmla="*/ 101561 h 136042"/>
                  <a:gd name="connsiteX19" fmla="*/ 66618 w 112912"/>
                  <a:gd name="connsiteY19" fmla="*/ 113245 h 136042"/>
                  <a:gd name="connsiteX20" fmla="*/ 49976 w 112912"/>
                  <a:gd name="connsiteY20" fmla="*/ 118944 h 136042"/>
                  <a:gd name="connsiteX21" fmla="*/ 51743 w 112912"/>
                  <a:gd name="connsiteY21" fmla="*/ 136043 h 136042"/>
                  <a:gd name="connsiteX22" fmla="*/ 51173 w 112912"/>
                  <a:gd name="connsiteY22" fmla="*/ 135074 h 136042"/>
                  <a:gd name="connsiteX23" fmla="*/ 30996 w 112912"/>
                  <a:gd name="connsiteY23" fmla="*/ 120654 h 136042"/>
                  <a:gd name="connsiteX24" fmla="*/ 18059 w 112912"/>
                  <a:gd name="connsiteY24" fmla="*/ 101048 h 136042"/>
                  <a:gd name="connsiteX25" fmla="*/ 19427 w 112912"/>
                  <a:gd name="connsiteY25" fmla="*/ 93297 h 136042"/>
                  <a:gd name="connsiteX26" fmla="*/ 12359 w 112912"/>
                  <a:gd name="connsiteY26" fmla="*/ 86172 h 136042"/>
                  <a:gd name="connsiteX27" fmla="*/ 219 w 112912"/>
                  <a:gd name="connsiteY27" fmla="*/ 59157 h 136042"/>
                  <a:gd name="connsiteX28" fmla="*/ 10068 w 112912"/>
                  <a:gd name="connsiteY28" fmla="*/ 53982 h 136042"/>
                  <a:gd name="connsiteX29" fmla="*/ 10421 w 112912"/>
                  <a:gd name="connsiteY29" fmla="*/ 51577 h 136042"/>
                  <a:gd name="connsiteX30" fmla="*/ 9054 w 112912"/>
                  <a:gd name="connsiteY30" fmla="*/ 47359 h 136042"/>
                  <a:gd name="connsiteX31" fmla="*/ 15209 w 112912"/>
                  <a:gd name="connsiteY31" fmla="*/ 46105 h 136042"/>
                  <a:gd name="connsiteX32" fmla="*/ 26095 w 112912"/>
                  <a:gd name="connsiteY32" fmla="*/ 40406 h 136042"/>
                  <a:gd name="connsiteX33" fmla="*/ 39318 w 112912"/>
                  <a:gd name="connsiteY33" fmla="*/ 37784 h 136042"/>
                  <a:gd name="connsiteX34" fmla="*/ 49292 w 112912"/>
                  <a:gd name="connsiteY34" fmla="*/ 29748 h 136042"/>
                  <a:gd name="connsiteX35" fmla="*/ 50033 w 112912"/>
                  <a:gd name="connsiteY35" fmla="*/ 24960 h 136042"/>
                  <a:gd name="connsiteX36" fmla="*/ 52313 w 112912"/>
                  <a:gd name="connsiteY36" fmla="*/ 20001 h 136042"/>
                  <a:gd name="connsiteX37" fmla="*/ 53738 w 112912"/>
                  <a:gd name="connsiteY37" fmla="*/ 8602 h 136042"/>
                  <a:gd name="connsiteX38" fmla="*/ 65763 w 112912"/>
                  <a:gd name="connsiteY38" fmla="*/ 110 h 136042"/>
                  <a:gd name="connsiteX39" fmla="*/ 70779 w 112912"/>
                  <a:gd name="connsiteY39" fmla="*/ 3131 h 13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2912" h="136042">
                    <a:moveTo>
                      <a:pt x="70779" y="3131"/>
                    </a:moveTo>
                    <a:cubicBezTo>
                      <a:pt x="74426" y="5354"/>
                      <a:pt x="78074" y="7463"/>
                      <a:pt x="81779" y="9514"/>
                    </a:cubicBezTo>
                    <a:cubicBezTo>
                      <a:pt x="81494" y="10272"/>
                      <a:pt x="81260" y="11053"/>
                      <a:pt x="81095" y="11851"/>
                    </a:cubicBezTo>
                    <a:cubicBezTo>
                      <a:pt x="80126" y="16525"/>
                      <a:pt x="79556" y="22167"/>
                      <a:pt x="83147" y="25188"/>
                    </a:cubicBezTo>
                    <a:cubicBezTo>
                      <a:pt x="84583" y="26214"/>
                      <a:pt x="86213" y="26955"/>
                      <a:pt x="87934" y="27354"/>
                    </a:cubicBezTo>
                    <a:lnTo>
                      <a:pt x="99333" y="30773"/>
                    </a:lnTo>
                    <a:cubicBezTo>
                      <a:pt x="103209" y="31970"/>
                      <a:pt x="107826" y="33965"/>
                      <a:pt x="108281" y="37955"/>
                    </a:cubicBezTo>
                    <a:cubicBezTo>
                      <a:pt x="108965" y="44509"/>
                      <a:pt x="98763" y="46618"/>
                      <a:pt x="96540" y="52830"/>
                    </a:cubicBezTo>
                    <a:cubicBezTo>
                      <a:pt x="94831" y="57732"/>
                      <a:pt x="98934" y="62691"/>
                      <a:pt x="103095" y="65882"/>
                    </a:cubicBezTo>
                    <a:cubicBezTo>
                      <a:pt x="107255" y="69074"/>
                      <a:pt x="112157" y="72323"/>
                      <a:pt x="112898" y="77281"/>
                    </a:cubicBezTo>
                    <a:cubicBezTo>
                      <a:pt x="112983" y="79909"/>
                      <a:pt x="112698" y="82542"/>
                      <a:pt x="112043" y="85089"/>
                    </a:cubicBezTo>
                    <a:cubicBezTo>
                      <a:pt x="110903" y="91815"/>
                      <a:pt x="112385" y="98882"/>
                      <a:pt x="110675" y="105437"/>
                    </a:cubicBezTo>
                    <a:cubicBezTo>
                      <a:pt x="109655" y="108794"/>
                      <a:pt x="108219" y="112008"/>
                      <a:pt x="106401" y="115012"/>
                    </a:cubicBezTo>
                    <a:cubicBezTo>
                      <a:pt x="104947" y="118198"/>
                      <a:pt x="102810" y="121019"/>
                      <a:pt x="100131" y="123276"/>
                    </a:cubicBezTo>
                    <a:cubicBezTo>
                      <a:pt x="97350" y="125527"/>
                      <a:pt x="93446" y="125732"/>
                      <a:pt x="90442" y="123789"/>
                    </a:cubicBezTo>
                    <a:cubicBezTo>
                      <a:pt x="88510" y="121572"/>
                      <a:pt x="87074" y="118967"/>
                      <a:pt x="86224" y="116152"/>
                    </a:cubicBezTo>
                    <a:cubicBezTo>
                      <a:pt x="84914" y="113473"/>
                      <a:pt x="81722" y="111079"/>
                      <a:pt x="79214" y="112561"/>
                    </a:cubicBezTo>
                    <a:cubicBezTo>
                      <a:pt x="79448" y="109814"/>
                      <a:pt x="78997" y="107055"/>
                      <a:pt x="77903" y="104525"/>
                    </a:cubicBezTo>
                    <a:cubicBezTo>
                      <a:pt x="76672" y="101949"/>
                      <a:pt x="73725" y="100683"/>
                      <a:pt x="71007" y="101561"/>
                    </a:cubicBezTo>
                    <a:cubicBezTo>
                      <a:pt x="67131" y="103385"/>
                      <a:pt x="68328" y="109312"/>
                      <a:pt x="66618" y="113245"/>
                    </a:cubicBezTo>
                    <a:cubicBezTo>
                      <a:pt x="64167" y="118944"/>
                      <a:pt x="56245" y="119457"/>
                      <a:pt x="49976" y="118944"/>
                    </a:cubicBezTo>
                    <a:cubicBezTo>
                      <a:pt x="52107" y="124376"/>
                      <a:pt x="52717" y="130286"/>
                      <a:pt x="51743" y="136043"/>
                    </a:cubicBezTo>
                    <a:lnTo>
                      <a:pt x="51173" y="135074"/>
                    </a:lnTo>
                    <a:cubicBezTo>
                      <a:pt x="46841" y="127949"/>
                      <a:pt x="38292" y="124758"/>
                      <a:pt x="30996" y="120654"/>
                    </a:cubicBezTo>
                    <a:cubicBezTo>
                      <a:pt x="23701" y="116550"/>
                      <a:pt x="16463" y="109255"/>
                      <a:pt x="18059" y="101048"/>
                    </a:cubicBezTo>
                    <a:cubicBezTo>
                      <a:pt x="19011" y="98574"/>
                      <a:pt x="19472" y="95947"/>
                      <a:pt x="19427" y="93297"/>
                    </a:cubicBezTo>
                    <a:cubicBezTo>
                      <a:pt x="18743" y="89934"/>
                      <a:pt x="15209" y="88110"/>
                      <a:pt x="12359" y="86172"/>
                    </a:cubicBezTo>
                    <a:cubicBezTo>
                      <a:pt x="3582" y="80142"/>
                      <a:pt x="-1097" y="69724"/>
                      <a:pt x="219" y="59157"/>
                    </a:cubicBezTo>
                    <a:cubicBezTo>
                      <a:pt x="4368" y="60445"/>
                      <a:pt x="8774" y="58131"/>
                      <a:pt x="10068" y="53982"/>
                    </a:cubicBezTo>
                    <a:cubicBezTo>
                      <a:pt x="10307" y="53207"/>
                      <a:pt x="10427" y="52392"/>
                      <a:pt x="10421" y="51577"/>
                    </a:cubicBezTo>
                    <a:cubicBezTo>
                      <a:pt x="10245" y="50095"/>
                      <a:pt x="9783" y="48664"/>
                      <a:pt x="9054" y="47359"/>
                    </a:cubicBezTo>
                    <a:cubicBezTo>
                      <a:pt x="11157" y="47234"/>
                      <a:pt x="13226" y="46812"/>
                      <a:pt x="15209" y="46105"/>
                    </a:cubicBezTo>
                    <a:cubicBezTo>
                      <a:pt x="19028" y="44623"/>
                      <a:pt x="22276" y="41944"/>
                      <a:pt x="26095" y="40406"/>
                    </a:cubicBezTo>
                    <a:cubicBezTo>
                      <a:pt x="30438" y="39243"/>
                      <a:pt x="34855" y="38365"/>
                      <a:pt x="39318" y="37784"/>
                    </a:cubicBezTo>
                    <a:cubicBezTo>
                      <a:pt x="43872" y="37157"/>
                      <a:pt x="47713" y="34068"/>
                      <a:pt x="49292" y="29748"/>
                    </a:cubicBezTo>
                    <a:cubicBezTo>
                      <a:pt x="49691" y="28209"/>
                      <a:pt x="49577" y="26556"/>
                      <a:pt x="50033" y="24960"/>
                    </a:cubicBezTo>
                    <a:cubicBezTo>
                      <a:pt x="50489" y="23364"/>
                      <a:pt x="51686" y="21711"/>
                      <a:pt x="52313" y="20001"/>
                    </a:cubicBezTo>
                    <a:cubicBezTo>
                      <a:pt x="53082" y="16245"/>
                      <a:pt x="53561" y="12433"/>
                      <a:pt x="53738" y="8602"/>
                    </a:cubicBezTo>
                    <a:cubicBezTo>
                      <a:pt x="54860" y="3028"/>
                      <a:pt x="60138" y="-699"/>
                      <a:pt x="65763" y="110"/>
                    </a:cubicBezTo>
                    <a:cubicBezTo>
                      <a:pt x="67598" y="823"/>
                      <a:pt x="69291" y="1843"/>
                      <a:pt x="70779" y="313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0" name="Freihandform: Form 326">
                <a:extLst>
                  <a:ext uri="{FF2B5EF4-FFF2-40B4-BE49-F238E27FC236}">
                    <a16:creationId xmlns:a16="http://schemas.microsoft.com/office/drawing/2014/main" id="{AAE80162-834B-2FB1-8B05-16A92416137D}"/>
                  </a:ext>
                </a:extLst>
              </p:cNvPr>
              <p:cNvSpPr/>
              <p:nvPr/>
            </p:nvSpPr>
            <p:spPr>
              <a:xfrm>
                <a:off x="3981668" y="4200770"/>
                <a:ext cx="48432" cy="45196"/>
              </a:xfrm>
              <a:custGeom>
                <a:avLst/>
                <a:gdLst>
                  <a:gd name="connsiteX0" fmla="*/ 48433 w 48432"/>
                  <a:gd name="connsiteY0" fmla="*/ 7295 h 45196"/>
                  <a:gd name="connsiteX1" fmla="*/ 47122 w 48432"/>
                  <a:gd name="connsiteY1" fmla="*/ 17839 h 45196"/>
                  <a:gd name="connsiteX2" fmla="*/ 44842 w 48432"/>
                  <a:gd name="connsiteY2" fmla="*/ 22798 h 45196"/>
                  <a:gd name="connsiteX3" fmla="*/ 44101 w 48432"/>
                  <a:gd name="connsiteY3" fmla="*/ 27585 h 45196"/>
                  <a:gd name="connsiteX4" fmla="*/ 34127 w 48432"/>
                  <a:gd name="connsiteY4" fmla="*/ 35622 h 45196"/>
                  <a:gd name="connsiteX5" fmla="*/ 20904 w 48432"/>
                  <a:gd name="connsiteY5" fmla="*/ 38243 h 45196"/>
                  <a:gd name="connsiteX6" fmla="*/ 10018 w 48432"/>
                  <a:gd name="connsiteY6" fmla="*/ 43943 h 45196"/>
                  <a:gd name="connsiteX7" fmla="*/ 3863 w 48432"/>
                  <a:gd name="connsiteY7" fmla="*/ 45197 h 45196"/>
                  <a:gd name="connsiteX8" fmla="*/ 2438 w 48432"/>
                  <a:gd name="connsiteY8" fmla="*/ 42347 h 45196"/>
                  <a:gd name="connsiteX9" fmla="*/ 7795 w 48432"/>
                  <a:gd name="connsiteY9" fmla="*/ 12368 h 45196"/>
                  <a:gd name="connsiteX10" fmla="*/ 16573 w 48432"/>
                  <a:gd name="connsiteY10" fmla="*/ 4502 h 45196"/>
                  <a:gd name="connsiteX11" fmla="*/ 19137 w 48432"/>
                  <a:gd name="connsiteY11" fmla="*/ 0 h 45196"/>
                  <a:gd name="connsiteX12" fmla="*/ 32759 w 48432"/>
                  <a:gd name="connsiteY12" fmla="*/ 627 h 45196"/>
                  <a:gd name="connsiteX13" fmla="*/ 40795 w 48432"/>
                  <a:gd name="connsiteY13" fmla="*/ 1824 h 45196"/>
                  <a:gd name="connsiteX14" fmla="*/ 48433 w 48432"/>
                  <a:gd name="connsiteY14" fmla="*/ 7295 h 4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432" h="45196">
                    <a:moveTo>
                      <a:pt x="48433" y="7295"/>
                    </a:moveTo>
                    <a:cubicBezTo>
                      <a:pt x="48370" y="10846"/>
                      <a:pt x="47931" y="14380"/>
                      <a:pt x="47122" y="17839"/>
                    </a:cubicBezTo>
                    <a:cubicBezTo>
                      <a:pt x="46495" y="19549"/>
                      <a:pt x="45298" y="21088"/>
                      <a:pt x="44842" y="22798"/>
                    </a:cubicBezTo>
                    <a:cubicBezTo>
                      <a:pt x="44386" y="24508"/>
                      <a:pt x="44500" y="26046"/>
                      <a:pt x="44101" y="27585"/>
                    </a:cubicBezTo>
                    <a:cubicBezTo>
                      <a:pt x="42522" y="31906"/>
                      <a:pt x="38681" y="34995"/>
                      <a:pt x="34127" y="35622"/>
                    </a:cubicBezTo>
                    <a:cubicBezTo>
                      <a:pt x="29665" y="36203"/>
                      <a:pt x="25247" y="37081"/>
                      <a:pt x="20904" y="38243"/>
                    </a:cubicBezTo>
                    <a:cubicBezTo>
                      <a:pt x="17086" y="39725"/>
                      <a:pt x="13837" y="42404"/>
                      <a:pt x="10018" y="43943"/>
                    </a:cubicBezTo>
                    <a:cubicBezTo>
                      <a:pt x="8035" y="44650"/>
                      <a:pt x="5966" y="45071"/>
                      <a:pt x="3863" y="45197"/>
                    </a:cubicBezTo>
                    <a:lnTo>
                      <a:pt x="2438" y="42347"/>
                    </a:lnTo>
                    <a:cubicBezTo>
                      <a:pt x="-2219" y="32219"/>
                      <a:pt x="-81" y="20262"/>
                      <a:pt x="7795" y="12368"/>
                    </a:cubicBezTo>
                    <a:cubicBezTo>
                      <a:pt x="10890" y="9946"/>
                      <a:pt x="13825" y="7318"/>
                      <a:pt x="16573" y="4502"/>
                    </a:cubicBezTo>
                    <a:cubicBezTo>
                      <a:pt x="17621" y="3118"/>
                      <a:pt x="18482" y="1607"/>
                      <a:pt x="19137" y="0"/>
                    </a:cubicBezTo>
                    <a:lnTo>
                      <a:pt x="32759" y="627"/>
                    </a:lnTo>
                    <a:cubicBezTo>
                      <a:pt x="35484" y="621"/>
                      <a:pt x="38191" y="1026"/>
                      <a:pt x="40795" y="1824"/>
                    </a:cubicBezTo>
                    <a:cubicBezTo>
                      <a:pt x="43725" y="3038"/>
                      <a:pt x="46341" y="4907"/>
                      <a:pt x="48433" y="72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1" name="Freihandform: Form 327">
                <a:extLst>
                  <a:ext uri="{FF2B5EF4-FFF2-40B4-BE49-F238E27FC236}">
                    <a16:creationId xmlns:a16="http://schemas.microsoft.com/office/drawing/2014/main" id="{1D8C26FC-8A2E-DB94-0B83-AB2CF23BB6E0}"/>
                  </a:ext>
                </a:extLst>
              </p:cNvPr>
              <p:cNvSpPr/>
              <p:nvPr/>
            </p:nvSpPr>
            <p:spPr>
              <a:xfrm>
                <a:off x="3951847" y="3974558"/>
                <a:ext cx="170072" cy="234232"/>
              </a:xfrm>
              <a:custGeom>
                <a:avLst/>
                <a:gdLst>
                  <a:gd name="connsiteX0" fmla="*/ 170072 w 170072"/>
                  <a:gd name="connsiteY0" fmla="*/ 219772 h 234232"/>
                  <a:gd name="connsiteX1" fmla="*/ 167850 w 170072"/>
                  <a:gd name="connsiteY1" fmla="*/ 225870 h 234232"/>
                  <a:gd name="connsiteX2" fmla="*/ 165342 w 170072"/>
                  <a:gd name="connsiteY2" fmla="*/ 231285 h 234232"/>
                  <a:gd name="connsiteX3" fmla="*/ 151321 w 170072"/>
                  <a:gd name="connsiteY3" fmla="*/ 233450 h 234232"/>
                  <a:gd name="connsiteX4" fmla="*/ 133482 w 170072"/>
                  <a:gd name="connsiteY4" fmla="*/ 229917 h 234232"/>
                  <a:gd name="connsiteX5" fmla="*/ 109943 w 170072"/>
                  <a:gd name="connsiteY5" fmla="*/ 229917 h 234232"/>
                  <a:gd name="connsiteX6" fmla="*/ 107207 w 170072"/>
                  <a:gd name="connsiteY6" fmla="*/ 231741 h 234232"/>
                  <a:gd name="connsiteX7" fmla="*/ 106466 w 170072"/>
                  <a:gd name="connsiteY7" fmla="*/ 233051 h 234232"/>
                  <a:gd name="connsiteX8" fmla="*/ 95466 w 170072"/>
                  <a:gd name="connsiteY8" fmla="*/ 226668 h 234232"/>
                  <a:gd name="connsiteX9" fmla="*/ 90394 w 170072"/>
                  <a:gd name="connsiteY9" fmla="*/ 224274 h 234232"/>
                  <a:gd name="connsiteX10" fmla="*/ 78368 w 170072"/>
                  <a:gd name="connsiteY10" fmla="*/ 232766 h 234232"/>
                  <a:gd name="connsiteX11" fmla="*/ 78368 w 170072"/>
                  <a:gd name="connsiteY11" fmla="*/ 233507 h 234232"/>
                  <a:gd name="connsiteX12" fmla="*/ 70730 w 170072"/>
                  <a:gd name="connsiteY12" fmla="*/ 227808 h 234232"/>
                  <a:gd name="connsiteX13" fmla="*/ 62694 w 170072"/>
                  <a:gd name="connsiteY13" fmla="*/ 226611 h 234232"/>
                  <a:gd name="connsiteX14" fmla="*/ 49072 w 170072"/>
                  <a:gd name="connsiteY14" fmla="*/ 225984 h 234232"/>
                  <a:gd name="connsiteX15" fmla="*/ 47134 w 170072"/>
                  <a:gd name="connsiteY15" fmla="*/ 199196 h 234232"/>
                  <a:gd name="connsiteX16" fmla="*/ 31119 w 170072"/>
                  <a:gd name="connsiteY16" fmla="*/ 173606 h 234232"/>
                  <a:gd name="connsiteX17" fmla="*/ 0 w 170072"/>
                  <a:gd name="connsiteY17" fmla="*/ 172865 h 234232"/>
                  <a:gd name="connsiteX18" fmla="*/ 11399 w 170072"/>
                  <a:gd name="connsiteY18" fmla="*/ 149269 h 234232"/>
                  <a:gd name="connsiteX19" fmla="*/ 13793 w 170072"/>
                  <a:gd name="connsiteY19" fmla="*/ 142145 h 234232"/>
                  <a:gd name="connsiteX20" fmla="*/ 21031 w 170072"/>
                  <a:gd name="connsiteY20" fmla="*/ 138554 h 234232"/>
                  <a:gd name="connsiteX21" fmla="*/ 28554 w 170072"/>
                  <a:gd name="connsiteY21" fmla="*/ 125559 h 234232"/>
                  <a:gd name="connsiteX22" fmla="*/ 36476 w 170072"/>
                  <a:gd name="connsiteY22" fmla="*/ 124761 h 234232"/>
                  <a:gd name="connsiteX23" fmla="*/ 43145 w 170072"/>
                  <a:gd name="connsiteY23" fmla="*/ 117238 h 234232"/>
                  <a:gd name="connsiteX24" fmla="*/ 52435 w 170072"/>
                  <a:gd name="connsiteY24" fmla="*/ 113818 h 234232"/>
                  <a:gd name="connsiteX25" fmla="*/ 75746 w 170072"/>
                  <a:gd name="connsiteY25" fmla="*/ 125787 h 234232"/>
                  <a:gd name="connsiteX26" fmla="*/ 86803 w 170072"/>
                  <a:gd name="connsiteY26" fmla="*/ 96378 h 234232"/>
                  <a:gd name="connsiteX27" fmla="*/ 104300 w 170072"/>
                  <a:gd name="connsiteY27" fmla="*/ 63378 h 234232"/>
                  <a:gd name="connsiteX28" fmla="*/ 111425 w 170072"/>
                  <a:gd name="connsiteY28" fmla="*/ 48502 h 234232"/>
                  <a:gd name="connsiteX29" fmla="*/ 117580 w 170072"/>
                  <a:gd name="connsiteY29" fmla="*/ 29409 h 234232"/>
                  <a:gd name="connsiteX30" fmla="*/ 130461 w 170072"/>
                  <a:gd name="connsiteY30" fmla="*/ 5414 h 234232"/>
                  <a:gd name="connsiteX31" fmla="*/ 137186 w 170072"/>
                  <a:gd name="connsiteY31" fmla="*/ 0 h 234232"/>
                  <a:gd name="connsiteX32" fmla="*/ 142886 w 170072"/>
                  <a:gd name="connsiteY32" fmla="*/ 5358 h 234232"/>
                  <a:gd name="connsiteX33" fmla="*/ 142886 w 170072"/>
                  <a:gd name="connsiteY33" fmla="*/ 13907 h 234232"/>
                  <a:gd name="connsiteX34" fmla="*/ 149269 w 170072"/>
                  <a:gd name="connsiteY34" fmla="*/ 32829 h 234232"/>
                  <a:gd name="connsiteX35" fmla="*/ 151948 w 170072"/>
                  <a:gd name="connsiteY35" fmla="*/ 37560 h 234232"/>
                  <a:gd name="connsiteX36" fmla="*/ 147787 w 170072"/>
                  <a:gd name="connsiteY36" fmla="*/ 43829 h 234232"/>
                  <a:gd name="connsiteX37" fmla="*/ 139922 w 170072"/>
                  <a:gd name="connsiteY37" fmla="*/ 45254 h 234232"/>
                  <a:gd name="connsiteX38" fmla="*/ 128523 w 170072"/>
                  <a:gd name="connsiteY38" fmla="*/ 52606 h 234232"/>
                  <a:gd name="connsiteX39" fmla="*/ 135989 w 170072"/>
                  <a:gd name="connsiteY39" fmla="*/ 64518 h 234232"/>
                  <a:gd name="connsiteX40" fmla="*/ 151492 w 170072"/>
                  <a:gd name="connsiteY40" fmla="*/ 80932 h 234232"/>
                  <a:gd name="connsiteX41" fmla="*/ 152632 w 170072"/>
                  <a:gd name="connsiteY41" fmla="*/ 102704 h 234232"/>
                  <a:gd name="connsiteX42" fmla="*/ 144539 w 170072"/>
                  <a:gd name="connsiteY42" fmla="*/ 113419 h 234232"/>
                  <a:gd name="connsiteX43" fmla="*/ 136616 w 170072"/>
                  <a:gd name="connsiteY43" fmla="*/ 130518 h 234232"/>
                  <a:gd name="connsiteX44" fmla="*/ 131202 w 170072"/>
                  <a:gd name="connsiteY44" fmla="*/ 140036 h 234232"/>
                  <a:gd name="connsiteX45" fmla="*/ 137357 w 170072"/>
                  <a:gd name="connsiteY45" fmla="*/ 156394 h 234232"/>
                  <a:gd name="connsiteX46" fmla="*/ 136559 w 170072"/>
                  <a:gd name="connsiteY46" fmla="*/ 169673 h 234232"/>
                  <a:gd name="connsiteX47" fmla="*/ 140264 w 170072"/>
                  <a:gd name="connsiteY47" fmla="*/ 172124 h 234232"/>
                  <a:gd name="connsiteX48" fmla="*/ 143285 w 170072"/>
                  <a:gd name="connsiteY48" fmla="*/ 181927 h 234232"/>
                  <a:gd name="connsiteX49" fmla="*/ 152005 w 170072"/>
                  <a:gd name="connsiteY49" fmla="*/ 192585 h 234232"/>
                  <a:gd name="connsiteX50" fmla="*/ 153658 w 170072"/>
                  <a:gd name="connsiteY50" fmla="*/ 201020 h 234232"/>
                  <a:gd name="connsiteX51" fmla="*/ 160668 w 170072"/>
                  <a:gd name="connsiteY51" fmla="*/ 207404 h 234232"/>
                  <a:gd name="connsiteX52" fmla="*/ 170072 w 170072"/>
                  <a:gd name="connsiteY52" fmla="*/ 219772 h 2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70072" h="234232">
                    <a:moveTo>
                      <a:pt x="170072" y="219772"/>
                    </a:moveTo>
                    <a:cubicBezTo>
                      <a:pt x="169274" y="221823"/>
                      <a:pt x="168476" y="223818"/>
                      <a:pt x="167850" y="225870"/>
                    </a:cubicBezTo>
                    <a:cubicBezTo>
                      <a:pt x="167371" y="227819"/>
                      <a:pt x="166516" y="229655"/>
                      <a:pt x="165342" y="231285"/>
                    </a:cubicBezTo>
                    <a:cubicBezTo>
                      <a:pt x="162150" y="235103"/>
                      <a:pt x="156222" y="234476"/>
                      <a:pt x="151321" y="233450"/>
                    </a:cubicBezTo>
                    <a:lnTo>
                      <a:pt x="133482" y="229917"/>
                    </a:lnTo>
                    <a:cubicBezTo>
                      <a:pt x="125816" y="227551"/>
                      <a:pt x="117609" y="227551"/>
                      <a:pt x="109943" y="229917"/>
                    </a:cubicBezTo>
                    <a:cubicBezTo>
                      <a:pt x="108888" y="230276"/>
                      <a:pt x="107948" y="230908"/>
                      <a:pt x="107207" y="231741"/>
                    </a:cubicBezTo>
                    <a:cubicBezTo>
                      <a:pt x="106905" y="232145"/>
                      <a:pt x="106654" y="232584"/>
                      <a:pt x="106466" y="233051"/>
                    </a:cubicBezTo>
                    <a:cubicBezTo>
                      <a:pt x="102761" y="231000"/>
                      <a:pt x="99114" y="228891"/>
                      <a:pt x="95466" y="226668"/>
                    </a:cubicBezTo>
                    <a:cubicBezTo>
                      <a:pt x="93916" y="225597"/>
                      <a:pt x="92206" y="224787"/>
                      <a:pt x="90394" y="224274"/>
                    </a:cubicBezTo>
                    <a:cubicBezTo>
                      <a:pt x="84768" y="223465"/>
                      <a:pt x="79490" y="227192"/>
                      <a:pt x="78368" y="232766"/>
                    </a:cubicBezTo>
                    <a:cubicBezTo>
                      <a:pt x="78368" y="232766"/>
                      <a:pt x="78368" y="233222"/>
                      <a:pt x="78368" y="233507"/>
                    </a:cubicBezTo>
                    <a:cubicBezTo>
                      <a:pt x="76299" y="231039"/>
                      <a:pt x="73683" y="229090"/>
                      <a:pt x="70730" y="227808"/>
                    </a:cubicBezTo>
                    <a:cubicBezTo>
                      <a:pt x="68126" y="227010"/>
                      <a:pt x="65418" y="226605"/>
                      <a:pt x="62694" y="226611"/>
                    </a:cubicBezTo>
                    <a:lnTo>
                      <a:pt x="49072" y="225984"/>
                    </a:lnTo>
                    <a:cubicBezTo>
                      <a:pt x="52321" y="217948"/>
                      <a:pt x="49870" y="207860"/>
                      <a:pt x="47134" y="199196"/>
                    </a:cubicBezTo>
                    <a:cubicBezTo>
                      <a:pt x="44057" y="189336"/>
                      <a:pt x="40238" y="178508"/>
                      <a:pt x="31119" y="173606"/>
                    </a:cubicBezTo>
                    <a:cubicBezTo>
                      <a:pt x="22000" y="168704"/>
                      <a:pt x="10601" y="171554"/>
                      <a:pt x="0" y="172865"/>
                    </a:cubicBezTo>
                    <a:cubicBezTo>
                      <a:pt x="3819" y="165000"/>
                      <a:pt x="9689" y="157875"/>
                      <a:pt x="11399" y="149269"/>
                    </a:cubicBezTo>
                    <a:cubicBezTo>
                      <a:pt x="11445" y="146704"/>
                      <a:pt x="12277" y="144214"/>
                      <a:pt x="13793" y="142145"/>
                    </a:cubicBezTo>
                    <a:cubicBezTo>
                      <a:pt x="15731" y="140207"/>
                      <a:pt x="18922" y="140207"/>
                      <a:pt x="21031" y="138554"/>
                    </a:cubicBezTo>
                    <a:cubicBezTo>
                      <a:pt x="25077" y="135362"/>
                      <a:pt x="23824" y="127611"/>
                      <a:pt x="28554" y="125559"/>
                    </a:cubicBezTo>
                    <a:cubicBezTo>
                      <a:pt x="31005" y="124476"/>
                      <a:pt x="34254" y="125559"/>
                      <a:pt x="36476" y="124761"/>
                    </a:cubicBezTo>
                    <a:cubicBezTo>
                      <a:pt x="38699" y="123964"/>
                      <a:pt x="40922" y="119803"/>
                      <a:pt x="43145" y="117238"/>
                    </a:cubicBezTo>
                    <a:cubicBezTo>
                      <a:pt x="45505" y="114656"/>
                      <a:pt x="48970" y="113385"/>
                      <a:pt x="52435" y="113818"/>
                    </a:cubicBezTo>
                    <a:cubicBezTo>
                      <a:pt x="61326" y="115186"/>
                      <a:pt x="66912" y="127383"/>
                      <a:pt x="75746" y="125787"/>
                    </a:cubicBezTo>
                    <a:cubicBezTo>
                      <a:pt x="77501" y="115363"/>
                      <a:pt x="81257" y="105377"/>
                      <a:pt x="86803" y="96378"/>
                    </a:cubicBezTo>
                    <a:lnTo>
                      <a:pt x="104300" y="63378"/>
                    </a:lnTo>
                    <a:cubicBezTo>
                      <a:pt x="107007" y="58585"/>
                      <a:pt x="109384" y="53615"/>
                      <a:pt x="111425" y="48502"/>
                    </a:cubicBezTo>
                    <a:cubicBezTo>
                      <a:pt x="113818" y="42233"/>
                      <a:pt x="115186" y="35679"/>
                      <a:pt x="117580" y="29409"/>
                    </a:cubicBezTo>
                    <a:cubicBezTo>
                      <a:pt x="121045" y="20991"/>
                      <a:pt x="125360" y="12949"/>
                      <a:pt x="130461" y="5414"/>
                    </a:cubicBezTo>
                    <a:cubicBezTo>
                      <a:pt x="132114" y="2907"/>
                      <a:pt x="134165" y="57"/>
                      <a:pt x="137186" y="0"/>
                    </a:cubicBezTo>
                    <a:cubicBezTo>
                      <a:pt x="140042" y="365"/>
                      <a:pt x="142344" y="2531"/>
                      <a:pt x="142886" y="5358"/>
                    </a:cubicBezTo>
                    <a:cubicBezTo>
                      <a:pt x="143256" y="8196"/>
                      <a:pt x="143256" y="11068"/>
                      <a:pt x="142886" y="13907"/>
                    </a:cubicBezTo>
                    <a:cubicBezTo>
                      <a:pt x="142846" y="20752"/>
                      <a:pt x="145091" y="27409"/>
                      <a:pt x="149269" y="32829"/>
                    </a:cubicBezTo>
                    <a:cubicBezTo>
                      <a:pt x="150563" y="34140"/>
                      <a:pt x="151486" y="35776"/>
                      <a:pt x="151948" y="37560"/>
                    </a:cubicBezTo>
                    <a:cubicBezTo>
                      <a:pt x="152050" y="40324"/>
                      <a:pt x="150375" y="42849"/>
                      <a:pt x="147787" y="43829"/>
                    </a:cubicBezTo>
                    <a:cubicBezTo>
                      <a:pt x="145257" y="44707"/>
                      <a:pt x="142601" y="45191"/>
                      <a:pt x="139922" y="45254"/>
                    </a:cubicBezTo>
                    <a:cubicBezTo>
                      <a:pt x="135134" y="45767"/>
                      <a:pt x="129549" y="47818"/>
                      <a:pt x="128523" y="52606"/>
                    </a:cubicBezTo>
                    <a:cubicBezTo>
                      <a:pt x="127497" y="57394"/>
                      <a:pt x="132057" y="61497"/>
                      <a:pt x="135989" y="64518"/>
                    </a:cubicBezTo>
                    <a:cubicBezTo>
                      <a:pt x="142248" y="68850"/>
                      <a:pt x="147525" y="74441"/>
                      <a:pt x="151492" y="80932"/>
                    </a:cubicBezTo>
                    <a:cubicBezTo>
                      <a:pt x="155493" y="87544"/>
                      <a:pt x="155920" y="95711"/>
                      <a:pt x="152632" y="102704"/>
                    </a:cubicBezTo>
                    <a:cubicBezTo>
                      <a:pt x="150523" y="106637"/>
                      <a:pt x="146932" y="109658"/>
                      <a:pt x="144539" y="113419"/>
                    </a:cubicBezTo>
                    <a:cubicBezTo>
                      <a:pt x="141176" y="118663"/>
                      <a:pt x="140093" y="125160"/>
                      <a:pt x="136616" y="130518"/>
                    </a:cubicBezTo>
                    <a:cubicBezTo>
                      <a:pt x="134507" y="133596"/>
                      <a:pt x="131487" y="136217"/>
                      <a:pt x="131202" y="140036"/>
                    </a:cubicBezTo>
                    <a:cubicBezTo>
                      <a:pt x="130689" y="145736"/>
                      <a:pt x="137414" y="150466"/>
                      <a:pt x="137357" y="156394"/>
                    </a:cubicBezTo>
                    <a:cubicBezTo>
                      <a:pt x="137357" y="161010"/>
                      <a:pt x="133254" y="166425"/>
                      <a:pt x="136559" y="169673"/>
                    </a:cubicBezTo>
                    <a:cubicBezTo>
                      <a:pt x="137642" y="170756"/>
                      <a:pt x="139181" y="171098"/>
                      <a:pt x="140264" y="172124"/>
                    </a:cubicBezTo>
                    <a:cubicBezTo>
                      <a:pt x="142886" y="174404"/>
                      <a:pt x="141974" y="178679"/>
                      <a:pt x="143285" y="181927"/>
                    </a:cubicBezTo>
                    <a:cubicBezTo>
                      <a:pt x="144995" y="186259"/>
                      <a:pt x="150295" y="188254"/>
                      <a:pt x="152005" y="192585"/>
                    </a:cubicBezTo>
                    <a:cubicBezTo>
                      <a:pt x="153031" y="195264"/>
                      <a:pt x="152461" y="198285"/>
                      <a:pt x="153658" y="201020"/>
                    </a:cubicBezTo>
                    <a:cubicBezTo>
                      <a:pt x="154855" y="203756"/>
                      <a:pt x="158103" y="205466"/>
                      <a:pt x="160668" y="207404"/>
                    </a:cubicBezTo>
                    <a:cubicBezTo>
                      <a:pt x="164755" y="210710"/>
                      <a:pt x="167980" y="214950"/>
                      <a:pt x="170072" y="21977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2" name="Freihandform: Form 328">
                <a:extLst>
                  <a:ext uri="{FF2B5EF4-FFF2-40B4-BE49-F238E27FC236}">
                    <a16:creationId xmlns:a16="http://schemas.microsoft.com/office/drawing/2014/main" id="{15098FE9-C8C4-9AB9-2847-974C2D5066AA}"/>
                  </a:ext>
                </a:extLst>
              </p:cNvPr>
              <p:cNvSpPr/>
              <p:nvPr/>
            </p:nvSpPr>
            <p:spPr>
              <a:xfrm>
                <a:off x="4083363" y="3992361"/>
                <a:ext cx="277848" cy="201911"/>
              </a:xfrm>
              <a:custGeom>
                <a:avLst/>
                <a:gdLst>
                  <a:gd name="connsiteX0" fmla="*/ 277422 w 277848"/>
                  <a:gd name="connsiteY0" fmla="*/ 145088 h 201911"/>
                  <a:gd name="connsiteX1" fmla="*/ 277080 w 277848"/>
                  <a:gd name="connsiteY1" fmla="*/ 147311 h 201911"/>
                  <a:gd name="connsiteX2" fmla="*/ 266650 w 277848"/>
                  <a:gd name="connsiteY2" fmla="*/ 140871 h 201911"/>
                  <a:gd name="connsiteX3" fmla="*/ 255935 w 277848"/>
                  <a:gd name="connsiteY3" fmla="*/ 138876 h 201911"/>
                  <a:gd name="connsiteX4" fmla="*/ 245676 w 277848"/>
                  <a:gd name="connsiteY4" fmla="*/ 135969 h 201911"/>
                  <a:gd name="connsiteX5" fmla="*/ 238380 w 277848"/>
                  <a:gd name="connsiteY5" fmla="*/ 136881 h 201911"/>
                  <a:gd name="connsiteX6" fmla="*/ 180702 w 277848"/>
                  <a:gd name="connsiteY6" fmla="*/ 149705 h 201911"/>
                  <a:gd name="connsiteX7" fmla="*/ 162463 w 277848"/>
                  <a:gd name="connsiteY7" fmla="*/ 160477 h 201911"/>
                  <a:gd name="connsiteX8" fmla="*/ 160126 w 277848"/>
                  <a:gd name="connsiteY8" fmla="*/ 164238 h 201911"/>
                  <a:gd name="connsiteX9" fmla="*/ 156365 w 277848"/>
                  <a:gd name="connsiteY9" fmla="*/ 164238 h 201911"/>
                  <a:gd name="connsiteX10" fmla="*/ 111225 w 277848"/>
                  <a:gd name="connsiteY10" fmla="*/ 145715 h 201911"/>
                  <a:gd name="connsiteX11" fmla="*/ 106893 w 277848"/>
                  <a:gd name="connsiteY11" fmla="*/ 144005 h 201911"/>
                  <a:gd name="connsiteX12" fmla="*/ 102220 w 277848"/>
                  <a:gd name="connsiteY12" fmla="*/ 145544 h 201911"/>
                  <a:gd name="connsiteX13" fmla="*/ 83355 w 277848"/>
                  <a:gd name="connsiteY13" fmla="*/ 163782 h 201911"/>
                  <a:gd name="connsiteX14" fmla="*/ 83355 w 277848"/>
                  <a:gd name="connsiteY14" fmla="*/ 173358 h 201911"/>
                  <a:gd name="connsiteX15" fmla="*/ 72469 w 277848"/>
                  <a:gd name="connsiteY15" fmla="*/ 174213 h 201911"/>
                  <a:gd name="connsiteX16" fmla="*/ 52862 w 277848"/>
                  <a:gd name="connsiteY16" fmla="*/ 178031 h 201911"/>
                  <a:gd name="connsiteX17" fmla="*/ 45396 w 277848"/>
                  <a:gd name="connsiteY17" fmla="*/ 187321 h 201911"/>
                  <a:gd name="connsiteX18" fmla="*/ 38842 w 277848"/>
                  <a:gd name="connsiteY18" fmla="*/ 201912 h 201911"/>
                  <a:gd name="connsiteX19" fmla="*/ 29495 w 277848"/>
                  <a:gd name="connsiteY19" fmla="*/ 189487 h 201911"/>
                  <a:gd name="connsiteX20" fmla="*/ 22484 w 277848"/>
                  <a:gd name="connsiteY20" fmla="*/ 183104 h 201911"/>
                  <a:gd name="connsiteX21" fmla="*/ 20831 w 277848"/>
                  <a:gd name="connsiteY21" fmla="*/ 174668 h 201911"/>
                  <a:gd name="connsiteX22" fmla="*/ 12111 w 277848"/>
                  <a:gd name="connsiteY22" fmla="*/ 164010 h 201911"/>
                  <a:gd name="connsiteX23" fmla="*/ 9090 w 277848"/>
                  <a:gd name="connsiteY23" fmla="*/ 154207 h 201911"/>
                  <a:gd name="connsiteX24" fmla="*/ 5386 w 277848"/>
                  <a:gd name="connsiteY24" fmla="*/ 151757 h 201911"/>
                  <a:gd name="connsiteX25" fmla="*/ 6184 w 277848"/>
                  <a:gd name="connsiteY25" fmla="*/ 138477 h 201911"/>
                  <a:gd name="connsiteX26" fmla="*/ 28 w 277848"/>
                  <a:gd name="connsiteY26" fmla="*/ 122119 h 201911"/>
                  <a:gd name="connsiteX27" fmla="*/ 5443 w 277848"/>
                  <a:gd name="connsiteY27" fmla="*/ 112601 h 201911"/>
                  <a:gd name="connsiteX28" fmla="*/ 13365 w 277848"/>
                  <a:gd name="connsiteY28" fmla="*/ 95503 h 201911"/>
                  <a:gd name="connsiteX29" fmla="*/ 21458 w 277848"/>
                  <a:gd name="connsiteY29" fmla="*/ 84788 h 201911"/>
                  <a:gd name="connsiteX30" fmla="*/ 22427 w 277848"/>
                  <a:gd name="connsiteY30" fmla="*/ 82622 h 201911"/>
                  <a:gd name="connsiteX31" fmla="*/ 22997 w 277848"/>
                  <a:gd name="connsiteY31" fmla="*/ 82622 h 201911"/>
                  <a:gd name="connsiteX32" fmla="*/ 41635 w 277848"/>
                  <a:gd name="connsiteY32" fmla="*/ 81938 h 201911"/>
                  <a:gd name="connsiteX33" fmla="*/ 48303 w 277848"/>
                  <a:gd name="connsiteY33" fmla="*/ 79658 h 201911"/>
                  <a:gd name="connsiteX34" fmla="*/ 56339 w 277848"/>
                  <a:gd name="connsiteY34" fmla="*/ 79202 h 201911"/>
                  <a:gd name="connsiteX35" fmla="*/ 76458 w 277848"/>
                  <a:gd name="connsiteY35" fmla="*/ 73047 h 201911"/>
                  <a:gd name="connsiteX36" fmla="*/ 81075 w 277848"/>
                  <a:gd name="connsiteY36" fmla="*/ 70140 h 201911"/>
                  <a:gd name="connsiteX37" fmla="*/ 83469 w 277848"/>
                  <a:gd name="connsiteY37" fmla="*/ 66663 h 201911"/>
                  <a:gd name="connsiteX38" fmla="*/ 92987 w 277848"/>
                  <a:gd name="connsiteY38" fmla="*/ 60679 h 201911"/>
                  <a:gd name="connsiteX39" fmla="*/ 96064 w 277848"/>
                  <a:gd name="connsiteY39" fmla="*/ 50933 h 201911"/>
                  <a:gd name="connsiteX40" fmla="*/ 106608 w 277848"/>
                  <a:gd name="connsiteY40" fmla="*/ 45233 h 201911"/>
                  <a:gd name="connsiteX41" fmla="*/ 118406 w 277848"/>
                  <a:gd name="connsiteY41" fmla="*/ 41985 h 201911"/>
                  <a:gd name="connsiteX42" fmla="*/ 122054 w 277848"/>
                  <a:gd name="connsiteY42" fmla="*/ 38679 h 201911"/>
                  <a:gd name="connsiteX43" fmla="*/ 133453 w 277848"/>
                  <a:gd name="connsiteY43" fmla="*/ 33435 h 201911"/>
                  <a:gd name="connsiteX44" fmla="*/ 140691 w 277848"/>
                  <a:gd name="connsiteY44" fmla="*/ 22777 h 201911"/>
                  <a:gd name="connsiteX45" fmla="*/ 147360 w 277848"/>
                  <a:gd name="connsiteY45" fmla="*/ 15311 h 201911"/>
                  <a:gd name="connsiteX46" fmla="*/ 163432 w 277848"/>
                  <a:gd name="connsiteY46" fmla="*/ 2373 h 201911"/>
                  <a:gd name="connsiteX47" fmla="*/ 187028 w 277848"/>
                  <a:gd name="connsiteY47" fmla="*/ 8814 h 201911"/>
                  <a:gd name="connsiteX48" fmla="*/ 189365 w 277848"/>
                  <a:gd name="connsiteY48" fmla="*/ 15425 h 201911"/>
                  <a:gd name="connsiteX49" fmla="*/ 194209 w 277848"/>
                  <a:gd name="connsiteY49" fmla="*/ 18845 h 201911"/>
                  <a:gd name="connsiteX50" fmla="*/ 194209 w 277848"/>
                  <a:gd name="connsiteY50" fmla="*/ 28420 h 201911"/>
                  <a:gd name="connsiteX51" fmla="*/ 190562 w 277848"/>
                  <a:gd name="connsiteY51" fmla="*/ 37881 h 201911"/>
                  <a:gd name="connsiteX52" fmla="*/ 193240 w 277848"/>
                  <a:gd name="connsiteY52" fmla="*/ 46715 h 201911"/>
                  <a:gd name="connsiteX53" fmla="*/ 191531 w 277848"/>
                  <a:gd name="connsiteY53" fmla="*/ 55150 h 201911"/>
                  <a:gd name="connsiteX54" fmla="*/ 221909 w 277848"/>
                  <a:gd name="connsiteY54" fmla="*/ 66891 h 201911"/>
                  <a:gd name="connsiteX55" fmla="*/ 232054 w 277848"/>
                  <a:gd name="connsiteY55" fmla="*/ 83078 h 201911"/>
                  <a:gd name="connsiteX56" fmla="*/ 234847 w 277848"/>
                  <a:gd name="connsiteY56" fmla="*/ 83420 h 201911"/>
                  <a:gd name="connsiteX57" fmla="*/ 237411 w 277848"/>
                  <a:gd name="connsiteY57" fmla="*/ 93964 h 201911"/>
                  <a:gd name="connsiteX58" fmla="*/ 247500 w 277848"/>
                  <a:gd name="connsiteY58" fmla="*/ 100803 h 201911"/>
                  <a:gd name="connsiteX59" fmla="*/ 252002 w 277848"/>
                  <a:gd name="connsiteY59" fmla="*/ 108213 h 201911"/>
                  <a:gd name="connsiteX60" fmla="*/ 271038 w 277848"/>
                  <a:gd name="connsiteY60" fmla="*/ 131010 h 201911"/>
                  <a:gd name="connsiteX61" fmla="*/ 277251 w 277848"/>
                  <a:gd name="connsiteY61" fmla="*/ 137508 h 201911"/>
                  <a:gd name="connsiteX62" fmla="*/ 277422 w 277848"/>
                  <a:gd name="connsiteY62" fmla="*/ 145088 h 20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7848" h="201911">
                    <a:moveTo>
                      <a:pt x="277422" y="145088"/>
                    </a:moveTo>
                    <a:lnTo>
                      <a:pt x="277080" y="147311"/>
                    </a:lnTo>
                    <a:cubicBezTo>
                      <a:pt x="274065" y="144495"/>
                      <a:pt x="270520" y="142307"/>
                      <a:pt x="266650" y="140871"/>
                    </a:cubicBezTo>
                    <a:cubicBezTo>
                      <a:pt x="263173" y="139788"/>
                      <a:pt x="259468" y="139788"/>
                      <a:pt x="255935" y="138876"/>
                    </a:cubicBezTo>
                    <a:cubicBezTo>
                      <a:pt x="252595" y="137639"/>
                      <a:pt x="249169" y="136664"/>
                      <a:pt x="245676" y="135969"/>
                    </a:cubicBezTo>
                    <a:cubicBezTo>
                      <a:pt x="243213" y="135901"/>
                      <a:pt x="240751" y="136208"/>
                      <a:pt x="238380" y="136881"/>
                    </a:cubicBezTo>
                    <a:lnTo>
                      <a:pt x="180702" y="149705"/>
                    </a:lnTo>
                    <a:cubicBezTo>
                      <a:pt x="173520" y="151301"/>
                      <a:pt x="165313" y="153694"/>
                      <a:pt x="162463" y="160477"/>
                    </a:cubicBezTo>
                    <a:cubicBezTo>
                      <a:pt x="161836" y="161845"/>
                      <a:pt x="161437" y="163497"/>
                      <a:pt x="160126" y="164238"/>
                    </a:cubicBezTo>
                    <a:cubicBezTo>
                      <a:pt x="158912" y="164694"/>
                      <a:pt x="157579" y="164694"/>
                      <a:pt x="156365" y="164238"/>
                    </a:cubicBezTo>
                    <a:cubicBezTo>
                      <a:pt x="140480" y="160346"/>
                      <a:pt x="125263" y="154105"/>
                      <a:pt x="111225" y="145715"/>
                    </a:cubicBezTo>
                    <a:cubicBezTo>
                      <a:pt x="109954" y="144786"/>
                      <a:pt x="108461" y="144193"/>
                      <a:pt x="106893" y="144005"/>
                    </a:cubicBezTo>
                    <a:cubicBezTo>
                      <a:pt x="105229" y="144097"/>
                      <a:pt x="103616" y="144626"/>
                      <a:pt x="102220" y="145544"/>
                    </a:cubicBezTo>
                    <a:cubicBezTo>
                      <a:pt x="94298" y="149876"/>
                      <a:pt x="85634" y="155119"/>
                      <a:pt x="83355" y="163782"/>
                    </a:cubicBezTo>
                    <a:cubicBezTo>
                      <a:pt x="82699" y="166940"/>
                      <a:pt x="82699" y="170200"/>
                      <a:pt x="83355" y="173358"/>
                    </a:cubicBezTo>
                    <a:cubicBezTo>
                      <a:pt x="79747" y="173842"/>
                      <a:pt x="76110" y="174127"/>
                      <a:pt x="72469" y="174213"/>
                    </a:cubicBezTo>
                    <a:cubicBezTo>
                      <a:pt x="65698" y="173529"/>
                      <a:pt x="58881" y="174857"/>
                      <a:pt x="52862" y="178031"/>
                    </a:cubicBezTo>
                    <a:cubicBezTo>
                      <a:pt x="49699" y="180516"/>
                      <a:pt x="47146" y="183696"/>
                      <a:pt x="45396" y="187321"/>
                    </a:cubicBezTo>
                    <a:cubicBezTo>
                      <a:pt x="42888" y="192035"/>
                      <a:pt x="40700" y="196908"/>
                      <a:pt x="38842" y="201912"/>
                    </a:cubicBezTo>
                    <a:cubicBezTo>
                      <a:pt x="36773" y="197079"/>
                      <a:pt x="33564" y="192815"/>
                      <a:pt x="29495" y="189487"/>
                    </a:cubicBezTo>
                    <a:cubicBezTo>
                      <a:pt x="26930" y="187549"/>
                      <a:pt x="23795" y="186010"/>
                      <a:pt x="22484" y="183104"/>
                    </a:cubicBezTo>
                    <a:cubicBezTo>
                      <a:pt x="21173" y="180197"/>
                      <a:pt x="21857" y="177404"/>
                      <a:pt x="20831" y="174668"/>
                    </a:cubicBezTo>
                    <a:cubicBezTo>
                      <a:pt x="19122" y="170337"/>
                      <a:pt x="13821" y="168342"/>
                      <a:pt x="12111" y="164010"/>
                    </a:cubicBezTo>
                    <a:cubicBezTo>
                      <a:pt x="10800" y="160762"/>
                      <a:pt x="11712" y="156487"/>
                      <a:pt x="9090" y="154207"/>
                    </a:cubicBezTo>
                    <a:cubicBezTo>
                      <a:pt x="8008" y="153181"/>
                      <a:pt x="6469" y="152839"/>
                      <a:pt x="5386" y="151757"/>
                    </a:cubicBezTo>
                    <a:cubicBezTo>
                      <a:pt x="2080" y="148508"/>
                      <a:pt x="6127" y="143093"/>
                      <a:pt x="6184" y="138477"/>
                    </a:cubicBezTo>
                    <a:cubicBezTo>
                      <a:pt x="6184" y="132777"/>
                      <a:pt x="-485" y="128047"/>
                      <a:pt x="28" y="122119"/>
                    </a:cubicBezTo>
                    <a:cubicBezTo>
                      <a:pt x="28" y="118472"/>
                      <a:pt x="3334" y="115679"/>
                      <a:pt x="5443" y="112601"/>
                    </a:cubicBezTo>
                    <a:cubicBezTo>
                      <a:pt x="8919" y="107472"/>
                      <a:pt x="10002" y="101202"/>
                      <a:pt x="13365" y="95503"/>
                    </a:cubicBezTo>
                    <a:cubicBezTo>
                      <a:pt x="15759" y="91741"/>
                      <a:pt x="19065" y="88720"/>
                      <a:pt x="21458" y="84788"/>
                    </a:cubicBezTo>
                    <a:cubicBezTo>
                      <a:pt x="21840" y="84092"/>
                      <a:pt x="22165" y="83369"/>
                      <a:pt x="22427" y="82622"/>
                    </a:cubicBezTo>
                    <a:lnTo>
                      <a:pt x="22997" y="82622"/>
                    </a:lnTo>
                    <a:cubicBezTo>
                      <a:pt x="29204" y="83426"/>
                      <a:pt x="35502" y="83192"/>
                      <a:pt x="41635" y="81938"/>
                    </a:cubicBezTo>
                    <a:cubicBezTo>
                      <a:pt x="43914" y="81254"/>
                      <a:pt x="46023" y="80171"/>
                      <a:pt x="48303" y="79658"/>
                    </a:cubicBezTo>
                    <a:cubicBezTo>
                      <a:pt x="50964" y="79276"/>
                      <a:pt x="53654" y="79122"/>
                      <a:pt x="56339" y="79202"/>
                    </a:cubicBezTo>
                    <a:cubicBezTo>
                      <a:pt x="63361" y="78364"/>
                      <a:pt x="70172" y="76284"/>
                      <a:pt x="76458" y="73047"/>
                    </a:cubicBezTo>
                    <a:cubicBezTo>
                      <a:pt x="78197" y="72437"/>
                      <a:pt x="79775" y="71445"/>
                      <a:pt x="81075" y="70140"/>
                    </a:cubicBezTo>
                    <a:cubicBezTo>
                      <a:pt x="81987" y="69057"/>
                      <a:pt x="82557" y="67746"/>
                      <a:pt x="83469" y="66663"/>
                    </a:cubicBezTo>
                    <a:cubicBezTo>
                      <a:pt x="85976" y="63814"/>
                      <a:pt x="90707" y="63643"/>
                      <a:pt x="92987" y="60679"/>
                    </a:cubicBezTo>
                    <a:cubicBezTo>
                      <a:pt x="95266" y="57715"/>
                      <a:pt x="94468" y="53954"/>
                      <a:pt x="96064" y="50933"/>
                    </a:cubicBezTo>
                    <a:cubicBezTo>
                      <a:pt x="98453" y="47445"/>
                      <a:pt x="102379" y="45319"/>
                      <a:pt x="106608" y="45233"/>
                    </a:cubicBezTo>
                    <a:cubicBezTo>
                      <a:pt x="110758" y="45194"/>
                      <a:pt x="114822" y="44071"/>
                      <a:pt x="118406" y="41985"/>
                    </a:cubicBezTo>
                    <a:cubicBezTo>
                      <a:pt x="119660" y="40959"/>
                      <a:pt x="120743" y="39648"/>
                      <a:pt x="122054" y="38679"/>
                    </a:cubicBezTo>
                    <a:cubicBezTo>
                      <a:pt x="125417" y="36057"/>
                      <a:pt x="130261" y="35943"/>
                      <a:pt x="133453" y="33435"/>
                    </a:cubicBezTo>
                    <a:cubicBezTo>
                      <a:pt x="136491" y="30352"/>
                      <a:pt x="138947" y="26739"/>
                      <a:pt x="140691" y="22777"/>
                    </a:cubicBezTo>
                    <a:cubicBezTo>
                      <a:pt x="142635" y="20053"/>
                      <a:pt x="144875" y="17551"/>
                      <a:pt x="147360" y="15311"/>
                    </a:cubicBezTo>
                    <a:cubicBezTo>
                      <a:pt x="152147" y="10335"/>
                      <a:pt x="157545" y="5987"/>
                      <a:pt x="163432" y="2373"/>
                    </a:cubicBezTo>
                    <a:cubicBezTo>
                      <a:pt x="171640" y="-2186"/>
                      <a:pt x="184634" y="-248"/>
                      <a:pt x="187028" y="8814"/>
                    </a:cubicBezTo>
                    <a:cubicBezTo>
                      <a:pt x="187285" y="11168"/>
                      <a:pt x="188088" y="13430"/>
                      <a:pt x="189365" y="15425"/>
                    </a:cubicBezTo>
                    <a:cubicBezTo>
                      <a:pt x="190676" y="16907"/>
                      <a:pt x="192784" y="17420"/>
                      <a:pt x="194209" y="18845"/>
                    </a:cubicBezTo>
                    <a:cubicBezTo>
                      <a:pt x="196136" y="21746"/>
                      <a:pt x="196136" y="25519"/>
                      <a:pt x="194209" y="28420"/>
                    </a:cubicBezTo>
                    <a:cubicBezTo>
                      <a:pt x="192329" y="31275"/>
                      <a:pt x="191086" y="34501"/>
                      <a:pt x="190562" y="37881"/>
                    </a:cubicBezTo>
                    <a:cubicBezTo>
                      <a:pt x="190966" y="40953"/>
                      <a:pt x="191873" y="43934"/>
                      <a:pt x="193240" y="46715"/>
                    </a:cubicBezTo>
                    <a:cubicBezTo>
                      <a:pt x="194625" y="49593"/>
                      <a:pt x="193924" y="53042"/>
                      <a:pt x="191531" y="55150"/>
                    </a:cubicBezTo>
                    <a:cubicBezTo>
                      <a:pt x="202531" y="52985"/>
                      <a:pt x="210909" y="68943"/>
                      <a:pt x="221909" y="66891"/>
                    </a:cubicBezTo>
                    <a:cubicBezTo>
                      <a:pt x="220239" y="74164"/>
                      <a:pt x="224781" y="81408"/>
                      <a:pt x="232054" y="83078"/>
                    </a:cubicBezTo>
                    <a:cubicBezTo>
                      <a:pt x="232972" y="83289"/>
                      <a:pt x="233906" y="83403"/>
                      <a:pt x="234847" y="83420"/>
                    </a:cubicBezTo>
                    <a:cubicBezTo>
                      <a:pt x="232111" y="86441"/>
                      <a:pt x="234220" y="91456"/>
                      <a:pt x="237411" y="93964"/>
                    </a:cubicBezTo>
                    <a:cubicBezTo>
                      <a:pt x="240928" y="96010"/>
                      <a:pt x="244296" y="98295"/>
                      <a:pt x="247500" y="100803"/>
                    </a:cubicBezTo>
                    <a:cubicBezTo>
                      <a:pt x="249386" y="103015"/>
                      <a:pt x="250908" y="105517"/>
                      <a:pt x="252002" y="108213"/>
                    </a:cubicBezTo>
                    <a:cubicBezTo>
                      <a:pt x="256487" y="117189"/>
                      <a:pt x="263008" y="124992"/>
                      <a:pt x="271038" y="131010"/>
                    </a:cubicBezTo>
                    <a:cubicBezTo>
                      <a:pt x="273683" y="132544"/>
                      <a:pt x="275837" y="134801"/>
                      <a:pt x="277251" y="137508"/>
                    </a:cubicBezTo>
                    <a:cubicBezTo>
                      <a:pt x="277986" y="139976"/>
                      <a:pt x="278043" y="142592"/>
                      <a:pt x="277422" y="14508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3" name="Freihandform: Form 329">
                <a:extLst>
                  <a:ext uri="{FF2B5EF4-FFF2-40B4-BE49-F238E27FC236}">
                    <a16:creationId xmlns:a16="http://schemas.microsoft.com/office/drawing/2014/main" id="{DEE4F25C-DF30-1578-BAF2-F585F5F69460}"/>
                  </a:ext>
                </a:extLst>
              </p:cNvPr>
              <p:cNvSpPr/>
              <p:nvPr/>
            </p:nvSpPr>
            <p:spPr>
              <a:xfrm>
                <a:off x="3831702" y="3926849"/>
                <a:ext cx="254196" cy="221274"/>
              </a:xfrm>
              <a:custGeom>
                <a:avLst/>
                <a:gdLst>
                  <a:gd name="connsiteX0" fmla="*/ 253399 w 254196"/>
                  <a:gd name="connsiteY0" fmla="*/ 31978 h 221274"/>
                  <a:gd name="connsiteX1" fmla="*/ 254197 w 254196"/>
                  <a:gd name="connsiteY1" fmla="*/ 49077 h 221274"/>
                  <a:gd name="connsiteX2" fmla="*/ 250207 w 254196"/>
                  <a:gd name="connsiteY2" fmla="*/ 53522 h 221274"/>
                  <a:gd name="connsiteX3" fmla="*/ 237327 w 254196"/>
                  <a:gd name="connsiteY3" fmla="*/ 77517 h 221274"/>
                  <a:gd name="connsiteX4" fmla="*/ 231171 w 254196"/>
                  <a:gd name="connsiteY4" fmla="*/ 96610 h 221274"/>
                  <a:gd name="connsiteX5" fmla="*/ 224047 w 254196"/>
                  <a:gd name="connsiteY5" fmla="*/ 111486 h 221274"/>
                  <a:gd name="connsiteX6" fmla="*/ 206549 w 254196"/>
                  <a:gd name="connsiteY6" fmla="*/ 144486 h 221274"/>
                  <a:gd name="connsiteX7" fmla="*/ 195492 w 254196"/>
                  <a:gd name="connsiteY7" fmla="*/ 173895 h 221274"/>
                  <a:gd name="connsiteX8" fmla="*/ 172182 w 254196"/>
                  <a:gd name="connsiteY8" fmla="*/ 161926 h 221274"/>
                  <a:gd name="connsiteX9" fmla="*/ 162891 w 254196"/>
                  <a:gd name="connsiteY9" fmla="*/ 165346 h 221274"/>
                  <a:gd name="connsiteX10" fmla="*/ 156223 w 254196"/>
                  <a:gd name="connsiteY10" fmla="*/ 172869 h 221274"/>
                  <a:gd name="connsiteX11" fmla="*/ 148301 w 254196"/>
                  <a:gd name="connsiteY11" fmla="*/ 173667 h 221274"/>
                  <a:gd name="connsiteX12" fmla="*/ 140778 w 254196"/>
                  <a:gd name="connsiteY12" fmla="*/ 186662 h 221274"/>
                  <a:gd name="connsiteX13" fmla="*/ 133539 w 254196"/>
                  <a:gd name="connsiteY13" fmla="*/ 190253 h 221274"/>
                  <a:gd name="connsiteX14" fmla="*/ 131145 w 254196"/>
                  <a:gd name="connsiteY14" fmla="*/ 197377 h 221274"/>
                  <a:gd name="connsiteX15" fmla="*/ 119746 w 254196"/>
                  <a:gd name="connsiteY15" fmla="*/ 220973 h 221274"/>
                  <a:gd name="connsiteX16" fmla="*/ 118093 w 254196"/>
                  <a:gd name="connsiteY16" fmla="*/ 220973 h 221274"/>
                  <a:gd name="connsiteX17" fmla="*/ 58249 w 254196"/>
                  <a:gd name="connsiteY17" fmla="*/ 197491 h 221274"/>
                  <a:gd name="connsiteX18" fmla="*/ 44057 w 254196"/>
                  <a:gd name="connsiteY18" fmla="*/ 182102 h 221274"/>
                  <a:gd name="connsiteX19" fmla="*/ 21830 w 254196"/>
                  <a:gd name="connsiteY19" fmla="*/ 173724 h 221274"/>
                  <a:gd name="connsiteX20" fmla="*/ 6213 w 254196"/>
                  <a:gd name="connsiteY20" fmla="*/ 170476 h 221274"/>
                  <a:gd name="connsiteX21" fmla="*/ 4674 w 254196"/>
                  <a:gd name="connsiteY21" fmla="*/ 157880 h 221274"/>
                  <a:gd name="connsiteX22" fmla="*/ 2793 w 254196"/>
                  <a:gd name="connsiteY22" fmla="*/ 116387 h 221274"/>
                  <a:gd name="connsiteX23" fmla="*/ 21887 w 254196"/>
                  <a:gd name="connsiteY23" fmla="*/ 83844 h 221274"/>
                  <a:gd name="connsiteX24" fmla="*/ 20120 w 254196"/>
                  <a:gd name="connsiteY24" fmla="*/ 75465 h 221274"/>
                  <a:gd name="connsiteX25" fmla="*/ 18353 w 254196"/>
                  <a:gd name="connsiteY25" fmla="*/ 49647 h 221274"/>
                  <a:gd name="connsiteX26" fmla="*/ 19493 w 254196"/>
                  <a:gd name="connsiteY26" fmla="*/ 40698 h 221274"/>
                  <a:gd name="connsiteX27" fmla="*/ 25192 w 254196"/>
                  <a:gd name="connsiteY27" fmla="*/ 30838 h 221274"/>
                  <a:gd name="connsiteX28" fmla="*/ 32373 w 254196"/>
                  <a:gd name="connsiteY28" fmla="*/ 9123 h 221274"/>
                  <a:gd name="connsiteX29" fmla="*/ 43772 w 254196"/>
                  <a:gd name="connsiteY29" fmla="*/ 4564 h 221274"/>
                  <a:gd name="connsiteX30" fmla="*/ 49472 w 254196"/>
                  <a:gd name="connsiteY30" fmla="*/ 916 h 221274"/>
                  <a:gd name="connsiteX31" fmla="*/ 56311 w 254196"/>
                  <a:gd name="connsiteY31" fmla="*/ 61 h 221274"/>
                  <a:gd name="connsiteX32" fmla="*/ 74949 w 254196"/>
                  <a:gd name="connsiteY32" fmla="*/ 61 h 221274"/>
                  <a:gd name="connsiteX33" fmla="*/ 83213 w 254196"/>
                  <a:gd name="connsiteY33" fmla="*/ 1828 h 221274"/>
                  <a:gd name="connsiteX34" fmla="*/ 93529 w 254196"/>
                  <a:gd name="connsiteY34" fmla="*/ 18414 h 221274"/>
                  <a:gd name="connsiteX35" fmla="*/ 102192 w 254196"/>
                  <a:gd name="connsiteY35" fmla="*/ 16533 h 221274"/>
                  <a:gd name="connsiteX36" fmla="*/ 126643 w 254196"/>
                  <a:gd name="connsiteY36" fmla="*/ 18642 h 221274"/>
                  <a:gd name="connsiteX37" fmla="*/ 130233 w 254196"/>
                  <a:gd name="connsiteY37" fmla="*/ 24341 h 221274"/>
                  <a:gd name="connsiteX38" fmla="*/ 136275 w 254196"/>
                  <a:gd name="connsiteY38" fmla="*/ 25538 h 221274"/>
                  <a:gd name="connsiteX39" fmla="*/ 167337 w 254196"/>
                  <a:gd name="connsiteY39" fmla="*/ 14880 h 221274"/>
                  <a:gd name="connsiteX40" fmla="*/ 183581 w 254196"/>
                  <a:gd name="connsiteY40" fmla="*/ 8212 h 221274"/>
                  <a:gd name="connsiteX41" fmla="*/ 191674 w 254196"/>
                  <a:gd name="connsiteY41" fmla="*/ 12087 h 221274"/>
                  <a:gd name="connsiteX42" fmla="*/ 219316 w 254196"/>
                  <a:gd name="connsiteY42" fmla="*/ 10548 h 221274"/>
                  <a:gd name="connsiteX43" fmla="*/ 225016 w 254196"/>
                  <a:gd name="connsiteY43" fmla="*/ 6958 h 221274"/>
                  <a:gd name="connsiteX44" fmla="*/ 245021 w 254196"/>
                  <a:gd name="connsiteY44" fmla="*/ 15621 h 221274"/>
                  <a:gd name="connsiteX45" fmla="*/ 251803 w 254196"/>
                  <a:gd name="connsiteY45" fmla="*/ 24797 h 221274"/>
                  <a:gd name="connsiteX46" fmla="*/ 253399 w 254196"/>
                  <a:gd name="connsiteY46" fmla="*/ 31978 h 22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4196" h="221274">
                    <a:moveTo>
                      <a:pt x="253399" y="31978"/>
                    </a:moveTo>
                    <a:cubicBezTo>
                      <a:pt x="253912" y="37678"/>
                      <a:pt x="254140" y="43377"/>
                      <a:pt x="254197" y="49077"/>
                    </a:cubicBezTo>
                    <a:cubicBezTo>
                      <a:pt x="252584" y="50274"/>
                      <a:pt x="251227" y="51790"/>
                      <a:pt x="250207" y="53522"/>
                    </a:cubicBezTo>
                    <a:cubicBezTo>
                      <a:pt x="245106" y="61057"/>
                      <a:pt x="240786" y="69099"/>
                      <a:pt x="237327" y="77517"/>
                    </a:cubicBezTo>
                    <a:cubicBezTo>
                      <a:pt x="234933" y="83786"/>
                      <a:pt x="233565" y="90341"/>
                      <a:pt x="231171" y="96610"/>
                    </a:cubicBezTo>
                    <a:cubicBezTo>
                      <a:pt x="229131" y="101723"/>
                      <a:pt x="226754" y="106693"/>
                      <a:pt x="224047" y="111486"/>
                    </a:cubicBezTo>
                    <a:lnTo>
                      <a:pt x="206549" y="144486"/>
                    </a:lnTo>
                    <a:cubicBezTo>
                      <a:pt x="201004" y="153485"/>
                      <a:pt x="197248" y="163471"/>
                      <a:pt x="195492" y="173895"/>
                    </a:cubicBezTo>
                    <a:cubicBezTo>
                      <a:pt x="186658" y="175491"/>
                      <a:pt x="181073" y="163294"/>
                      <a:pt x="172182" y="161926"/>
                    </a:cubicBezTo>
                    <a:cubicBezTo>
                      <a:pt x="168716" y="161493"/>
                      <a:pt x="165251" y="162764"/>
                      <a:pt x="162891" y="165346"/>
                    </a:cubicBezTo>
                    <a:cubicBezTo>
                      <a:pt x="160669" y="167911"/>
                      <a:pt x="159472" y="171672"/>
                      <a:pt x="156223" y="172869"/>
                    </a:cubicBezTo>
                    <a:cubicBezTo>
                      <a:pt x="152974" y="174066"/>
                      <a:pt x="150523" y="172869"/>
                      <a:pt x="148301" y="173667"/>
                    </a:cubicBezTo>
                    <a:cubicBezTo>
                      <a:pt x="143570" y="175719"/>
                      <a:pt x="144824" y="183470"/>
                      <a:pt x="140778" y="186662"/>
                    </a:cubicBezTo>
                    <a:cubicBezTo>
                      <a:pt x="138669" y="188315"/>
                      <a:pt x="135477" y="188315"/>
                      <a:pt x="133539" y="190253"/>
                    </a:cubicBezTo>
                    <a:cubicBezTo>
                      <a:pt x="132023" y="192322"/>
                      <a:pt x="131191" y="194812"/>
                      <a:pt x="131145" y="197377"/>
                    </a:cubicBezTo>
                    <a:cubicBezTo>
                      <a:pt x="129721" y="205983"/>
                      <a:pt x="123850" y="213108"/>
                      <a:pt x="119746" y="220973"/>
                    </a:cubicBezTo>
                    <a:lnTo>
                      <a:pt x="118093" y="220973"/>
                    </a:lnTo>
                    <a:cubicBezTo>
                      <a:pt x="95552" y="223048"/>
                      <a:pt x="73364" y="214339"/>
                      <a:pt x="58249" y="197491"/>
                    </a:cubicBezTo>
                    <a:cubicBezTo>
                      <a:pt x="54077" y="191871"/>
                      <a:pt x="49324" y="186713"/>
                      <a:pt x="44057" y="182102"/>
                    </a:cubicBezTo>
                    <a:cubicBezTo>
                      <a:pt x="37303" y="177805"/>
                      <a:pt x="29734" y="174955"/>
                      <a:pt x="21830" y="173724"/>
                    </a:cubicBezTo>
                    <a:cubicBezTo>
                      <a:pt x="16700" y="172527"/>
                      <a:pt x="11456" y="171387"/>
                      <a:pt x="6213" y="170476"/>
                    </a:cubicBezTo>
                    <a:cubicBezTo>
                      <a:pt x="5956" y="166252"/>
                      <a:pt x="5444" y="162046"/>
                      <a:pt x="4674" y="157880"/>
                    </a:cubicBezTo>
                    <a:cubicBezTo>
                      <a:pt x="1995" y="144030"/>
                      <a:pt x="-3248" y="129382"/>
                      <a:pt x="2793" y="116387"/>
                    </a:cubicBezTo>
                    <a:cubicBezTo>
                      <a:pt x="8493" y="104989"/>
                      <a:pt x="22627" y="96667"/>
                      <a:pt x="21887" y="83844"/>
                    </a:cubicBezTo>
                    <a:cubicBezTo>
                      <a:pt x="21556" y="81005"/>
                      <a:pt x="20963" y="78195"/>
                      <a:pt x="20120" y="75465"/>
                    </a:cubicBezTo>
                    <a:cubicBezTo>
                      <a:pt x="18387" y="66973"/>
                      <a:pt x="17794" y="58293"/>
                      <a:pt x="18353" y="49647"/>
                    </a:cubicBezTo>
                    <a:cubicBezTo>
                      <a:pt x="18244" y="46620"/>
                      <a:pt x="18626" y="43600"/>
                      <a:pt x="19493" y="40698"/>
                    </a:cubicBezTo>
                    <a:cubicBezTo>
                      <a:pt x="20974" y="37188"/>
                      <a:pt x="22889" y="33876"/>
                      <a:pt x="25192" y="30838"/>
                    </a:cubicBezTo>
                    <a:cubicBezTo>
                      <a:pt x="29501" y="24381"/>
                      <a:pt x="31980" y="16875"/>
                      <a:pt x="32373" y="9123"/>
                    </a:cubicBezTo>
                    <a:cubicBezTo>
                      <a:pt x="36494" y="8582"/>
                      <a:pt x="40415" y="7015"/>
                      <a:pt x="43772" y="4564"/>
                    </a:cubicBezTo>
                    <a:cubicBezTo>
                      <a:pt x="45528" y="3133"/>
                      <a:pt x="47437" y="1908"/>
                      <a:pt x="49472" y="916"/>
                    </a:cubicBezTo>
                    <a:cubicBezTo>
                      <a:pt x="51678" y="204"/>
                      <a:pt x="53997" y="-87"/>
                      <a:pt x="56311" y="61"/>
                    </a:cubicBezTo>
                    <a:lnTo>
                      <a:pt x="74949" y="61"/>
                    </a:lnTo>
                    <a:cubicBezTo>
                      <a:pt x="77821" y="-207"/>
                      <a:pt x="80705" y="409"/>
                      <a:pt x="83213" y="1828"/>
                    </a:cubicBezTo>
                    <a:cubicBezTo>
                      <a:pt x="88912" y="5761"/>
                      <a:pt x="87145" y="16419"/>
                      <a:pt x="93529" y="18414"/>
                    </a:cubicBezTo>
                    <a:cubicBezTo>
                      <a:pt x="96550" y="18892"/>
                      <a:pt x="99639" y="18220"/>
                      <a:pt x="102192" y="16533"/>
                    </a:cubicBezTo>
                    <a:cubicBezTo>
                      <a:pt x="110285" y="12657"/>
                      <a:pt x="121912" y="10833"/>
                      <a:pt x="126643" y="18642"/>
                    </a:cubicBezTo>
                    <a:cubicBezTo>
                      <a:pt x="127840" y="20522"/>
                      <a:pt x="128466" y="22859"/>
                      <a:pt x="130233" y="24341"/>
                    </a:cubicBezTo>
                    <a:cubicBezTo>
                      <a:pt x="132046" y="25430"/>
                      <a:pt x="134183" y="25851"/>
                      <a:pt x="136275" y="25538"/>
                    </a:cubicBezTo>
                    <a:cubicBezTo>
                      <a:pt x="147395" y="24808"/>
                      <a:pt x="158115" y="21127"/>
                      <a:pt x="167337" y="14880"/>
                    </a:cubicBezTo>
                    <a:cubicBezTo>
                      <a:pt x="172295" y="11460"/>
                      <a:pt x="177653" y="7072"/>
                      <a:pt x="183581" y="8212"/>
                    </a:cubicBezTo>
                    <a:cubicBezTo>
                      <a:pt x="186459" y="9084"/>
                      <a:pt x="189189" y="10389"/>
                      <a:pt x="191674" y="12087"/>
                    </a:cubicBezTo>
                    <a:cubicBezTo>
                      <a:pt x="200485" y="16630"/>
                      <a:pt x="211063" y="16043"/>
                      <a:pt x="219316" y="10548"/>
                    </a:cubicBezTo>
                    <a:cubicBezTo>
                      <a:pt x="221083" y="9152"/>
                      <a:pt x="222992" y="7944"/>
                      <a:pt x="225016" y="6958"/>
                    </a:cubicBezTo>
                    <a:cubicBezTo>
                      <a:pt x="232197" y="4051"/>
                      <a:pt x="239606" y="10092"/>
                      <a:pt x="245021" y="15621"/>
                    </a:cubicBezTo>
                    <a:cubicBezTo>
                      <a:pt x="247870" y="18197"/>
                      <a:pt x="250173" y="21320"/>
                      <a:pt x="251803" y="24797"/>
                    </a:cubicBezTo>
                    <a:cubicBezTo>
                      <a:pt x="252664" y="27105"/>
                      <a:pt x="253199" y="29522"/>
                      <a:pt x="253399" y="3197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4" name="Freihandform: Form 330">
                <a:extLst>
                  <a:ext uri="{FF2B5EF4-FFF2-40B4-BE49-F238E27FC236}">
                    <a16:creationId xmlns:a16="http://schemas.microsoft.com/office/drawing/2014/main" id="{4D4205D2-F5D5-807F-6D21-E5AB7AE5B63E}"/>
                  </a:ext>
                </a:extLst>
              </p:cNvPr>
              <p:cNvSpPr/>
              <p:nvPr/>
            </p:nvSpPr>
            <p:spPr>
              <a:xfrm>
                <a:off x="3796748" y="3964157"/>
                <a:ext cx="57380" cy="133509"/>
              </a:xfrm>
              <a:custGeom>
                <a:avLst/>
                <a:gdLst>
                  <a:gd name="connsiteX0" fmla="*/ 48747 w 57380"/>
                  <a:gd name="connsiteY0" fmla="*/ 2707 h 133509"/>
                  <a:gd name="connsiteX1" fmla="*/ 54446 w 57380"/>
                  <a:gd name="connsiteY1" fmla="*/ 5158 h 133509"/>
                  <a:gd name="connsiteX2" fmla="*/ 53820 w 57380"/>
                  <a:gd name="connsiteY2" fmla="*/ 12282 h 133509"/>
                  <a:gd name="connsiteX3" fmla="*/ 55586 w 57380"/>
                  <a:gd name="connsiteY3" fmla="*/ 38101 h 133509"/>
                  <a:gd name="connsiteX4" fmla="*/ 57353 w 57380"/>
                  <a:gd name="connsiteY4" fmla="*/ 46479 h 133509"/>
                  <a:gd name="connsiteX5" fmla="*/ 38260 w 57380"/>
                  <a:gd name="connsiteY5" fmla="*/ 79023 h 133509"/>
                  <a:gd name="connsiteX6" fmla="*/ 40141 w 57380"/>
                  <a:gd name="connsiteY6" fmla="*/ 120515 h 133509"/>
                  <a:gd name="connsiteX7" fmla="*/ 41680 w 57380"/>
                  <a:gd name="connsiteY7" fmla="*/ 133111 h 133509"/>
                  <a:gd name="connsiteX8" fmla="*/ 13182 w 57380"/>
                  <a:gd name="connsiteY8" fmla="*/ 132712 h 133509"/>
                  <a:gd name="connsiteX9" fmla="*/ 10162 w 57380"/>
                  <a:gd name="connsiteY9" fmla="*/ 133510 h 133509"/>
                  <a:gd name="connsiteX10" fmla="*/ 18426 w 57380"/>
                  <a:gd name="connsiteY10" fmla="*/ 77142 h 133509"/>
                  <a:gd name="connsiteX11" fmla="*/ 17400 w 57380"/>
                  <a:gd name="connsiteY11" fmla="*/ 69676 h 133509"/>
                  <a:gd name="connsiteX12" fmla="*/ 12612 w 57380"/>
                  <a:gd name="connsiteY12" fmla="*/ 61867 h 133509"/>
                  <a:gd name="connsiteX13" fmla="*/ 188 w 57380"/>
                  <a:gd name="connsiteY13" fmla="*/ 37645 h 133509"/>
                  <a:gd name="connsiteX14" fmla="*/ 10732 w 57380"/>
                  <a:gd name="connsiteY14" fmla="*/ 24365 h 133509"/>
                  <a:gd name="connsiteX15" fmla="*/ 26462 w 57380"/>
                  <a:gd name="connsiteY15" fmla="*/ 16785 h 133509"/>
                  <a:gd name="connsiteX16" fmla="*/ 29939 w 57380"/>
                  <a:gd name="connsiteY16" fmla="*/ 14163 h 133509"/>
                  <a:gd name="connsiteX17" fmla="*/ 34555 w 57380"/>
                  <a:gd name="connsiteY17" fmla="*/ 1738 h 133509"/>
                  <a:gd name="connsiteX18" fmla="*/ 48747 w 57380"/>
                  <a:gd name="connsiteY18" fmla="*/ 2707 h 1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380" h="133509">
                    <a:moveTo>
                      <a:pt x="48747" y="2707"/>
                    </a:moveTo>
                    <a:lnTo>
                      <a:pt x="54446" y="5158"/>
                    </a:lnTo>
                    <a:cubicBezTo>
                      <a:pt x="54008" y="7506"/>
                      <a:pt x="53797" y="9894"/>
                      <a:pt x="53820" y="12282"/>
                    </a:cubicBezTo>
                    <a:cubicBezTo>
                      <a:pt x="53261" y="20928"/>
                      <a:pt x="53854" y="29608"/>
                      <a:pt x="55586" y="38101"/>
                    </a:cubicBezTo>
                    <a:cubicBezTo>
                      <a:pt x="56430" y="40831"/>
                      <a:pt x="57023" y="43641"/>
                      <a:pt x="57353" y="46479"/>
                    </a:cubicBezTo>
                    <a:cubicBezTo>
                      <a:pt x="58094" y="59303"/>
                      <a:pt x="43788" y="67396"/>
                      <a:pt x="38260" y="79023"/>
                    </a:cubicBezTo>
                    <a:cubicBezTo>
                      <a:pt x="32219" y="91790"/>
                      <a:pt x="37462" y="106665"/>
                      <a:pt x="40141" y="120515"/>
                    </a:cubicBezTo>
                    <a:cubicBezTo>
                      <a:pt x="40910" y="124681"/>
                      <a:pt x="41423" y="128888"/>
                      <a:pt x="41680" y="133111"/>
                    </a:cubicBezTo>
                    <a:cubicBezTo>
                      <a:pt x="32287" y="131230"/>
                      <a:pt x="22626" y="131093"/>
                      <a:pt x="13182" y="132712"/>
                    </a:cubicBezTo>
                    <a:lnTo>
                      <a:pt x="10162" y="133510"/>
                    </a:lnTo>
                    <a:cubicBezTo>
                      <a:pt x="12726" y="114645"/>
                      <a:pt x="18882" y="96121"/>
                      <a:pt x="18426" y="77142"/>
                    </a:cubicBezTo>
                    <a:cubicBezTo>
                      <a:pt x="18460" y="74617"/>
                      <a:pt x="18112" y="72098"/>
                      <a:pt x="17400" y="69676"/>
                    </a:cubicBezTo>
                    <a:cubicBezTo>
                      <a:pt x="16317" y="66792"/>
                      <a:pt x="14693" y="64141"/>
                      <a:pt x="12612" y="61867"/>
                    </a:cubicBezTo>
                    <a:cubicBezTo>
                      <a:pt x="6913" y="54629"/>
                      <a:pt x="-1351" y="46935"/>
                      <a:pt x="188" y="37645"/>
                    </a:cubicBezTo>
                    <a:cubicBezTo>
                      <a:pt x="1584" y="31882"/>
                      <a:pt x="5437" y="27027"/>
                      <a:pt x="10732" y="24365"/>
                    </a:cubicBezTo>
                    <a:cubicBezTo>
                      <a:pt x="15747" y="21401"/>
                      <a:pt x="21390" y="19577"/>
                      <a:pt x="26462" y="16785"/>
                    </a:cubicBezTo>
                    <a:cubicBezTo>
                      <a:pt x="27790" y="16163"/>
                      <a:pt x="28976" y="15269"/>
                      <a:pt x="29939" y="14163"/>
                    </a:cubicBezTo>
                    <a:cubicBezTo>
                      <a:pt x="32731" y="10686"/>
                      <a:pt x="31421" y="4987"/>
                      <a:pt x="34555" y="1738"/>
                    </a:cubicBezTo>
                    <a:cubicBezTo>
                      <a:pt x="37690" y="-1511"/>
                      <a:pt x="44130" y="370"/>
                      <a:pt x="48747" y="270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5" name="Freihandform: Form 331">
                <a:extLst>
                  <a:ext uri="{FF2B5EF4-FFF2-40B4-BE49-F238E27FC236}">
                    <a16:creationId xmlns:a16="http://schemas.microsoft.com/office/drawing/2014/main" id="{77CC4121-5D8C-46B6-E1BC-356B07698C98}"/>
                  </a:ext>
                </a:extLst>
              </p:cNvPr>
              <p:cNvSpPr/>
              <p:nvPr/>
            </p:nvSpPr>
            <p:spPr>
              <a:xfrm>
                <a:off x="3771930" y="3995290"/>
                <a:ext cx="43153" cy="110184"/>
              </a:xfrm>
              <a:custGeom>
                <a:avLst/>
                <a:gdLst>
                  <a:gd name="connsiteX0" fmla="*/ 25860 w 43153"/>
                  <a:gd name="connsiteY0" fmla="*/ 3319 h 110184"/>
                  <a:gd name="connsiteX1" fmla="*/ 24891 w 43153"/>
                  <a:gd name="connsiteY1" fmla="*/ 6511 h 110184"/>
                  <a:gd name="connsiteX2" fmla="*/ 37316 w 43153"/>
                  <a:gd name="connsiteY2" fmla="*/ 30734 h 110184"/>
                  <a:gd name="connsiteX3" fmla="*/ 42104 w 43153"/>
                  <a:gd name="connsiteY3" fmla="*/ 38542 h 110184"/>
                  <a:gd name="connsiteX4" fmla="*/ 43130 w 43153"/>
                  <a:gd name="connsiteY4" fmla="*/ 46008 h 110184"/>
                  <a:gd name="connsiteX5" fmla="*/ 34865 w 43153"/>
                  <a:gd name="connsiteY5" fmla="*/ 102376 h 110184"/>
                  <a:gd name="connsiteX6" fmla="*/ 17026 w 43153"/>
                  <a:gd name="connsiteY6" fmla="*/ 108645 h 110184"/>
                  <a:gd name="connsiteX7" fmla="*/ 12923 w 43153"/>
                  <a:gd name="connsiteY7" fmla="*/ 110184 h 110184"/>
                  <a:gd name="connsiteX8" fmla="*/ 14746 w 43153"/>
                  <a:gd name="connsiteY8" fmla="*/ 75646 h 110184"/>
                  <a:gd name="connsiteX9" fmla="*/ 12182 w 43153"/>
                  <a:gd name="connsiteY9" fmla="*/ 63734 h 110184"/>
                  <a:gd name="connsiteX10" fmla="*/ 6482 w 43153"/>
                  <a:gd name="connsiteY10" fmla="*/ 58034 h 110184"/>
                  <a:gd name="connsiteX11" fmla="*/ 5171 w 43153"/>
                  <a:gd name="connsiteY11" fmla="*/ 50169 h 110184"/>
                  <a:gd name="connsiteX12" fmla="*/ 441 w 43153"/>
                  <a:gd name="connsiteY12" fmla="*/ 4573 h 110184"/>
                  <a:gd name="connsiteX13" fmla="*/ 1244 w 43153"/>
                  <a:gd name="connsiteY13" fmla="*/ 789 h 110184"/>
                  <a:gd name="connsiteX14" fmla="*/ 2948 w 43153"/>
                  <a:gd name="connsiteY14" fmla="*/ 355 h 110184"/>
                  <a:gd name="connsiteX15" fmla="*/ 25860 w 43153"/>
                  <a:gd name="connsiteY15" fmla="*/ 3319 h 11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53" h="110184">
                    <a:moveTo>
                      <a:pt x="25860" y="3319"/>
                    </a:moveTo>
                    <a:cubicBezTo>
                      <a:pt x="25393" y="4334"/>
                      <a:pt x="25068" y="5405"/>
                      <a:pt x="24891" y="6511"/>
                    </a:cubicBezTo>
                    <a:cubicBezTo>
                      <a:pt x="23352" y="15801"/>
                      <a:pt x="31332" y="23609"/>
                      <a:pt x="37316" y="30734"/>
                    </a:cubicBezTo>
                    <a:cubicBezTo>
                      <a:pt x="39396" y="33008"/>
                      <a:pt x="41021" y="35658"/>
                      <a:pt x="42104" y="38542"/>
                    </a:cubicBezTo>
                    <a:cubicBezTo>
                      <a:pt x="42822" y="40964"/>
                      <a:pt x="43164" y="43483"/>
                      <a:pt x="43130" y="46008"/>
                    </a:cubicBezTo>
                    <a:cubicBezTo>
                      <a:pt x="43585" y="64988"/>
                      <a:pt x="37430" y="83511"/>
                      <a:pt x="34865" y="102376"/>
                    </a:cubicBezTo>
                    <a:cubicBezTo>
                      <a:pt x="28807" y="104126"/>
                      <a:pt x="22845" y="106217"/>
                      <a:pt x="17026" y="108645"/>
                    </a:cubicBezTo>
                    <a:lnTo>
                      <a:pt x="12923" y="110184"/>
                    </a:lnTo>
                    <a:cubicBezTo>
                      <a:pt x="14233" y="98785"/>
                      <a:pt x="14461" y="87386"/>
                      <a:pt x="14746" y="75646"/>
                    </a:cubicBezTo>
                    <a:cubicBezTo>
                      <a:pt x="15271" y="71496"/>
                      <a:pt x="14364" y="67296"/>
                      <a:pt x="12182" y="63734"/>
                    </a:cubicBezTo>
                    <a:cubicBezTo>
                      <a:pt x="10415" y="61511"/>
                      <a:pt x="7679" y="60257"/>
                      <a:pt x="6482" y="58034"/>
                    </a:cubicBezTo>
                    <a:cubicBezTo>
                      <a:pt x="5308" y="55589"/>
                      <a:pt x="4852" y="52865"/>
                      <a:pt x="5171" y="50169"/>
                    </a:cubicBezTo>
                    <a:cubicBezTo>
                      <a:pt x="5354" y="34837"/>
                      <a:pt x="3763" y="19540"/>
                      <a:pt x="441" y="4573"/>
                    </a:cubicBezTo>
                    <a:cubicBezTo>
                      <a:pt x="-380" y="3308"/>
                      <a:pt x="-21" y="1609"/>
                      <a:pt x="1244" y="789"/>
                    </a:cubicBezTo>
                    <a:cubicBezTo>
                      <a:pt x="1751" y="458"/>
                      <a:pt x="2350" y="310"/>
                      <a:pt x="2948" y="355"/>
                    </a:cubicBezTo>
                    <a:cubicBezTo>
                      <a:pt x="10711" y="-613"/>
                      <a:pt x="18599" y="407"/>
                      <a:pt x="25860" y="3319"/>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16" name="Freihandform: Form 332">
                <a:extLst>
                  <a:ext uri="{FF2B5EF4-FFF2-40B4-BE49-F238E27FC236}">
                    <a16:creationId xmlns:a16="http://schemas.microsoft.com/office/drawing/2014/main" id="{A74FFE30-AE52-9269-0961-66162058A92A}"/>
                  </a:ext>
                </a:extLst>
              </p:cNvPr>
              <p:cNvSpPr/>
              <p:nvPr/>
            </p:nvSpPr>
            <p:spPr>
              <a:xfrm>
                <a:off x="3699288" y="3995368"/>
                <a:ext cx="87248" cy="126520"/>
              </a:xfrm>
              <a:custGeom>
                <a:avLst/>
                <a:gdLst>
                  <a:gd name="connsiteX0" fmla="*/ 68865 w 87248"/>
                  <a:gd name="connsiteY0" fmla="*/ 2728 h 126520"/>
                  <a:gd name="connsiteX1" fmla="*/ 72855 w 87248"/>
                  <a:gd name="connsiteY1" fmla="*/ 4495 h 126520"/>
                  <a:gd name="connsiteX2" fmla="*/ 77529 w 87248"/>
                  <a:gd name="connsiteY2" fmla="*/ 50091 h 126520"/>
                  <a:gd name="connsiteX3" fmla="*/ 78840 w 87248"/>
                  <a:gd name="connsiteY3" fmla="*/ 57956 h 126520"/>
                  <a:gd name="connsiteX4" fmla="*/ 84539 w 87248"/>
                  <a:gd name="connsiteY4" fmla="*/ 63656 h 126520"/>
                  <a:gd name="connsiteX5" fmla="*/ 87104 w 87248"/>
                  <a:gd name="connsiteY5" fmla="*/ 75568 h 126520"/>
                  <a:gd name="connsiteX6" fmla="*/ 85280 w 87248"/>
                  <a:gd name="connsiteY6" fmla="*/ 110106 h 126520"/>
                  <a:gd name="connsiteX7" fmla="*/ 6285 w 87248"/>
                  <a:gd name="connsiteY7" fmla="*/ 126521 h 126520"/>
                  <a:gd name="connsiteX8" fmla="*/ 2581 w 87248"/>
                  <a:gd name="connsiteY8" fmla="*/ 109935 h 126520"/>
                  <a:gd name="connsiteX9" fmla="*/ 1099 w 87248"/>
                  <a:gd name="connsiteY9" fmla="*/ 100588 h 126520"/>
                  <a:gd name="connsiteX10" fmla="*/ 4005 w 87248"/>
                  <a:gd name="connsiteY10" fmla="*/ 98935 h 126520"/>
                  <a:gd name="connsiteX11" fmla="*/ 10218 w 87248"/>
                  <a:gd name="connsiteY11" fmla="*/ 79101 h 126520"/>
                  <a:gd name="connsiteX12" fmla="*/ 13809 w 87248"/>
                  <a:gd name="connsiteY12" fmla="*/ 75055 h 126520"/>
                  <a:gd name="connsiteX13" fmla="*/ 17114 w 87248"/>
                  <a:gd name="connsiteY13" fmla="*/ 62060 h 126520"/>
                  <a:gd name="connsiteX14" fmla="*/ 15062 w 87248"/>
                  <a:gd name="connsiteY14" fmla="*/ 10422 h 126520"/>
                  <a:gd name="connsiteX15" fmla="*/ 17855 w 87248"/>
                  <a:gd name="connsiteY15" fmla="*/ 3811 h 126520"/>
                  <a:gd name="connsiteX16" fmla="*/ 31534 w 87248"/>
                  <a:gd name="connsiteY16" fmla="*/ 277 h 126520"/>
                  <a:gd name="connsiteX17" fmla="*/ 59290 w 87248"/>
                  <a:gd name="connsiteY17" fmla="*/ 1417 h 126520"/>
                  <a:gd name="connsiteX18" fmla="*/ 68865 w 87248"/>
                  <a:gd name="connsiteY18" fmla="*/ 2728 h 12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248" h="126520">
                    <a:moveTo>
                      <a:pt x="68865" y="2728"/>
                    </a:moveTo>
                    <a:cubicBezTo>
                      <a:pt x="70239" y="3213"/>
                      <a:pt x="71573" y="3800"/>
                      <a:pt x="72855" y="4495"/>
                    </a:cubicBezTo>
                    <a:cubicBezTo>
                      <a:pt x="76132" y="19468"/>
                      <a:pt x="77700" y="34765"/>
                      <a:pt x="77529" y="50091"/>
                    </a:cubicBezTo>
                    <a:cubicBezTo>
                      <a:pt x="77210" y="52787"/>
                      <a:pt x="77665" y="55511"/>
                      <a:pt x="78840" y="57956"/>
                    </a:cubicBezTo>
                    <a:cubicBezTo>
                      <a:pt x="80321" y="60350"/>
                      <a:pt x="83057" y="61604"/>
                      <a:pt x="84539" y="63656"/>
                    </a:cubicBezTo>
                    <a:cubicBezTo>
                      <a:pt x="86722" y="67218"/>
                      <a:pt x="87628" y="71418"/>
                      <a:pt x="87104" y="75568"/>
                    </a:cubicBezTo>
                    <a:cubicBezTo>
                      <a:pt x="86819" y="86966"/>
                      <a:pt x="86591" y="98650"/>
                      <a:pt x="85280" y="110106"/>
                    </a:cubicBezTo>
                    <a:cubicBezTo>
                      <a:pt x="59895" y="119425"/>
                      <a:pt x="33278" y="124953"/>
                      <a:pt x="6285" y="126521"/>
                    </a:cubicBezTo>
                    <a:cubicBezTo>
                      <a:pt x="6701" y="120747"/>
                      <a:pt x="5413" y="114979"/>
                      <a:pt x="2581" y="109935"/>
                    </a:cubicBezTo>
                    <a:cubicBezTo>
                      <a:pt x="814" y="107029"/>
                      <a:pt x="-1352" y="102982"/>
                      <a:pt x="1099" y="100588"/>
                    </a:cubicBezTo>
                    <a:cubicBezTo>
                      <a:pt x="2005" y="99939"/>
                      <a:pt x="2980" y="99386"/>
                      <a:pt x="4005" y="98935"/>
                    </a:cubicBezTo>
                    <a:cubicBezTo>
                      <a:pt x="10104" y="95174"/>
                      <a:pt x="6228" y="85029"/>
                      <a:pt x="10218" y="79101"/>
                    </a:cubicBezTo>
                    <a:cubicBezTo>
                      <a:pt x="11244" y="77619"/>
                      <a:pt x="12726" y="76479"/>
                      <a:pt x="13809" y="75055"/>
                    </a:cubicBezTo>
                    <a:cubicBezTo>
                      <a:pt x="16391" y="71242"/>
                      <a:pt x="17559" y="66642"/>
                      <a:pt x="17114" y="62060"/>
                    </a:cubicBezTo>
                    <a:cubicBezTo>
                      <a:pt x="17114" y="44961"/>
                      <a:pt x="11415" y="27407"/>
                      <a:pt x="15062" y="10422"/>
                    </a:cubicBezTo>
                    <a:cubicBezTo>
                      <a:pt x="15427" y="8023"/>
                      <a:pt x="16391" y="5749"/>
                      <a:pt x="17855" y="3811"/>
                    </a:cubicBezTo>
                    <a:cubicBezTo>
                      <a:pt x="21668" y="676"/>
                      <a:pt x="26678" y="-617"/>
                      <a:pt x="31534" y="277"/>
                    </a:cubicBezTo>
                    <a:lnTo>
                      <a:pt x="59290" y="1417"/>
                    </a:lnTo>
                    <a:cubicBezTo>
                      <a:pt x="62528" y="1395"/>
                      <a:pt x="65754" y="1833"/>
                      <a:pt x="68865" y="272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7" name="Freihandform: Form 333">
                <a:extLst>
                  <a:ext uri="{FF2B5EF4-FFF2-40B4-BE49-F238E27FC236}">
                    <a16:creationId xmlns:a16="http://schemas.microsoft.com/office/drawing/2014/main" id="{95F8CFA4-446F-7C66-9D20-2D8DBDB4C284}"/>
                  </a:ext>
                </a:extLst>
              </p:cNvPr>
              <p:cNvSpPr/>
              <p:nvPr/>
            </p:nvSpPr>
            <p:spPr>
              <a:xfrm>
                <a:off x="3584318" y="4007643"/>
                <a:ext cx="132461" cy="130318"/>
              </a:xfrm>
              <a:custGeom>
                <a:avLst/>
                <a:gdLst>
                  <a:gd name="connsiteX0" fmla="*/ 129349 w 132461"/>
                  <a:gd name="connsiteY0" fmla="*/ 15132 h 130318"/>
                  <a:gd name="connsiteX1" fmla="*/ 132370 w 132461"/>
                  <a:gd name="connsiteY1" fmla="*/ 49785 h 130318"/>
                  <a:gd name="connsiteX2" fmla="*/ 129064 w 132461"/>
                  <a:gd name="connsiteY2" fmla="*/ 62780 h 130318"/>
                  <a:gd name="connsiteX3" fmla="*/ 125473 w 132461"/>
                  <a:gd name="connsiteY3" fmla="*/ 66826 h 130318"/>
                  <a:gd name="connsiteX4" fmla="*/ 119261 w 132461"/>
                  <a:gd name="connsiteY4" fmla="*/ 86660 h 130318"/>
                  <a:gd name="connsiteX5" fmla="*/ 116354 w 132461"/>
                  <a:gd name="connsiteY5" fmla="*/ 88313 h 130318"/>
                  <a:gd name="connsiteX6" fmla="*/ 117836 w 132461"/>
                  <a:gd name="connsiteY6" fmla="*/ 97660 h 130318"/>
                  <a:gd name="connsiteX7" fmla="*/ 121540 w 132461"/>
                  <a:gd name="connsiteY7" fmla="*/ 114246 h 130318"/>
                  <a:gd name="connsiteX8" fmla="*/ 112364 w 132461"/>
                  <a:gd name="connsiteY8" fmla="*/ 114645 h 130318"/>
                  <a:gd name="connsiteX9" fmla="*/ 39810 w 132461"/>
                  <a:gd name="connsiteY9" fmla="*/ 125303 h 130318"/>
                  <a:gd name="connsiteX10" fmla="*/ 30862 w 132461"/>
                  <a:gd name="connsiteY10" fmla="*/ 130318 h 130318"/>
                  <a:gd name="connsiteX11" fmla="*/ 29665 w 132461"/>
                  <a:gd name="connsiteY11" fmla="*/ 127526 h 130318"/>
                  <a:gd name="connsiteX12" fmla="*/ 26359 w 132461"/>
                  <a:gd name="connsiteY12" fmla="*/ 123251 h 130318"/>
                  <a:gd name="connsiteX13" fmla="*/ 25903 w 132461"/>
                  <a:gd name="connsiteY13" fmla="*/ 116241 h 130318"/>
                  <a:gd name="connsiteX14" fmla="*/ 19406 w 132461"/>
                  <a:gd name="connsiteY14" fmla="*/ 108546 h 130318"/>
                  <a:gd name="connsiteX15" fmla="*/ 10173 w 132461"/>
                  <a:gd name="connsiteY15" fmla="*/ 103645 h 130318"/>
                  <a:gd name="connsiteX16" fmla="*/ 4473 w 132461"/>
                  <a:gd name="connsiteY16" fmla="*/ 92246 h 130318"/>
                  <a:gd name="connsiteX17" fmla="*/ 4473 w 132461"/>
                  <a:gd name="connsiteY17" fmla="*/ 86546 h 130318"/>
                  <a:gd name="connsiteX18" fmla="*/ 28 w 132461"/>
                  <a:gd name="connsiteY18" fmla="*/ 76116 h 130318"/>
                  <a:gd name="connsiteX19" fmla="*/ 7665 w 132461"/>
                  <a:gd name="connsiteY19" fmla="*/ 64261 h 130318"/>
                  <a:gd name="connsiteX20" fmla="*/ 7038 w 132461"/>
                  <a:gd name="connsiteY20" fmla="*/ 60500 h 130318"/>
                  <a:gd name="connsiteX21" fmla="*/ 17183 w 132461"/>
                  <a:gd name="connsiteY21" fmla="*/ 42034 h 130318"/>
                  <a:gd name="connsiteX22" fmla="*/ 9147 w 132461"/>
                  <a:gd name="connsiteY22" fmla="*/ 15702 h 130318"/>
                  <a:gd name="connsiteX23" fmla="*/ 11598 w 132461"/>
                  <a:gd name="connsiteY23" fmla="*/ 7210 h 130318"/>
                  <a:gd name="connsiteX24" fmla="*/ 15074 w 132461"/>
                  <a:gd name="connsiteY24" fmla="*/ 1966 h 130318"/>
                  <a:gd name="connsiteX25" fmla="*/ 25333 w 132461"/>
                  <a:gd name="connsiteY25" fmla="*/ 2878 h 130318"/>
                  <a:gd name="connsiteX26" fmla="*/ 34338 w 132461"/>
                  <a:gd name="connsiteY26" fmla="*/ 9034 h 130318"/>
                  <a:gd name="connsiteX27" fmla="*/ 47960 w 132461"/>
                  <a:gd name="connsiteY27" fmla="*/ 427 h 130318"/>
                  <a:gd name="connsiteX28" fmla="*/ 54458 w 132461"/>
                  <a:gd name="connsiteY28" fmla="*/ 427 h 130318"/>
                  <a:gd name="connsiteX29" fmla="*/ 57250 w 132461"/>
                  <a:gd name="connsiteY29" fmla="*/ 5614 h 130318"/>
                  <a:gd name="connsiteX30" fmla="*/ 63748 w 132461"/>
                  <a:gd name="connsiteY30" fmla="*/ 1966 h 130318"/>
                  <a:gd name="connsiteX31" fmla="*/ 70416 w 132461"/>
                  <a:gd name="connsiteY31" fmla="*/ 4588 h 130318"/>
                  <a:gd name="connsiteX32" fmla="*/ 72012 w 132461"/>
                  <a:gd name="connsiteY32" fmla="*/ 7096 h 130318"/>
                  <a:gd name="connsiteX33" fmla="*/ 74805 w 132461"/>
                  <a:gd name="connsiteY33" fmla="*/ 7894 h 130318"/>
                  <a:gd name="connsiteX34" fmla="*/ 82727 w 132461"/>
                  <a:gd name="connsiteY34" fmla="*/ 16899 h 130318"/>
                  <a:gd name="connsiteX35" fmla="*/ 91960 w 132461"/>
                  <a:gd name="connsiteY35" fmla="*/ 23795 h 130318"/>
                  <a:gd name="connsiteX36" fmla="*/ 92473 w 132461"/>
                  <a:gd name="connsiteY36" fmla="*/ 17811 h 130318"/>
                  <a:gd name="connsiteX37" fmla="*/ 106209 w 132461"/>
                  <a:gd name="connsiteY37" fmla="*/ 15531 h 130318"/>
                  <a:gd name="connsiteX38" fmla="*/ 129349 w 132461"/>
                  <a:gd name="connsiteY38" fmla="*/ 15132 h 13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2461" h="130318">
                    <a:moveTo>
                      <a:pt x="129349" y="15132"/>
                    </a:moveTo>
                    <a:cubicBezTo>
                      <a:pt x="129919" y="26531"/>
                      <a:pt x="132312" y="38215"/>
                      <a:pt x="132370" y="49785"/>
                    </a:cubicBezTo>
                    <a:cubicBezTo>
                      <a:pt x="132814" y="54367"/>
                      <a:pt x="131646" y="58967"/>
                      <a:pt x="129064" y="62780"/>
                    </a:cubicBezTo>
                    <a:cubicBezTo>
                      <a:pt x="127981" y="64205"/>
                      <a:pt x="126499" y="65344"/>
                      <a:pt x="125473" y="66826"/>
                    </a:cubicBezTo>
                    <a:cubicBezTo>
                      <a:pt x="121483" y="72526"/>
                      <a:pt x="125473" y="82899"/>
                      <a:pt x="119261" y="86660"/>
                    </a:cubicBezTo>
                    <a:cubicBezTo>
                      <a:pt x="118235" y="87111"/>
                      <a:pt x="117260" y="87664"/>
                      <a:pt x="116354" y="88313"/>
                    </a:cubicBezTo>
                    <a:cubicBezTo>
                      <a:pt x="113903" y="90707"/>
                      <a:pt x="116354" y="94754"/>
                      <a:pt x="117836" y="97660"/>
                    </a:cubicBezTo>
                    <a:cubicBezTo>
                      <a:pt x="120669" y="102704"/>
                      <a:pt x="121956" y="108472"/>
                      <a:pt x="121540" y="114246"/>
                    </a:cubicBezTo>
                    <a:cubicBezTo>
                      <a:pt x="118463" y="114246"/>
                      <a:pt x="115385" y="114588"/>
                      <a:pt x="112364" y="114645"/>
                    </a:cubicBezTo>
                    <a:cubicBezTo>
                      <a:pt x="87628" y="115215"/>
                      <a:pt x="61069" y="112821"/>
                      <a:pt x="39810" y="125303"/>
                    </a:cubicBezTo>
                    <a:cubicBezTo>
                      <a:pt x="36915" y="127127"/>
                      <a:pt x="33928" y="128802"/>
                      <a:pt x="30862" y="130318"/>
                    </a:cubicBezTo>
                    <a:cubicBezTo>
                      <a:pt x="30657" y="129315"/>
                      <a:pt x="30246" y="128369"/>
                      <a:pt x="29665" y="127526"/>
                    </a:cubicBezTo>
                    <a:cubicBezTo>
                      <a:pt x="28639" y="126044"/>
                      <a:pt x="27043" y="124961"/>
                      <a:pt x="26359" y="123251"/>
                    </a:cubicBezTo>
                    <a:cubicBezTo>
                      <a:pt x="25675" y="121541"/>
                      <a:pt x="26359" y="118577"/>
                      <a:pt x="25903" y="116241"/>
                    </a:cubicBezTo>
                    <a:cubicBezTo>
                      <a:pt x="25048" y="112804"/>
                      <a:pt x="22649" y="109966"/>
                      <a:pt x="19406" y="108546"/>
                    </a:cubicBezTo>
                    <a:cubicBezTo>
                      <a:pt x="16191" y="107184"/>
                      <a:pt x="13102" y="105549"/>
                      <a:pt x="10173" y="103645"/>
                    </a:cubicBezTo>
                    <a:cubicBezTo>
                      <a:pt x="6622" y="100926"/>
                      <a:pt x="4519" y="96720"/>
                      <a:pt x="4473" y="92246"/>
                    </a:cubicBezTo>
                    <a:cubicBezTo>
                      <a:pt x="4667" y="90354"/>
                      <a:pt x="4667" y="88439"/>
                      <a:pt x="4473" y="86546"/>
                    </a:cubicBezTo>
                    <a:cubicBezTo>
                      <a:pt x="3675" y="82785"/>
                      <a:pt x="-371" y="79935"/>
                      <a:pt x="28" y="76116"/>
                    </a:cubicBezTo>
                    <a:cubicBezTo>
                      <a:pt x="484" y="71329"/>
                      <a:pt x="7494" y="69049"/>
                      <a:pt x="7665" y="64261"/>
                    </a:cubicBezTo>
                    <a:cubicBezTo>
                      <a:pt x="7545" y="62996"/>
                      <a:pt x="7335" y="61737"/>
                      <a:pt x="7038" y="60500"/>
                    </a:cubicBezTo>
                    <a:cubicBezTo>
                      <a:pt x="6183" y="53375"/>
                      <a:pt x="15302" y="49101"/>
                      <a:pt x="17183" y="42034"/>
                    </a:cubicBezTo>
                    <a:cubicBezTo>
                      <a:pt x="19577" y="32971"/>
                      <a:pt x="8862" y="24935"/>
                      <a:pt x="9147" y="15702"/>
                    </a:cubicBezTo>
                    <a:cubicBezTo>
                      <a:pt x="9403" y="12738"/>
                      <a:pt x="10235" y="9854"/>
                      <a:pt x="11598" y="7210"/>
                    </a:cubicBezTo>
                    <a:cubicBezTo>
                      <a:pt x="12242" y="5169"/>
                      <a:pt x="13444" y="3351"/>
                      <a:pt x="15074" y="1966"/>
                    </a:cubicBezTo>
                    <a:cubicBezTo>
                      <a:pt x="18380" y="234"/>
                      <a:pt x="22387" y="593"/>
                      <a:pt x="25333" y="2878"/>
                    </a:cubicBezTo>
                    <a:cubicBezTo>
                      <a:pt x="28160" y="5175"/>
                      <a:pt x="31175" y="7233"/>
                      <a:pt x="34338" y="9034"/>
                    </a:cubicBezTo>
                    <a:cubicBezTo>
                      <a:pt x="35364" y="3334"/>
                      <a:pt x="42318" y="1339"/>
                      <a:pt x="47960" y="427"/>
                    </a:cubicBezTo>
                    <a:cubicBezTo>
                      <a:pt x="50086" y="-142"/>
                      <a:pt x="52332" y="-142"/>
                      <a:pt x="54458" y="427"/>
                    </a:cubicBezTo>
                    <a:cubicBezTo>
                      <a:pt x="56624" y="1134"/>
                      <a:pt x="57849" y="3420"/>
                      <a:pt x="57250" y="5614"/>
                    </a:cubicBezTo>
                    <a:cubicBezTo>
                      <a:pt x="59029" y="3813"/>
                      <a:pt x="61280" y="2548"/>
                      <a:pt x="63748" y="1966"/>
                    </a:cubicBezTo>
                    <a:cubicBezTo>
                      <a:pt x="66295" y="1453"/>
                      <a:pt x="68900" y="2479"/>
                      <a:pt x="70416" y="4588"/>
                    </a:cubicBezTo>
                    <a:cubicBezTo>
                      <a:pt x="70792" y="5511"/>
                      <a:pt x="71334" y="6366"/>
                      <a:pt x="72012" y="7096"/>
                    </a:cubicBezTo>
                    <a:cubicBezTo>
                      <a:pt x="72873" y="7563"/>
                      <a:pt x="73824" y="7837"/>
                      <a:pt x="74805" y="7894"/>
                    </a:cubicBezTo>
                    <a:cubicBezTo>
                      <a:pt x="78794" y="8863"/>
                      <a:pt x="80846" y="13194"/>
                      <a:pt x="82727" y="16899"/>
                    </a:cubicBezTo>
                    <a:cubicBezTo>
                      <a:pt x="84608" y="20603"/>
                      <a:pt x="87914" y="24536"/>
                      <a:pt x="91960" y="23795"/>
                    </a:cubicBezTo>
                    <a:lnTo>
                      <a:pt x="92473" y="17811"/>
                    </a:lnTo>
                    <a:cubicBezTo>
                      <a:pt x="97169" y="18141"/>
                      <a:pt x="101872" y="17360"/>
                      <a:pt x="106209" y="15531"/>
                    </a:cubicBezTo>
                    <a:cubicBezTo>
                      <a:pt x="113812" y="13816"/>
                      <a:pt x="121689" y="13679"/>
                      <a:pt x="129349" y="1513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8" name="Freihandform: Form 334">
                <a:extLst>
                  <a:ext uri="{FF2B5EF4-FFF2-40B4-BE49-F238E27FC236}">
                    <a16:creationId xmlns:a16="http://schemas.microsoft.com/office/drawing/2014/main" id="{B8A68D5C-0B3B-C8BD-11F8-231D04D6BC33}"/>
                  </a:ext>
                </a:extLst>
              </p:cNvPr>
              <p:cNvSpPr/>
              <p:nvPr/>
            </p:nvSpPr>
            <p:spPr>
              <a:xfrm>
                <a:off x="3526724" y="4053346"/>
                <a:ext cx="88797" cy="85812"/>
              </a:xfrm>
              <a:custGeom>
                <a:avLst/>
                <a:gdLst>
                  <a:gd name="connsiteX0" fmla="*/ 55570 w 88797"/>
                  <a:gd name="connsiteY0" fmla="*/ 31040 h 85812"/>
                  <a:gd name="connsiteX1" fmla="*/ 58021 w 88797"/>
                  <a:gd name="connsiteY1" fmla="*/ 31040 h 85812"/>
                  <a:gd name="connsiteX2" fmla="*/ 62409 w 88797"/>
                  <a:gd name="connsiteY2" fmla="*/ 40330 h 85812"/>
                  <a:gd name="connsiteX3" fmla="*/ 62409 w 88797"/>
                  <a:gd name="connsiteY3" fmla="*/ 46030 h 85812"/>
                  <a:gd name="connsiteX4" fmla="*/ 68109 w 88797"/>
                  <a:gd name="connsiteY4" fmla="*/ 57429 h 85812"/>
                  <a:gd name="connsiteX5" fmla="*/ 77342 w 88797"/>
                  <a:gd name="connsiteY5" fmla="*/ 62330 h 85812"/>
                  <a:gd name="connsiteX6" fmla="*/ 83839 w 88797"/>
                  <a:gd name="connsiteY6" fmla="*/ 70025 h 85812"/>
                  <a:gd name="connsiteX7" fmla="*/ 84295 w 88797"/>
                  <a:gd name="connsiteY7" fmla="*/ 77035 h 85812"/>
                  <a:gd name="connsiteX8" fmla="*/ 87601 w 88797"/>
                  <a:gd name="connsiteY8" fmla="*/ 81310 h 85812"/>
                  <a:gd name="connsiteX9" fmla="*/ 88798 w 88797"/>
                  <a:gd name="connsiteY9" fmla="*/ 84102 h 85812"/>
                  <a:gd name="connsiteX10" fmla="*/ 82528 w 88797"/>
                  <a:gd name="connsiteY10" fmla="*/ 85812 h 85812"/>
                  <a:gd name="connsiteX11" fmla="*/ 69648 w 88797"/>
                  <a:gd name="connsiteY11" fmla="*/ 81880 h 85812"/>
                  <a:gd name="connsiteX12" fmla="*/ 0 w 88797"/>
                  <a:gd name="connsiteY12" fmla="*/ 40672 h 85812"/>
                  <a:gd name="connsiteX13" fmla="*/ 2907 w 88797"/>
                  <a:gd name="connsiteY13" fmla="*/ 26481 h 85812"/>
                  <a:gd name="connsiteX14" fmla="*/ 4275 w 88797"/>
                  <a:gd name="connsiteY14" fmla="*/ 24315 h 85812"/>
                  <a:gd name="connsiteX15" fmla="*/ 11171 w 88797"/>
                  <a:gd name="connsiteY15" fmla="*/ 22092 h 85812"/>
                  <a:gd name="connsiteX16" fmla="*/ 15389 w 88797"/>
                  <a:gd name="connsiteY16" fmla="*/ 12859 h 85812"/>
                  <a:gd name="connsiteX17" fmla="*/ 17383 w 88797"/>
                  <a:gd name="connsiteY17" fmla="*/ 11491 h 85812"/>
                  <a:gd name="connsiteX18" fmla="*/ 20917 w 88797"/>
                  <a:gd name="connsiteY18" fmla="*/ 2030 h 85812"/>
                  <a:gd name="connsiteX19" fmla="*/ 28155 w 88797"/>
                  <a:gd name="connsiteY19" fmla="*/ 377 h 85812"/>
                  <a:gd name="connsiteX20" fmla="*/ 37047 w 88797"/>
                  <a:gd name="connsiteY20" fmla="*/ 9496 h 85812"/>
                  <a:gd name="connsiteX21" fmla="*/ 36477 w 88797"/>
                  <a:gd name="connsiteY21" fmla="*/ 19299 h 85812"/>
                  <a:gd name="connsiteX22" fmla="*/ 42176 w 88797"/>
                  <a:gd name="connsiteY22" fmla="*/ 25626 h 85812"/>
                  <a:gd name="connsiteX23" fmla="*/ 47306 w 88797"/>
                  <a:gd name="connsiteY23" fmla="*/ 24714 h 85812"/>
                  <a:gd name="connsiteX24" fmla="*/ 48902 w 88797"/>
                  <a:gd name="connsiteY24" fmla="*/ 28361 h 85812"/>
                  <a:gd name="connsiteX25" fmla="*/ 55570 w 88797"/>
                  <a:gd name="connsiteY25" fmla="*/ 31040 h 8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97" h="85812">
                    <a:moveTo>
                      <a:pt x="55570" y="31040"/>
                    </a:moveTo>
                    <a:lnTo>
                      <a:pt x="58021" y="31040"/>
                    </a:lnTo>
                    <a:cubicBezTo>
                      <a:pt x="58420" y="34289"/>
                      <a:pt x="61668" y="36740"/>
                      <a:pt x="62409" y="40330"/>
                    </a:cubicBezTo>
                    <a:cubicBezTo>
                      <a:pt x="62603" y="42223"/>
                      <a:pt x="62603" y="44138"/>
                      <a:pt x="62409" y="46030"/>
                    </a:cubicBezTo>
                    <a:cubicBezTo>
                      <a:pt x="62455" y="50504"/>
                      <a:pt x="64558" y="54710"/>
                      <a:pt x="68109" y="57429"/>
                    </a:cubicBezTo>
                    <a:cubicBezTo>
                      <a:pt x="71038" y="59333"/>
                      <a:pt x="74127" y="60968"/>
                      <a:pt x="77342" y="62330"/>
                    </a:cubicBezTo>
                    <a:cubicBezTo>
                      <a:pt x="80585" y="63750"/>
                      <a:pt x="82984" y="66588"/>
                      <a:pt x="83839" y="70025"/>
                    </a:cubicBezTo>
                    <a:cubicBezTo>
                      <a:pt x="84181" y="72361"/>
                      <a:pt x="83383" y="74869"/>
                      <a:pt x="84295" y="77035"/>
                    </a:cubicBezTo>
                    <a:cubicBezTo>
                      <a:pt x="85207" y="79201"/>
                      <a:pt x="86575" y="79828"/>
                      <a:pt x="87601" y="81310"/>
                    </a:cubicBezTo>
                    <a:cubicBezTo>
                      <a:pt x="88182" y="82147"/>
                      <a:pt x="88593" y="83099"/>
                      <a:pt x="88798" y="84102"/>
                    </a:cubicBezTo>
                    <a:cubicBezTo>
                      <a:pt x="86831" y="85054"/>
                      <a:pt x="84706" y="85636"/>
                      <a:pt x="82528" y="85812"/>
                    </a:cubicBezTo>
                    <a:cubicBezTo>
                      <a:pt x="77975" y="85607"/>
                      <a:pt x="73540" y="84256"/>
                      <a:pt x="69648" y="81880"/>
                    </a:cubicBezTo>
                    <a:cubicBezTo>
                      <a:pt x="45072" y="70589"/>
                      <a:pt x="21726" y="56779"/>
                      <a:pt x="0" y="40672"/>
                    </a:cubicBezTo>
                    <a:cubicBezTo>
                      <a:pt x="291" y="35828"/>
                      <a:pt x="1271" y="31052"/>
                      <a:pt x="2907" y="26481"/>
                    </a:cubicBezTo>
                    <a:cubicBezTo>
                      <a:pt x="3158" y="25649"/>
                      <a:pt x="3631" y="24902"/>
                      <a:pt x="4275" y="24315"/>
                    </a:cubicBezTo>
                    <a:cubicBezTo>
                      <a:pt x="6098" y="22719"/>
                      <a:pt x="9176" y="23574"/>
                      <a:pt x="11171" y="22092"/>
                    </a:cubicBezTo>
                    <a:cubicBezTo>
                      <a:pt x="13166" y="20610"/>
                      <a:pt x="12767" y="15082"/>
                      <a:pt x="15389" y="12859"/>
                    </a:cubicBezTo>
                    <a:cubicBezTo>
                      <a:pt x="16016" y="12289"/>
                      <a:pt x="16756" y="12004"/>
                      <a:pt x="17383" y="11491"/>
                    </a:cubicBezTo>
                    <a:cubicBezTo>
                      <a:pt x="19948" y="9268"/>
                      <a:pt x="18808" y="4709"/>
                      <a:pt x="20917" y="2030"/>
                    </a:cubicBezTo>
                    <a:cubicBezTo>
                      <a:pt x="22821" y="155"/>
                      <a:pt x="25625" y="-484"/>
                      <a:pt x="28155" y="377"/>
                    </a:cubicBezTo>
                    <a:cubicBezTo>
                      <a:pt x="32698" y="1323"/>
                      <a:pt x="36214" y="4931"/>
                      <a:pt x="37047" y="9496"/>
                    </a:cubicBezTo>
                    <a:cubicBezTo>
                      <a:pt x="37052" y="12773"/>
                      <a:pt x="36864" y="16045"/>
                      <a:pt x="36477" y="19299"/>
                    </a:cubicBezTo>
                    <a:cubicBezTo>
                      <a:pt x="36477" y="22548"/>
                      <a:pt x="39098" y="26253"/>
                      <a:pt x="42176" y="25626"/>
                    </a:cubicBezTo>
                    <a:cubicBezTo>
                      <a:pt x="43943" y="25284"/>
                      <a:pt x="45824" y="23688"/>
                      <a:pt x="47306" y="24714"/>
                    </a:cubicBezTo>
                    <a:cubicBezTo>
                      <a:pt x="48787" y="25740"/>
                      <a:pt x="48275" y="27165"/>
                      <a:pt x="48902" y="28361"/>
                    </a:cubicBezTo>
                    <a:cubicBezTo>
                      <a:pt x="49813" y="31154"/>
                      <a:pt x="52777" y="31097"/>
                      <a:pt x="55570" y="3104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19" name="Freihandform: Form 335">
                <a:extLst>
                  <a:ext uri="{FF2B5EF4-FFF2-40B4-BE49-F238E27FC236}">
                    <a16:creationId xmlns:a16="http://schemas.microsoft.com/office/drawing/2014/main" id="{1F0B51F2-EE17-B0C2-05F9-7F6774B018FE}"/>
                  </a:ext>
                </a:extLst>
              </p:cNvPr>
              <p:cNvSpPr/>
              <p:nvPr/>
            </p:nvSpPr>
            <p:spPr>
              <a:xfrm>
                <a:off x="3485687" y="4017475"/>
                <a:ext cx="61041" cy="76828"/>
              </a:xfrm>
              <a:custGeom>
                <a:avLst/>
                <a:gdLst>
                  <a:gd name="connsiteX0" fmla="*/ 61041 w 61041"/>
                  <a:gd name="connsiteY0" fmla="*/ 39041 h 76828"/>
                  <a:gd name="connsiteX1" fmla="*/ 61041 w 61041"/>
                  <a:gd name="connsiteY1" fmla="*/ 39041 h 76828"/>
                  <a:gd name="connsiteX2" fmla="*/ 58021 w 61041"/>
                  <a:gd name="connsiteY2" fmla="*/ 47648 h 76828"/>
                  <a:gd name="connsiteX3" fmla="*/ 56026 w 61041"/>
                  <a:gd name="connsiteY3" fmla="*/ 49016 h 76828"/>
                  <a:gd name="connsiteX4" fmla="*/ 51808 w 61041"/>
                  <a:gd name="connsiteY4" fmla="*/ 58249 h 76828"/>
                  <a:gd name="connsiteX5" fmla="*/ 44912 w 61041"/>
                  <a:gd name="connsiteY5" fmla="*/ 60471 h 76828"/>
                  <a:gd name="connsiteX6" fmla="*/ 43544 w 61041"/>
                  <a:gd name="connsiteY6" fmla="*/ 62637 h 76828"/>
                  <a:gd name="connsiteX7" fmla="*/ 40637 w 61041"/>
                  <a:gd name="connsiteY7" fmla="*/ 76829 h 76828"/>
                  <a:gd name="connsiteX8" fmla="*/ 8606 w 61041"/>
                  <a:gd name="connsiteY8" fmla="*/ 42290 h 76828"/>
                  <a:gd name="connsiteX9" fmla="*/ 0 w 61041"/>
                  <a:gd name="connsiteY9" fmla="*/ 27870 h 76828"/>
                  <a:gd name="connsiteX10" fmla="*/ 1938 w 61041"/>
                  <a:gd name="connsiteY10" fmla="*/ 25021 h 76828"/>
                  <a:gd name="connsiteX11" fmla="*/ 3876 w 61041"/>
                  <a:gd name="connsiteY11" fmla="*/ 9746 h 76828"/>
                  <a:gd name="connsiteX12" fmla="*/ 14933 w 61041"/>
                  <a:gd name="connsiteY12" fmla="*/ 6098 h 76828"/>
                  <a:gd name="connsiteX13" fmla="*/ 16985 w 61041"/>
                  <a:gd name="connsiteY13" fmla="*/ 3933 h 76828"/>
                  <a:gd name="connsiteX14" fmla="*/ 22684 w 61041"/>
                  <a:gd name="connsiteY14" fmla="*/ 3249 h 76828"/>
                  <a:gd name="connsiteX15" fmla="*/ 33228 w 61041"/>
                  <a:gd name="connsiteY15" fmla="*/ 1197 h 76828"/>
                  <a:gd name="connsiteX16" fmla="*/ 36933 w 61041"/>
                  <a:gd name="connsiteY16" fmla="*/ 0 h 76828"/>
                  <a:gd name="connsiteX17" fmla="*/ 41891 w 61041"/>
                  <a:gd name="connsiteY17" fmla="*/ 2622 h 76828"/>
                  <a:gd name="connsiteX18" fmla="*/ 47021 w 61041"/>
                  <a:gd name="connsiteY18" fmla="*/ 11570 h 76828"/>
                  <a:gd name="connsiteX19" fmla="*/ 48446 w 61041"/>
                  <a:gd name="connsiteY19" fmla="*/ 14420 h 76828"/>
                  <a:gd name="connsiteX20" fmla="*/ 53404 w 61041"/>
                  <a:gd name="connsiteY20" fmla="*/ 15332 h 76828"/>
                  <a:gd name="connsiteX21" fmla="*/ 56710 w 61041"/>
                  <a:gd name="connsiteY21" fmla="*/ 19834 h 76828"/>
                  <a:gd name="connsiteX22" fmla="*/ 56710 w 61041"/>
                  <a:gd name="connsiteY22" fmla="*/ 25534 h 76828"/>
                  <a:gd name="connsiteX23" fmla="*/ 61041 w 61041"/>
                  <a:gd name="connsiteY23" fmla="*/ 39041 h 7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041" h="76828">
                    <a:moveTo>
                      <a:pt x="61041" y="39041"/>
                    </a:moveTo>
                    <a:lnTo>
                      <a:pt x="61041" y="39041"/>
                    </a:lnTo>
                    <a:cubicBezTo>
                      <a:pt x="59617" y="41720"/>
                      <a:pt x="60358" y="45653"/>
                      <a:pt x="58021" y="47648"/>
                    </a:cubicBezTo>
                    <a:cubicBezTo>
                      <a:pt x="57394" y="48160"/>
                      <a:pt x="56653" y="48446"/>
                      <a:pt x="56026" y="49016"/>
                    </a:cubicBezTo>
                    <a:cubicBezTo>
                      <a:pt x="53404" y="51238"/>
                      <a:pt x="54658" y="56254"/>
                      <a:pt x="51808" y="58249"/>
                    </a:cubicBezTo>
                    <a:cubicBezTo>
                      <a:pt x="48959" y="60243"/>
                      <a:pt x="46736" y="58875"/>
                      <a:pt x="44912" y="60471"/>
                    </a:cubicBezTo>
                    <a:cubicBezTo>
                      <a:pt x="44268" y="61058"/>
                      <a:pt x="43795" y="61805"/>
                      <a:pt x="43544" y="62637"/>
                    </a:cubicBezTo>
                    <a:cubicBezTo>
                      <a:pt x="41908" y="67208"/>
                      <a:pt x="40928" y="71984"/>
                      <a:pt x="40637" y="76829"/>
                    </a:cubicBezTo>
                    <a:cubicBezTo>
                      <a:pt x="28167" y="67117"/>
                      <a:pt x="17349" y="55456"/>
                      <a:pt x="8606" y="42290"/>
                    </a:cubicBezTo>
                    <a:cubicBezTo>
                      <a:pt x="5586" y="37560"/>
                      <a:pt x="2907" y="32658"/>
                      <a:pt x="0" y="27870"/>
                    </a:cubicBezTo>
                    <a:cubicBezTo>
                      <a:pt x="695" y="26958"/>
                      <a:pt x="1345" y="26007"/>
                      <a:pt x="1938" y="25021"/>
                    </a:cubicBezTo>
                    <a:cubicBezTo>
                      <a:pt x="4041" y="20222"/>
                      <a:pt x="4714" y="14916"/>
                      <a:pt x="3876" y="9746"/>
                    </a:cubicBezTo>
                    <a:cubicBezTo>
                      <a:pt x="7951" y="10647"/>
                      <a:pt x="12191" y="9245"/>
                      <a:pt x="14933" y="6098"/>
                    </a:cubicBezTo>
                    <a:cubicBezTo>
                      <a:pt x="15514" y="5283"/>
                      <a:pt x="16204" y="4554"/>
                      <a:pt x="16985" y="3933"/>
                    </a:cubicBezTo>
                    <a:cubicBezTo>
                      <a:pt x="18746" y="3038"/>
                      <a:pt x="20763" y="2793"/>
                      <a:pt x="22684" y="3249"/>
                    </a:cubicBezTo>
                    <a:cubicBezTo>
                      <a:pt x="26314" y="3414"/>
                      <a:pt x="29928" y="2713"/>
                      <a:pt x="33228" y="1197"/>
                    </a:cubicBezTo>
                    <a:cubicBezTo>
                      <a:pt x="34368" y="553"/>
                      <a:pt x="35628" y="148"/>
                      <a:pt x="36933" y="0"/>
                    </a:cubicBezTo>
                    <a:cubicBezTo>
                      <a:pt x="38882" y="125"/>
                      <a:pt x="40689" y="1077"/>
                      <a:pt x="41891" y="2622"/>
                    </a:cubicBezTo>
                    <a:cubicBezTo>
                      <a:pt x="44285" y="5158"/>
                      <a:pt x="46046" y="8224"/>
                      <a:pt x="47021" y="11570"/>
                    </a:cubicBezTo>
                    <a:cubicBezTo>
                      <a:pt x="47175" y="12647"/>
                      <a:pt x="47676" y="13650"/>
                      <a:pt x="48446" y="14420"/>
                    </a:cubicBezTo>
                    <a:cubicBezTo>
                      <a:pt x="49757" y="15503"/>
                      <a:pt x="51751" y="14876"/>
                      <a:pt x="53404" y="15332"/>
                    </a:cubicBezTo>
                    <a:cubicBezTo>
                      <a:pt x="55217" y="16152"/>
                      <a:pt x="56470" y="17856"/>
                      <a:pt x="56710" y="19834"/>
                    </a:cubicBezTo>
                    <a:cubicBezTo>
                      <a:pt x="56710" y="21829"/>
                      <a:pt x="56710" y="23767"/>
                      <a:pt x="56710" y="25534"/>
                    </a:cubicBezTo>
                    <a:cubicBezTo>
                      <a:pt x="57069" y="30315"/>
                      <a:pt x="58557" y="34943"/>
                      <a:pt x="61041" y="390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0" name="Freihandform: Form 336">
                <a:extLst>
                  <a:ext uri="{FF2B5EF4-FFF2-40B4-BE49-F238E27FC236}">
                    <a16:creationId xmlns:a16="http://schemas.microsoft.com/office/drawing/2014/main" id="{CD3798DE-9879-FE3A-B444-276B5F5EFDE2}"/>
                  </a:ext>
                </a:extLst>
              </p:cNvPr>
              <p:cNvSpPr/>
              <p:nvPr/>
            </p:nvSpPr>
            <p:spPr>
              <a:xfrm>
                <a:off x="3442144" y="3957351"/>
                <a:ext cx="160056" cy="127206"/>
              </a:xfrm>
              <a:custGeom>
                <a:avLst/>
                <a:gdLst>
                  <a:gd name="connsiteX0" fmla="*/ 154000 w 160056"/>
                  <a:gd name="connsiteY0" fmla="*/ 47300 h 127206"/>
                  <a:gd name="connsiteX1" fmla="*/ 156963 w 160056"/>
                  <a:gd name="connsiteY1" fmla="*/ 52600 h 127206"/>
                  <a:gd name="connsiteX2" fmla="*/ 154114 w 160056"/>
                  <a:gd name="connsiteY2" fmla="*/ 57160 h 127206"/>
                  <a:gd name="connsiteX3" fmla="*/ 151663 w 160056"/>
                  <a:gd name="connsiteY3" fmla="*/ 65652 h 127206"/>
                  <a:gd name="connsiteX4" fmla="*/ 159699 w 160056"/>
                  <a:gd name="connsiteY4" fmla="*/ 91984 h 127206"/>
                  <a:gd name="connsiteX5" fmla="*/ 149554 w 160056"/>
                  <a:gd name="connsiteY5" fmla="*/ 110450 h 127206"/>
                  <a:gd name="connsiteX6" fmla="*/ 150181 w 160056"/>
                  <a:gd name="connsiteY6" fmla="*/ 114211 h 127206"/>
                  <a:gd name="connsiteX7" fmla="*/ 142544 w 160056"/>
                  <a:gd name="connsiteY7" fmla="*/ 126066 h 127206"/>
                  <a:gd name="connsiteX8" fmla="*/ 142544 w 160056"/>
                  <a:gd name="connsiteY8" fmla="*/ 127206 h 127206"/>
                  <a:gd name="connsiteX9" fmla="*/ 140093 w 160056"/>
                  <a:gd name="connsiteY9" fmla="*/ 127206 h 127206"/>
                  <a:gd name="connsiteX10" fmla="*/ 133197 w 160056"/>
                  <a:gd name="connsiteY10" fmla="*/ 125040 h 127206"/>
                  <a:gd name="connsiteX11" fmla="*/ 131601 w 160056"/>
                  <a:gd name="connsiteY11" fmla="*/ 121393 h 127206"/>
                  <a:gd name="connsiteX12" fmla="*/ 126471 w 160056"/>
                  <a:gd name="connsiteY12" fmla="*/ 122305 h 127206"/>
                  <a:gd name="connsiteX13" fmla="*/ 120772 w 160056"/>
                  <a:gd name="connsiteY13" fmla="*/ 115978 h 127206"/>
                  <a:gd name="connsiteX14" fmla="*/ 121342 w 160056"/>
                  <a:gd name="connsiteY14" fmla="*/ 106175 h 127206"/>
                  <a:gd name="connsiteX15" fmla="*/ 112451 w 160056"/>
                  <a:gd name="connsiteY15" fmla="*/ 97056 h 127206"/>
                  <a:gd name="connsiteX16" fmla="*/ 105212 w 160056"/>
                  <a:gd name="connsiteY16" fmla="*/ 98709 h 127206"/>
                  <a:gd name="connsiteX17" fmla="*/ 104699 w 160056"/>
                  <a:gd name="connsiteY17" fmla="*/ 99564 h 127206"/>
                  <a:gd name="connsiteX18" fmla="*/ 104699 w 160056"/>
                  <a:gd name="connsiteY18" fmla="*/ 99564 h 127206"/>
                  <a:gd name="connsiteX19" fmla="*/ 100254 w 160056"/>
                  <a:gd name="connsiteY19" fmla="*/ 86512 h 127206"/>
                  <a:gd name="connsiteX20" fmla="*/ 100254 w 160056"/>
                  <a:gd name="connsiteY20" fmla="*/ 80813 h 127206"/>
                  <a:gd name="connsiteX21" fmla="*/ 96948 w 160056"/>
                  <a:gd name="connsiteY21" fmla="*/ 76310 h 127206"/>
                  <a:gd name="connsiteX22" fmla="*/ 91989 w 160056"/>
                  <a:gd name="connsiteY22" fmla="*/ 75398 h 127206"/>
                  <a:gd name="connsiteX23" fmla="*/ 90564 w 160056"/>
                  <a:gd name="connsiteY23" fmla="*/ 72548 h 127206"/>
                  <a:gd name="connsiteX24" fmla="*/ 85435 w 160056"/>
                  <a:gd name="connsiteY24" fmla="*/ 63600 h 127206"/>
                  <a:gd name="connsiteX25" fmla="*/ 80477 w 160056"/>
                  <a:gd name="connsiteY25" fmla="*/ 60978 h 127206"/>
                  <a:gd name="connsiteX26" fmla="*/ 76772 w 160056"/>
                  <a:gd name="connsiteY26" fmla="*/ 62175 h 127206"/>
                  <a:gd name="connsiteX27" fmla="*/ 66228 w 160056"/>
                  <a:gd name="connsiteY27" fmla="*/ 64227 h 127206"/>
                  <a:gd name="connsiteX28" fmla="*/ 60528 w 160056"/>
                  <a:gd name="connsiteY28" fmla="*/ 64911 h 127206"/>
                  <a:gd name="connsiteX29" fmla="*/ 58476 w 160056"/>
                  <a:gd name="connsiteY29" fmla="*/ 67077 h 127206"/>
                  <a:gd name="connsiteX30" fmla="*/ 47419 w 160056"/>
                  <a:gd name="connsiteY30" fmla="*/ 70724 h 127206"/>
                  <a:gd name="connsiteX31" fmla="*/ 45482 w 160056"/>
                  <a:gd name="connsiteY31" fmla="*/ 85999 h 127206"/>
                  <a:gd name="connsiteX32" fmla="*/ 43544 w 160056"/>
                  <a:gd name="connsiteY32" fmla="*/ 88849 h 127206"/>
                  <a:gd name="connsiteX33" fmla="*/ 33114 w 160056"/>
                  <a:gd name="connsiteY33" fmla="*/ 74315 h 127206"/>
                  <a:gd name="connsiteX34" fmla="*/ 0 w 160056"/>
                  <a:gd name="connsiteY34" fmla="*/ 40118 h 127206"/>
                  <a:gd name="connsiteX35" fmla="*/ 3305 w 160056"/>
                  <a:gd name="connsiteY35" fmla="*/ 36015 h 127206"/>
                  <a:gd name="connsiteX36" fmla="*/ 11456 w 160056"/>
                  <a:gd name="connsiteY36" fmla="*/ 29175 h 127206"/>
                  <a:gd name="connsiteX37" fmla="*/ 12026 w 160056"/>
                  <a:gd name="connsiteY37" fmla="*/ 26497 h 127206"/>
                  <a:gd name="connsiteX38" fmla="*/ 18922 w 160056"/>
                  <a:gd name="connsiteY38" fmla="*/ 23077 h 127206"/>
                  <a:gd name="connsiteX39" fmla="*/ 23083 w 160056"/>
                  <a:gd name="connsiteY39" fmla="*/ 12989 h 127206"/>
                  <a:gd name="connsiteX40" fmla="*/ 25704 w 160056"/>
                  <a:gd name="connsiteY40" fmla="*/ 2217 h 127206"/>
                  <a:gd name="connsiteX41" fmla="*/ 36533 w 160056"/>
                  <a:gd name="connsiteY41" fmla="*/ 1020 h 127206"/>
                  <a:gd name="connsiteX42" fmla="*/ 46907 w 160056"/>
                  <a:gd name="connsiteY42" fmla="*/ 6036 h 127206"/>
                  <a:gd name="connsiteX43" fmla="*/ 71528 w 160056"/>
                  <a:gd name="connsiteY43" fmla="*/ 7859 h 127206"/>
                  <a:gd name="connsiteX44" fmla="*/ 79679 w 160056"/>
                  <a:gd name="connsiteY44" fmla="*/ 9968 h 127206"/>
                  <a:gd name="connsiteX45" fmla="*/ 105896 w 160056"/>
                  <a:gd name="connsiteY45" fmla="*/ 10994 h 127206"/>
                  <a:gd name="connsiteX46" fmla="*/ 113648 w 160056"/>
                  <a:gd name="connsiteY46" fmla="*/ 9626 h 127206"/>
                  <a:gd name="connsiteX47" fmla="*/ 127212 w 160056"/>
                  <a:gd name="connsiteY47" fmla="*/ 3243 h 127206"/>
                  <a:gd name="connsiteX48" fmla="*/ 134165 w 160056"/>
                  <a:gd name="connsiteY48" fmla="*/ 10994 h 127206"/>
                  <a:gd name="connsiteX49" fmla="*/ 138554 w 160056"/>
                  <a:gd name="connsiteY49" fmla="*/ 20854 h 127206"/>
                  <a:gd name="connsiteX50" fmla="*/ 144254 w 160056"/>
                  <a:gd name="connsiteY50" fmla="*/ 26155 h 127206"/>
                  <a:gd name="connsiteX51" fmla="*/ 144709 w 160056"/>
                  <a:gd name="connsiteY51" fmla="*/ 35958 h 127206"/>
                  <a:gd name="connsiteX52" fmla="*/ 154000 w 160056"/>
                  <a:gd name="connsiteY52" fmla="*/ 47300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0056" h="127206">
                    <a:moveTo>
                      <a:pt x="154000" y="47300"/>
                    </a:moveTo>
                    <a:cubicBezTo>
                      <a:pt x="155219" y="48924"/>
                      <a:pt x="156217" y="50708"/>
                      <a:pt x="156963" y="52600"/>
                    </a:cubicBezTo>
                    <a:cubicBezTo>
                      <a:pt x="155727" y="53922"/>
                      <a:pt x="154758" y="55473"/>
                      <a:pt x="154114" y="57160"/>
                    </a:cubicBezTo>
                    <a:cubicBezTo>
                      <a:pt x="152751" y="59804"/>
                      <a:pt x="151919" y="62688"/>
                      <a:pt x="151663" y="65652"/>
                    </a:cubicBezTo>
                    <a:cubicBezTo>
                      <a:pt x="151663" y="74999"/>
                      <a:pt x="162093" y="82750"/>
                      <a:pt x="159699" y="91984"/>
                    </a:cubicBezTo>
                    <a:cubicBezTo>
                      <a:pt x="157818" y="98937"/>
                      <a:pt x="148699" y="103382"/>
                      <a:pt x="149554" y="110450"/>
                    </a:cubicBezTo>
                    <a:cubicBezTo>
                      <a:pt x="149851" y="111687"/>
                      <a:pt x="150061" y="112946"/>
                      <a:pt x="150181" y="114211"/>
                    </a:cubicBezTo>
                    <a:cubicBezTo>
                      <a:pt x="150181" y="118999"/>
                      <a:pt x="143000" y="121279"/>
                      <a:pt x="142544" y="126066"/>
                    </a:cubicBezTo>
                    <a:cubicBezTo>
                      <a:pt x="142487" y="126442"/>
                      <a:pt x="142487" y="126830"/>
                      <a:pt x="142544" y="127206"/>
                    </a:cubicBezTo>
                    <a:lnTo>
                      <a:pt x="140093" y="127206"/>
                    </a:lnTo>
                    <a:cubicBezTo>
                      <a:pt x="137528" y="127206"/>
                      <a:pt x="134393" y="127206"/>
                      <a:pt x="133197" y="125040"/>
                    </a:cubicBezTo>
                    <a:cubicBezTo>
                      <a:pt x="132569" y="123844"/>
                      <a:pt x="132684" y="122191"/>
                      <a:pt x="131601" y="121393"/>
                    </a:cubicBezTo>
                    <a:cubicBezTo>
                      <a:pt x="130518" y="120595"/>
                      <a:pt x="128238" y="121963"/>
                      <a:pt x="126471" y="122305"/>
                    </a:cubicBezTo>
                    <a:cubicBezTo>
                      <a:pt x="123280" y="122932"/>
                      <a:pt x="120772" y="119227"/>
                      <a:pt x="120772" y="115978"/>
                    </a:cubicBezTo>
                    <a:cubicBezTo>
                      <a:pt x="121159" y="112724"/>
                      <a:pt x="121347" y="109452"/>
                      <a:pt x="121342" y="106175"/>
                    </a:cubicBezTo>
                    <a:cubicBezTo>
                      <a:pt x="120510" y="101610"/>
                      <a:pt x="116993" y="98002"/>
                      <a:pt x="112451" y="97056"/>
                    </a:cubicBezTo>
                    <a:cubicBezTo>
                      <a:pt x="109920" y="96195"/>
                      <a:pt x="107116" y="96834"/>
                      <a:pt x="105212" y="98709"/>
                    </a:cubicBezTo>
                    <a:lnTo>
                      <a:pt x="104699" y="99564"/>
                    </a:lnTo>
                    <a:lnTo>
                      <a:pt x="104699" y="99564"/>
                    </a:lnTo>
                    <a:cubicBezTo>
                      <a:pt x="102237" y="95608"/>
                      <a:pt x="100715" y="91146"/>
                      <a:pt x="100254" y="86512"/>
                    </a:cubicBezTo>
                    <a:cubicBezTo>
                      <a:pt x="100254" y="84517"/>
                      <a:pt x="100254" y="82579"/>
                      <a:pt x="100254" y="80813"/>
                    </a:cubicBezTo>
                    <a:cubicBezTo>
                      <a:pt x="100014" y="78835"/>
                      <a:pt x="98760" y="77131"/>
                      <a:pt x="96948" y="76310"/>
                    </a:cubicBezTo>
                    <a:cubicBezTo>
                      <a:pt x="95295" y="75854"/>
                      <a:pt x="93300" y="76310"/>
                      <a:pt x="91989" y="75398"/>
                    </a:cubicBezTo>
                    <a:cubicBezTo>
                      <a:pt x="91220" y="74629"/>
                      <a:pt x="90718" y="73625"/>
                      <a:pt x="90564" y="72548"/>
                    </a:cubicBezTo>
                    <a:cubicBezTo>
                      <a:pt x="89590" y="69203"/>
                      <a:pt x="87829" y="66136"/>
                      <a:pt x="85435" y="63600"/>
                    </a:cubicBezTo>
                    <a:cubicBezTo>
                      <a:pt x="84232" y="62056"/>
                      <a:pt x="82426" y="61104"/>
                      <a:pt x="80477" y="60978"/>
                    </a:cubicBezTo>
                    <a:cubicBezTo>
                      <a:pt x="79171" y="61127"/>
                      <a:pt x="77912" y="61531"/>
                      <a:pt x="76772" y="62175"/>
                    </a:cubicBezTo>
                    <a:cubicBezTo>
                      <a:pt x="73472" y="63691"/>
                      <a:pt x="69853" y="64392"/>
                      <a:pt x="66228" y="64227"/>
                    </a:cubicBezTo>
                    <a:cubicBezTo>
                      <a:pt x="64307" y="63771"/>
                      <a:pt x="62284" y="64016"/>
                      <a:pt x="60528" y="64911"/>
                    </a:cubicBezTo>
                    <a:cubicBezTo>
                      <a:pt x="59747" y="65532"/>
                      <a:pt x="59052" y="66262"/>
                      <a:pt x="58476" y="67077"/>
                    </a:cubicBezTo>
                    <a:cubicBezTo>
                      <a:pt x="55735" y="70223"/>
                      <a:pt x="51495" y="71625"/>
                      <a:pt x="47419" y="70724"/>
                    </a:cubicBezTo>
                    <a:cubicBezTo>
                      <a:pt x="48257" y="75894"/>
                      <a:pt x="47585" y="81200"/>
                      <a:pt x="45482" y="85999"/>
                    </a:cubicBezTo>
                    <a:cubicBezTo>
                      <a:pt x="44889" y="86985"/>
                      <a:pt x="44239" y="87937"/>
                      <a:pt x="43544" y="88849"/>
                    </a:cubicBezTo>
                    <a:cubicBezTo>
                      <a:pt x="40569" y="83662"/>
                      <a:pt x="37075" y="78789"/>
                      <a:pt x="33114" y="74315"/>
                    </a:cubicBezTo>
                    <a:cubicBezTo>
                      <a:pt x="22285" y="62574"/>
                      <a:pt x="5642" y="53968"/>
                      <a:pt x="0" y="40118"/>
                    </a:cubicBezTo>
                    <a:cubicBezTo>
                      <a:pt x="764" y="38511"/>
                      <a:pt x="1898" y="37103"/>
                      <a:pt x="3305" y="36015"/>
                    </a:cubicBezTo>
                    <a:cubicBezTo>
                      <a:pt x="6212" y="33849"/>
                      <a:pt x="10544" y="32709"/>
                      <a:pt x="11456" y="29175"/>
                    </a:cubicBezTo>
                    <a:cubicBezTo>
                      <a:pt x="11564" y="28269"/>
                      <a:pt x="11752" y="27369"/>
                      <a:pt x="12026" y="26497"/>
                    </a:cubicBezTo>
                    <a:cubicBezTo>
                      <a:pt x="13109" y="24103"/>
                      <a:pt x="16585" y="24274"/>
                      <a:pt x="18922" y="23077"/>
                    </a:cubicBezTo>
                    <a:cubicBezTo>
                      <a:pt x="22342" y="21310"/>
                      <a:pt x="23026" y="16807"/>
                      <a:pt x="23083" y="12989"/>
                    </a:cubicBezTo>
                    <a:cubicBezTo>
                      <a:pt x="22524" y="9193"/>
                      <a:pt x="23465" y="5329"/>
                      <a:pt x="25704" y="2217"/>
                    </a:cubicBezTo>
                    <a:cubicBezTo>
                      <a:pt x="28788" y="-223"/>
                      <a:pt x="32994" y="-690"/>
                      <a:pt x="36533" y="1020"/>
                    </a:cubicBezTo>
                    <a:cubicBezTo>
                      <a:pt x="40124" y="2388"/>
                      <a:pt x="43316" y="4725"/>
                      <a:pt x="46907" y="6036"/>
                    </a:cubicBezTo>
                    <a:cubicBezTo>
                      <a:pt x="54658" y="8828"/>
                      <a:pt x="63378" y="6434"/>
                      <a:pt x="71528" y="7859"/>
                    </a:cubicBezTo>
                    <a:cubicBezTo>
                      <a:pt x="74264" y="8372"/>
                      <a:pt x="76943" y="9284"/>
                      <a:pt x="79679" y="9968"/>
                    </a:cubicBezTo>
                    <a:cubicBezTo>
                      <a:pt x="88313" y="11649"/>
                      <a:pt x="97153" y="11997"/>
                      <a:pt x="105896" y="10994"/>
                    </a:cubicBezTo>
                    <a:cubicBezTo>
                      <a:pt x="108540" y="11028"/>
                      <a:pt x="111174" y="10561"/>
                      <a:pt x="113648" y="9626"/>
                    </a:cubicBezTo>
                    <a:cubicBezTo>
                      <a:pt x="118321" y="7574"/>
                      <a:pt x="122140" y="2331"/>
                      <a:pt x="127212" y="3243"/>
                    </a:cubicBezTo>
                    <a:cubicBezTo>
                      <a:pt x="130706" y="4462"/>
                      <a:pt x="133333" y="7386"/>
                      <a:pt x="134165" y="10994"/>
                    </a:cubicBezTo>
                    <a:cubicBezTo>
                      <a:pt x="134878" y="14568"/>
                      <a:pt x="136377" y="17930"/>
                      <a:pt x="138554" y="20854"/>
                    </a:cubicBezTo>
                    <a:cubicBezTo>
                      <a:pt x="140378" y="22735"/>
                      <a:pt x="143000" y="23875"/>
                      <a:pt x="144254" y="26155"/>
                    </a:cubicBezTo>
                    <a:cubicBezTo>
                      <a:pt x="145507" y="28434"/>
                      <a:pt x="144254" y="32709"/>
                      <a:pt x="144709" y="35958"/>
                    </a:cubicBezTo>
                    <a:cubicBezTo>
                      <a:pt x="145450" y="40289"/>
                      <a:pt x="150751" y="43253"/>
                      <a:pt x="154000" y="473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1" name="Freihandform: Form 337">
                <a:extLst>
                  <a:ext uri="{FF2B5EF4-FFF2-40B4-BE49-F238E27FC236}">
                    <a16:creationId xmlns:a16="http://schemas.microsoft.com/office/drawing/2014/main" id="{6196D864-93A8-0219-90EB-EE4AA7BB0E02}"/>
                  </a:ext>
                </a:extLst>
              </p:cNvPr>
              <p:cNvSpPr/>
              <p:nvPr/>
            </p:nvSpPr>
            <p:spPr>
              <a:xfrm>
                <a:off x="3417978" y="3956196"/>
                <a:ext cx="49072" cy="40475"/>
              </a:xfrm>
              <a:custGeom>
                <a:avLst/>
                <a:gdLst>
                  <a:gd name="connsiteX0" fmla="*/ 49072 w 49072"/>
                  <a:gd name="connsiteY0" fmla="*/ 3828 h 40475"/>
                  <a:gd name="connsiteX1" fmla="*/ 47306 w 49072"/>
                  <a:gd name="connsiteY1" fmla="*/ 13346 h 40475"/>
                  <a:gd name="connsiteX2" fmla="*/ 43145 w 49072"/>
                  <a:gd name="connsiteY2" fmla="*/ 23434 h 40475"/>
                  <a:gd name="connsiteX3" fmla="*/ 36249 w 49072"/>
                  <a:gd name="connsiteY3" fmla="*/ 26854 h 40475"/>
                  <a:gd name="connsiteX4" fmla="*/ 35678 w 49072"/>
                  <a:gd name="connsiteY4" fmla="*/ 29533 h 40475"/>
                  <a:gd name="connsiteX5" fmla="*/ 27528 w 49072"/>
                  <a:gd name="connsiteY5" fmla="*/ 36372 h 40475"/>
                  <a:gd name="connsiteX6" fmla="*/ 24222 w 49072"/>
                  <a:gd name="connsiteY6" fmla="*/ 40476 h 40475"/>
                  <a:gd name="connsiteX7" fmla="*/ 22456 w 49072"/>
                  <a:gd name="connsiteY7" fmla="*/ 33750 h 40475"/>
                  <a:gd name="connsiteX8" fmla="*/ 13564 w 49072"/>
                  <a:gd name="connsiteY8" fmla="*/ 18248 h 40475"/>
                  <a:gd name="connsiteX9" fmla="*/ 342 w 49072"/>
                  <a:gd name="connsiteY9" fmla="*/ 9072 h 40475"/>
                  <a:gd name="connsiteX10" fmla="*/ 57 w 49072"/>
                  <a:gd name="connsiteY10" fmla="*/ 4284 h 40475"/>
                  <a:gd name="connsiteX11" fmla="*/ 13564 w 49072"/>
                  <a:gd name="connsiteY11" fmla="*/ 2232 h 40475"/>
                  <a:gd name="connsiteX12" fmla="*/ 41492 w 49072"/>
                  <a:gd name="connsiteY12" fmla="*/ 67 h 40475"/>
                  <a:gd name="connsiteX13" fmla="*/ 49072 w 49072"/>
                  <a:gd name="connsiteY13" fmla="*/ 3828 h 4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072" h="40475">
                    <a:moveTo>
                      <a:pt x="49072" y="3828"/>
                    </a:moveTo>
                    <a:cubicBezTo>
                      <a:pt x="47619" y="6775"/>
                      <a:pt x="47003" y="10069"/>
                      <a:pt x="47306" y="13346"/>
                    </a:cubicBezTo>
                    <a:cubicBezTo>
                      <a:pt x="47306" y="17165"/>
                      <a:pt x="46565" y="21668"/>
                      <a:pt x="43145" y="23434"/>
                    </a:cubicBezTo>
                    <a:cubicBezTo>
                      <a:pt x="40808" y="24631"/>
                      <a:pt x="37445" y="24460"/>
                      <a:pt x="36249" y="26854"/>
                    </a:cubicBezTo>
                    <a:cubicBezTo>
                      <a:pt x="35975" y="27726"/>
                      <a:pt x="35787" y="28627"/>
                      <a:pt x="35678" y="29533"/>
                    </a:cubicBezTo>
                    <a:cubicBezTo>
                      <a:pt x="34767" y="33067"/>
                      <a:pt x="30435" y="34207"/>
                      <a:pt x="27528" y="36372"/>
                    </a:cubicBezTo>
                    <a:cubicBezTo>
                      <a:pt x="26120" y="37461"/>
                      <a:pt x="24986" y="38869"/>
                      <a:pt x="24222" y="40476"/>
                    </a:cubicBezTo>
                    <a:cubicBezTo>
                      <a:pt x="23334" y="38321"/>
                      <a:pt x="22741" y="36059"/>
                      <a:pt x="22456" y="33750"/>
                    </a:cubicBezTo>
                    <a:cubicBezTo>
                      <a:pt x="26388" y="29818"/>
                      <a:pt x="18694" y="20357"/>
                      <a:pt x="13564" y="18248"/>
                    </a:cubicBezTo>
                    <a:cubicBezTo>
                      <a:pt x="8435" y="16139"/>
                      <a:pt x="1766" y="14486"/>
                      <a:pt x="342" y="9072"/>
                    </a:cubicBezTo>
                    <a:cubicBezTo>
                      <a:pt x="23" y="7499"/>
                      <a:pt x="-74" y="5886"/>
                      <a:pt x="57" y="4284"/>
                    </a:cubicBezTo>
                    <a:lnTo>
                      <a:pt x="13564" y="2232"/>
                    </a:lnTo>
                    <a:cubicBezTo>
                      <a:pt x="22763" y="488"/>
                      <a:pt x="32133" y="-235"/>
                      <a:pt x="41492" y="67"/>
                    </a:cubicBezTo>
                    <a:cubicBezTo>
                      <a:pt x="44478" y="10"/>
                      <a:pt x="47311" y="1412"/>
                      <a:pt x="49072" y="382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2" name="Freihandform: Form 338">
                <a:extLst>
                  <a:ext uri="{FF2B5EF4-FFF2-40B4-BE49-F238E27FC236}">
                    <a16:creationId xmlns:a16="http://schemas.microsoft.com/office/drawing/2014/main" id="{B73080F2-9A41-7523-942C-9A0F36A5815B}"/>
                  </a:ext>
                </a:extLst>
              </p:cNvPr>
              <p:cNvSpPr/>
              <p:nvPr/>
            </p:nvSpPr>
            <p:spPr>
              <a:xfrm>
                <a:off x="3391839" y="3862891"/>
                <a:ext cx="132622" cy="103972"/>
              </a:xfrm>
              <a:custGeom>
                <a:avLst/>
                <a:gdLst>
                  <a:gd name="connsiteX0" fmla="*/ 132548 w 132622"/>
                  <a:gd name="connsiteY0" fmla="*/ 102206 h 103972"/>
                  <a:gd name="connsiteX1" fmla="*/ 132548 w 132622"/>
                  <a:gd name="connsiteY1" fmla="*/ 103973 h 103972"/>
                  <a:gd name="connsiteX2" fmla="*/ 130040 w 132622"/>
                  <a:gd name="connsiteY2" fmla="*/ 103517 h 103972"/>
                  <a:gd name="connsiteX3" fmla="*/ 121890 w 132622"/>
                  <a:gd name="connsiteY3" fmla="*/ 101408 h 103972"/>
                  <a:gd name="connsiteX4" fmla="*/ 97268 w 132622"/>
                  <a:gd name="connsiteY4" fmla="*/ 99584 h 103972"/>
                  <a:gd name="connsiteX5" fmla="*/ 86895 w 132622"/>
                  <a:gd name="connsiteY5" fmla="*/ 94569 h 103972"/>
                  <a:gd name="connsiteX6" fmla="*/ 76066 w 132622"/>
                  <a:gd name="connsiteY6" fmla="*/ 95765 h 103972"/>
                  <a:gd name="connsiteX7" fmla="*/ 75211 w 132622"/>
                  <a:gd name="connsiteY7" fmla="*/ 97019 h 103972"/>
                  <a:gd name="connsiteX8" fmla="*/ 67631 w 132622"/>
                  <a:gd name="connsiteY8" fmla="*/ 93258 h 103972"/>
                  <a:gd name="connsiteX9" fmla="*/ 39703 w 132622"/>
                  <a:gd name="connsiteY9" fmla="*/ 95423 h 103972"/>
                  <a:gd name="connsiteX10" fmla="*/ 26195 w 132622"/>
                  <a:gd name="connsiteY10" fmla="*/ 97475 h 103972"/>
                  <a:gd name="connsiteX11" fmla="*/ 25398 w 132622"/>
                  <a:gd name="connsiteY11" fmla="*/ 92745 h 103972"/>
                  <a:gd name="connsiteX12" fmla="*/ 17760 w 132622"/>
                  <a:gd name="connsiteY12" fmla="*/ 87045 h 103972"/>
                  <a:gd name="connsiteX13" fmla="*/ 14454 w 132622"/>
                  <a:gd name="connsiteY13" fmla="*/ 79750 h 103972"/>
                  <a:gd name="connsiteX14" fmla="*/ 23688 w 132622"/>
                  <a:gd name="connsiteY14" fmla="*/ 78496 h 103972"/>
                  <a:gd name="connsiteX15" fmla="*/ 30983 w 132622"/>
                  <a:gd name="connsiteY15" fmla="*/ 75874 h 103972"/>
                  <a:gd name="connsiteX16" fmla="*/ 41014 w 132622"/>
                  <a:gd name="connsiteY16" fmla="*/ 78724 h 103972"/>
                  <a:gd name="connsiteX17" fmla="*/ 48366 w 132622"/>
                  <a:gd name="connsiteY17" fmla="*/ 73936 h 103972"/>
                  <a:gd name="connsiteX18" fmla="*/ 65465 w 132622"/>
                  <a:gd name="connsiteY18" fmla="*/ 76957 h 103972"/>
                  <a:gd name="connsiteX19" fmla="*/ 75610 w 132622"/>
                  <a:gd name="connsiteY19" fmla="*/ 79807 h 103972"/>
                  <a:gd name="connsiteX20" fmla="*/ 82221 w 132622"/>
                  <a:gd name="connsiteY20" fmla="*/ 73196 h 103972"/>
                  <a:gd name="connsiteX21" fmla="*/ 73672 w 132622"/>
                  <a:gd name="connsiteY21" fmla="*/ 67496 h 103972"/>
                  <a:gd name="connsiteX22" fmla="*/ 16677 w 132622"/>
                  <a:gd name="connsiteY22" fmla="*/ 61511 h 103972"/>
                  <a:gd name="connsiteX23" fmla="*/ 14739 w 132622"/>
                  <a:gd name="connsiteY23" fmla="*/ 53247 h 103972"/>
                  <a:gd name="connsiteX24" fmla="*/ 206 w 132622"/>
                  <a:gd name="connsiteY24" fmla="*/ 39284 h 103972"/>
                  <a:gd name="connsiteX25" fmla="*/ 7501 w 132622"/>
                  <a:gd name="connsiteY25" fmla="*/ 25035 h 103972"/>
                  <a:gd name="connsiteX26" fmla="*/ 10693 w 132622"/>
                  <a:gd name="connsiteY26" fmla="*/ 10216 h 103972"/>
                  <a:gd name="connsiteX27" fmla="*/ 20553 w 132622"/>
                  <a:gd name="connsiteY27" fmla="*/ 6911 h 103972"/>
                  <a:gd name="connsiteX28" fmla="*/ 19926 w 132622"/>
                  <a:gd name="connsiteY28" fmla="*/ 1211 h 103972"/>
                  <a:gd name="connsiteX29" fmla="*/ 24713 w 132622"/>
                  <a:gd name="connsiteY29" fmla="*/ 641 h 103972"/>
                  <a:gd name="connsiteX30" fmla="*/ 57599 w 132622"/>
                  <a:gd name="connsiteY30" fmla="*/ 641 h 103972"/>
                  <a:gd name="connsiteX31" fmla="*/ 73615 w 132622"/>
                  <a:gd name="connsiteY31" fmla="*/ 5429 h 103972"/>
                  <a:gd name="connsiteX32" fmla="*/ 79713 w 132622"/>
                  <a:gd name="connsiteY32" fmla="*/ 12382 h 103972"/>
                  <a:gd name="connsiteX33" fmla="*/ 90030 w 132622"/>
                  <a:gd name="connsiteY33" fmla="*/ 17740 h 103972"/>
                  <a:gd name="connsiteX34" fmla="*/ 91112 w 132622"/>
                  <a:gd name="connsiteY34" fmla="*/ 22983 h 103972"/>
                  <a:gd name="connsiteX35" fmla="*/ 97325 w 132622"/>
                  <a:gd name="connsiteY35" fmla="*/ 30677 h 103972"/>
                  <a:gd name="connsiteX36" fmla="*/ 108211 w 132622"/>
                  <a:gd name="connsiteY36" fmla="*/ 39341 h 103972"/>
                  <a:gd name="connsiteX37" fmla="*/ 111687 w 132622"/>
                  <a:gd name="connsiteY37" fmla="*/ 42817 h 103972"/>
                  <a:gd name="connsiteX38" fmla="*/ 115164 w 132622"/>
                  <a:gd name="connsiteY38" fmla="*/ 59916 h 103972"/>
                  <a:gd name="connsiteX39" fmla="*/ 119496 w 132622"/>
                  <a:gd name="connsiteY39" fmla="*/ 64817 h 103972"/>
                  <a:gd name="connsiteX40" fmla="*/ 123258 w 132622"/>
                  <a:gd name="connsiteY40" fmla="*/ 73879 h 103972"/>
                  <a:gd name="connsiteX41" fmla="*/ 128558 w 132622"/>
                  <a:gd name="connsiteY41" fmla="*/ 76615 h 103972"/>
                  <a:gd name="connsiteX42" fmla="*/ 132491 w 132622"/>
                  <a:gd name="connsiteY42" fmla="*/ 88014 h 103972"/>
                  <a:gd name="connsiteX43" fmla="*/ 132548 w 132622"/>
                  <a:gd name="connsiteY43" fmla="*/ 102206 h 10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2622" h="103972">
                    <a:moveTo>
                      <a:pt x="132548" y="102206"/>
                    </a:moveTo>
                    <a:lnTo>
                      <a:pt x="132548" y="103973"/>
                    </a:lnTo>
                    <a:cubicBezTo>
                      <a:pt x="131693" y="103973"/>
                      <a:pt x="130838" y="103973"/>
                      <a:pt x="130040" y="103517"/>
                    </a:cubicBezTo>
                    <a:cubicBezTo>
                      <a:pt x="127304" y="102833"/>
                      <a:pt x="124625" y="101921"/>
                      <a:pt x="121890" y="101408"/>
                    </a:cubicBezTo>
                    <a:cubicBezTo>
                      <a:pt x="113740" y="99983"/>
                      <a:pt x="104791" y="102377"/>
                      <a:pt x="97268" y="99584"/>
                    </a:cubicBezTo>
                    <a:cubicBezTo>
                      <a:pt x="93677" y="98273"/>
                      <a:pt x="90486" y="95936"/>
                      <a:pt x="86895" y="94569"/>
                    </a:cubicBezTo>
                    <a:cubicBezTo>
                      <a:pt x="83355" y="92859"/>
                      <a:pt x="79149" y="93326"/>
                      <a:pt x="76066" y="95765"/>
                    </a:cubicBezTo>
                    <a:cubicBezTo>
                      <a:pt x="75747" y="96159"/>
                      <a:pt x="75462" y="96580"/>
                      <a:pt x="75211" y="97019"/>
                    </a:cubicBezTo>
                    <a:cubicBezTo>
                      <a:pt x="73450" y="94608"/>
                      <a:pt x="70617" y="93201"/>
                      <a:pt x="67631" y="93258"/>
                    </a:cubicBezTo>
                    <a:cubicBezTo>
                      <a:pt x="58272" y="92955"/>
                      <a:pt x="48902" y="93679"/>
                      <a:pt x="39703" y="95423"/>
                    </a:cubicBezTo>
                    <a:lnTo>
                      <a:pt x="26195" y="97475"/>
                    </a:lnTo>
                    <a:cubicBezTo>
                      <a:pt x="26366" y="95857"/>
                      <a:pt x="26093" y="94221"/>
                      <a:pt x="25398" y="92745"/>
                    </a:cubicBezTo>
                    <a:cubicBezTo>
                      <a:pt x="23859" y="89895"/>
                      <a:pt x="20211" y="89040"/>
                      <a:pt x="17760" y="87045"/>
                    </a:cubicBezTo>
                    <a:cubicBezTo>
                      <a:pt x="15663" y="85199"/>
                      <a:pt x="14460" y="82543"/>
                      <a:pt x="14454" y="79750"/>
                    </a:cubicBezTo>
                    <a:cubicBezTo>
                      <a:pt x="17589" y="80046"/>
                      <a:pt x="20747" y="79619"/>
                      <a:pt x="23688" y="78496"/>
                    </a:cubicBezTo>
                    <a:cubicBezTo>
                      <a:pt x="25962" y="77236"/>
                      <a:pt x="28424" y="76353"/>
                      <a:pt x="30983" y="75874"/>
                    </a:cubicBezTo>
                    <a:cubicBezTo>
                      <a:pt x="34448" y="76336"/>
                      <a:pt x="37822" y="77299"/>
                      <a:pt x="41014" y="78724"/>
                    </a:cubicBezTo>
                    <a:cubicBezTo>
                      <a:pt x="44434" y="79522"/>
                      <a:pt x="49164" y="77356"/>
                      <a:pt x="48366" y="73936"/>
                    </a:cubicBezTo>
                    <a:cubicBezTo>
                      <a:pt x="54208" y="73828"/>
                      <a:pt x="60016" y="74854"/>
                      <a:pt x="65465" y="76957"/>
                    </a:cubicBezTo>
                    <a:cubicBezTo>
                      <a:pt x="68628" y="78559"/>
                      <a:pt x="72076" y="79528"/>
                      <a:pt x="75610" y="79807"/>
                    </a:cubicBezTo>
                    <a:cubicBezTo>
                      <a:pt x="79144" y="79807"/>
                      <a:pt x="82848" y="76672"/>
                      <a:pt x="82221" y="73196"/>
                    </a:cubicBezTo>
                    <a:cubicBezTo>
                      <a:pt x="81594" y="69719"/>
                      <a:pt x="77206" y="68294"/>
                      <a:pt x="73672" y="67496"/>
                    </a:cubicBezTo>
                    <a:cubicBezTo>
                      <a:pt x="54807" y="64395"/>
                      <a:pt x="35776" y="62395"/>
                      <a:pt x="16677" y="61511"/>
                    </a:cubicBezTo>
                    <a:cubicBezTo>
                      <a:pt x="16888" y="58622"/>
                      <a:pt x="16210" y="55744"/>
                      <a:pt x="14739" y="53247"/>
                    </a:cubicBezTo>
                    <a:cubicBezTo>
                      <a:pt x="10978" y="47548"/>
                      <a:pt x="1745" y="45952"/>
                      <a:pt x="206" y="39284"/>
                    </a:cubicBezTo>
                    <a:cubicBezTo>
                      <a:pt x="-1048" y="33584"/>
                      <a:pt x="3682" y="29081"/>
                      <a:pt x="7501" y="25035"/>
                    </a:cubicBezTo>
                    <a:cubicBezTo>
                      <a:pt x="11320" y="20988"/>
                      <a:pt x="14511" y="14263"/>
                      <a:pt x="10693" y="10216"/>
                    </a:cubicBezTo>
                    <a:cubicBezTo>
                      <a:pt x="14101" y="9521"/>
                      <a:pt x="17413" y="8410"/>
                      <a:pt x="20553" y="6911"/>
                    </a:cubicBezTo>
                    <a:cubicBezTo>
                      <a:pt x="21072" y="5001"/>
                      <a:pt x="20849" y="2961"/>
                      <a:pt x="19926" y="1211"/>
                    </a:cubicBezTo>
                    <a:lnTo>
                      <a:pt x="24713" y="641"/>
                    </a:lnTo>
                    <a:cubicBezTo>
                      <a:pt x="35657" y="-214"/>
                      <a:pt x="46657" y="-214"/>
                      <a:pt x="57599" y="641"/>
                    </a:cubicBezTo>
                    <a:cubicBezTo>
                      <a:pt x="63345" y="231"/>
                      <a:pt x="69038" y="1929"/>
                      <a:pt x="73615" y="5429"/>
                    </a:cubicBezTo>
                    <a:cubicBezTo>
                      <a:pt x="75781" y="7652"/>
                      <a:pt x="77092" y="10729"/>
                      <a:pt x="79713" y="12382"/>
                    </a:cubicBezTo>
                    <a:cubicBezTo>
                      <a:pt x="82335" y="14035"/>
                      <a:pt x="88206" y="14263"/>
                      <a:pt x="90030" y="17740"/>
                    </a:cubicBezTo>
                    <a:cubicBezTo>
                      <a:pt x="90565" y="19450"/>
                      <a:pt x="90930" y="21205"/>
                      <a:pt x="91112" y="22983"/>
                    </a:cubicBezTo>
                    <a:cubicBezTo>
                      <a:pt x="92286" y="26158"/>
                      <a:pt x="94469" y="28865"/>
                      <a:pt x="97325" y="30677"/>
                    </a:cubicBezTo>
                    <a:lnTo>
                      <a:pt x="108211" y="39341"/>
                    </a:lnTo>
                    <a:cubicBezTo>
                      <a:pt x="109562" y="40292"/>
                      <a:pt x="110736" y="41466"/>
                      <a:pt x="111687" y="42817"/>
                    </a:cubicBezTo>
                    <a:cubicBezTo>
                      <a:pt x="114936" y="47776"/>
                      <a:pt x="111687" y="55128"/>
                      <a:pt x="115164" y="59916"/>
                    </a:cubicBezTo>
                    <a:cubicBezTo>
                      <a:pt x="116361" y="61740"/>
                      <a:pt x="118356" y="62936"/>
                      <a:pt x="119496" y="64817"/>
                    </a:cubicBezTo>
                    <a:cubicBezTo>
                      <a:pt x="121206" y="67667"/>
                      <a:pt x="120807" y="71657"/>
                      <a:pt x="123258" y="73879"/>
                    </a:cubicBezTo>
                    <a:cubicBezTo>
                      <a:pt x="124956" y="74917"/>
                      <a:pt x="126729" y="75829"/>
                      <a:pt x="128558" y="76615"/>
                    </a:cubicBezTo>
                    <a:cubicBezTo>
                      <a:pt x="131624" y="79562"/>
                      <a:pt x="133089" y="83802"/>
                      <a:pt x="132491" y="88014"/>
                    </a:cubicBezTo>
                    <a:cubicBezTo>
                      <a:pt x="132548" y="92973"/>
                      <a:pt x="132548" y="97589"/>
                      <a:pt x="132548" y="10220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3" name="Freihandform: Form 339">
                <a:extLst>
                  <a:ext uri="{FF2B5EF4-FFF2-40B4-BE49-F238E27FC236}">
                    <a16:creationId xmlns:a16="http://schemas.microsoft.com/office/drawing/2014/main" id="{9560EA08-35A4-1719-C734-86239B3A0886}"/>
                  </a:ext>
                </a:extLst>
              </p:cNvPr>
              <p:cNvSpPr/>
              <p:nvPr/>
            </p:nvSpPr>
            <p:spPr>
              <a:xfrm>
                <a:off x="3406260" y="3924630"/>
                <a:ext cx="67882" cy="18295"/>
              </a:xfrm>
              <a:custGeom>
                <a:avLst/>
                <a:gdLst>
                  <a:gd name="connsiteX0" fmla="*/ 34 w 67882"/>
                  <a:gd name="connsiteY0" fmla="*/ 18010 h 18295"/>
                  <a:gd name="connsiteX1" fmla="*/ 2257 w 67882"/>
                  <a:gd name="connsiteY1" fmla="*/ 0 h 18295"/>
                  <a:gd name="connsiteX2" fmla="*/ 59252 w 67882"/>
                  <a:gd name="connsiteY2" fmla="*/ 5985 h 18295"/>
                  <a:gd name="connsiteX3" fmla="*/ 67801 w 67882"/>
                  <a:gd name="connsiteY3" fmla="*/ 11684 h 18295"/>
                  <a:gd name="connsiteX4" fmla="*/ 61190 w 67882"/>
                  <a:gd name="connsiteY4" fmla="*/ 18295 h 18295"/>
                  <a:gd name="connsiteX5" fmla="*/ 51044 w 67882"/>
                  <a:gd name="connsiteY5" fmla="*/ 15446 h 18295"/>
                  <a:gd name="connsiteX6" fmla="*/ 33946 w 67882"/>
                  <a:gd name="connsiteY6" fmla="*/ 12425 h 18295"/>
                  <a:gd name="connsiteX7" fmla="*/ 26594 w 67882"/>
                  <a:gd name="connsiteY7" fmla="*/ 17212 h 18295"/>
                  <a:gd name="connsiteX8" fmla="*/ 16563 w 67882"/>
                  <a:gd name="connsiteY8" fmla="*/ 14363 h 18295"/>
                  <a:gd name="connsiteX9" fmla="*/ 9267 w 67882"/>
                  <a:gd name="connsiteY9" fmla="*/ 16984 h 18295"/>
                  <a:gd name="connsiteX10" fmla="*/ 34 w 67882"/>
                  <a:gd name="connsiteY10" fmla="*/ 18010 h 1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82" h="18295">
                    <a:moveTo>
                      <a:pt x="34" y="18010"/>
                    </a:moveTo>
                    <a:cubicBezTo>
                      <a:pt x="-308" y="12311"/>
                      <a:pt x="2029" y="5928"/>
                      <a:pt x="2257" y="0"/>
                    </a:cubicBezTo>
                    <a:cubicBezTo>
                      <a:pt x="21356" y="883"/>
                      <a:pt x="40386" y="2884"/>
                      <a:pt x="59252" y="5985"/>
                    </a:cubicBezTo>
                    <a:cubicBezTo>
                      <a:pt x="62785" y="6554"/>
                      <a:pt x="67117" y="7922"/>
                      <a:pt x="67801" y="11684"/>
                    </a:cubicBezTo>
                    <a:cubicBezTo>
                      <a:pt x="68485" y="15446"/>
                      <a:pt x="64723" y="18124"/>
                      <a:pt x="61190" y="18295"/>
                    </a:cubicBezTo>
                    <a:cubicBezTo>
                      <a:pt x="57656" y="18016"/>
                      <a:pt x="54208" y="17047"/>
                      <a:pt x="51044" y="15446"/>
                    </a:cubicBezTo>
                    <a:cubicBezTo>
                      <a:pt x="45596" y="13342"/>
                      <a:pt x="39788" y="12317"/>
                      <a:pt x="33946" y="12425"/>
                    </a:cubicBezTo>
                    <a:cubicBezTo>
                      <a:pt x="34744" y="15845"/>
                      <a:pt x="30013" y="18124"/>
                      <a:pt x="26594" y="17212"/>
                    </a:cubicBezTo>
                    <a:cubicBezTo>
                      <a:pt x="23402" y="15787"/>
                      <a:pt x="20028" y="14824"/>
                      <a:pt x="16563" y="14363"/>
                    </a:cubicBezTo>
                    <a:cubicBezTo>
                      <a:pt x="14009" y="14841"/>
                      <a:pt x="11542" y="15725"/>
                      <a:pt x="9267" y="16984"/>
                    </a:cubicBezTo>
                    <a:cubicBezTo>
                      <a:pt x="6309" y="18027"/>
                      <a:pt x="3152" y="18381"/>
                      <a:pt x="34" y="1801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4" name="Freihandform: Form 340">
                <a:extLst>
                  <a:ext uri="{FF2B5EF4-FFF2-40B4-BE49-F238E27FC236}">
                    <a16:creationId xmlns:a16="http://schemas.microsoft.com/office/drawing/2014/main" id="{3D4E3863-3A58-4E4C-9375-4A541268ED10}"/>
                  </a:ext>
                </a:extLst>
              </p:cNvPr>
              <p:cNvSpPr/>
              <p:nvPr/>
            </p:nvSpPr>
            <p:spPr>
              <a:xfrm>
                <a:off x="3639402" y="3900419"/>
                <a:ext cx="189792" cy="130825"/>
              </a:xfrm>
              <a:custGeom>
                <a:avLst/>
                <a:gdLst>
                  <a:gd name="connsiteX0" fmla="*/ 189792 w 189792"/>
                  <a:gd name="connsiteY0" fmla="*/ 69352 h 130825"/>
                  <a:gd name="connsiteX1" fmla="*/ 187114 w 189792"/>
                  <a:gd name="connsiteY1" fmla="*/ 77901 h 130825"/>
                  <a:gd name="connsiteX2" fmla="*/ 183637 w 189792"/>
                  <a:gd name="connsiteY2" fmla="*/ 80523 h 130825"/>
                  <a:gd name="connsiteX3" fmla="*/ 167906 w 189792"/>
                  <a:gd name="connsiteY3" fmla="*/ 88103 h 130825"/>
                  <a:gd name="connsiteX4" fmla="*/ 158388 w 189792"/>
                  <a:gd name="connsiteY4" fmla="*/ 98191 h 130825"/>
                  <a:gd name="connsiteX5" fmla="*/ 135191 w 189792"/>
                  <a:gd name="connsiteY5" fmla="*/ 95227 h 130825"/>
                  <a:gd name="connsiteX6" fmla="*/ 132250 w 189792"/>
                  <a:gd name="connsiteY6" fmla="*/ 97741 h 130825"/>
                  <a:gd name="connsiteX7" fmla="*/ 132684 w 189792"/>
                  <a:gd name="connsiteY7" fmla="*/ 99445 h 130825"/>
                  <a:gd name="connsiteX8" fmla="*/ 132684 w 189792"/>
                  <a:gd name="connsiteY8" fmla="*/ 99445 h 130825"/>
                  <a:gd name="connsiteX9" fmla="*/ 128694 w 189792"/>
                  <a:gd name="connsiteY9" fmla="*/ 97678 h 130825"/>
                  <a:gd name="connsiteX10" fmla="*/ 119404 w 189792"/>
                  <a:gd name="connsiteY10" fmla="*/ 96367 h 130825"/>
                  <a:gd name="connsiteX11" fmla="*/ 91648 w 189792"/>
                  <a:gd name="connsiteY11" fmla="*/ 95227 h 130825"/>
                  <a:gd name="connsiteX12" fmla="*/ 77969 w 189792"/>
                  <a:gd name="connsiteY12" fmla="*/ 98761 h 130825"/>
                  <a:gd name="connsiteX13" fmla="*/ 75176 w 189792"/>
                  <a:gd name="connsiteY13" fmla="*/ 105372 h 130825"/>
                  <a:gd name="connsiteX14" fmla="*/ 74207 w 189792"/>
                  <a:gd name="connsiteY14" fmla="*/ 122471 h 130825"/>
                  <a:gd name="connsiteX15" fmla="*/ 51409 w 189792"/>
                  <a:gd name="connsiteY15" fmla="*/ 122471 h 130825"/>
                  <a:gd name="connsiteX16" fmla="*/ 37673 w 189792"/>
                  <a:gd name="connsiteY16" fmla="*/ 124751 h 130825"/>
                  <a:gd name="connsiteX17" fmla="*/ 37161 w 189792"/>
                  <a:gd name="connsiteY17" fmla="*/ 130735 h 130825"/>
                  <a:gd name="connsiteX18" fmla="*/ 27927 w 189792"/>
                  <a:gd name="connsiteY18" fmla="*/ 123839 h 130825"/>
                  <a:gd name="connsiteX19" fmla="*/ 20005 w 189792"/>
                  <a:gd name="connsiteY19" fmla="*/ 114833 h 130825"/>
                  <a:gd name="connsiteX20" fmla="*/ 17213 w 189792"/>
                  <a:gd name="connsiteY20" fmla="*/ 114035 h 130825"/>
                  <a:gd name="connsiteX21" fmla="*/ 15617 w 189792"/>
                  <a:gd name="connsiteY21" fmla="*/ 111528 h 130825"/>
                  <a:gd name="connsiteX22" fmla="*/ 8948 w 189792"/>
                  <a:gd name="connsiteY22" fmla="*/ 108906 h 130825"/>
                  <a:gd name="connsiteX23" fmla="*/ 2451 w 189792"/>
                  <a:gd name="connsiteY23" fmla="*/ 112554 h 130825"/>
                  <a:gd name="connsiteX24" fmla="*/ 0 w 189792"/>
                  <a:gd name="connsiteY24" fmla="*/ 107538 h 130825"/>
                  <a:gd name="connsiteX25" fmla="*/ 6041 w 189792"/>
                  <a:gd name="connsiteY25" fmla="*/ 102295 h 130825"/>
                  <a:gd name="connsiteX26" fmla="*/ 10145 w 189792"/>
                  <a:gd name="connsiteY26" fmla="*/ 101098 h 130825"/>
                  <a:gd name="connsiteX27" fmla="*/ 12596 w 189792"/>
                  <a:gd name="connsiteY27" fmla="*/ 89699 h 130825"/>
                  <a:gd name="connsiteX28" fmla="*/ 18295 w 189792"/>
                  <a:gd name="connsiteY28" fmla="*/ 81776 h 130825"/>
                  <a:gd name="connsiteX29" fmla="*/ 18295 w 189792"/>
                  <a:gd name="connsiteY29" fmla="*/ 76077 h 130825"/>
                  <a:gd name="connsiteX30" fmla="*/ 24736 w 189792"/>
                  <a:gd name="connsiteY30" fmla="*/ 73341 h 130825"/>
                  <a:gd name="connsiteX31" fmla="*/ 33855 w 189792"/>
                  <a:gd name="connsiteY31" fmla="*/ 62854 h 130825"/>
                  <a:gd name="connsiteX32" fmla="*/ 38642 w 189792"/>
                  <a:gd name="connsiteY32" fmla="*/ 51911 h 130825"/>
                  <a:gd name="connsiteX33" fmla="*/ 44342 w 189792"/>
                  <a:gd name="connsiteY33" fmla="*/ 34357 h 130825"/>
                  <a:gd name="connsiteX34" fmla="*/ 55741 w 189792"/>
                  <a:gd name="connsiteY34" fmla="*/ 34357 h 130825"/>
                  <a:gd name="connsiteX35" fmla="*/ 57964 w 189792"/>
                  <a:gd name="connsiteY35" fmla="*/ 36865 h 130825"/>
                  <a:gd name="connsiteX36" fmla="*/ 66684 w 189792"/>
                  <a:gd name="connsiteY36" fmla="*/ 37834 h 130825"/>
                  <a:gd name="connsiteX37" fmla="*/ 70103 w 189792"/>
                  <a:gd name="connsiteY37" fmla="*/ 25751 h 130825"/>
                  <a:gd name="connsiteX38" fmla="*/ 79963 w 189792"/>
                  <a:gd name="connsiteY38" fmla="*/ 18740 h 130825"/>
                  <a:gd name="connsiteX39" fmla="*/ 88285 w 189792"/>
                  <a:gd name="connsiteY39" fmla="*/ 18227 h 130825"/>
                  <a:gd name="connsiteX40" fmla="*/ 94326 w 189792"/>
                  <a:gd name="connsiteY40" fmla="*/ 11217 h 130825"/>
                  <a:gd name="connsiteX41" fmla="*/ 104528 w 189792"/>
                  <a:gd name="connsiteY41" fmla="*/ 9564 h 130825"/>
                  <a:gd name="connsiteX42" fmla="*/ 105782 w 189792"/>
                  <a:gd name="connsiteY42" fmla="*/ 5802 h 130825"/>
                  <a:gd name="connsiteX43" fmla="*/ 116383 w 189792"/>
                  <a:gd name="connsiteY43" fmla="*/ 673 h 130825"/>
                  <a:gd name="connsiteX44" fmla="*/ 126414 w 189792"/>
                  <a:gd name="connsiteY44" fmla="*/ 103 h 130825"/>
                  <a:gd name="connsiteX45" fmla="*/ 132114 w 189792"/>
                  <a:gd name="connsiteY45" fmla="*/ 901 h 130825"/>
                  <a:gd name="connsiteX46" fmla="*/ 135762 w 189792"/>
                  <a:gd name="connsiteY46" fmla="*/ 14067 h 130825"/>
                  <a:gd name="connsiteX47" fmla="*/ 148186 w 189792"/>
                  <a:gd name="connsiteY47" fmla="*/ 25466 h 130825"/>
                  <a:gd name="connsiteX48" fmla="*/ 151378 w 189792"/>
                  <a:gd name="connsiteY48" fmla="*/ 33559 h 130825"/>
                  <a:gd name="connsiteX49" fmla="*/ 155767 w 189792"/>
                  <a:gd name="connsiteY49" fmla="*/ 41424 h 130825"/>
                  <a:gd name="connsiteX50" fmla="*/ 154285 w 189792"/>
                  <a:gd name="connsiteY50" fmla="*/ 43704 h 130825"/>
                  <a:gd name="connsiteX51" fmla="*/ 157077 w 189792"/>
                  <a:gd name="connsiteY51" fmla="*/ 48264 h 130825"/>
                  <a:gd name="connsiteX52" fmla="*/ 162777 w 189792"/>
                  <a:gd name="connsiteY52" fmla="*/ 50315 h 130825"/>
                  <a:gd name="connsiteX53" fmla="*/ 169787 w 189792"/>
                  <a:gd name="connsiteY53" fmla="*/ 59890 h 130825"/>
                  <a:gd name="connsiteX54" fmla="*/ 183865 w 189792"/>
                  <a:gd name="connsiteY54" fmla="*/ 62797 h 130825"/>
                  <a:gd name="connsiteX55" fmla="*/ 189792 w 189792"/>
                  <a:gd name="connsiteY55" fmla="*/ 69352 h 1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89792" h="130825">
                    <a:moveTo>
                      <a:pt x="189792" y="69352"/>
                    </a:moveTo>
                    <a:cubicBezTo>
                      <a:pt x="189508" y="72355"/>
                      <a:pt x="188595" y="75273"/>
                      <a:pt x="187114" y="77901"/>
                    </a:cubicBezTo>
                    <a:cubicBezTo>
                      <a:pt x="186151" y="79007"/>
                      <a:pt x="184965" y="79901"/>
                      <a:pt x="183637" y="80523"/>
                    </a:cubicBezTo>
                    <a:cubicBezTo>
                      <a:pt x="178565" y="83315"/>
                      <a:pt x="172922" y="85139"/>
                      <a:pt x="167906" y="88103"/>
                    </a:cubicBezTo>
                    <a:cubicBezTo>
                      <a:pt x="163740" y="90365"/>
                      <a:pt x="160406" y="93899"/>
                      <a:pt x="158388" y="98191"/>
                    </a:cubicBezTo>
                    <a:cubicBezTo>
                      <a:pt x="151036" y="95227"/>
                      <a:pt x="143051" y="94207"/>
                      <a:pt x="135191" y="95227"/>
                    </a:cubicBezTo>
                    <a:cubicBezTo>
                      <a:pt x="133687" y="95107"/>
                      <a:pt x="132370" y="96236"/>
                      <a:pt x="132250" y="97741"/>
                    </a:cubicBezTo>
                    <a:cubicBezTo>
                      <a:pt x="132205" y="98339"/>
                      <a:pt x="132353" y="98937"/>
                      <a:pt x="132684" y="99445"/>
                    </a:cubicBezTo>
                    <a:lnTo>
                      <a:pt x="132684" y="99445"/>
                    </a:lnTo>
                    <a:cubicBezTo>
                      <a:pt x="131401" y="98749"/>
                      <a:pt x="130068" y="98162"/>
                      <a:pt x="128694" y="97678"/>
                    </a:cubicBezTo>
                    <a:cubicBezTo>
                      <a:pt x="125673" y="96812"/>
                      <a:pt x="122544" y="96373"/>
                      <a:pt x="119404" y="96367"/>
                    </a:cubicBezTo>
                    <a:lnTo>
                      <a:pt x="91648" y="95227"/>
                    </a:lnTo>
                    <a:cubicBezTo>
                      <a:pt x="86791" y="94332"/>
                      <a:pt x="81787" y="95626"/>
                      <a:pt x="77969" y="98761"/>
                    </a:cubicBezTo>
                    <a:cubicBezTo>
                      <a:pt x="76504" y="100699"/>
                      <a:pt x="75541" y="102973"/>
                      <a:pt x="75176" y="105372"/>
                    </a:cubicBezTo>
                    <a:cubicBezTo>
                      <a:pt x="74133" y="111009"/>
                      <a:pt x="73808" y="116754"/>
                      <a:pt x="74207" y="122471"/>
                    </a:cubicBezTo>
                    <a:cubicBezTo>
                      <a:pt x="66684" y="120938"/>
                      <a:pt x="58932" y="120938"/>
                      <a:pt x="51409" y="122471"/>
                    </a:cubicBezTo>
                    <a:cubicBezTo>
                      <a:pt x="47072" y="124300"/>
                      <a:pt x="42370" y="125081"/>
                      <a:pt x="37673" y="124751"/>
                    </a:cubicBezTo>
                    <a:lnTo>
                      <a:pt x="37161" y="130735"/>
                    </a:lnTo>
                    <a:cubicBezTo>
                      <a:pt x="33114" y="131476"/>
                      <a:pt x="29808" y="127543"/>
                      <a:pt x="27927" y="123839"/>
                    </a:cubicBezTo>
                    <a:cubicBezTo>
                      <a:pt x="26047" y="120134"/>
                      <a:pt x="23995" y="115802"/>
                      <a:pt x="20005" y="114833"/>
                    </a:cubicBezTo>
                    <a:cubicBezTo>
                      <a:pt x="19025" y="114776"/>
                      <a:pt x="18073" y="114503"/>
                      <a:pt x="17213" y="114035"/>
                    </a:cubicBezTo>
                    <a:cubicBezTo>
                      <a:pt x="16534" y="113306"/>
                      <a:pt x="15993" y="112451"/>
                      <a:pt x="15617" y="111528"/>
                    </a:cubicBezTo>
                    <a:cubicBezTo>
                      <a:pt x="14100" y="109419"/>
                      <a:pt x="11490" y="108393"/>
                      <a:pt x="8948" y="108906"/>
                    </a:cubicBezTo>
                    <a:cubicBezTo>
                      <a:pt x="6480" y="109487"/>
                      <a:pt x="4229" y="110752"/>
                      <a:pt x="2451" y="112554"/>
                    </a:cubicBezTo>
                    <a:cubicBezTo>
                      <a:pt x="3015" y="110502"/>
                      <a:pt x="1966" y="108353"/>
                      <a:pt x="0" y="107538"/>
                    </a:cubicBezTo>
                    <a:cubicBezTo>
                      <a:pt x="1191" y="105025"/>
                      <a:pt x="3385" y="103121"/>
                      <a:pt x="6041" y="102295"/>
                    </a:cubicBezTo>
                    <a:cubicBezTo>
                      <a:pt x="7466" y="102129"/>
                      <a:pt x="8857" y="101725"/>
                      <a:pt x="10145" y="101098"/>
                    </a:cubicBezTo>
                    <a:cubicBezTo>
                      <a:pt x="13394" y="98818"/>
                      <a:pt x="11000" y="93460"/>
                      <a:pt x="12596" y="89699"/>
                    </a:cubicBezTo>
                    <a:cubicBezTo>
                      <a:pt x="14192" y="85937"/>
                      <a:pt x="18295" y="85082"/>
                      <a:pt x="18295" y="81776"/>
                    </a:cubicBezTo>
                    <a:cubicBezTo>
                      <a:pt x="18295" y="79839"/>
                      <a:pt x="17440" y="77787"/>
                      <a:pt x="18295" y="76077"/>
                    </a:cubicBezTo>
                    <a:cubicBezTo>
                      <a:pt x="19150" y="74367"/>
                      <a:pt x="22399" y="74025"/>
                      <a:pt x="24736" y="73341"/>
                    </a:cubicBezTo>
                    <a:cubicBezTo>
                      <a:pt x="29352" y="72087"/>
                      <a:pt x="31917" y="67243"/>
                      <a:pt x="33855" y="62854"/>
                    </a:cubicBezTo>
                    <a:cubicBezTo>
                      <a:pt x="35793" y="58466"/>
                      <a:pt x="37161" y="55616"/>
                      <a:pt x="38642" y="51911"/>
                    </a:cubicBezTo>
                    <a:cubicBezTo>
                      <a:pt x="40945" y="46200"/>
                      <a:pt x="42849" y="40330"/>
                      <a:pt x="44342" y="34357"/>
                    </a:cubicBezTo>
                    <a:cubicBezTo>
                      <a:pt x="47499" y="31228"/>
                      <a:pt x="52583" y="31228"/>
                      <a:pt x="55741" y="34357"/>
                    </a:cubicBezTo>
                    <a:cubicBezTo>
                      <a:pt x="56408" y="35257"/>
                      <a:pt x="57148" y="36095"/>
                      <a:pt x="57964" y="36865"/>
                    </a:cubicBezTo>
                    <a:cubicBezTo>
                      <a:pt x="60580" y="38477"/>
                      <a:pt x="63777" y="38831"/>
                      <a:pt x="66684" y="37834"/>
                    </a:cubicBezTo>
                    <a:cubicBezTo>
                      <a:pt x="67151" y="33644"/>
                      <a:pt x="68303" y="29563"/>
                      <a:pt x="70103" y="25751"/>
                    </a:cubicBezTo>
                    <a:cubicBezTo>
                      <a:pt x="71996" y="21898"/>
                      <a:pt x="75706" y="19265"/>
                      <a:pt x="79963" y="18740"/>
                    </a:cubicBezTo>
                    <a:cubicBezTo>
                      <a:pt x="82813" y="18740"/>
                      <a:pt x="85663" y="19709"/>
                      <a:pt x="88285" y="18227"/>
                    </a:cubicBezTo>
                    <a:cubicBezTo>
                      <a:pt x="90907" y="16745"/>
                      <a:pt x="91476" y="12528"/>
                      <a:pt x="94326" y="11217"/>
                    </a:cubicBezTo>
                    <a:cubicBezTo>
                      <a:pt x="97176" y="9906"/>
                      <a:pt x="102419" y="12414"/>
                      <a:pt x="104528" y="9564"/>
                    </a:cubicBezTo>
                    <a:cubicBezTo>
                      <a:pt x="105121" y="8379"/>
                      <a:pt x="105548" y="7108"/>
                      <a:pt x="105782" y="5802"/>
                    </a:cubicBezTo>
                    <a:cubicBezTo>
                      <a:pt x="107150" y="1870"/>
                      <a:pt x="112223" y="958"/>
                      <a:pt x="116383" y="673"/>
                    </a:cubicBezTo>
                    <a:lnTo>
                      <a:pt x="126414" y="103"/>
                    </a:lnTo>
                    <a:cubicBezTo>
                      <a:pt x="128352" y="-171"/>
                      <a:pt x="130324" y="103"/>
                      <a:pt x="132114" y="901"/>
                    </a:cubicBezTo>
                    <a:cubicBezTo>
                      <a:pt x="136217" y="3352"/>
                      <a:pt x="135021" y="9393"/>
                      <a:pt x="135762" y="14067"/>
                    </a:cubicBezTo>
                    <a:cubicBezTo>
                      <a:pt x="136884" y="20222"/>
                      <a:pt x="141957" y="24879"/>
                      <a:pt x="148186" y="25466"/>
                    </a:cubicBezTo>
                    <a:cubicBezTo>
                      <a:pt x="146020" y="27916"/>
                      <a:pt x="148756" y="31621"/>
                      <a:pt x="151378" y="33559"/>
                    </a:cubicBezTo>
                    <a:cubicBezTo>
                      <a:pt x="154000" y="35497"/>
                      <a:pt x="157077" y="38460"/>
                      <a:pt x="155767" y="41424"/>
                    </a:cubicBezTo>
                    <a:cubicBezTo>
                      <a:pt x="155202" y="42136"/>
                      <a:pt x="154706" y="42900"/>
                      <a:pt x="154285" y="43704"/>
                    </a:cubicBezTo>
                    <a:cubicBezTo>
                      <a:pt x="153658" y="45585"/>
                      <a:pt x="155311" y="47466"/>
                      <a:pt x="157077" y="48264"/>
                    </a:cubicBezTo>
                    <a:cubicBezTo>
                      <a:pt x="159021" y="48816"/>
                      <a:pt x="160925" y="49500"/>
                      <a:pt x="162777" y="50315"/>
                    </a:cubicBezTo>
                    <a:cubicBezTo>
                      <a:pt x="166083" y="52538"/>
                      <a:pt x="166596" y="57440"/>
                      <a:pt x="169787" y="59890"/>
                    </a:cubicBezTo>
                    <a:cubicBezTo>
                      <a:pt x="172979" y="62341"/>
                      <a:pt x="179476" y="60688"/>
                      <a:pt x="183865" y="62797"/>
                    </a:cubicBezTo>
                    <a:cubicBezTo>
                      <a:pt x="186527" y="64245"/>
                      <a:pt x="188618" y="66559"/>
                      <a:pt x="189792" y="69352"/>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625" name="Freihandform: Form 341">
                <a:extLst>
                  <a:ext uri="{FF2B5EF4-FFF2-40B4-BE49-F238E27FC236}">
                    <a16:creationId xmlns:a16="http://schemas.microsoft.com/office/drawing/2014/main" id="{D8BA7308-00E2-03B7-AD5C-7FE98121079D}"/>
                  </a:ext>
                </a:extLst>
              </p:cNvPr>
              <p:cNvSpPr/>
              <p:nvPr/>
            </p:nvSpPr>
            <p:spPr>
              <a:xfrm>
                <a:off x="3505066" y="3649232"/>
                <a:ext cx="362205" cy="367217"/>
              </a:xfrm>
              <a:custGeom>
                <a:avLst/>
                <a:gdLst>
                  <a:gd name="connsiteX0" fmla="*/ 269642 w 362205"/>
                  <a:gd name="connsiteY0" fmla="*/ 255508 h 367217"/>
                  <a:gd name="connsiteX1" fmla="*/ 267020 w 362205"/>
                  <a:gd name="connsiteY1" fmla="*/ 251974 h 367217"/>
                  <a:gd name="connsiteX2" fmla="*/ 261321 w 362205"/>
                  <a:gd name="connsiteY2" fmla="*/ 251176 h 367217"/>
                  <a:gd name="connsiteX3" fmla="*/ 251290 w 362205"/>
                  <a:gd name="connsiteY3" fmla="*/ 251746 h 367217"/>
                  <a:gd name="connsiteX4" fmla="*/ 240689 w 362205"/>
                  <a:gd name="connsiteY4" fmla="*/ 256875 h 367217"/>
                  <a:gd name="connsiteX5" fmla="*/ 239435 w 362205"/>
                  <a:gd name="connsiteY5" fmla="*/ 260637 h 367217"/>
                  <a:gd name="connsiteX6" fmla="*/ 229233 w 362205"/>
                  <a:gd name="connsiteY6" fmla="*/ 262290 h 367217"/>
                  <a:gd name="connsiteX7" fmla="*/ 223191 w 362205"/>
                  <a:gd name="connsiteY7" fmla="*/ 269300 h 367217"/>
                  <a:gd name="connsiteX8" fmla="*/ 214870 w 362205"/>
                  <a:gd name="connsiteY8" fmla="*/ 269813 h 367217"/>
                  <a:gd name="connsiteX9" fmla="*/ 205010 w 362205"/>
                  <a:gd name="connsiteY9" fmla="*/ 276824 h 367217"/>
                  <a:gd name="connsiteX10" fmla="*/ 201590 w 362205"/>
                  <a:gd name="connsiteY10" fmla="*/ 288906 h 367217"/>
                  <a:gd name="connsiteX11" fmla="*/ 192870 w 362205"/>
                  <a:gd name="connsiteY11" fmla="*/ 287938 h 367217"/>
                  <a:gd name="connsiteX12" fmla="*/ 190647 w 362205"/>
                  <a:gd name="connsiteY12" fmla="*/ 285430 h 367217"/>
                  <a:gd name="connsiteX13" fmla="*/ 179249 w 362205"/>
                  <a:gd name="connsiteY13" fmla="*/ 285430 h 367217"/>
                  <a:gd name="connsiteX14" fmla="*/ 173549 w 362205"/>
                  <a:gd name="connsiteY14" fmla="*/ 302984 h 367217"/>
                  <a:gd name="connsiteX15" fmla="*/ 168761 w 362205"/>
                  <a:gd name="connsiteY15" fmla="*/ 313927 h 367217"/>
                  <a:gd name="connsiteX16" fmla="*/ 159642 w 362205"/>
                  <a:gd name="connsiteY16" fmla="*/ 324414 h 367217"/>
                  <a:gd name="connsiteX17" fmla="*/ 153202 w 362205"/>
                  <a:gd name="connsiteY17" fmla="*/ 327150 h 367217"/>
                  <a:gd name="connsiteX18" fmla="*/ 153202 w 362205"/>
                  <a:gd name="connsiteY18" fmla="*/ 332849 h 367217"/>
                  <a:gd name="connsiteX19" fmla="*/ 147502 w 362205"/>
                  <a:gd name="connsiteY19" fmla="*/ 340772 h 367217"/>
                  <a:gd name="connsiteX20" fmla="*/ 145052 w 362205"/>
                  <a:gd name="connsiteY20" fmla="*/ 352171 h 367217"/>
                  <a:gd name="connsiteX21" fmla="*/ 140948 w 362205"/>
                  <a:gd name="connsiteY21" fmla="*/ 353367 h 367217"/>
                  <a:gd name="connsiteX22" fmla="*/ 134906 w 362205"/>
                  <a:gd name="connsiteY22" fmla="*/ 358611 h 367217"/>
                  <a:gd name="connsiteX23" fmla="*/ 134564 w 362205"/>
                  <a:gd name="connsiteY23" fmla="*/ 358611 h 367217"/>
                  <a:gd name="connsiteX24" fmla="*/ 128067 w 362205"/>
                  <a:gd name="connsiteY24" fmla="*/ 358611 h 367217"/>
                  <a:gd name="connsiteX25" fmla="*/ 114446 w 362205"/>
                  <a:gd name="connsiteY25" fmla="*/ 367217 h 367217"/>
                  <a:gd name="connsiteX26" fmla="*/ 105440 w 362205"/>
                  <a:gd name="connsiteY26" fmla="*/ 361062 h 367217"/>
                  <a:gd name="connsiteX27" fmla="*/ 95181 w 362205"/>
                  <a:gd name="connsiteY27" fmla="*/ 360150 h 367217"/>
                  <a:gd name="connsiteX28" fmla="*/ 94554 w 362205"/>
                  <a:gd name="connsiteY28" fmla="*/ 360834 h 367217"/>
                  <a:gd name="connsiteX29" fmla="*/ 91591 w 362205"/>
                  <a:gd name="connsiteY29" fmla="*/ 355533 h 367217"/>
                  <a:gd name="connsiteX30" fmla="*/ 82243 w 362205"/>
                  <a:gd name="connsiteY30" fmla="*/ 343393 h 367217"/>
                  <a:gd name="connsiteX31" fmla="*/ 81787 w 362205"/>
                  <a:gd name="connsiteY31" fmla="*/ 333590 h 367217"/>
                  <a:gd name="connsiteX32" fmla="*/ 76088 w 362205"/>
                  <a:gd name="connsiteY32" fmla="*/ 328290 h 367217"/>
                  <a:gd name="connsiteX33" fmla="*/ 71699 w 362205"/>
                  <a:gd name="connsiteY33" fmla="*/ 318430 h 367217"/>
                  <a:gd name="connsiteX34" fmla="*/ 64746 w 362205"/>
                  <a:gd name="connsiteY34" fmla="*/ 310678 h 367217"/>
                  <a:gd name="connsiteX35" fmla="*/ 51181 w 362205"/>
                  <a:gd name="connsiteY35" fmla="*/ 317062 h 367217"/>
                  <a:gd name="connsiteX36" fmla="*/ 43430 w 362205"/>
                  <a:gd name="connsiteY36" fmla="*/ 318430 h 367217"/>
                  <a:gd name="connsiteX37" fmla="*/ 19720 w 362205"/>
                  <a:gd name="connsiteY37" fmla="*/ 317860 h 367217"/>
                  <a:gd name="connsiteX38" fmla="*/ 19720 w 362205"/>
                  <a:gd name="connsiteY38" fmla="*/ 315979 h 367217"/>
                  <a:gd name="connsiteX39" fmla="*/ 19720 w 362205"/>
                  <a:gd name="connsiteY39" fmla="*/ 302129 h 367217"/>
                  <a:gd name="connsiteX40" fmla="*/ 15788 w 362205"/>
                  <a:gd name="connsiteY40" fmla="*/ 290730 h 367217"/>
                  <a:gd name="connsiteX41" fmla="*/ 10487 w 362205"/>
                  <a:gd name="connsiteY41" fmla="*/ 287994 h 367217"/>
                  <a:gd name="connsiteX42" fmla="*/ 6725 w 362205"/>
                  <a:gd name="connsiteY42" fmla="*/ 278932 h 367217"/>
                  <a:gd name="connsiteX43" fmla="*/ 2394 w 362205"/>
                  <a:gd name="connsiteY43" fmla="*/ 274031 h 367217"/>
                  <a:gd name="connsiteX44" fmla="*/ 0 w 362205"/>
                  <a:gd name="connsiteY44" fmla="*/ 259326 h 367217"/>
                  <a:gd name="connsiteX45" fmla="*/ 4047 w 362205"/>
                  <a:gd name="connsiteY45" fmla="*/ 253171 h 367217"/>
                  <a:gd name="connsiteX46" fmla="*/ 5814 w 362205"/>
                  <a:gd name="connsiteY46" fmla="*/ 251005 h 367217"/>
                  <a:gd name="connsiteX47" fmla="*/ 19606 w 362205"/>
                  <a:gd name="connsiteY47" fmla="*/ 248554 h 367217"/>
                  <a:gd name="connsiteX48" fmla="*/ 22114 w 362205"/>
                  <a:gd name="connsiteY48" fmla="*/ 243254 h 367217"/>
                  <a:gd name="connsiteX49" fmla="*/ 35565 w 362205"/>
                  <a:gd name="connsiteY49" fmla="*/ 243254 h 367217"/>
                  <a:gd name="connsiteX50" fmla="*/ 37104 w 362205"/>
                  <a:gd name="connsiteY50" fmla="*/ 241145 h 367217"/>
                  <a:gd name="connsiteX51" fmla="*/ 46052 w 362205"/>
                  <a:gd name="connsiteY51" fmla="*/ 235445 h 367217"/>
                  <a:gd name="connsiteX52" fmla="*/ 134906 w 362205"/>
                  <a:gd name="connsiteY52" fmla="*/ 235844 h 367217"/>
                  <a:gd name="connsiteX53" fmla="*/ 144539 w 362205"/>
                  <a:gd name="connsiteY53" fmla="*/ 236585 h 367217"/>
                  <a:gd name="connsiteX54" fmla="*/ 145736 w 362205"/>
                  <a:gd name="connsiteY54" fmla="*/ 228036 h 367217"/>
                  <a:gd name="connsiteX55" fmla="*/ 153088 w 362205"/>
                  <a:gd name="connsiteY55" fmla="*/ 225642 h 367217"/>
                  <a:gd name="connsiteX56" fmla="*/ 143456 w 362205"/>
                  <a:gd name="connsiteY56" fmla="*/ 211508 h 367217"/>
                  <a:gd name="connsiteX57" fmla="*/ 138839 w 362205"/>
                  <a:gd name="connsiteY57" fmla="*/ 177311 h 367217"/>
                  <a:gd name="connsiteX58" fmla="*/ 132171 w 362205"/>
                  <a:gd name="connsiteY58" fmla="*/ 92674 h 367217"/>
                  <a:gd name="connsiteX59" fmla="*/ 120031 w 362205"/>
                  <a:gd name="connsiteY59" fmla="*/ 4731 h 367217"/>
                  <a:gd name="connsiteX60" fmla="*/ 139409 w 362205"/>
                  <a:gd name="connsiteY60" fmla="*/ 912 h 367217"/>
                  <a:gd name="connsiteX61" fmla="*/ 147445 w 362205"/>
                  <a:gd name="connsiteY61" fmla="*/ 0 h 367217"/>
                  <a:gd name="connsiteX62" fmla="*/ 166083 w 362205"/>
                  <a:gd name="connsiteY62" fmla="*/ 8378 h 367217"/>
                  <a:gd name="connsiteX63" fmla="*/ 206720 w 362205"/>
                  <a:gd name="connsiteY63" fmla="*/ 36876 h 367217"/>
                  <a:gd name="connsiteX64" fmla="*/ 217492 w 362205"/>
                  <a:gd name="connsiteY64" fmla="*/ 44000 h 367217"/>
                  <a:gd name="connsiteX65" fmla="*/ 225813 w 362205"/>
                  <a:gd name="connsiteY65" fmla="*/ 48617 h 367217"/>
                  <a:gd name="connsiteX66" fmla="*/ 237212 w 362205"/>
                  <a:gd name="connsiteY66" fmla="*/ 57280 h 367217"/>
                  <a:gd name="connsiteX67" fmla="*/ 266223 w 362205"/>
                  <a:gd name="connsiteY67" fmla="*/ 81674 h 367217"/>
                  <a:gd name="connsiteX68" fmla="*/ 291813 w 362205"/>
                  <a:gd name="connsiteY68" fmla="*/ 103161 h 367217"/>
                  <a:gd name="connsiteX69" fmla="*/ 300248 w 362205"/>
                  <a:gd name="connsiteY69" fmla="*/ 110228 h 367217"/>
                  <a:gd name="connsiteX70" fmla="*/ 319512 w 362205"/>
                  <a:gd name="connsiteY70" fmla="*/ 128067 h 367217"/>
                  <a:gd name="connsiteX71" fmla="*/ 326181 w 362205"/>
                  <a:gd name="connsiteY71" fmla="*/ 129606 h 367217"/>
                  <a:gd name="connsiteX72" fmla="*/ 339289 w 362205"/>
                  <a:gd name="connsiteY72" fmla="*/ 147446 h 367217"/>
                  <a:gd name="connsiteX73" fmla="*/ 343906 w 362205"/>
                  <a:gd name="connsiteY73" fmla="*/ 149098 h 367217"/>
                  <a:gd name="connsiteX74" fmla="*/ 345388 w 362205"/>
                  <a:gd name="connsiteY74" fmla="*/ 154000 h 367217"/>
                  <a:gd name="connsiteX75" fmla="*/ 353140 w 362205"/>
                  <a:gd name="connsiteY75" fmla="*/ 154912 h 367217"/>
                  <a:gd name="connsiteX76" fmla="*/ 362201 w 362205"/>
                  <a:gd name="connsiteY76" fmla="*/ 171497 h 367217"/>
                  <a:gd name="connsiteX77" fmla="*/ 361518 w 362205"/>
                  <a:gd name="connsiteY77" fmla="*/ 213844 h 367217"/>
                  <a:gd name="connsiteX78" fmla="*/ 352683 w 362205"/>
                  <a:gd name="connsiteY78" fmla="*/ 218689 h 367217"/>
                  <a:gd name="connsiteX79" fmla="*/ 348637 w 362205"/>
                  <a:gd name="connsiteY79" fmla="*/ 228720 h 367217"/>
                  <a:gd name="connsiteX80" fmla="*/ 324699 w 362205"/>
                  <a:gd name="connsiteY80" fmla="*/ 242342 h 367217"/>
                  <a:gd name="connsiteX81" fmla="*/ 289134 w 362205"/>
                  <a:gd name="connsiteY81" fmla="*/ 247528 h 367217"/>
                  <a:gd name="connsiteX82" fmla="*/ 277165 w 362205"/>
                  <a:gd name="connsiteY82" fmla="*/ 249808 h 367217"/>
                  <a:gd name="connsiteX83" fmla="*/ 269642 w 362205"/>
                  <a:gd name="connsiteY83" fmla="*/ 255508 h 3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205" h="367217">
                    <a:moveTo>
                      <a:pt x="269642" y="255508"/>
                    </a:moveTo>
                    <a:cubicBezTo>
                      <a:pt x="269226" y="254048"/>
                      <a:pt x="268297" y="252795"/>
                      <a:pt x="267020" y="251974"/>
                    </a:cubicBezTo>
                    <a:cubicBezTo>
                      <a:pt x="265231" y="251176"/>
                      <a:pt x="263259" y="250902"/>
                      <a:pt x="261321" y="251176"/>
                    </a:cubicBezTo>
                    <a:lnTo>
                      <a:pt x="251290" y="251746"/>
                    </a:lnTo>
                    <a:cubicBezTo>
                      <a:pt x="247129" y="252031"/>
                      <a:pt x="242056" y="252943"/>
                      <a:pt x="240689" y="256875"/>
                    </a:cubicBezTo>
                    <a:cubicBezTo>
                      <a:pt x="240455" y="258181"/>
                      <a:pt x="240028" y="259451"/>
                      <a:pt x="239435" y="260637"/>
                    </a:cubicBezTo>
                    <a:cubicBezTo>
                      <a:pt x="237326" y="263487"/>
                      <a:pt x="232481" y="260637"/>
                      <a:pt x="229233" y="262290"/>
                    </a:cubicBezTo>
                    <a:cubicBezTo>
                      <a:pt x="225984" y="263943"/>
                      <a:pt x="225870" y="267704"/>
                      <a:pt x="223191" y="269300"/>
                    </a:cubicBezTo>
                    <a:cubicBezTo>
                      <a:pt x="220513" y="270896"/>
                      <a:pt x="217492" y="269699"/>
                      <a:pt x="214870" y="269813"/>
                    </a:cubicBezTo>
                    <a:cubicBezTo>
                      <a:pt x="210613" y="270338"/>
                      <a:pt x="206902" y="272971"/>
                      <a:pt x="205010" y="276824"/>
                    </a:cubicBezTo>
                    <a:cubicBezTo>
                      <a:pt x="203209" y="280637"/>
                      <a:pt x="202058" y="284717"/>
                      <a:pt x="201590" y="288906"/>
                    </a:cubicBezTo>
                    <a:cubicBezTo>
                      <a:pt x="198684" y="289904"/>
                      <a:pt x="195486" y="289550"/>
                      <a:pt x="192870" y="287938"/>
                    </a:cubicBezTo>
                    <a:cubicBezTo>
                      <a:pt x="192055" y="287168"/>
                      <a:pt x="191314" y="286330"/>
                      <a:pt x="190647" y="285430"/>
                    </a:cubicBezTo>
                    <a:cubicBezTo>
                      <a:pt x="187490" y="282301"/>
                      <a:pt x="182406" y="282301"/>
                      <a:pt x="179249" y="285430"/>
                    </a:cubicBezTo>
                    <a:cubicBezTo>
                      <a:pt x="177755" y="291403"/>
                      <a:pt x="175852" y="297268"/>
                      <a:pt x="173549" y="302984"/>
                    </a:cubicBezTo>
                    <a:cubicBezTo>
                      <a:pt x="172067" y="306689"/>
                      <a:pt x="170414" y="310279"/>
                      <a:pt x="168761" y="313927"/>
                    </a:cubicBezTo>
                    <a:cubicBezTo>
                      <a:pt x="167109" y="317575"/>
                      <a:pt x="164259" y="323160"/>
                      <a:pt x="159642" y="324414"/>
                    </a:cubicBezTo>
                    <a:cubicBezTo>
                      <a:pt x="157305" y="325098"/>
                      <a:pt x="154285" y="324984"/>
                      <a:pt x="153202" y="327150"/>
                    </a:cubicBezTo>
                    <a:cubicBezTo>
                      <a:pt x="152119" y="329316"/>
                      <a:pt x="153202" y="330969"/>
                      <a:pt x="153202" y="332849"/>
                    </a:cubicBezTo>
                    <a:cubicBezTo>
                      <a:pt x="152746" y="336155"/>
                      <a:pt x="148585" y="337694"/>
                      <a:pt x="147502" y="340772"/>
                    </a:cubicBezTo>
                    <a:cubicBezTo>
                      <a:pt x="146419" y="343849"/>
                      <a:pt x="148300" y="349777"/>
                      <a:pt x="145052" y="352171"/>
                    </a:cubicBezTo>
                    <a:cubicBezTo>
                      <a:pt x="143764" y="352798"/>
                      <a:pt x="142373" y="353202"/>
                      <a:pt x="140948" y="353367"/>
                    </a:cubicBezTo>
                    <a:cubicBezTo>
                      <a:pt x="138292" y="354194"/>
                      <a:pt x="136103" y="356097"/>
                      <a:pt x="134906" y="358611"/>
                    </a:cubicBezTo>
                    <a:lnTo>
                      <a:pt x="134564" y="358611"/>
                    </a:lnTo>
                    <a:cubicBezTo>
                      <a:pt x="132439" y="358041"/>
                      <a:pt x="130193" y="358041"/>
                      <a:pt x="128067" y="358611"/>
                    </a:cubicBezTo>
                    <a:cubicBezTo>
                      <a:pt x="122368" y="359523"/>
                      <a:pt x="115471" y="361575"/>
                      <a:pt x="114446" y="367217"/>
                    </a:cubicBezTo>
                    <a:cubicBezTo>
                      <a:pt x="111282" y="365416"/>
                      <a:pt x="108267" y="363359"/>
                      <a:pt x="105440" y="361062"/>
                    </a:cubicBezTo>
                    <a:cubicBezTo>
                      <a:pt x="102493" y="358776"/>
                      <a:pt x="98487" y="358417"/>
                      <a:pt x="95181" y="360150"/>
                    </a:cubicBezTo>
                    <a:cubicBezTo>
                      <a:pt x="94959" y="360366"/>
                      <a:pt x="94748" y="360594"/>
                      <a:pt x="94554" y="360834"/>
                    </a:cubicBezTo>
                    <a:cubicBezTo>
                      <a:pt x="93808" y="358941"/>
                      <a:pt x="92810" y="357158"/>
                      <a:pt x="91591" y="355533"/>
                    </a:cubicBezTo>
                    <a:cubicBezTo>
                      <a:pt x="88342" y="351487"/>
                      <a:pt x="83041" y="348523"/>
                      <a:pt x="82243" y="343393"/>
                    </a:cubicBezTo>
                    <a:cubicBezTo>
                      <a:pt x="81731" y="340145"/>
                      <a:pt x="83269" y="336554"/>
                      <a:pt x="81787" y="333590"/>
                    </a:cubicBezTo>
                    <a:cubicBezTo>
                      <a:pt x="80306" y="330627"/>
                      <a:pt x="78026" y="330171"/>
                      <a:pt x="76088" y="328290"/>
                    </a:cubicBezTo>
                    <a:cubicBezTo>
                      <a:pt x="73916" y="325366"/>
                      <a:pt x="72417" y="322003"/>
                      <a:pt x="71699" y="318430"/>
                    </a:cubicBezTo>
                    <a:cubicBezTo>
                      <a:pt x="70867" y="314822"/>
                      <a:pt x="68240" y="311898"/>
                      <a:pt x="64746" y="310678"/>
                    </a:cubicBezTo>
                    <a:cubicBezTo>
                      <a:pt x="59673" y="309766"/>
                      <a:pt x="55855" y="315010"/>
                      <a:pt x="51181" y="317062"/>
                    </a:cubicBezTo>
                    <a:cubicBezTo>
                      <a:pt x="48708" y="317997"/>
                      <a:pt x="46074" y="318464"/>
                      <a:pt x="43430" y="318430"/>
                    </a:cubicBezTo>
                    <a:cubicBezTo>
                      <a:pt x="35531" y="319211"/>
                      <a:pt x="27568" y="319022"/>
                      <a:pt x="19720" y="317860"/>
                    </a:cubicBezTo>
                    <a:lnTo>
                      <a:pt x="19720" y="315979"/>
                    </a:lnTo>
                    <a:cubicBezTo>
                      <a:pt x="19720" y="311362"/>
                      <a:pt x="19720" y="306746"/>
                      <a:pt x="19720" y="302129"/>
                    </a:cubicBezTo>
                    <a:cubicBezTo>
                      <a:pt x="20319" y="297917"/>
                      <a:pt x="18854" y="293677"/>
                      <a:pt x="15788" y="290730"/>
                    </a:cubicBezTo>
                    <a:cubicBezTo>
                      <a:pt x="13958" y="289944"/>
                      <a:pt x="12185" y="289032"/>
                      <a:pt x="10487" y="287994"/>
                    </a:cubicBezTo>
                    <a:cubicBezTo>
                      <a:pt x="8036" y="285772"/>
                      <a:pt x="8435" y="281782"/>
                      <a:pt x="6725" y="278932"/>
                    </a:cubicBezTo>
                    <a:cubicBezTo>
                      <a:pt x="5585" y="277052"/>
                      <a:pt x="3591" y="275855"/>
                      <a:pt x="2394" y="274031"/>
                    </a:cubicBezTo>
                    <a:cubicBezTo>
                      <a:pt x="-456" y="269927"/>
                      <a:pt x="1311" y="264057"/>
                      <a:pt x="0" y="259326"/>
                    </a:cubicBezTo>
                    <a:lnTo>
                      <a:pt x="4047" y="253171"/>
                    </a:lnTo>
                    <a:cubicBezTo>
                      <a:pt x="4520" y="252361"/>
                      <a:pt x="5118" y="251632"/>
                      <a:pt x="5814" y="251005"/>
                    </a:cubicBezTo>
                    <a:cubicBezTo>
                      <a:pt x="9632" y="248041"/>
                      <a:pt x="16585" y="252373"/>
                      <a:pt x="19606" y="248554"/>
                    </a:cubicBezTo>
                    <a:cubicBezTo>
                      <a:pt x="20803" y="247015"/>
                      <a:pt x="20689" y="244622"/>
                      <a:pt x="22114" y="243254"/>
                    </a:cubicBezTo>
                    <a:cubicBezTo>
                      <a:pt x="25476" y="239948"/>
                      <a:pt x="32031" y="246217"/>
                      <a:pt x="35565" y="243254"/>
                    </a:cubicBezTo>
                    <a:cubicBezTo>
                      <a:pt x="36192" y="242638"/>
                      <a:pt x="36710" y="241926"/>
                      <a:pt x="37104" y="241145"/>
                    </a:cubicBezTo>
                    <a:cubicBezTo>
                      <a:pt x="39053" y="237976"/>
                      <a:pt x="42353" y="235873"/>
                      <a:pt x="46052" y="235445"/>
                    </a:cubicBezTo>
                    <a:lnTo>
                      <a:pt x="134906" y="235844"/>
                    </a:lnTo>
                    <a:cubicBezTo>
                      <a:pt x="138036" y="236745"/>
                      <a:pt x="141313" y="236996"/>
                      <a:pt x="144539" y="236585"/>
                    </a:cubicBezTo>
                    <a:cubicBezTo>
                      <a:pt x="144145" y="233678"/>
                      <a:pt x="144562" y="230721"/>
                      <a:pt x="145736" y="228036"/>
                    </a:cubicBezTo>
                    <a:cubicBezTo>
                      <a:pt x="147189" y="225443"/>
                      <a:pt x="150386" y="224400"/>
                      <a:pt x="153088" y="225642"/>
                    </a:cubicBezTo>
                    <a:cubicBezTo>
                      <a:pt x="150352" y="220621"/>
                      <a:pt x="147126" y="215885"/>
                      <a:pt x="143456" y="211508"/>
                    </a:cubicBezTo>
                    <a:cubicBezTo>
                      <a:pt x="137300" y="201534"/>
                      <a:pt x="138383" y="188710"/>
                      <a:pt x="138839" y="177311"/>
                    </a:cubicBezTo>
                    <a:cubicBezTo>
                      <a:pt x="139124" y="148956"/>
                      <a:pt x="136890" y="120635"/>
                      <a:pt x="132171" y="92674"/>
                    </a:cubicBezTo>
                    <a:lnTo>
                      <a:pt x="120031" y="4731"/>
                    </a:lnTo>
                    <a:lnTo>
                      <a:pt x="139409" y="912"/>
                    </a:lnTo>
                    <a:cubicBezTo>
                      <a:pt x="142042" y="302"/>
                      <a:pt x="144738" y="-5"/>
                      <a:pt x="147445" y="0"/>
                    </a:cubicBezTo>
                    <a:cubicBezTo>
                      <a:pt x="154336" y="935"/>
                      <a:pt x="160811" y="3847"/>
                      <a:pt x="166083" y="8378"/>
                    </a:cubicBezTo>
                    <a:lnTo>
                      <a:pt x="206720" y="36876"/>
                    </a:lnTo>
                    <a:cubicBezTo>
                      <a:pt x="210254" y="39383"/>
                      <a:pt x="213730" y="41834"/>
                      <a:pt x="217492" y="44000"/>
                    </a:cubicBezTo>
                    <a:cubicBezTo>
                      <a:pt x="220228" y="45596"/>
                      <a:pt x="223191" y="46964"/>
                      <a:pt x="225813" y="48617"/>
                    </a:cubicBezTo>
                    <a:cubicBezTo>
                      <a:pt x="229820" y="51221"/>
                      <a:pt x="233627" y="54117"/>
                      <a:pt x="237212" y="57280"/>
                    </a:cubicBezTo>
                    <a:lnTo>
                      <a:pt x="266223" y="81674"/>
                    </a:lnTo>
                    <a:lnTo>
                      <a:pt x="291813" y="103161"/>
                    </a:lnTo>
                    <a:lnTo>
                      <a:pt x="300248" y="110228"/>
                    </a:lnTo>
                    <a:cubicBezTo>
                      <a:pt x="302659" y="119410"/>
                      <a:pt x="310171" y="126363"/>
                      <a:pt x="319512" y="128067"/>
                    </a:cubicBezTo>
                    <a:cubicBezTo>
                      <a:pt x="321804" y="128233"/>
                      <a:pt x="324049" y="128751"/>
                      <a:pt x="326181" y="129606"/>
                    </a:cubicBezTo>
                    <a:cubicBezTo>
                      <a:pt x="332906" y="133197"/>
                      <a:pt x="331880" y="145451"/>
                      <a:pt x="339289" y="147446"/>
                    </a:cubicBezTo>
                    <a:cubicBezTo>
                      <a:pt x="340886" y="147844"/>
                      <a:pt x="342823" y="147788"/>
                      <a:pt x="343906" y="149098"/>
                    </a:cubicBezTo>
                    <a:cubicBezTo>
                      <a:pt x="344989" y="150409"/>
                      <a:pt x="344362" y="152575"/>
                      <a:pt x="345388" y="154000"/>
                    </a:cubicBezTo>
                    <a:cubicBezTo>
                      <a:pt x="346927" y="156280"/>
                      <a:pt x="350404" y="154855"/>
                      <a:pt x="353140" y="154912"/>
                    </a:cubicBezTo>
                    <a:cubicBezTo>
                      <a:pt x="360207" y="154912"/>
                      <a:pt x="362316" y="164430"/>
                      <a:pt x="362201" y="171497"/>
                    </a:cubicBezTo>
                    <a:lnTo>
                      <a:pt x="361518" y="213844"/>
                    </a:lnTo>
                    <a:cubicBezTo>
                      <a:pt x="357819" y="213291"/>
                      <a:pt x="354205" y="215275"/>
                      <a:pt x="352683" y="218689"/>
                    </a:cubicBezTo>
                    <a:cubicBezTo>
                      <a:pt x="350917" y="221824"/>
                      <a:pt x="350290" y="225528"/>
                      <a:pt x="348637" y="228720"/>
                    </a:cubicBezTo>
                    <a:cubicBezTo>
                      <a:pt x="344191" y="237155"/>
                      <a:pt x="333989" y="240404"/>
                      <a:pt x="324699" y="242342"/>
                    </a:cubicBezTo>
                    <a:cubicBezTo>
                      <a:pt x="312969" y="244832"/>
                      <a:pt x="301086" y="246565"/>
                      <a:pt x="289134" y="247528"/>
                    </a:cubicBezTo>
                    <a:cubicBezTo>
                      <a:pt x="285042" y="247585"/>
                      <a:pt x="280990" y="248355"/>
                      <a:pt x="277165" y="249808"/>
                    </a:cubicBezTo>
                    <a:cubicBezTo>
                      <a:pt x="274190" y="250999"/>
                      <a:pt x="271591" y="252965"/>
                      <a:pt x="269642" y="25550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6" name="Freihandform: Form 342">
                <a:extLst>
                  <a:ext uri="{FF2B5EF4-FFF2-40B4-BE49-F238E27FC236}">
                    <a16:creationId xmlns:a16="http://schemas.microsoft.com/office/drawing/2014/main" id="{112B287F-F842-3EB2-8EFD-89AE7349E0A5}"/>
                  </a:ext>
                </a:extLst>
              </p:cNvPr>
              <p:cNvSpPr/>
              <p:nvPr/>
            </p:nvSpPr>
            <p:spPr>
              <a:xfrm>
                <a:off x="3390137" y="3591287"/>
                <a:ext cx="267560" cy="316985"/>
              </a:xfrm>
              <a:custGeom>
                <a:avLst/>
                <a:gdLst>
                  <a:gd name="connsiteX0" fmla="*/ 256161 w 267560"/>
                  <a:gd name="connsiteY0" fmla="*/ 58172 h 316985"/>
                  <a:gd name="connsiteX1" fmla="*/ 253882 w 267560"/>
                  <a:gd name="connsiteY1" fmla="*/ 58571 h 316985"/>
                  <a:gd name="connsiteX2" fmla="*/ 234503 w 267560"/>
                  <a:gd name="connsiteY2" fmla="*/ 62390 h 316985"/>
                  <a:gd name="connsiteX3" fmla="*/ 246643 w 267560"/>
                  <a:gd name="connsiteY3" fmla="*/ 150333 h 316985"/>
                  <a:gd name="connsiteX4" fmla="*/ 253312 w 267560"/>
                  <a:gd name="connsiteY4" fmla="*/ 234970 h 316985"/>
                  <a:gd name="connsiteX5" fmla="*/ 257928 w 267560"/>
                  <a:gd name="connsiteY5" fmla="*/ 269167 h 316985"/>
                  <a:gd name="connsiteX6" fmla="*/ 267560 w 267560"/>
                  <a:gd name="connsiteY6" fmla="*/ 283302 h 316985"/>
                  <a:gd name="connsiteX7" fmla="*/ 260208 w 267560"/>
                  <a:gd name="connsiteY7" fmla="*/ 285695 h 316985"/>
                  <a:gd name="connsiteX8" fmla="*/ 259011 w 267560"/>
                  <a:gd name="connsiteY8" fmla="*/ 294245 h 316985"/>
                  <a:gd name="connsiteX9" fmla="*/ 249379 w 267560"/>
                  <a:gd name="connsiteY9" fmla="*/ 293504 h 316985"/>
                  <a:gd name="connsiteX10" fmla="*/ 160524 w 267560"/>
                  <a:gd name="connsiteY10" fmla="*/ 293105 h 316985"/>
                  <a:gd name="connsiteX11" fmla="*/ 151576 w 267560"/>
                  <a:gd name="connsiteY11" fmla="*/ 298804 h 316985"/>
                  <a:gd name="connsiteX12" fmla="*/ 150037 w 267560"/>
                  <a:gd name="connsiteY12" fmla="*/ 300913 h 316985"/>
                  <a:gd name="connsiteX13" fmla="*/ 136586 w 267560"/>
                  <a:gd name="connsiteY13" fmla="*/ 300913 h 316985"/>
                  <a:gd name="connsiteX14" fmla="*/ 134079 w 267560"/>
                  <a:gd name="connsiteY14" fmla="*/ 306213 h 316985"/>
                  <a:gd name="connsiteX15" fmla="*/ 120286 w 267560"/>
                  <a:gd name="connsiteY15" fmla="*/ 308664 h 316985"/>
                  <a:gd name="connsiteX16" fmla="*/ 118519 w 267560"/>
                  <a:gd name="connsiteY16" fmla="*/ 310830 h 316985"/>
                  <a:gd name="connsiteX17" fmla="*/ 114472 w 267560"/>
                  <a:gd name="connsiteY17" fmla="*/ 316985 h 316985"/>
                  <a:gd name="connsiteX18" fmla="*/ 113389 w 267560"/>
                  <a:gd name="connsiteY18" fmla="*/ 314478 h 316985"/>
                  <a:gd name="connsiteX19" fmla="*/ 109913 w 267560"/>
                  <a:gd name="connsiteY19" fmla="*/ 311001 h 316985"/>
                  <a:gd name="connsiteX20" fmla="*/ 99027 w 267560"/>
                  <a:gd name="connsiteY20" fmla="*/ 302338 h 316985"/>
                  <a:gd name="connsiteX21" fmla="*/ 92814 w 267560"/>
                  <a:gd name="connsiteY21" fmla="*/ 294643 h 316985"/>
                  <a:gd name="connsiteX22" fmla="*/ 91732 w 267560"/>
                  <a:gd name="connsiteY22" fmla="*/ 289400 h 316985"/>
                  <a:gd name="connsiteX23" fmla="*/ 81416 w 267560"/>
                  <a:gd name="connsiteY23" fmla="*/ 284043 h 316985"/>
                  <a:gd name="connsiteX24" fmla="*/ 75317 w 267560"/>
                  <a:gd name="connsiteY24" fmla="*/ 277089 h 316985"/>
                  <a:gd name="connsiteX25" fmla="*/ 59302 w 267560"/>
                  <a:gd name="connsiteY25" fmla="*/ 272302 h 316985"/>
                  <a:gd name="connsiteX26" fmla="*/ 26415 w 267560"/>
                  <a:gd name="connsiteY26" fmla="*/ 272302 h 316985"/>
                  <a:gd name="connsiteX27" fmla="*/ 21628 w 267560"/>
                  <a:gd name="connsiteY27" fmla="*/ 272872 h 316985"/>
                  <a:gd name="connsiteX28" fmla="*/ 17980 w 267560"/>
                  <a:gd name="connsiteY28" fmla="*/ 262783 h 316985"/>
                  <a:gd name="connsiteX29" fmla="*/ 23224 w 267560"/>
                  <a:gd name="connsiteY29" fmla="*/ 253379 h 316985"/>
                  <a:gd name="connsiteX30" fmla="*/ 27840 w 267560"/>
                  <a:gd name="connsiteY30" fmla="*/ 218214 h 316985"/>
                  <a:gd name="connsiteX31" fmla="*/ 23623 w 267560"/>
                  <a:gd name="connsiteY31" fmla="*/ 208695 h 316985"/>
                  <a:gd name="connsiteX32" fmla="*/ 22654 w 267560"/>
                  <a:gd name="connsiteY32" fmla="*/ 188234 h 316985"/>
                  <a:gd name="connsiteX33" fmla="*/ 426 w 267560"/>
                  <a:gd name="connsiteY33" fmla="*/ 163784 h 316985"/>
                  <a:gd name="connsiteX34" fmla="*/ 1680 w 267560"/>
                  <a:gd name="connsiteY34" fmla="*/ 151644 h 316985"/>
                  <a:gd name="connsiteX35" fmla="*/ 88483 w 267560"/>
                  <a:gd name="connsiteY35" fmla="*/ 148338 h 316985"/>
                  <a:gd name="connsiteX36" fmla="*/ 104840 w 267560"/>
                  <a:gd name="connsiteY36" fmla="*/ 104566 h 316985"/>
                  <a:gd name="connsiteX37" fmla="*/ 111566 w 267560"/>
                  <a:gd name="connsiteY37" fmla="*/ 98867 h 316985"/>
                  <a:gd name="connsiteX38" fmla="*/ 113219 w 267560"/>
                  <a:gd name="connsiteY38" fmla="*/ 90089 h 316985"/>
                  <a:gd name="connsiteX39" fmla="*/ 113618 w 267560"/>
                  <a:gd name="connsiteY39" fmla="*/ 34975 h 316985"/>
                  <a:gd name="connsiteX40" fmla="*/ 185488 w 267560"/>
                  <a:gd name="connsiteY40" fmla="*/ 36400 h 316985"/>
                  <a:gd name="connsiteX41" fmla="*/ 187369 w 267560"/>
                  <a:gd name="connsiteY41" fmla="*/ 323 h 316985"/>
                  <a:gd name="connsiteX42" fmla="*/ 194322 w 267560"/>
                  <a:gd name="connsiteY42" fmla="*/ 3970 h 316985"/>
                  <a:gd name="connsiteX43" fmla="*/ 198768 w 267560"/>
                  <a:gd name="connsiteY43" fmla="*/ 11323 h 316985"/>
                  <a:gd name="connsiteX44" fmla="*/ 216550 w 267560"/>
                  <a:gd name="connsiteY44" fmla="*/ 13260 h 316985"/>
                  <a:gd name="connsiteX45" fmla="*/ 227322 w 267560"/>
                  <a:gd name="connsiteY45" fmla="*/ 29504 h 316985"/>
                  <a:gd name="connsiteX46" fmla="*/ 240089 w 267560"/>
                  <a:gd name="connsiteY46" fmla="*/ 34577 h 316985"/>
                  <a:gd name="connsiteX47" fmla="*/ 256161 w 267560"/>
                  <a:gd name="connsiteY47" fmla="*/ 58172 h 3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7560" h="316985">
                    <a:moveTo>
                      <a:pt x="256161" y="58172"/>
                    </a:moveTo>
                    <a:lnTo>
                      <a:pt x="253882" y="58571"/>
                    </a:lnTo>
                    <a:lnTo>
                      <a:pt x="234503" y="62390"/>
                    </a:lnTo>
                    <a:lnTo>
                      <a:pt x="246643" y="150333"/>
                    </a:lnTo>
                    <a:cubicBezTo>
                      <a:pt x="251362" y="178294"/>
                      <a:pt x="253597" y="206615"/>
                      <a:pt x="253312" y="234970"/>
                    </a:cubicBezTo>
                    <a:cubicBezTo>
                      <a:pt x="252856" y="246654"/>
                      <a:pt x="251773" y="259250"/>
                      <a:pt x="257928" y="269167"/>
                    </a:cubicBezTo>
                    <a:cubicBezTo>
                      <a:pt x="261599" y="273544"/>
                      <a:pt x="264825" y="278280"/>
                      <a:pt x="267560" y="283302"/>
                    </a:cubicBezTo>
                    <a:cubicBezTo>
                      <a:pt x="264859" y="282059"/>
                      <a:pt x="261661" y="283102"/>
                      <a:pt x="260208" y="285695"/>
                    </a:cubicBezTo>
                    <a:cubicBezTo>
                      <a:pt x="259034" y="288380"/>
                      <a:pt x="258618" y="291338"/>
                      <a:pt x="259011" y="294245"/>
                    </a:cubicBezTo>
                    <a:cubicBezTo>
                      <a:pt x="255785" y="294655"/>
                      <a:pt x="252508" y="294404"/>
                      <a:pt x="249379" y="293504"/>
                    </a:cubicBezTo>
                    <a:lnTo>
                      <a:pt x="160524" y="293105"/>
                    </a:lnTo>
                    <a:cubicBezTo>
                      <a:pt x="156825" y="293532"/>
                      <a:pt x="153525" y="295635"/>
                      <a:pt x="151576" y="298804"/>
                    </a:cubicBezTo>
                    <a:cubicBezTo>
                      <a:pt x="151183" y="299585"/>
                      <a:pt x="150664" y="300297"/>
                      <a:pt x="150037" y="300913"/>
                    </a:cubicBezTo>
                    <a:cubicBezTo>
                      <a:pt x="146503" y="304105"/>
                      <a:pt x="139949" y="297835"/>
                      <a:pt x="136586" y="300913"/>
                    </a:cubicBezTo>
                    <a:cubicBezTo>
                      <a:pt x="135162" y="302281"/>
                      <a:pt x="135276" y="304675"/>
                      <a:pt x="134079" y="306213"/>
                    </a:cubicBezTo>
                    <a:cubicBezTo>
                      <a:pt x="131058" y="310032"/>
                      <a:pt x="124105" y="305700"/>
                      <a:pt x="120286" y="308664"/>
                    </a:cubicBezTo>
                    <a:cubicBezTo>
                      <a:pt x="119591" y="309291"/>
                      <a:pt x="118992" y="310021"/>
                      <a:pt x="118519" y="310830"/>
                    </a:cubicBezTo>
                    <a:lnTo>
                      <a:pt x="114472" y="316985"/>
                    </a:lnTo>
                    <a:cubicBezTo>
                      <a:pt x="114267" y="316091"/>
                      <a:pt x="113897" y="315241"/>
                      <a:pt x="113389" y="314478"/>
                    </a:cubicBezTo>
                    <a:cubicBezTo>
                      <a:pt x="112438" y="313127"/>
                      <a:pt x="111264" y="311953"/>
                      <a:pt x="109913" y="311001"/>
                    </a:cubicBezTo>
                    <a:lnTo>
                      <a:pt x="99027" y="302338"/>
                    </a:lnTo>
                    <a:cubicBezTo>
                      <a:pt x="96171" y="300525"/>
                      <a:pt x="93989" y="297818"/>
                      <a:pt x="92814" y="294643"/>
                    </a:cubicBezTo>
                    <a:cubicBezTo>
                      <a:pt x="92632" y="292865"/>
                      <a:pt x="92267" y="291110"/>
                      <a:pt x="91732" y="289400"/>
                    </a:cubicBezTo>
                    <a:cubicBezTo>
                      <a:pt x="89908" y="285923"/>
                      <a:pt x="84778" y="286208"/>
                      <a:pt x="81416" y="284043"/>
                    </a:cubicBezTo>
                    <a:cubicBezTo>
                      <a:pt x="78053" y="281877"/>
                      <a:pt x="77483" y="279312"/>
                      <a:pt x="75317" y="277089"/>
                    </a:cubicBezTo>
                    <a:cubicBezTo>
                      <a:pt x="70740" y="273590"/>
                      <a:pt x="65047" y="271891"/>
                      <a:pt x="59302" y="272302"/>
                    </a:cubicBezTo>
                    <a:cubicBezTo>
                      <a:pt x="48359" y="271447"/>
                      <a:pt x="37359" y="271447"/>
                      <a:pt x="26415" y="272302"/>
                    </a:cubicBezTo>
                    <a:lnTo>
                      <a:pt x="21628" y="272872"/>
                    </a:lnTo>
                    <a:cubicBezTo>
                      <a:pt x="19759" y="269782"/>
                      <a:pt x="18516" y="266357"/>
                      <a:pt x="17980" y="262783"/>
                    </a:cubicBezTo>
                    <a:cubicBezTo>
                      <a:pt x="18733" y="259193"/>
                      <a:pt x="20562" y="255910"/>
                      <a:pt x="23224" y="253379"/>
                    </a:cubicBezTo>
                    <a:cubicBezTo>
                      <a:pt x="30890" y="243308"/>
                      <a:pt x="32651" y="229926"/>
                      <a:pt x="27840" y="218214"/>
                    </a:cubicBezTo>
                    <a:cubicBezTo>
                      <a:pt x="26239" y="215130"/>
                      <a:pt x="24831" y="211956"/>
                      <a:pt x="23623" y="208695"/>
                    </a:cubicBezTo>
                    <a:cubicBezTo>
                      <a:pt x="21742" y="202141"/>
                      <a:pt x="23623" y="195017"/>
                      <a:pt x="22654" y="188234"/>
                    </a:cubicBezTo>
                    <a:cubicBezTo>
                      <a:pt x="21035" y="176265"/>
                      <a:pt x="12190" y="166536"/>
                      <a:pt x="426" y="163784"/>
                    </a:cubicBezTo>
                    <a:cubicBezTo>
                      <a:pt x="-429" y="159703"/>
                      <a:pt x="10" y="155462"/>
                      <a:pt x="1680" y="151644"/>
                    </a:cubicBezTo>
                    <a:lnTo>
                      <a:pt x="88483" y="148338"/>
                    </a:lnTo>
                    <a:cubicBezTo>
                      <a:pt x="84180" y="131758"/>
                      <a:pt x="90717" y="114261"/>
                      <a:pt x="104840" y="104566"/>
                    </a:cubicBezTo>
                    <a:cubicBezTo>
                      <a:pt x="107457" y="103153"/>
                      <a:pt x="109742" y="101215"/>
                      <a:pt x="111566" y="98867"/>
                    </a:cubicBezTo>
                    <a:cubicBezTo>
                      <a:pt x="112916" y="96148"/>
                      <a:pt x="113492" y="93110"/>
                      <a:pt x="113219" y="90089"/>
                    </a:cubicBezTo>
                    <a:cubicBezTo>
                      <a:pt x="113219" y="71737"/>
                      <a:pt x="113350" y="53368"/>
                      <a:pt x="113618" y="34975"/>
                    </a:cubicBezTo>
                    <a:cubicBezTo>
                      <a:pt x="137555" y="36571"/>
                      <a:pt x="161510" y="37044"/>
                      <a:pt x="185488" y="36400"/>
                    </a:cubicBezTo>
                    <a:cubicBezTo>
                      <a:pt x="184576" y="24346"/>
                      <a:pt x="185209" y="12218"/>
                      <a:pt x="187369" y="323"/>
                    </a:cubicBezTo>
                    <a:cubicBezTo>
                      <a:pt x="189990" y="-874"/>
                      <a:pt x="193068" y="1463"/>
                      <a:pt x="194322" y="3970"/>
                    </a:cubicBezTo>
                    <a:cubicBezTo>
                      <a:pt x="195314" y="6689"/>
                      <a:pt x="196824" y="9185"/>
                      <a:pt x="198768" y="11323"/>
                    </a:cubicBezTo>
                    <a:cubicBezTo>
                      <a:pt x="203555" y="15084"/>
                      <a:pt x="211022" y="10696"/>
                      <a:pt x="216550" y="13260"/>
                    </a:cubicBezTo>
                    <a:cubicBezTo>
                      <a:pt x="222078" y="15825"/>
                      <a:pt x="222250" y="25058"/>
                      <a:pt x="227322" y="29504"/>
                    </a:cubicBezTo>
                    <a:cubicBezTo>
                      <a:pt x="231255" y="31921"/>
                      <a:pt x="235569" y="33636"/>
                      <a:pt x="240089" y="34577"/>
                    </a:cubicBezTo>
                    <a:cubicBezTo>
                      <a:pt x="249265" y="38566"/>
                      <a:pt x="254052" y="48312"/>
                      <a:pt x="256161" y="5817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7" name="Freihandform: Form 343">
                <a:extLst>
                  <a:ext uri="{FF2B5EF4-FFF2-40B4-BE49-F238E27FC236}">
                    <a16:creationId xmlns:a16="http://schemas.microsoft.com/office/drawing/2014/main" id="{EA8C4ECD-3508-D847-FCBD-3F652A06050C}"/>
                  </a:ext>
                </a:extLst>
              </p:cNvPr>
              <p:cNvSpPr/>
              <p:nvPr/>
            </p:nvSpPr>
            <p:spPr>
              <a:xfrm>
                <a:off x="3391817" y="3581465"/>
                <a:ext cx="188880" cy="161922"/>
              </a:xfrm>
              <a:custGeom>
                <a:avLst/>
                <a:gdLst>
                  <a:gd name="connsiteX0" fmla="*/ 187228 w 188880"/>
                  <a:gd name="connsiteY0" fmla="*/ 4161 h 161922"/>
                  <a:gd name="connsiteX1" fmla="*/ 188881 w 188880"/>
                  <a:gd name="connsiteY1" fmla="*/ 10601 h 161922"/>
                  <a:gd name="connsiteX2" fmla="*/ 185689 w 188880"/>
                  <a:gd name="connsiteY2" fmla="*/ 10601 h 161922"/>
                  <a:gd name="connsiteX3" fmla="*/ 183808 w 188880"/>
                  <a:gd name="connsiteY3" fmla="*/ 46679 h 161922"/>
                  <a:gd name="connsiteX4" fmla="*/ 111938 w 188880"/>
                  <a:gd name="connsiteY4" fmla="*/ 45254 h 161922"/>
                  <a:gd name="connsiteX5" fmla="*/ 111539 w 188880"/>
                  <a:gd name="connsiteY5" fmla="*/ 100368 h 161922"/>
                  <a:gd name="connsiteX6" fmla="*/ 109886 w 188880"/>
                  <a:gd name="connsiteY6" fmla="*/ 109145 h 161922"/>
                  <a:gd name="connsiteX7" fmla="*/ 103160 w 188880"/>
                  <a:gd name="connsiteY7" fmla="*/ 114844 h 161922"/>
                  <a:gd name="connsiteX8" fmla="*/ 86803 w 188880"/>
                  <a:gd name="connsiteY8" fmla="*/ 158616 h 161922"/>
                  <a:gd name="connsiteX9" fmla="*/ 0 w 188880"/>
                  <a:gd name="connsiteY9" fmla="*/ 161922 h 161922"/>
                  <a:gd name="connsiteX10" fmla="*/ 16073 w 188880"/>
                  <a:gd name="connsiteY10" fmla="*/ 133767 h 161922"/>
                  <a:gd name="connsiteX11" fmla="*/ 23710 w 188880"/>
                  <a:gd name="connsiteY11" fmla="*/ 115756 h 161922"/>
                  <a:gd name="connsiteX12" fmla="*/ 35109 w 188880"/>
                  <a:gd name="connsiteY12" fmla="*/ 109031 h 161922"/>
                  <a:gd name="connsiteX13" fmla="*/ 41720 w 188880"/>
                  <a:gd name="connsiteY13" fmla="*/ 90679 h 161922"/>
                  <a:gd name="connsiteX14" fmla="*/ 52264 w 188880"/>
                  <a:gd name="connsiteY14" fmla="*/ 81673 h 161922"/>
                  <a:gd name="connsiteX15" fmla="*/ 56653 w 188880"/>
                  <a:gd name="connsiteY15" fmla="*/ 65829 h 161922"/>
                  <a:gd name="connsiteX16" fmla="*/ 64290 w 188880"/>
                  <a:gd name="connsiteY16" fmla="*/ 57166 h 161922"/>
                  <a:gd name="connsiteX17" fmla="*/ 70388 w 188880"/>
                  <a:gd name="connsiteY17" fmla="*/ 47249 h 161922"/>
                  <a:gd name="connsiteX18" fmla="*/ 83554 w 188880"/>
                  <a:gd name="connsiteY18" fmla="*/ 20917 h 161922"/>
                  <a:gd name="connsiteX19" fmla="*/ 94497 w 188880"/>
                  <a:gd name="connsiteY19" fmla="*/ 3021 h 161922"/>
                  <a:gd name="connsiteX20" fmla="*/ 184948 w 188880"/>
                  <a:gd name="connsiteY20" fmla="*/ 3021 h 161922"/>
                  <a:gd name="connsiteX21" fmla="*/ 186316 w 188880"/>
                  <a:gd name="connsiteY21" fmla="*/ 0 h 161922"/>
                  <a:gd name="connsiteX22" fmla="*/ 187228 w 188880"/>
                  <a:gd name="connsiteY22" fmla="*/ 4161 h 16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8880" h="161922">
                    <a:moveTo>
                      <a:pt x="187228" y="4161"/>
                    </a:moveTo>
                    <a:cubicBezTo>
                      <a:pt x="187798" y="6326"/>
                      <a:pt x="188368" y="8435"/>
                      <a:pt x="188881" y="10601"/>
                    </a:cubicBezTo>
                    <a:cubicBezTo>
                      <a:pt x="187866" y="10145"/>
                      <a:pt x="186703" y="10145"/>
                      <a:pt x="185689" y="10601"/>
                    </a:cubicBezTo>
                    <a:cubicBezTo>
                      <a:pt x="183529" y="22496"/>
                      <a:pt x="182896" y="34624"/>
                      <a:pt x="183808" y="46679"/>
                    </a:cubicBezTo>
                    <a:cubicBezTo>
                      <a:pt x="159870" y="47323"/>
                      <a:pt x="135915" y="46850"/>
                      <a:pt x="111938" y="45254"/>
                    </a:cubicBezTo>
                    <a:cubicBezTo>
                      <a:pt x="111938" y="63680"/>
                      <a:pt x="111807" y="82055"/>
                      <a:pt x="111539" y="100368"/>
                    </a:cubicBezTo>
                    <a:cubicBezTo>
                      <a:pt x="111812" y="103388"/>
                      <a:pt x="111236" y="106426"/>
                      <a:pt x="109886" y="109145"/>
                    </a:cubicBezTo>
                    <a:cubicBezTo>
                      <a:pt x="108062" y="111493"/>
                      <a:pt x="105777" y="113431"/>
                      <a:pt x="103160" y="114844"/>
                    </a:cubicBezTo>
                    <a:cubicBezTo>
                      <a:pt x="89037" y="124539"/>
                      <a:pt x="82500" y="142037"/>
                      <a:pt x="86803" y="158616"/>
                    </a:cubicBezTo>
                    <a:lnTo>
                      <a:pt x="0" y="161922"/>
                    </a:lnTo>
                    <a:cubicBezTo>
                      <a:pt x="3704" y="152518"/>
                      <a:pt x="12596" y="143798"/>
                      <a:pt x="16073" y="133767"/>
                    </a:cubicBezTo>
                    <a:cubicBezTo>
                      <a:pt x="18238" y="127497"/>
                      <a:pt x="18580" y="119974"/>
                      <a:pt x="23710" y="115756"/>
                    </a:cubicBezTo>
                    <a:cubicBezTo>
                      <a:pt x="27073" y="112964"/>
                      <a:pt x="31917" y="112280"/>
                      <a:pt x="35109" y="109031"/>
                    </a:cubicBezTo>
                    <a:cubicBezTo>
                      <a:pt x="39554" y="104186"/>
                      <a:pt x="37788" y="95922"/>
                      <a:pt x="41720" y="90679"/>
                    </a:cubicBezTo>
                    <a:cubicBezTo>
                      <a:pt x="44513" y="86974"/>
                      <a:pt x="49643" y="85492"/>
                      <a:pt x="52264" y="81673"/>
                    </a:cubicBezTo>
                    <a:cubicBezTo>
                      <a:pt x="54886" y="77855"/>
                      <a:pt x="54145" y="70787"/>
                      <a:pt x="56653" y="65829"/>
                    </a:cubicBezTo>
                    <a:cubicBezTo>
                      <a:pt x="58819" y="62631"/>
                      <a:pt x="61389" y="59719"/>
                      <a:pt x="64290" y="57166"/>
                    </a:cubicBezTo>
                    <a:cubicBezTo>
                      <a:pt x="66729" y="54128"/>
                      <a:pt x="68781" y="50799"/>
                      <a:pt x="70388" y="47249"/>
                    </a:cubicBezTo>
                    <a:lnTo>
                      <a:pt x="83554" y="20917"/>
                    </a:lnTo>
                    <a:cubicBezTo>
                      <a:pt x="86427" y="14511"/>
                      <a:pt x="90103" y="8498"/>
                      <a:pt x="94497" y="3021"/>
                    </a:cubicBezTo>
                    <a:lnTo>
                      <a:pt x="184948" y="3021"/>
                    </a:lnTo>
                    <a:lnTo>
                      <a:pt x="186316" y="0"/>
                    </a:lnTo>
                    <a:cubicBezTo>
                      <a:pt x="186487" y="1368"/>
                      <a:pt x="186886" y="2793"/>
                      <a:pt x="187228" y="416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8" name="Freihandform: Form 344">
                <a:extLst>
                  <a:ext uri="{FF2B5EF4-FFF2-40B4-BE49-F238E27FC236}">
                    <a16:creationId xmlns:a16="http://schemas.microsoft.com/office/drawing/2014/main" id="{F99D75F2-DDB5-DC36-373F-10D6AA21DD16}"/>
                  </a:ext>
                </a:extLst>
              </p:cNvPr>
              <p:cNvSpPr/>
              <p:nvPr/>
            </p:nvSpPr>
            <p:spPr>
              <a:xfrm>
                <a:off x="3486371" y="3371230"/>
                <a:ext cx="265427" cy="213255"/>
              </a:xfrm>
              <a:custGeom>
                <a:avLst/>
                <a:gdLst>
                  <a:gd name="connsiteX0" fmla="*/ 90451 w 265427"/>
                  <a:gd name="connsiteY0" fmla="*/ 212686 h 213255"/>
                  <a:gd name="connsiteX1" fmla="*/ 90451 w 265427"/>
                  <a:gd name="connsiteY1" fmla="*/ 213256 h 213255"/>
                  <a:gd name="connsiteX2" fmla="*/ 0 w 265427"/>
                  <a:gd name="connsiteY2" fmla="*/ 213256 h 213255"/>
                  <a:gd name="connsiteX3" fmla="*/ 5301 w 265427"/>
                  <a:gd name="connsiteY3" fmla="*/ 208297 h 213255"/>
                  <a:gd name="connsiteX4" fmla="*/ 25990 w 265427"/>
                  <a:gd name="connsiteY4" fmla="*/ 199520 h 213255"/>
                  <a:gd name="connsiteX5" fmla="*/ 34368 w 265427"/>
                  <a:gd name="connsiteY5" fmla="*/ 195359 h 213255"/>
                  <a:gd name="connsiteX6" fmla="*/ 43031 w 265427"/>
                  <a:gd name="connsiteY6" fmla="*/ 182250 h 213255"/>
                  <a:gd name="connsiteX7" fmla="*/ 50498 w 265427"/>
                  <a:gd name="connsiteY7" fmla="*/ 178888 h 213255"/>
                  <a:gd name="connsiteX8" fmla="*/ 73922 w 265427"/>
                  <a:gd name="connsiteY8" fmla="*/ 151017 h 213255"/>
                  <a:gd name="connsiteX9" fmla="*/ 132570 w 265427"/>
                  <a:gd name="connsiteY9" fmla="*/ 53613 h 213255"/>
                  <a:gd name="connsiteX10" fmla="*/ 151606 w 265427"/>
                  <a:gd name="connsiteY10" fmla="*/ 25116 h 213255"/>
                  <a:gd name="connsiteX11" fmla="*/ 163917 w 265427"/>
                  <a:gd name="connsiteY11" fmla="*/ 17650 h 213255"/>
                  <a:gd name="connsiteX12" fmla="*/ 160383 w 265427"/>
                  <a:gd name="connsiteY12" fmla="*/ 1520 h 213255"/>
                  <a:gd name="connsiteX13" fmla="*/ 174062 w 265427"/>
                  <a:gd name="connsiteY13" fmla="*/ 4256 h 213255"/>
                  <a:gd name="connsiteX14" fmla="*/ 185461 w 265427"/>
                  <a:gd name="connsiteY14" fmla="*/ 14116 h 213255"/>
                  <a:gd name="connsiteX15" fmla="*/ 200337 w 265427"/>
                  <a:gd name="connsiteY15" fmla="*/ 13261 h 213255"/>
                  <a:gd name="connsiteX16" fmla="*/ 244792 w 265427"/>
                  <a:gd name="connsiteY16" fmla="*/ 26199 h 213255"/>
                  <a:gd name="connsiteX17" fmla="*/ 245762 w 265427"/>
                  <a:gd name="connsiteY17" fmla="*/ 24888 h 213255"/>
                  <a:gd name="connsiteX18" fmla="*/ 249694 w 265427"/>
                  <a:gd name="connsiteY18" fmla="*/ 37712 h 213255"/>
                  <a:gd name="connsiteX19" fmla="*/ 253285 w 265427"/>
                  <a:gd name="connsiteY19" fmla="*/ 42214 h 213255"/>
                  <a:gd name="connsiteX20" fmla="*/ 248440 w 265427"/>
                  <a:gd name="connsiteY20" fmla="*/ 56577 h 213255"/>
                  <a:gd name="connsiteX21" fmla="*/ 264798 w 265427"/>
                  <a:gd name="connsiteY21" fmla="*/ 92313 h 213255"/>
                  <a:gd name="connsiteX22" fmla="*/ 249181 w 265427"/>
                  <a:gd name="connsiteY22" fmla="*/ 99665 h 213255"/>
                  <a:gd name="connsiteX23" fmla="*/ 230886 w 265427"/>
                  <a:gd name="connsiteY23" fmla="*/ 97499 h 213255"/>
                  <a:gd name="connsiteX24" fmla="*/ 216865 w 265427"/>
                  <a:gd name="connsiteY24" fmla="*/ 102287 h 213255"/>
                  <a:gd name="connsiteX25" fmla="*/ 202331 w 265427"/>
                  <a:gd name="connsiteY25" fmla="*/ 116991 h 213255"/>
                  <a:gd name="connsiteX26" fmla="*/ 199938 w 265427"/>
                  <a:gd name="connsiteY26" fmla="*/ 132836 h 213255"/>
                  <a:gd name="connsiteX27" fmla="*/ 187741 w 265427"/>
                  <a:gd name="connsiteY27" fmla="*/ 130499 h 213255"/>
                  <a:gd name="connsiteX28" fmla="*/ 173549 w 265427"/>
                  <a:gd name="connsiteY28" fmla="*/ 147883 h 213255"/>
                  <a:gd name="connsiteX29" fmla="*/ 135591 w 265427"/>
                  <a:gd name="connsiteY29" fmla="*/ 162473 h 213255"/>
                  <a:gd name="connsiteX30" fmla="*/ 131259 w 265427"/>
                  <a:gd name="connsiteY30" fmla="*/ 166292 h 213255"/>
                  <a:gd name="connsiteX31" fmla="*/ 124021 w 265427"/>
                  <a:gd name="connsiteY31" fmla="*/ 167546 h 213255"/>
                  <a:gd name="connsiteX32" fmla="*/ 112622 w 265427"/>
                  <a:gd name="connsiteY32" fmla="*/ 175639 h 213255"/>
                  <a:gd name="connsiteX33" fmla="*/ 99912 w 265427"/>
                  <a:gd name="connsiteY33" fmla="*/ 178090 h 213255"/>
                  <a:gd name="connsiteX34" fmla="*/ 92731 w 265427"/>
                  <a:gd name="connsiteY34" fmla="*/ 191769 h 213255"/>
                  <a:gd name="connsiteX35" fmla="*/ 90736 w 265427"/>
                  <a:gd name="connsiteY35" fmla="*/ 202370 h 213255"/>
                  <a:gd name="connsiteX36" fmla="*/ 90451 w 265427"/>
                  <a:gd name="connsiteY36" fmla="*/ 212686 h 21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5427" h="213255">
                    <a:moveTo>
                      <a:pt x="90451" y="212686"/>
                    </a:moveTo>
                    <a:lnTo>
                      <a:pt x="90451" y="213256"/>
                    </a:lnTo>
                    <a:lnTo>
                      <a:pt x="0" y="213256"/>
                    </a:lnTo>
                    <a:cubicBezTo>
                      <a:pt x="1596" y="211432"/>
                      <a:pt x="3374" y="209767"/>
                      <a:pt x="5301" y="208297"/>
                    </a:cubicBezTo>
                    <a:cubicBezTo>
                      <a:pt x="11644" y="204210"/>
                      <a:pt x="18643" y="201241"/>
                      <a:pt x="25990" y="199520"/>
                    </a:cubicBezTo>
                    <a:cubicBezTo>
                      <a:pt x="29073" y="198813"/>
                      <a:pt x="31946" y="197388"/>
                      <a:pt x="34368" y="195359"/>
                    </a:cubicBezTo>
                    <a:cubicBezTo>
                      <a:pt x="38129" y="191712"/>
                      <a:pt x="38757" y="185385"/>
                      <a:pt x="43031" y="182250"/>
                    </a:cubicBezTo>
                    <a:cubicBezTo>
                      <a:pt x="45419" y="180922"/>
                      <a:pt x="47921" y="179800"/>
                      <a:pt x="50498" y="178888"/>
                    </a:cubicBezTo>
                    <a:cubicBezTo>
                      <a:pt x="61897" y="173188"/>
                      <a:pt x="61897" y="155064"/>
                      <a:pt x="73922" y="151017"/>
                    </a:cubicBezTo>
                    <a:cubicBezTo>
                      <a:pt x="93187" y="118872"/>
                      <a:pt x="113306" y="85758"/>
                      <a:pt x="132570" y="53613"/>
                    </a:cubicBezTo>
                    <a:cubicBezTo>
                      <a:pt x="138230" y="43673"/>
                      <a:pt x="144590" y="34150"/>
                      <a:pt x="151606" y="25116"/>
                    </a:cubicBezTo>
                    <a:cubicBezTo>
                      <a:pt x="156508" y="27795"/>
                      <a:pt x="163005" y="23121"/>
                      <a:pt x="163917" y="17650"/>
                    </a:cubicBezTo>
                    <a:cubicBezTo>
                      <a:pt x="164436" y="12036"/>
                      <a:pt x="163199" y="6399"/>
                      <a:pt x="160383" y="1520"/>
                    </a:cubicBezTo>
                    <a:cubicBezTo>
                      <a:pt x="164316" y="-1729"/>
                      <a:pt x="170414" y="722"/>
                      <a:pt x="174062" y="4256"/>
                    </a:cubicBezTo>
                    <a:cubicBezTo>
                      <a:pt x="177710" y="7789"/>
                      <a:pt x="180787" y="12406"/>
                      <a:pt x="185461" y="14116"/>
                    </a:cubicBezTo>
                    <a:cubicBezTo>
                      <a:pt x="190408" y="15136"/>
                      <a:pt x="195538" y="14840"/>
                      <a:pt x="200337" y="13261"/>
                    </a:cubicBezTo>
                    <a:cubicBezTo>
                      <a:pt x="216358" y="10445"/>
                      <a:pt x="232784" y="15222"/>
                      <a:pt x="244792" y="26199"/>
                    </a:cubicBezTo>
                    <a:cubicBezTo>
                      <a:pt x="244792" y="25743"/>
                      <a:pt x="245476" y="25344"/>
                      <a:pt x="245762" y="24888"/>
                    </a:cubicBezTo>
                    <a:cubicBezTo>
                      <a:pt x="245471" y="29499"/>
                      <a:pt x="246873" y="34058"/>
                      <a:pt x="249694" y="37712"/>
                    </a:cubicBezTo>
                    <a:cubicBezTo>
                      <a:pt x="251113" y="39023"/>
                      <a:pt x="252322" y="40539"/>
                      <a:pt x="253285" y="42214"/>
                    </a:cubicBezTo>
                    <a:cubicBezTo>
                      <a:pt x="255223" y="47059"/>
                      <a:pt x="249808" y="51562"/>
                      <a:pt x="248440" y="56577"/>
                    </a:cubicBezTo>
                    <a:cubicBezTo>
                      <a:pt x="244850" y="69971"/>
                      <a:pt x="269642" y="79375"/>
                      <a:pt x="264798" y="92313"/>
                    </a:cubicBezTo>
                    <a:cubicBezTo>
                      <a:pt x="261703" y="97853"/>
                      <a:pt x="255422" y="100811"/>
                      <a:pt x="249181" y="99665"/>
                    </a:cubicBezTo>
                    <a:cubicBezTo>
                      <a:pt x="243151" y="98468"/>
                      <a:pt x="237030" y="97744"/>
                      <a:pt x="230886" y="97499"/>
                    </a:cubicBezTo>
                    <a:cubicBezTo>
                      <a:pt x="225962" y="98246"/>
                      <a:pt x="221214" y="99870"/>
                      <a:pt x="216865" y="102287"/>
                    </a:cubicBezTo>
                    <a:cubicBezTo>
                      <a:pt x="210368" y="105365"/>
                      <a:pt x="202901" y="109753"/>
                      <a:pt x="202331" y="116991"/>
                    </a:cubicBezTo>
                    <a:cubicBezTo>
                      <a:pt x="201876" y="122691"/>
                      <a:pt x="205124" y="130442"/>
                      <a:pt x="199938" y="132836"/>
                    </a:cubicBezTo>
                    <a:cubicBezTo>
                      <a:pt x="196119" y="134603"/>
                      <a:pt x="192015" y="130613"/>
                      <a:pt x="187741" y="130499"/>
                    </a:cubicBezTo>
                    <a:cubicBezTo>
                      <a:pt x="179875" y="130499"/>
                      <a:pt x="178394" y="141898"/>
                      <a:pt x="173549" y="147883"/>
                    </a:cubicBezTo>
                    <a:cubicBezTo>
                      <a:pt x="165000" y="158825"/>
                      <a:pt x="145565" y="152898"/>
                      <a:pt x="135591" y="162473"/>
                    </a:cubicBezTo>
                    <a:cubicBezTo>
                      <a:pt x="134377" y="163984"/>
                      <a:pt x="132906" y="165272"/>
                      <a:pt x="131259" y="166292"/>
                    </a:cubicBezTo>
                    <a:cubicBezTo>
                      <a:pt x="128905" y="167004"/>
                      <a:pt x="126477" y="167426"/>
                      <a:pt x="124021" y="167546"/>
                    </a:cubicBezTo>
                    <a:cubicBezTo>
                      <a:pt x="119609" y="169256"/>
                      <a:pt x="115688" y="172037"/>
                      <a:pt x="112622" y="175639"/>
                    </a:cubicBezTo>
                    <a:cubicBezTo>
                      <a:pt x="109088" y="178717"/>
                      <a:pt x="103617" y="180997"/>
                      <a:pt x="99912" y="178090"/>
                    </a:cubicBezTo>
                    <a:cubicBezTo>
                      <a:pt x="102819" y="182820"/>
                      <a:pt x="95694" y="187038"/>
                      <a:pt x="92731" y="191769"/>
                    </a:cubicBezTo>
                    <a:cubicBezTo>
                      <a:pt x="91066" y="195040"/>
                      <a:pt x="90371" y="198716"/>
                      <a:pt x="90736" y="202370"/>
                    </a:cubicBezTo>
                    <a:cubicBezTo>
                      <a:pt x="90679" y="205504"/>
                      <a:pt x="90622" y="209095"/>
                      <a:pt x="90451" y="21268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29" name="Freihandform: Form 345">
                <a:extLst>
                  <a:ext uri="{FF2B5EF4-FFF2-40B4-BE49-F238E27FC236}">
                    <a16:creationId xmlns:a16="http://schemas.microsoft.com/office/drawing/2014/main" id="{AEDBCA74-EB16-251D-B6C2-A88B21574A96}"/>
                  </a:ext>
                </a:extLst>
              </p:cNvPr>
              <p:cNvSpPr/>
              <p:nvPr/>
            </p:nvSpPr>
            <p:spPr>
              <a:xfrm>
                <a:off x="3774252" y="3690287"/>
                <a:ext cx="338330" cy="279255"/>
              </a:xfrm>
              <a:custGeom>
                <a:avLst/>
                <a:gdLst>
                  <a:gd name="connsiteX0" fmla="*/ 293865 w 338330"/>
                  <a:gd name="connsiteY0" fmla="*/ 217986 h 279255"/>
                  <a:gd name="connsiteX1" fmla="*/ 290559 w 338330"/>
                  <a:gd name="connsiteY1" fmla="*/ 243235 h 279255"/>
                  <a:gd name="connsiteX2" fmla="*/ 282637 w 338330"/>
                  <a:gd name="connsiteY2" fmla="*/ 243235 h 279255"/>
                  <a:gd name="connsiteX3" fmla="*/ 276938 w 338330"/>
                  <a:gd name="connsiteY3" fmla="*/ 246825 h 279255"/>
                  <a:gd name="connsiteX4" fmla="*/ 249295 w 338330"/>
                  <a:gd name="connsiteY4" fmla="*/ 248364 h 279255"/>
                  <a:gd name="connsiteX5" fmla="*/ 241202 w 338330"/>
                  <a:gd name="connsiteY5" fmla="*/ 244488 h 279255"/>
                  <a:gd name="connsiteX6" fmla="*/ 224958 w 338330"/>
                  <a:gd name="connsiteY6" fmla="*/ 251157 h 279255"/>
                  <a:gd name="connsiteX7" fmla="*/ 193896 w 338330"/>
                  <a:gd name="connsiteY7" fmla="*/ 261815 h 279255"/>
                  <a:gd name="connsiteX8" fmla="*/ 187855 w 338330"/>
                  <a:gd name="connsiteY8" fmla="*/ 260618 h 279255"/>
                  <a:gd name="connsiteX9" fmla="*/ 184264 w 338330"/>
                  <a:gd name="connsiteY9" fmla="*/ 254919 h 279255"/>
                  <a:gd name="connsiteX10" fmla="*/ 159813 w 338330"/>
                  <a:gd name="connsiteY10" fmla="*/ 252810 h 279255"/>
                  <a:gd name="connsiteX11" fmla="*/ 151150 w 338330"/>
                  <a:gd name="connsiteY11" fmla="*/ 254691 h 279255"/>
                  <a:gd name="connsiteX12" fmla="*/ 140834 w 338330"/>
                  <a:gd name="connsiteY12" fmla="*/ 238105 h 279255"/>
                  <a:gd name="connsiteX13" fmla="*/ 132570 w 338330"/>
                  <a:gd name="connsiteY13" fmla="*/ 236338 h 279255"/>
                  <a:gd name="connsiteX14" fmla="*/ 114161 w 338330"/>
                  <a:gd name="connsiteY14" fmla="*/ 236338 h 279255"/>
                  <a:gd name="connsiteX15" fmla="*/ 107321 w 338330"/>
                  <a:gd name="connsiteY15" fmla="*/ 237193 h 279255"/>
                  <a:gd name="connsiteX16" fmla="*/ 101622 w 338330"/>
                  <a:gd name="connsiteY16" fmla="*/ 240841 h 279255"/>
                  <a:gd name="connsiteX17" fmla="*/ 90223 w 338330"/>
                  <a:gd name="connsiteY17" fmla="*/ 245400 h 279255"/>
                  <a:gd name="connsiteX18" fmla="*/ 83041 w 338330"/>
                  <a:gd name="connsiteY18" fmla="*/ 267115 h 279255"/>
                  <a:gd name="connsiteX19" fmla="*/ 77342 w 338330"/>
                  <a:gd name="connsiteY19" fmla="*/ 276975 h 279255"/>
                  <a:gd name="connsiteX20" fmla="*/ 76829 w 338330"/>
                  <a:gd name="connsiteY20" fmla="*/ 278799 h 279255"/>
                  <a:gd name="connsiteX21" fmla="*/ 71130 w 338330"/>
                  <a:gd name="connsiteY21" fmla="*/ 276348 h 279255"/>
                  <a:gd name="connsiteX22" fmla="*/ 56767 w 338330"/>
                  <a:gd name="connsiteY22" fmla="*/ 275380 h 279255"/>
                  <a:gd name="connsiteX23" fmla="*/ 54829 w 338330"/>
                  <a:gd name="connsiteY23" fmla="*/ 279255 h 279255"/>
                  <a:gd name="connsiteX24" fmla="*/ 49129 w 338330"/>
                  <a:gd name="connsiteY24" fmla="*/ 272587 h 279255"/>
                  <a:gd name="connsiteX25" fmla="*/ 35052 w 338330"/>
                  <a:gd name="connsiteY25" fmla="*/ 269680 h 279255"/>
                  <a:gd name="connsiteX26" fmla="*/ 28042 w 338330"/>
                  <a:gd name="connsiteY26" fmla="*/ 260105 h 279255"/>
                  <a:gd name="connsiteX27" fmla="*/ 22342 w 338330"/>
                  <a:gd name="connsiteY27" fmla="*/ 258053 h 279255"/>
                  <a:gd name="connsiteX28" fmla="*/ 19549 w 338330"/>
                  <a:gd name="connsiteY28" fmla="*/ 253494 h 279255"/>
                  <a:gd name="connsiteX29" fmla="*/ 21031 w 338330"/>
                  <a:gd name="connsiteY29" fmla="*/ 251214 h 279255"/>
                  <a:gd name="connsiteX30" fmla="*/ 16643 w 338330"/>
                  <a:gd name="connsiteY30" fmla="*/ 243349 h 279255"/>
                  <a:gd name="connsiteX31" fmla="*/ 13451 w 338330"/>
                  <a:gd name="connsiteY31" fmla="*/ 235255 h 279255"/>
                  <a:gd name="connsiteX32" fmla="*/ 1026 w 338330"/>
                  <a:gd name="connsiteY32" fmla="*/ 223856 h 279255"/>
                  <a:gd name="connsiteX33" fmla="*/ 0 w 338330"/>
                  <a:gd name="connsiteY33" fmla="*/ 214224 h 279255"/>
                  <a:gd name="connsiteX34" fmla="*/ 7011 w 338330"/>
                  <a:gd name="connsiteY34" fmla="*/ 208525 h 279255"/>
                  <a:gd name="connsiteX35" fmla="*/ 18979 w 338330"/>
                  <a:gd name="connsiteY35" fmla="*/ 206245 h 279255"/>
                  <a:gd name="connsiteX36" fmla="*/ 54544 w 338330"/>
                  <a:gd name="connsiteY36" fmla="*/ 201058 h 279255"/>
                  <a:gd name="connsiteX37" fmla="*/ 78482 w 338330"/>
                  <a:gd name="connsiteY37" fmla="*/ 187437 h 279255"/>
                  <a:gd name="connsiteX38" fmla="*/ 82529 w 338330"/>
                  <a:gd name="connsiteY38" fmla="*/ 177406 h 279255"/>
                  <a:gd name="connsiteX39" fmla="*/ 91363 w 338330"/>
                  <a:gd name="connsiteY39" fmla="*/ 172561 h 279255"/>
                  <a:gd name="connsiteX40" fmla="*/ 92047 w 338330"/>
                  <a:gd name="connsiteY40" fmla="*/ 130214 h 279255"/>
                  <a:gd name="connsiteX41" fmla="*/ 85492 w 338330"/>
                  <a:gd name="connsiteY41" fmla="*/ 114084 h 279255"/>
                  <a:gd name="connsiteX42" fmla="*/ 85492 w 338330"/>
                  <a:gd name="connsiteY42" fmla="*/ 114084 h 279255"/>
                  <a:gd name="connsiteX43" fmla="*/ 95637 w 338330"/>
                  <a:gd name="connsiteY43" fmla="*/ 106504 h 279255"/>
                  <a:gd name="connsiteX44" fmla="*/ 100653 w 338330"/>
                  <a:gd name="connsiteY44" fmla="*/ 106504 h 279255"/>
                  <a:gd name="connsiteX45" fmla="*/ 107321 w 338330"/>
                  <a:gd name="connsiteY45" fmla="*/ 96872 h 279255"/>
                  <a:gd name="connsiteX46" fmla="*/ 131259 w 338330"/>
                  <a:gd name="connsiteY46" fmla="*/ 92198 h 279255"/>
                  <a:gd name="connsiteX47" fmla="*/ 138383 w 338330"/>
                  <a:gd name="connsiteY47" fmla="*/ 83649 h 279255"/>
                  <a:gd name="connsiteX48" fmla="*/ 146704 w 338330"/>
                  <a:gd name="connsiteY48" fmla="*/ 79831 h 279255"/>
                  <a:gd name="connsiteX49" fmla="*/ 149440 w 338330"/>
                  <a:gd name="connsiteY49" fmla="*/ 74131 h 279255"/>
                  <a:gd name="connsiteX50" fmla="*/ 159243 w 338330"/>
                  <a:gd name="connsiteY50" fmla="*/ 67178 h 279255"/>
                  <a:gd name="connsiteX51" fmla="*/ 162663 w 338330"/>
                  <a:gd name="connsiteY51" fmla="*/ 57147 h 279255"/>
                  <a:gd name="connsiteX52" fmla="*/ 183751 w 338330"/>
                  <a:gd name="connsiteY52" fmla="*/ 49053 h 279255"/>
                  <a:gd name="connsiteX53" fmla="*/ 186943 w 338330"/>
                  <a:gd name="connsiteY53" fmla="*/ 44608 h 279255"/>
                  <a:gd name="connsiteX54" fmla="*/ 190989 w 338330"/>
                  <a:gd name="connsiteY54" fmla="*/ 43354 h 279255"/>
                  <a:gd name="connsiteX55" fmla="*/ 214300 w 338330"/>
                  <a:gd name="connsiteY55" fmla="*/ 31442 h 279255"/>
                  <a:gd name="connsiteX56" fmla="*/ 220000 w 338330"/>
                  <a:gd name="connsiteY56" fmla="*/ 26028 h 279255"/>
                  <a:gd name="connsiteX57" fmla="*/ 227523 w 338330"/>
                  <a:gd name="connsiteY57" fmla="*/ 20670 h 279255"/>
                  <a:gd name="connsiteX58" fmla="*/ 253000 w 338330"/>
                  <a:gd name="connsiteY58" fmla="*/ 4769 h 279255"/>
                  <a:gd name="connsiteX59" fmla="*/ 267363 w 338330"/>
                  <a:gd name="connsiteY59" fmla="*/ 266 h 279255"/>
                  <a:gd name="connsiteX60" fmla="*/ 284461 w 338330"/>
                  <a:gd name="connsiteY60" fmla="*/ 1292 h 279255"/>
                  <a:gd name="connsiteX61" fmla="*/ 297057 w 338330"/>
                  <a:gd name="connsiteY61" fmla="*/ 12007 h 279255"/>
                  <a:gd name="connsiteX62" fmla="*/ 307202 w 338330"/>
                  <a:gd name="connsiteY62" fmla="*/ 15142 h 279255"/>
                  <a:gd name="connsiteX63" fmla="*/ 308455 w 338330"/>
                  <a:gd name="connsiteY63" fmla="*/ 19929 h 279255"/>
                  <a:gd name="connsiteX64" fmla="*/ 329487 w 338330"/>
                  <a:gd name="connsiteY64" fmla="*/ 47344 h 279255"/>
                  <a:gd name="connsiteX65" fmla="*/ 329886 w 338330"/>
                  <a:gd name="connsiteY65" fmla="*/ 53385 h 279255"/>
                  <a:gd name="connsiteX66" fmla="*/ 335129 w 338330"/>
                  <a:gd name="connsiteY66" fmla="*/ 62846 h 279255"/>
                  <a:gd name="connsiteX67" fmla="*/ 335129 w 338330"/>
                  <a:gd name="connsiteY67" fmla="*/ 86556 h 279255"/>
                  <a:gd name="connsiteX68" fmla="*/ 330285 w 338330"/>
                  <a:gd name="connsiteY68" fmla="*/ 95333 h 279255"/>
                  <a:gd name="connsiteX69" fmla="*/ 330911 w 338330"/>
                  <a:gd name="connsiteY69" fmla="*/ 103597 h 279255"/>
                  <a:gd name="connsiteX70" fmla="*/ 333191 w 338330"/>
                  <a:gd name="connsiteY70" fmla="*/ 152157 h 279255"/>
                  <a:gd name="connsiteX71" fmla="*/ 321792 w 338330"/>
                  <a:gd name="connsiteY71" fmla="*/ 173929 h 279255"/>
                  <a:gd name="connsiteX72" fmla="*/ 308114 w 338330"/>
                  <a:gd name="connsiteY72" fmla="*/ 182934 h 279255"/>
                  <a:gd name="connsiteX73" fmla="*/ 308114 w 338330"/>
                  <a:gd name="connsiteY73" fmla="*/ 190286 h 279255"/>
                  <a:gd name="connsiteX74" fmla="*/ 299963 w 338330"/>
                  <a:gd name="connsiteY74" fmla="*/ 196784 h 279255"/>
                  <a:gd name="connsiteX75" fmla="*/ 297627 w 338330"/>
                  <a:gd name="connsiteY75" fmla="*/ 206302 h 279255"/>
                  <a:gd name="connsiteX76" fmla="*/ 294036 w 338330"/>
                  <a:gd name="connsiteY76" fmla="*/ 211317 h 279255"/>
                  <a:gd name="connsiteX77" fmla="*/ 293865 w 338330"/>
                  <a:gd name="connsiteY77" fmla="*/ 217986 h 27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38330" h="279255">
                    <a:moveTo>
                      <a:pt x="293865" y="217986"/>
                    </a:moveTo>
                    <a:cubicBezTo>
                      <a:pt x="293740" y="226501"/>
                      <a:pt x="292628" y="234976"/>
                      <a:pt x="290559" y="243235"/>
                    </a:cubicBezTo>
                    <a:cubicBezTo>
                      <a:pt x="288006" y="242288"/>
                      <a:pt x="285190" y="242288"/>
                      <a:pt x="282637" y="243235"/>
                    </a:cubicBezTo>
                    <a:cubicBezTo>
                      <a:pt x="280614" y="244221"/>
                      <a:pt x="278704" y="245429"/>
                      <a:pt x="276938" y="246825"/>
                    </a:cubicBezTo>
                    <a:cubicBezTo>
                      <a:pt x="268685" y="252319"/>
                      <a:pt x="258106" y="252906"/>
                      <a:pt x="249295" y="248364"/>
                    </a:cubicBezTo>
                    <a:cubicBezTo>
                      <a:pt x="246810" y="246666"/>
                      <a:pt x="244080" y="245361"/>
                      <a:pt x="241202" y="244488"/>
                    </a:cubicBezTo>
                    <a:cubicBezTo>
                      <a:pt x="235502" y="243349"/>
                      <a:pt x="229803" y="247737"/>
                      <a:pt x="224958" y="251157"/>
                    </a:cubicBezTo>
                    <a:cubicBezTo>
                      <a:pt x="215736" y="257409"/>
                      <a:pt x="205016" y="261085"/>
                      <a:pt x="193896" y="261815"/>
                    </a:cubicBezTo>
                    <a:cubicBezTo>
                      <a:pt x="191804" y="262128"/>
                      <a:pt x="189667" y="261706"/>
                      <a:pt x="187855" y="260618"/>
                    </a:cubicBezTo>
                    <a:cubicBezTo>
                      <a:pt x="186088" y="259307"/>
                      <a:pt x="185461" y="256970"/>
                      <a:pt x="184264" y="254919"/>
                    </a:cubicBezTo>
                    <a:cubicBezTo>
                      <a:pt x="179533" y="247281"/>
                      <a:pt x="167907" y="248934"/>
                      <a:pt x="159813" y="252810"/>
                    </a:cubicBezTo>
                    <a:cubicBezTo>
                      <a:pt x="157260" y="254497"/>
                      <a:pt x="154171" y="255169"/>
                      <a:pt x="151150" y="254691"/>
                    </a:cubicBezTo>
                    <a:cubicBezTo>
                      <a:pt x="144767" y="252696"/>
                      <a:pt x="146306" y="242038"/>
                      <a:pt x="140834" y="238105"/>
                    </a:cubicBezTo>
                    <a:cubicBezTo>
                      <a:pt x="138326" y="236686"/>
                      <a:pt x="135443" y="236070"/>
                      <a:pt x="132570" y="236338"/>
                    </a:cubicBezTo>
                    <a:lnTo>
                      <a:pt x="114161" y="236338"/>
                    </a:lnTo>
                    <a:cubicBezTo>
                      <a:pt x="111847" y="236190"/>
                      <a:pt x="109527" y="236481"/>
                      <a:pt x="107321" y="237193"/>
                    </a:cubicBezTo>
                    <a:cubicBezTo>
                      <a:pt x="105287" y="238185"/>
                      <a:pt x="103377" y="239410"/>
                      <a:pt x="101622" y="240841"/>
                    </a:cubicBezTo>
                    <a:cubicBezTo>
                      <a:pt x="98265" y="243292"/>
                      <a:pt x="94344" y="244859"/>
                      <a:pt x="90223" y="245400"/>
                    </a:cubicBezTo>
                    <a:cubicBezTo>
                      <a:pt x="89830" y="253152"/>
                      <a:pt x="87350" y="260658"/>
                      <a:pt x="83041" y="267115"/>
                    </a:cubicBezTo>
                    <a:cubicBezTo>
                      <a:pt x="80739" y="270153"/>
                      <a:pt x="78824" y="273465"/>
                      <a:pt x="77342" y="276975"/>
                    </a:cubicBezTo>
                    <a:cubicBezTo>
                      <a:pt x="77108" y="277562"/>
                      <a:pt x="76937" y="278178"/>
                      <a:pt x="76829" y="278799"/>
                    </a:cubicBezTo>
                    <a:lnTo>
                      <a:pt x="71130" y="276348"/>
                    </a:lnTo>
                    <a:cubicBezTo>
                      <a:pt x="66513" y="274012"/>
                      <a:pt x="60358" y="271675"/>
                      <a:pt x="56767" y="275380"/>
                    </a:cubicBezTo>
                    <a:cubicBezTo>
                      <a:pt x="55804" y="276485"/>
                      <a:pt x="55137" y="277819"/>
                      <a:pt x="54829" y="279255"/>
                    </a:cubicBezTo>
                    <a:cubicBezTo>
                      <a:pt x="53735" y="276451"/>
                      <a:pt x="51728" y="274103"/>
                      <a:pt x="49129" y="272587"/>
                    </a:cubicBezTo>
                    <a:cubicBezTo>
                      <a:pt x="44741" y="270478"/>
                      <a:pt x="38928" y="272587"/>
                      <a:pt x="35052" y="269680"/>
                    </a:cubicBezTo>
                    <a:cubicBezTo>
                      <a:pt x="31176" y="266773"/>
                      <a:pt x="31347" y="262328"/>
                      <a:pt x="28042" y="260105"/>
                    </a:cubicBezTo>
                    <a:cubicBezTo>
                      <a:pt x="26189" y="259290"/>
                      <a:pt x="24286" y="258606"/>
                      <a:pt x="22342" y="258053"/>
                    </a:cubicBezTo>
                    <a:cubicBezTo>
                      <a:pt x="20575" y="257255"/>
                      <a:pt x="18922" y="255374"/>
                      <a:pt x="19549" y="253494"/>
                    </a:cubicBezTo>
                    <a:cubicBezTo>
                      <a:pt x="19971" y="252690"/>
                      <a:pt x="20467" y="251926"/>
                      <a:pt x="21031" y="251214"/>
                    </a:cubicBezTo>
                    <a:cubicBezTo>
                      <a:pt x="22456" y="248250"/>
                      <a:pt x="19321" y="245514"/>
                      <a:pt x="16643" y="243349"/>
                    </a:cubicBezTo>
                    <a:cubicBezTo>
                      <a:pt x="13964" y="241183"/>
                      <a:pt x="11285" y="237649"/>
                      <a:pt x="13451" y="235255"/>
                    </a:cubicBezTo>
                    <a:cubicBezTo>
                      <a:pt x="7221" y="234668"/>
                      <a:pt x="2149" y="230012"/>
                      <a:pt x="1026" y="223856"/>
                    </a:cubicBezTo>
                    <a:cubicBezTo>
                      <a:pt x="895" y="220625"/>
                      <a:pt x="553" y="217410"/>
                      <a:pt x="0" y="214224"/>
                    </a:cubicBezTo>
                    <a:cubicBezTo>
                      <a:pt x="1807" y="211756"/>
                      <a:pt x="4223" y="209790"/>
                      <a:pt x="7011" y="208525"/>
                    </a:cubicBezTo>
                    <a:cubicBezTo>
                      <a:pt x="10835" y="207071"/>
                      <a:pt x="14887" y="206302"/>
                      <a:pt x="18979" y="206245"/>
                    </a:cubicBezTo>
                    <a:cubicBezTo>
                      <a:pt x="30931" y="205282"/>
                      <a:pt x="42815" y="203549"/>
                      <a:pt x="54544" y="201058"/>
                    </a:cubicBezTo>
                    <a:cubicBezTo>
                      <a:pt x="63834" y="199121"/>
                      <a:pt x="74036" y="195872"/>
                      <a:pt x="78482" y="187437"/>
                    </a:cubicBezTo>
                    <a:cubicBezTo>
                      <a:pt x="80135" y="184245"/>
                      <a:pt x="80762" y="180540"/>
                      <a:pt x="82529" y="177406"/>
                    </a:cubicBezTo>
                    <a:cubicBezTo>
                      <a:pt x="84050" y="173992"/>
                      <a:pt x="87664" y="172008"/>
                      <a:pt x="91363" y="172561"/>
                    </a:cubicBezTo>
                    <a:lnTo>
                      <a:pt x="92047" y="130214"/>
                    </a:lnTo>
                    <a:cubicBezTo>
                      <a:pt x="92047" y="124059"/>
                      <a:pt x="90565" y="116136"/>
                      <a:pt x="85492" y="114084"/>
                    </a:cubicBezTo>
                    <a:lnTo>
                      <a:pt x="85492" y="114084"/>
                    </a:lnTo>
                    <a:cubicBezTo>
                      <a:pt x="87652" y="110237"/>
                      <a:pt x="91334" y="107485"/>
                      <a:pt x="95637" y="106504"/>
                    </a:cubicBezTo>
                    <a:cubicBezTo>
                      <a:pt x="97307" y="106618"/>
                      <a:pt x="98983" y="106618"/>
                      <a:pt x="100653" y="106504"/>
                    </a:cubicBezTo>
                    <a:cubicBezTo>
                      <a:pt x="104756" y="105706"/>
                      <a:pt x="106352" y="100805"/>
                      <a:pt x="107321" y="96872"/>
                    </a:cubicBezTo>
                    <a:cubicBezTo>
                      <a:pt x="115397" y="101181"/>
                      <a:pt x="125394" y="99232"/>
                      <a:pt x="131259" y="92198"/>
                    </a:cubicBezTo>
                    <a:cubicBezTo>
                      <a:pt x="133596" y="89235"/>
                      <a:pt x="135135" y="85473"/>
                      <a:pt x="138383" y="83649"/>
                    </a:cubicBezTo>
                    <a:cubicBezTo>
                      <a:pt x="141632" y="81825"/>
                      <a:pt x="144653" y="82168"/>
                      <a:pt x="146704" y="79831"/>
                    </a:cubicBezTo>
                    <a:cubicBezTo>
                      <a:pt x="147844" y="78052"/>
                      <a:pt x="148768" y="76137"/>
                      <a:pt x="149440" y="74131"/>
                    </a:cubicBezTo>
                    <a:cubicBezTo>
                      <a:pt x="151492" y="70597"/>
                      <a:pt x="155824" y="69344"/>
                      <a:pt x="159243" y="67178"/>
                    </a:cubicBezTo>
                    <a:cubicBezTo>
                      <a:pt x="162663" y="65012"/>
                      <a:pt x="165399" y="60167"/>
                      <a:pt x="162663" y="57147"/>
                    </a:cubicBezTo>
                    <a:cubicBezTo>
                      <a:pt x="170471" y="56748"/>
                      <a:pt x="179476" y="55608"/>
                      <a:pt x="183751" y="49053"/>
                    </a:cubicBezTo>
                    <a:cubicBezTo>
                      <a:pt x="184515" y="47378"/>
                      <a:pt x="185598" y="45867"/>
                      <a:pt x="186943" y="44608"/>
                    </a:cubicBezTo>
                    <a:cubicBezTo>
                      <a:pt x="188185" y="43901"/>
                      <a:pt x="189565" y="43474"/>
                      <a:pt x="190989" y="43354"/>
                    </a:cubicBezTo>
                    <a:cubicBezTo>
                      <a:pt x="199766" y="41775"/>
                      <a:pt x="207877" y="37626"/>
                      <a:pt x="214300" y="31442"/>
                    </a:cubicBezTo>
                    <a:cubicBezTo>
                      <a:pt x="216181" y="29675"/>
                      <a:pt x="217891" y="27737"/>
                      <a:pt x="220000" y="26028"/>
                    </a:cubicBezTo>
                    <a:cubicBezTo>
                      <a:pt x="222359" y="24044"/>
                      <a:pt x="224878" y="22255"/>
                      <a:pt x="227523" y="20670"/>
                    </a:cubicBezTo>
                    <a:lnTo>
                      <a:pt x="253000" y="4769"/>
                    </a:lnTo>
                    <a:cubicBezTo>
                      <a:pt x="257109" y="1628"/>
                      <a:pt x="262193" y="38"/>
                      <a:pt x="267363" y="266"/>
                    </a:cubicBezTo>
                    <a:cubicBezTo>
                      <a:pt x="273079" y="-304"/>
                      <a:pt x="278853" y="44"/>
                      <a:pt x="284461" y="1292"/>
                    </a:cubicBezTo>
                    <a:cubicBezTo>
                      <a:pt x="290120" y="2671"/>
                      <a:pt x="294788" y="6644"/>
                      <a:pt x="297057" y="12007"/>
                    </a:cubicBezTo>
                    <a:cubicBezTo>
                      <a:pt x="300818" y="12007"/>
                      <a:pt x="305378" y="12007"/>
                      <a:pt x="307202" y="15142"/>
                    </a:cubicBezTo>
                    <a:cubicBezTo>
                      <a:pt x="307869" y="16663"/>
                      <a:pt x="308296" y="18276"/>
                      <a:pt x="308455" y="19929"/>
                    </a:cubicBezTo>
                    <a:cubicBezTo>
                      <a:pt x="311020" y="31328"/>
                      <a:pt x="328005" y="35660"/>
                      <a:pt x="329487" y="47344"/>
                    </a:cubicBezTo>
                    <a:cubicBezTo>
                      <a:pt x="329487" y="49339"/>
                      <a:pt x="329487" y="51390"/>
                      <a:pt x="329886" y="53385"/>
                    </a:cubicBezTo>
                    <a:cubicBezTo>
                      <a:pt x="331066" y="56822"/>
                      <a:pt x="332838" y="60025"/>
                      <a:pt x="335129" y="62846"/>
                    </a:cubicBezTo>
                    <a:cubicBezTo>
                      <a:pt x="339398" y="70170"/>
                      <a:pt x="339398" y="79232"/>
                      <a:pt x="335129" y="86556"/>
                    </a:cubicBezTo>
                    <a:cubicBezTo>
                      <a:pt x="333015" y="89178"/>
                      <a:pt x="331373" y="92147"/>
                      <a:pt x="330285" y="95333"/>
                    </a:cubicBezTo>
                    <a:cubicBezTo>
                      <a:pt x="329897" y="98103"/>
                      <a:pt x="330114" y="100919"/>
                      <a:pt x="330911" y="103597"/>
                    </a:cubicBezTo>
                    <a:cubicBezTo>
                      <a:pt x="334291" y="119556"/>
                      <a:pt x="335061" y="135953"/>
                      <a:pt x="333191" y="152157"/>
                    </a:cubicBezTo>
                    <a:cubicBezTo>
                      <a:pt x="332165" y="160592"/>
                      <a:pt x="329658" y="170110"/>
                      <a:pt x="321792" y="173929"/>
                    </a:cubicBezTo>
                    <a:cubicBezTo>
                      <a:pt x="316663" y="176551"/>
                      <a:pt x="308912" y="177292"/>
                      <a:pt x="308114" y="182934"/>
                    </a:cubicBezTo>
                    <a:cubicBezTo>
                      <a:pt x="307772" y="185385"/>
                      <a:pt x="309083" y="188007"/>
                      <a:pt x="308114" y="190286"/>
                    </a:cubicBezTo>
                    <a:cubicBezTo>
                      <a:pt x="306803" y="193592"/>
                      <a:pt x="302072" y="193934"/>
                      <a:pt x="299963" y="196784"/>
                    </a:cubicBezTo>
                    <a:cubicBezTo>
                      <a:pt x="297855" y="199634"/>
                      <a:pt x="298995" y="203281"/>
                      <a:pt x="297627" y="206302"/>
                    </a:cubicBezTo>
                    <a:cubicBezTo>
                      <a:pt x="296715" y="208126"/>
                      <a:pt x="294948" y="209494"/>
                      <a:pt x="294036" y="211317"/>
                    </a:cubicBezTo>
                    <a:cubicBezTo>
                      <a:pt x="293438" y="213495"/>
                      <a:pt x="293381" y="215780"/>
                      <a:pt x="293865" y="21798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0" name="Freihandform: Form 346">
                <a:extLst>
                  <a:ext uri="{FF2B5EF4-FFF2-40B4-BE49-F238E27FC236}">
                    <a16:creationId xmlns:a16="http://schemas.microsoft.com/office/drawing/2014/main" id="{138B918B-A2B1-9C34-7ECF-008616A19581}"/>
                  </a:ext>
                </a:extLst>
              </p:cNvPr>
              <p:cNvSpPr/>
              <p:nvPr/>
            </p:nvSpPr>
            <p:spPr>
              <a:xfrm>
                <a:off x="3576784" y="3336976"/>
                <a:ext cx="467166" cy="467452"/>
              </a:xfrm>
              <a:custGeom>
                <a:avLst/>
                <a:gdLst>
                  <a:gd name="connsiteX0" fmla="*/ 461467 w 467166"/>
                  <a:gd name="connsiteY0" fmla="*/ 344914 h 467452"/>
                  <a:gd name="connsiteX1" fmla="*/ 467167 w 467166"/>
                  <a:gd name="connsiteY1" fmla="*/ 353634 h 467452"/>
                  <a:gd name="connsiteX2" fmla="*/ 465343 w 467166"/>
                  <a:gd name="connsiteY2" fmla="*/ 353634 h 467452"/>
                  <a:gd name="connsiteX3" fmla="*/ 450981 w 467166"/>
                  <a:gd name="connsiteY3" fmla="*/ 358137 h 467452"/>
                  <a:gd name="connsiteX4" fmla="*/ 425504 w 467166"/>
                  <a:gd name="connsiteY4" fmla="*/ 374038 h 467452"/>
                  <a:gd name="connsiteX5" fmla="*/ 417980 w 467166"/>
                  <a:gd name="connsiteY5" fmla="*/ 379396 h 467452"/>
                  <a:gd name="connsiteX6" fmla="*/ 412281 w 467166"/>
                  <a:gd name="connsiteY6" fmla="*/ 384810 h 467452"/>
                  <a:gd name="connsiteX7" fmla="*/ 388970 w 467166"/>
                  <a:gd name="connsiteY7" fmla="*/ 396722 h 467452"/>
                  <a:gd name="connsiteX8" fmla="*/ 384924 w 467166"/>
                  <a:gd name="connsiteY8" fmla="*/ 397976 h 467452"/>
                  <a:gd name="connsiteX9" fmla="*/ 381732 w 467166"/>
                  <a:gd name="connsiteY9" fmla="*/ 402422 h 467452"/>
                  <a:gd name="connsiteX10" fmla="*/ 360644 w 467166"/>
                  <a:gd name="connsiteY10" fmla="*/ 410515 h 467452"/>
                  <a:gd name="connsiteX11" fmla="*/ 357224 w 467166"/>
                  <a:gd name="connsiteY11" fmla="*/ 420546 h 467452"/>
                  <a:gd name="connsiteX12" fmla="*/ 347421 w 467166"/>
                  <a:gd name="connsiteY12" fmla="*/ 427499 h 467452"/>
                  <a:gd name="connsiteX13" fmla="*/ 344685 w 467166"/>
                  <a:gd name="connsiteY13" fmla="*/ 433199 h 467452"/>
                  <a:gd name="connsiteX14" fmla="*/ 336364 w 467166"/>
                  <a:gd name="connsiteY14" fmla="*/ 437017 h 467452"/>
                  <a:gd name="connsiteX15" fmla="*/ 329240 w 467166"/>
                  <a:gd name="connsiteY15" fmla="*/ 445567 h 467452"/>
                  <a:gd name="connsiteX16" fmla="*/ 305302 w 467166"/>
                  <a:gd name="connsiteY16" fmla="*/ 450240 h 467452"/>
                  <a:gd name="connsiteX17" fmla="*/ 298633 w 467166"/>
                  <a:gd name="connsiteY17" fmla="*/ 459872 h 467452"/>
                  <a:gd name="connsiteX18" fmla="*/ 293618 w 467166"/>
                  <a:gd name="connsiteY18" fmla="*/ 459872 h 467452"/>
                  <a:gd name="connsiteX19" fmla="*/ 283473 w 467166"/>
                  <a:gd name="connsiteY19" fmla="*/ 467453 h 467452"/>
                  <a:gd name="connsiteX20" fmla="*/ 283473 w 467166"/>
                  <a:gd name="connsiteY20" fmla="*/ 467453 h 467452"/>
                  <a:gd name="connsiteX21" fmla="*/ 280965 w 467166"/>
                  <a:gd name="connsiteY21" fmla="*/ 466997 h 467452"/>
                  <a:gd name="connsiteX22" fmla="*/ 273214 w 467166"/>
                  <a:gd name="connsiteY22" fmla="*/ 466085 h 467452"/>
                  <a:gd name="connsiteX23" fmla="*/ 271732 w 467166"/>
                  <a:gd name="connsiteY23" fmla="*/ 461183 h 467452"/>
                  <a:gd name="connsiteX24" fmla="*/ 267116 w 467166"/>
                  <a:gd name="connsiteY24" fmla="*/ 459530 h 467452"/>
                  <a:gd name="connsiteX25" fmla="*/ 254007 w 467166"/>
                  <a:gd name="connsiteY25" fmla="*/ 441691 h 467452"/>
                  <a:gd name="connsiteX26" fmla="*/ 247338 w 467166"/>
                  <a:gd name="connsiteY26" fmla="*/ 440152 h 467452"/>
                  <a:gd name="connsiteX27" fmla="*/ 228074 w 467166"/>
                  <a:gd name="connsiteY27" fmla="*/ 422313 h 467452"/>
                  <a:gd name="connsiteX28" fmla="*/ 219639 w 467166"/>
                  <a:gd name="connsiteY28" fmla="*/ 415245 h 467452"/>
                  <a:gd name="connsiteX29" fmla="*/ 194048 w 467166"/>
                  <a:gd name="connsiteY29" fmla="*/ 393758 h 467452"/>
                  <a:gd name="connsiteX30" fmla="*/ 165038 w 467166"/>
                  <a:gd name="connsiteY30" fmla="*/ 369365 h 467452"/>
                  <a:gd name="connsiteX31" fmla="*/ 153639 w 467166"/>
                  <a:gd name="connsiteY31" fmla="*/ 360701 h 467452"/>
                  <a:gd name="connsiteX32" fmla="*/ 145318 w 467166"/>
                  <a:gd name="connsiteY32" fmla="*/ 356085 h 467452"/>
                  <a:gd name="connsiteX33" fmla="*/ 134546 w 467166"/>
                  <a:gd name="connsiteY33" fmla="*/ 348960 h 467452"/>
                  <a:gd name="connsiteX34" fmla="*/ 93908 w 467166"/>
                  <a:gd name="connsiteY34" fmla="*/ 320463 h 467452"/>
                  <a:gd name="connsiteX35" fmla="*/ 75271 w 467166"/>
                  <a:gd name="connsiteY35" fmla="*/ 312085 h 467452"/>
                  <a:gd name="connsiteX36" fmla="*/ 69572 w 467166"/>
                  <a:gd name="connsiteY36" fmla="*/ 312598 h 467452"/>
                  <a:gd name="connsiteX37" fmla="*/ 53499 w 467166"/>
                  <a:gd name="connsiteY37" fmla="*/ 289401 h 467452"/>
                  <a:gd name="connsiteX38" fmla="*/ 40732 w 467166"/>
                  <a:gd name="connsiteY38" fmla="*/ 284328 h 467452"/>
                  <a:gd name="connsiteX39" fmla="*/ 29960 w 467166"/>
                  <a:gd name="connsiteY39" fmla="*/ 268085 h 467452"/>
                  <a:gd name="connsiteX40" fmla="*/ 12178 w 467166"/>
                  <a:gd name="connsiteY40" fmla="*/ 266147 h 467452"/>
                  <a:gd name="connsiteX41" fmla="*/ 7732 w 467166"/>
                  <a:gd name="connsiteY41" fmla="*/ 258795 h 467452"/>
                  <a:gd name="connsiteX42" fmla="*/ 3971 w 467166"/>
                  <a:gd name="connsiteY42" fmla="*/ 255204 h 467452"/>
                  <a:gd name="connsiteX43" fmla="*/ 2318 w 467166"/>
                  <a:gd name="connsiteY43" fmla="*/ 248764 h 467452"/>
                  <a:gd name="connsiteX44" fmla="*/ 1178 w 467166"/>
                  <a:gd name="connsiteY44" fmla="*/ 244603 h 467452"/>
                  <a:gd name="connsiteX45" fmla="*/ 95 w 467166"/>
                  <a:gd name="connsiteY45" fmla="*/ 247054 h 467452"/>
                  <a:gd name="connsiteX46" fmla="*/ 95 w 467166"/>
                  <a:gd name="connsiteY46" fmla="*/ 236396 h 467452"/>
                  <a:gd name="connsiteX47" fmla="*/ 2090 w 467166"/>
                  <a:gd name="connsiteY47" fmla="*/ 225795 h 467452"/>
                  <a:gd name="connsiteX48" fmla="*/ 9271 w 467166"/>
                  <a:gd name="connsiteY48" fmla="*/ 212116 h 467452"/>
                  <a:gd name="connsiteX49" fmla="*/ 21981 w 467166"/>
                  <a:gd name="connsiteY49" fmla="*/ 209665 h 467452"/>
                  <a:gd name="connsiteX50" fmla="*/ 33380 w 467166"/>
                  <a:gd name="connsiteY50" fmla="*/ 201572 h 467452"/>
                  <a:gd name="connsiteX51" fmla="*/ 40618 w 467166"/>
                  <a:gd name="connsiteY51" fmla="*/ 200318 h 467452"/>
                  <a:gd name="connsiteX52" fmla="*/ 44950 w 467166"/>
                  <a:gd name="connsiteY52" fmla="*/ 196500 h 467452"/>
                  <a:gd name="connsiteX53" fmla="*/ 82908 w 467166"/>
                  <a:gd name="connsiteY53" fmla="*/ 181909 h 467452"/>
                  <a:gd name="connsiteX54" fmla="*/ 97100 w 467166"/>
                  <a:gd name="connsiteY54" fmla="*/ 164526 h 467452"/>
                  <a:gd name="connsiteX55" fmla="*/ 109297 w 467166"/>
                  <a:gd name="connsiteY55" fmla="*/ 166862 h 467452"/>
                  <a:gd name="connsiteX56" fmla="*/ 111691 w 467166"/>
                  <a:gd name="connsiteY56" fmla="*/ 151018 h 467452"/>
                  <a:gd name="connsiteX57" fmla="*/ 126224 w 467166"/>
                  <a:gd name="connsiteY57" fmla="*/ 136313 h 467452"/>
                  <a:gd name="connsiteX58" fmla="*/ 140245 w 467166"/>
                  <a:gd name="connsiteY58" fmla="*/ 131526 h 467452"/>
                  <a:gd name="connsiteX59" fmla="*/ 158541 w 467166"/>
                  <a:gd name="connsiteY59" fmla="*/ 133691 h 467452"/>
                  <a:gd name="connsiteX60" fmla="*/ 174157 w 467166"/>
                  <a:gd name="connsiteY60" fmla="*/ 126339 h 467452"/>
                  <a:gd name="connsiteX61" fmla="*/ 157800 w 467166"/>
                  <a:gd name="connsiteY61" fmla="*/ 90603 h 467452"/>
                  <a:gd name="connsiteX62" fmla="*/ 162644 w 467166"/>
                  <a:gd name="connsiteY62" fmla="*/ 76241 h 467452"/>
                  <a:gd name="connsiteX63" fmla="*/ 159053 w 467166"/>
                  <a:gd name="connsiteY63" fmla="*/ 71738 h 467452"/>
                  <a:gd name="connsiteX64" fmla="*/ 155121 w 467166"/>
                  <a:gd name="connsiteY64" fmla="*/ 58914 h 467452"/>
                  <a:gd name="connsiteX65" fmla="*/ 204763 w 467166"/>
                  <a:gd name="connsiteY65" fmla="*/ 29049 h 467452"/>
                  <a:gd name="connsiteX66" fmla="*/ 221178 w 467166"/>
                  <a:gd name="connsiteY66" fmla="*/ 13148 h 467452"/>
                  <a:gd name="connsiteX67" fmla="*/ 246426 w 467166"/>
                  <a:gd name="connsiteY67" fmla="*/ 13661 h 467452"/>
                  <a:gd name="connsiteX68" fmla="*/ 293789 w 467166"/>
                  <a:gd name="connsiteY68" fmla="*/ 5567 h 467452"/>
                  <a:gd name="connsiteX69" fmla="*/ 318354 w 467166"/>
                  <a:gd name="connsiteY69" fmla="*/ 11267 h 467452"/>
                  <a:gd name="connsiteX70" fmla="*/ 325250 w 467166"/>
                  <a:gd name="connsiteY70" fmla="*/ 6536 h 467452"/>
                  <a:gd name="connsiteX71" fmla="*/ 361328 w 467166"/>
                  <a:gd name="connsiteY71" fmla="*/ 381 h 467452"/>
                  <a:gd name="connsiteX72" fmla="*/ 376716 w 467166"/>
                  <a:gd name="connsiteY72" fmla="*/ 1236 h 467452"/>
                  <a:gd name="connsiteX73" fmla="*/ 375747 w 467166"/>
                  <a:gd name="connsiteY73" fmla="*/ 13205 h 467452"/>
                  <a:gd name="connsiteX74" fmla="*/ 382359 w 467166"/>
                  <a:gd name="connsiteY74" fmla="*/ 34635 h 467452"/>
                  <a:gd name="connsiteX75" fmla="*/ 380877 w 467166"/>
                  <a:gd name="connsiteY75" fmla="*/ 56293 h 467452"/>
                  <a:gd name="connsiteX76" fmla="*/ 364975 w 467166"/>
                  <a:gd name="connsiteY76" fmla="*/ 69914 h 467452"/>
                  <a:gd name="connsiteX77" fmla="*/ 361841 w 467166"/>
                  <a:gd name="connsiteY77" fmla="*/ 76241 h 467452"/>
                  <a:gd name="connsiteX78" fmla="*/ 360986 w 467166"/>
                  <a:gd name="connsiteY78" fmla="*/ 97671 h 467452"/>
                  <a:gd name="connsiteX79" fmla="*/ 376716 w 467166"/>
                  <a:gd name="connsiteY79" fmla="*/ 111065 h 467452"/>
                  <a:gd name="connsiteX80" fmla="*/ 379509 w 467166"/>
                  <a:gd name="connsiteY80" fmla="*/ 120925 h 467452"/>
                  <a:gd name="connsiteX81" fmla="*/ 387089 w 467166"/>
                  <a:gd name="connsiteY81" fmla="*/ 128220 h 467452"/>
                  <a:gd name="connsiteX82" fmla="*/ 403219 w 467166"/>
                  <a:gd name="connsiteY82" fmla="*/ 185215 h 467452"/>
                  <a:gd name="connsiteX83" fmla="*/ 407265 w 467166"/>
                  <a:gd name="connsiteY83" fmla="*/ 200375 h 467452"/>
                  <a:gd name="connsiteX84" fmla="*/ 414618 w 467166"/>
                  <a:gd name="connsiteY84" fmla="*/ 208298 h 467452"/>
                  <a:gd name="connsiteX85" fmla="*/ 411711 w 467166"/>
                  <a:gd name="connsiteY85" fmla="*/ 239873 h 467452"/>
                  <a:gd name="connsiteX86" fmla="*/ 414390 w 467166"/>
                  <a:gd name="connsiteY86" fmla="*/ 247111 h 467452"/>
                  <a:gd name="connsiteX87" fmla="*/ 413193 w 467166"/>
                  <a:gd name="connsiteY87" fmla="*/ 270992 h 467452"/>
                  <a:gd name="connsiteX88" fmla="*/ 420374 w 467166"/>
                  <a:gd name="connsiteY88" fmla="*/ 319152 h 467452"/>
                  <a:gd name="connsiteX89" fmla="*/ 426530 w 467166"/>
                  <a:gd name="connsiteY89" fmla="*/ 327075 h 467452"/>
                  <a:gd name="connsiteX90" fmla="*/ 431431 w 467166"/>
                  <a:gd name="connsiteY90" fmla="*/ 329126 h 467452"/>
                  <a:gd name="connsiteX91" fmla="*/ 461467 w 467166"/>
                  <a:gd name="connsiteY91" fmla="*/ 344914 h 46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67166" h="467452">
                    <a:moveTo>
                      <a:pt x="461467" y="344914"/>
                    </a:moveTo>
                    <a:cubicBezTo>
                      <a:pt x="463798" y="347513"/>
                      <a:pt x="465725" y="350454"/>
                      <a:pt x="467167" y="353634"/>
                    </a:cubicBezTo>
                    <a:lnTo>
                      <a:pt x="465343" y="353634"/>
                    </a:lnTo>
                    <a:cubicBezTo>
                      <a:pt x="460174" y="353406"/>
                      <a:pt x="455090" y="354996"/>
                      <a:pt x="450981" y="358137"/>
                    </a:cubicBezTo>
                    <a:lnTo>
                      <a:pt x="425504" y="374038"/>
                    </a:lnTo>
                    <a:cubicBezTo>
                      <a:pt x="422859" y="375623"/>
                      <a:pt x="420340" y="377412"/>
                      <a:pt x="417980" y="379396"/>
                    </a:cubicBezTo>
                    <a:cubicBezTo>
                      <a:pt x="416043" y="381106"/>
                      <a:pt x="414333" y="383043"/>
                      <a:pt x="412281" y="384810"/>
                    </a:cubicBezTo>
                    <a:cubicBezTo>
                      <a:pt x="405858" y="390994"/>
                      <a:pt x="397747" y="395143"/>
                      <a:pt x="388970" y="396722"/>
                    </a:cubicBezTo>
                    <a:cubicBezTo>
                      <a:pt x="387545" y="396842"/>
                      <a:pt x="386166" y="397269"/>
                      <a:pt x="384924" y="397976"/>
                    </a:cubicBezTo>
                    <a:cubicBezTo>
                      <a:pt x="383578" y="399236"/>
                      <a:pt x="382495" y="400746"/>
                      <a:pt x="381732" y="402422"/>
                    </a:cubicBezTo>
                    <a:cubicBezTo>
                      <a:pt x="377457" y="408976"/>
                      <a:pt x="368452" y="410116"/>
                      <a:pt x="360644" y="410515"/>
                    </a:cubicBezTo>
                    <a:cubicBezTo>
                      <a:pt x="363380" y="413536"/>
                      <a:pt x="360644" y="418437"/>
                      <a:pt x="357224" y="420546"/>
                    </a:cubicBezTo>
                    <a:cubicBezTo>
                      <a:pt x="353804" y="422655"/>
                      <a:pt x="349473" y="423966"/>
                      <a:pt x="347421" y="427499"/>
                    </a:cubicBezTo>
                    <a:cubicBezTo>
                      <a:pt x="346748" y="429506"/>
                      <a:pt x="345825" y="431421"/>
                      <a:pt x="344685" y="433199"/>
                    </a:cubicBezTo>
                    <a:cubicBezTo>
                      <a:pt x="342634" y="435535"/>
                      <a:pt x="338986" y="435479"/>
                      <a:pt x="336364" y="437017"/>
                    </a:cubicBezTo>
                    <a:cubicBezTo>
                      <a:pt x="333742" y="438556"/>
                      <a:pt x="331577" y="442717"/>
                      <a:pt x="329240" y="445567"/>
                    </a:cubicBezTo>
                    <a:cubicBezTo>
                      <a:pt x="323375" y="452600"/>
                      <a:pt x="313378" y="454549"/>
                      <a:pt x="305302" y="450240"/>
                    </a:cubicBezTo>
                    <a:cubicBezTo>
                      <a:pt x="304390" y="454287"/>
                      <a:pt x="302737" y="459074"/>
                      <a:pt x="298633" y="459872"/>
                    </a:cubicBezTo>
                    <a:cubicBezTo>
                      <a:pt x="296964" y="459986"/>
                      <a:pt x="295288" y="459986"/>
                      <a:pt x="293618" y="459872"/>
                    </a:cubicBezTo>
                    <a:cubicBezTo>
                      <a:pt x="289315" y="460853"/>
                      <a:pt x="285633" y="463605"/>
                      <a:pt x="283473" y="467453"/>
                    </a:cubicBezTo>
                    <a:lnTo>
                      <a:pt x="283473" y="467453"/>
                    </a:lnTo>
                    <a:cubicBezTo>
                      <a:pt x="282669" y="467150"/>
                      <a:pt x="281820" y="466997"/>
                      <a:pt x="280965" y="466997"/>
                    </a:cubicBezTo>
                    <a:cubicBezTo>
                      <a:pt x="278230" y="466997"/>
                      <a:pt x="274753" y="468365"/>
                      <a:pt x="273214" y="466085"/>
                    </a:cubicBezTo>
                    <a:cubicBezTo>
                      <a:pt x="272188" y="464660"/>
                      <a:pt x="272758" y="462551"/>
                      <a:pt x="271732" y="461183"/>
                    </a:cubicBezTo>
                    <a:cubicBezTo>
                      <a:pt x="270706" y="459815"/>
                      <a:pt x="268711" y="459929"/>
                      <a:pt x="267116" y="459530"/>
                    </a:cubicBezTo>
                    <a:cubicBezTo>
                      <a:pt x="259763" y="457536"/>
                      <a:pt x="260732" y="445282"/>
                      <a:pt x="254007" y="441691"/>
                    </a:cubicBezTo>
                    <a:cubicBezTo>
                      <a:pt x="251875" y="440836"/>
                      <a:pt x="249630" y="440317"/>
                      <a:pt x="247338" y="440152"/>
                    </a:cubicBezTo>
                    <a:cubicBezTo>
                      <a:pt x="237997" y="438448"/>
                      <a:pt x="230491" y="431495"/>
                      <a:pt x="228074" y="422313"/>
                    </a:cubicBezTo>
                    <a:lnTo>
                      <a:pt x="219639" y="415245"/>
                    </a:lnTo>
                    <a:lnTo>
                      <a:pt x="194048" y="393758"/>
                    </a:lnTo>
                    <a:lnTo>
                      <a:pt x="165038" y="369365"/>
                    </a:lnTo>
                    <a:cubicBezTo>
                      <a:pt x="161453" y="366201"/>
                      <a:pt x="157646" y="363306"/>
                      <a:pt x="153639" y="360701"/>
                    </a:cubicBezTo>
                    <a:cubicBezTo>
                      <a:pt x="150903" y="359049"/>
                      <a:pt x="147939" y="357681"/>
                      <a:pt x="145318" y="356085"/>
                    </a:cubicBezTo>
                    <a:cubicBezTo>
                      <a:pt x="141556" y="353919"/>
                      <a:pt x="138079" y="351468"/>
                      <a:pt x="134546" y="348960"/>
                    </a:cubicBezTo>
                    <a:lnTo>
                      <a:pt x="93908" y="320463"/>
                    </a:lnTo>
                    <a:cubicBezTo>
                      <a:pt x="88636" y="315932"/>
                      <a:pt x="82162" y="313020"/>
                      <a:pt x="75271" y="312085"/>
                    </a:cubicBezTo>
                    <a:cubicBezTo>
                      <a:pt x="73356" y="312062"/>
                      <a:pt x="71447" y="312233"/>
                      <a:pt x="69572" y="312598"/>
                    </a:cubicBezTo>
                    <a:cubicBezTo>
                      <a:pt x="67463" y="302738"/>
                      <a:pt x="62675" y="292992"/>
                      <a:pt x="53499" y="289401"/>
                    </a:cubicBezTo>
                    <a:cubicBezTo>
                      <a:pt x="48979" y="288461"/>
                      <a:pt x="44665" y="286745"/>
                      <a:pt x="40732" y="284328"/>
                    </a:cubicBezTo>
                    <a:cubicBezTo>
                      <a:pt x="35831" y="279883"/>
                      <a:pt x="35888" y="270935"/>
                      <a:pt x="29960" y="268085"/>
                    </a:cubicBezTo>
                    <a:cubicBezTo>
                      <a:pt x="24033" y="265235"/>
                      <a:pt x="16966" y="269909"/>
                      <a:pt x="12178" y="266147"/>
                    </a:cubicBezTo>
                    <a:cubicBezTo>
                      <a:pt x="10234" y="264010"/>
                      <a:pt x="8724" y="261514"/>
                      <a:pt x="7732" y="258795"/>
                    </a:cubicBezTo>
                    <a:cubicBezTo>
                      <a:pt x="6883" y="257233"/>
                      <a:pt x="5567" y="255979"/>
                      <a:pt x="3971" y="255204"/>
                    </a:cubicBezTo>
                    <a:cubicBezTo>
                      <a:pt x="3458" y="253038"/>
                      <a:pt x="2888" y="250930"/>
                      <a:pt x="2318" y="248764"/>
                    </a:cubicBezTo>
                    <a:cubicBezTo>
                      <a:pt x="1748" y="246598"/>
                      <a:pt x="1577" y="245971"/>
                      <a:pt x="1178" y="244603"/>
                    </a:cubicBezTo>
                    <a:lnTo>
                      <a:pt x="95" y="247054"/>
                    </a:lnTo>
                    <a:cubicBezTo>
                      <a:pt x="95" y="243463"/>
                      <a:pt x="95" y="239873"/>
                      <a:pt x="95" y="236396"/>
                    </a:cubicBezTo>
                    <a:cubicBezTo>
                      <a:pt x="-270" y="232743"/>
                      <a:pt x="420" y="229066"/>
                      <a:pt x="2090" y="225795"/>
                    </a:cubicBezTo>
                    <a:cubicBezTo>
                      <a:pt x="5053" y="221064"/>
                      <a:pt x="12178" y="216847"/>
                      <a:pt x="9271" y="212116"/>
                    </a:cubicBezTo>
                    <a:cubicBezTo>
                      <a:pt x="12976" y="215023"/>
                      <a:pt x="18447" y="212743"/>
                      <a:pt x="21981" y="209665"/>
                    </a:cubicBezTo>
                    <a:cubicBezTo>
                      <a:pt x="25048" y="206063"/>
                      <a:pt x="28969" y="203282"/>
                      <a:pt x="33380" y="201572"/>
                    </a:cubicBezTo>
                    <a:cubicBezTo>
                      <a:pt x="35836" y="201453"/>
                      <a:pt x="38264" y="201031"/>
                      <a:pt x="40618" y="200318"/>
                    </a:cubicBezTo>
                    <a:cubicBezTo>
                      <a:pt x="42271" y="199298"/>
                      <a:pt x="43736" y="198010"/>
                      <a:pt x="44950" y="196500"/>
                    </a:cubicBezTo>
                    <a:cubicBezTo>
                      <a:pt x="54924" y="186925"/>
                      <a:pt x="74359" y="192852"/>
                      <a:pt x="82908" y="181909"/>
                    </a:cubicBezTo>
                    <a:cubicBezTo>
                      <a:pt x="87753" y="175697"/>
                      <a:pt x="89235" y="164355"/>
                      <a:pt x="97100" y="164526"/>
                    </a:cubicBezTo>
                    <a:cubicBezTo>
                      <a:pt x="101375" y="164526"/>
                      <a:pt x="105479" y="168629"/>
                      <a:pt x="109297" y="166862"/>
                    </a:cubicBezTo>
                    <a:cubicBezTo>
                      <a:pt x="114483" y="164469"/>
                      <a:pt x="111235" y="156717"/>
                      <a:pt x="111691" y="151018"/>
                    </a:cubicBezTo>
                    <a:cubicBezTo>
                      <a:pt x="112261" y="143779"/>
                      <a:pt x="119727" y="139619"/>
                      <a:pt x="126224" y="136313"/>
                    </a:cubicBezTo>
                    <a:cubicBezTo>
                      <a:pt x="130573" y="133897"/>
                      <a:pt x="135321" y="132272"/>
                      <a:pt x="140245" y="131526"/>
                    </a:cubicBezTo>
                    <a:cubicBezTo>
                      <a:pt x="146389" y="131771"/>
                      <a:pt x="152510" y="132495"/>
                      <a:pt x="158541" y="133691"/>
                    </a:cubicBezTo>
                    <a:cubicBezTo>
                      <a:pt x="164781" y="134837"/>
                      <a:pt x="171062" y="131879"/>
                      <a:pt x="174157" y="126339"/>
                    </a:cubicBezTo>
                    <a:cubicBezTo>
                      <a:pt x="179002" y="113401"/>
                      <a:pt x="154209" y="103997"/>
                      <a:pt x="157800" y="90603"/>
                    </a:cubicBezTo>
                    <a:cubicBezTo>
                      <a:pt x="159167" y="85588"/>
                      <a:pt x="164582" y="81085"/>
                      <a:pt x="162644" y="76241"/>
                    </a:cubicBezTo>
                    <a:cubicBezTo>
                      <a:pt x="161681" y="74565"/>
                      <a:pt x="160473" y="73049"/>
                      <a:pt x="159053" y="71738"/>
                    </a:cubicBezTo>
                    <a:cubicBezTo>
                      <a:pt x="156232" y="68085"/>
                      <a:pt x="154830" y="63525"/>
                      <a:pt x="155121" y="58914"/>
                    </a:cubicBezTo>
                    <a:cubicBezTo>
                      <a:pt x="166959" y="42665"/>
                      <a:pt x="184861" y="31893"/>
                      <a:pt x="204763" y="29049"/>
                    </a:cubicBezTo>
                    <a:cubicBezTo>
                      <a:pt x="204022" y="20671"/>
                      <a:pt x="212856" y="14287"/>
                      <a:pt x="221178" y="13148"/>
                    </a:cubicBezTo>
                    <a:cubicBezTo>
                      <a:pt x="229499" y="12008"/>
                      <a:pt x="238276" y="14231"/>
                      <a:pt x="246426" y="13661"/>
                    </a:cubicBezTo>
                    <a:cubicBezTo>
                      <a:pt x="262613" y="12521"/>
                      <a:pt x="278173" y="1179"/>
                      <a:pt x="293789" y="5567"/>
                    </a:cubicBezTo>
                    <a:cubicBezTo>
                      <a:pt x="302110" y="7904"/>
                      <a:pt x="310374" y="14573"/>
                      <a:pt x="318354" y="11267"/>
                    </a:cubicBezTo>
                    <a:cubicBezTo>
                      <a:pt x="320833" y="9973"/>
                      <a:pt x="323153" y="8388"/>
                      <a:pt x="325250" y="6536"/>
                    </a:cubicBezTo>
                    <a:cubicBezTo>
                      <a:pt x="335338" y="-759"/>
                      <a:pt x="348903" y="-360"/>
                      <a:pt x="361328" y="381"/>
                    </a:cubicBezTo>
                    <a:lnTo>
                      <a:pt x="376716" y="1236"/>
                    </a:lnTo>
                    <a:cubicBezTo>
                      <a:pt x="375713" y="5140"/>
                      <a:pt x="375383" y="9186"/>
                      <a:pt x="375747" y="13205"/>
                    </a:cubicBezTo>
                    <a:cubicBezTo>
                      <a:pt x="377195" y="20563"/>
                      <a:pt x="379412" y="27744"/>
                      <a:pt x="382359" y="34635"/>
                    </a:cubicBezTo>
                    <a:cubicBezTo>
                      <a:pt x="385254" y="41691"/>
                      <a:pt x="384707" y="49693"/>
                      <a:pt x="380877" y="56293"/>
                    </a:cubicBezTo>
                    <a:cubicBezTo>
                      <a:pt x="376773" y="61992"/>
                      <a:pt x="369079" y="64215"/>
                      <a:pt x="364975" y="69914"/>
                    </a:cubicBezTo>
                    <a:cubicBezTo>
                      <a:pt x="363682" y="71892"/>
                      <a:pt x="362633" y="74012"/>
                      <a:pt x="361841" y="76241"/>
                    </a:cubicBezTo>
                    <a:cubicBezTo>
                      <a:pt x="359105" y="83194"/>
                      <a:pt x="356654" y="91572"/>
                      <a:pt x="360986" y="97671"/>
                    </a:cubicBezTo>
                    <a:cubicBezTo>
                      <a:pt x="365317" y="103769"/>
                      <a:pt x="373696" y="104738"/>
                      <a:pt x="376716" y="111065"/>
                    </a:cubicBezTo>
                    <a:cubicBezTo>
                      <a:pt x="378198" y="114142"/>
                      <a:pt x="377913" y="117847"/>
                      <a:pt x="379509" y="120925"/>
                    </a:cubicBezTo>
                    <a:cubicBezTo>
                      <a:pt x="381510" y="123854"/>
                      <a:pt x="384086" y="126333"/>
                      <a:pt x="387089" y="128220"/>
                    </a:cubicBezTo>
                    <a:cubicBezTo>
                      <a:pt x="402820" y="141215"/>
                      <a:pt x="402364" y="164811"/>
                      <a:pt x="403219" y="185215"/>
                    </a:cubicBezTo>
                    <a:cubicBezTo>
                      <a:pt x="402991" y="190561"/>
                      <a:pt x="404405" y="195850"/>
                      <a:pt x="407265" y="200375"/>
                    </a:cubicBezTo>
                    <a:cubicBezTo>
                      <a:pt x="409431" y="203225"/>
                      <a:pt x="412965" y="205163"/>
                      <a:pt x="414618" y="208298"/>
                    </a:cubicBezTo>
                    <a:cubicBezTo>
                      <a:pt x="420317" y="217645"/>
                      <a:pt x="409317" y="229329"/>
                      <a:pt x="411711" y="239873"/>
                    </a:cubicBezTo>
                    <a:cubicBezTo>
                      <a:pt x="412281" y="242380"/>
                      <a:pt x="413592" y="244660"/>
                      <a:pt x="414390" y="247111"/>
                    </a:cubicBezTo>
                    <a:cubicBezTo>
                      <a:pt x="416897" y="254748"/>
                      <a:pt x="414390" y="263070"/>
                      <a:pt x="413193" y="270992"/>
                    </a:cubicBezTo>
                    <a:cubicBezTo>
                      <a:pt x="410657" y="287401"/>
                      <a:pt x="413159" y="304197"/>
                      <a:pt x="420374" y="319152"/>
                    </a:cubicBezTo>
                    <a:cubicBezTo>
                      <a:pt x="421674" y="322304"/>
                      <a:pt x="423800" y="325040"/>
                      <a:pt x="426530" y="327075"/>
                    </a:cubicBezTo>
                    <a:cubicBezTo>
                      <a:pt x="428080" y="327941"/>
                      <a:pt x="429727" y="328631"/>
                      <a:pt x="431431" y="329126"/>
                    </a:cubicBezTo>
                    <a:cubicBezTo>
                      <a:pt x="442431" y="332489"/>
                      <a:pt x="453830" y="336422"/>
                      <a:pt x="461467" y="34491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1" name="Freihandform: Form 347">
                <a:extLst>
                  <a:ext uri="{FF2B5EF4-FFF2-40B4-BE49-F238E27FC236}">
                    <a16:creationId xmlns:a16="http://schemas.microsoft.com/office/drawing/2014/main" id="{0D1FB386-79F8-D2C8-38E0-A4D0605D6B4A}"/>
                  </a:ext>
                </a:extLst>
              </p:cNvPr>
              <p:cNvSpPr/>
              <p:nvPr/>
            </p:nvSpPr>
            <p:spPr>
              <a:xfrm>
                <a:off x="3935468" y="3338098"/>
                <a:ext cx="91042" cy="174289"/>
              </a:xfrm>
              <a:custGeom>
                <a:avLst/>
                <a:gdLst>
                  <a:gd name="connsiteX0" fmla="*/ 46929 w 91042"/>
                  <a:gd name="connsiteY0" fmla="*/ 173777 h 174289"/>
                  <a:gd name="connsiteX1" fmla="*/ 44193 w 91042"/>
                  <a:gd name="connsiteY1" fmla="*/ 174290 h 174289"/>
                  <a:gd name="connsiteX2" fmla="*/ 28462 w 91042"/>
                  <a:gd name="connsiteY2" fmla="*/ 126984 h 174289"/>
                  <a:gd name="connsiteX3" fmla="*/ 20882 w 91042"/>
                  <a:gd name="connsiteY3" fmla="*/ 119689 h 174289"/>
                  <a:gd name="connsiteX4" fmla="*/ 18089 w 91042"/>
                  <a:gd name="connsiteY4" fmla="*/ 109829 h 174289"/>
                  <a:gd name="connsiteX5" fmla="*/ 2359 w 91042"/>
                  <a:gd name="connsiteY5" fmla="*/ 96435 h 174289"/>
                  <a:gd name="connsiteX6" fmla="*/ 3214 w 91042"/>
                  <a:gd name="connsiteY6" fmla="*/ 75005 h 174289"/>
                  <a:gd name="connsiteX7" fmla="*/ 6348 w 91042"/>
                  <a:gd name="connsiteY7" fmla="*/ 68679 h 174289"/>
                  <a:gd name="connsiteX8" fmla="*/ 22250 w 91042"/>
                  <a:gd name="connsiteY8" fmla="*/ 55057 h 174289"/>
                  <a:gd name="connsiteX9" fmla="*/ 23732 w 91042"/>
                  <a:gd name="connsiteY9" fmla="*/ 33399 h 174289"/>
                  <a:gd name="connsiteX10" fmla="*/ 17121 w 91042"/>
                  <a:gd name="connsiteY10" fmla="*/ 11969 h 174289"/>
                  <a:gd name="connsiteX11" fmla="*/ 18089 w 91042"/>
                  <a:gd name="connsiteY11" fmla="*/ 0 h 174289"/>
                  <a:gd name="connsiteX12" fmla="*/ 67732 w 91042"/>
                  <a:gd name="connsiteY12" fmla="*/ 2850 h 174289"/>
                  <a:gd name="connsiteX13" fmla="*/ 73773 w 91042"/>
                  <a:gd name="connsiteY13" fmla="*/ 7523 h 174289"/>
                  <a:gd name="connsiteX14" fmla="*/ 70012 w 91042"/>
                  <a:gd name="connsiteY14" fmla="*/ 10487 h 174289"/>
                  <a:gd name="connsiteX15" fmla="*/ 70867 w 91042"/>
                  <a:gd name="connsiteY15" fmla="*/ 28554 h 174289"/>
                  <a:gd name="connsiteX16" fmla="*/ 78504 w 91042"/>
                  <a:gd name="connsiteY16" fmla="*/ 46508 h 174289"/>
                  <a:gd name="connsiteX17" fmla="*/ 57416 w 91042"/>
                  <a:gd name="connsiteY17" fmla="*/ 61269 h 174289"/>
                  <a:gd name="connsiteX18" fmla="*/ 57427 w 91042"/>
                  <a:gd name="connsiteY18" fmla="*/ 84159 h 174289"/>
                  <a:gd name="connsiteX19" fmla="*/ 62260 w 91042"/>
                  <a:gd name="connsiteY19" fmla="*/ 87487 h 174289"/>
                  <a:gd name="connsiteX20" fmla="*/ 83291 w 91042"/>
                  <a:gd name="connsiteY20" fmla="*/ 94041 h 174289"/>
                  <a:gd name="connsiteX21" fmla="*/ 87053 w 91042"/>
                  <a:gd name="connsiteY21" fmla="*/ 102534 h 174289"/>
                  <a:gd name="connsiteX22" fmla="*/ 91043 w 91042"/>
                  <a:gd name="connsiteY22" fmla="*/ 105554 h 174289"/>
                  <a:gd name="connsiteX23" fmla="*/ 90701 w 91042"/>
                  <a:gd name="connsiteY23" fmla="*/ 106637 h 174289"/>
                  <a:gd name="connsiteX24" fmla="*/ 87851 w 91042"/>
                  <a:gd name="connsiteY24" fmla="*/ 116440 h 174289"/>
                  <a:gd name="connsiteX25" fmla="*/ 78618 w 91042"/>
                  <a:gd name="connsiteY25" fmla="*/ 122425 h 174289"/>
                  <a:gd name="connsiteX26" fmla="*/ 71379 w 91042"/>
                  <a:gd name="connsiteY26" fmla="*/ 130233 h 174289"/>
                  <a:gd name="connsiteX27" fmla="*/ 70924 w 91042"/>
                  <a:gd name="connsiteY27" fmla="*/ 134679 h 174289"/>
                  <a:gd name="connsiteX28" fmla="*/ 63001 w 91042"/>
                  <a:gd name="connsiteY28" fmla="*/ 138269 h 174289"/>
                  <a:gd name="connsiteX29" fmla="*/ 59695 w 91042"/>
                  <a:gd name="connsiteY29" fmla="*/ 146362 h 174289"/>
                  <a:gd name="connsiteX30" fmla="*/ 51716 w 91042"/>
                  <a:gd name="connsiteY30" fmla="*/ 169160 h 174289"/>
                  <a:gd name="connsiteX31" fmla="*/ 46929 w 91042"/>
                  <a:gd name="connsiteY31" fmla="*/ 173777 h 174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042" h="174289">
                    <a:moveTo>
                      <a:pt x="46929" y="173777"/>
                    </a:moveTo>
                    <a:cubicBezTo>
                      <a:pt x="46051" y="174096"/>
                      <a:pt x="45128" y="174267"/>
                      <a:pt x="44193" y="174290"/>
                    </a:cubicBezTo>
                    <a:cubicBezTo>
                      <a:pt x="43452" y="156508"/>
                      <a:pt x="41742" y="137927"/>
                      <a:pt x="28462" y="126984"/>
                    </a:cubicBezTo>
                    <a:cubicBezTo>
                      <a:pt x="25459" y="125098"/>
                      <a:pt x="22883" y="122619"/>
                      <a:pt x="20882" y="119689"/>
                    </a:cubicBezTo>
                    <a:cubicBezTo>
                      <a:pt x="19286" y="116611"/>
                      <a:pt x="19571" y="112907"/>
                      <a:pt x="18089" y="109829"/>
                    </a:cubicBezTo>
                    <a:cubicBezTo>
                      <a:pt x="15069" y="103502"/>
                      <a:pt x="6690" y="102078"/>
                      <a:pt x="2359" y="96435"/>
                    </a:cubicBezTo>
                    <a:cubicBezTo>
                      <a:pt x="-1973" y="90793"/>
                      <a:pt x="478" y="81958"/>
                      <a:pt x="3214" y="75005"/>
                    </a:cubicBezTo>
                    <a:cubicBezTo>
                      <a:pt x="4006" y="72777"/>
                      <a:pt x="5055" y="70656"/>
                      <a:pt x="6348" y="68679"/>
                    </a:cubicBezTo>
                    <a:cubicBezTo>
                      <a:pt x="10452" y="62979"/>
                      <a:pt x="18146" y="60756"/>
                      <a:pt x="22250" y="55057"/>
                    </a:cubicBezTo>
                    <a:cubicBezTo>
                      <a:pt x="26080" y="48457"/>
                      <a:pt x="26627" y="40455"/>
                      <a:pt x="23732" y="33399"/>
                    </a:cubicBezTo>
                    <a:cubicBezTo>
                      <a:pt x="20785" y="26508"/>
                      <a:pt x="18568" y="19327"/>
                      <a:pt x="17121" y="11969"/>
                    </a:cubicBezTo>
                    <a:cubicBezTo>
                      <a:pt x="16756" y="7951"/>
                      <a:pt x="17086" y="3904"/>
                      <a:pt x="18089" y="0"/>
                    </a:cubicBezTo>
                    <a:lnTo>
                      <a:pt x="67732" y="2850"/>
                    </a:lnTo>
                    <a:cubicBezTo>
                      <a:pt x="70695" y="2850"/>
                      <a:pt x="74799" y="4674"/>
                      <a:pt x="73773" y="7523"/>
                    </a:cubicBezTo>
                    <a:cubicBezTo>
                      <a:pt x="73260" y="9062"/>
                      <a:pt x="71379" y="9632"/>
                      <a:pt x="70012" y="10487"/>
                    </a:cubicBezTo>
                    <a:cubicBezTo>
                      <a:pt x="64312" y="14135"/>
                      <a:pt x="66763" y="23140"/>
                      <a:pt x="70867" y="28554"/>
                    </a:cubicBezTo>
                    <a:cubicBezTo>
                      <a:pt x="74970" y="33969"/>
                      <a:pt x="80442" y="39953"/>
                      <a:pt x="78504" y="46508"/>
                    </a:cubicBezTo>
                    <a:cubicBezTo>
                      <a:pt x="76053" y="55000"/>
                      <a:pt x="64141" y="55570"/>
                      <a:pt x="57416" y="61269"/>
                    </a:cubicBezTo>
                    <a:cubicBezTo>
                      <a:pt x="51095" y="67596"/>
                      <a:pt x="51101" y="77844"/>
                      <a:pt x="57427" y="84159"/>
                    </a:cubicBezTo>
                    <a:cubicBezTo>
                      <a:pt x="58823" y="85555"/>
                      <a:pt x="60459" y="86683"/>
                      <a:pt x="62260" y="87487"/>
                    </a:cubicBezTo>
                    <a:cubicBezTo>
                      <a:pt x="69442" y="89995"/>
                      <a:pt x="79359" y="87772"/>
                      <a:pt x="83291" y="94041"/>
                    </a:cubicBezTo>
                    <a:cubicBezTo>
                      <a:pt x="85058" y="96606"/>
                      <a:pt x="85229" y="100026"/>
                      <a:pt x="87053" y="102534"/>
                    </a:cubicBezTo>
                    <a:cubicBezTo>
                      <a:pt x="88085" y="103879"/>
                      <a:pt x="89464" y="104922"/>
                      <a:pt x="91043" y="105554"/>
                    </a:cubicBezTo>
                    <a:lnTo>
                      <a:pt x="90701" y="106637"/>
                    </a:lnTo>
                    <a:cubicBezTo>
                      <a:pt x="90399" y="110057"/>
                      <a:pt x="89430" y="113391"/>
                      <a:pt x="87851" y="116440"/>
                    </a:cubicBezTo>
                    <a:cubicBezTo>
                      <a:pt x="85349" y="119210"/>
                      <a:pt x="82168" y="121273"/>
                      <a:pt x="78618" y="122425"/>
                    </a:cubicBezTo>
                    <a:cubicBezTo>
                      <a:pt x="75027" y="123616"/>
                      <a:pt x="72297" y="126562"/>
                      <a:pt x="71379" y="130233"/>
                    </a:cubicBezTo>
                    <a:cubicBezTo>
                      <a:pt x="71522" y="131732"/>
                      <a:pt x="71368" y="133242"/>
                      <a:pt x="70924" y="134679"/>
                    </a:cubicBezTo>
                    <a:cubicBezTo>
                      <a:pt x="69555" y="137357"/>
                      <a:pt x="65509" y="136673"/>
                      <a:pt x="63001" y="138269"/>
                    </a:cubicBezTo>
                    <a:cubicBezTo>
                      <a:pt x="60493" y="139865"/>
                      <a:pt x="60094" y="143399"/>
                      <a:pt x="59695" y="146362"/>
                    </a:cubicBezTo>
                    <a:cubicBezTo>
                      <a:pt x="58693" y="154444"/>
                      <a:pt x="55974" y="162218"/>
                      <a:pt x="51716" y="169160"/>
                    </a:cubicBezTo>
                    <a:cubicBezTo>
                      <a:pt x="50616" y="171138"/>
                      <a:pt x="48946" y="172751"/>
                      <a:pt x="46929" y="17377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2" name="Freihandform: Form 348">
                <a:extLst>
                  <a:ext uri="{FF2B5EF4-FFF2-40B4-BE49-F238E27FC236}">
                    <a16:creationId xmlns:a16="http://schemas.microsoft.com/office/drawing/2014/main" id="{4B2FAD03-DA4B-25EB-99D5-B5A270809C51}"/>
                  </a:ext>
                </a:extLst>
              </p:cNvPr>
              <p:cNvSpPr/>
              <p:nvPr/>
            </p:nvSpPr>
            <p:spPr>
              <a:xfrm>
                <a:off x="3979490" y="3443367"/>
                <a:ext cx="328175" cy="336079"/>
              </a:xfrm>
              <a:custGeom>
                <a:avLst/>
                <a:gdLst>
                  <a:gd name="connsiteX0" fmla="*/ 106466 w 328175"/>
                  <a:gd name="connsiteY0" fmla="*/ 261606 h 336079"/>
                  <a:gd name="connsiteX1" fmla="*/ 103047 w 328175"/>
                  <a:gd name="connsiteY1" fmla="*/ 263943 h 336079"/>
                  <a:gd name="connsiteX2" fmla="*/ 102476 w 328175"/>
                  <a:gd name="connsiteY2" fmla="*/ 262290 h 336079"/>
                  <a:gd name="connsiteX3" fmla="*/ 92332 w 328175"/>
                  <a:gd name="connsiteY3" fmla="*/ 259155 h 336079"/>
                  <a:gd name="connsiteX4" fmla="*/ 79736 w 328175"/>
                  <a:gd name="connsiteY4" fmla="*/ 248440 h 336079"/>
                  <a:gd name="connsiteX5" fmla="*/ 64404 w 328175"/>
                  <a:gd name="connsiteY5" fmla="*/ 247357 h 336079"/>
                  <a:gd name="connsiteX6" fmla="*/ 58705 w 328175"/>
                  <a:gd name="connsiteY6" fmla="*/ 238637 h 336079"/>
                  <a:gd name="connsiteX7" fmla="*/ 28725 w 328175"/>
                  <a:gd name="connsiteY7" fmla="*/ 222621 h 336079"/>
                  <a:gd name="connsiteX8" fmla="*/ 23824 w 328175"/>
                  <a:gd name="connsiteY8" fmla="*/ 220570 h 336079"/>
                  <a:gd name="connsiteX9" fmla="*/ 17669 w 328175"/>
                  <a:gd name="connsiteY9" fmla="*/ 212647 h 336079"/>
                  <a:gd name="connsiteX10" fmla="*/ 10373 w 328175"/>
                  <a:gd name="connsiteY10" fmla="*/ 164430 h 336079"/>
                  <a:gd name="connsiteX11" fmla="*/ 11570 w 328175"/>
                  <a:gd name="connsiteY11" fmla="*/ 140549 h 336079"/>
                  <a:gd name="connsiteX12" fmla="*/ 8891 w 328175"/>
                  <a:gd name="connsiteY12" fmla="*/ 133311 h 336079"/>
                  <a:gd name="connsiteX13" fmla="*/ 11798 w 328175"/>
                  <a:gd name="connsiteY13" fmla="*/ 101736 h 336079"/>
                  <a:gd name="connsiteX14" fmla="*/ 4446 w 328175"/>
                  <a:gd name="connsiteY14" fmla="*/ 93813 h 336079"/>
                  <a:gd name="connsiteX15" fmla="*/ 399 w 328175"/>
                  <a:gd name="connsiteY15" fmla="*/ 78653 h 336079"/>
                  <a:gd name="connsiteX16" fmla="*/ 0 w 328175"/>
                  <a:gd name="connsiteY16" fmla="*/ 68964 h 336079"/>
                  <a:gd name="connsiteX17" fmla="*/ 2736 w 328175"/>
                  <a:gd name="connsiteY17" fmla="*/ 68451 h 336079"/>
                  <a:gd name="connsiteX18" fmla="*/ 7523 w 328175"/>
                  <a:gd name="connsiteY18" fmla="*/ 63606 h 336079"/>
                  <a:gd name="connsiteX19" fmla="*/ 15503 w 328175"/>
                  <a:gd name="connsiteY19" fmla="*/ 40808 h 336079"/>
                  <a:gd name="connsiteX20" fmla="*/ 18808 w 328175"/>
                  <a:gd name="connsiteY20" fmla="*/ 32715 h 336079"/>
                  <a:gd name="connsiteX21" fmla="*/ 26731 w 328175"/>
                  <a:gd name="connsiteY21" fmla="*/ 29124 h 336079"/>
                  <a:gd name="connsiteX22" fmla="*/ 27187 w 328175"/>
                  <a:gd name="connsiteY22" fmla="*/ 24679 h 336079"/>
                  <a:gd name="connsiteX23" fmla="*/ 34425 w 328175"/>
                  <a:gd name="connsiteY23" fmla="*/ 16870 h 336079"/>
                  <a:gd name="connsiteX24" fmla="*/ 43658 w 328175"/>
                  <a:gd name="connsiteY24" fmla="*/ 10886 h 336079"/>
                  <a:gd name="connsiteX25" fmla="*/ 46508 w 328175"/>
                  <a:gd name="connsiteY25" fmla="*/ 1083 h 336079"/>
                  <a:gd name="connsiteX26" fmla="*/ 46850 w 328175"/>
                  <a:gd name="connsiteY26" fmla="*/ 0 h 336079"/>
                  <a:gd name="connsiteX27" fmla="*/ 55399 w 328175"/>
                  <a:gd name="connsiteY27" fmla="*/ 1767 h 336079"/>
                  <a:gd name="connsiteX28" fmla="*/ 96606 w 328175"/>
                  <a:gd name="connsiteY28" fmla="*/ 4788 h 336079"/>
                  <a:gd name="connsiteX29" fmla="*/ 98316 w 328175"/>
                  <a:gd name="connsiteY29" fmla="*/ 16186 h 336079"/>
                  <a:gd name="connsiteX30" fmla="*/ 121627 w 328175"/>
                  <a:gd name="connsiteY30" fmla="*/ 25819 h 336079"/>
                  <a:gd name="connsiteX31" fmla="*/ 135876 w 328175"/>
                  <a:gd name="connsiteY31" fmla="*/ 41093 h 336079"/>
                  <a:gd name="connsiteX32" fmla="*/ 144368 w 328175"/>
                  <a:gd name="connsiteY32" fmla="*/ 46793 h 336079"/>
                  <a:gd name="connsiteX33" fmla="*/ 155767 w 328175"/>
                  <a:gd name="connsiteY33" fmla="*/ 44285 h 336079"/>
                  <a:gd name="connsiteX34" fmla="*/ 211679 w 328175"/>
                  <a:gd name="connsiteY34" fmla="*/ 68223 h 336079"/>
                  <a:gd name="connsiteX35" fmla="*/ 221806 w 328175"/>
                  <a:gd name="connsiteY35" fmla="*/ 45824 h 336079"/>
                  <a:gd name="connsiteX36" fmla="*/ 219202 w 328175"/>
                  <a:gd name="connsiteY36" fmla="*/ 41207 h 336079"/>
                  <a:gd name="connsiteX37" fmla="*/ 211679 w 328175"/>
                  <a:gd name="connsiteY37" fmla="*/ 30606 h 336079"/>
                  <a:gd name="connsiteX38" fmla="*/ 215440 w 328175"/>
                  <a:gd name="connsiteY38" fmla="*/ 23938 h 336079"/>
                  <a:gd name="connsiteX39" fmla="*/ 228435 w 328175"/>
                  <a:gd name="connsiteY39" fmla="*/ 16357 h 336079"/>
                  <a:gd name="connsiteX40" fmla="*/ 246046 w 328175"/>
                  <a:gd name="connsiteY40" fmla="*/ 28155 h 336079"/>
                  <a:gd name="connsiteX41" fmla="*/ 267875 w 328175"/>
                  <a:gd name="connsiteY41" fmla="*/ 11627 h 336079"/>
                  <a:gd name="connsiteX42" fmla="*/ 272492 w 328175"/>
                  <a:gd name="connsiteY42" fmla="*/ 3192 h 336079"/>
                  <a:gd name="connsiteX43" fmla="*/ 283891 w 328175"/>
                  <a:gd name="connsiteY43" fmla="*/ 6269 h 336079"/>
                  <a:gd name="connsiteX44" fmla="*/ 287596 w 328175"/>
                  <a:gd name="connsiteY44" fmla="*/ 18694 h 336079"/>
                  <a:gd name="connsiteX45" fmla="*/ 310393 w 328175"/>
                  <a:gd name="connsiteY45" fmla="*/ 19264 h 336079"/>
                  <a:gd name="connsiteX46" fmla="*/ 328176 w 328175"/>
                  <a:gd name="connsiteY46" fmla="*/ 24964 h 336079"/>
                  <a:gd name="connsiteX47" fmla="*/ 328176 w 328175"/>
                  <a:gd name="connsiteY47" fmla="*/ 327036 h 336079"/>
                  <a:gd name="connsiteX48" fmla="*/ 311875 w 328175"/>
                  <a:gd name="connsiteY48" fmla="*/ 332735 h 336079"/>
                  <a:gd name="connsiteX49" fmla="*/ 285430 w 328175"/>
                  <a:gd name="connsiteY49" fmla="*/ 332735 h 336079"/>
                  <a:gd name="connsiteX50" fmla="*/ 273005 w 328175"/>
                  <a:gd name="connsiteY50" fmla="*/ 320481 h 336079"/>
                  <a:gd name="connsiteX51" fmla="*/ 264000 w 328175"/>
                  <a:gd name="connsiteY51" fmla="*/ 317917 h 336079"/>
                  <a:gd name="connsiteX52" fmla="*/ 258642 w 328175"/>
                  <a:gd name="connsiteY52" fmla="*/ 310450 h 336079"/>
                  <a:gd name="connsiteX53" fmla="*/ 251746 w 328175"/>
                  <a:gd name="connsiteY53" fmla="*/ 309196 h 336079"/>
                  <a:gd name="connsiteX54" fmla="*/ 240974 w 328175"/>
                  <a:gd name="connsiteY54" fmla="*/ 304067 h 336079"/>
                  <a:gd name="connsiteX55" fmla="*/ 233963 w 328175"/>
                  <a:gd name="connsiteY55" fmla="*/ 297000 h 336079"/>
                  <a:gd name="connsiteX56" fmla="*/ 222564 w 328175"/>
                  <a:gd name="connsiteY56" fmla="*/ 292953 h 336079"/>
                  <a:gd name="connsiteX57" fmla="*/ 219373 w 328175"/>
                  <a:gd name="connsiteY57" fmla="*/ 288336 h 336079"/>
                  <a:gd name="connsiteX58" fmla="*/ 206435 w 328175"/>
                  <a:gd name="connsiteY58" fmla="*/ 284347 h 336079"/>
                  <a:gd name="connsiteX59" fmla="*/ 201021 w 328175"/>
                  <a:gd name="connsiteY59" fmla="*/ 277507 h 336079"/>
                  <a:gd name="connsiteX60" fmla="*/ 189622 w 328175"/>
                  <a:gd name="connsiteY60" fmla="*/ 273461 h 336079"/>
                  <a:gd name="connsiteX61" fmla="*/ 175202 w 328175"/>
                  <a:gd name="connsiteY61" fmla="*/ 260067 h 336079"/>
                  <a:gd name="connsiteX62" fmla="*/ 160611 w 328175"/>
                  <a:gd name="connsiteY62" fmla="*/ 256134 h 336079"/>
                  <a:gd name="connsiteX63" fmla="*/ 155710 w 328175"/>
                  <a:gd name="connsiteY63" fmla="*/ 250435 h 336079"/>
                  <a:gd name="connsiteX64" fmla="*/ 142316 w 328175"/>
                  <a:gd name="connsiteY64" fmla="*/ 249466 h 336079"/>
                  <a:gd name="connsiteX65" fmla="*/ 137585 w 328175"/>
                  <a:gd name="connsiteY65" fmla="*/ 247129 h 336079"/>
                  <a:gd name="connsiteX66" fmla="*/ 131259 w 328175"/>
                  <a:gd name="connsiteY66" fmla="*/ 248497 h 336079"/>
                  <a:gd name="connsiteX67" fmla="*/ 106466 w 328175"/>
                  <a:gd name="connsiteY67" fmla="*/ 261606 h 33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28175" h="336079">
                    <a:moveTo>
                      <a:pt x="106466" y="261606"/>
                    </a:moveTo>
                    <a:cubicBezTo>
                      <a:pt x="105269" y="262347"/>
                      <a:pt x="104187" y="263145"/>
                      <a:pt x="103047" y="263943"/>
                    </a:cubicBezTo>
                    <a:cubicBezTo>
                      <a:pt x="102915" y="263373"/>
                      <a:pt x="102727" y="262820"/>
                      <a:pt x="102476" y="262290"/>
                    </a:cubicBezTo>
                    <a:cubicBezTo>
                      <a:pt x="100653" y="259041"/>
                      <a:pt x="96093" y="258927"/>
                      <a:pt x="92332" y="259155"/>
                    </a:cubicBezTo>
                    <a:cubicBezTo>
                      <a:pt x="90063" y="253792"/>
                      <a:pt x="85395" y="249819"/>
                      <a:pt x="79736" y="248440"/>
                    </a:cubicBezTo>
                    <a:cubicBezTo>
                      <a:pt x="74714" y="247277"/>
                      <a:pt x="69539" y="246913"/>
                      <a:pt x="64404" y="247357"/>
                    </a:cubicBezTo>
                    <a:cubicBezTo>
                      <a:pt x="62962" y="244177"/>
                      <a:pt x="61036" y="241236"/>
                      <a:pt x="58705" y="238637"/>
                    </a:cubicBezTo>
                    <a:cubicBezTo>
                      <a:pt x="51067" y="230031"/>
                      <a:pt x="39668" y="226098"/>
                      <a:pt x="28725" y="222621"/>
                    </a:cubicBezTo>
                    <a:cubicBezTo>
                      <a:pt x="27021" y="222126"/>
                      <a:pt x="25374" y="221436"/>
                      <a:pt x="23824" y="220570"/>
                    </a:cubicBezTo>
                    <a:cubicBezTo>
                      <a:pt x="21094" y="218535"/>
                      <a:pt x="18968" y="215799"/>
                      <a:pt x="17669" y="212647"/>
                    </a:cubicBezTo>
                    <a:cubicBezTo>
                      <a:pt x="10402" y="197686"/>
                      <a:pt x="7860" y="180873"/>
                      <a:pt x="10373" y="164430"/>
                    </a:cubicBezTo>
                    <a:cubicBezTo>
                      <a:pt x="11627" y="156507"/>
                      <a:pt x="14078" y="148186"/>
                      <a:pt x="11570" y="140549"/>
                    </a:cubicBezTo>
                    <a:cubicBezTo>
                      <a:pt x="10772" y="138098"/>
                      <a:pt x="9461" y="135819"/>
                      <a:pt x="8891" y="133311"/>
                    </a:cubicBezTo>
                    <a:cubicBezTo>
                      <a:pt x="6497" y="122767"/>
                      <a:pt x="17270" y="111083"/>
                      <a:pt x="11798" y="101736"/>
                    </a:cubicBezTo>
                    <a:cubicBezTo>
                      <a:pt x="9974" y="98601"/>
                      <a:pt x="6612" y="96663"/>
                      <a:pt x="4446" y="93813"/>
                    </a:cubicBezTo>
                    <a:cubicBezTo>
                      <a:pt x="1585" y="89288"/>
                      <a:pt x="171" y="83999"/>
                      <a:pt x="399" y="78653"/>
                    </a:cubicBezTo>
                    <a:cubicBezTo>
                      <a:pt x="399" y="75461"/>
                      <a:pt x="399" y="72212"/>
                      <a:pt x="0" y="68964"/>
                    </a:cubicBezTo>
                    <a:cubicBezTo>
                      <a:pt x="935" y="68941"/>
                      <a:pt x="1858" y="68770"/>
                      <a:pt x="2736" y="68451"/>
                    </a:cubicBezTo>
                    <a:cubicBezTo>
                      <a:pt x="4788" y="67362"/>
                      <a:pt x="6457" y="65669"/>
                      <a:pt x="7523" y="63606"/>
                    </a:cubicBezTo>
                    <a:cubicBezTo>
                      <a:pt x="11781" y="56664"/>
                      <a:pt x="14499" y="48890"/>
                      <a:pt x="15503" y="40808"/>
                    </a:cubicBezTo>
                    <a:cubicBezTo>
                      <a:pt x="15901" y="37845"/>
                      <a:pt x="16244" y="34368"/>
                      <a:pt x="18808" y="32715"/>
                    </a:cubicBezTo>
                    <a:cubicBezTo>
                      <a:pt x="21373" y="31062"/>
                      <a:pt x="25363" y="31803"/>
                      <a:pt x="26731" y="29124"/>
                    </a:cubicBezTo>
                    <a:cubicBezTo>
                      <a:pt x="27175" y="27688"/>
                      <a:pt x="27329" y="26178"/>
                      <a:pt x="27187" y="24679"/>
                    </a:cubicBezTo>
                    <a:cubicBezTo>
                      <a:pt x="28104" y="21008"/>
                      <a:pt x="30834" y="18062"/>
                      <a:pt x="34425" y="16870"/>
                    </a:cubicBezTo>
                    <a:cubicBezTo>
                      <a:pt x="37976" y="15719"/>
                      <a:pt x="41156" y="13656"/>
                      <a:pt x="43658" y="10886"/>
                    </a:cubicBezTo>
                    <a:cubicBezTo>
                      <a:pt x="45237" y="7837"/>
                      <a:pt x="46206" y="4503"/>
                      <a:pt x="46508" y="1083"/>
                    </a:cubicBezTo>
                    <a:lnTo>
                      <a:pt x="46850" y="0"/>
                    </a:lnTo>
                    <a:cubicBezTo>
                      <a:pt x="49585" y="1054"/>
                      <a:pt x="52469" y="1653"/>
                      <a:pt x="55399" y="1767"/>
                    </a:cubicBezTo>
                    <a:lnTo>
                      <a:pt x="96606" y="4788"/>
                    </a:lnTo>
                    <a:lnTo>
                      <a:pt x="98316" y="16186"/>
                    </a:lnTo>
                    <a:cubicBezTo>
                      <a:pt x="106352" y="12026"/>
                      <a:pt x="115414" y="19207"/>
                      <a:pt x="121627" y="25819"/>
                    </a:cubicBezTo>
                    <a:lnTo>
                      <a:pt x="135876" y="41093"/>
                    </a:lnTo>
                    <a:cubicBezTo>
                      <a:pt x="135876" y="44912"/>
                      <a:pt x="140549" y="47192"/>
                      <a:pt x="144368" y="46793"/>
                    </a:cubicBezTo>
                    <a:cubicBezTo>
                      <a:pt x="148209" y="46160"/>
                      <a:pt x="152016" y="45322"/>
                      <a:pt x="155767" y="44285"/>
                    </a:cubicBezTo>
                    <a:cubicBezTo>
                      <a:pt x="176627" y="41378"/>
                      <a:pt x="191445" y="74150"/>
                      <a:pt x="211679" y="68223"/>
                    </a:cubicBezTo>
                    <a:cubicBezTo>
                      <a:pt x="220661" y="64832"/>
                      <a:pt x="225198" y="54806"/>
                      <a:pt x="221806" y="45824"/>
                    </a:cubicBezTo>
                    <a:cubicBezTo>
                      <a:pt x="221180" y="44160"/>
                      <a:pt x="220302" y="42604"/>
                      <a:pt x="219202" y="41207"/>
                    </a:cubicBezTo>
                    <a:cubicBezTo>
                      <a:pt x="216181" y="37901"/>
                      <a:pt x="211507" y="35109"/>
                      <a:pt x="211679" y="30606"/>
                    </a:cubicBezTo>
                    <a:cubicBezTo>
                      <a:pt x="212129" y="28019"/>
                      <a:pt x="213457" y="25659"/>
                      <a:pt x="215440" y="23938"/>
                    </a:cubicBezTo>
                    <a:cubicBezTo>
                      <a:pt x="218427" y="19600"/>
                      <a:pt x="223192" y="16819"/>
                      <a:pt x="228435" y="16357"/>
                    </a:cubicBezTo>
                    <a:cubicBezTo>
                      <a:pt x="235616" y="16927"/>
                      <a:pt x="239321" y="25591"/>
                      <a:pt x="246046" y="28155"/>
                    </a:cubicBezTo>
                    <a:cubicBezTo>
                      <a:pt x="255622" y="31746"/>
                      <a:pt x="264855" y="21373"/>
                      <a:pt x="267875" y="11627"/>
                    </a:cubicBezTo>
                    <a:cubicBezTo>
                      <a:pt x="268411" y="8372"/>
                      <a:pt x="270041" y="5397"/>
                      <a:pt x="272492" y="3192"/>
                    </a:cubicBezTo>
                    <a:cubicBezTo>
                      <a:pt x="276522" y="1180"/>
                      <a:pt x="281417" y="2502"/>
                      <a:pt x="283891" y="6269"/>
                    </a:cubicBezTo>
                    <a:cubicBezTo>
                      <a:pt x="286159" y="10031"/>
                      <a:pt x="287430" y="14306"/>
                      <a:pt x="287596" y="18694"/>
                    </a:cubicBezTo>
                    <a:cubicBezTo>
                      <a:pt x="295159" y="17423"/>
                      <a:pt x="302899" y="17617"/>
                      <a:pt x="310393" y="19264"/>
                    </a:cubicBezTo>
                    <a:cubicBezTo>
                      <a:pt x="316555" y="20336"/>
                      <a:pt x="322539" y="22251"/>
                      <a:pt x="328176" y="24964"/>
                    </a:cubicBezTo>
                    <a:lnTo>
                      <a:pt x="328176" y="327036"/>
                    </a:lnTo>
                    <a:lnTo>
                      <a:pt x="311875" y="332735"/>
                    </a:lnTo>
                    <a:cubicBezTo>
                      <a:pt x="303155" y="335756"/>
                      <a:pt x="292611" y="338435"/>
                      <a:pt x="285430" y="332735"/>
                    </a:cubicBezTo>
                    <a:cubicBezTo>
                      <a:pt x="280813" y="329031"/>
                      <a:pt x="278533" y="322419"/>
                      <a:pt x="273005" y="320481"/>
                    </a:cubicBezTo>
                    <a:cubicBezTo>
                      <a:pt x="270041" y="319399"/>
                      <a:pt x="266450" y="319911"/>
                      <a:pt x="264000" y="317917"/>
                    </a:cubicBezTo>
                    <a:cubicBezTo>
                      <a:pt x="261549" y="315922"/>
                      <a:pt x="261150" y="312217"/>
                      <a:pt x="258642" y="310450"/>
                    </a:cubicBezTo>
                    <a:cubicBezTo>
                      <a:pt x="256488" y="309459"/>
                      <a:pt x="254111" y="309025"/>
                      <a:pt x="251746" y="309196"/>
                    </a:cubicBezTo>
                    <a:cubicBezTo>
                      <a:pt x="247665" y="308792"/>
                      <a:pt x="243858" y="306979"/>
                      <a:pt x="240974" y="304067"/>
                    </a:cubicBezTo>
                    <a:cubicBezTo>
                      <a:pt x="238637" y="301673"/>
                      <a:pt x="236927" y="298367"/>
                      <a:pt x="233963" y="297000"/>
                    </a:cubicBezTo>
                    <a:cubicBezTo>
                      <a:pt x="231000" y="295632"/>
                      <a:pt x="225129" y="295974"/>
                      <a:pt x="222564" y="292953"/>
                    </a:cubicBezTo>
                    <a:cubicBezTo>
                      <a:pt x="221254" y="291585"/>
                      <a:pt x="220684" y="289647"/>
                      <a:pt x="219373" y="288336"/>
                    </a:cubicBezTo>
                    <a:cubicBezTo>
                      <a:pt x="216124" y="285088"/>
                      <a:pt x="210197" y="286968"/>
                      <a:pt x="206435" y="284347"/>
                    </a:cubicBezTo>
                    <a:cubicBezTo>
                      <a:pt x="204041" y="282694"/>
                      <a:pt x="203129" y="279559"/>
                      <a:pt x="201021" y="277507"/>
                    </a:cubicBezTo>
                    <a:cubicBezTo>
                      <a:pt x="197590" y="275290"/>
                      <a:pt x="193685" y="273905"/>
                      <a:pt x="189622" y="273461"/>
                    </a:cubicBezTo>
                    <a:cubicBezTo>
                      <a:pt x="182981" y="271506"/>
                      <a:pt x="177641" y="266547"/>
                      <a:pt x="175202" y="260067"/>
                    </a:cubicBezTo>
                    <a:cubicBezTo>
                      <a:pt x="169992" y="261953"/>
                      <a:pt x="164162" y="260386"/>
                      <a:pt x="160611" y="256134"/>
                    </a:cubicBezTo>
                    <a:cubicBezTo>
                      <a:pt x="159015" y="254197"/>
                      <a:pt x="157933" y="251689"/>
                      <a:pt x="155710" y="250435"/>
                    </a:cubicBezTo>
                    <a:cubicBezTo>
                      <a:pt x="151777" y="248155"/>
                      <a:pt x="146591" y="251062"/>
                      <a:pt x="142316" y="249466"/>
                    </a:cubicBezTo>
                    <a:cubicBezTo>
                      <a:pt x="140794" y="248583"/>
                      <a:pt x="139210" y="247802"/>
                      <a:pt x="137585" y="247129"/>
                    </a:cubicBezTo>
                    <a:cubicBezTo>
                      <a:pt x="135385" y="246901"/>
                      <a:pt x="133168" y="247380"/>
                      <a:pt x="131259" y="248497"/>
                    </a:cubicBezTo>
                    <a:cubicBezTo>
                      <a:pt x="122698" y="252282"/>
                      <a:pt x="114411" y="256659"/>
                      <a:pt x="106466" y="26160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3" name="Freihandform: Form 349">
                <a:extLst>
                  <a:ext uri="{FF2B5EF4-FFF2-40B4-BE49-F238E27FC236}">
                    <a16:creationId xmlns:a16="http://schemas.microsoft.com/office/drawing/2014/main" id="{9EF6FF11-D1BE-FC57-931A-604F64FA65FA}"/>
                  </a:ext>
                </a:extLst>
              </p:cNvPr>
              <p:cNvSpPr/>
              <p:nvPr/>
            </p:nvSpPr>
            <p:spPr>
              <a:xfrm>
                <a:off x="4065267" y="3690498"/>
                <a:ext cx="223989" cy="385408"/>
              </a:xfrm>
              <a:custGeom>
                <a:avLst/>
                <a:gdLst>
                  <a:gd name="connsiteX0" fmla="*/ 196347 w 223989"/>
                  <a:gd name="connsiteY0" fmla="*/ 303096 h 385408"/>
                  <a:gd name="connsiteX1" fmla="*/ 181471 w 223989"/>
                  <a:gd name="connsiteY1" fmla="*/ 304692 h 385408"/>
                  <a:gd name="connsiteX2" fmla="*/ 165399 w 223989"/>
                  <a:gd name="connsiteY2" fmla="*/ 317630 h 385408"/>
                  <a:gd name="connsiteX3" fmla="*/ 158731 w 223989"/>
                  <a:gd name="connsiteY3" fmla="*/ 325096 h 385408"/>
                  <a:gd name="connsiteX4" fmla="*/ 151492 w 223989"/>
                  <a:gd name="connsiteY4" fmla="*/ 335754 h 385408"/>
                  <a:gd name="connsiteX5" fmla="*/ 140093 w 223989"/>
                  <a:gd name="connsiteY5" fmla="*/ 340998 h 385408"/>
                  <a:gd name="connsiteX6" fmla="*/ 136445 w 223989"/>
                  <a:gd name="connsiteY6" fmla="*/ 344304 h 385408"/>
                  <a:gd name="connsiteX7" fmla="*/ 124647 w 223989"/>
                  <a:gd name="connsiteY7" fmla="*/ 347552 h 385408"/>
                  <a:gd name="connsiteX8" fmla="*/ 114104 w 223989"/>
                  <a:gd name="connsiteY8" fmla="*/ 353252 h 385408"/>
                  <a:gd name="connsiteX9" fmla="*/ 111026 w 223989"/>
                  <a:gd name="connsiteY9" fmla="*/ 362998 h 385408"/>
                  <a:gd name="connsiteX10" fmla="*/ 101508 w 223989"/>
                  <a:gd name="connsiteY10" fmla="*/ 368982 h 385408"/>
                  <a:gd name="connsiteX11" fmla="*/ 99114 w 223989"/>
                  <a:gd name="connsiteY11" fmla="*/ 372459 h 385408"/>
                  <a:gd name="connsiteX12" fmla="*/ 94497 w 223989"/>
                  <a:gd name="connsiteY12" fmla="*/ 375366 h 385408"/>
                  <a:gd name="connsiteX13" fmla="*/ 74378 w 223989"/>
                  <a:gd name="connsiteY13" fmla="*/ 381521 h 385408"/>
                  <a:gd name="connsiteX14" fmla="*/ 66342 w 223989"/>
                  <a:gd name="connsiteY14" fmla="*/ 381977 h 385408"/>
                  <a:gd name="connsiteX15" fmla="*/ 59674 w 223989"/>
                  <a:gd name="connsiteY15" fmla="*/ 384257 h 385408"/>
                  <a:gd name="connsiteX16" fmla="*/ 41036 w 223989"/>
                  <a:gd name="connsiteY16" fmla="*/ 384941 h 385408"/>
                  <a:gd name="connsiteX17" fmla="*/ 40466 w 223989"/>
                  <a:gd name="connsiteY17" fmla="*/ 384941 h 385408"/>
                  <a:gd name="connsiteX18" fmla="*/ 38358 w 223989"/>
                  <a:gd name="connsiteY18" fmla="*/ 365335 h 385408"/>
                  <a:gd name="connsiteX19" fmla="*/ 22855 w 223989"/>
                  <a:gd name="connsiteY19" fmla="*/ 348920 h 385408"/>
                  <a:gd name="connsiteX20" fmla="*/ 15389 w 223989"/>
                  <a:gd name="connsiteY20" fmla="*/ 337008 h 385408"/>
                  <a:gd name="connsiteX21" fmla="*/ 26788 w 223989"/>
                  <a:gd name="connsiteY21" fmla="*/ 329656 h 385408"/>
                  <a:gd name="connsiteX22" fmla="*/ 34653 w 223989"/>
                  <a:gd name="connsiteY22" fmla="*/ 328231 h 385408"/>
                  <a:gd name="connsiteX23" fmla="*/ 38586 w 223989"/>
                  <a:gd name="connsiteY23" fmla="*/ 321962 h 385408"/>
                  <a:gd name="connsiteX24" fmla="*/ 35907 w 223989"/>
                  <a:gd name="connsiteY24" fmla="*/ 317231 h 385408"/>
                  <a:gd name="connsiteX25" fmla="*/ 29523 w 223989"/>
                  <a:gd name="connsiteY25" fmla="*/ 298309 h 385408"/>
                  <a:gd name="connsiteX26" fmla="*/ 29523 w 223989"/>
                  <a:gd name="connsiteY26" fmla="*/ 289760 h 385408"/>
                  <a:gd name="connsiteX27" fmla="*/ 23824 w 223989"/>
                  <a:gd name="connsiteY27" fmla="*/ 284402 h 385408"/>
                  <a:gd name="connsiteX28" fmla="*/ 21088 w 223989"/>
                  <a:gd name="connsiteY28" fmla="*/ 285371 h 385408"/>
                  <a:gd name="connsiteX29" fmla="*/ 20290 w 223989"/>
                  <a:gd name="connsiteY29" fmla="*/ 268273 h 385408"/>
                  <a:gd name="connsiteX30" fmla="*/ 18865 w 223989"/>
                  <a:gd name="connsiteY30" fmla="*/ 260863 h 385408"/>
                  <a:gd name="connsiteX31" fmla="*/ 12083 w 223989"/>
                  <a:gd name="connsiteY31" fmla="*/ 251687 h 385408"/>
                  <a:gd name="connsiteX32" fmla="*/ 0 w 223989"/>
                  <a:gd name="connsiteY32" fmla="*/ 242967 h 385408"/>
                  <a:gd name="connsiteX33" fmla="*/ 3306 w 223989"/>
                  <a:gd name="connsiteY33" fmla="*/ 217718 h 385408"/>
                  <a:gd name="connsiteX34" fmla="*/ 4332 w 223989"/>
                  <a:gd name="connsiteY34" fmla="*/ 211278 h 385408"/>
                  <a:gd name="connsiteX35" fmla="*/ 7922 w 223989"/>
                  <a:gd name="connsiteY35" fmla="*/ 206262 h 385408"/>
                  <a:gd name="connsiteX36" fmla="*/ 10259 w 223989"/>
                  <a:gd name="connsiteY36" fmla="*/ 196744 h 385408"/>
                  <a:gd name="connsiteX37" fmla="*/ 18410 w 223989"/>
                  <a:gd name="connsiteY37" fmla="*/ 190247 h 385408"/>
                  <a:gd name="connsiteX38" fmla="*/ 18410 w 223989"/>
                  <a:gd name="connsiteY38" fmla="*/ 182895 h 385408"/>
                  <a:gd name="connsiteX39" fmla="*/ 32088 w 223989"/>
                  <a:gd name="connsiteY39" fmla="*/ 173889 h 385408"/>
                  <a:gd name="connsiteX40" fmla="*/ 43487 w 223989"/>
                  <a:gd name="connsiteY40" fmla="*/ 152117 h 385408"/>
                  <a:gd name="connsiteX41" fmla="*/ 41207 w 223989"/>
                  <a:gd name="connsiteY41" fmla="*/ 103558 h 385408"/>
                  <a:gd name="connsiteX42" fmla="*/ 40580 w 223989"/>
                  <a:gd name="connsiteY42" fmla="*/ 95294 h 385408"/>
                  <a:gd name="connsiteX43" fmla="*/ 45425 w 223989"/>
                  <a:gd name="connsiteY43" fmla="*/ 86516 h 385408"/>
                  <a:gd name="connsiteX44" fmla="*/ 45425 w 223989"/>
                  <a:gd name="connsiteY44" fmla="*/ 62807 h 385408"/>
                  <a:gd name="connsiteX45" fmla="*/ 40182 w 223989"/>
                  <a:gd name="connsiteY45" fmla="*/ 53346 h 385408"/>
                  <a:gd name="connsiteX46" fmla="*/ 39783 w 223989"/>
                  <a:gd name="connsiteY46" fmla="*/ 47304 h 385408"/>
                  <a:gd name="connsiteX47" fmla="*/ 18751 w 223989"/>
                  <a:gd name="connsiteY47" fmla="*/ 19890 h 385408"/>
                  <a:gd name="connsiteX48" fmla="*/ 18068 w 223989"/>
                  <a:gd name="connsiteY48" fmla="*/ 16755 h 385408"/>
                  <a:gd name="connsiteX49" fmla="*/ 21487 w 223989"/>
                  <a:gd name="connsiteY49" fmla="*/ 14418 h 385408"/>
                  <a:gd name="connsiteX50" fmla="*/ 46451 w 223989"/>
                  <a:gd name="connsiteY50" fmla="*/ 1423 h 385408"/>
                  <a:gd name="connsiteX51" fmla="*/ 52777 w 223989"/>
                  <a:gd name="connsiteY51" fmla="*/ 55 h 385408"/>
                  <a:gd name="connsiteX52" fmla="*/ 57508 w 223989"/>
                  <a:gd name="connsiteY52" fmla="*/ 2392 h 385408"/>
                  <a:gd name="connsiteX53" fmla="*/ 70901 w 223989"/>
                  <a:gd name="connsiteY53" fmla="*/ 3361 h 385408"/>
                  <a:gd name="connsiteX54" fmla="*/ 75803 w 223989"/>
                  <a:gd name="connsiteY54" fmla="*/ 9061 h 385408"/>
                  <a:gd name="connsiteX55" fmla="*/ 90394 w 223989"/>
                  <a:gd name="connsiteY55" fmla="*/ 12993 h 385408"/>
                  <a:gd name="connsiteX56" fmla="*/ 104813 w 223989"/>
                  <a:gd name="connsiteY56" fmla="*/ 26387 h 385408"/>
                  <a:gd name="connsiteX57" fmla="*/ 116212 w 223989"/>
                  <a:gd name="connsiteY57" fmla="*/ 30434 h 385408"/>
                  <a:gd name="connsiteX58" fmla="*/ 121627 w 223989"/>
                  <a:gd name="connsiteY58" fmla="*/ 37273 h 385408"/>
                  <a:gd name="connsiteX59" fmla="*/ 134565 w 223989"/>
                  <a:gd name="connsiteY59" fmla="*/ 41263 h 385408"/>
                  <a:gd name="connsiteX60" fmla="*/ 137757 w 223989"/>
                  <a:gd name="connsiteY60" fmla="*/ 45879 h 385408"/>
                  <a:gd name="connsiteX61" fmla="*/ 149155 w 223989"/>
                  <a:gd name="connsiteY61" fmla="*/ 49926 h 385408"/>
                  <a:gd name="connsiteX62" fmla="*/ 156166 w 223989"/>
                  <a:gd name="connsiteY62" fmla="*/ 56993 h 385408"/>
                  <a:gd name="connsiteX63" fmla="*/ 166938 w 223989"/>
                  <a:gd name="connsiteY63" fmla="*/ 62123 h 385408"/>
                  <a:gd name="connsiteX64" fmla="*/ 173834 w 223989"/>
                  <a:gd name="connsiteY64" fmla="*/ 63377 h 385408"/>
                  <a:gd name="connsiteX65" fmla="*/ 179191 w 223989"/>
                  <a:gd name="connsiteY65" fmla="*/ 70843 h 385408"/>
                  <a:gd name="connsiteX66" fmla="*/ 188197 w 223989"/>
                  <a:gd name="connsiteY66" fmla="*/ 73408 h 385408"/>
                  <a:gd name="connsiteX67" fmla="*/ 200622 w 223989"/>
                  <a:gd name="connsiteY67" fmla="*/ 85662 h 385408"/>
                  <a:gd name="connsiteX68" fmla="*/ 223990 w 223989"/>
                  <a:gd name="connsiteY68" fmla="*/ 86687 h 385408"/>
                  <a:gd name="connsiteX69" fmla="*/ 223990 w 223989"/>
                  <a:gd name="connsiteY69" fmla="*/ 173775 h 385408"/>
                  <a:gd name="connsiteX70" fmla="*/ 218290 w 223989"/>
                  <a:gd name="connsiteY70" fmla="*/ 174402 h 385408"/>
                  <a:gd name="connsiteX71" fmla="*/ 209746 w 223989"/>
                  <a:gd name="connsiteY71" fmla="*/ 187112 h 385408"/>
                  <a:gd name="connsiteX72" fmla="*/ 209057 w 223989"/>
                  <a:gd name="connsiteY72" fmla="*/ 187226 h 385408"/>
                  <a:gd name="connsiteX73" fmla="*/ 198969 w 223989"/>
                  <a:gd name="connsiteY73" fmla="*/ 189506 h 385408"/>
                  <a:gd name="connsiteX74" fmla="*/ 198570 w 223989"/>
                  <a:gd name="connsiteY74" fmla="*/ 197029 h 385408"/>
                  <a:gd name="connsiteX75" fmla="*/ 187171 w 223989"/>
                  <a:gd name="connsiteY75" fmla="*/ 205464 h 385408"/>
                  <a:gd name="connsiteX76" fmla="*/ 183375 w 223989"/>
                  <a:gd name="connsiteY76" fmla="*/ 225253 h 385408"/>
                  <a:gd name="connsiteX77" fmla="*/ 183523 w 223989"/>
                  <a:gd name="connsiteY77" fmla="*/ 225470 h 385408"/>
                  <a:gd name="connsiteX78" fmla="*/ 171269 w 223989"/>
                  <a:gd name="connsiteY78" fmla="*/ 232651 h 385408"/>
                  <a:gd name="connsiteX79" fmla="*/ 178622 w 223989"/>
                  <a:gd name="connsiteY79" fmla="*/ 248894 h 385408"/>
                  <a:gd name="connsiteX80" fmla="*/ 181585 w 223989"/>
                  <a:gd name="connsiteY80" fmla="*/ 260806 h 385408"/>
                  <a:gd name="connsiteX81" fmla="*/ 191730 w 223989"/>
                  <a:gd name="connsiteY81" fmla="*/ 287936 h 385408"/>
                  <a:gd name="connsiteX82" fmla="*/ 196347 w 223989"/>
                  <a:gd name="connsiteY82" fmla="*/ 303096 h 38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23989" h="385408">
                    <a:moveTo>
                      <a:pt x="196347" y="303096"/>
                    </a:moveTo>
                    <a:cubicBezTo>
                      <a:pt x="191366" y="301700"/>
                      <a:pt x="186042" y="302276"/>
                      <a:pt x="181471" y="304692"/>
                    </a:cubicBezTo>
                    <a:cubicBezTo>
                      <a:pt x="175584" y="308306"/>
                      <a:pt x="170187" y="312654"/>
                      <a:pt x="165399" y="317630"/>
                    </a:cubicBezTo>
                    <a:cubicBezTo>
                      <a:pt x="162908" y="319870"/>
                      <a:pt x="160674" y="322372"/>
                      <a:pt x="158731" y="325096"/>
                    </a:cubicBezTo>
                    <a:cubicBezTo>
                      <a:pt x="156986" y="329058"/>
                      <a:pt x="154536" y="332671"/>
                      <a:pt x="151492" y="335754"/>
                    </a:cubicBezTo>
                    <a:cubicBezTo>
                      <a:pt x="148073" y="338262"/>
                      <a:pt x="143228" y="338376"/>
                      <a:pt x="140093" y="340998"/>
                    </a:cubicBezTo>
                    <a:cubicBezTo>
                      <a:pt x="138782" y="341967"/>
                      <a:pt x="137699" y="343278"/>
                      <a:pt x="136445" y="344304"/>
                    </a:cubicBezTo>
                    <a:cubicBezTo>
                      <a:pt x="132861" y="346390"/>
                      <a:pt x="128797" y="347512"/>
                      <a:pt x="124647" y="347552"/>
                    </a:cubicBezTo>
                    <a:cubicBezTo>
                      <a:pt x="120418" y="347638"/>
                      <a:pt x="116492" y="349764"/>
                      <a:pt x="114104" y="353252"/>
                    </a:cubicBezTo>
                    <a:cubicBezTo>
                      <a:pt x="112508" y="356272"/>
                      <a:pt x="113135" y="360262"/>
                      <a:pt x="111026" y="362998"/>
                    </a:cubicBezTo>
                    <a:cubicBezTo>
                      <a:pt x="108917" y="365734"/>
                      <a:pt x="104015" y="366133"/>
                      <a:pt x="101508" y="368982"/>
                    </a:cubicBezTo>
                    <a:cubicBezTo>
                      <a:pt x="100596" y="370065"/>
                      <a:pt x="100026" y="371376"/>
                      <a:pt x="99114" y="372459"/>
                    </a:cubicBezTo>
                    <a:cubicBezTo>
                      <a:pt x="97815" y="373764"/>
                      <a:pt x="96236" y="374756"/>
                      <a:pt x="94497" y="375366"/>
                    </a:cubicBezTo>
                    <a:cubicBezTo>
                      <a:pt x="88211" y="378603"/>
                      <a:pt x="81400" y="380683"/>
                      <a:pt x="74378" y="381521"/>
                    </a:cubicBezTo>
                    <a:cubicBezTo>
                      <a:pt x="71694" y="381441"/>
                      <a:pt x="69003" y="381595"/>
                      <a:pt x="66342" y="381977"/>
                    </a:cubicBezTo>
                    <a:cubicBezTo>
                      <a:pt x="64062" y="382490"/>
                      <a:pt x="61953" y="383573"/>
                      <a:pt x="59674" y="384257"/>
                    </a:cubicBezTo>
                    <a:cubicBezTo>
                      <a:pt x="53541" y="385511"/>
                      <a:pt x="47243" y="385745"/>
                      <a:pt x="41036" y="384941"/>
                    </a:cubicBezTo>
                    <a:lnTo>
                      <a:pt x="40466" y="384941"/>
                    </a:lnTo>
                    <a:cubicBezTo>
                      <a:pt x="42638" y="378409"/>
                      <a:pt x="41868" y="371256"/>
                      <a:pt x="38358" y="365335"/>
                    </a:cubicBezTo>
                    <a:cubicBezTo>
                      <a:pt x="34391" y="358843"/>
                      <a:pt x="29113" y="353252"/>
                      <a:pt x="22855" y="348920"/>
                    </a:cubicBezTo>
                    <a:cubicBezTo>
                      <a:pt x="18922" y="345900"/>
                      <a:pt x="14420" y="341853"/>
                      <a:pt x="15389" y="337008"/>
                    </a:cubicBezTo>
                    <a:cubicBezTo>
                      <a:pt x="16357" y="332164"/>
                      <a:pt x="21943" y="330169"/>
                      <a:pt x="26788" y="329656"/>
                    </a:cubicBezTo>
                    <a:cubicBezTo>
                      <a:pt x="29467" y="329593"/>
                      <a:pt x="32123" y="329109"/>
                      <a:pt x="34653" y="328231"/>
                    </a:cubicBezTo>
                    <a:cubicBezTo>
                      <a:pt x="37155" y="327177"/>
                      <a:pt x="38728" y="324669"/>
                      <a:pt x="38586" y="321962"/>
                    </a:cubicBezTo>
                    <a:cubicBezTo>
                      <a:pt x="38124" y="320178"/>
                      <a:pt x="37201" y="318542"/>
                      <a:pt x="35907" y="317231"/>
                    </a:cubicBezTo>
                    <a:cubicBezTo>
                      <a:pt x="31729" y="311811"/>
                      <a:pt x="29484" y="305154"/>
                      <a:pt x="29523" y="298309"/>
                    </a:cubicBezTo>
                    <a:cubicBezTo>
                      <a:pt x="29894" y="295470"/>
                      <a:pt x="29894" y="292598"/>
                      <a:pt x="29523" y="289760"/>
                    </a:cubicBezTo>
                    <a:cubicBezTo>
                      <a:pt x="28982" y="286933"/>
                      <a:pt x="26679" y="284767"/>
                      <a:pt x="23824" y="284402"/>
                    </a:cubicBezTo>
                    <a:cubicBezTo>
                      <a:pt x="22838" y="284465"/>
                      <a:pt x="21892" y="284801"/>
                      <a:pt x="21088" y="285371"/>
                    </a:cubicBezTo>
                    <a:cubicBezTo>
                      <a:pt x="21088" y="279672"/>
                      <a:pt x="20803" y="273972"/>
                      <a:pt x="20290" y="268273"/>
                    </a:cubicBezTo>
                    <a:cubicBezTo>
                      <a:pt x="20170" y="265748"/>
                      <a:pt x="19692" y="263251"/>
                      <a:pt x="18865" y="260863"/>
                    </a:cubicBezTo>
                    <a:cubicBezTo>
                      <a:pt x="17235" y="257387"/>
                      <a:pt x="14933" y="254263"/>
                      <a:pt x="12083" y="251687"/>
                    </a:cubicBezTo>
                    <a:cubicBezTo>
                      <a:pt x="8743" y="247926"/>
                      <a:pt x="4622" y="244950"/>
                      <a:pt x="0" y="242967"/>
                    </a:cubicBezTo>
                    <a:cubicBezTo>
                      <a:pt x="2069" y="234709"/>
                      <a:pt x="3181" y="226233"/>
                      <a:pt x="3306" y="217718"/>
                    </a:cubicBezTo>
                    <a:cubicBezTo>
                      <a:pt x="3129" y="215518"/>
                      <a:pt x="3483" y="213313"/>
                      <a:pt x="4332" y="211278"/>
                    </a:cubicBezTo>
                    <a:cubicBezTo>
                      <a:pt x="5244" y="209454"/>
                      <a:pt x="7011" y="208086"/>
                      <a:pt x="7922" y="206262"/>
                    </a:cubicBezTo>
                    <a:cubicBezTo>
                      <a:pt x="9290" y="203242"/>
                      <a:pt x="8264" y="199366"/>
                      <a:pt x="10259" y="196744"/>
                    </a:cubicBezTo>
                    <a:cubicBezTo>
                      <a:pt x="12254" y="194123"/>
                      <a:pt x="17098" y="193553"/>
                      <a:pt x="18410" y="190247"/>
                    </a:cubicBezTo>
                    <a:cubicBezTo>
                      <a:pt x="19321" y="187967"/>
                      <a:pt x="18011" y="185345"/>
                      <a:pt x="18410" y="182895"/>
                    </a:cubicBezTo>
                    <a:cubicBezTo>
                      <a:pt x="19207" y="177195"/>
                      <a:pt x="26959" y="176511"/>
                      <a:pt x="32088" y="173889"/>
                    </a:cubicBezTo>
                    <a:cubicBezTo>
                      <a:pt x="39668" y="170071"/>
                      <a:pt x="42176" y="160553"/>
                      <a:pt x="43487" y="152117"/>
                    </a:cubicBezTo>
                    <a:cubicBezTo>
                      <a:pt x="45356" y="135914"/>
                      <a:pt x="44587" y="119516"/>
                      <a:pt x="41207" y="103558"/>
                    </a:cubicBezTo>
                    <a:cubicBezTo>
                      <a:pt x="40409" y="100879"/>
                      <a:pt x="40193" y="98064"/>
                      <a:pt x="40580" y="95294"/>
                    </a:cubicBezTo>
                    <a:cubicBezTo>
                      <a:pt x="41669" y="92108"/>
                      <a:pt x="43310" y="89138"/>
                      <a:pt x="45425" y="86516"/>
                    </a:cubicBezTo>
                    <a:cubicBezTo>
                      <a:pt x="49694" y="79193"/>
                      <a:pt x="49694" y="70130"/>
                      <a:pt x="45425" y="62807"/>
                    </a:cubicBezTo>
                    <a:cubicBezTo>
                      <a:pt x="43134" y="59985"/>
                      <a:pt x="41361" y="56782"/>
                      <a:pt x="40182" y="53346"/>
                    </a:cubicBezTo>
                    <a:cubicBezTo>
                      <a:pt x="39783" y="51351"/>
                      <a:pt x="40182" y="49299"/>
                      <a:pt x="39783" y="47304"/>
                    </a:cubicBezTo>
                    <a:cubicBezTo>
                      <a:pt x="38301" y="35620"/>
                      <a:pt x="21316" y="31403"/>
                      <a:pt x="18751" y="19890"/>
                    </a:cubicBezTo>
                    <a:cubicBezTo>
                      <a:pt x="18751" y="18864"/>
                      <a:pt x="18352" y="17781"/>
                      <a:pt x="18068" y="16755"/>
                    </a:cubicBezTo>
                    <a:cubicBezTo>
                      <a:pt x="19207" y="15957"/>
                      <a:pt x="20290" y="15159"/>
                      <a:pt x="21487" y="14418"/>
                    </a:cubicBezTo>
                    <a:cubicBezTo>
                      <a:pt x="29489" y="9505"/>
                      <a:pt x="37833" y="5162"/>
                      <a:pt x="46451" y="1423"/>
                    </a:cubicBezTo>
                    <a:cubicBezTo>
                      <a:pt x="48360" y="306"/>
                      <a:pt x="50577" y="-172"/>
                      <a:pt x="52777" y="55"/>
                    </a:cubicBezTo>
                    <a:cubicBezTo>
                      <a:pt x="54402" y="728"/>
                      <a:pt x="55986" y="1509"/>
                      <a:pt x="57508" y="2392"/>
                    </a:cubicBezTo>
                    <a:cubicBezTo>
                      <a:pt x="61782" y="3988"/>
                      <a:pt x="66969" y="1081"/>
                      <a:pt x="70901" y="3361"/>
                    </a:cubicBezTo>
                    <a:cubicBezTo>
                      <a:pt x="73124" y="4672"/>
                      <a:pt x="74207" y="7180"/>
                      <a:pt x="75803" y="9061"/>
                    </a:cubicBezTo>
                    <a:cubicBezTo>
                      <a:pt x="79354" y="13312"/>
                      <a:pt x="85190" y="14880"/>
                      <a:pt x="90394" y="12993"/>
                    </a:cubicBezTo>
                    <a:cubicBezTo>
                      <a:pt x="92833" y="19474"/>
                      <a:pt x="98174" y="24432"/>
                      <a:pt x="104813" y="26387"/>
                    </a:cubicBezTo>
                    <a:cubicBezTo>
                      <a:pt x="108877" y="26832"/>
                      <a:pt x="112781" y="28217"/>
                      <a:pt x="116212" y="30434"/>
                    </a:cubicBezTo>
                    <a:cubicBezTo>
                      <a:pt x="118321" y="32485"/>
                      <a:pt x="119233" y="35620"/>
                      <a:pt x="121627" y="37273"/>
                    </a:cubicBezTo>
                    <a:cubicBezTo>
                      <a:pt x="125388" y="39895"/>
                      <a:pt x="131316" y="38014"/>
                      <a:pt x="134565" y="41263"/>
                    </a:cubicBezTo>
                    <a:cubicBezTo>
                      <a:pt x="135876" y="42574"/>
                      <a:pt x="136445" y="44511"/>
                      <a:pt x="137757" y="45879"/>
                    </a:cubicBezTo>
                    <a:cubicBezTo>
                      <a:pt x="140606" y="48900"/>
                      <a:pt x="145736" y="47988"/>
                      <a:pt x="149155" y="49926"/>
                    </a:cubicBezTo>
                    <a:cubicBezTo>
                      <a:pt x="152575" y="51864"/>
                      <a:pt x="153829" y="54599"/>
                      <a:pt x="156166" y="56993"/>
                    </a:cubicBezTo>
                    <a:cubicBezTo>
                      <a:pt x="159050" y="59906"/>
                      <a:pt x="162863" y="61718"/>
                      <a:pt x="166938" y="62123"/>
                    </a:cubicBezTo>
                    <a:cubicBezTo>
                      <a:pt x="169303" y="61952"/>
                      <a:pt x="171680" y="62385"/>
                      <a:pt x="173834" y="63377"/>
                    </a:cubicBezTo>
                    <a:cubicBezTo>
                      <a:pt x="176342" y="65143"/>
                      <a:pt x="176798" y="69076"/>
                      <a:pt x="179191" y="70843"/>
                    </a:cubicBezTo>
                    <a:cubicBezTo>
                      <a:pt x="181585" y="72610"/>
                      <a:pt x="185233" y="72325"/>
                      <a:pt x="188197" y="73408"/>
                    </a:cubicBezTo>
                    <a:cubicBezTo>
                      <a:pt x="193896" y="75346"/>
                      <a:pt x="196005" y="81957"/>
                      <a:pt x="200622" y="85662"/>
                    </a:cubicBezTo>
                    <a:cubicBezTo>
                      <a:pt x="207005" y="90791"/>
                      <a:pt x="215953" y="89195"/>
                      <a:pt x="223990" y="86687"/>
                    </a:cubicBezTo>
                    <a:lnTo>
                      <a:pt x="223990" y="173775"/>
                    </a:lnTo>
                    <a:lnTo>
                      <a:pt x="218290" y="174402"/>
                    </a:lnTo>
                    <a:cubicBezTo>
                      <a:pt x="219441" y="180273"/>
                      <a:pt x="215617" y="185961"/>
                      <a:pt x="209746" y="187112"/>
                    </a:cubicBezTo>
                    <a:cubicBezTo>
                      <a:pt x="209519" y="187158"/>
                      <a:pt x="209290" y="187198"/>
                      <a:pt x="209057" y="187226"/>
                    </a:cubicBezTo>
                    <a:cubicBezTo>
                      <a:pt x="205466" y="187226"/>
                      <a:pt x="200736" y="186314"/>
                      <a:pt x="198969" y="189506"/>
                    </a:cubicBezTo>
                    <a:cubicBezTo>
                      <a:pt x="197715" y="191729"/>
                      <a:pt x="198969" y="194522"/>
                      <a:pt x="198570" y="197029"/>
                    </a:cubicBezTo>
                    <a:cubicBezTo>
                      <a:pt x="197715" y="201817"/>
                      <a:pt x="191503" y="202729"/>
                      <a:pt x="187171" y="205464"/>
                    </a:cubicBezTo>
                    <a:cubicBezTo>
                      <a:pt x="180656" y="209882"/>
                      <a:pt x="178958" y="218739"/>
                      <a:pt x="183375" y="225253"/>
                    </a:cubicBezTo>
                    <a:cubicBezTo>
                      <a:pt x="183421" y="225327"/>
                      <a:pt x="183472" y="225396"/>
                      <a:pt x="183523" y="225470"/>
                    </a:cubicBezTo>
                    <a:lnTo>
                      <a:pt x="171269" y="232651"/>
                    </a:lnTo>
                    <a:cubicBezTo>
                      <a:pt x="170357" y="238350"/>
                      <a:pt x="176000" y="243423"/>
                      <a:pt x="178622" y="248894"/>
                    </a:cubicBezTo>
                    <a:cubicBezTo>
                      <a:pt x="180183" y="252702"/>
                      <a:pt x="181181" y="256714"/>
                      <a:pt x="181585" y="260806"/>
                    </a:cubicBezTo>
                    <a:cubicBezTo>
                      <a:pt x="183346" y="270376"/>
                      <a:pt x="186777" y="279558"/>
                      <a:pt x="191730" y="287936"/>
                    </a:cubicBezTo>
                    <a:cubicBezTo>
                      <a:pt x="196068" y="291675"/>
                      <a:pt x="197869" y="297574"/>
                      <a:pt x="196347" y="3030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4" name="Freihandform: Form 350">
                <a:extLst>
                  <a:ext uri="{FF2B5EF4-FFF2-40B4-BE49-F238E27FC236}">
                    <a16:creationId xmlns:a16="http://schemas.microsoft.com/office/drawing/2014/main" id="{7FD74D5D-B335-1130-7DC9-7294FB693A39}"/>
                  </a:ext>
                </a:extLst>
              </p:cNvPr>
              <p:cNvSpPr/>
              <p:nvPr/>
            </p:nvSpPr>
            <p:spPr>
              <a:xfrm>
                <a:off x="4647052" y="3981397"/>
                <a:ext cx="210042" cy="307429"/>
              </a:xfrm>
              <a:custGeom>
                <a:avLst/>
                <a:gdLst>
                  <a:gd name="connsiteX0" fmla="*/ 52852 w 210042"/>
                  <a:gd name="connsiteY0" fmla="*/ 5757 h 307429"/>
                  <a:gd name="connsiteX1" fmla="*/ 54048 w 210042"/>
                  <a:gd name="connsiteY1" fmla="*/ 4617 h 307429"/>
                  <a:gd name="connsiteX2" fmla="*/ 57126 w 210042"/>
                  <a:gd name="connsiteY2" fmla="*/ 4617 h 307429"/>
                  <a:gd name="connsiteX3" fmla="*/ 79012 w 210042"/>
                  <a:gd name="connsiteY3" fmla="*/ 25990 h 307429"/>
                  <a:gd name="connsiteX4" fmla="*/ 111670 w 210042"/>
                  <a:gd name="connsiteY4" fmla="*/ 19834 h 307429"/>
                  <a:gd name="connsiteX5" fmla="*/ 210043 w 210042"/>
                  <a:gd name="connsiteY5" fmla="*/ 0 h 307429"/>
                  <a:gd name="connsiteX6" fmla="*/ 190836 w 210042"/>
                  <a:gd name="connsiteY6" fmla="*/ 88912 h 307429"/>
                  <a:gd name="connsiteX7" fmla="*/ 187473 w 210042"/>
                  <a:gd name="connsiteY7" fmla="*/ 97404 h 307429"/>
                  <a:gd name="connsiteX8" fmla="*/ 180292 w 210042"/>
                  <a:gd name="connsiteY8" fmla="*/ 102306 h 307429"/>
                  <a:gd name="connsiteX9" fmla="*/ 163193 w 210042"/>
                  <a:gd name="connsiteY9" fmla="*/ 130062 h 307429"/>
                  <a:gd name="connsiteX10" fmla="*/ 136349 w 210042"/>
                  <a:gd name="connsiteY10" fmla="*/ 163290 h 307429"/>
                  <a:gd name="connsiteX11" fmla="*/ 129338 w 210042"/>
                  <a:gd name="connsiteY11" fmla="*/ 184948 h 307429"/>
                  <a:gd name="connsiteX12" fmla="*/ 62883 w 210042"/>
                  <a:gd name="connsiteY12" fmla="*/ 236642 h 307429"/>
                  <a:gd name="connsiteX13" fmla="*/ 31934 w 210042"/>
                  <a:gd name="connsiteY13" fmla="*/ 280699 h 307429"/>
                  <a:gd name="connsiteX14" fmla="*/ 24468 w 210042"/>
                  <a:gd name="connsiteY14" fmla="*/ 290217 h 307429"/>
                  <a:gd name="connsiteX15" fmla="*/ 14152 w 210042"/>
                  <a:gd name="connsiteY15" fmla="*/ 299450 h 307429"/>
                  <a:gd name="connsiteX16" fmla="*/ 9535 w 210042"/>
                  <a:gd name="connsiteY16" fmla="*/ 307430 h 307429"/>
                  <a:gd name="connsiteX17" fmla="*/ 7769 w 210042"/>
                  <a:gd name="connsiteY17" fmla="*/ 296031 h 307429"/>
                  <a:gd name="connsiteX18" fmla="*/ 1226 w 210042"/>
                  <a:gd name="connsiteY18" fmla="*/ 293740 h 307429"/>
                  <a:gd name="connsiteX19" fmla="*/ 758 w 210042"/>
                  <a:gd name="connsiteY19" fmla="*/ 292041 h 307429"/>
                  <a:gd name="connsiteX20" fmla="*/ 758 w 210042"/>
                  <a:gd name="connsiteY20" fmla="*/ 217150 h 307429"/>
                  <a:gd name="connsiteX21" fmla="*/ 2012 w 210042"/>
                  <a:gd name="connsiteY21" fmla="*/ 208259 h 307429"/>
                  <a:gd name="connsiteX22" fmla="*/ 6914 w 210042"/>
                  <a:gd name="connsiteY22" fmla="*/ 200166 h 307429"/>
                  <a:gd name="connsiteX23" fmla="*/ 7541 w 210042"/>
                  <a:gd name="connsiteY23" fmla="*/ 196575 h 307429"/>
                  <a:gd name="connsiteX24" fmla="*/ 10618 w 210042"/>
                  <a:gd name="connsiteY24" fmla="*/ 192528 h 307429"/>
                  <a:gd name="connsiteX25" fmla="*/ 20706 w 210042"/>
                  <a:gd name="connsiteY25" fmla="*/ 176570 h 307429"/>
                  <a:gd name="connsiteX26" fmla="*/ 19452 w 210042"/>
                  <a:gd name="connsiteY26" fmla="*/ 177026 h 307429"/>
                  <a:gd name="connsiteX27" fmla="*/ 21048 w 210042"/>
                  <a:gd name="connsiteY27" fmla="*/ 173549 h 307429"/>
                  <a:gd name="connsiteX28" fmla="*/ 40085 w 210042"/>
                  <a:gd name="connsiteY28" fmla="*/ 172124 h 307429"/>
                  <a:gd name="connsiteX29" fmla="*/ 42991 w 210042"/>
                  <a:gd name="connsiteY29" fmla="*/ 167907 h 307429"/>
                  <a:gd name="connsiteX30" fmla="*/ 53820 w 210042"/>
                  <a:gd name="connsiteY30" fmla="*/ 164145 h 307429"/>
                  <a:gd name="connsiteX31" fmla="*/ 60546 w 210042"/>
                  <a:gd name="connsiteY31" fmla="*/ 156223 h 307429"/>
                  <a:gd name="connsiteX32" fmla="*/ 93546 w 210042"/>
                  <a:gd name="connsiteY32" fmla="*/ 147502 h 307429"/>
                  <a:gd name="connsiteX33" fmla="*/ 116857 w 210042"/>
                  <a:gd name="connsiteY33" fmla="*/ 121171 h 307429"/>
                  <a:gd name="connsiteX34" fmla="*/ 122841 w 210042"/>
                  <a:gd name="connsiteY34" fmla="*/ 114674 h 307429"/>
                  <a:gd name="connsiteX35" fmla="*/ 131105 w 210042"/>
                  <a:gd name="connsiteY35" fmla="*/ 111539 h 307429"/>
                  <a:gd name="connsiteX36" fmla="*/ 147748 w 210042"/>
                  <a:gd name="connsiteY36" fmla="*/ 87601 h 307429"/>
                  <a:gd name="connsiteX37" fmla="*/ 113551 w 210042"/>
                  <a:gd name="connsiteY37" fmla="*/ 77969 h 307429"/>
                  <a:gd name="connsiteX38" fmla="*/ 106997 w 210042"/>
                  <a:gd name="connsiteY38" fmla="*/ 72269 h 307429"/>
                  <a:gd name="connsiteX39" fmla="*/ 87390 w 210042"/>
                  <a:gd name="connsiteY39" fmla="*/ 65829 h 307429"/>
                  <a:gd name="connsiteX40" fmla="*/ 83458 w 210042"/>
                  <a:gd name="connsiteY40" fmla="*/ 61383 h 307429"/>
                  <a:gd name="connsiteX41" fmla="*/ 74680 w 210042"/>
                  <a:gd name="connsiteY41" fmla="*/ 60700 h 307429"/>
                  <a:gd name="connsiteX42" fmla="*/ 57183 w 210042"/>
                  <a:gd name="connsiteY42" fmla="*/ 46280 h 307429"/>
                  <a:gd name="connsiteX43" fmla="*/ 52168 w 210042"/>
                  <a:gd name="connsiteY43" fmla="*/ 45197 h 307429"/>
                  <a:gd name="connsiteX44" fmla="*/ 49204 w 210042"/>
                  <a:gd name="connsiteY44" fmla="*/ 37731 h 307429"/>
                  <a:gd name="connsiteX45" fmla="*/ 45271 w 210042"/>
                  <a:gd name="connsiteY45" fmla="*/ 34311 h 307429"/>
                  <a:gd name="connsiteX46" fmla="*/ 42593 w 210042"/>
                  <a:gd name="connsiteY46" fmla="*/ 18694 h 307429"/>
                  <a:gd name="connsiteX47" fmla="*/ 52852 w 210042"/>
                  <a:gd name="connsiteY47" fmla="*/ 5757 h 307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0042" h="307429">
                    <a:moveTo>
                      <a:pt x="52852" y="5757"/>
                    </a:moveTo>
                    <a:lnTo>
                      <a:pt x="54048" y="4617"/>
                    </a:lnTo>
                    <a:cubicBezTo>
                      <a:pt x="55074" y="4674"/>
                      <a:pt x="56100" y="4674"/>
                      <a:pt x="57126" y="4617"/>
                    </a:cubicBezTo>
                    <a:cubicBezTo>
                      <a:pt x="56727" y="16016"/>
                      <a:pt x="67898" y="24622"/>
                      <a:pt x="79012" y="25990"/>
                    </a:cubicBezTo>
                    <a:cubicBezTo>
                      <a:pt x="90126" y="27358"/>
                      <a:pt x="101069" y="23311"/>
                      <a:pt x="111670" y="19834"/>
                    </a:cubicBezTo>
                    <a:cubicBezTo>
                      <a:pt x="143542" y="9284"/>
                      <a:pt x="176576" y="2627"/>
                      <a:pt x="210043" y="0"/>
                    </a:cubicBezTo>
                    <a:cubicBezTo>
                      <a:pt x="203659" y="29637"/>
                      <a:pt x="197259" y="59275"/>
                      <a:pt x="190836" y="88912"/>
                    </a:cubicBezTo>
                    <a:cubicBezTo>
                      <a:pt x="190443" y="91978"/>
                      <a:pt x="189286" y="94896"/>
                      <a:pt x="187473" y="97404"/>
                    </a:cubicBezTo>
                    <a:cubicBezTo>
                      <a:pt x="185279" y="99313"/>
                      <a:pt x="182868" y="100961"/>
                      <a:pt x="180292" y="102306"/>
                    </a:cubicBezTo>
                    <a:cubicBezTo>
                      <a:pt x="171173" y="108404"/>
                      <a:pt x="168893" y="120601"/>
                      <a:pt x="163193" y="130062"/>
                    </a:cubicBezTo>
                    <a:cubicBezTo>
                      <a:pt x="156012" y="142430"/>
                      <a:pt x="142846" y="150580"/>
                      <a:pt x="136349" y="163290"/>
                    </a:cubicBezTo>
                    <a:cubicBezTo>
                      <a:pt x="133482" y="170329"/>
                      <a:pt x="131139" y="177567"/>
                      <a:pt x="129338" y="184948"/>
                    </a:cubicBezTo>
                    <a:cubicBezTo>
                      <a:pt x="119245" y="213719"/>
                      <a:pt x="93255" y="233935"/>
                      <a:pt x="62883" y="236642"/>
                    </a:cubicBezTo>
                    <a:cubicBezTo>
                      <a:pt x="52453" y="252031"/>
                      <a:pt x="42364" y="265140"/>
                      <a:pt x="31934" y="280699"/>
                    </a:cubicBezTo>
                    <a:cubicBezTo>
                      <a:pt x="29786" y="284125"/>
                      <a:pt x="27284" y="287316"/>
                      <a:pt x="24468" y="290217"/>
                    </a:cubicBezTo>
                    <a:cubicBezTo>
                      <a:pt x="20872" y="293113"/>
                      <a:pt x="17429" y="296196"/>
                      <a:pt x="14152" y="299450"/>
                    </a:cubicBezTo>
                    <a:cubicBezTo>
                      <a:pt x="12317" y="301930"/>
                      <a:pt x="10766" y="304603"/>
                      <a:pt x="9535" y="307430"/>
                    </a:cubicBezTo>
                    <a:cubicBezTo>
                      <a:pt x="9290" y="303583"/>
                      <a:pt x="8698" y="299770"/>
                      <a:pt x="7769" y="296031"/>
                    </a:cubicBezTo>
                    <a:cubicBezTo>
                      <a:pt x="5329" y="297205"/>
                      <a:pt x="2400" y="296179"/>
                      <a:pt x="1226" y="293740"/>
                    </a:cubicBezTo>
                    <a:cubicBezTo>
                      <a:pt x="969" y="293209"/>
                      <a:pt x="809" y="292634"/>
                      <a:pt x="758" y="292041"/>
                    </a:cubicBezTo>
                    <a:lnTo>
                      <a:pt x="758" y="217150"/>
                    </a:lnTo>
                    <a:cubicBezTo>
                      <a:pt x="-598" y="214198"/>
                      <a:pt x="-108" y="210721"/>
                      <a:pt x="2012" y="208259"/>
                    </a:cubicBezTo>
                    <a:cubicBezTo>
                      <a:pt x="4149" y="205899"/>
                      <a:pt x="5814" y="203152"/>
                      <a:pt x="6914" y="200166"/>
                    </a:cubicBezTo>
                    <a:cubicBezTo>
                      <a:pt x="7034" y="198957"/>
                      <a:pt x="7244" y="197755"/>
                      <a:pt x="7541" y="196575"/>
                    </a:cubicBezTo>
                    <a:cubicBezTo>
                      <a:pt x="8259" y="195019"/>
                      <a:pt x="9308" y="193640"/>
                      <a:pt x="10618" y="192528"/>
                    </a:cubicBezTo>
                    <a:cubicBezTo>
                      <a:pt x="15047" y="187963"/>
                      <a:pt x="18484" y="182531"/>
                      <a:pt x="20706" y="176570"/>
                    </a:cubicBezTo>
                    <a:cubicBezTo>
                      <a:pt x="20296" y="176746"/>
                      <a:pt x="19880" y="176900"/>
                      <a:pt x="19452" y="177026"/>
                    </a:cubicBezTo>
                    <a:cubicBezTo>
                      <a:pt x="20154" y="175948"/>
                      <a:pt x="20689" y="174780"/>
                      <a:pt x="21048" y="173549"/>
                    </a:cubicBezTo>
                    <a:cubicBezTo>
                      <a:pt x="27489" y="175715"/>
                      <a:pt x="35810" y="177368"/>
                      <a:pt x="40085" y="172124"/>
                    </a:cubicBezTo>
                    <a:cubicBezTo>
                      <a:pt x="41168" y="170813"/>
                      <a:pt x="41795" y="169160"/>
                      <a:pt x="42991" y="167907"/>
                    </a:cubicBezTo>
                    <a:cubicBezTo>
                      <a:pt x="46160" y="165627"/>
                      <a:pt x="49922" y="164322"/>
                      <a:pt x="53820" y="164145"/>
                    </a:cubicBezTo>
                    <a:cubicBezTo>
                      <a:pt x="57582" y="163233"/>
                      <a:pt x="61743" y="159927"/>
                      <a:pt x="60546" y="156223"/>
                    </a:cubicBezTo>
                    <a:cubicBezTo>
                      <a:pt x="72293" y="158246"/>
                      <a:pt x="84335" y="155066"/>
                      <a:pt x="93546" y="147502"/>
                    </a:cubicBezTo>
                    <a:cubicBezTo>
                      <a:pt x="102613" y="139962"/>
                      <a:pt x="110473" y="131082"/>
                      <a:pt x="116857" y="121171"/>
                    </a:cubicBezTo>
                    <a:cubicBezTo>
                      <a:pt x="118418" y="118640"/>
                      <a:pt x="120447" y="116435"/>
                      <a:pt x="122841" y="114674"/>
                    </a:cubicBezTo>
                    <a:cubicBezTo>
                      <a:pt x="125474" y="113334"/>
                      <a:pt x="128244" y="112285"/>
                      <a:pt x="131105" y="111539"/>
                    </a:cubicBezTo>
                    <a:cubicBezTo>
                      <a:pt x="141005" y="107692"/>
                      <a:pt x="147588" y="98225"/>
                      <a:pt x="147748" y="87601"/>
                    </a:cubicBezTo>
                    <a:cubicBezTo>
                      <a:pt x="135471" y="89921"/>
                      <a:pt x="122812" y="86358"/>
                      <a:pt x="113551" y="77969"/>
                    </a:cubicBezTo>
                    <a:cubicBezTo>
                      <a:pt x="111607" y="75809"/>
                      <a:pt x="109407" y="73894"/>
                      <a:pt x="106997" y="72269"/>
                    </a:cubicBezTo>
                    <a:cubicBezTo>
                      <a:pt x="100841" y="68907"/>
                      <a:pt x="92121" y="71016"/>
                      <a:pt x="87390" y="65829"/>
                    </a:cubicBezTo>
                    <a:cubicBezTo>
                      <a:pt x="86079" y="64347"/>
                      <a:pt x="85225" y="62409"/>
                      <a:pt x="83458" y="61383"/>
                    </a:cubicBezTo>
                    <a:cubicBezTo>
                      <a:pt x="81691" y="60358"/>
                      <a:pt x="77758" y="61383"/>
                      <a:pt x="74680" y="60700"/>
                    </a:cubicBezTo>
                    <a:cubicBezTo>
                      <a:pt x="66986" y="59446"/>
                      <a:pt x="64820" y="47648"/>
                      <a:pt x="57183" y="46280"/>
                    </a:cubicBezTo>
                    <a:cubicBezTo>
                      <a:pt x="55451" y="46303"/>
                      <a:pt x="53735" y="45932"/>
                      <a:pt x="52168" y="45197"/>
                    </a:cubicBezTo>
                    <a:cubicBezTo>
                      <a:pt x="49945" y="43544"/>
                      <a:pt x="50629" y="40067"/>
                      <a:pt x="49204" y="37731"/>
                    </a:cubicBezTo>
                    <a:cubicBezTo>
                      <a:pt x="48087" y="36385"/>
                      <a:pt x="46759" y="35234"/>
                      <a:pt x="45271" y="34311"/>
                    </a:cubicBezTo>
                    <a:cubicBezTo>
                      <a:pt x="41224" y="30167"/>
                      <a:pt x="40159" y="23949"/>
                      <a:pt x="42593" y="18694"/>
                    </a:cubicBezTo>
                    <a:cubicBezTo>
                      <a:pt x="45106" y="13736"/>
                      <a:pt x="48594" y="9336"/>
                      <a:pt x="52852" y="5757"/>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35" name="Freihandform: Form 351">
                <a:extLst>
                  <a:ext uri="{FF2B5EF4-FFF2-40B4-BE49-F238E27FC236}">
                    <a16:creationId xmlns:a16="http://schemas.microsoft.com/office/drawing/2014/main" id="{B9F58ABB-C9F1-C6B1-881C-04BC6F546995}"/>
                  </a:ext>
                </a:extLst>
              </p:cNvPr>
              <p:cNvSpPr/>
              <p:nvPr/>
            </p:nvSpPr>
            <p:spPr>
              <a:xfrm>
                <a:off x="4662294" y="3954308"/>
                <a:ext cx="38806" cy="56527"/>
              </a:xfrm>
              <a:custGeom>
                <a:avLst/>
                <a:gdLst>
                  <a:gd name="connsiteX0" fmla="*/ 29744 w 38806"/>
                  <a:gd name="connsiteY0" fmla="*/ 644 h 56527"/>
                  <a:gd name="connsiteX1" fmla="*/ 34987 w 38806"/>
                  <a:gd name="connsiteY1" fmla="*/ 7141 h 56527"/>
                  <a:gd name="connsiteX2" fmla="*/ 26723 w 38806"/>
                  <a:gd name="connsiteY2" fmla="*/ 19566 h 56527"/>
                  <a:gd name="connsiteX3" fmla="*/ 29299 w 38806"/>
                  <a:gd name="connsiteY3" fmla="*/ 29723 h 56527"/>
                  <a:gd name="connsiteX4" fmla="*/ 29801 w 38806"/>
                  <a:gd name="connsiteY4" fmla="*/ 29996 h 56527"/>
                  <a:gd name="connsiteX5" fmla="*/ 38806 w 38806"/>
                  <a:gd name="connsiteY5" fmla="*/ 31706 h 56527"/>
                  <a:gd name="connsiteX6" fmla="*/ 37609 w 38806"/>
                  <a:gd name="connsiteY6" fmla="*/ 32846 h 56527"/>
                  <a:gd name="connsiteX7" fmla="*/ 27236 w 38806"/>
                  <a:gd name="connsiteY7" fmla="*/ 46012 h 56527"/>
                  <a:gd name="connsiteX8" fmla="*/ 26609 w 38806"/>
                  <a:gd name="connsiteY8" fmla="*/ 56442 h 56527"/>
                  <a:gd name="connsiteX9" fmla="*/ 21480 w 38806"/>
                  <a:gd name="connsiteY9" fmla="*/ 56442 h 56527"/>
                  <a:gd name="connsiteX10" fmla="*/ 9283 w 38806"/>
                  <a:gd name="connsiteY10" fmla="*/ 52224 h 56527"/>
                  <a:gd name="connsiteX11" fmla="*/ 3583 w 38806"/>
                  <a:gd name="connsiteY11" fmla="*/ 40255 h 56527"/>
                  <a:gd name="connsiteX12" fmla="*/ 3128 w 38806"/>
                  <a:gd name="connsiteY12" fmla="*/ 34898 h 56527"/>
                  <a:gd name="connsiteX13" fmla="*/ 791 w 38806"/>
                  <a:gd name="connsiteY13" fmla="*/ 31991 h 56527"/>
                  <a:gd name="connsiteX14" fmla="*/ 107 w 38806"/>
                  <a:gd name="connsiteY14" fmla="*/ 27260 h 56527"/>
                  <a:gd name="connsiteX15" fmla="*/ 734 w 38806"/>
                  <a:gd name="connsiteY15" fmla="*/ 15007 h 56527"/>
                  <a:gd name="connsiteX16" fmla="*/ 1418 w 38806"/>
                  <a:gd name="connsiteY16" fmla="*/ 9877 h 56527"/>
                  <a:gd name="connsiteX17" fmla="*/ 17205 w 38806"/>
                  <a:gd name="connsiteY17" fmla="*/ 245 h 56527"/>
                  <a:gd name="connsiteX18" fmla="*/ 29744 w 38806"/>
                  <a:gd name="connsiteY18" fmla="*/ 644 h 5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806" h="56527">
                    <a:moveTo>
                      <a:pt x="29744" y="644"/>
                    </a:moveTo>
                    <a:cubicBezTo>
                      <a:pt x="31801" y="2542"/>
                      <a:pt x="33568" y="4731"/>
                      <a:pt x="34987" y="7141"/>
                    </a:cubicBezTo>
                    <a:cubicBezTo>
                      <a:pt x="38179" y="13183"/>
                      <a:pt x="32366" y="23499"/>
                      <a:pt x="26723" y="19566"/>
                    </a:cubicBezTo>
                    <a:cubicBezTo>
                      <a:pt x="24631" y="23083"/>
                      <a:pt x="25783" y="27631"/>
                      <a:pt x="29299" y="29723"/>
                    </a:cubicBezTo>
                    <a:cubicBezTo>
                      <a:pt x="29465" y="29820"/>
                      <a:pt x="29630" y="29911"/>
                      <a:pt x="29801" y="29996"/>
                    </a:cubicBezTo>
                    <a:cubicBezTo>
                      <a:pt x="32582" y="31398"/>
                      <a:pt x="35705" y="31991"/>
                      <a:pt x="38806" y="31706"/>
                    </a:cubicBezTo>
                    <a:lnTo>
                      <a:pt x="37609" y="32846"/>
                    </a:lnTo>
                    <a:cubicBezTo>
                      <a:pt x="33289" y="36482"/>
                      <a:pt x="29761" y="40962"/>
                      <a:pt x="27236" y="46012"/>
                    </a:cubicBezTo>
                    <a:cubicBezTo>
                      <a:pt x="25897" y="49329"/>
                      <a:pt x="25675" y="52988"/>
                      <a:pt x="26609" y="56442"/>
                    </a:cubicBezTo>
                    <a:cubicBezTo>
                      <a:pt x="24899" y="56556"/>
                      <a:pt x="23190" y="56556"/>
                      <a:pt x="21480" y="56442"/>
                    </a:cubicBezTo>
                    <a:cubicBezTo>
                      <a:pt x="17085" y="56271"/>
                      <a:pt x="12845" y="54800"/>
                      <a:pt x="9283" y="52224"/>
                    </a:cubicBezTo>
                    <a:cubicBezTo>
                      <a:pt x="5595" y="49357"/>
                      <a:pt x="3487" y="44923"/>
                      <a:pt x="3583" y="40255"/>
                    </a:cubicBezTo>
                    <a:cubicBezTo>
                      <a:pt x="3925" y="38460"/>
                      <a:pt x="3766" y="36608"/>
                      <a:pt x="3128" y="34898"/>
                    </a:cubicBezTo>
                    <a:cubicBezTo>
                      <a:pt x="2557" y="33815"/>
                      <a:pt x="1418" y="33074"/>
                      <a:pt x="791" y="31991"/>
                    </a:cubicBezTo>
                    <a:cubicBezTo>
                      <a:pt x="78" y="30521"/>
                      <a:pt x="-161" y="28868"/>
                      <a:pt x="107" y="27260"/>
                    </a:cubicBezTo>
                    <a:cubicBezTo>
                      <a:pt x="107" y="23157"/>
                      <a:pt x="506" y="19053"/>
                      <a:pt x="734" y="15007"/>
                    </a:cubicBezTo>
                    <a:cubicBezTo>
                      <a:pt x="728" y="13274"/>
                      <a:pt x="962" y="11547"/>
                      <a:pt x="1418" y="9877"/>
                    </a:cubicBezTo>
                    <a:cubicBezTo>
                      <a:pt x="3355" y="3608"/>
                      <a:pt x="10651" y="815"/>
                      <a:pt x="17205" y="245"/>
                    </a:cubicBezTo>
                    <a:cubicBezTo>
                      <a:pt x="21383" y="-182"/>
                      <a:pt x="25601" y="-51"/>
                      <a:pt x="29744" y="64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6" name="Freihandform: Form 352">
                <a:extLst>
                  <a:ext uri="{FF2B5EF4-FFF2-40B4-BE49-F238E27FC236}">
                    <a16:creationId xmlns:a16="http://schemas.microsoft.com/office/drawing/2014/main" id="{2738EF7F-8C74-4064-C88A-A014CD338B34}"/>
                  </a:ext>
                </a:extLst>
              </p:cNvPr>
              <p:cNvSpPr/>
              <p:nvPr/>
            </p:nvSpPr>
            <p:spPr>
              <a:xfrm>
                <a:off x="4551382" y="3820843"/>
                <a:ext cx="140427" cy="133937"/>
              </a:xfrm>
              <a:custGeom>
                <a:avLst/>
                <a:gdLst>
                  <a:gd name="connsiteX0" fmla="*/ 39946 w 140427"/>
                  <a:gd name="connsiteY0" fmla="*/ 0 h 133937"/>
                  <a:gd name="connsiteX1" fmla="*/ 67817 w 140427"/>
                  <a:gd name="connsiteY1" fmla="*/ 43031 h 133937"/>
                  <a:gd name="connsiteX2" fmla="*/ 71122 w 140427"/>
                  <a:gd name="connsiteY2" fmla="*/ 49129 h 133937"/>
                  <a:gd name="connsiteX3" fmla="*/ 104749 w 140427"/>
                  <a:gd name="connsiteY3" fmla="*/ 95181 h 133937"/>
                  <a:gd name="connsiteX4" fmla="*/ 120309 w 140427"/>
                  <a:gd name="connsiteY4" fmla="*/ 106580 h 133937"/>
                  <a:gd name="connsiteX5" fmla="*/ 129998 w 140427"/>
                  <a:gd name="connsiteY5" fmla="*/ 116041 h 133937"/>
                  <a:gd name="connsiteX6" fmla="*/ 132848 w 140427"/>
                  <a:gd name="connsiteY6" fmla="*/ 124534 h 133937"/>
                  <a:gd name="connsiteX7" fmla="*/ 140428 w 140427"/>
                  <a:gd name="connsiteY7" fmla="*/ 133938 h 133937"/>
                  <a:gd name="connsiteX8" fmla="*/ 128117 w 140427"/>
                  <a:gd name="connsiteY8" fmla="*/ 133311 h 133937"/>
                  <a:gd name="connsiteX9" fmla="*/ 125267 w 140427"/>
                  <a:gd name="connsiteY9" fmla="*/ 133710 h 133937"/>
                  <a:gd name="connsiteX10" fmla="*/ 85371 w 140427"/>
                  <a:gd name="connsiteY10" fmla="*/ 94440 h 133937"/>
                  <a:gd name="connsiteX11" fmla="*/ 81381 w 140427"/>
                  <a:gd name="connsiteY11" fmla="*/ 90565 h 133937"/>
                  <a:gd name="connsiteX12" fmla="*/ 74314 w 140427"/>
                  <a:gd name="connsiteY12" fmla="*/ 90280 h 133937"/>
                  <a:gd name="connsiteX13" fmla="*/ 57558 w 140427"/>
                  <a:gd name="connsiteY13" fmla="*/ 85378 h 133937"/>
                  <a:gd name="connsiteX14" fmla="*/ 52542 w 140427"/>
                  <a:gd name="connsiteY14" fmla="*/ 83212 h 133937"/>
                  <a:gd name="connsiteX15" fmla="*/ 46045 w 140427"/>
                  <a:gd name="connsiteY15" fmla="*/ 88912 h 133937"/>
                  <a:gd name="connsiteX16" fmla="*/ 35728 w 140427"/>
                  <a:gd name="connsiteY16" fmla="*/ 80989 h 133937"/>
                  <a:gd name="connsiteX17" fmla="*/ 29288 w 140427"/>
                  <a:gd name="connsiteY17" fmla="*/ 84238 h 133937"/>
                  <a:gd name="connsiteX18" fmla="*/ 27806 w 140427"/>
                  <a:gd name="connsiteY18" fmla="*/ 91762 h 133937"/>
                  <a:gd name="connsiteX19" fmla="*/ 12589 w 140427"/>
                  <a:gd name="connsiteY19" fmla="*/ 93984 h 133937"/>
                  <a:gd name="connsiteX20" fmla="*/ 8029 w 140427"/>
                  <a:gd name="connsiteY20" fmla="*/ 96264 h 133937"/>
                  <a:gd name="connsiteX21" fmla="*/ 506 w 140427"/>
                  <a:gd name="connsiteY21" fmla="*/ 85720 h 133937"/>
                  <a:gd name="connsiteX22" fmla="*/ 4723 w 140427"/>
                  <a:gd name="connsiteY22" fmla="*/ 54658 h 133937"/>
                  <a:gd name="connsiteX23" fmla="*/ 7516 w 140427"/>
                  <a:gd name="connsiteY23" fmla="*/ 48958 h 133937"/>
                  <a:gd name="connsiteX24" fmla="*/ 10252 w 140427"/>
                  <a:gd name="connsiteY24" fmla="*/ 35964 h 133937"/>
                  <a:gd name="connsiteX25" fmla="*/ 19998 w 140427"/>
                  <a:gd name="connsiteY25" fmla="*/ 29010 h 133937"/>
                  <a:gd name="connsiteX26" fmla="*/ 21708 w 140427"/>
                  <a:gd name="connsiteY26" fmla="*/ 20518 h 133937"/>
                  <a:gd name="connsiteX27" fmla="*/ 29858 w 140427"/>
                  <a:gd name="connsiteY27" fmla="*/ 15388 h 133937"/>
                  <a:gd name="connsiteX28" fmla="*/ 39946 w 140427"/>
                  <a:gd name="connsiteY28" fmla="*/ 0 h 133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0427" h="133937">
                    <a:moveTo>
                      <a:pt x="39946" y="0"/>
                    </a:moveTo>
                    <a:cubicBezTo>
                      <a:pt x="50416" y="13548"/>
                      <a:pt x="59735" y="27939"/>
                      <a:pt x="67817" y="43031"/>
                    </a:cubicBezTo>
                    <a:lnTo>
                      <a:pt x="71122" y="49129"/>
                    </a:lnTo>
                    <a:cubicBezTo>
                      <a:pt x="80583" y="65715"/>
                      <a:pt x="90330" y="82699"/>
                      <a:pt x="104749" y="95181"/>
                    </a:cubicBezTo>
                    <a:cubicBezTo>
                      <a:pt x="109713" y="99273"/>
                      <a:pt x="114906" y="103081"/>
                      <a:pt x="120309" y="106580"/>
                    </a:cubicBezTo>
                    <a:cubicBezTo>
                      <a:pt x="124299" y="108848"/>
                      <a:pt x="127638" y="112103"/>
                      <a:pt x="129998" y="116041"/>
                    </a:cubicBezTo>
                    <a:cubicBezTo>
                      <a:pt x="131309" y="118720"/>
                      <a:pt x="131651" y="121741"/>
                      <a:pt x="132848" y="124534"/>
                    </a:cubicBezTo>
                    <a:cubicBezTo>
                      <a:pt x="134797" y="128096"/>
                      <a:pt x="137362" y="131276"/>
                      <a:pt x="140428" y="133938"/>
                    </a:cubicBezTo>
                    <a:cubicBezTo>
                      <a:pt x="136370" y="133185"/>
                      <a:pt x="132232" y="132974"/>
                      <a:pt x="128117" y="133311"/>
                    </a:cubicBezTo>
                    <a:lnTo>
                      <a:pt x="125267" y="133710"/>
                    </a:lnTo>
                    <a:cubicBezTo>
                      <a:pt x="109947" y="122846"/>
                      <a:pt x="96474" y="109589"/>
                      <a:pt x="85371" y="94440"/>
                    </a:cubicBezTo>
                    <a:cubicBezTo>
                      <a:pt x="84379" y="92839"/>
                      <a:pt x="83011" y="91505"/>
                      <a:pt x="81381" y="90565"/>
                    </a:cubicBezTo>
                    <a:cubicBezTo>
                      <a:pt x="79090" y="89841"/>
                      <a:pt x="76651" y="89744"/>
                      <a:pt x="74314" y="90280"/>
                    </a:cubicBezTo>
                    <a:cubicBezTo>
                      <a:pt x="68318" y="90724"/>
                      <a:pt x="62368" y="88986"/>
                      <a:pt x="57558" y="85378"/>
                    </a:cubicBezTo>
                    <a:cubicBezTo>
                      <a:pt x="56076" y="84238"/>
                      <a:pt x="54366" y="82813"/>
                      <a:pt x="52542" y="83212"/>
                    </a:cubicBezTo>
                    <a:cubicBezTo>
                      <a:pt x="49635" y="83782"/>
                      <a:pt x="48894" y="88228"/>
                      <a:pt x="46045" y="88912"/>
                    </a:cubicBezTo>
                    <a:cubicBezTo>
                      <a:pt x="41656" y="90223"/>
                      <a:pt x="40345" y="82357"/>
                      <a:pt x="35728" y="80989"/>
                    </a:cubicBezTo>
                    <a:cubicBezTo>
                      <a:pt x="33084" y="80402"/>
                      <a:pt x="30388" y="81759"/>
                      <a:pt x="29288" y="84238"/>
                    </a:cubicBezTo>
                    <a:cubicBezTo>
                      <a:pt x="28228" y="86604"/>
                      <a:pt x="27726" y="89174"/>
                      <a:pt x="27806" y="91762"/>
                    </a:cubicBezTo>
                    <a:cubicBezTo>
                      <a:pt x="22648" y="90331"/>
                      <a:pt x="17126" y="91135"/>
                      <a:pt x="12589" y="93984"/>
                    </a:cubicBezTo>
                    <a:cubicBezTo>
                      <a:pt x="11244" y="95056"/>
                      <a:pt x="9693" y="95831"/>
                      <a:pt x="8029" y="96264"/>
                    </a:cubicBezTo>
                    <a:cubicBezTo>
                      <a:pt x="3242" y="96948"/>
                      <a:pt x="905" y="90565"/>
                      <a:pt x="506" y="85720"/>
                    </a:cubicBezTo>
                    <a:cubicBezTo>
                      <a:pt x="-874" y="75176"/>
                      <a:pt x="580" y="64455"/>
                      <a:pt x="4723" y="54658"/>
                    </a:cubicBezTo>
                    <a:cubicBezTo>
                      <a:pt x="5761" y="52811"/>
                      <a:pt x="6695" y="50908"/>
                      <a:pt x="7516" y="48958"/>
                    </a:cubicBezTo>
                    <a:cubicBezTo>
                      <a:pt x="9055" y="44798"/>
                      <a:pt x="8884" y="40181"/>
                      <a:pt x="10252" y="35964"/>
                    </a:cubicBezTo>
                    <a:cubicBezTo>
                      <a:pt x="11620" y="31746"/>
                      <a:pt x="15951" y="27756"/>
                      <a:pt x="19998" y="29010"/>
                    </a:cubicBezTo>
                    <a:cubicBezTo>
                      <a:pt x="18323" y="26155"/>
                      <a:pt x="19058" y="22502"/>
                      <a:pt x="21708" y="20518"/>
                    </a:cubicBezTo>
                    <a:cubicBezTo>
                      <a:pt x="24102" y="18409"/>
                      <a:pt x="27407" y="17326"/>
                      <a:pt x="29858" y="15388"/>
                    </a:cubicBezTo>
                    <a:cubicBezTo>
                      <a:pt x="34372" y="11114"/>
                      <a:pt x="37826" y="5848"/>
                      <a:pt x="39946"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7" name="Freihandform: Form 353">
                <a:extLst>
                  <a:ext uri="{FF2B5EF4-FFF2-40B4-BE49-F238E27FC236}">
                    <a16:creationId xmlns:a16="http://schemas.microsoft.com/office/drawing/2014/main" id="{0E2BEEB7-4217-3E7C-A765-216F582DAF8E}"/>
                  </a:ext>
                </a:extLst>
              </p:cNvPr>
              <p:cNvSpPr/>
              <p:nvPr/>
            </p:nvSpPr>
            <p:spPr>
              <a:xfrm>
                <a:off x="4473513" y="3901981"/>
                <a:ext cx="321457" cy="273997"/>
              </a:xfrm>
              <a:custGeom>
                <a:avLst/>
                <a:gdLst>
                  <a:gd name="connsiteX0" fmla="*/ 74043 w 321457"/>
                  <a:gd name="connsiteY0" fmla="*/ 38493 h 273997"/>
                  <a:gd name="connsiteX1" fmla="*/ 83048 w 321457"/>
                  <a:gd name="connsiteY1" fmla="*/ 14727 h 273997"/>
                  <a:gd name="connsiteX2" fmla="*/ 86183 w 321457"/>
                  <a:gd name="connsiteY2" fmla="*/ 15411 h 273997"/>
                  <a:gd name="connsiteX3" fmla="*/ 90743 w 321457"/>
                  <a:gd name="connsiteY3" fmla="*/ 13131 h 273997"/>
                  <a:gd name="connsiteX4" fmla="*/ 105960 w 321457"/>
                  <a:gd name="connsiteY4" fmla="*/ 10908 h 273997"/>
                  <a:gd name="connsiteX5" fmla="*/ 107442 w 321457"/>
                  <a:gd name="connsiteY5" fmla="*/ 3385 h 273997"/>
                  <a:gd name="connsiteX6" fmla="*/ 113882 w 321457"/>
                  <a:gd name="connsiteY6" fmla="*/ 136 h 273997"/>
                  <a:gd name="connsiteX7" fmla="*/ 124198 w 321457"/>
                  <a:gd name="connsiteY7" fmla="*/ 8058 h 273997"/>
                  <a:gd name="connsiteX8" fmla="*/ 130696 w 321457"/>
                  <a:gd name="connsiteY8" fmla="*/ 2359 h 273997"/>
                  <a:gd name="connsiteX9" fmla="*/ 135711 w 321457"/>
                  <a:gd name="connsiteY9" fmla="*/ 4525 h 273997"/>
                  <a:gd name="connsiteX10" fmla="*/ 152468 w 321457"/>
                  <a:gd name="connsiteY10" fmla="*/ 9426 h 273997"/>
                  <a:gd name="connsiteX11" fmla="*/ 159535 w 321457"/>
                  <a:gd name="connsiteY11" fmla="*/ 9711 h 273997"/>
                  <a:gd name="connsiteX12" fmla="*/ 163525 w 321457"/>
                  <a:gd name="connsiteY12" fmla="*/ 13587 h 273997"/>
                  <a:gd name="connsiteX13" fmla="*/ 203421 w 321457"/>
                  <a:gd name="connsiteY13" fmla="*/ 52856 h 273997"/>
                  <a:gd name="connsiteX14" fmla="*/ 190483 w 321457"/>
                  <a:gd name="connsiteY14" fmla="*/ 62089 h 273997"/>
                  <a:gd name="connsiteX15" fmla="*/ 189799 w 321457"/>
                  <a:gd name="connsiteY15" fmla="*/ 67219 h 273997"/>
                  <a:gd name="connsiteX16" fmla="*/ 189172 w 321457"/>
                  <a:gd name="connsiteY16" fmla="*/ 79473 h 273997"/>
                  <a:gd name="connsiteX17" fmla="*/ 189856 w 321457"/>
                  <a:gd name="connsiteY17" fmla="*/ 84203 h 273997"/>
                  <a:gd name="connsiteX18" fmla="*/ 192193 w 321457"/>
                  <a:gd name="connsiteY18" fmla="*/ 87110 h 273997"/>
                  <a:gd name="connsiteX19" fmla="*/ 192649 w 321457"/>
                  <a:gd name="connsiteY19" fmla="*/ 92467 h 273997"/>
                  <a:gd name="connsiteX20" fmla="*/ 198348 w 321457"/>
                  <a:gd name="connsiteY20" fmla="*/ 104436 h 273997"/>
                  <a:gd name="connsiteX21" fmla="*/ 210545 w 321457"/>
                  <a:gd name="connsiteY21" fmla="*/ 108654 h 273997"/>
                  <a:gd name="connsiteX22" fmla="*/ 215675 w 321457"/>
                  <a:gd name="connsiteY22" fmla="*/ 108654 h 273997"/>
                  <a:gd name="connsiteX23" fmla="*/ 218981 w 321457"/>
                  <a:gd name="connsiteY23" fmla="*/ 113840 h 273997"/>
                  <a:gd name="connsiteX24" fmla="*/ 222913 w 321457"/>
                  <a:gd name="connsiteY24" fmla="*/ 117260 h 273997"/>
                  <a:gd name="connsiteX25" fmla="*/ 225877 w 321457"/>
                  <a:gd name="connsiteY25" fmla="*/ 124726 h 273997"/>
                  <a:gd name="connsiteX26" fmla="*/ 230892 w 321457"/>
                  <a:gd name="connsiteY26" fmla="*/ 125809 h 273997"/>
                  <a:gd name="connsiteX27" fmla="*/ 248390 w 321457"/>
                  <a:gd name="connsiteY27" fmla="*/ 140229 h 273997"/>
                  <a:gd name="connsiteX28" fmla="*/ 257167 w 321457"/>
                  <a:gd name="connsiteY28" fmla="*/ 140913 h 273997"/>
                  <a:gd name="connsiteX29" fmla="*/ 261100 w 321457"/>
                  <a:gd name="connsiteY29" fmla="*/ 145358 h 273997"/>
                  <a:gd name="connsiteX30" fmla="*/ 280706 w 321457"/>
                  <a:gd name="connsiteY30" fmla="*/ 151799 h 273997"/>
                  <a:gd name="connsiteX31" fmla="*/ 287260 w 321457"/>
                  <a:gd name="connsiteY31" fmla="*/ 157498 h 273997"/>
                  <a:gd name="connsiteX32" fmla="*/ 321457 w 321457"/>
                  <a:gd name="connsiteY32" fmla="*/ 167131 h 273997"/>
                  <a:gd name="connsiteX33" fmla="*/ 304815 w 321457"/>
                  <a:gd name="connsiteY33" fmla="*/ 191068 h 273997"/>
                  <a:gd name="connsiteX34" fmla="*/ 296550 w 321457"/>
                  <a:gd name="connsiteY34" fmla="*/ 194203 h 273997"/>
                  <a:gd name="connsiteX35" fmla="*/ 290566 w 321457"/>
                  <a:gd name="connsiteY35" fmla="*/ 200700 h 273997"/>
                  <a:gd name="connsiteX36" fmla="*/ 267255 w 321457"/>
                  <a:gd name="connsiteY36" fmla="*/ 227032 h 273997"/>
                  <a:gd name="connsiteX37" fmla="*/ 234255 w 321457"/>
                  <a:gd name="connsiteY37" fmla="*/ 235752 h 273997"/>
                  <a:gd name="connsiteX38" fmla="*/ 227530 w 321457"/>
                  <a:gd name="connsiteY38" fmla="*/ 243674 h 273997"/>
                  <a:gd name="connsiteX39" fmla="*/ 216701 w 321457"/>
                  <a:gd name="connsiteY39" fmla="*/ 247436 h 273997"/>
                  <a:gd name="connsiteX40" fmla="*/ 213794 w 321457"/>
                  <a:gd name="connsiteY40" fmla="*/ 251654 h 273997"/>
                  <a:gd name="connsiteX41" fmla="*/ 194758 w 321457"/>
                  <a:gd name="connsiteY41" fmla="*/ 253078 h 273997"/>
                  <a:gd name="connsiteX42" fmla="*/ 193504 w 321457"/>
                  <a:gd name="connsiteY42" fmla="*/ 256726 h 273997"/>
                  <a:gd name="connsiteX43" fmla="*/ 186209 w 321457"/>
                  <a:gd name="connsiteY43" fmla="*/ 255016 h 273997"/>
                  <a:gd name="connsiteX44" fmla="*/ 178286 w 321457"/>
                  <a:gd name="connsiteY44" fmla="*/ 250628 h 273997"/>
                  <a:gd name="connsiteX45" fmla="*/ 162841 w 321457"/>
                  <a:gd name="connsiteY45" fmla="*/ 256327 h 273997"/>
                  <a:gd name="connsiteX46" fmla="*/ 153835 w 321457"/>
                  <a:gd name="connsiteY46" fmla="*/ 261343 h 273997"/>
                  <a:gd name="connsiteX47" fmla="*/ 153835 w 321457"/>
                  <a:gd name="connsiteY47" fmla="*/ 265446 h 273997"/>
                  <a:gd name="connsiteX48" fmla="*/ 146882 w 321457"/>
                  <a:gd name="connsiteY48" fmla="*/ 266529 h 273997"/>
                  <a:gd name="connsiteX49" fmla="*/ 141451 w 321457"/>
                  <a:gd name="connsiteY49" fmla="*/ 272485 h 273997"/>
                  <a:gd name="connsiteX50" fmla="*/ 141468 w 321457"/>
                  <a:gd name="connsiteY50" fmla="*/ 272742 h 273997"/>
                  <a:gd name="connsiteX51" fmla="*/ 128587 w 321457"/>
                  <a:gd name="connsiteY51" fmla="*/ 273882 h 273997"/>
                  <a:gd name="connsiteX52" fmla="*/ 124141 w 321457"/>
                  <a:gd name="connsiteY52" fmla="*/ 273426 h 273997"/>
                  <a:gd name="connsiteX53" fmla="*/ 121007 w 321457"/>
                  <a:gd name="connsiteY53" fmla="*/ 269721 h 273997"/>
                  <a:gd name="connsiteX54" fmla="*/ 108240 w 321457"/>
                  <a:gd name="connsiteY54" fmla="*/ 265218 h 273997"/>
                  <a:gd name="connsiteX55" fmla="*/ 103452 w 321457"/>
                  <a:gd name="connsiteY55" fmla="*/ 259861 h 273997"/>
                  <a:gd name="connsiteX56" fmla="*/ 95587 w 321457"/>
                  <a:gd name="connsiteY56" fmla="*/ 258208 h 273997"/>
                  <a:gd name="connsiteX57" fmla="*/ 92224 w 321457"/>
                  <a:gd name="connsiteY57" fmla="*/ 247892 h 273997"/>
                  <a:gd name="connsiteX58" fmla="*/ 68058 w 321457"/>
                  <a:gd name="connsiteY58" fmla="*/ 245099 h 273997"/>
                  <a:gd name="connsiteX59" fmla="*/ 63727 w 321457"/>
                  <a:gd name="connsiteY59" fmla="*/ 240483 h 273997"/>
                  <a:gd name="connsiteX60" fmla="*/ 59851 w 321457"/>
                  <a:gd name="connsiteY60" fmla="*/ 237747 h 273997"/>
                  <a:gd name="connsiteX61" fmla="*/ 63499 w 321457"/>
                  <a:gd name="connsiteY61" fmla="*/ 224467 h 273997"/>
                  <a:gd name="connsiteX62" fmla="*/ 36597 w 321457"/>
                  <a:gd name="connsiteY62" fmla="*/ 197395 h 273997"/>
                  <a:gd name="connsiteX63" fmla="*/ 29359 w 321457"/>
                  <a:gd name="connsiteY63" fmla="*/ 188333 h 273997"/>
                  <a:gd name="connsiteX64" fmla="*/ 20126 w 321457"/>
                  <a:gd name="connsiteY64" fmla="*/ 183374 h 273997"/>
                  <a:gd name="connsiteX65" fmla="*/ 14426 w 321457"/>
                  <a:gd name="connsiteY65" fmla="*/ 169410 h 273997"/>
                  <a:gd name="connsiteX66" fmla="*/ 8271 w 321457"/>
                  <a:gd name="connsiteY66" fmla="*/ 168099 h 273997"/>
                  <a:gd name="connsiteX67" fmla="*/ 406 w 321457"/>
                  <a:gd name="connsiteY67" fmla="*/ 161773 h 273997"/>
                  <a:gd name="connsiteX68" fmla="*/ 3996 w 321457"/>
                  <a:gd name="connsiteY68" fmla="*/ 152825 h 273997"/>
                  <a:gd name="connsiteX69" fmla="*/ 9696 w 321457"/>
                  <a:gd name="connsiteY69" fmla="*/ 151970 h 273997"/>
                  <a:gd name="connsiteX70" fmla="*/ 26395 w 321457"/>
                  <a:gd name="connsiteY70" fmla="*/ 144219 h 273997"/>
                  <a:gd name="connsiteX71" fmla="*/ 29188 w 321457"/>
                  <a:gd name="connsiteY71" fmla="*/ 126550 h 273997"/>
                  <a:gd name="connsiteX72" fmla="*/ 26623 w 321457"/>
                  <a:gd name="connsiteY72" fmla="*/ 119882 h 273997"/>
                  <a:gd name="connsiteX73" fmla="*/ 30670 w 321457"/>
                  <a:gd name="connsiteY73" fmla="*/ 111561 h 273997"/>
                  <a:gd name="connsiteX74" fmla="*/ 33748 w 321457"/>
                  <a:gd name="connsiteY74" fmla="*/ 102328 h 273997"/>
                  <a:gd name="connsiteX75" fmla="*/ 40758 w 321457"/>
                  <a:gd name="connsiteY75" fmla="*/ 96628 h 273997"/>
                  <a:gd name="connsiteX76" fmla="*/ 43266 w 321457"/>
                  <a:gd name="connsiteY76" fmla="*/ 81524 h 273997"/>
                  <a:gd name="connsiteX77" fmla="*/ 48965 w 321457"/>
                  <a:gd name="connsiteY77" fmla="*/ 66820 h 273997"/>
                  <a:gd name="connsiteX78" fmla="*/ 56716 w 321457"/>
                  <a:gd name="connsiteY78" fmla="*/ 63229 h 273997"/>
                  <a:gd name="connsiteX79" fmla="*/ 62416 w 321457"/>
                  <a:gd name="connsiteY79" fmla="*/ 52799 h 273997"/>
                  <a:gd name="connsiteX80" fmla="*/ 72105 w 321457"/>
                  <a:gd name="connsiteY80" fmla="*/ 44820 h 273997"/>
                  <a:gd name="connsiteX81" fmla="*/ 74043 w 321457"/>
                  <a:gd name="connsiteY81" fmla="*/ 38493 h 27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21457" h="273997">
                    <a:moveTo>
                      <a:pt x="74043" y="38493"/>
                    </a:moveTo>
                    <a:cubicBezTo>
                      <a:pt x="76089" y="30241"/>
                      <a:pt x="79110" y="22261"/>
                      <a:pt x="83048" y="14727"/>
                    </a:cubicBezTo>
                    <a:cubicBezTo>
                      <a:pt x="83971" y="15331"/>
                      <a:pt x="85089" y="15576"/>
                      <a:pt x="86183" y="15411"/>
                    </a:cubicBezTo>
                    <a:cubicBezTo>
                      <a:pt x="87847" y="14977"/>
                      <a:pt x="89397" y="14202"/>
                      <a:pt x="90743" y="13131"/>
                    </a:cubicBezTo>
                    <a:cubicBezTo>
                      <a:pt x="95279" y="10281"/>
                      <a:pt x="100802" y="9477"/>
                      <a:pt x="105960" y="10908"/>
                    </a:cubicBezTo>
                    <a:cubicBezTo>
                      <a:pt x="105880" y="8320"/>
                      <a:pt x="106382" y="5750"/>
                      <a:pt x="107442" y="3385"/>
                    </a:cubicBezTo>
                    <a:cubicBezTo>
                      <a:pt x="108542" y="905"/>
                      <a:pt x="111238" y="-451"/>
                      <a:pt x="113882" y="136"/>
                    </a:cubicBezTo>
                    <a:cubicBezTo>
                      <a:pt x="118271" y="1504"/>
                      <a:pt x="119582" y="9369"/>
                      <a:pt x="124198" y="8058"/>
                    </a:cubicBezTo>
                    <a:cubicBezTo>
                      <a:pt x="127048" y="7260"/>
                      <a:pt x="127789" y="2815"/>
                      <a:pt x="130696" y="2359"/>
                    </a:cubicBezTo>
                    <a:cubicBezTo>
                      <a:pt x="132519" y="1960"/>
                      <a:pt x="134229" y="3385"/>
                      <a:pt x="135711" y="4525"/>
                    </a:cubicBezTo>
                    <a:cubicBezTo>
                      <a:pt x="140521" y="8132"/>
                      <a:pt x="146472" y="9871"/>
                      <a:pt x="152468" y="9426"/>
                    </a:cubicBezTo>
                    <a:cubicBezTo>
                      <a:pt x="154805" y="8890"/>
                      <a:pt x="157244" y="8987"/>
                      <a:pt x="159535" y="9711"/>
                    </a:cubicBezTo>
                    <a:cubicBezTo>
                      <a:pt x="161165" y="10651"/>
                      <a:pt x="162533" y="11985"/>
                      <a:pt x="163525" y="13587"/>
                    </a:cubicBezTo>
                    <a:cubicBezTo>
                      <a:pt x="174627" y="28736"/>
                      <a:pt x="188101" y="41993"/>
                      <a:pt x="203421" y="52856"/>
                    </a:cubicBezTo>
                    <a:cubicBezTo>
                      <a:pt x="197750" y="53346"/>
                      <a:pt x="192791" y="56880"/>
                      <a:pt x="190483" y="62089"/>
                    </a:cubicBezTo>
                    <a:cubicBezTo>
                      <a:pt x="190027" y="63759"/>
                      <a:pt x="189793" y="65486"/>
                      <a:pt x="189799" y="67219"/>
                    </a:cubicBezTo>
                    <a:cubicBezTo>
                      <a:pt x="189799" y="71265"/>
                      <a:pt x="189343" y="75369"/>
                      <a:pt x="189172" y="79473"/>
                    </a:cubicBezTo>
                    <a:cubicBezTo>
                      <a:pt x="188904" y="81080"/>
                      <a:pt x="189144" y="82733"/>
                      <a:pt x="189856" y="84203"/>
                    </a:cubicBezTo>
                    <a:cubicBezTo>
                      <a:pt x="190483" y="85286"/>
                      <a:pt x="191623" y="86027"/>
                      <a:pt x="192193" y="87110"/>
                    </a:cubicBezTo>
                    <a:cubicBezTo>
                      <a:pt x="192831" y="88820"/>
                      <a:pt x="192991" y="90672"/>
                      <a:pt x="192649" y="92467"/>
                    </a:cubicBezTo>
                    <a:cubicBezTo>
                      <a:pt x="192552" y="97135"/>
                      <a:pt x="194661" y="101570"/>
                      <a:pt x="198348" y="104436"/>
                    </a:cubicBezTo>
                    <a:cubicBezTo>
                      <a:pt x="201910" y="107012"/>
                      <a:pt x="206151" y="108483"/>
                      <a:pt x="210545" y="108654"/>
                    </a:cubicBezTo>
                    <a:cubicBezTo>
                      <a:pt x="212255" y="108768"/>
                      <a:pt x="213965" y="108768"/>
                      <a:pt x="215675" y="108654"/>
                    </a:cubicBezTo>
                    <a:cubicBezTo>
                      <a:pt x="216279" y="110654"/>
                      <a:pt x="217425" y="112450"/>
                      <a:pt x="218981" y="113840"/>
                    </a:cubicBezTo>
                    <a:cubicBezTo>
                      <a:pt x="220468" y="114764"/>
                      <a:pt x="221796" y="115915"/>
                      <a:pt x="222913" y="117260"/>
                    </a:cubicBezTo>
                    <a:cubicBezTo>
                      <a:pt x="224338" y="119597"/>
                      <a:pt x="223654" y="122960"/>
                      <a:pt x="225877" y="124726"/>
                    </a:cubicBezTo>
                    <a:cubicBezTo>
                      <a:pt x="227444" y="125462"/>
                      <a:pt x="229160" y="125832"/>
                      <a:pt x="230892" y="125809"/>
                    </a:cubicBezTo>
                    <a:cubicBezTo>
                      <a:pt x="238530" y="127177"/>
                      <a:pt x="240696" y="138975"/>
                      <a:pt x="248390" y="140229"/>
                    </a:cubicBezTo>
                    <a:cubicBezTo>
                      <a:pt x="251297" y="140685"/>
                      <a:pt x="254602" y="139431"/>
                      <a:pt x="257167" y="140913"/>
                    </a:cubicBezTo>
                    <a:cubicBezTo>
                      <a:pt x="259732" y="142395"/>
                      <a:pt x="259789" y="143877"/>
                      <a:pt x="261100" y="145358"/>
                    </a:cubicBezTo>
                    <a:cubicBezTo>
                      <a:pt x="265830" y="150545"/>
                      <a:pt x="274551" y="148436"/>
                      <a:pt x="280706" y="151799"/>
                    </a:cubicBezTo>
                    <a:cubicBezTo>
                      <a:pt x="283117" y="153423"/>
                      <a:pt x="285317" y="155338"/>
                      <a:pt x="287260" y="157498"/>
                    </a:cubicBezTo>
                    <a:cubicBezTo>
                      <a:pt x="296522" y="165888"/>
                      <a:pt x="309180" y="169450"/>
                      <a:pt x="321457" y="167131"/>
                    </a:cubicBezTo>
                    <a:cubicBezTo>
                      <a:pt x="321297" y="177754"/>
                      <a:pt x="314715" y="187221"/>
                      <a:pt x="304815" y="191068"/>
                    </a:cubicBezTo>
                    <a:cubicBezTo>
                      <a:pt x="301954" y="191815"/>
                      <a:pt x="299183" y="192864"/>
                      <a:pt x="296550" y="194203"/>
                    </a:cubicBezTo>
                    <a:cubicBezTo>
                      <a:pt x="294156" y="195964"/>
                      <a:pt x="292128" y="198170"/>
                      <a:pt x="290566" y="200700"/>
                    </a:cubicBezTo>
                    <a:cubicBezTo>
                      <a:pt x="284182" y="210612"/>
                      <a:pt x="276323" y="219492"/>
                      <a:pt x="267255" y="227032"/>
                    </a:cubicBezTo>
                    <a:cubicBezTo>
                      <a:pt x="258045" y="234595"/>
                      <a:pt x="246002" y="237775"/>
                      <a:pt x="234255" y="235752"/>
                    </a:cubicBezTo>
                    <a:cubicBezTo>
                      <a:pt x="235452" y="239457"/>
                      <a:pt x="231291" y="242762"/>
                      <a:pt x="227530" y="243674"/>
                    </a:cubicBezTo>
                    <a:cubicBezTo>
                      <a:pt x="223631" y="243851"/>
                      <a:pt x="219869" y="245156"/>
                      <a:pt x="216701" y="247436"/>
                    </a:cubicBezTo>
                    <a:cubicBezTo>
                      <a:pt x="215504" y="248690"/>
                      <a:pt x="214877" y="250343"/>
                      <a:pt x="213794" y="251654"/>
                    </a:cubicBezTo>
                    <a:cubicBezTo>
                      <a:pt x="209519" y="256897"/>
                      <a:pt x="201198" y="255244"/>
                      <a:pt x="194758" y="253078"/>
                    </a:cubicBezTo>
                    <a:cubicBezTo>
                      <a:pt x="194524" y="254350"/>
                      <a:pt x="194097" y="255581"/>
                      <a:pt x="193504" y="256726"/>
                    </a:cubicBezTo>
                    <a:cubicBezTo>
                      <a:pt x="190939" y="257205"/>
                      <a:pt x="188295" y="256584"/>
                      <a:pt x="186209" y="255016"/>
                    </a:cubicBezTo>
                    <a:cubicBezTo>
                      <a:pt x="183889" y="253039"/>
                      <a:pt x="181193" y="251545"/>
                      <a:pt x="178286" y="250628"/>
                    </a:cubicBezTo>
                    <a:cubicBezTo>
                      <a:pt x="172587" y="249716"/>
                      <a:pt x="168255" y="254788"/>
                      <a:pt x="162841" y="256327"/>
                    </a:cubicBezTo>
                    <a:cubicBezTo>
                      <a:pt x="159307" y="257296"/>
                      <a:pt x="154234" y="257638"/>
                      <a:pt x="153835" y="261343"/>
                    </a:cubicBezTo>
                    <a:cubicBezTo>
                      <a:pt x="153835" y="262711"/>
                      <a:pt x="154406" y="264193"/>
                      <a:pt x="153835" y="265446"/>
                    </a:cubicBezTo>
                    <a:cubicBezTo>
                      <a:pt x="152752" y="267669"/>
                      <a:pt x="149390" y="266472"/>
                      <a:pt x="146882" y="266529"/>
                    </a:cubicBezTo>
                    <a:cubicBezTo>
                      <a:pt x="143736" y="266672"/>
                      <a:pt x="141308" y="269339"/>
                      <a:pt x="141451" y="272485"/>
                    </a:cubicBezTo>
                    <a:cubicBezTo>
                      <a:pt x="141456" y="272571"/>
                      <a:pt x="141462" y="272656"/>
                      <a:pt x="141468" y="272742"/>
                    </a:cubicBezTo>
                    <a:lnTo>
                      <a:pt x="128587" y="273882"/>
                    </a:lnTo>
                    <a:cubicBezTo>
                      <a:pt x="127094" y="274132"/>
                      <a:pt x="125555" y="273973"/>
                      <a:pt x="124141" y="273426"/>
                    </a:cubicBezTo>
                    <a:cubicBezTo>
                      <a:pt x="122842" y="272428"/>
                      <a:pt x="121770" y="271169"/>
                      <a:pt x="121007" y="269721"/>
                    </a:cubicBezTo>
                    <a:cubicBezTo>
                      <a:pt x="118043" y="265794"/>
                      <a:pt x="113016" y="264022"/>
                      <a:pt x="108240" y="265218"/>
                    </a:cubicBezTo>
                    <a:cubicBezTo>
                      <a:pt x="109038" y="262654"/>
                      <a:pt x="106131" y="260374"/>
                      <a:pt x="103452" y="259861"/>
                    </a:cubicBezTo>
                    <a:cubicBezTo>
                      <a:pt x="100751" y="259827"/>
                      <a:pt x="98078" y="259263"/>
                      <a:pt x="95587" y="258208"/>
                    </a:cubicBezTo>
                    <a:cubicBezTo>
                      <a:pt x="92395" y="256099"/>
                      <a:pt x="92167" y="251654"/>
                      <a:pt x="92224" y="247892"/>
                    </a:cubicBezTo>
                    <a:cubicBezTo>
                      <a:pt x="83960" y="249488"/>
                      <a:pt x="74328" y="250742"/>
                      <a:pt x="68058" y="245099"/>
                    </a:cubicBezTo>
                    <a:cubicBezTo>
                      <a:pt x="66463" y="243674"/>
                      <a:pt x="65266" y="241965"/>
                      <a:pt x="63727" y="240483"/>
                    </a:cubicBezTo>
                    <a:cubicBezTo>
                      <a:pt x="62570" y="239394"/>
                      <a:pt x="61264" y="238477"/>
                      <a:pt x="59851" y="237747"/>
                    </a:cubicBezTo>
                    <a:cubicBezTo>
                      <a:pt x="60376" y="233159"/>
                      <a:pt x="61607" y="228679"/>
                      <a:pt x="63499" y="224467"/>
                    </a:cubicBezTo>
                    <a:cubicBezTo>
                      <a:pt x="52465" y="217765"/>
                      <a:pt x="43231" y="208474"/>
                      <a:pt x="36597" y="197395"/>
                    </a:cubicBezTo>
                    <a:cubicBezTo>
                      <a:pt x="34944" y="193838"/>
                      <a:pt x="32460" y="190732"/>
                      <a:pt x="29359" y="188333"/>
                    </a:cubicBezTo>
                    <a:cubicBezTo>
                      <a:pt x="26395" y="186509"/>
                      <a:pt x="22406" y="186053"/>
                      <a:pt x="20126" y="183374"/>
                    </a:cubicBezTo>
                    <a:cubicBezTo>
                      <a:pt x="16820" y="179384"/>
                      <a:pt x="18644" y="171975"/>
                      <a:pt x="14426" y="169410"/>
                    </a:cubicBezTo>
                    <a:cubicBezTo>
                      <a:pt x="12466" y="168624"/>
                      <a:pt x="10380" y="168185"/>
                      <a:pt x="8271" y="168099"/>
                    </a:cubicBezTo>
                    <a:cubicBezTo>
                      <a:pt x="4703" y="167558"/>
                      <a:pt x="1699" y="165141"/>
                      <a:pt x="406" y="161773"/>
                    </a:cubicBezTo>
                    <a:cubicBezTo>
                      <a:pt x="-791" y="158313"/>
                      <a:pt x="736" y="154495"/>
                      <a:pt x="3996" y="152825"/>
                    </a:cubicBezTo>
                    <a:cubicBezTo>
                      <a:pt x="5832" y="152204"/>
                      <a:pt x="7758" y="151913"/>
                      <a:pt x="9696" y="151970"/>
                    </a:cubicBezTo>
                    <a:cubicBezTo>
                      <a:pt x="16091" y="151793"/>
                      <a:pt x="22132" y="148989"/>
                      <a:pt x="26395" y="144219"/>
                    </a:cubicBezTo>
                    <a:cubicBezTo>
                      <a:pt x="30579" y="139323"/>
                      <a:pt x="31656" y="132495"/>
                      <a:pt x="29188" y="126550"/>
                    </a:cubicBezTo>
                    <a:cubicBezTo>
                      <a:pt x="27872" y="124533"/>
                      <a:pt x="26999" y="122258"/>
                      <a:pt x="26623" y="119882"/>
                    </a:cubicBezTo>
                    <a:cubicBezTo>
                      <a:pt x="26623" y="116747"/>
                      <a:pt x="29188" y="114182"/>
                      <a:pt x="30670" y="111561"/>
                    </a:cubicBezTo>
                    <a:cubicBezTo>
                      <a:pt x="31924" y="108563"/>
                      <a:pt x="32955" y="105479"/>
                      <a:pt x="33748" y="102328"/>
                    </a:cubicBezTo>
                    <a:cubicBezTo>
                      <a:pt x="34762" y="99215"/>
                      <a:pt x="37504" y="96981"/>
                      <a:pt x="40758" y="96628"/>
                    </a:cubicBezTo>
                    <a:cubicBezTo>
                      <a:pt x="38826" y="91510"/>
                      <a:pt x="39783" y="85748"/>
                      <a:pt x="43266" y="81524"/>
                    </a:cubicBezTo>
                    <a:cubicBezTo>
                      <a:pt x="46691" y="77358"/>
                      <a:pt x="48686" y="72206"/>
                      <a:pt x="48965" y="66820"/>
                    </a:cubicBezTo>
                    <a:cubicBezTo>
                      <a:pt x="51239" y="65047"/>
                      <a:pt x="53895" y="63822"/>
                      <a:pt x="56716" y="63229"/>
                    </a:cubicBezTo>
                    <a:cubicBezTo>
                      <a:pt x="55576" y="59182"/>
                      <a:pt x="58825" y="55193"/>
                      <a:pt x="62416" y="52799"/>
                    </a:cubicBezTo>
                    <a:cubicBezTo>
                      <a:pt x="66200" y="50890"/>
                      <a:pt x="69506" y="48165"/>
                      <a:pt x="72105" y="44820"/>
                    </a:cubicBezTo>
                    <a:cubicBezTo>
                      <a:pt x="73085" y="42831"/>
                      <a:pt x="73741" y="40693"/>
                      <a:pt x="74043" y="3849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8" name="Freihandform: Form 354">
                <a:extLst>
                  <a:ext uri="{FF2B5EF4-FFF2-40B4-BE49-F238E27FC236}">
                    <a16:creationId xmlns:a16="http://schemas.microsoft.com/office/drawing/2014/main" id="{5FCC7ECE-BBB4-B7D1-3822-AFBF0850E534}"/>
                  </a:ext>
                </a:extLst>
              </p:cNvPr>
              <p:cNvSpPr/>
              <p:nvPr/>
            </p:nvSpPr>
            <p:spPr>
              <a:xfrm>
                <a:off x="4235867" y="3690097"/>
                <a:ext cx="355346" cy="476304"/>
              </a:xfrm>
              <a:custGeom>
                <a:avLst/>
                <a:gdLst>
                  <a:gd name="connsiteX0" fmla="*/ 295445 w 355346"/>
                  <a:gd name="connsiteY0" fmla="*/ 0 h 476304"/>
                  <a:gd name="connsiteX1" fmla="*/ 299834 w 355346"/>
                  <a:gd name="connsiteY1" fmla="*/ 9518 h 476304"/>
                  <a:gd name="connsiteX2" fmla="*/ 305534 w 355346"/>
                  <a:gd name="connsiteY2" fmla="*/ 18523 h 476304"/>
                  <a:gd name="connsiteX3" fmla="*/ 313855 w 355346"/>
                  <a:gd name="connsiteY3" fmla="*/ 24223 h 476304"/>
                  <a:gd name="connsiteX4" fmla="*/ 331808 w 355346"/>
                  <a:gd name="connsiteY4" fmla="*/ 57109 h 476304"/>
                  <a:gd name="connsiteX5" fmla="*/ 333119 w 355346"/>
                  <a:gd name="connsiteY5" fmla="*/ 95637 h 476304"/>
                  <a:gd name="connsiteX6" fmla="*/ 336652 w 355346"/>
                  <a:gd name="connsiteY6" fmla="*/ 110228 h 476304"/>
                  <a:gd name="connsiteX7" fmla="*/ 344746 w 355346"/>
                  <a:gd name="connsiteY7" fmla="*/ 119290 h 476304"/>
                  <a:gd name="connsiteX8" fmla="*/ 355347 w 355346"/>
                  <a:gd name="connsiteY8" fmla="*/ 130689 h 476304"/>
                  <a:gd name="connsiteX9" fmla="*/ 345544 w 355346"/>
                  <a:gd name="connsiteY9" fmla="*/ 146590 h 476304"/>
                  <a:gd name="connsiteX10" fmla="*/ 337393 w 355346"/>
                  <a:gd name="connsiteY10" fmla="*/ 151720 h 476304"/>
                  <a:gd name="connsiteX11" fmla="*/ 335684 w 355346"/>
                  <a:gd name="connsiteY11" fmla="*/ 160212 h 476304"/>
                  <a:gd name="connsiteX12" fmla="*/ 325937 w 355346"/>
                  <a:gd name="connsiteY12" fmla="*/ 167165 h 476304"/>
                  <a:gd name="connsiteX13" fmla="*/ 323202 w 355346"/>
                  <a:gd name="connsiteY13" fmla="*/ 180160 h 476304"/>
                  <a:gd name="connsiteX14" fmla="*/ 320409 w 355346"/>
                  <a:gd name="connsiteY14" fmla="*/ 185860 h 476304"/>
                  <a:gd name="connsiteX15" fmla="*/ 316192 w 355346"/>
                  <a:gd name="connsiteY15" fmla="*/ 216922 h 476304"/>
                  <a:gd name="connsiteX16" fmla="*/ 320580 w 355346"/>
                  <a:gd name="connsiteY16" fmla="*/ 226782 h 476304"/>
                  <a:gd name="connsiteX17" fmla="*/ 311575 w 355346"/>
                  <a:gd name="connsiteY17" fmla="*/ 250549 h 476304"/>
                  <a:gd name="connsiteX18" fmla="*/ 309637 w 355346"/>
                  <a:gd name="connsiteY18" fmla="*/ 256248 h 476304"/>
                  <a:gd name="connsiteX19" fmla="*/ 299948 w 355346"/>
                  <a:gd name="connsiteY19" fmla="*/ 264227 h 476304"/>
                  <a:gd name="connsiteX20" fmla="*/ 294248 w 355346"/>
                  <a:gd name="connsiteY20" fmla="*/ 274658 h 476304"/>
                  <a:gd name="connsiteX21" fmla="*/ 286497 w 355346"/>
                  <a:gd name="connsiteY21" fmla="*/ 278248 h 476304"/>
                  <a:gd name="connsiteX22" fmla="*/ 280798 w 355346"/>
                  <a:gd name="connsiteY22" fmla="*/ 292953 h 476304"/>
                  <a:gd name="connsiteX23" fmla="*/ 278290 w 355346"/>
                  <a:gd name="connsiteY23" fmla="*/ 308056 h 476304"/>
                  <a:gd name="connsiteX24" fmla="*/ 271280 w 355346"/>
                  <a:gd name="connsiteY24" fmla="*/ 313756 h 476304"/>
                  <a:gd name="connsiteX25" fmla="*/ 268202 w 355346"/>
                  <a:gd name="connsiteY25" fmla="*/ 322989 h 476304"/>
                  <a:gd name="connsiteX26" fmla="*/ 264155 w 355346"/>
                  <a:gd name="connsiteY26" fmla="*/ 331310 h 476304"/>
                  <a:gd name="connsiteX27" fmla="*/ 266720 w 355346"/>
                  <a:gd name="connsiteY27" fmla="*/ 337979 h 476304"/>
                  <a:gd name="connsiteX28" fmla="*/ 263927 w 355346"/>
                  <a:gd name="connsiteY28" fmla="*/ 355647 h 476304"/>
                  <a:gd name="connsiteX29" fmla="*/ 247228 w 355346"/>
                  <a:gd name="connsiteY29" fmla="*/ 363398 h 476304"/>
                  <a:gd name="connsiteX30" fmla="*/ 241528 w 355346"/>
                  <a:gd name="connsiteY30" fmla="*/ 364253 h 476304"/>
                  <a:gd name="connsiteX31" fmla="*/ 237938 w 355346"/>
                  <a:gd name="connsiteY31" fmla="*/ 373202 h 476304"/>
                  <a:gd name="connsiteX32" fmla="*/ 245803 w 355346"/>
                  <a:gd name="connsiteY32" fmla="*/ 379528 h 476304"/>
                  <a:gd name="connsiteX33" fmla="*/ 251958 w 355346"/>
                  <a:gd name="connsiteY33" fmla="*/ 380839 h 476304"/>
                  <a:gd name="connsiteX34" fmla="*/ 257658 w 355346"/>
                  <a:gd name="connsiteY34" fmla="*/ 394802 h 476304"/>
                  <a:gd name="connsiteX35" fmla="*/ 266891 w 355346"/>
                  <a:gd name="connsiteY35" fmla="*/ 399761 h 476304"/>
                  <a:gd name="connsiteX36" fmla="*/ 274129 w 355346"/>
                  <a:gd name="connsiteY36" fmla="*/ 408823 h 476304"/>
                  <a:gd name="connsiteX37" fmla="*/ 301145 w 355346"/>
                  <a:gd name="connsiteY37" fmla="*/ 436352 h 476304"/>
                  <a:gd name="connsiteX38" fmla="*/ 296813 w 355346"/>
                  <a:gd name="connsiteY38" fmla="*/ 449745 h 476304"/>
                  <a:gd name="connsiteX39" fmla="*/ 284844 w 355346"/>
                  <a:gd name="connsiteY39" fmla="*/ 448321 h 476304"/>
                  <a:gd name="connsiteX40" fmla="*/ 278005 w 355346"/>
                  <a:gd name="connsiteY40" fmla="*/ 452766 h 476304"/>
                  <a:gd name="connsiteX41" fmla="*/ 269399 w 355346"/>
                  <a:gd name="connsiteY41" fmla="*/ 455160 h 476304"/>
                  <a:gd name="connsiteX42" fmla="*/ 268544 w 355346"/>
                  <a:gd name="connsiteY42" fmla="*/ 459320 h 476304"/>
                  <a:gd name="connsiteX43" fmla="*/ 261648 w 355346"/>
                  <a:gd name="connsiteY43" fmla="*/ 463994 h 476304"/>
                  <a:gd name="connsiteX44" fmla="*/ 260109 w 355346"/>
                  <a:gd name="connsiteY44" fmla="*/ 468269 h 476304"/>
                  <a:gd name="connsiteX45" fmla="*/ 259653 w 355346"/>
                  <a:gd name="connsiteY45" fmla="*/ 474481 h 476304"/>
                  <a:gd name="connsiteX46" fmla="*/ 256005 w 355346"/>
                  <a:gd name="connsiteY46" fmla="*/ 476305 h 476304"/>
                  <a:gd name="connsiteX47" fmla="*/ 194679 w 355346"/>
                  <a:gd name="connsiteY47" fmla="*/ 476305 h 476304"/>
                  <a:gd name="connsiteX48" fmla="*/ 193596 w 355346"/>
                  <a:gd name="connsiteY48" fmla="*/ 474652 h 476304"/>
                  <a:gd name="connsiteX49" fmla="*/ 183679 w 355346"/>
                  <a:gd name="connsiteY49" fmla="*/ 466103 h 476304"/>
                  <a:gd name="connsiteX50" fmla="*/ 175073 w 355346"/>
                  <a:gd name="connsiteY50" fmla="*/ 459036 h 476304"/>
                  <a:gd name="connsiteX51" fmla="*/ 136715 w 355346"/>
                  <a:gd name="connsiteY51" fmla="*/ 457953 h 476304"/>
                  <a:gd name="connsiteX52" fmla="*/ 124347 w 355346"/>
                  <a:gd name="connsiteY52" fmla="*/ 449688 h 476304"/>
                  <a:gd name="connsiteX53" fmla="*/ 124689 w 355346"/>
                  <a:gd name="connsiteY53" fmla="*/ 447466 h 476304"/>
                  <a:gd name="connsiteX54" fmla="*/ 124689 w 355346"/>
                  <a:gd name="connsiteY54" fmla="*/ 440170 h 476304"/>
                  <a:gd name="connsiteX55" fmla="*/ 118477 w 355346"/>
                  <a:gd name="connsiteY55" fmla="*/ 433673 h 476304"/>
                  <a:gd name="connsiteX56" fmla="*/ 99440 w 355346"/>
                  <a:gd name="connsiteY56" fmla="*/ 410875 h 476304"/>
                  <a:gd name="connsiteX57" fmla="*/ 94938 w 355346"/>
                  <a:gd name="connsiteY57" fmla="*/ 403466 h 476304"/>
                  <a:gd name="connsiteX58" fmla="*/ 84850 w 355346"/>
                  <a:gd name="connsiteY58" fmla="*/ 396626 h 476304"/>
                  <a:gd name="connsiteX59" fmla="*/ 82285 w 355346"/>
                  <a:gd name="connsiteY59" fmla="*/ 386082 h 476304"/>
                  <a:gd name="connsiteX60" fmla="*/ 69005 w 355346"/>
                  <a:gd name="connsiteY60" fmla="*/ 372346 h 476304"/>
                  <a:gd name="connsiteX61" fmla="*/ 69347 w 355346"/>
                  <a:gd name="connsiteY61" fmla="*/ 369554 h 476304"/>
                  <a:gd name="connsiteX62" fmla="*/ 38969 w 355346"/>
                  <a:gd name="connsiteY62" fmla="*/ 357813 h 476304"/>
                  <a:gd name="connsiteX63" fmla="*/ 40679 w 355346"/>
                  <a:gd name="connsiteY63" fmla="*/ 349378 h 476304"/>
                  <a:gd name="connsiteX64" fmla="*/ 38000 w 355346"/>
                  <a:gd name="connsiteY64" fmla="*/ 340544 h 476304"/>
                  <a:gd name="connsiteX65" fmla="*/ 41648 w 355346"/>
                  <a:gd name="connsiteY65" fmla="*/ 331082 h 476304"/>
                  <a:gd name="connsiteX66" fmla="*/ 41648 w 355346"/>
                  <a:gd name="connsiteY66" fmla="*/ 321507 h 476304"/>
                  <a:gd name="connsiteX67" fmla="*/ 36803 w 355346"/>
                  <a:gd name="connsiteY67" fmla="*/ 318088 h 476304"/>
                  <a:gd name="connsiteX68" fmla="*/ 34467 w 355346"/>
                  <a:gd name="connsiteY68" fmla="*/ 311476 h 476304"/>
                  <a:gd name="connsiteX69" fmla="*/ 25746 w 355346"/>
                  <a:gd name="connsiteY69" fmla="*/ 303440 h 476304"/>
                  <a:gd name="connsiteX70" fmla="*/ 20560 w 355346"/>
                  <a:gd name="connsiteY70" fmla="*/ 288393 h 476304"/>
                  <a:gd name="connsiteX71" fmla="*/ 10415 w 355346"/>
                  <a:gd name="connsiteY71" fmla="*/ 261264 h 476304"/>
                  <a:gd name="connsiteX72" fmla="*/ 7451 w 355346"/>
                  <a:gd name="connsiteY72" fmla="*/ 249352 h 476304"/>
                  <a:gd name="connsiteX73" fmla="*/ 99 w 355346"/>
                  <a:gd name="connsiteY73" fmla="*/ 233108 h 476304"/>
                  <a:gd name="connsiteX74" fmla="*/ 12353 w 355346"/>
                  <a:gd name="connsiteY74" fmla="*/ 225927 h 476304"/>
                  <a:gd name="connsiteX75" fmla="*/ 15784 w 355346"/>
                  <a:gd name="connsiteY75" fmla="*/ 206070 h 476304"/>
                  <a:gd name="connsiteX76" fmla="*/ 16000 w 355346"/>
                  <a:gd name="connsiteY76" fmla="*/ 205922 h 476304"/>
                  <a:gd name="connsiteX77" fmla="*/ 27399 w 355346"/>
                  <a:gd name="connsiteY77" fmla="*/ 197487 h 476304"/>
                  <a:gd name="connsiteX78" fmla="*/ 27798 w 355346"/>
                  <a:gd name="connsiteY78" fmla="*/ 189963 h 476304"/>
                  <a:gd name="connsiteX79" fmla="*/ 37886 w 355346"/>
                  <a:gd name="connsiteY79" fmla="*/ 187684 h 476304"/>
                  <a:gd name="connsiteX80" fmla="*/ 47233 w 355346"/>
                  <a:gd name="connsiteY80" fmla="*/ 175549 h 476304"/>
                  <a:gd name="connsiteX81" fmla="*/ 47119 w 355346"/>
                  <a:gd name="connsiteY81" fmla="*/ 174860 h 476304"/>
                  <a:gd name="connsiteX82" fmla="*/ 52819 w 355346"/>
                  <a:gd name="connsiteY82" fmla="*/ 174233 h 476304"/>
                  <a:gd name="connsiteX83" fmla="*/ 52819 w 355346"/>
                  <a:gd name="connsiteY83" fmla="*/ 87145 h 476304"/>
                  <a:gd name="connsiteX84" fmla="*/ 55896 w 355346"/>
                  <a:gd name="connsiteY84" fmla="*/ 86119 h 476304"/>
                  <a:gd name="connsiteX85" fmla="*/ 72197 w 355346"/>
                  <a:gd name="connsiteY85" fmla="*/ 80419 h 476304"/>
                  <a:gd name="connsiteX86" fmla="*/ 72197 w 355346"/>
                  <a:gd name="connsiteY86" fmla="*/ 34368 h 476304"/>
                  <a:gd name="connsiteX87" fmla="*/ 192855 w 355346"/>
                  <a:gd name="connsiteY87" fmla="*/ 34368 h 476304"/>
                  <a:gd name="connsiteX88" fmla="*/ 198554 w 355346"/>
                  <a:gd name="connsiteY88" fmla="*/ 35223 h 476304"/>
                  <a:gd name="connsiteX89" fmla="*/ 203855 w 355346"/>
                  <a:gd name="connsiteY89" fmla="*/ 31689 h 476304"/>
                  <a:gd name="connsiteX90" fmla="*/ 228078 w 355346"/>
                  <a:gd name="connsiteY90" fmla="*/ 33456 h 476304"/>
                  <a:gd name="connsiteX91" fmla="*/ 240047 w 355346"/>
                  <a:gd name="connsiteY91" fmla="*/ 35451 h 476304"/>
                  <a:gd name="connsiteX92" fmla="*/ 252528 w 355346"/>
                  <a:gd name="connsiteY92" fmla="*/ 37047 h 476304"/>
                  <a:gd name="connsiteX93" fmla="*/ 263187 w 355346"/>
                  <a:gd name="connsiteY93" fmla="*/ 37047 h 476304"/>
                  <a:gd name="connsiteX94" fmla="*/ 270311 w 355346"/>
                  <a:gd name="connsiteY94" fmla="*/ 29808 h 476304"/>
                  <a:gd name="connsiteX95" fmla="*/ 271051 w 355346"/>
                  <a:gd name="connsiteY95" fmla="*/ 23197 h 476304"/>
                  <a:gd name="connsiteX96" fmla="*/ 283021 w 355346"/>
                  <a:gd name="connsiteY96" fmla="*/ 21031 h 476304"/>
                  <a:gd name="connsiteX97" fmla="*/ 287181 w 355346"/>
                  <a:gd name="connsiteY97" fmla="*/ 12026 h 476304"/>
                  <a:gd name="connsiteX98" fmla="*/ 295445 w 355346"/>
                  <a:gd name="connsiteY98" fmla="*/ 0 h 47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55346" h="476304">
                    <a:moveTo>
                      <a:pt x="295445" y="0"/>
                    </a:moveTo>
                    <a:lnTo>
                      <a:pt x="299834" y="9518"/>
                    </a:lnTo>
                    <a:cubicBezTo>
                      <a:pt x="301145" y="12852"/>
                      <a:pt x="303077" y="15913"/>
                      <a:pt x="305534" y="18523"/>
                    </a:cubicBezTo>
                    <a:cubicBezTo>
                      <a:pt x="308115" y="20689"/>
                      <a:pt x="310902" y="22598"/>
                      <a:pt x="313855" y="24223"/>
                    </a:cubicBezTo>
                    <a:cubicBezTo>
                      <a:pt x="324273" y="32105"/>
                      <a:pt x="330811" y="44080"/>
                      <a:pt x="331808" y="57109"/>
                    </a:cubicBezTo>
                    <a:cubicBezTo>
                      <a:pt x="333575" y="69819"/>
                      <a:pt x="332378" y="82813"/>
                      <a:pt x="333119" y="95637"/>
                    </a:cubicBezTo>
                    <a:cubicBezTo>
                      <a:pt x="333147" y="100710"/>
                      <a:pt x="334356" y="105708"/>
                      <a:pt x="336652" y="110228"/>
                    </a:cubicBezTo>
                    <a:cubicBezTo>
                      <a:pt x="338932" y="113596"/>
                      <a:pt x="341651" y="116645"/>
                      <a:pt x="344746" y="119290"/>
                    </a:cubicBezTo>
                    <a:cubicBezTo>
                      <a:pt x="348496" y="122886"/>
                      <a:pt x="352036" y="126688"/>
                      <a:pt x="355347" y="130689"/>
                    </a:cubicBezTo>
                    <a:cubicBezTo>
                      <a:pt x="353380" y="136690"/>
                      <a:pt x="350023" y="142139"/>
                      <a:pt x="345544" y="146590"/>
                    </a:cubicBezTo>
                    <a:cubicBezTo>
                      <a:pt x="342979" y="148528"/>
                      <a:pt x="339844" y="149611"/>
                      <a:pt x="337393" y="151720"/>
                    </a:cubicBezTo>
                    <a:cubicBezTo>
                      <a:pt x="334743" y="153703"/>
                      <a:pt x="334008" y="157357"/>
                      <a:pt x="335684" y="160212"/>
                    </a:cubicBezTo>
                    <a:cubicBezTo>
                      <a:pt x="331466" y="158958"/>
                      <a:pt x="327362" y="162948"/>
                      <a:pt x="325937" y="167165"/>
                    </a:cubicBezTo>
                    <a:cubicBezTo>
                      <a:pt x="324513" y="171383"/>
                      <a:pt x="324741" y="176000"/>
                      <a:pt x="323202" y="180160"/>
                    </a:cubicBezTo>
                    <a:cubicBezTo>
                      <a:pt x="322381" y="182110"/>
                      <a:pt x="321446" y="184013"/>
                      <a:pt x="320409" y="185860"/>
                    </a:cubicBezTo>
                    <a:cubicBezTo>
                      <a:pt x="316271" y="195657"/>
                      <a:pt x="314812" y="206378"/>
                      <a:pt x="316192" y="216922"/>
                    </a:cubicBezTo>
                    <a:cubicBezTo>
                      <a:pt x="316226" y="220672"/>
                      <a:pt x="317816" y="224246"/>
                      <a:pt x="320580" y="226782"/>
                    </a:cubicBezTo>
                    <a:cubicBezTo>
                      <a:pt x="316642" y="234317"/>
                      <a:pt x="313621" y="242296"/>
                      <a:pt x="311575" y="250549"/>
                    </a:cubicBezTo>
                    <a:cubicBezTo>
                      <a:pt x="311210" y="252532"/>
                      <a:pt x="310555" y="254453"/>
                      <a:pt x="309637" y="256248"/>
                    </a:cubicBezTo>
                    <a:cubicBezTo>
                      <a:pt x="307038" y="259594"/>
                      <a:pt x="303732" y="262324"/>
                      <a:pt x="299948" y="264227"/>
                    </a:cubicBezTo>
                    <a:cubicBezTo>
                      <a:pt x="296414" y="266621"/>
                      <a:pt x="293165" y="270611"/>
                      <a:pt x="294248" y="274658"/>
                    </a:cubicBezTo>
                    <a:cubicBezTo>
                      <a:pt x="291427" y="275250"/>
                      <a:pt x="288771" y="276476"/>
                      <a:pt x="286497" y="278248"/>
                    </a:cubicBezTo>
                    <a:cubicBezTo>
                      <a:pt x="286218" y="283634"/>
                      <a:pt x="284223" y="288787"/>
                      <a:pt x="280798" y="292953"/>
                    </a:cubicBezTo>
                    <a:cubicBezTo>
                      <a:pt x="277315" y="297176"/>
                      <a:pt x="276358" y="302938"/>
                      <a:pt x="278290" y="308056"/>
                    </a:cubicBezTo>
                    <a:cubicBezTo>
                      <a:pt x="275036" y="308410"/>
                      <a:pt x="272294" y="310644"/>
                      <a:pt x="271280" y="313756"/>
                    </a:cubicBezTo>
                    <a:cubicBezTo>
                      <a:pt x="270487" y="316908"/>
                      <a:pt x="269456" y="319991"/>
                      <a:pt x="268202" y="322989"/>
                    </a:cubicBezTo>
                    <a:cubicBezTo>
                      <a:pt x="266720" y="325725"/>
                      <a:pt x="264098" y="328176"/>
                      <a:pt x="264155" y="331310"/>
                    </a:cubicBezTo>
                    <a:cubicBezTo>
                      <a:pt x="264531" y="333687"/>
                      <a:pt x="265403" y="335961"/>
                      <a:pt x="266720" y="337979"/>
                    </a:cubicBezTo>
                    <a:cubicBezTo>
                      <a:pt x="269188" y="343923"/>
                      <a:pt x="268111" y="350751"/>
                      <a:pt x="263927" y="355647"/>
                    </a:cubicBezTo>
                    <a:cubicBezTo>
                      <a:pt x="259664" y="360418"/>
                      <a:pt x="253623" y="363222"/>
                      <a:pt x="247228" y="363398"/>
                    </a:cubicBezTo>
                    <a:cubicBezTo>
                      <a:pt x="245290" y="363341"/>
                      <a:pt x="243364" y="363632"/>
                      <a:pt x="241528" y="364253"/>
                    </a:cubicBezTo>
                    <a:cubicBezTo>
                      <a:pt x="238268" y="365923"/>
                      <a:pt x="236741" y="369742"/>
                      <a:pt x="237938" y="373202"/>
                    </a:cubicBezTo>
                    <a:cubicBezTo>
                      <a:pt x="239232" y="376570"/>
                      <a:pt x="242235" y="378986"/>
                      <a:pt x="245803" y="379528"/>
                    </a:cubicBezTo>
                    <a:cubicBezTo>
                      <a:pt x="247918" y="379613"/>
                      <a:pt x="249998" y="380052"/>
                      <a:pt x="251958" y="380839"/>
                    </a:cubicBezTo>
                    <a:cubicBezTo>
                      <a:pt x="256404" y="383518"/>
                      <a:pt x="254580" y="390813"/>
                      <a:pt x="257658" y="394802"/>
                    </a:cubicBezTo>
                    <a:cubicBezTo>
                      <a:pt x="259938" y="397481"/>
                      <a:pt x="263927" y="397937"/>
                      <a:pt x="266891" y="399761"/>
                    </a:cubicBezTo>
                    <a:cubicBezTo>
                      <a:pt x="269992" y="402161"/>
                      <a:pt x="272476" y="405267"/>
                      <a:pt x="274129" y="408823"/>
                    </a:cubicBezTo>
                    <a:cubicBezTo>
                      <a:pt x="280735" y="420080"/>
                      <a:pt x="290014" y="429535"/>
                      <a:pt x="301145" y="436352"/>
                    </a:cubicBezTo>
                    <a:cubicBezTo>
                      <a:pt x="299008" y="440564"/>
                      <a:pt x="297543" y="445083"/>
                      <a:pt x="296813" y="449745"/>
                    </a:cubicBezTo>
                    <a:cubicBezTo>
                      <a:pt x="293131" y="447830"/>
                      <a:pt x="288874" y="447329"/>
                      <a:pt x="284844" y="448321"/>
                    </a:cubicBezTo>
                    <a:cubicBezTo>
                      <a:pt x="285585" y="451398"/>
                      <a:pt x="281140" y="453051"/>
                      <a:pt x="278005" y="452766"/>
                    </a:cubicBezTo>
                    <a:cubicBezTo>
                      <a:pt x="274870" y="452481"/>
                      <a:pt x="270653" y="452196"/>
                      <a:pt x="269399" y="455160"/>
                    </a:cubicBezTo>
                    <a:cubicBezTo>
                      <a:pt x="268829" y="456471"/>
                      <a:pt x="269399" y="458067"/>
                      <a:pt x="268544" y="459320"/>
                    </a:cubicBezTo>
                    <a:cubicBezTo>
                      <a:pt x="267347" y="461885"/>
                      <a:pt x="263528" y="461885"/>
                      <a:pt x="261648" y="463994"/>
                    </a:cubicBezTo>
                    <a:cubicBezTo>
                      <a:pt x="260730" y="465237"/>
                      <a:pt x="260194" y="466724"/>
                      <a:pt x="260109" y="468269"/>
                    </a:cubicBezTo>
                    <a:cubicBezTo>
                      <a:pt x="259824" y="470320"/>
                      <a:pt x="259767" y="472429"/>
                      <a:pt x="259653" y="474481"/>
                    </a:cubicBezTo>
                    <a:cubicBezTo>
                      <a:pt x="258291" y="474737"/>
                      <a:pt x="257025" y="475370"/>
                      <a:pt x="256005" y="476305"/>
                    </a:cubicBezTo>
                    <a:lnTo>
                      <a:pt x="194679" y="476305"/>
                    </a:lnTo>
                    <a:cubicBezTo>
                      <a:pt x="194354" y="475735"/>
                      <a:pt x="193989" y="475182"/>
                      <a:pt x="193596" y="474652"/>
                    </a:cubicBezTo>
                    <a:cubicBezTo>
                      <a:pt x="190598" y="471460"/>
                      <a:pt x="187275" y="468594"/>
                      <a:pt x="183679" y="466103"/>
                    </a:cubicBezTo>
                    <a:cubicBezTo>
                      <a:pt x="181045" y="463470"/>
                      <a:pt x="178167" y="461104"/>
                      <a:pt x="175073" y="459036"/>
                    </a:cubicBezTo>
                    <a:cubicBezTo>
                      <a:pt x="163674" y="452823"/>
                      <a:pt x="149026" y="462170"/>
                      <a:pt x="136715" y="457953"/>
                    </a:cubicBezTo>
                    <a:cubicBezTo>
                      <a:pt x="132127" y="455969"/>
                      <a:pt x="127938" y="453171"/>
                      <a:pt x="124347" y="449688"/>
                    </a:cubicBezTo>
                    <a:lnTo>
                      <a:pt x="124689" y="447466"/>
                    </a:lnTo>
                    <a:cubicBezTo>
                      <a:pt x="125316" y="445072"/>
                      <a:pt x="125316" y="442564"/>
                      <a:pt x="124689" y="440170"/>
                    </a:cubicBezTo>
                    <a:cubicBezTo>
                      <a:pt x="123276" y="437463"/>
                      <a:pt x="121121" y="435206"/>
                      <a:pt x="118477" y="433673"/>
                    </a:cubicBezTo>
                    <a:cubicBezTo>
                      <a:pt x="110446" y="427654"/>
                      <a:pt x="103926" y="419852"/>
                      <a:pt x="99440" y="410875"/>
                    </a:cubicBezTo>
                    <a:cubicBezTo>
                      <a:pt x="98346" y="408179"/>
                      <a:pt x="96824" y="405677"/>
                      <a:pt x="94938" y="403466"/>
                    </a:cubicBezTo>
                    <a:cubicBezTo>
                      <a:pt x="91735" y="400958"/>
                      <a:pt x="88366" y="398672"/>
                      <a:pt x="84850" y="396626"/>
                    </a:cubicBezTo>
                    <a:cubicBezTo>
                      <a:pt x="81658" y="394119"/>
                      <a:pt x="79549" y="389103"/>
                      <a:pt x="82285" y="386082"/>
                    </a:cubicBezTo>
                    <a:cubicBezTo>
                      <a:pt x="74825" y="385957"/>
                      <a:pt x="68880" y="379807"/>
                      <a:pt x="69005" y="372346"/>
                    </a:cubicBezTo>
                    <a:cubicBezTo>
                      <a:pt x="69022" y="371406"/>
                      <a:pt x="69137" y="370471"/>
                      <a:pt x="69347" y="369554"/>
                    </a:cubicBezTo>
                    <a:cubicBezTo>
                      <a:pt x="58347" y="371606"/>
                      <a:pt x="49969" y="355647"/>
                      <a:pt x="38969" y="357813"/>
                    </a:cubicBezTo>
                    <a:cubicBezTo>
                      <a:pt x="41363" y="355704"/>
                      <a:pt x="42064" y="352256"/>
                      <a:pt x="40679" y="349378"/>
                    </a:cubicBezTo>
                    <a:cubicBezTo>
                      <a:pt x="39311" y="346596"/>
                      <a:pt x="38405" y="343616"/>
                      <a:pt x="38000" y="340544"/>
                    </a:cubicBezTo>
                    <a:cubicBezTo>
                      <a:pt x="38525" y="337164"/>
                      <a:pt x="39767" y="333938"/>
                      <a:pt x="41648" y="331082"/>
                    </a:cubicBezTo>
                    <a:cubicBezTo>
                      <a:pt x="43574" y="328181"/>
                      <a:pt x="43574" y="324408"/>
                      <a:pt x="41648" y="321507"/>
                    </a:cubicBezTo>
                    <a:cubicBezTo>
                      <a:pt x="40223" y="320082"/>
                      <a:pt x="38114" y="319569"/>
                      <a:pt x="36803" y="318088"/>
                    </a:cubicBezTo>
                    <a:cubicBezTo>
                      <a:pt x="35527" y="316093"/>
                      <a:pt x="34723" y="313830"/>
                      <a:pt x="34467" y="311476"/>
                    </a:cubicBezTo>
                    <a:cubicBezTo>
                      <a:pt x="33236" y="307413"/>
                      <a:pt x="29896" y="304335"/>
                      <a:pt x="25746" y="303440"/>
                    </a:cubicBezTo>
                    <a:cubicBezTo>
                      <a:pt x="27086" y="297843"/>
                      <a:pt x="25062" y="291978"/>
                      <a:pt x="20560" y="288393"/>
                    </a:cubicBezTo>
                    <a:cubicBezTo>
                      <a:pt x="15607" y="280015"/>
                      <a:pt x="12176" y="270833"/>
                      <a:pt x="10415" y="261264"/>
                    </a:cubicBezTo>
                    <a:cubicBezTo>
                      <a:pt x="10010" y="257172"/>
                      <a:pt x="9013" y="253159"/>
                      <a:pt x="7451" y="249352"/>
                    </a:cubicBezTo>
                    <a:cubicBezTo>
                      <a:pt x="4829" y="243652"/>
                      <a:pt x="-813" y="239093"/>
                      <a:pt x="99" y="233108"/>
                    </a:cubicBezTo>
                    <a:lnTo>
                      <a:pt x="12353" y="225927"/>
                    </a:lnTo>
                    <a:cubicBezTo>
                      <a:pt x="7816" y="219498"/>
                      <a:pt x="9355" y="210607"/>
                      <a:pt x="15784" y="206070"/>
                    </a:cubicBezTo>
                    <a:cubicBezTo>
                      <a:pt x="15858" y="206019"/>
                      <a:pt x="15926" y="205973"/>
                      <a:pt x="16000" y="205922"/>
                    </a:cubicBezTo>
                    <a:cubicBezTo>
                      <a:pt x="20218" y="203414"/>
                      <a:pt x="26430" y="202274"/>
                      <a:pt x="27399" y="197487"/>
                    </a:cubicBezTo>
                    <a:cubicBezTo>
                      <a:pt x="27855" y="194979"/>
                      <a:pt x="26544" y="192186"/>
                      <a:pt x="27798" y="189963"/>
                    </a:cubicBezTo>
                    <a:cubicBezTo>
                      <a:pt x="29565" y="186772"/>
                      <a:pt x="34295" y="187912"/>
                      <a:pt x="37886" y="187684"/>
                    </a:cubicBezTo>
                    <a:cubicBezTo>
                      <a:pt x="43819" y="186914"/>
                      <a:pt x="48003" y="181483"/>
                      <a:pt x="47233" y="175549"/>
                    </a:cubicBezTo>
                    <a:cubicBezTo>
                      <a:pt x="47205" y="175321"/>
                      <a:pt x="47165" y="175088"/>
                      <a:pt x="47119" y="174860"/>
                    </a:cubicBezTo>
                    <a:lnTo>
                      <a:pt x="52819" y="174233"/>
                    </a:lnTo>
                    <a:lnTo>
                      <a:pt x="52819" y="87145"/>
                    </a:lnTo>
                    <a:lnTo>
                      <a:pt x="55896" y="86119"/>
                    </a:lnTo>
                    <a:lnTo>
                      <a:pt x="72197" y="80419"/>
                    </a:lnTo>
                    <a:lnTo>
                      <a:pt x="72197" y="34368"/>
                    </a:lnTo>
                    <a:lnTo>
                      <a:pt x="192855" y="34368"/>
                    </a:lnTo>
                    <a:cubicBezTo>
                      <a:pt x="194359" y="35873"/>
                      <a:pt x="196673" y="36220"/>
                      <a:pt x="198554" y="35223"/>
                    </a:cubicBezTo>
                    <a:cubicBezTo>
                      <a:pt x="200492" y="34311"/>
                      <a:pt x="202031" y="32772"/>
                      <a:pt x="203855" y="31689"/>
                    </a:cubicBezTo>
                    <a:cubicBezTo>
                      <a:pt x="211093" y="27472"/>
                      <a:pt x="219984" y="31689"/>
                      <a:pt x="228078" y="33456"/>
                    </a:cubicBezTo>
                    <a:cubicBezTo>
                      <a:pt x="232027" y="34345"/>
                      <a:pt x="236023" y="35012"/>
                      <a:pt x="240047" y="35451"/>
                    </a:cubicBezTo>
                    <a:lnTo>
                      <a:pt x="252528" y="37047"/>
                    </a:lnTo>
                    <a:cubicBezTo>
                      <a:pt x="256051" y="37730"/>
                      <a:pt x="259664" y="37730"/>
                      <a:pt x="263187" y="37047"/>
                    </a:cubicBezTo>
                    <a:cubicBezTo>
                      <a:pt x="266766" y="36220"/>
                      <a:pt x="269541" y="33399"/>
                      <a:pt x="270311" y="29808"/>
                    </a:cubicBezTo>
                    <a:cubicBezTo>
                      <a:pt x="270311" y="27585"/>
                      <a:pt x="269741" y="25021"/>
                      <a:pt x="271051" y="23197"/>
                    </a:cubicBezTo>
                    <a:cubicBezTo>
                      <a:pt x="273503" y="19720"/>
                      <a:pt x="279316" y="23197"/>
                      <a:pt x="283021" y="21031"/>
                    </a:cubicBezTo>
                    <a:cubicBezTo>
                      <a:pt x="286725" y="18865"/>
                      <a:pt x="286269" y="15332"/>
                      <a:pt x="287181" y="12026"/>
                    </a:cubicBezTo>
                    <a:cubicBezTo>
                      <a:pt x="288594" y="7244"/>
                      <a:pt x="291484" y="3032"/>
                      <a:pt x="295445"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39" name="Freihandform: Form 355">
                <a:extLst>
                  <a:ext uri="{FF2B5EF4-FFF2-40B4-BE49-F238E27FC236}">
                    <a16:creationId xmlns:a16="http://schemas.microsoft.com/office/drawing/2014/main" id="{6C799F0A-A482-A94D-3C53-9E58867AED12}"/>
                  </a:ext>
                </a:extLst>
              </p:cNvPr>
              <p:cNvSpPr/>
              <p:nvPr/>
            </p:nvSpPr>
            <p:spPr>
              <a:xfrm>
                <a:off x="4307950" y="3468786"/>
                <a:ext cx="223362" cy="259098"/>
              </a:xfrm>
              <a:custGeom>
                <a:avLst/>
                <a:gdLst>
                  <a:gd name="connsiteX0" fmla="*/ 204440 w 223362"/>
                  <a:gd name="connsiteY0" fmla="*/ 33969 h 259098"/>
                  <a:gd name="connsiteX1" fmla="*/ 205352 w 223362"/>
                  <a:gd name="connsiteY1" fmla="*/ 47648 h 259098"/>
                  <a:gd name="connsiteX2" fmla="*/ 201420 w 223362"/>
                  <a:gd name="connsiteY2" fmla="*/ 47135 h 259098"/>
                  <a:gd name="connsiteX3" fmla="*/ 193212 w 223362"/>
                  <a:gd name="connsiteY3" fmla="*/ 101337 h 259098"/>
                  <a:gd name="connsiteX4" fmla="*/ 167907 w 223362"/>
                  <a:gd name="connsiteY4" fmla="*/ 49073 h 259098"/>
                  <a:gd name="connsiteX5" fmla="*/ 156793 w 223362"/>
                  <a:gd name="connsiteY5" fmla="*/ 49073 h 259098"/>
                  <a:gd name="connsiteX6" fmla="*/ 168192 w 223362"/>
                  <a:gd name="connsiteY6" fmla="*/ 100995 h 259098"/>
                  <a:gd name="connsiteX7" fmla="*/ 223362 w 223362"/>
                  <a:gd name="connsiteY7" fmla="*/ 221425 h 259098"/>
                  <a:gd name="connsiteX8" fmla="*/ 214699 w 223362"/>
                  <a:gd name="connsiteY8" fmla="*/ 233564 h 259098"/>
                  <a:gd name="connsiteX9" fmla="*/ 210539 w 223362"/>
                  <a:gd name="connsiteY9" fmla="*/ 242570 h 259098"/>
                  <a:gd name="connsiteX10" fmla="*/ 198570 w 223362"/>
                  <a:gd name="connsiteY10" fmla="*/ 244735 h 259098"/>
                  <a:gd name="connsiteX11" fmla="*/ 197829 w 223362"/>
                  <a:gd name="connsiteY11" fmla="*/ 251347 h 259098"/>
                  <a:gd name="connsiteX12" fmla="*/ 190705 w 223362"/>
                  <a:gd name="connsiteY12" fmla="*/ 258585 h 259098"/>
                  <a:gd name="connsiteX13" fmla="*/ 180047 w 223362"/>
                  <a:gd name="connsiteY13" fmla="*/ 258585 h 259098"/>
                  <a:gd name="connsiteX14" fmla="*/ 167565 w 223362"/>
                  <a:gd name="connsiteY14" fmla="*/ 256989 h 259098"/>
                  <a:gd name="connsiteX15" fmla="*/ 155596 w 223362"/>
                  <a:gd name="connsiteY15" fmla="*/ 254995 h 259098"/>
                  <a:gd name="connsiteX16" fmla="*/ 131373 w 223362"/>
                  <a:gd name="connsiteY16" fmla="*/ 253228 h 259098"/>
                  <a:gd name="connsiteX17" fmla="*/ 126072 w 223362"/>
                  <a:gd name="connsiteY17" fmla="*/ 256761 h 259098"/>
                  <a:gd name="connsiteX18" fmla="*/ 120373 w 223362"/>
                  <a:gd name="connsiteY18" fmla="*/ 255906 h 259098"/>
                  <a:gd name="connsiteX19" fmla="*/ 0 w 223362"/>
                  <a:gd name="connsiteY19" fmla="*/ 255906 h 259098"/>
                  <a:gd name="connsiteX20" fmla="*/ 0 w 223362"/>
                  <a:gd name="connsiteY20" fmla="*/ 0 h 259098"/>
                  <a:gd name="connsiteX21" fmla="*/ 7637 w 223362"/>
                  <a:gd name="connsiteY21" fmla="*/ 5358 h 259098"/>
                  <a:gd name="connsiteX22" fmla="*/ 16814 w 223362"/>
                  <a:gd name="connsiteY22" fmla="*/ 31119 h 259098"/>
                  <a:gd name="connsiteX23" fmla="*/ 22513 w 223362"/>
                  <a:gd name="connsiteY23" fmla="*/ 37902 h 259098"/>
                  <a:gd name="connsiteX24" fmla="*/ 30606 w 223362"/>
                  <a:gd name="connsiteY24" fmla="*/ 38643 h 259098"/>
                  <a:gd name="connsiteX25" fmla="*/ 70502 w 223362"/>
                  <a:gd name="connsiteY25" fmla="*/ 34710 h 259098"/>
                  <a:gd name="connsiteX26" fmla="*/ 90394 w 223362"/>
                  <a:gd name="connsiteY26" fmla="*/ 27529 h 259098"/>
                  <a:gd name="connsiteX27" fmla="*/ 135192 w 223362"/>
                  <a:gd name="connsiteY27" fmla="*/ 16643 h 259098"/>
                  <a:gd name="connsiteX28" fmla="*/ 151794 w 223362"/>
                  <a:gd name="connsiteY28" fmla="*/ 13360 h 259098"/>
                  <a:gd name="connsiteX29" fmla="*/ 153031 w 223362"/>
                  <a:gd name="connsiteY29" fmla="*/ 14306 h 259098"/>
                  <a:gd name="connsiteX30" fmla="*/ 157192 w 223362"/>
                  <a:gd name="connsiteY30" fmla="*/ 19207 h 259098"/>
                  <a:gd name="connsiteX31" fmla="*/ 174974 w 223362"/>
                  <a:gd name="connsiteY31" fmla="*/ 23197 h 259098"/>
                  <a:gd name="connsiteX32" fmla="*/ 192927 w 223362"/>
                  <a:gd name="connsiteY32" fmla="*/ 19720 h 259098"/>
                  <a:gd name="connsiteX33" fmla="*/ 196176 w 223362"/>
                  <a:gd name="connsiteY33" fmla="*/ 23197 h 259098"/>
                  <a:gd name="connsiteX34" fmla="*/ 199824 w 223362"/>
                  <a:gd name="connsiteY34" fmla="*/ 28896 h 259098"/>
                  <a:gd name="connsiteX35" fmla="*/ 204212 w 223362"/>
                  <a:gd name="connsiteY35" fmla="*/ 31461 h 259098"/>
                  <a:gd name="connsiteX36" fmla="*/ 204440 w 223362"/>
                  <a:gd name="connsiteY36" fmla="*/ 33969 h 25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3362" h="259098">
                    <a:moveTo>
                      <a:pt x="204440" y="33969"/>
                    </a:moveTo>
                    <a:cubicBezTo>
                      <a:pt x="204286" y="38546"/>
                      <a:pt x="204594" y="43128"/>
                      <a:pt x="205352" y="47648"/>
                    </a:cubicBezTo>
                    <a:lnTo>
                      <a:pt x="201420" y="47135"/>
                    </a:lnTo>
                    <a:cubicBezTo>
                      <a:pt x="201927" y="65544"/>
                      <a:pt x="199151" y="83902"/>
                      <a:pt x="193212" y="101337"/>
                    </a:cubicBezTo>
                    <a:cubicBezTo>
                      <a:pt x="180463" y="86353"/>
                      <a:pt x="171754" y="68365"/>
                      <a:pt x="167907" y="49073"/>
                    </a:cubicBezTo>
                    <a:lnTo>
                      <a:pt x="156793" y="49073"/>
                    </a:lnTo>
                    <a:cubicBezTo>
                      <a:pt x="153202" y="66798"/>
                      <a:pt x="160896" y="84580"/>
                      <a:pt x="168192" y="100995"/>
                    </a:cubicBezTo>
                    <a:cubicBezTo>
                      <a:pt x="186618" y="141119"/>
                      <a:pt x="205010" y="181260"/>
                      <a:pt x="223362" y="221425"/>
                    </a:cubicBezTo>
                    <a:cubicBezTo>
                      <a:pt x="219236" y="224422"/>
                      <a:pt x="216192" y="228686"/>
                      <a:pt x="214699" y="233564"/>
                    </a:cubicBezTo>
                    <a:cubicBezTo>
                      <a:pt x="213787" y="236870"/>
                      <a:pt x="213559" y="240974"/>
                      <a:pt x="210539" y="242570"/>
                    </a:cubicBezTo>
                    <a:cubicBezTo>
                      <a:pt x="207518" y="244166"/>
                      <a:pt x="201021" y="241259"/>
                      <a:pt x="198570" y="244735"/>
                    </a:cubicBezTo>
                    <a:cubicBezTo>
                      <a:pt x="197259" y="246559"/>
                      <a:pt x="198057" y="249124"/>
                      <a:pt x="197829" y="251347"/>
                    </a:cubicBezTo>
                    <a:cubicBezTo>
                      <a:pt x="197059" y="254937"/>
                      <a:pt x="194284" y="257759"/>
                      <a:pt x="190705" y="258585"/>
                    </a:cubicBezTo>
                    <a:cubicBezTo>
                      <a:pt x="187182" y="259269"/>
                      <a:pt x="183569" y="259269"/>
                      <a:pt x="180047" y="258585"/>
                    </a:cubicBezTo>
                    <a:lnTo>
                      <a:pt x="167565" y="256989"/>
                    </a:lnTo>
                    <a:cubicBezTo>
                      <a:pt x="163541" y="256550"/>
                      <a:pt x="159545" y="255884"/>
                      <a:pt x="155596" y="254995"/>
                    </a:cubicBezTo>
                    <a:cubicBezTo>
                      <a:pt x="147502" y="252943"/>
                      <a:pt x="138497" y="249295"/>
                      <a:pt x="131373" y="253228"/>
                    </a:cubicBezTo>
                    <a:cubicBezTo>
                      <a:pt x="129549" y="254311"/>
                      <a:pt x="128010" y="255849"/>
                      <a:pt x="126072" y="256761"/>
                    </a:cubicBezTo>
                    <a:cubicBezTo>
                      <a:pt x="124191" y="257759"/>
                      <a:pt x="121877" y="257411"/>
                      <a:pt x="120373" y="255906"/>
                    </a:cubicBezTo>
                    <a:lnTo>
                      <a:pt x="0" y="255906"/>
                    </a:lnTo>
                    <a:lnTo>
                      <a:pt x="0" y="0"/>
                    </a:lnTo>
                    <a:cubicBezTo>
                      <a:pt x="2770" y="1442"/>
                      <a:pt x="5335" y="3243"/>
                      <a:pt x="7637" y="5358"/>
                    </a:cubicBezTo>
                    <a:cubicBezTo>
                      <a:pt x="8731" y="14522"/>
                      <a:pt x="11866" y="23328"/>
                      <a:pt x="16814" y="31119"/>
                    </a:cubicBezTo>
                    <a:cubicBezTo>
                      <a:pt x="17988" y="33901"/>
                      <a:pt x="19977" y="36266"/>
                      <a:pt x="22513" y="37902"/>
                    </a:cubicBezTo>
                    <a:cubicBezTo>
                      <a:pt x="25083" y="38922"/>
                      <a:pt x="27893" y="39178"/>
                      <a:pt x="30606" y="38643"/>
                    </a:cubicBezTo>
                    <a:lnTo>
                      <a:pt x="70502" y="34710"/>
                    </a:lnTo>
                    <a:cubicBezTo>
                      <a:pt x="73409" y="27813"/>
                      <a:pt x="82870" y="27529"/>
                      <a:pt x="90394" y="27529"/>
                    </a:cubicBezTo>
                    <a:cubicBezTo>
                      <a:pt x="105982" y="27512"/>
                      <a:pt x="121336" y="23778"/>
                      <a:pt x="135192" y="16643"/>
                    </a:cubicBezTo>
                    <a:cubicBezTo>
                      <a:pt x="138868" y="11148"/>
                      <a:pt x="146305" y="9678"/>
                      <a:pt x="151794" y="13360"/>
                    </a:cubicBezTo>
                    <a:cubicBezTo>
                      <a:pt x="152227" y="13645"/>
                      <a:pt x="152638" y="13964"/>
                      <a:pt x="153031" y="14306"/>
                    </a:cubicBezTo>
                    <a:cubicBezTo>
                      <a:pt x="154570" y="15845"/>
                      <a:pt x="155653" y="17725"/>
                      <a:pt x="157192" y="19207"/>
                    </a:cubicBezTo>
                    <a:cubicBezTo>
                      <a:pt x="162321" y="22918"/>
                      <a:pt x="168750" y="24360"/>
                      <a:pt x="174974" y="23197"/>
                    </a:cubicBezTo>
                    <a:cubicBezTo>
                      <a:pt x="181129" y="23248"/>
                      <a:pt x="187233" y="22063"/>
                      <a:pt x="192927" y="19720"/>
                    </a:cubicBezTo>
                    <a:cubicBezTo>
                      <a:pt x="194181" y="20706"/>
                      <a:pt x="195276" y="21880"/>
                      <a:pt x="196176" y="23197"/>
                    </a:cubicBezTo>
                    <a:cubicBezTo>
                      <a:pt x="197373" y="25078"/>
                      <a:pt x="197943" y="27529"/>
                      <a:pt x="199824" y="28896"/>
                    </a:cubicBezTo>
                    <a:cubicBezTo>
                      <a:pt x="201704" y="30264"/>
                      <a:pt x="203357" y="29979"/>
                      <a:pt x="204212" y="31461"/>
                    </a:cubicBezTo>
                    <a:cubicBezTo>
                      <a:pt x="204497" y="32265"/>
                      <a:pt x="204577" y="33125"/>
                      <a:pt x="204440" y="3396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0" name="Freihandform: Form 356">
                <a:extLst>
                  <a:ext uri="{FF2B5EF4-FFF2-40B4-BE49-F238E27FC236}">
                    <a16:creationId xmlns:a16="http://schemas.microsoft.com/office/drawing/2014/main" id="{70B52A0B-94A0-BDFE-1C31-D1D6356EABF8}"/>
                  </a:ext>
                </a:extLst>
              </p:cNvPr>
              <p:cNvSpPr/>
              <p:nvPr/>
            </p:nvSpPr>
            <p:spPr>
              <a:xfrm>
                <a:off x="4689017" y="3803475"/>
                <a:ext cx="231284" cy="148384"/>
              </a:xfrm>
              <a:custGeom>
                <a:avLst/>
                <a:gdLst>
                  <a:gd name="connsiteX0" fmla="*/ 219886 w 231284"/>
                  <a:gd name="connsiteY0" fmla="*/ 31560 h 148384"/>
                  <a:gd name="connsiteX1" fmla="*/ 231285 w 231284"/>
                  <a:gd name="connsiteY1" fmla="*/ 52477 h 148384"/>
                  <a:gd name="connsiteX2" fmla="*/ 208031 w 231284"/>
                  <a:gd name="connsiteY2" fmla="*/ 66498 h 148384"/>
                  <a:gd name="connsiteX3" fmla="*/ 191958 w 231284"/>
                  <a:gd name="connsiteY3" fmla="*/ 77441 h 148384"/>
                  <a:gd name="connsiteX4" fmla="*/ 180559 w 231284"/>
                  <a:gd name="connsiteY4" fmla="*/ 75161 h 148384"/>
                  <a:gd name="connsiteX5" fmla="*/ 157306 w 231284"/>
                  <a:gd name="connsiteY5" fmla="*/ 88156 h 148384"/>
                  <a:gd name="connsiteX6" fmla="*/ 139181 w 231284"/>
                  <a:gd name="connsiteY6" fmla="*/ 109187 h 148384"/>
                  <a:gd name="connsiteX7" fmla="*/ 126813 w 231284"/>
                  <a:gd name="connsiteY7" fmla="*/ 114487 h 148384"/>
                  <a:gd name="connsiteX8" fmla="*/ 79679 w 231284"/>
                  <a:gd name="connsiteY8" fmla="*/ 130047 h 148384"/>
                  <a:gd name="connsiteX9" fmla="*/ 26959 w 231284"/>
                  <a:gd name="connsiteY9" fmla="*/ 147487 h 148384"/>
                  <a:gd name="connsiteX10" fmla="*/ 18865 w 231284"/>
                  <a:gd name="connsiteY10" fmla="*/ 147487 h 148384"/>
                  <a:gd name="connsiteX11" fmla="*/ 15674 w 231284"/>
                  <a:gd name="connsiteY11" fmla="*/ 140933 h 148384"/>
                  <a:gd name="connsiteX12" fmla="*/ 11000 w 231284"/>
                  <a:gd name="connsiteY12" fmla="*/ 116767 h 148384"/>
                  <a:gd name="connsiteX13" fmla="*/ 0 w 231284"/>
                  <a:gd name="connsiteY13" fmla="*/ 69233 h 148384"/>
                  <a:gd name="connsiteX14" fmla="*/ 798 w 231284"/>
                  <a:gd name="connsiteY14" fmla="*/ 68093 h 148384"/>
                  <a:gd name="connsiteX15" fmla="*/ 4275 w 231284"/>
                  <a:gd name="connsiteY15" fmla="*/ 50539 h 148384"/>
                  <a:gd name="connsiteX16" fmla="*/ 13109 w 231284"/>
                  <a:gd name="connsiteY16" fmla="*/ 35663 h 148384"/>
                  <a:gd name="connsiteX17" fmla="*/ 23938 w 231284"/>
                  <a:gd name="connsiteY17" fmla="*/ 34581 h 148384"/>
                  <a:gd name="connsiteX18" fmla="*/ 54430 w 231284"/>
                  <a:gd name="connsiteY18" fmla="*/ 36632 h 148384"/>
                  <a:gd name="connsiteX19" fmla="*/ 59047 w 231284"/>
                  <a:gd name="connsiteY19" fmla="*/ 37430 h 148384"/>
                  <a:gd name="connsiteX20" fmla="*/ 64404 w 231284"/>
                  <a:gd name="connsiteY20" fmla="*/ 40907 h 148384"/>
                  <a:gd name="connsiteX21" fmla="*/ 84637 w 231284"/>
                  <a:gd name="connsiteY21" fmla="*/ 44726 h 148384"/>
                  <a:gd name="connsiteX22" fmla="*/ 98715 w 231284"/>
                  <a:gd name="connsiteY22" fmla="*/ 43016 h 148384"/>
                  <a:gd name="connsiteX23" fmla="*/ 108347 w 231284"/>
                  <a:gd name="connsiteY23" fmla="*/ 33213 h 148384"/>
                  <a:gd name="connsiteX24" fmla="*/ 109487 w 231284"/>
                  <a:gd name="connsiteY24" fmla="*/ 27513 h 148384"/>
                  <a:gd name="connsiteX25" fmla="*/ 120886 w 231284"/>
                  <a:gd name="connsiteY25" fmla="*/ 20674 h 148384"/>
                  <a:gd name="connsiteX26" fmla="*/ 130290 w 231284"/>
                  <a:gd name="connsiteY26" fmla="*/ 13322 h 148384"/>
                  <a:gd name="connsiteX27" fmla="*/ 197487 w 231284"/>
                  <a:gd name="connsiteY27" fmla="*/ 1011 h 148384"/>
                  <a:gd name="connsiteX28" fmla="*/ 204269 w 231284"/>
                  <a:gd name="connsiteY28" fmla="*/ 2436 h 148384"/>
                  <a:gd name="connsiteX29" fmla="*/ 209969 w 231284"/>
                  <a:gd name="connsiteY29" fmla="*/ 7508 h 148384"/>
                  <a:gd name="connsiteX30" fmla="*/ 219886 w 231284"/>
                  <a:gd name="connsiteY30" fmla="*/ 31560 h 14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1284" h="148384">
                    <a:moveTo>
                      <a:pt x="219886" y="31560"/>
                    </a:moveTo>
                    <a:cubicBezTo>
                      <a:pt x="222975" y="38895"/>
                      <a:pt x="226793" y="45905"/>
                      <a:pt x="231285" y="52477"/>
                    </a:cubicBezTo>
                    <a:cubicBezTo>
                      <a:pt x="222701" y="55606"/>
                      <a:pt x="214802" y="60365"/>
                      <a:pt x="208031" y="66498"/>
                    </a:cubicBezTo>
                    <a:cubicBezTo>
                      <a:pt x="203300" y="71114"/>
                      <a:pt x="198627" y="77099"/>
                      <a:pt x="191958" y="77441"/>
                    </a:cubicBezTo>
                    <a:cubicBezTo>
                      <a:pt x="188100" y="77013"/>
                      <a:pt x="184287" y="76249"/>
                      <a:pt x="180559" y="75161"/>
                    </a:cubicBezTo>
                    <a:cubicBezTo>
                      <a:pt x="171326" y="73964"/>
                      <a:pt x="163005" y="80860"/>
                      <a:pt x="157306" y="88156"/>
                    </a:cubicBezTo>
                    <a:cubicBezTo>
                      <a:pt x="151606" y="95451"/>
                      <a:pt x="146990" y="104171"/>
                      <a:pt x="139181" y="109187"/>
                    </a:cubicBezTo>
                    <a:cubicBezTo>
                      <a:pt x="135288" y="111455"/>
                      <a:pt x="131139" y="113233"/>
                      <a:pt x="126813" y="114487"/>
                    </a:cubicBezTo>
                    <a:lnTo>
                      <a:pt x="79679" y="130047"/>
                    </a:lnTo>
                    <a:lnTo>
                      <a:pt x="26959" y="147487"/>
                    </a:lnTo>
                    <a:cubicBezTo>
                      <a:pt x="24394" y="148684"/>
                      <a:pt x="21430" y="148684"/>
                      <a:pt x="18865" y="147487"/>
                    </a:cubicBezTo>
                    <a:cubicBezTo>
                      <a:pt x="16950" y="145829"/>
                      <a:pt x="15799" y="143463"/>
                      <a:pt x="15674" y="140933"/>
                    </a:cubicBezTo>
                    <a:cubicBezTo>
                      <a:pt x="14078" y="132896"/>
                      <a:pt x="12539" y="124803"/>
                      <a:pt x="11000" y="116767"/>
                    </a:cubicBezTo>
                    <a:cubicBezTo>
                      <a:pt x="8036" y="101435"/>
                      <a:pt x="3876" y="85249"/>
                      <a:pt x="0" y="69233"/>
                    </a:cubicBezTo>
                    <a:cubicBezTo>
                      <a:pt x="0" y="68834"/>
                      <a:pt x="570" y="68492"/>
                      <a:pt x="798" y="68093"/>
                    </a:cubicBezTo>
                    <a:cubicBezTo>
                      <a:pt x="2821" y="62445"/>
                      <a:pt x="3995" y="56529"/>
                      <a:pt x="4275" y="50539"/>
                    </a:cubicBezTo>
                    <a:cubicBezTo>
                      <a:pt x="4600" y="44429"/>
                      <a:pt x="7900" y="38872"/>
                      <a:pt x="13109" y="35663"/>
                    </a:cubicBezTo>
                    <a:cubicBezTo>
                      <a:pt x="16574" y="34415"/>
                      <a:pt x="20296" y="34039"/>
                      <a:pt x="23938" y="34581"/>
                    </a:cubicBezTo>
                    <a:lnTo>
                      <a:pt x="54430" y="36632"/>
                    </a:lnTo>
                    <a:cubicBezTo>
                      <a:pt x="55997" y="36672"/>
                      <a:pt x="57553" y="36940"/>
                      <a:pt x="59047" y="37430"/>
                    </a:cubicBezTo>
                    <a:cubicBezTo>
                      <a:pt x="60962" y="38371"/>
                      <a:pt x="62763" y="39539"/>
                      <a:pt x="64404" y="40907"/>
                    </a:cubicBezTo>
                    <a:cubicBezTo>
                      <a:pt x="70611" y="44190"/>
                      <a:pt x="77661" y="45524"/>
                      <a:pt x="84637" y="44726"/>
                    </a:cubicBezTo>
                    <a:cubicBezTo>
                      <a:pt x="89391" y="44937"/>
                      <a:pt x="94150" y="44355"/>
                      <a:pt x="98715" y="43016"/>
                    </a:cubicBezTo>
                    <a:cubicBezTo>
                      <a:pt x="103366" y="41568"/>
                      <a:pt x="106979" y="37886"/>
                      <a:pt x="108347" y="33213"/>
                    </a:cubicBezTo>
                    <a:cubicBezTo>
                      <a:pt x="108512" y="31275"/>
                      <a:pt x="108894" y="29365"/>
                      <a:pt x="109487" y="27513"/>
                    </a:cubicBezTo>
                    <a:cubicBezTo>
                      <a:pt x="111368" y="23296"/>
                      <a:pt x="116896" y="22726"/>
                      <a:pt x="120886" y="20674"/>
                    </a:cubicBezTo>
                    <a:cubicBezTo>
                      <a:pt x="124328" y="18639"/>
                      <a:pt x="127486" y="16171"/>
                      <a:pt x="130290" y="13322"/>
                    </a:cubicBezTo>
                    <a:cubicBezTo>
                      <a:pt x="148073" y="-1839"/>
                      <a:pt x="174119" y="-813"/>
                      <a:pt x="197487" y="1011"/>
                    </a:cubicBezTo>
                    <a:cubicBezTo>
                      <a:pt x="199812" y="1085"/>
                      <a:pt x="202109" y="1564"/>
                      <a:pt x="204269" y="2436"/>
                    </a:cubicBezTo>
                    <a:cubicBezTo>
                      <a:pt x="206583" y="3593"/>
                      <a:pt x="208555" y="5342"/>
                      <a:pt x="209969" y="7508"/>
                    </a:cubicBezTo>
                    <a:cubicBezTo>
                      <a:pt x="214237" y="15094"/>
                      <a:pt x="217566" y="23170"/>
                      <a:pt x="219886" y="3156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1" name="Freihandform: Form 357">
                <a:extLst>
                  <a:ext uri="{FF2B5EF4-FFF2-40B4-BE49-F238E27FC236}">
                    <a16:creationId xmlns:a16="http://schemas.microsoft.com/office/drawing/2014/main" id="{E6B202AD-4818-8FAC-76D4-0D7672C7AE4E}"/>
                  </a:ext>
                </a:extLst>
              </p:cNvPr>
              <p:cNvSpPr/>
              <p:nvPr/>
            </p:nvSpPr>
            <p:spPr>
              <a:xfrm>
                <a:off x="4890836" y="3660460"/>
                <a:ext cx="166606" cy="195719"/>
              </a:xfrm>
              <a:custGeom>
                <a:avLst/>
                <a:gdLst>
                  <a:gd name="connsiteX0" fmla="*/ 99285 w 166606"/>
                  <a:gd name="connsiteY0" fmla="*/ 0 h 195719"/>
                  <a:gd name="connsiteX1" fmla="*/ 98943 w 166606"/>
                  <a:gd name="connsiteY1" fmla="*/ 741 h 195719"/>
                  <a:gd name="connsiteX2" fmla="*/ 119974 w 166606"/>
                  <a:gd name="connsiteY2" fmla="*/ 12140 h 195719"/>
                  <a:gd name="connsiteX3" fmla="*/ 125104 w 166606"/>
                  <a:gd name="connsiteY3" fmla="*/ 14876 h 195719"/>
                  <a:gd name="connsiteX4" fmla="*/ 162036 w 166606"/>
                  <a:gd name="connsiteY4" fmla="*/ 34425 h 195719"/>
                  <a:gd name="connsiteX5" fmla="*/ 158616 w 166606"/>
                  <a:gd name="connsiteY5" fmla="*/ 44342 h 195719"/>
                  <a:gd name="connsiteX6" fmla="*/ 166499 w 166606"/>
                  <a:gd name="connsiteY6" fmla="*/ 55051 h 195719"/>
                  <a:gd name="connsiteX7" fmla="*/ 166481 w 166606"/>
                  <a:gd name="connsiteY7" fmla="*/ 55171 h 195719"/>
                  <a:gd name="connsiteX8" fmla="*/ 159585 w 166606"/>
                  <a:gd name="connsiteY8" fmla="*/ 68394 h 195719"/>
                  <a:gd name="connsiteX9" fmla="*/ 129435 w 166606"/>
                  <a:gd name="connsiteY9" fmla="*/ 106466 h 195719"/>
                  <a:gd name="connsiteX10" fmla="*/ 122881 w 166606"/>
                  <a:gd name="connsiteY10" fmla="*/ 120202 h 195719"/>
                  <a:gd name="connsiteX11" fmla="*/ 124932 w 166606"/>
                  <a:gd name="connsiteY11" fmla="*/ 132798 h 195719"/>
                  <a:gd name="connsiteX12" fmla="*/ 120145 w 166606"/>
                  <a:gd name="connsiteY12" fmla="*/ 141746 h 195719"/>
                  <a:gd name="connsiteX13" fmla="*/ 60471 w 166606"/>
                  <a:gd name="connsiteY13" fmla="*/ 184777 h 195719"/>
                  <a:gd name="connsiteX14" fmla="*/ 29238 w 166606"/>
                  <a:gd name="connsiteY14" fmla="*/ 195720 h 195719"/>
                  <a:gd name="connsiteX15" fmla="*/ 17839 w 166606"/>
                  <a:gd name="connsiteY15" fmla="*/ 174803 h 195719"/>
                  <a:gd name="connsiteX16" fmla="*/ 7523 w 166606"/>
                  <a:gd name="connsiteY16" fmla="*/ 151093 h 195719"/>
                  <a:gd name="connsiteX17" fmla="*/ 1824 w 166606"/>
                  <a:gd name="connsiteY17" fmla="*/ 146020 h 195719"/>
                  <a:gd name="connsiteX18" fmla="*/ 0 w 166606"/>
                  <a:gd name="connsiteY18" fmla="*/ 145451 h 195719"/>
                  <a:gd name="connsiteX19" fmla="*/ 285 w 166606"/>
                  <a:gd name="connsiteY19" fmla="*/ 144881 h 195719"/>
                  <a:gd name="connsiteX20" fmla="*/ 2052 w 166606"/>
                  <a:gd name="connsiteY20" fmla="*/ 141746 h 195719"/>
                  <a:gd name="connsiteX21" fmla="*/ 7409 w 166606"/>
                  <a:gd name="connsiteY21" fmla="*/ 139010 h 195719"/>
                  <a:gd name="connsiteX22" fmla="*/ 21772 w 166606"/>
                  <a:gd name="connsiteY22" fmla="*/ 132057 h 195719"/>
                  <a:gd name="connsiteX23" fmla="*/ 23368 w 166606"/>
                  <a:gd name="connsiteY23" fmla="*/ 129549 h 195719"/>
                  <a:gd name="connsiteX24" fmla="*/ 26047 w 166606"/>
                  <a:gd name="connsiteY24" fmla="*/ 128238 h 195719"/>
                  <a:gd name="connsiteX25" fmla="*/ 48274 w 166606"/>
                  <a:gd name="connsiteY25" fmla="*/ 121399 h 195719"/>
                  <a:gd name="connsiteX26" fmla="*/ 51466 w 166606"/>
                  <a:gd name="connsiteY26" fmla="*/ 118891 h 195719"/>
                  <a:gd name="connsiteX27" fmla="*/ 58306 w 166606"/>
                  <a:gd name="connsiteY27" fmla="*/ 118891 h 195719"/>
                  <a:gd name="connsiteX28" fmla="*/ 72839 w 166606"/>
                  <a:gd name="connsiteY28" fmla="*/ 104642 h 195719"/>
                  <a:gd name="connsiteX29" fmla="*/ 82129 w 166606"/>
                  <a:gd name="connsiteY29" fmla="*/ 75803 h 195719"/>
                  <a:gd name="connsiteX30" fmla="*/ 81844 w 166606"/>
                  <a:gd name="connsiteY30" fmla="*/ 59617 h 195719"/>
                  <a:gd name="connsiteX31" fmla="*/ 72383 w 166606"/>
                  <a:gd name="connsiteY31" fmla="*/ 49699 h 195719"/>
                  <a:gd name="connsiteX32" fmla="*/ 68793 w 166606"/>
                  <a:gd name="connsiteY32" fmla="*/ 37389 h 195719"/>
                  <a:gd name="connsiteX33" fmla="*/ 80192 w 166606"/>
                  <a:gd name="connsiteY33" fmla="*/ 26617 h 195719"/>
                  <a:gd name="connsiteX34" fmla="*/ 80590 w 166606"/>
                  <a:gd name="connsiteY34" fmla="*/ 18694 h 195719"/>
                  <a:gd name="connsiteX35" fmla="*/ 86290 w 166606"/>
                  <a:gd name="connsiteY35" fmla="*/ 12368 h 195719"/>
                  <a:gd name="connsiteX36" fmla="*/ 90337 w 166606"/>
                  <a:gd name="connsiteY36" fmla="*/ 6668 h 195719"/>
                  <a:gd name="connsiteX37" fmla="*/ 99285 w 166606"/>
                  <a:gd name="connsiteY37" fmla="*/ 0 h 19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606" h="195719">
                    <a:moveTo>
                      <a:pt x="99285" y="0"/>
                    </a:moveTo>
                    <a:lnTo>
                      <a:pt x="98943" y="741"/>
                    </a:lnTo>
                    <a:lnTo>
                      <a:pt x="119974" y="12140"/>
                    </a:lnTo>
                    <a:lnTo>
                      <a:pt x="125104" y="14876"/>
                    </a:lnTo>
                    <a:lnTo>
                      <a:pt x="162036" y="34425"/>
                    </a:lnTo>
                    <a:lnTo>
                      <a:pt x="158616" y="44342"/>
                    </a:lnTo>
                    <a:cubicBezTo>
                      <a:pt x="163751" y="45123"/>
                      <a:pt x="167279" y="49916"/>
                      <a:pt x="166499" y="55051"/>
                    </a:cubicBezTo>
                    <a:cubicBezTo>
                      <a:pt x="166493" y="55091"/>
                      <a:pt x="166487" y="55131"/>
                      <a:pt x="166481" y="55171"/>
                    </a:cubicBezTo>
                    <a:cubicBezTo>
                      <a:pt x="165479" y="60141"/>
                      <a:pt x="163090" y="64729"/>
                      <a:pt x="159585" y="68394"/>
                    </a:cubicBezTo>
                    <a:lnTo>
                      <a:pt x="129435" y="106466"/>
                    </a:lnTo>
                    <a:cubicBezTo>
                      <a:pt x="125742" y="110159"/>
                      <a:pt x="123428" y="115010"/>
                      <a:pt x="122881" y="120202"/>
                    </a:cubicBezTo>
                    <a:cubicBezTo>
                      <a:pt x="122881" y="124476"/>
                      <a:pt x="125445" y="128523"/>
                      <a:pt x="124932" y="132798"/>
                    </a:cubicBezTo>
                    <a:cubicBezTo>
                      <a:pt x="124277" y="136195"/>
                      <a:pt x="122607" y="139318"/>
                      <a:pt x="120145" y="141746"/>
                    </a:cubicBezTo>
                    <a:cubicBezTo>
                      <a:pt x="104186" y="160879"/>
                      <a:pt x="83662" y="175675"/>
                      <a:pt x="60471" y="184777"/>
                    </a:cubicBezTo>
                    <a:cubicBezTo>
                      <a:pt x="50269" y="188710"/>
                      <a:pt x="39383" y="191673"/>
                      <a:pt x="29238" y="195720"/>
                    </a:cubicBezTo>
                    <a:cubicBezTo>
                      <a:pt x="24747" y="189148"/>
                      <a:pt x="20928" y="182138"/>
                      <a:pt x="17839" y="174803"/>
                    </a:cubicBezTo>
                    <a:cubicBezTo>
                      <a:pt x="15366" y="166516"/>
                      <a:pt x="11906" y="158554"/>
                      <a:pt x="7523" y="151093"/>
                    </a:cubicBezTo>
                    <a:cubicBezTo>
                      <a:pt x="6110" y="148927"/>
                      <a:pt x="4138" y="147177"/>
                      <a:pt x="1824" y="146020"/>
                    </a:cubicBezTo>
                    <a:cubicBezTo>
                      <a:pt x="1237" y="145770"/>
                      <a:pt x="627" y="145582"/>
                      <a:pt x="0" y="145451"/>
                    </a:cubicBezTo>
                    <a:cubicBezTo>
                      <a:pt x="74" y="145251"/>
                      <a:pt x="165" y="145057"/>
                      <a:pt x="285" y="144881"/>
                    </a:cubicBezTo>
                    <a:cubicBezTo>
                      <a:pt x="707" y="143746"/>
                      <a:pt x="1299" y="142692"/>
                      <a:pt x="2052" y="141746"/>
                    </a:cubicBezTo>
                    <a:cubicBezTo>
                      <a:pt x="3522" y="140321"/>
                      <a:pt x="5392" y="139363"/>
                      <a:pt x="7409" y="139010"/>
                    </a:cubicBezTo>
                    <a:cubicBezTo>
                      <a:pt x="12710" y="137642"/>
                      <a:pt x="18808" y="136787"/>
                      <a:pt x="21772" y="132057"/>
                    </a:cubicBezTo>
                    <a:cubicBezTo>
                      <a:pt x="22182" y="131151"/>
                      <a:pt x="22718" y="130307"/>
                      <a:pt x="23368" y="129549"/>
                    </a:cubicBezTo>
                    <a:cubicBezTo>
                      <a:pt x="24132" y="128882"/>
                      <a:pt x="25055" y="128432"/>
                      <a:pt x="26047" y="128238"/>
                    </a:cubicBezTo>
                    <a:cubicBezTo>
                      <a:pt x="33627" y="126129"/>
                      <a:pt x="42461" y="126642"/>
                      <a:pt x="48274" y="121399"/>
                    </a:cubicBezTo>
                    <a:cubicBezTo>
                      <a:pt x="49204" y="120407"/>
                      <a:pt x="50281" y="119564"/>
                      <a:pt x="51466" y="118891"/>
                    </a:cubicBezTo>
                    <a:cubicBezTo>
                      <a:pt x="53723" y="118429"/>
                      <a:pt x="56049" y="118429"/>
                      <a:pt x="58306" y="118891"/>
                    </a:cubicBezTo>
                    <a:cubicBezTo>
                      <a:pt x="65544" y="118891"/>
                      <a:pt x="70103" y="111311"/>
                      <a:pt x="72839" y="104642"/>
                    </a:cubicBezTo>
                    <a:cubicBezTo>
                      <a:pt x="76726" y="95301"/>
                      <a:pt x="79838" y="85658"/>
                      <a:pt x="82129" y="75803"/>
                    </a:cubicBezTo>
                    <a:cubicBezTo>
                      <a:pt x="83925" y="70537"/>
                      <a:pt x="83822" y="64814"/>
                      <a:pt x="81844" y="59617"/>
                    </a:cubicBezTo>
                    <a:cubicBezTo>
                      <a:pt x="79222" y="55843"/>
                      <a:pt x="76031" y="52498"/>
                      <a:pt x="72383" y="49699"/>
                    </a:cubicBezTo>
                    <a:cubicBezTo>
                      <a:pt x="68775" y="46724"/>
                      <a:pt x="67350" y="41840"/>
                      <a:pt x="68793" y="37389"/>
                    </a:cubicBezTo>
                    <a:cubicBezTo>
                      <a:pt x="71300" y="32658"/>
                      <a:pt x="78995" y="31689"/>
                      <a:pt x="80192" y="26617"/>
                    </a:cubicBezTo>
                    <a:cubicBezTo>
                      <a:pt x="80876" y="24052"/>
                      <a:pt x="79679" y="21202"/>
                      <a:pt x="80590" y="18694"/>
                    </a:cubicBezTo>
                    <a:cubicBezTo>
                      <a:pt x="81502" y="16186"/>
                      <a:pt x="84523" y="14477"/>
                      <a:pt x="86290" y="12368"/>
                    </a:cubicBezTo>
                    <a:cubicBezTo>
                      <a:pt x="87755" y="10556"/>
                      <a:pt x="89105" y="8652"/>
                      <a:pt x="90337" y="6668"/>
                    </a:cubicBezTo>
                    <a:cubicBezTo>
                      <a:pt x="92702" y="3716"/>
                      <a:pt x="95780" y="1419"/>
                      <a:pt x="99285"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2" name="Freihandform: Form 358">
                <a:extLst>
                  <a:ext uri="{FF2B5EF4-FFF2-40B4-BE49-F238E27FC236}">
                    <a16:creationId xmlns:a16="http://schemas.microsoft.com/office/drawing/2014/main" id="{6C91BFE0-A3A1-777A-274D-FF3D6539F7D1}"/>
                  </a:ext>
                </a:extLst>
              </p:cNvPr>
              <p:cNvSpPr/>
              <p:nvPr/>
            </p:nvSpPr>
            <p:spPr>
              <a:xfrm>
                <a:off x="4894164" y="3626495"/>
                <a:ext cx="101829" cy="85806"/>
              </a:xfrm>
              <a:custGeom>
                <a:avLst/>
                <a:gdLst>
                  <a:gd name="connsiteX0" fmla="*/ 376 w 101829"/>
                  <a:gd name="connsiteY0" fmla="*/ 56364 h 85806"/>
                  <a:gd name="connsiteX1" fmla="*/ 1972 w 101829"/>
                  <a:gd name="connsiteY1" fmla="*/ 50152 h 85806"/>
                  <a:gd name="connsiteX2" fmla="*/ 22718 w 101829"/>
                  <a:gd name="connsiteY2" fmla="*/ 48784 h 85806"/>
                  <a:gd name="connsiteX3" fmla="*/ 48821 w 101829"/>
                  <a:gd name="connsiteY3" fmla="*/ 45649 h 85806"/>
                  <a:gd name="connsiteX4" fmla="*/ 62842 w 101829"/>
                  <a:gd name="connsiteY4" fmla="*/ 25872 h 85806"/>
                  <a:gd name="connsiteX5" fmla="*/ 76008 w 101829"/>
                  <a:gd name="connsiteY5" fmla="*/ 16468 h 85806"/>
                  <a:gd name="connsiteX6" fmla="*/ 84671 w 101829"/>
                  <a:gd name="connsiteY6" fmla="*/ 1022 h 85806"/>
                  <a:gd name="connsiteX7" fmla="*/ 101770 w 101829"/>
                  <a:gd name="connsiteY7" fmla="*/ 12421 h 85806"/>
                  <a:gd name="connsiteX8" fmla="*/ 96070 w 101829"/>
                  <a:gd name="connsiteY8" fmla="*/ 34250 h 85806"/>
                  <a:gd name="connsiteX9" fmla="*/ 88091 w 101829"/>
                  <a:gd name="connsiteY9" fmla="*/ 40577 h 85806"/>
                  <a:gd name="connsiteX10" fmla="*/ 84044 w 101829"/>
                  <a:gd name="connsiteY10" fmla="*/ 46276 h 85806"/>
                  <a:gd name="connsiteX11" fmla="*/ 78345 w 101829"/>
                  <a:gd name="connsiteY11" fmla="*/ 52603 h 85806"/>
                  <a:gd name="connsiteX12" fmla="*/ 77946 w 101829"/>
                  <a:gd name="connsiteY12" fmla="*/ 60525 h 85806"/>
                  <a:gd name="connsiteX13" fmla="*/ 66547 w 101829"/>
                  <a:gd name="connsiteY13" fmla="*/ 71297 h 85806"/>
                  <a:gd name="connsiteX14" fmla="*/ 68941 w 101829"/>
                  <a:gd name="connsiteY14" fmla="*/ 82354 h 85806"/>
                  <a:gd name="connsiteX15" fmla="*/ 65977 w 101829"/>
                  <a:gd name="connsiteY15" fmla="*/ 83152 h 85806"/>
                  <a:gd name="connsiteX16" fmla="*/ 31153 w 101829"/>
                  <a:gd name="connsiteY16" fmla="*/ 85489 h 85806"/>
                  <a:gd name="connsiteX17" fmla="*/ 21977 w 101829"/>
                  <a:gd name="connsiteY17" fmla="*/ 83038 h 85806"/>
                  <a:gd name="connsiteX18" fmla="*/ 18215 w 101829"/>
                  <a:gd name="connsiteY18" fmla="*/ 78136 h 85806"/>
                  <a:gd name="connsiteX19" fmla="*/ 7899 w 101829"/>
                  <a:gd name="connsiteY19" fmla="*/ 74717 h 85806"/>
                  <a:gd name="connsiteX20" fmla="*/ 604 w 101829"/>
                  <a:gd name="connsiteY20" fmla="*/ 62805 h 85806"/>
                  <a:gd name="connsiteX21" fmla="*/ 376 w 101829"/>
                  <a:gd name="connsiteY21" fmla="*/ 56364 h 8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829" h="85806">
                    <a:moveTo>
                      <a:pt x="376" y="56364"/>
                    </a:moveTo>
                    <a:lnTo>
                      <a:pt x="1972" y="50152"/>
                    </a:lnTo>
                    <a:cubicBezTo>
                      <a:pt x="8914" y="50232"/>
                      <a:pt x="15850" y="49770"/>
                      <a:pt x="22718" y="48784"/>
                    </a:cubicBezTo>
                    <a:cubicBezTo>
                      <a:pt x="31518" y="48864"/>
                      <a:pt x="40289" y="47809"/>
                      <a:pt x="48821" y="45649"/>
                    </a:cubicBezTo>
                    <a:cubicBezTo>
                      <a:pt x="57086" y="42629"/>
                      <a:pt x="64495" y="34250"/>
                      <a:pt x="62842" y="25872"/>
                    </a:cubicBezTo>
                    <a:cubicBezTo>
                      <a:pt x="68542" y="28323"/>
                      <a:pt x="74241" y="22224"/>
                      <a:pt x="76008" y="16468"/>
                    </a:cubicBezTo>
                    <a:cubicBezTo>
                      <a:pt x="77775" y="10711"/>
                      <a:pt x="79314" y="3872"/>
                      <a:pt x="84671" y="1022"/>
                    </a:cubicBezTo>
                    <a:cubicBezTo>
                      <a:pt x="91682" y="-2682"/>
                      <a:pt x="100516" y="4271"/>
                      <a:pt x="101770" y="12421"/>
                    </a:cubicBezTo>
                    <a:cubicBezTo>
                      <a:pt x="102208" y="20116"/>
                      <a:pt x="100214" y="27753"/>
                      <a:pt x="96070" y="34250"/>
                    </a:cubicBezTo>
                    <a:cubicBezTo>
                      <a:pt x="92953" y="35709"/>
                      <a:pt x="90223" y="37875"/>
                      <a:pt x="88091" y="40577"/>
                    </a:cubicBezTo>
                    <a:cubicBezTo>
                      <a:pt x="86860" y="42560"/>
                      <a:pt x="85509" y="44464"/>
                      <a:pt x="84044" y="46276"/>
                    </a:cubicBezTo>
                    <a:cubicBezTo>
                      <a:pt x="81992" y="48385"/>
                      <a:pt x="78972" y="49810"/>
                      <a:pt x="78345" y="52603"/>
                    </a:cubicBezTo>
                    <a:cubicBezTo>
                      <a:pt x="77718" y="55395"/>
                      <a:pt x="78345" y="57960"/>
                      <a:pt x="77946" y="60525"/>
                    </a:cubicBezTo>
                    <a:cubicBezTo>
                      <a:pt x="76521" y="65711"/>
                      <a:pt x="68827" y="66566"/>
                      <a:pt x="66547" y="71297"/>
                    </a:cubicBezTo>
                    <a:cubicBezTo>
                      <a:pt x="65088" y="75133"/>
                      <a:pt x="66028" y="79464"/>
                      <a:pt x="68941" y="82354"/>
                    </a:cubicBezTo>
                    <a:lnTo>
                      <a:pt x="65977" y="83152"/>
                    </a:lnTo>
                    <a:cubicBezTo>
                      <a:pt x="54532" y="85528"/>
                      <a:pt x="42814" y="86315"/>
                      <a:pt x="31153" y="85489"/>
                    </a:cubicBezTo>
                    <a:cubicBezTo>
                      <a:pt x="27904" y="85756"/>
                      <a:pt x="24662" y="84890"/>
                      <a:pt x="21977" y="83038"/>
                    </a:cubicBezTo>
                    <a:cubicBezTo>
                      <a:pt x="20632" y="81476"/>
                      <a:pt x="19372" y="79840"/>
                      <a:pt x="18215" y="78136"/>
                    </a:cubicBezTo>
                    <a:cubicBezTo>
                      <a:pt x="15662" y="75195"/>
                      <a:pt x="11707" y="73884"/>
                      <a:pt x="7899" y="74717"/>
                    </a:cubicBezTo>
                    <a:cubicBezTo>
                      <a:pt x="9495" y="70100"/>
                      <a:pt x="2200" y="67421"/>
                      <a:pt x="604" y="62805"/>
                    </a:cubicBezTo>
                    <a:cubicBezTo>
                      <a:pt x="-114" y="60730"/>
                      <a:pt x="-194" y="58484"/>
                      <a:pt x="376" y="563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3" name="Freihandform: Form 359">
                <a:extLst>
                  <a:ext uri="{FF2B5EF4-FFF2-40B4-BE49-F238E27FC236}">
                    <a16:creationId xmlns:a16="http://schemas.microsoft.com/office/drawing/2014/main" id="{A23F671B-F2DF-BAF2-A9D6-DD18BB4FD56A}"/>
                  </a:ext>
                </a:extLst>
              </p:cNvPr>
              <p:cNvSpPr/>
              <p:nvPr/>
            </p:nvSpPr>
            <p:spPr>
              <a:xfrm>
                <a:off x="4865302" y="3626206"/>
                <a:ext cx="19720" cy="36704"/>
              </a:xfrm>
              <a:custGeom>
                <a:avLst/>
                <a:gdLst>
                  <a:gd name="connsiteX0" fmla="*/ 4047 w 19720"/>
                  <a:gd name="connsiteY0" fmla="*/ 32886 h 36704"/>
                  <a:gd name="connsiteX1" fmla="*/ 0 w 19720"/>
                  <a:gd name="connsiteY1" fmla="*/ 26445 h 36704"/>
                  <a:gd name="connsiteX2" fmla="*/ 9860 w 19720"/>
                  <a:gd name="connsiteY2" fmla="*/ 0 h 36704"/>
                  <a:gd name="connsiteX3" fmla="*/ 19720 w 19720"/>
                  <a:gd name="connsiteY3" fmla="*/ 5243 h 36704"/>
                  <a:gd name="connsiteX4" fmla="*/ 19720 w 19720"/>
                  <a:gd name="connsiteY4" fmla="*/ 23995 h 36704"/>
                  <a:gd name="connsiteX5" fmla="*/ 13149 w 19720"/>
                  <a:gd name="connsiteY5" fmla="*/ 36659 h 36704"/>
                  <a:gd name="connsiteX6" fmla="*/ 13166 w 19720"/>
                  <a:gd name="connsiteY6" fmla="*/ 36705 h 36704"/>
                  <a:gd name="connsiteX7" fmla="*/ 9347 w 19720"/>
                  <a:gd name="connsiteY7" fmla="*/ 35850 h 36704"/>
                  <a:gd name="connsiteX8" fmla="*/ 4047 w 19720"/>
                  <a:gd name="connsiteY8" fmla="*/ 32886 h 36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20" h="36704">
                    <a:moveTo>
                      <a:pt x="4047" y="32886"/>
                    </a:moveTo>
                    <a:cubicBezTo>
                      <a:pt x="2246" y="31056"/>
                      <a:pt x="867" y="28862"/>
                      <a:pt x="0" y="26445"/>
                    </a:cubicBezTo>
                    <a:cubicBezTo>
                      <a:pt x="2063" y="17218"/>
                      <a:pt x="5380" y="8321"/>
                      <a:pt x="9860" y="0"/>
                    </a:cubicBezTo>
                    <a:lnTo>
                      <a:pt x="19720" y="5243"/>
                    </a:lnTo>
                    <a:cubicBezTo>
                      <a:pt x="19720" y="11513"/>
                      <a:pt x="19720" y="17725"/>
                      <a:pt x="19720" y="23995"/>
                    </a:cubicBezTo>
                    <a:cubicBezTo>
                      <a:pt x="14408" y="25676"/>
                      <a:pt x="11467" y="31347"/>
                      <a:pt x="13149" y="36659"/>
                    </a:cubicBezTo>
                    <a:cubicBezTo>
                      <a:pt x="13155" y="36676"/>
                      <a:pt x="13160" y="36687"/>
                      <a:pt x="13166" y="36705"/>
                    </a:cubicBezTo>
                    <a:cubicBezTo>
                      <a:pt x="11878" y="36499"/>
                      <a:pt x="10601" y="36214"/>
                      <a:pt x="9347" y="35850"/>
                    </a:cubicBezTo>
                    <a:cubicBezTo>
                      <a:pt x="7404" y="35223"/>
                      <a:pt x="5603" y="34214"/>
                      <a:pt x="4047" y="32886"/>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644" name="Freihandform: Form 360">
                <a:extLst>
                  <a:ext uri="{FF2B5EF4-FFF2-40B4-BE49-F238E27FC236}">
                    <a16:creationId xmlns:a16="http://schemas.microsoft.com/office/drawing/2014/main" id="{D3D5E8CF-0F18-7CAE-A8B2-193B118023B6}"/>
                  </a:ext>
                </a:extLst>
              </p:cNvPr>
              <p:cNvSpPr/>
              <p:nvPr/>
            </p:nvSpPr>
            <p:spPr>
              <a:xfrm>
                <a:off x="4859691" y="3616408"/>
                <a:ext cx="7705" cy="12653"/>
              </a:xfrm>
              <a:custGeom>
                <a:avLst/>
                <a:gdLst>
                  <a:gd name="connsiteX0" fmla="*/ 1565 w 7705"/>
                  <a:gd name="connsiteY0" fmla="*/ 1363 h 12653"/>
                  <a:gd name="connsiteX1" fmla="*/ 2534 w 7705"/>
                  <a:gd name="connsiteY1" fmla="*/ 565 h 12653"/>
                  <a:gd name="connsiteX2" fmla="*/ 6580 w 7705"/>
                  <a:gd name="connsiteY2" fmla="*/ 223 h 12653"/>
                  <a:gd name="connsiteX3" fmla="*/ 7207 w 7705"/>
                  <a:gd name="connsiteY3" fmla="*/ 565 h 12653"/>
                  <a:gd name="connsiteX4" fmla="*/ 7207 w 7705"/>
                  <a:gd name="connsiteY4" fmla="*/ 1078 h 12653"/>
                  <a:gd name="connsiteX5" fmla="*/ 7663 w 7705"/>
                  <a:gd name="connsiteY5" fmla="*/ 4156 h 12653"/>
                  <a:gd name="connsiteX6" fmla="*/ 7663 w 7705"/>
                  <a:gd name="connsiteY6" fmla="*/ 5353 h 12653"/>
                  <a:gd name="connsiteX7" fmla="*/ 6067 w 7705"/>
                  <a:gd name="connsiteY7" fmla="*/ 7917 h 12653"/>
                  <a:gd name="connsiteX8" fmla="*/ 6067 w 7705"/>
                  <a:gd name="connsiteY8" fmla="*/ 8829 h 12653"/>
                  <a:gd name="connsiteX9" fmla="*/ 2254 w 7705"/>
                  <a:gd name="connsiteY9" fmla="*/ 12654 h 12653"/>
                  <a:gd name="connsiteX10" fmla="*/ 2021 w 7705"/>
                  <a:gd name="connsiteY10" fmla="*/ 12648 h 12653"/>
                  <a:gd name="connsiteX11" fmla="*/ 824 w 7705"/>
                  <a:gd name="connsiteY11" fmla="*/ 12078 h 12653"/>
                  <a:gd name="connsiteX12" fmla="*/ 824 w 7705"/>
                  <a:gd name="connsiteY12" fmla="*/ 9171 h 12653"/>
                  <a:gd name="connsiteX13" fmla="*/ 368 w 7705"/>
                  <a:gd name="connsiteY13" fmla="*/ 7746 h 12653"/>
                  <a:gd name="connsiteX14" fmla="*/ 1565 w 7705"/>
                  <a:gd name="connsiteY14" fmla="*/ 1363 h 1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 h="12653">
                    <a:moveTo>
                      <a:pt x="1565" y="1363"/>
                    </a:moveTo>
                    <a:cubicBezTo>
                      <a:pt x="1850" y="1055"/>
                      <a:pt x="2175" y="782"/>
                      <a:pt x="2534" y="565"/>
                    </a:cubicBezTo>
                    <a:cubicBezTo>
                      <a:pt x="3793" y="-45"/>
                      <a:pt x="5235" y="-164"/>
                      <a:pt x="6580" y="223"/>
                    </a:cubicBezTo>
                    <a:cubicBezTo>
                      <a:pt x="6825" y="252"/>
                      <a:pt x="7048" y="377"/>
                      <a:pt x="7207" y="565"/>
                    </a:cubicBezTo>
                    <a:cubicBezTo>
                      <a:pt x="7264" y="730"/>
                      <a:pt x="7264" y="913"/>
                      <a:pt x="7207" y="1078"/>
                    </a:cubicBezTo>
                    <a:cubicBezTo>
                      <a:pt x="7207" y="2104"/>
                      <a:pt x="7549" y="3130"/>
                      <a:pt x="7663" y="4156"/>
                    </a:cubicBezTo>
                    <a:cubicBezTo>
                      <a:pt x="7720" y="4555"/>
                      <a:pt x="7720" y="4954"/>
                      <a:pt x="7663" y="5353"/>
                    </a:cubicBezTo>
                    <a:cubicBezTo>
                      <a:pt x="7663" y="6322"/>
                      <a:pt x="6238" y="6949"/>
                      <a:pt x="6067" y="7917"/>
                    </a:cubicBezTo>
                    <a:cubicBezTo>
                      <a:pt x="6039" y="8219"/>
                      <a:pt x="6039" y="8527"/>
                      <a:pt x="6067" y="8829"/>
                    </a:cubicBezTo>
                    <a:cubicBezTo>
                      <a:pt x="6073" y="10938"/>
                      <a:pt x="4363" y="12654"/>
                      <a:pt x="2254" y="12654"/>
                    </a:cubicBezTo>
                    <a:cubicBezTo>
                      <a:pt x="2175" y="12654"/>
                      <a:pt x="2101" y="12654"/>
                      <a:pt x="2021" y="12648"/>
                    </a:cubicBezTo>
                    <a:cubicBezTo>
                      <a:pt x="1565" y="12614"/>
                      <a:pt x="1137" y="12414"/>
                      <a:pt x="824" y="12078"/>
                    </a:cubicBezTo>
                    <a:cubicBezTo>
                      <a:pt x="140" y="11337"/>
                      <a:pt x="824" y="10140"/>
                      <a:pt x="824" y="9171"/>
                    </a:cubicBezTo>
                    <a:cubicBezTo>
                      <a:pt x="733" y="8681"/>
                      <a:pt x="585" y="8197"/>
                      <a:pt x="368" y="7746"/>
                    </a:cubicBezTo>
                    <a:cubicBezTo>
                      <a:pt x="-402" y="5558"/>
                      <a:pt x="54" y="3124"/>
                      <a:pt x="1565" y="13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5" name="Freihandform: Form 361">
                <a:extLst>
                  <a:ext uri="{FF2B5EF4-FFF2-40B4-BE49-F238E27FC236}">
                    <a16:creationId xmlns:a16="http://schemas.microsoft.com/office/drawing/2014/main" id="{26E42505-20F1-B1BB-E22C-0FBEC6236945}"/>
                  </a:ext>
                </a:extLst>
              </p:cNvPr>
              <p:cNvSpPr/>
              <p:nvPr/>
            </p:nvSpPr>
            <p:spPr>
              <a:xfrm>
                <a:off x="4516781" y="3468028"/>
                <a:ext cx="457913" cy="404851"/>
              </a:xfrm>
              <a:custGeom>
                <a:avLst/>
                <a:gdLst>
                  <a:gd name="connsiteX0" fmla="*/ 297624 w 457913"/>
                  <a:gd name="connsiteY0" fmla="*/ 92748 h 404851"/>
                  <a:gd name="connsiteX1" fmla="*/ 323500 w 457913"/>
                  <a:gd name="connsiteY1" fmla="*/ 128541 h 404851"/>
                  <a:gd name="connsiteX2" fmla="*/ 333075 w 457913"/>
                  <a:gd name="connsiteY2" fmla="*/ 138686 h 404851"/>
                  <a:gd name="connsiteX3" fmla="*/ 335241 w 457913"/>
                  <a:gd name="connsiteY3" fmla="*/ 160401 h 404851"/>
                  <a:gd name="connsiteX4" fmla="*/ 347837 w 457913"/>
                  <a:gd name="connsiteY4" fmla="*/ 187245 h 404851"/>
                  <a:gd name="connsiteX5" fmla="*/ 348521 w 457913"/>
                  <a:gd name="connsiteY5" fmla="*/ 184396 h 404851"/>
                  <a:gd name="connsiteX6" fmla="*/ 352567 w 457913"/>
                  <a:gd name="connsiteY6" fmla="*/ 190836 h 404851"/>
                  <a:gd name="connsiteX7" fmla="*/ 357811 w 457913"/>
                  <a:gd name="connsiteY7" fmla="*/ 193800 h 404851"/>
                  <a:gd name="connsiteX8" fmla="*/ 361630 w 457913"/>
                  <a:gd name="connsiteY8" fmla="*/ 194655 h 404851"/>
                  <a:gd name="connsiteX9" fmla="*/ 369267 w 457913"/>
                  <a:gd name="connsiteY9" fmla="*/ 206054 h 404851"/>
                  <a:gd name="connsiteX10" fmla="*/ 379355 w 457913"/>
                  <a:gd name="connsiteY10" fmla="*/ 208675 h 404851"/>
                  <a:gd name="connsiteX11" fmla="*/ 377759 w 457913"/>
                  <a:gd name="connsiteY11" fmla="*/ 214888 h 404851"/>
                  <a:gd name="connsiteX12" fmla="*/ 377360 w 457913"/>
                  <a:gd name="connsiteY12" fmla="*/ 220929 h 404851"/>
                  <a:gd name="connsiteX13" fmla="*/ 384656 w 457913"/>
                  <a:gd name="connsiteY13" fmla="*/ 232841 h 404851"/>
                  <a:gd name="connsiteX14" fmla="*/ 394972 w 457913"/>
                  <a:gd name="connsiteY14" fmla="*/ 236261 h 404851"/>
                  <a:gd name="connsiteX15" fmla="*/ 398733 w 457913"/>
                  <a:gd name="connsiteY15" fmla="*/ 241163 h 404851"/>
                  <a:gd name="connsiteX16" fmla="*/ 407909 w 457913"/>
                  <a:gd name="connsiteY16" fmla="*/ 243613 h 404851"/>
                  <a:gd name="connsiteX17" fmla="*/ 442733 w 457913"/>
                  <a:gd name="connsiteY17" fmla="*/ 241276 h 404851"/>
                  <a:gd name="connsiteX18" fmla="*/ 445697 w 457913"/>
                  <a:gd name="connsiteY18" fmla="*/ 240479 h 404851"/>
                  <a:gd name="connsiteX19" fmla="*/ 446894 w 457913"/>
                  <a:gd name="connsiteY19" fmla="*/ 241732 h 404851"/>
                  <a:gd name="connsiteX20" fmla="*/ 456355 w 457913"/>
                  <a:gd name="connsiteY20" fmla="*/ 251650 h 404851"/>
                  <a:gd name="connsiteX21" fmla="*/ 456640 w 457913"/>
                  <a:gd name="connsiteY21" fmla="*/ 267836 h 404851"/>
                  <a:gd name="connsiteX22" fmla="*/ 447350 w 457913"/>
                  <a:gd name="connsiteY22" fmla="*/ 296675 h 404851"/>
                  <a:gd name="connsiteX23" fmla="*/ 432816 w 457913"/>
                  <a:gd name="connsiteY23" fmla="*/ 310924 h 404851"/>
                  <a:gd name="connsiteX24" fmla="*/ 425977 w 457913"/>
                  <a:gd name="connsiteY24" fmla="*/ 310924 h 404851"/>
                  <a:gd name="connsiteX25" fmla="*/ 422785 w 457913"/>
                  <a:gd name="connsiteY25" fmla="*/ 313432 h 404851"/>
                  <a:gd name="connsiteX26" fmla="*/ 400557 w 457913"/>
                  <a:gd name="connsiteY26" fmla="*/ 320271 h 404851"/>
                  <a:gd name="connsiteX27" fmla="*/ 397878 w 457913"/>
                  <a:gd name="connsiteY27" fmla="*/ 321582 h 404851"/>
                  <a:gd name="connsiteX28" fmla="*/ 396282 w 457913"/>
                  <a:gd name="connsiteY28" fmla="*/ 324090 h 404851"/>
                  <a:gd name="connsiteX29" fmla="*/ 381920 w 457913"/>
                  <a:gd name="connsiteY29" fmla="*/ 331043 h 404851"/>
                  <a:gd name="connsiteX30" fmla="*/ 376562 w 457913"/>
                  <a:gd name="connsiteY30" fmla="*/ 333779 h 404851"/>
                  <a:gd name="connsiteX31" fmla="*/ 374796 w 457913"/>
                  <a:gd name="connsiteY31" fmla="*/ 336914 h 404851"/>
                  <a:gd name="connsiteX32" fmla="*/ 374510 w 457913"/>
                  <a:gd name="connsiteY32" fmla="*/ 337484 h 404851"/>
                  <a:gd name="connsiteX33" fmla="*/ 369552 w 457913"/>
                  <a:gd name="connsiteY33" fmla="*/ 336629 h 404851"/>
                  <a:gd name="connsiteX34" fmla="*/ 302355 w 457913"/>
                  <a:gd name="connsiteY34" fmla="*/ 348940 h 404851"/>
                  <a:gd name="connsiteX35" fmla="*/ 292951 w 457913"/>
                  <a:gd name="connsiteY35" fmla="*/ 356292 h 404851"/>
                  <a:gd name="connsiteX36" fmla="*/ 281552 w 457913"/>
                  <a:gd name="connsiteY36" fmla="*/ 363131 h 404851"/>
                  <a:gd name="connsiteX37" fmla="*/ 280412 w 457913"/>
                  <a:gd name="connsiteY37" fmla="*/ 368831 h 404851"/>
                  <a:gd name="connsiteX38" fmla="*/ 270780 w 457913"/>
                  <a:gd name="connsiteY38" fmla="*/ 378634 h 404851"/>
                  <a:gd name="connsiteX39" fmla="*/ 256702 w 457913"/>
                  <a:gd name="connsiteY39" fmla="*/ 380344 h 404851"/>
                  <a:gd name="connsiteX40" fmla="*/ 236469 w 457913"/>
                  <a:gd name="connsiteY40" fmla="*/ 376525 h 404851"/>
                  <a:gd name="connsiteX41" fmla="*/ 231112 w 457913"/>
                  <a:gd name="connsiteY41" fmla="*/ 373048 h 404851"/>
                  <a:gd name="connsiteX42" fmla="*/ 226495 w 457913"/>
                  <a:gd name="connsiteY42" fmla="*/ 372250 h 404851"/>
                  <a:gd name="connsiteX43" fmla="*/ 196003 w 457913"/>
                  <a:gd name="connsiteY43" fmla="*/ 370198 h 404851"/>
                  <a:gd name="connsiteX44" fmla="*/ 185174 w 457913"/>
                  <a:gd name="connsiteY44" fmla="*/ 371281 h 404851"/>
                  <a:gd name="connsiteX45" fmla="*/ 176340 w 457913"/>
                  <a:gd name="connsiteY45" fmla="*/ 386157 h 404851"/>
                  <a:gd name="connsiteX46" fmla="*/ 172863 w 457913"/>
                  <a:gd name="connsiteY46" fmla="*/ 403711 h 404851"/>
                  <a:gd name="connsiteX47" fmla="*/ 172065 w 457913"/>
                  <a:gd name="connsiteY47" fmla="*/ 404851 h 404851"/>
                  <a:gd name="connsiteX48" fmla="*/ 165454 w 457913"/>
                  <a:gd name="connsiteY48" fmla="*/ 376069 h 404851"/>
                  <a:gd name="connsiteX49" fmla="*/ 159754 w 457913"/>
                  <a:gd name="connsiteY49" fmla="*/ 360851 h 404851"/>
                  <a:gd name="connsiteX50" fmla="*/ 144879 w 457913"/>
                  <a:gd name="connsiteY50" fmla="*/ 347401 h 404851"/>
                  <a:gd name="connsiteX51" fmla="*/ 133480 w 457913"/>
                  <a:gd name="connsiteY51" fmla="*/ 314230 h 404851"/>
                  <a:gd name="connsiteX52" fmla="*/ 111594 w 457913"/>
                  <a:gd name="connsiteY52" fmla="*/ 297986 h 404851"/>
                  <a:gd name="connsiteX53" fmla="*/ 96034 w 457913"/>
                  <a:gd name="connsiteY53" fmla="*/ 248971 h 404851"/>
                  <a:gd name="connsiteX54" fmla="*/ 44169 w 457913"/>
                  <a:gd name="connsiteY54" fmla="*/ 165416 h 404851"/>
                  <a:gd name="connsiteX55" fmla="*/ 34993 w 457913"/>
                  <a:gd name="connsiteY55" fmla="*/ 142049 h 404851"/>
                  <a:gd name="connsiteX56" fmla="*/ 21770 w 457913"/>
                  <a:gd name="connsiteY56" fmla="*/ 126717 h 404851"/>
                  <a:gd name="connsiteX57" fmla="*/ 112 w 457913"/>
                  <a:gd name="connsiteY57" fmla="*/ 64365 h 404851"/>
                  <a:gd name="connsiteX58" fmla="*/ 15159 w 457913"/>
                  <a:gd name="connsiteY58" fmla="*/ 69437 h 404851"/>
                  <a:gd name="connsiteX59" fmla="*/ 19661 w 457913"/>
                  <a:gd name="connsiteY59" fmla="*/ 71033 h 404851"/>
                  <a:gd name="connsiteX60" fmla="*/ 20630 w 457913"/>
                  <a:gd name="connsiteY60" fmla="*/ 76163 h 404851"/>
                  <a:gd name="connsiteX61" fmla="*/ 30832 w 457913"/>
                  <a:gd name="connsiteY61" fmla="*/ 73883 h 404851"/>
                  <a:gd name="connsiteX62" fmla="*/ 32542 w 457913"/>
                  <a:gd name="connsiteY62" fmla="*/ 63567 h 404851"/>
                  <a:gd name="connsiteX63" fmla="*/ 42573 w 457913"/>
                  <a:gd name="connsiteY63" fmla="*/ 59121 h 404851"/>
                  <a:gd name="connsiteX64" fmla="*/ 42573 w 457913"/>
                  <a:gd name="connsiteY64" fmla="*/ 54049 h 404851"/>
                  <a:gd name="connsiteX65" fmla="*/ 51179 w 457913"/>
                  <a:gd name="connsiteY65" fmla="*/ 50686 h 404851"/>
                  <a:gd name="connsiteX66" fmla="*/ 63490 w 457913"/>
                  <a:gd name="connsiteY66" fmla="*/ 45841 h 404851"/>
                  <a:gd name="connsiteX67" fmla="*/ 65656 w 457913"/>
                  <a:gd name="connsiteY67" fmla="*/ 33360 h 404851"/>
                  <a:gd name="connsiteX68" fmla="*/ 49640 w 457913"/>
                  <a:gd name="connsiteY68" fmla="*/ 19225 h 404851"/>
                  <a:gd name="connsiteX69" fmla="*/ 59501 w 457913"/>
                  <a:gd name="connsiteY69" fmla="*/ 11930 h 404851"/>
                  <a:gd name="connsiteX70" fmla="*/ 67138 w 457913"/>
                  <a:gd name="connsiteY70" fmla="*/ 5090 h 404851"/>
                  <a:gd name="connsiteX71" fmla="*/ 78537 w 457913"/>
                  <a:gd name="connsiteY71" fmla="*/ 5090 h 404851"/>
                  <a:gd name="connsiteX72" fmla="*/ 86459 w 457913"/>
                  <a:gd name="connsiteY72" fmla="*/ 3210 h 404851"/>
                  <a:gd name="connsiteX73" fmla="*/ 123050 w 457913"/>
                  <a:gd name="connsiteY73" fmla="*/ 1158 h 404851"/>
                  <a:gd name="connsiteX74" fmla="*/ 130345 w 457913"/>
                  <a:gd name="connsiteY74" fmla="*/ 5033 h 404851"/>
                  <a:gd name="connsiteX75" fmla="*/ 132169 w 457913"/>
                  <a:gd name="connsiteY75" fmla="*/ 9764 h 404851"/>
                  <a:gd name="connsiteX76" fmla="*/ 140319 w 457913"/>
                  <a:gd name="connsiteY76" fmla="*/ 13582 h 404851"/>
                  <a:gd name="connsiteX77" fmla="*/ 144708 w 457913"/>
                  <a:gd name="connsiteY77" fmla="*/ 19567 h 404851"/>
                  <a:gd name="connsiteX78" fmla="*/ 156107 w 457913"/>
                  <a:gd name="connsiteY78" fmla="*/ 24696 h 404851"/>
                  <a:gd name="connsiteX79" fmla="*/ 161008 w 457913"/>
                  <a:gd name="connsiteY79" fmla="*/ 31935 h 404851"/>
                  <a:gd name="connsiteX80" fmla="*/ 172863 w 457913"/>
                  <a:gd name="connsiteY80" fmla="*/ 38033 h 404851"/>
                  <a:gd name="connsiteX81" fmla="*/ 182951 w 457913"/>
                  <a:gd name="connsiteY81" fmla="*/ 50116 h 404851"/>
                  <a:gd name="connsiteX82" fmla="*/ 199251 w 457913"/>
                  <a:gd name="connsiteY82" fmla="*/ 59064 h 404851"/>
                  <a:gd name="connsiteX83" fmla="*/ 200848 w 457913"/>
                  <a:gd name="connsiteY83" fmla="*/ 63795 h 404851"/>
                  <a:gd name="connsiteX84" fmla="*/ 212246 w 457913"/>
                  <a:gd name="connsiteY84" fmla="*/ 67784 h 404851"/>
                  <a:gd name="connsiteX85" fmla="*/ 216920 w 457913"/>
                  <a:gd name="connsiteY85" fmla="*/ 72800 h 404851"/>
                  <a:gd name="connsiteX86" fmla="*/ 224101 w 457913"/>
                  <a:gd name="connsiteY86" fmla="*/ 76505 h 404851"/>
                  <a:gd name="connsiteX87" fmla="*/ 259894 w 457913"/>
                  <a:gd name="connsiteY87" fmla="*/ 79696 h 404851"/>
                  <a:gd name="connsiteX88" fmla="*/ 276992 w 457913"/>
                  <a:gd name="connsiteY88" fmla="*/ 81406 h 404851"/>
                  <a:gd name="connsiteX89" fmla="*/ 283547 w 457913"/>
                  <a:gd name="connsiteY89" fmla="*/ 89443 h 404851"/>
                  <a:gd name="connsiteX90" fmla="*/ 297624 w 457913"/>
                  <a:gd name="connsiteY90" fmla="*/ 92748 h 40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57913" h="404851">
                    <a:moveTo>
                      <a:pt x="297624" y="92748"/>
                    </a:moveTo>
                    <a:cubicBezTo>
                      <a:pt x="303410" y="106495"/>
                      <a:pt x="312261" y="118738"/>
                      <a:pt x="323500" y="128541"/>
                    </a:cubicBezTo>
                    <a:cubicBezTo>
                      <a:pt x="327324" y="131265"/>
                      <a:pt x="330573" y="134713"/>
                      <a:pt x="333075" y="138686"/>
                    </a:cubicBezTo>
                    <a:cubicBezTo>
                      <a:pt x="336495" y="145240"/>
                      <a:pt x="334899" y="153049"/>
                      <a:pt x="335241" y="160401"/>
                    </a:cubicBezTo>
                    <a:cubicBezTo>
                      <a:pt x="335834" y="170637"/>
                      <a:pt x="340348" y="180246"/>
                      <a:pt x="347837" y="187245"/>
                    </a:cubicBezTo>
                    <a:cubicBezTo>
                      <a:pt x="347837" y="186277"/>
                      <a:pt x="348293" y="185308"/>
                      <a:pt x="348521" y="184396"/>
                    </a:cubicBezTo>
                    <a:cubicBezTo>
                      <a:pt x="349387" y="186812"/>
                      <a:pt x="350767" y="189007"/>
                      <a:pt x="352567" y="190836"/>
                    </a:cubicBezTo>
                    <a:cubicBezTo>
                      <a:pt x="354106" y="192158"/>
                      <a:pt x="355885" y="193167"/>
                      <a:pt x="357811" y="193800"/>
                    </a:cubicBezTo>
                    <a:cubicBezTo>
                      <a:pt x="359065" y="194165"/>
                      <a:pt x="360342" y="194450"/>
                      <a:pt x="361630" y="194655"/>
                    </a:cubicBezTo>
                    <a:cubicBezTo>
                      <a:pt x="362342" y="199403"/>
                      <a:pt x="365146" y="203586"/>
                      <a:pt x="369267" y="206054"/>
                    </a:cubicBezTo>
                    <a:cubicBezTo>
                      <a:pt x="372419" y="207604"/>
                      <a:pt x="375850" y="208493"/>
                      <a:pt x="379355" y="208675"/>
                    </a:cubicBezTo>
                    <a:lnTo>
                      <a:pt x="377759" y="214888"/>
                    </a:lnTo>
                    <a:cubicBezTo>
                      <a:pt x="377064" y="216826"/>
                      <a:pt x="376927" y="218917"/>
                      <a:pt x="377360" y="220929"/>
                    </a:cubicBezTo>
                    <a:cubicBezTo>
                      <a:pt x="378842" y="225546"/>
                      <a:pt x="386251" y="228225"/>
                      <a:pt x="384656" y="232841"/>
                    </a:cubicBezTo>
                    <a:cubicBezTo>
                      <a:pt x="388463" y="232009"/>
                      <a:pt x="392418" y="233320"/>
                      <a:pt x="394972" y="236261"/>
                    </a:cubicBezTo>
                    <a:cubicBezTo>
                      <a:pt x="396129" y="237965"/>
                      <a:pt x="397388" y="239601"/>
                      <a:pt x="398733" y="241163"/>
                    </a:cubicBezTo>
                    <a:cubicBezTo>
                      <a:pt x="401418" y="243015"/>
                      <a:pt x="404661" y="243881"/>
                      <a:pt x="407909" y="243613"/>
                    </a:cubicBezTo>
                    <a:cubicBezTo>
                      <a:pt x="419570" y="244440"/>
                      <a:pt x="431289" y="243653"/>
                      <a:pt x="442733" y="241276"/>
                    </a:cubicBezTo>
                    <a:lnTo>
                      <a:pt x="445697" y="240479"/>
                    </a:lnTo>
                    <a:lnTo>
                      <a:pt x="446894" y="241732"/>
                    </a:lnTo>
                    <a:cubicBezTo>
                      <a:pt x="450541" y="244531"/>
                      <a:pt x="453733" y="247876"/>
                      <a:pt x="456355" y="251650"/>
                    </a:cubicBezTo>
                    <a:cubicBezTo>
                      <a:pt x="458333" y="256847"/>
                      <a:pt x="458429" y="262570"/>
                      <a:pt x="456640" y="267836"/>
                    </a:cubicBezTo>
                    <a:cubicBezTo>
                      <a:pt x="454349" y="277690"/>
                      <a:pt x="451237" y="287334"/>
                      <a:pt x="447350" y="296675"/>
                    </a:cubicBezTo>
                    <a:cubicBezTo>
                      <a:pt x="444614" y="303344"/>
                      <a:pt x="440054" y="310810"/>
                      <a:pt x="432816" y="310924"/>
                    </a:cubicBezTo>
                    <a:cubicBezTo>
                      <a:pt x="430559" y="310462"/>
                      <a:pt x="428234" y="310462"/>
                      <a:pt x="425977" y="310924"/>
                    </a:cubicBezTo>
                    <a:cubicBezTo>
                      <a:pt x="424791" y="311597"/>
                      <a:pt x="423714" y="312440"/>
                      <a:pt x="422785" y="313432"/>
                    </a:cubicBezTo>
                    <a:cubicBezTo>
                      <a:pt x="417086" y="318675"/>
                      <a:pt x="408137" y="318162"/>
                      <a:pt x="400557" y="320271"/>
                    </a:cubicBezTo>
                    <a:cubicBezTo>
                      <a:pt x="399566" y="320465"/>
                      <a:pt x="398636" y="320915"/>
                      <a:pt x="397878" y="321582"/>
                    </a:cubicBezTo>
                    <a:cubicBezTo>
                      <a:pt x="397229" y="322340"/>
                      <a:pt x="396693" y="323184"/>
                      <a:pt x="396282" y="324090"/>
                    </a:cubicBezTo>
                    <a:cubicBezTo>
                      <a:pt x="393547" y="328820"/>
                      <a:pt x="387220" y="329789"/>
                      <a:pt x="381920" y="331043"/>
                    </a:cubicBezTo>
                    <a:cubicBezTo>
                      <a:pt x="379902" y="331397"/>
                      <a:pt x="378033" y="332354"/>
                      <a:pt x="376562" y="333779"/>
                    </a:cubicBezTo>
                    <a:cubicBezTo>
                      <a:pt x="375810" y="334725"/>
                      <a:pt x="375217" y="335779"/>
                      <a:pt x="374796" y="336914"/>
                    </a:cubicBezTo>
                    <a:cubicBezTo>
                      <a:pt x="374676" y="337090"/>
                      <a:pt x="374584" y="337284"/>
                      <a:pt x="374510" y="337484"/>
                    </a:cubicBezTo>
                    <a:cubicBezTo>
                      <a:pt x="372886" y="337056"/>
                      <a:pt x="371227" y="336771"/>
                      <a:pt x="369552" y="336629"/>
                    </a:cubicBezTo>
                    <a:cubicBezTo>
                      <a:pt x="346184" y="334805"/>
                      <a:pt x="320137" y="333779"/>
                      <a:pt x="302355" y="348940"/>
                    </a:cubicBezTo>
                    <a:cubicBezTo>
                      <a:pt x="299551" y="351789"/>
                      <a:pt x="296393" y="354257"/>
                      <a:pt x="292951" y="356292"/>
                    </a:cubicBezTo>
                    <a:cubicBezTo>
                      <a:pt x="288790" y="358344"/>
                      <a:pt x="283262" y="358914"/>
                      <a:pt x="281552" y="363131"/>
                    </a:cubicBezTo>
                    <a:cubicBezTo>
                      <a:pt x="280959" y="364984"/>
                      <a:pt x="280578" y="366893"/>
                      <a:pt x="280412" y="368831"/>
                    </a:cubicBezTo>
                    <a:cubicBezTo>
                      <a:pt x="279044" y="373504"/>
                      <a:pt x="275431" y="377186"/>
                      <a:pt x="270780" y="378634"/>
                    </a:cubicBezTo>
                    <a:cubicBezTo>
                      <a:pt x="266215" y="379973"/>
                      <a:pt x="261456" y="380555"/>
                      <a:pt x="256702" y="380344"/>
                    </a:cubicBezTo>
                    <a:cubicBezTo>
                      <a:pt x="249726" y="381142"/>
                      <a:pt x="242676" y="379808"/>
                      <a:pt x="236469" y="376525"/>
                    </a:cubicBezTo>
                    <a:cubicBezTo>
                      <a:pt x="234828" y="375157"/>
                      <a:pt x="233027" y="373989"/>
                      <a:pt x="231112" y="373048"/>
                    </a:cubicBezTo>
                    <a:cubicBezTo>
                      <a:pt x="229618" y="372558"/>
                      <a:pt x="228063" y="372290"/>
                      <a:pt x="226495" y="372250"/>
                    </a:cubicBezTo>
                    <a:lnTo>
                      <a:pt x="196003" y="370198"/>
                    </a:lnTo>
                    <a:cubicBezTo>
                      <a:pt x="192361" y="369657"/>
                      <a:pt x="188639" y="370033"/>
                      <a:pt x="185174" y="371281"/>
                    </a:cubicBezTo>
                    <a:cubicBezTo>
                      <a:pt x="179965" y="374490"/>
                      <a:pt x="176665" y="380047"/>
                      <a:pt x="176340" y="386157"/>
                    </a:cubicBezTo>
                    <a:cubicBezTo>
                      <a:pt x="176061" y="392147"/>
                      <a:pt x="174886" y="398063"/>
                      <a:pt x="172863" y="403711"/>
                    </a:cubicBezTo>
                    <a:cubicBezTo>
                      <a:pt x="172863" y="404110"/>
                      <a:pt x="172293" y="404452"/>
                      <a:pt x="172065" y="404851"/>
                    </a:cubicBezTo>
                    <a:cubicBezTo>
                      <a:pt x="169671" y="395105"/>
                      <a:pt x="167335" y="385416"/>
                      <a:pt x="165454" y="376069"/>
                    </a:cubicBezTo>
                    <a:cubicBezTo>
                      <a:pt x="164719" y="370632"/>
                      <a:pt x="162775" y="365434"/>
                      <a:pt x="159754" y="360851"/>
                    </a:cubicBezTo>
                    <a:cubicBezTo>
                      <a:pt x="155708" y="355494"/>
                      <a:pt x="148982" y="352701"/>
                      <a:pt x="144879" y="347401"/>
                    </a:cubicBezTo>
                    <a:cubicBezTo>
                      <a:pt x="137640" y="338054"/>
                      <a:pt x="140319" y="323748"/>
                      <a:pt x="133480" y="314230"/>
                    </a:cubicBezTo>
                    <a:cubicBezTo>
                      <a:pt x="127780" y="306820"/>
                      <a:pt x="118319" y="304142"/>
                      <a:pt x="111594" y="297986"/>
                    </a:cubicBezTo>
                    <a:cubicBezTo>
                      <a:pt x="98770" y="286131"/>
                      <a:pt x="100195" y="265898"/>
                      <a:pt x="96034" y="248971"/>
                    </a:cubicBezTo>
                    <a:cubicBezTo>
                      <a:pt x="87656" y="217054"/>
                      <a:pt x="56138" y="196194"/>
                      <a:pt x="44169" y="165416"/>
                    </a:cubicBezTo>
                    <a:cubicBezTo>
                      <a:pt x="41826" y="157363"/>
                      <a:pt x="38754" y="149543"/>
                      <a:pt x="34993" y="142049"/>
                    </a:cubicBezTo>
                    <a:cubicBezTo>
                      <a:pt x="31037" y="136566"/>
                      <a:pt x="26615" y="131436"/>
                      <a:pt x="21770" y="126717"/>
                    </a:cubicBezTo>
                    <a:cubicBezTo>
                      <a:pt x="6729" y="109533"/>
                      <a:pt x="-1039" y="87174"/>
                      <a:pt x="112" y="64365"/>
                    </a:cubicBezTo>
                    <a:cubicBezTo>
                      <a:pt x="6154" y="63738"/>
                      <a:pt x="12480" y="64365"/>
                      <a:pt x="15159" y="69437"/>
                    </a:cubicBezTo>
                    <a:cubicBezTo>
                      <a:pt x="16846" y="68691"/>
                      <a:pt x="18823" y="69392"/>
                      <a:pt x="19661" y="71033"/>
                    </a:cubicBezTo>
                    <a:cubicBezTo>
                      <a:pt x="20442" y="72623"/>
                      <a:pt x="20778" y="74396"/>
                      <a:pt x="20630" y="76163"/>
                    </a:cubicBezTo>
                    <a:cubicBezTo>
                      <a:pt x="24186" y="77462"/>
                      <a:pt x="28171" y="76567"/>
                      <a:pt x="30832" y="73883"/>
                    </a:cubicBezTo>
                    <a:cubicBezTo>
                      <a:pt x="33397" y="71085"/>
                      <a:pt x="34064" y="67044"/>
                      <a:pt x="32542" y="63567"/>
                    </a:cubicBezTo>
                    <a:cubicBezTo>
                      <a:pt x="36589" y="63567"/>
                      <a:pt x="41832" y="63054"/>
                      <a:pt x="42573" y="59121"/>
                    </a:cubicBezTo>
                    <a:cubicBezTo>
                      <a:pt x="42915" y="57411"/>
                      <a:pt x="42231" y="55645"/>
                      <a:pt x="42573" y="54049"/>
                    </a:cubicBezTo>
                    <a:cubicBezTo>
                      <a:pt x="43599" y="50857"/>
                      <a:pt x="47873" y="50800"/>
                      <a:pt x="51179" y="50686"/>
                    </a:cubicBezTo>
                    <a:cubicBezTo>
                      <a:pt x="55767" y="50789"/>
                      <a:pt x="60202" y="49045"/>
                      <a:pt x="63490" y="45841"/>
                    </a:cubicBezTo>
                    <a:cubicBezTo>
                      <a:pt x="66790" y="42564"/>
                      <a:pt x="67662" y="37560"/>
                      <a:pt x="65656" y="33360"/>
                    </a:cubicBezTo>
                    <a:cubicBezTo>
                      <a:pt x="62065" y="27033"/>
                      <a:pt x="51578" y="26235"/>
                      <a:pt x="49640" y="19225"/>
                    </a:cubicBezTo>
                    <a:cubicBezTo>
                      <a:pt x="48215" y="14038"/>
                      <a:pt x="55340" y="8510"/>
                      <a:pt x="59501" y="11930"/>
                    </a:cubicBezTo>
                    <a:cubicBezTo>
                      <a:pt x="59501" y="8225"/>
                      <a:pt x="63433" y="5603"/>
                      <a:pt x="67138" y="5090"/>
                    </a:cubicBezTo>
                    <a:cubicBezTo>
                      <a:pt x="70843" y="4577"/>
                      <a:pt x="74604" y="5432"/>
                      <a:pt x="78537" y="5090"/>
                    </a:cubicBezTo>
                    <a:cubicBezTo>
                      <a:pt x="81233" y="4714"/>
                      <a:pt x="83883" y="4081"/>
                      <a:pt x="86459" y="3210"/>
                    </a:cubicBezTo>
                    <a:cubicBezTo>
                      <a:pt x="98348" y="-204"/>
                      <a:pt x="110853" y="-906"/>
                      <a:pt x="123050" y="1158"/>
                    </a:cubicBezTo>
                    <a:cubicBezTo>
                      <a:pt x="125939" y="1289"/>
                      <a:pt x="128618" y="2714"/>
                      <a:pt x="130345" y="5033"/>
                    </a:cubicBezTo>
                    <a:cubicBezTo>
                      <a:pt x="131143" y="6515"/>
                      <a:pt x="131143" y="8396"/>
                      <a:pt x="132169" y="9764"/>
                    </a:cubicBezTo>
                    <a:cubicBezTo>
                      <a:pt x="133993" y="12215"/>
                      <a:pt x="137868" y="11759"/>
                      <a:pt x="140319" y="13582"/>
                    </a:cubicBezTo>
                    <a:cubicBezTo>
                      <a:pt x="142770" y="15406"/>
                      <a:pt x="142941" y="17800"/>
                      <a:pt x="144708" y="19567"/>
                    </a:cubicBezTo>
                    <a:cubicBezTo>
                      <a:pt x="147728" y="22531"/>
                      <a:pt x="152972" y="21904"/>
                      <a:pt x="156107" y="24696"/>
                    </a:cubicBezTo>
                    <a:cubicBezTo>
                      <a:pt x="158329" y="26634"/>
                      <a:pt x="159013" y="29769"/>
                      <a:pt x="161008" y="31935"/>
                    </a:cubicBezTo>
                    <a:cubicBezTo>
                      <a:pt x="164029" y="35241"/>
                      <a:pt x="169216" y="35412"/>
                      <a:pt x="172863" y="38033"/>
                    </a:cubicBezTo>
                    <a:cubicBezTo>
                      <a:pt x="176511" y="40655"/>
                      <a:pt x="178563" y="47038"/>
                      <a:pt x="182951" y="50116"/>
                    </a:cubicBezTo>
                    <a:cubicBezTo>
                      <a:pt x="188138" y="53821"/>
                      <a:pt x="196858" y="53137"/>
                      <a:pt x="199251" y="59064"/>
                    </a:cubicBezTo>
                    <a:cubicBezTo>
                      <a:pt x="199628" y="60689"/>
                      <a:pt x="200164" y="62273"/>
                      <a:pt x="200848" y="63795"/>
                    </a:cubicBezTo>
                    <a:cubicBezTo>
                      <a:pt x="203184" y="67272"/>
                      <a:pt x="208770" y="65619"/>
                      <a:pt x="212246" y="67784"/>
                    </a:cubicBezTo>
                    <a:cubicBezTo>
                      <a:pt x="214184" y="68924"/>
                      <a:pt x="215324" y="71147"/>
                      <a:pt x="216920" y="72800"/>
                    </a:cubicBezTo>
                    <a:cubicBezTo>
                      <a:pt x="219000" y="74561"/>
                      <a:pt x="221457" y="75832"/>
                      <a:pt x="224101" y="76505"/>
                    </a:cubicBezTo>
                    <a:cubicBezTo>
                      <a:pt x="235649" y="80204"/>
                      <a:pt x="247874" y="81298"/>
                      <a:pt x="259894" y="79696"/>
                    </a:cubicBezTo>
                    <a:cubicBezTo>
                      <a:pt x="265593" y="78955"/>
                      <a:pt x="272205" y="77759"/>
                      <a:pt x="276992" y="81406"/>
                    </a:cubicBezTo>
                    <a:cubicBezTo>
                      <a:pt x="279671" y="83629"/>
                      <a:pt x="280982" y="87106"/>
                      <a:pt x="283547" y="89443"/>
                    </a:cubicBezTo>
                    <a:cubicBezTo>
                      <a:pt x="287576" y="92458"/>
                      <a:pt x="292677" y="93654"/>
                      <a:pt x="297624" y="9274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6" name="Freihandform: Form 362">
                <a:extLst>
                  <a:ext uri="{FF2B5EF4-FFF2-40B4-BE49-F238E27FC236}">
                    <a16:creationId xmlns:a16="http://schemas.microsoft.com/office/drawing/2014/main" id="{D94CE4ED-DB50-9710-317D-EFFD05B7336A}"/>
                  </a:ext>
                </a:extLst>
              </p:cNvPr>
              <p:cNvSpPr/>
              <p:nvPr/>
            </p:nvSpPr>
            <p:spPr>
              <a:xfrm>
                <a:off x="4781178" y="3513737"/>
                <a:ext cx="33227" cy="47379"/>
              </a:xfrm>
              <a:custGeom>
                <a:avLst/>
                <a:gdLst>
                  <a:gd name="connsiteX0" fmla="*/ 28782 w 33227"/>
                  <a:gd name="connsiteY0" fmla="*/ 6003 h 47379"/>
                  <a:gd name="connsiteX1" fmla="*/ 29238 w 33227"/>
                  <a:gd name="connsiteY1" fmla="*/ 6573 h 47379"/>
                  <a:gd name="connsiteX2" fmla="*/ 27357 w 33227"/>
                  <a:gd name="connsiteY2" fmla="*/ 10221 h 47379"/>
                  <a:gd name="connsiteX3" fmla="*/ 26958 w 33227"/>
                  <a:gd name="connsiteY3" fmla="*/ 25780 h 47379"/>
                  <a:gd name="connsiteX4" fmla="*/ 33228 w 33227"/>
                  <a:gd name="connsiteY4" fmla="*/ 47039 h 47379"/>
                  <a:gd name="connsiteX5" fmla="*/ 18865 w 33227"/>
                  <a:gd name="connsiteY5" fmla="*/ 43734 h 47379"/>
                  <a:gd name="connsiteX6" fmla="*/ 12311 w 33227"/>
                  <a:gd name="connsiteY6" fmla="*/ 35697 h 47379"/>
                  <a:gd name="connsiteX7" fmla="*/ 0 w 33227"/>
                  <a:gd name="connsiteY7" fmla="*/ 33417 h 47379"/>
                  <a:gd name="connsiteX8" fmla="*/ 1026 w 33227"/>
                  <a:gd name="connsiteY8" fmla="*/ 23159 h 47379"/>
                  <a:gd name="connsiteX9" fmla="*/ 1026 w 33227"/>
                  <a:gd name="connsiteY9" fmla="*/ 17459 h 47379"/>
                  <a:gd name="connsiteX10" fmla="*/ 3078 w 33227"/>
                  <a:gd name="connsiteY10" fmla="*/ 14723 h 47379"/>
                  <a:gd name="connsiteX11" fmla="*/ 12482 w 33227"/>
                  <a:gd name="connsiteY11" fmla="*/ 988 h 47379"/>
                  <a:gd name="connsiteX12" fmla="*/ 28782 w 33227"/>
                  <a:gd name="connsiteY12" fmla="*/ 6003 h 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27" h="47379">
                    <a:moveTo>
                      <a:pt x="28782" y="6003"/>
                    </a:moveTo>
                    <a:lnTo>
                      <a:pt x="29238" y="6573"/>
                    </a:lnTo>
                    <a:cubicBezTo>
                      <a:pt x="28474" y="7713"/>
                      <a:pt x="27848" y="8938"/>
                      <a:pt x="27357" y="10221"/>
                    </a:cubicBezTo>
                    <a:cubicBezTo>
                      <a:pt x="25915" y="15293"/>
                      <a:pt x="25778" y="20645"/>
                      <a:pt x="26958" y="25780"/>
                    </a:cubicBezTo>
                    <a:cubicBezTo>
                      <a:pt x="28218" y="33087"/>
                      <a:pt x="30321" y="40217"/>
                      <a:pt x="33228" y="47039"/>
                    </a:cubicBezTo>
                    <a:cubicBezTo>
                      <a:pt x="28190" y="48031"/>
                      <a:pt x="22963" y="46829"/>
                      <a:pt x="18865" y="43734"/>
                    </a:cubicBezTo>
                    <a:cubicBezTo>
                      <a:pt x="16300" y="41397"/>
                      <a:pt x="14989" y="38034"/>
                      <a:pt x="12311" y="35697"/>
                    </a:cubicBezTo>
                    <a:cubicBezTo>
                      <a:pt x="8674" y="33326"/>
                      <a:pt x="4246" y="32511"/>
                      <a:pt x="0" y="33417"/>
                    </a:cubicBezTo>
                    <a:cubicBezTo>
                      <a:pt x="764" y="30055"/>
                      <a:pt x="1106" y="26607"/>
                      <a:pt x="1026" y="23159"/>
                    </a:cubicBezTo>
                    <a:cubicBezTo>
                      <a:pt x="541" y="21289"/>
                      <a:pt x="541" y="19328"/>
                      <a:pt x="1026" y="17459"/>
                    </a:cubicBezTo>
                    <a:cubicBezTo>
                      <a:pt x="1613" y="16479"/>
                      <a:pt x="2303" y="15561"/>
                      <a:pt x="3078" y="14723"/>
                    </a:cubicBezTo>
                    <a:cubicBezTo>
                      <a:pt x="6611" y="10335"/>
                      <a:pt x="7580" y="3723"/>
                      <a:pt x="12482" y="988"/>
                    </a:cubicBezTo>
                    <a:cubicBezTo>
                      <a:pt x="17383" y="-1748"/>
                      <a:pt x="24678" y="1615"/>
                      <a:pt x="28782" y="60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7" name="Freihandform: Form 363">
                <a:extLst>
                  <a:ext uri="{FF2B5EF4-FFF2-40B4-BE49-F238E27FC236}">
                    <a16:creationId xmlns:a16="http://schemas.microsoft.com/office/drawing/2014/main" id="{45525A7B-1104-61CF-18ED-0F0A31CCB8EE}"/>
                  </a:ext>
                </a:extLst>
              </p:cNvPr>
              <p:cNvSpPr/>
              <p:nvPr/>
            </p:nvSpPr>
            <p:spPr>
              <a:xfrm>
                <a:off x="4500650" y="3463543"/>
                <a:ext cx="30103" cy="67139"/>
              </a:xfrm>
              <a:custGeom>
                <a:avLst/>
                <a:gdLst>
                  <a:gd name="connsiteX0" fmla="*/ 20347 w 30103"/>
                  <a:gd name="connsiteY0" fmla="*/ 55399 h 67139"/>
                  <a:gd name="connsiteX1" fmla="*/ 16300 w 30103"/>
                  <a:gd name="connsiteY1" fmla="*/ 67140 h 67139"/>
                  <a:gd name="connsiteX2" fmla="*/ 18352 w 30103"/>
                  <a:gd name="connsiteY2" fmla="*/ 53632 h 67139"/>
                  <a:gd name="connsiteX3" fmla="*/ 12653 w 30103"/>
                  <a:gd name="connsiteY3" fmla="*/ 52891 h 67139"/>
                  <a:gd name="connsiteX4" fmla="*/ 11741 w 30103"/>
                  <a:gd name="connsiteY4" fmla="*/ 39212 h 67139"/>
                  <a:gd name="connsiteX5" fmla="*/ 11285 w 30103"/>
                  <a:gd name="connsiteY5" fmla="*/ 36420 h 67139"/>
                  <a:gd name="connsiteX6" fmla="*/ 6896 w 30103"/>
                  <a:gd name="connsiteY6" fmla="*/ 33855 h 67139"/>
                  <a:gd name="connsiteX7" fmla="*/ 3249 w 30103"/>
                  <a:gd name="connsiteY7" fmla="*/ 28155 h 67139"/>
                  <a:gd name="connsiteX8" fmla="*/ 0 w 30103"/>
                  <a:gd name="connsiteY8" fmla="*/ 24679 h 67139"/>
                  <a:gd name="connsiteX9" fmla="*/ 2508 w 30103"/>
                  <a:gd name="connsiteY9" fmla="*/ 23197 h 67139"/>
                  <a:gd name="connsiteX10" fmla="*/ 7010 w 30103"/>
                  <a:gd name="connsiteY10" fmla="*/ 4788 h 67139"/>
                  <a:gd name="connsiteX11" fmla="*/ 19264 w 30103"/>
                  <a:gd name="connsiteY11" fmla="*/ 741 h 67139"/>
                  <a:gd name="connsiteX12" fmla="*/ 19264 w 30103"/>
                  <a:gd name="connsiteY12" fmla="*/ 0 h 67139"/>
                  <a:gd name="connsiteX13" fmla="*/ 24337 w 30103"/>
                  <a:gd name="connsiteY13" fmla="*/ 2964 h 67139"/>
                  <a:gd name="connsiteX14" fmla="*/ 28554 w 30103"/>
                  <a:gd name="connsiteY14" fmla="*/ 21658 h 67139"/>
                  <a:gd name="connsiteX15" fmla="*/ 21772 w 30103"/>
                  <a:gd name="connsiteY15" fmla="*/ 34368 h 67139"/>
                  <a:gd name="connsiteX16" fmla="*/ 23368 w 30103"/>
                  <a:gd name="connsiteY16" fmla="*/ 38528 h 67139"/>
                  <a:gd name="connsiteX17" fmla="*/ 20347 w 30103"/>
                  <a:gd name="connsiteY17" fmla="*/ 55399 h 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103" h="67139">
                    <a:moveTo>
                      <a:pt x="20347" y="55399"/>
                    </a:moveTo>
                    <a:cubicBezTo>
                      <a:pt x="18769" y="59229"/>
                      <a:pt x="17418" y="63150"/>
                      <a:pt x="16300" y="67140"/>
                    </a:cubicBezTo>
                    <a:cubicBezTo>
                      <a:pt x="16614" y="62586"/>
                      <a:pt x="17298" y="58072"/>
                      <a:pt x="18352" y="53632"/>
                    </a:cubicBezTo>
                    <a:lnTo>
                      <a:pt x="12653" y="52891"/>
                    </a:lnTo>
                    <a:cubicBezTo>
                      <a:pt x="11895" y="48371"/>
                      <a:pt x="11587" y="43789"/>
                      <a:pt x="11741" y="39212"/>
                    </a:cubicBezTo>
                    <a:cubicBezTo>
                      <a:pt x="11855" y="38255"/>
                      <a:pt x="11701" y="37286"/>
                      <a:pt x="11285" y="36420"/>
                    </a:cubicBezTo>
                    <a:cubicBezTo>
                      <a:pt x="10430" y="34938"/>
                      <a:pt x="8321" y="34824"/>
                      <a:pt x="6896" y="33855"/>
                    </a:cubicBezTo>
                    <a:cubicBezTo>
                      <a:pt x="5472" y="32886"/>
                      <a:pt x="4446" y="30207"/>
                      <a:pt x="3249" y="28155"/>
                    </a:cubicBezTo>
                    <a:cubicBezTo>
                      <a:pt x="2348" y="26839"/>
                      <a:pt x="1254" y="25665"/>
                      <a:pt x="0" y="24679"/>
                    </a:cubicBezTo>
                    <a:cubicBezTo>
                      <a:pt x="866" y="24240"/>
                      <a:pt x="1704" y="23744"/>
                      <a:pt x="2508" y="23197"/>
                    </a:cubicBezTo>
                    <a:cubicBezTo>
                      <a:pt x="8207" y="19150"/>
                      <a:pt x="11456" y="10316"/>
                      <a:pt x="7010" y="4788"/>
                    </a:cubicBezTo>
                    <a:lnTo>
                      <a:pt x="19264" y="741"/>
                    </a:lnTo>
                    <a:cubicBezTo>
                      <a:pt x="19264" y="456"/>
                      <a:pt x="19264" y="228"/>
                      <a:pt x="19264" y="0"/>
                    </a:cubicBezTo>
                    <a:cubicBezTo>
                      <a:pt x="21105" y="707"/>
                      <a:pt x="22815" y="1710"/>
                      <a:pt x="24337" y="2964"/>
                    </a:cubicBezTo>
                    <a:cubicBezTo>
                      <a:pt x="29945" y="7438"/>
                      <a:pt x="31695" y="15206"/>
                      <a:pt x="28554" y="21658"/>
                    </a:cubicBezTo>
                    <a:cubicBezTo>
                      <a:pt x="26047" y="25933"/>
                      <a:pt x="20860" y="29523"/>
                      <a:pt x="21772" y="34368"/>
                    </a:cubicBezTo>
                    <a:cubicBezTo>
                      <a:pt x="22160" y="35804"/>
                      <a:pt x="22695" y="37201"/>
                      <a:pt x="23368" y="38528"/>
                    </a:cubicBezTo>
                    <a:cubicBezTo>
                      <a:pt x="24497" y="44330"/>
                      <a:pt x="23419" y="50349"/>
                      <a:pt x="20347" y="55399"/>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648" name="Freihandform: Form 364">
                <a:extLst>
                  <a:ext uri="{FF2B5EF4-FFF2-40B4-BE49-F238E27FC236}">
                    <a16:creationId xmlns:a16="http://schemas.microsoft.com/office/drawing/2014/main" id="{C6EE7001-19C3-3686-350A-0CE5DC87C1FC}"/>
                  </a:ext>
                </a:extLst>
              </p:cNvPr>
              <p:cNvSpPr/>
              <p:nvPr/>
            </p:nvSpPr>
            <p:spPr>
              <a:xfrm>
                <a:off x="4516779" y="3437652"/>
                <a:ext cx="91476" cy="107127"/>
              </a:xfrm>
              <a:custGeom>
                <a:avLst/>
                <a:gdLst>
                  <a:gd name="connsiteX0" fmla="*/ 89596 w 91476"/>
                  <a:gd name="connsiteY0" fmla="*/ 24979 h 107127"/>
                  <a:gd name="connsiteX1" fmla="*/ 91135 w 91476"/>
                  <a:gd name="connsiteY1" fmla="*/ 32503 h 107127"/>
                  <a:gd name="connsiteX2" fmla="*/ 86347 w 91476"/>
                  <a:gd name="connsiteY2" fmla="*/ 33586 h 107127"/>
                  <a:gd name="connsiteX3" fmla="*/ 78425 w 91476"/>
                  <a:gd name="connsiteY3" fmla="*/ 35466 h 107127"/>
                  <a:gd name="connsiteX4" fmla="*/ 67026 w 91476"/>
                  <a:gd name="connsiteY4" fmla="*/ 35466 h 107127"/>
                  <a:gd name="connsiteX5" fmla="*/ 59388 w 91476"/>
                  <a:gd name="connsiteY5" fmla="*/ 42306 h 107127"/>
                  <a:gd name="connsiteX6" fmla="*/ 49528 w 91476"/>
                  <a:gd name="connsiteY6" fmla="*/ 49601 h 107127"/>
                  <a:gd name="connsiteX7" fmla="*/ 65544 w 91476"/>
                  <a:gd name="connsiteY7" fmla="*/ 63736 h 107127"/>
                  <a:gd name="connsiteX8" fmla="*/ 63378 w 91476"/>
                  <a:gd name="connsiteY8" fmla="*/ 76218 h 107127"/>
                  <a:gd name="connsiteX9" fmla="*/ 51067 w 91476"/>
                  <a:gd name="connsiteY9" fmla="*/ 81062 h 107127"/>
                  <a:gd name="connsiteX10" fmla="*/ 42461 w 91476"/>
                  <a:gd name="connsiteY10" fmla="*/ 84425 h 107127"/>
                  <a:gd name="connsiteX11" fmla="*/ 42461 w 91476"/>
                  <a:gd name="connsiteY11" fmla="*/ 89498 h 107127"/>
                  <a:gd name="connsiteX12" fmla="*/ 32430 w 91476"/>
                  <a:gd name="connsiteY12" fmla="*/ 93943 h 107127"/>
                  <a:gd name="connsiteX13" fmla="*/ 30720 w 91476"/>
                  <a:gd name="connsiteY13" fmla="*/ 104259 h 107127"/>
                  <a:gd name="connsiteX14" fmla="*/ 20518 w 91476"/>
                  <a:gd name="connsiteY14" fmla="*/ 106539 h 107127"/>
                  <a:gd name="connsiteX15" fmla="*/ 19549 w 91476"/>
                  <a:gd name="connsiteY15" fmla="*/ 101409 h 107127"/>
                  <a:gd name="connsiteX16" fmla="*/ 15047 w 91476"/>
                  <a:gd name="connsiteY16" fmla="*/ 99814 h 107127"/>
                  <a:gd name="connsiteX17" fmla="*/ 0 w 91476"/>
                  <a:gd name="connsiteY17" fmla="*/ 94741 h 107127"/>
                  <a:gd name="connsiteX18" fmla="*/ 0 w 91476"/>
                  <a:gd name="connsiteY18" fmla="*/ 93031 h 107127"/>
                  <a:gd name="connsiteX19" fmla="*/ 4046 w 91476"/>
                  <a:gd name="connsiteY19" fmla="*/ 81290 h 107127"/>
                  <a:gd name="connsiteX20" fmla="*/ 6953 w 91476"/>
                  <a:gd name="connsiteY20" fmla="*/ 64591 h 107127"/>
                  <a:gd name="connsiteX21" fmla="*/ 5358 w 91476"/>
                  <a:gd name="connsiteY21" fmla="*/ 60430 h 107127"/>
                  <a:gd name="connsiteX22" fmla="*/ 12140 w 91476"/>
                  <a:gd name="connsiteY22" fmla="*/ 47720 h 107127"/>
                  <a:gd name="connsiteX23" fmla="*/ 13565 w 91476"/>
                  <a:gd name="connsiteY23" fmla="*/ 39399 h 107127"/>
                  <a:gd name="connsiteX24" fmla="*/ 15047 w 91476"/>
                  <a:gd name="connsiteY24" fmla="*/ 37860 h 107127"/>
                  <a:gd name="connsiteX25" fmla="*/ 17041 w 91476"/>
                  <a:gd name="connsiteY25" fmla="*/ 29482 h 107127"/>
                  <a:gd name="connsiteX26" fmla="*/ 17611 w 91476"/>
                  <a:gd name="connsiteY26" fmla="*/ 17171 h 107127"/>
                  <a:gd name="connsiteX27" fmla="*/ 18466 w 91476"/>
                  <a:gd name="connsiteY27" fmla="*/ 13638 h 107127"/>
                  <a:gd name="connsiteX28" fmla="*/ 25249 w 91476"/>
                  <a:gd name="connsiteY28" fmla="*/ 13011 h 107127"/>
                  <a:gd name="connsiteX29" fmla="*/ 42347 w 91476"/>
                  <a:gd name="connsiteY29" fmla="*/ 17798 h 107127"/>
                  <a:gd name="connsiteX30" fmla="*/ 56938 w 91476"/>
                  <a:gd name="connsiteY30" fmla="*/ 9420 h 107127"/>
                  <a:gd name="connsiteX31" fmla="*/ 69762 w 91476"/>
                  <a:gd name="connsiteY31" fmla="*/ 5031 h 107127"/>
                  <a:gd name="connsiteX32" fmla="*/ 73409 w 91476"/>
                  <a:gd name="connsiteY32" fmla="*/ 2182 h 107127"/>
                  <a:gd name="connsiteX33" fmla="*/ 89334 w 91476"/>
                  <a:gd name="connsiteY33" fmla="*/ 4695 h 107127"/>
                  <a:gd name="connsiteX34" fmla="*/ 91476 w 91476"/>
                  <a:gd name="connsiteY34" fmla="*/ 10503 h 107127"/>
                  <a:gd name="connsiteX35" fmla="*/ 89596 w 91476"/>
                  <a:gd name="connsiteY35" fmla="*/ 24979 h 10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76" h="107127">
                    <a:moveTo>
                      <a:pt x="89596" y="24979"/>
                    </a:moveTo>
                    <a:cubicBezTo>
                      <a:pt x="89596" y="27567"/>
                      <a:pt x="90120" y="30126"/>
                      <a:pt x="91135" y="32503"/>
                    </a:cubicBezTo>
                    <a:cubicBezTo>
                      <a:pt x="89539" y="32845"/>
                      <a:pt x="87886" y="33130"/>
                      <a:pt x="86347" y="33586"/>
                    </a:cubicBezTo>
                    <a:cubicBezTo>
                      <a:pt x="83771" y="34458"/>
                      <a:pt x="81120" y="35090"/>
                      <a:pt x="78425" y="35466"/>
                    </a:cubicBezTo>
                    <a:cubicBezTo>
                      <a:pt x="74663" y="35808"/>
                      <a:pt x="70901" y="34954"/>
                      <a:pt x="67026" y="35466"/>
                    </a:cubicBezTo>
                    <a:cubicBezTo>
                      <a:pt x="63150" y="35979"/>
                      <a:pt x="59445" y="38601"/>
                      <a:pt x="59388" y="42306"/>
                    </a:cubicBezTo>
                    <a:cubicBezTo>
                      <a:pt x="55171" y="38886"/>
                      <a:pt x="47989" y="44415"/>
                      <a:pt x="49528" y="49601"/>
                    </a:cubicBezTo>
                    <a:cubicBezTo>
                      <a:pt x="51466" y="56611"/>
                      <a:pt x="61953" y="57409"/>
                      <a:pt x="65544" y="63736"/>
                    </a:cubicBezTo>
                    <a:cubicBezTo>
                      <a:pt x="67550" y="67936"/>
                      <a:pt x="66678" y="72941"/>
                      <a:pt x="63378" y="76218"/>
                    </a:cubicBezTo>
                    <a:cubicBezTo>
                      <a:pt x="60089" y="79421"/>
                      <a:pt x="55655" y="81165"/>
                      <a:pt x="51067" y="81062"/>
                    </a:cubicBezTo>
                    <a:cubicBezTo>
                      <a:pt x="47762" y="81062"/>
                      <a:pt x="43487" y="81062"/>
                      <a:pt x="42461" y="84425"/>
                    </a:cubicBezTo>
                    <a:cubicBezTo>
                      <a:pt x="41948" y="86021"/>
                      <a:pt x="42461" y="87788"/>
                      <a:pt x="42461" y="89498"/>
                    </a:cubicBezTo>
                    <a:cubicBezTo>
                      <a:pt x="41720" y="93430"/>
                      <a:pt x="36762" y="94114"/>
                      <a:pt x="32430" y="93943"/>
                    </a:cubicBezTo>
                    <a:cubicBezTo>
                      <a:pt x="33952" y="97420"/>
                      <a:pt x="33285" y="101461"/>
                      <a:pt x="30720" y="104259"/>
                    </a:cubicBezTo>
                    <a:cubicBezTo>
                      <a:pt x="28058" y="106944"/>
                      <a:pt x="24075" y="107838"/>
                      <a:pt x="20518" y="106539"/>
                    </a:cubicBezTo>
                    <a:cubicBezTo>
                      <a:pt x="20666" y="104772"/>
                      <a:pt x="20336" y="102999"/>
                      <a:pt x="19549" y="101409"/>
                    </a:cubicBezTo>
                    <a:cubicBezTo>
                      <a:pt x="18711" y="99768"/>
                      <a:pt x="16734" y="99067"/>
                      <a:pt x="15047" y="99814"/>
                    </a:cubicBezTo>
                    <a:cubicBezTo>
                      <a:pt x="12368" y="94741"/>
                      <a:pt x="6041" y="94114"/>
                      <a:pt x="0" y="94741"/>
                    </a:cubicBezTo>
                    <a:cubicBezTo>
                      <a:pt x="0" y="94171"/>
                      <a:pt x="0" y="93601"/>
                      <a:pt x="0" y="93031"/>
                    </a:cubicBezTo>
                    <a:cubicBezTo>
                      <a:pt x="1117" y="89041"/>
                      <a:pt x="2468" y="85120"/>
                      <a:pt x="4046" y="81290"/>
                    </a:cubicBezTo>
                    <a:cubicBezTo>
                      <a:pt x="7033" y="76269"/>
                      <a:pt x="8071" y="70324"/>
                      <a:pt x="6953" y="64591"/>
                    </a:cubicBezTo>
                    <a:cubicBezTo>
                      <a:pt x="6281" y="63263"/>
                      <a:pt x="5745" y="61867"/>
                      <a:pt x="5358" y="60430"/>
                    </a:cubicBezTo>
                    <a:cubicBezTo>
                      <a:pt x="4445" y="55586"/>
                      <a:pt x="9632" y="51995"/>
                      <a:pt x="12140" y="47720"/>
                    </a:cubicBezTo>
                    <a:cubicBezTo>
                      <a:pt x="13548" y="45190"/>
                      <a:pt x="14049" y="42255"/>
                      <a:pt x="13565" y="39399"/>
                    </a:cubicBezTo>
                    <a:cubicBezTo>
                      <a:pt x="14129" y="38960"/>
                      <a:pt x="14631" y="38442"/>
                      <a:pt x="15047" y="37860"/>
                    </a:cubicBezTo>
                    <a:cubicBezTo>
                      <a:pt x="16460" y="35301"/>
                      <a:pt x="17150" y="32406"/>
                      <a:pt x="17041" y="29482"/>
                    </a:cubicBezTo>
                    <a:lnTo>
                      <a:pt x="17611" y="17171"/>
                    </a:lnTo>
                    <a:cubicBezTo>
                      <a:pt x="17549" y="15934"/>
                      <a:pt x="17845" y="14709"/>
                      <a:pt x="18466" y="13638"/>
                    </a:cubicBezTo>
                    <a:cubicBezTo>
                      <a:pt x="19948" y="11700"/>
                      <a:pt x="22969" y="12156"/>
                      <a:pt x="25249" y="13011"/>
                    </a:cubicBezTo>
                    <a:cubicBezTo>
                      <a:pt x="30948" y="15176"/>
                      <a:pt x="36648" y="18710"/>
                      <a:pt x="42347" y="17798"/>
                    </a:cubicBezTo>
                    <a:cubicBezTo>
                      <a:pt x="48047" y="16886"/>
                      <a:pt x="51751" y="11700"/>
                      <a:pt x="56938" y="9420"/>
                    </a:cubicBezTo>
                    <a:cubicBezTo>
                      <a:pt x="61320" y="8303"/>
                      <a:pt x="65612" y="6832"/>
                      <a:pt x="69762" y="5031"/>
                    </a:cubicBezTo>
                    <a:cubicBezTo>
                      <a:pt x="71072" y="4176"/>
                      <a:pt x="72155" y="3036"/>
                      <a:pt x="73409" y="2182"/>
                    </a:cubicBezTo>
                    <a:cubicBezTo>
                      <a:pt x="78499" y="-1523"/>
                      <a:pt x="85629" y="-395"/>
                      <a:pt x="89334" y="4695"/>
                    </a:cubicBezTo>
                    <a:cubicBezTo>
                      <a:pt x="90570" y="6399"/>
                      <a:pt x="91311" y="8405"/>
                      <a:pt x="91476" y="10503"/>
                    </a:cubicBezTo>
                    <a:cubicBezTo>
                      <a:pt x="91152" y="15364"/>
                      <a:pt x="90525" y="20198"/>
                      <a:pt x="89596" y="249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49" name="Freihandform: Form 365">
                <a:extLst>
                  <a:ext uri="{FF2B5EF4-FFF2-40B4-BE49-F238E27FC236}">
                    <a16:creationId xmlns:a16="http://schemas.microsoft.com/office/drawing/2014/main" id="{B67F6B77-0192-B4F2-6F57-27A869ACA6C4}"/>
                  </a:ext>
                </a:extLst>
              </p:cNvPr>
              <p:cNvSpPr/>
              <p:nvPr/>
            </p:nvSpPr>
            <p:spPr>
              <a:xfrm>
                <a:off x="4519452" y="3396460"/>
                <a:ext cx="36824" cy="80704"/>
              </a:xfrm>
              <a:custGeom>
                <a:avLst/>
                <a:gdLst>
                  <a:gd name="connsiteX0" fmla="*/ 22291 w 36824"/>
                  <a:gd name="connsiteY0" fmla="*/ 49813 h 80704"/>
                  <a:gd name="connsiteX1" fmla="*/ 22975 w 36824"/>
                  <a:gd name="connsiteY1" fmla="*/ 54316 h 80704"/>
                  <a:gd name="connsiteX2" fmla="*/ 22975 w 36824"/>
                  <a:gd name="connsiteY2" fmla="*/ 54316 h 80704"/>
                  <a:gd name="connsiteX3" fmla="*/ 16192 w 36824"/>
                  <a:gd name="connsiteY3" fmla="*/ 54943 h 80704"/>
                  <a:gd name="connsiteX4" fmla="*/ 15337 w 36824"/>
                  <a:gd name="connsiteY4" fmla="*/ 58476 h 80704"/>
                  <a:gd name="connsiteX5" fmla="*/ 14768 w 36824"/>
                  <a:gd name="connsiteY5" fmla="*/ 70787 h 80704"/>
                  <a:gd name="connsiteX6" fmla="*/ 12773 w 36824"/>
                  <a:gd name="connsiteY6" fmla="*/ 79166 h 80704"/>
                  <a:gd name="connsiteX7" fmla="*/ 11291 w 36824"/>
                  <a:gd name="connsiteY7" fmla="*/ 80704 h 80704"/>
                  <a:gd name="connsiteX8" fmla="*/ 5592 w 36824"/>
                  <a:gd name="connsiteY8" fmla="*/ 70331 h 80704"/>
                  <a:gd name="connsiteX9" fmla="*/ 519 w 36824"/>
                  <a:gd name="connsiteY9" fmla="*/ 67368 h 80704"/>
                  <a:gd name="connsiteX10" fmla="*/ 10892 w 36824"/>
                  <a:gd name="connsiteY10" fmla="*/ 44114 h 80704"/>
                  <a:gd name="connsiteX11" fmla="*/ 12431 w 36824"/>
                  <a:gd name="connsiteY11" fmla="*/ 22798 h 80704"/>
                  <a:gd name="connsiteX12" fmla="*/ 17503 w 36824"/>
                  <a:gd name="connsiteY12" fmla="*/ 14192 h 80704"/>
                  <a:gd name="connsiteX13" fmla="*/ 26109 w 36824"/>
                  <a:gd name="connsiteY13" fmla="*/ 5699 h 80704"/>
                  <a:gd name="connsiteX14" fmla="*/ 26109 w 36824"/>
                  <a:gd name="connsiteY14" fmla="*/ 0 h 80704"/>
                  <a:gd name="connsiteX15" fmla="*/ 30498 w 36824"/>
                  <a:gd name="connsiteY15" fmla="*/ 2223 h 80704"/>
                  <a:gd name="connsiteX16" fmla="*/ 36825 w 36824"/>
                  <a:gd name="connsiteY16" fmla="*/ 10658 h 80704"/>
                  <a:gd name="connsiteX17" fmla="*/ 27078 w 36824"/>
                  <a:gd name="connsiteY17" fmla="*/ 26104 h 80704"/>
                  <a:gd name="connsiteX18" fmla="*/ 26508 w 36824"/>
                  <a:gd name="connsiteY18" fmla="*/ 30264 h 80704"/>
                  <a:gd name="connsiteX19" fmla="*/ 24343 w 36824"/>
                  <a:gd name="connsiteY19" fmla="*/ 32031 h 80704"/>
                  <a:gd name="connsiteX20" fmla="*/ 20695 w 36824"/>
                  <a:gd name="connsiteY20" fmla="*/ 40523 h 80704"/>
                  <a:gd name="connsiteX21" fmla="*/ 22291 w 36824"/>
                  <a:gd name="connsiteY21" fmla="*/ 49813 h 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824" h="80704">
                    <a:moveTo>
                      <a:pt x="22291" y="49813"/>
                    </a:moveTo>
                    <a:cubicBezTo>
                      <a:pt x="22291" y="51295"/>
                      <a:pt x="22804" y="52777"/>
                      <a:pt x="22975" y="54316"/>
                    </a:cubicBezTo>
                    <a:lnTo>
                      <a:pt x="22975" y="54316"/>
                    </a:lnTo>
                    <a:cubicBezTo>
                      <a:pt x="20695" y="53461"/>
                      <a:pt x="17674" y="53005"/>
                      <a:pt x="16192" y="54943"/>
                    </a:cubicBezTo>
                    <a:cubicBezTo>
                      <a:pt x="15571" y="56014"/>
                      <a:pt x="15275" y="57240"/>
                      <a:pt x="15337" y="58476"/>
                    </a:cubicBezTo>
                    <a:lnTo>
                      <a:pt x="14768" y="70787"/>
                    </a:lnTo>
                    <a:cubicBezTo>
                      <a:pt x="14876" y="73711"/>
                      <a:pt x="14186" y="76606"/>
                      <a:pt x="12773" y="79166"/>
                    </a:cubicBezTo>
                    <a:cubicBezTo>
                      <a:pt x="12357" y="79747"/>
                      <a:pt x="11855" y="80266"/>
                      <a:pt x="11291" y="80704"/>
                    </a:cubicBezTo>
                    <a:cubicBezTo>
                      <a:pt x="10738" y="76664"/>
                      <a:pt x="8709" y="72964"/>
                      <a:pt x="5592" y="70331"/>
                    </a:cubicBezTo>
                    <a:cubicBezTo>
                      <a:pt x="4070" y="69078"/>
                      <a:pt x="2360" y="68075"/>
                      <a:pt x="519" y="67368"/>
                    </a:cubicBezTo>
                    <a:cubicBezTo>
                      <a:pt x="-1544" y="58175"/>
                      <a:pt x="2673" y="48719"/>
                      <a:pt x="10892" y="44114"/>
                    </a:cubicBezTo>
                    <a:cubicBezTo>
                      <a:pt x="5193" y="39098"/>
                      <a:pt x="8498" y="29523"/>
                      <a:pt x="12431" y="22798"/>
                    </a:cubicBezTo>
                    <a:lnTo>
                      <a:pt x="17503" y="14192"/>
                    </a:lnTo>
                    <a:cubicBezTo>
                      <a:pt x="19156" y="10350"/>
                      <a:pt x="22245" y="7301"/>
                      <a:pt x="26109" y="5699"/>
                    </a:cubicBezTo>
                    <a:cubicBezTo>
                      <a:pt x="26109" y="3761"/>
                      <a:pt x="26109" y="1824"/>
                      <a:pt x="26109" y="0"/>
                    </a:cubicBezTo>
                    <a:cubicBezTo>
                      <a:pt x="27620" y="638"/>
                      <a:pt x="29090" y="1379"/>
                      <a:pt x="30498" y="2223"/>
                    </a:cubicBezTo>
                    <a:cubicBezTo>
                      <a:pt x="33923" y="3750"/>
                      <a:pt x="36317" y="6942"/>
                      <a:pt x="36825" y="10658"/>
                    </a:cubicBezTo>
                    <a:cubicBezTo>
                      <a:pt x="36825" y="16870"/>
                      <a:pt x="27591" y="19834"/>
                      <a:pt x="27078" y="26104"/>
                    </a:cubicBezTo>
                    <a:cubicBezTo>
                      <a:pt x="27078" y="27471"/>
                      <a:pt x="27078" y="29067"/>
                      <a:pt x="26508" y="30264"/>
                    </a:cubicBezTo>
                    <a:cubicBezTo>
                      <a:pt x="25893" y="30971"/>
                      <a:pt x="25163" y="31569"/>
                      <a:pt x="24343" y="32031"/>
                    </a:cubicBezTo>
                    <a:cubicBezTo>
                      <a:pt x="21818" y="34100"/>
                      <a:pt x="20456" y="37269"/>
                      <a:pt x="20695" y="40523"/>
                    </a:cubicBezTo>
                    <a:cubicBezTo>
                      <a:pt x="20923" y="43664"/>
                      <a:pt x="21459" y="46776"/>
                      <a:pt x="22291" y="498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0" name="Freihandform: Form 366">
                <a:extLst>
                  <a:ext uri="{FF2B5EF4-FFF2-40B4-BE49-F238E27FC236}">
                    <a16:creationId xmlns:a16="http://schemas.microsoft.com/office/drawing/2014/main" id="{C39B64C9-719A-461A-FB87-348AC9F48FF6}"/>
                  </a:ext>
                </a:extLst>
              </p:cNvPr>
              <p:cNvSpPr/>
              <p:nvPr/>
            </p:nvSpPr>
            <p:spPr>
              <a:xfrm>
                <a:off x="4539892" y="3325728"/>
                <a:ext cx="147495" cy="129920"/>
              </a:xfrm>
              <a:custGeom>
                <a:avLst/>
                <a:gdLst>
                  <a:gd name="connsiteX0" fmla="*/ 62607 w 147495"/>
                  <a:gd name="connsiteY0" fmla="*/ 113535 h 129920"/>
                  <a:gd name="connsiteX1" fmla="*/ 61980 w 147495"/>
                  <a:gd name="connsiteY1" fmla="*/ 113136 h 129920"/>
                  <a:gd name="connsiteX2" fmla="*/ 50581 w 147495"/>
                  <a:gd name="connsiteY2" fmla="*/ 114105 h 129920"/>
                  <a:gd name="connsiteX3" fmla="*/ 46934 w 147495"/>
                  <a:gd name="connsiteY3" fmla="*/ 116954 h 129920"/>
                  <a:gd name="connsiteX4" fmla="*/ 34110 w 147495"/>
                  <a:gd name="connsiteY4" fmla="*/ 121343 h 129920"/>
                  <a:gd name="connsiteX5" fmla="*/ 19519 w 147495"/>
                  <a:gd name="connsiteY5" fmla="*/ 129721 h 129920"/>
                  <a:gd name="connsiteX6" fmla="*/ 2421 w 147495"/>
                  <a:gd name="connsiteY6" fmla="*/ 125048 h 129920"/>
                  <a:gd name="connsiteX7" fmla="*/ 1737 w 147495"/>
                  <a:gd name="connsiteY7" fmla="*/ 120545 h 129920"/>
                  <a:gd name="connsiteX8" fmla="*/ 27 w 147495"/>
                  <a:gd name="connsiteY8" fmla="*/ 111084 h 129920"/>
                  <a:gd name="connsiteX9" fmla="*/ 3675 w 147495"/>
                  <a:gd name="connsiteY9" fmla="*/ 102592 h 129920"/>
                  <a:gd name="connsiteX10" fmla="*/ 5841 w 147495"/>
                  <a:gd name="connsiteY10" fmla="*/ 100825 h 129920"/>
                  <a:gd name="connsiteX11" fmla="*/ 6410 w 147495"/>
                  <a:gd name="connsiteY11" fmla="*/ 96664 h 129920"/>
                  <a:gd name="connsiteX12" fmla="*/ 16157 w 147495"/>
                  <a:gd name="connsiteY12" fmla="*/ 81219 h 129920"/>
                  <a:gd name="connsiteX13" fmla="*/ 9830 w 147495"/>
                  <a:gd name="connsiteY13" fmla="*/ 72784 h 129920"/>
                  <a:gd name="connsiteX14" fmla="*/ 5442 w 147495"/>
                  <a:gd name="connsiteY14" fmla="*/ 70561 h 129920"/>
                  <a:gd name="connsiteX15" fmla="*/ 5442 w 147495"/>
                  <a:gd name="connsiteY15" fmla="*/ 44457 h 129920"/>
                  <a:gd name="connsiteX16" fmla="*/ 5442 w 147495"/>
                  <a:gd name="connsiteY16" fmla="*/ 40981 h 129920"/>
                  <a:gd name="connsiteX17" fmla="*/ 10685 w 147495"/>
                  <a:gd name="connsiteY17" fmla="*/ 34426 h 129920"/>
                  <a:gd name="connsiteX18" fmla="*/ 11597 w 147495"/>
                  <a:gd name="connsiteY18" fmla="*/ 29468 h 129920"/>
                  <a:gd name="connsiteX19" fmla="*/ 25276 w 147495"/>
                  <a:gd name="connsiteY19" fmla="*/ 19550 h 129920"/>
                  <a:gd name="connsiteX20" fmla="*/ 26416 w 147495"/>
                  <a:gd name="connsiteY20" fmla="*/ 16986 h 129920"/>
                  <a:gd name="connsiteX21" fmla="*/ 30291 w 147495"/>
                  <a:gd name="connsiteY21" fmla="*/ 15789 h 129920"/>
                  <a:gd name="connsiteX22" fmla="*/ 79307 w 147495"/>
                  <a:gd name="connsiteY22" fmla="*/ 17214 h 129920"/>
                  <a:gd name="connsiteX23" fmla="*/ 93840 w 147495"/>
                  <a:gd name="connsiteY23" fmla="*/ 17556 h 129920"/>
                  <a:gd name="connsiteX24" fmla="*/ 111623 w 147495"/>
                  <a:gd name="connsiteY24" fmla="*/ 8380 h 129920"/>
                  <a:gd name="connsiteX25" fmla="*/ 123307 w 147495"/>
                  <a:gd name="connsiteY25" fmla="*/ 8094 h 129920"/>
                  <a:gd name="connsiteX26" fmla="*/ 147187 w 147495"/>
                  <a:gd name="connsiteY26" fmla="*/ 1 h 129920"/>
                  <a:gd name="connsiteX27" fmla="*/ 145135 w 147495"/>
                  <a:gd name="connsiteY27" fmla="*/ 6727 h 129920"/>
                  <a:gd name="connsiteX28" fmla="*/ 138410 w 147495"/>
                  <a:gd name="connsiteY28" fmla="*/ 10146 h 129920"/>
                  <a:gd name="connsiteX29" fmla="*/ 122224 w 147495"/>
                  <a:gd name="connsiteY29" fmla="*/ 21545 h 129920"/>
                  <a:gd name="connsiteX30" fmla="*/ 117550 w 147495"/>
                  <a:gd name="connsiteY30" fmla="*/ 34483 h 129920"/>
                  <a:gd name="connsiteX31" fmla="*/ 121141 w 147495"/>
                  <a:gd name="connsiteY31" fmla="*/ 43602 h 129920"/>
                  <a:gd name="connsiteX32" fmla="*/ 115783 w 147495"/>
                  <a:gd name="connsiteY32" fmla="*/ 53462 h 129920"/>
                  <a:gd name="connsiteX33" fmla="*/ 113617 w 147495"/>
                  <a:gd name="connsiteY33" fmla="*/ 63835 h 129920"/>
                  <a:gd name="connsiteX34" fmla="*/ 91503 w 147495"/>
                  <a:gd name="connsiteY34" fmla="*/ 90965 h 129920"/>
                  <a:gd name="connsiteX35" fmla="*/ 78509 w 147495"/>
                  <a:gd name="connsiteY35" fmla="*/ 95468 h 129920"/>
                  <a:gd name="connsiteX36" fmla="*/ 62322 w 147495"/>
                  <a:gd name="connsiteY36" fmla="*/ 113535 h 1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7495" h="129920">
                    <a:moveTo>
                      <a:pt x="62607" y="113535"/>
                    </a:moveTo>
                    <a:lnTo>
                      <a:pt x="61980" y="113136"/>
                    </a:lnTo>
                    <a:cubicBezTo>
                      <a:pt x="58270" y="111472"/>
                      <a:pt x="53961" y="111836"/>
                      <a:pt x="50581" y="114105"/>
                    </a:cubicBezTo>
                    <a:cubicBezTo>
                      <a:pt x="49327" y="114960"/>
                      <a:pt x="48244" y="116100"/>
                      <a:pt x="46934" y="116954"/>
                    </a:cubicBezTo>
                    <a:cubicBezTo>
                      <a:pt x="42785" y="118756"/>
                      <a:pt x="38493" y="120226"/>
                      <a:pt x="34110" y="121343"/>
                    </a:cubicBezTo>
                    <a:cubicBezTo>
                      <a:pt x="28923" y="123623"/>
                      <a:pt x="25104" y="128638"/>
                      <a:pt x="19519" y="129721"/>
                    </a:cubicBezTo>
                    <a:cubicBezTo>
                      <a:pt x="13934" y="130804"/>
                      <a:pt x="8120" y="127213"/>
                      <a:pt x="2421" y="125048"/>
                    </a:cubicBezTo>
                    <a:cubicBezTo>
                      <a:pt x="2421" y="123509"/>
                      <a:pt x="2022" y="122027"/>
                      <a:pt x="1737" y="120545"/>
                    </a:cubicBezTo>
                    <a:cubicBezTo>
                      <a:pt x="854" y="117456"/>
                      <a:pt x="283" y="114287"/>
                      <a:pt x="27" y="111084"/>
                    </a:cubicBezTo>
                    <a:cubicBezTo>
                      <a:pt x="-212" y="107830"/>
                      <a:pt x="1150" y="104661"/>
                      <a:pt x="3675" y="102592"/>
                    </a:cubicBezTo>
                    <a:cubicBezTo>
                      <a:pt x="4495" y="102130"/>
                      <a:pt x="5225" y="101532"/>
                      <a:pt x="5841" y="100825"/>
                    </a:cubicBezTo>
                    <a:cubicBezTo>
                      <a:pt x="6638" y="99628"/>
                      <a:pt x="6296" y="98032"/>
                      <a:pt x="6410" y="96664"/>
                    </a:cubicBezTo>
                    <a:cubicBezTo>
                      <a:pt x="6923" y="90395"/>
                      <a:pt x="16043" y="87431"/>
                      <a:pt x="16157" y="81219"/>
                    </a:cubicBezTo>
                    <a:cubicBezTo>
                      <a:pt x="15649" y="77503"/>
                      <a:pt x="13255" y="74311"/>
                      <a:pt x="9830" y="72784"/>
                    </a:cubicBezTo>
                    <a:cubicBezTo>
                      <a:pt x="8422" y="71940"/>
                      <a:pt x="6952" y="71199"/>
                      <a:pt x="5442" y="70561"/>
                    </a:cubicBezTo>
                    <a:cubicBezTo>
                      <a:pt x="5442" y="61840"/>
                      <a:pt x="5442" y="53177"/>
                      <a:pt x="5442" y="44457"/>
                    </a:cubicBezTo>
                    <a:lnTo>
                      <a:pt x="5442" y="40981"/>
                    </a:lnTo>
                    <a:cubicBezTo>
                      <a:pt x="7875" y="39447"/>
                      <a:pt x="9722" y="37139"/>
                      <a:pt x="10685" y="34426"/>
                    </a:cubicBezTo>
                    <a:cubicBezTo>
                      <a:pt x="10907" y="32762"/>
                      <a:pt x="11209" y="31103"/>
                      <a:pt x="11597" y="29468"/>
                    </a:cubicBezTo>
                    <a:cubicBezTo>
                      <a:pt x="13763" y="24110"/>
                      <a:pt x="22996" y="24794"/>
                      <a:pt x="25276" y="19550"/>
                    </a:cubicBezTo>
                    <a:cubicBezTo>
                      <a:pt x="25538" y="18650"/>
                      <a:pt x="25920" y="17784"/>
                      <a:pt x="26416" y="16986"/>
                    </a:cubicBezTo>
                    <a:cubicBezTo>
                      <a:pt x="27516" y="16125"/>
                      <a:pt x="28895" y="15698"/>
                      <a:pt x="30291" y="15789"/>
                    </a:cubicBezTo>
                    <a:cubicBezTo>
                      <a:pt x="46637" y="14751"/>
                      <a:pt x="63046" y="15230"/>
                      <a:pt x="79307" y="17214"/>
                    </a:cubicBezTo>
                    <a:cubicBezTo>
                      <a:pt x="84071" y="18376"/>
                      <a:pt x="89030" y="18496"/>
                      <a:pt x="93840" y="17556"/>
                    </a:cubicBezTo>
                    <a:cubicBezTo>
                      <a:pt x="100281" y="15675"/>
                      <a:pt x="105239" y="9690"/>
                      <a:pt x="111623" y="8380"/>
                    </a:cubicBezTo>
                    <a:cubicBezTo>
                      <a:pt x="115498" y="7582"/>
                      <a:pt x="119431" y="8380"/>
                      <a:pt x="123307" y="8094"/>
                    </a:cubicBezTo>
                    <a:cubicBezTo>
                      <a:pt x="131742" y="7126"/>
                      <a:pt x="138752" y="-113"/>
                      <a:pt x="147187" y="1"/>
                    </a:cubicBezTo>
                    <a:cubicBezTo>
                      <a:pt x="147997" y="2452"/>
                      <a:pt x="147176" y="5142"/>
                      <a:pt x="145135" y="6727"/>
                    </a:cubicBezTo>
                    <a:cubicBezTo>
                      <a:pt x="143090" y="8214"/>
                      <a:pt x="140815" y="9366"/>
                      <a:pt x="138410" y="10146"/>
                    </a:cubicBezTo>
                    <a:cubicBezTo>
                      <a:pt x="132226" y="12677"/>
                      <a:pt x="126692" y="16575"/>
                      <a:pt x="122224" y="21545"/>
                    </a:cubicBezTo>
                    <a:cubicBezTo>
                      <a:pt x="118622" y="24817"/>
                      <a:pt x="116872" y="29661"/>
                      <a:pt x="117550" y="34483"/>
                    </a:cubicBezTo>
                    <a:cubicBezTo>
                      <a:pt x="118462" y="37618"/>
                      <a:pt x="121198" y="40183"/>
                      <a:pt x="121141" y="43602"/>
                    </a:cubicBezTo>
                    <a:cubicBezTo>
                      <a:pt x="121084" y="47022"/>
                      <a:pt x="117550" y="50100"/>
                      <a:pt x="115783" y="53462"/>
                    </a:cubicBezTo>
                    <a:cubicBezTo>
                      <a:pt x="114478" y="56774"/>
                      <a:pt x="113749" y="60279"/>
                      <a:pt x="113617" y="63835"/>
                    </a:cubicBezTo>
                    <a:cubicBezTo>
                      <a:pt x="111549" y="76146"/>
                      <a:pt x="103142" y="86457"/>
                      <a:pt x="91503" y="90965"/>
                    </a:cubicBezTo>
                    <a:cubicBezTo>
                      <a:pt x="87075" y="92173"/>
                      <a:pt x="82738" y="93678"/>
                      <a:pt x="78509" y="95468"/>
                    </a:cubicBezTo>
                    <a:cubicBezTo>
                      <a:pt x="75021" y="102962"/>
                      <a:pt x="69390" y="109249"/>
                      <a:pt x="62322" y="1135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1" name="Freihandform: Form 367">
                <a:extLst>
                  <a:ext uri="{FF2B5EF4-FFF2-40B4-BE49-F238E27FC236}">
                    <a16:creationId xmlns:a16="http://schemas.microsoft.com/office/drawing/2014/main" id="{81A258C3-38A6-39D9-3EB2-881686A0DD31}"/>
                  </a:ext>
                </a:extLst>
              </p:cNvPr>
              <p:cNvSpPr/>
              <p:nvPr/>
            </p:nvSpPr>
            <p:spPr>
              <a:xfrm>
                <a:off x="4602841" y="3326742"/>
                <a:ext cx="209968" cy="221812"/>
              </a:xfrm>
              <a:custGeom>
                <a:avLst/>
                <a:gdLst>
                  <a:gd name="connsiteX0" fmla="*/ 208886 w 209968"/>
                  <a:gd name="connsiteY0" fmla="*/ 187982 h 221812"/>
                  <a:gd name="connsiteX1" fmla="*/ 209969 w 209968"/>
                  <a:gd name="connsiteY1" fmla="*/ 190604 h 221812"/>
                  <a:gd name="connsiteX2" fmla="*/ 207575 w 209968"/>
                  <a:gd name="connsiteY2" fmla="*/ 193568 h 221812"/>
                  <a:gd name="connsiteX3" fmla="*/ 207119 w 209968"/>
                  <a:gd name="connsiteY3" fmla="*/ 192998 h 221812"/>
                  <a:gd name="connsiteX4" fmla="*/ 191046 w 209968"/>
                  <a:gd name="connsiteY4" fmla="*/ 188096 h 221812"/>
                  <a:gd name="connsiteX5" fmla="*/ 181642 w 209968"/>
                  <a:gd name="connsiteY5" fmla="*/ 201832 h 221812"/>
                  <a:gd name="connsiteX6" fmla="*/ 179590 w 209968"/>
                  <a:gd name="connsiteY6" fmla="*/ 204568 h 221812"/>
                  <a:gd name="connsiteX7" fmla="*/ 179590 w 209968"/>
                  <a:gd name="connsiteY7" fmla="*/ 210267 h 221812"/>
                  <a:gd name="connsiteX8" fmla="*/ 178565 w 209968"/>
                  <a:gd name="connsiteY8" fmla="*/ 220526 h 221812"/>
                  <a:gd name="connsiteX9" fmla="*/ 174062 w 209968"/>
                  <a:gd name="connsiteY9" fmla="*/ 221096 h 221812"/>
                  <a:gd name="connsiteX10" fmla="*/ 138269 w 209968"/>
                  <a:gd name="connsiteY10" fmla="*/ 217905 h 221812"/>
                  <a:gd name="connsiteX11" fmla="*/ 131088 w 209968"/>
                  <a:gd name="connsiteY11" fmla="*/ 214200 h 221812"/>
                  <a:gd name="connsiteX12" fmla="*/ 126414 w 209968"/>
                  <a:gd name="connsiteY12" fmla="*/ 209184 h 221812"/>
                  <a:gd name="connsiteX13" fmla="*/ 115015 w 209968"/>
                  <a:gd name="connsiteY13" fmla="*/ 205195 h 221812"/>
                  <a:gd name="connsiteX14" fmla="*/ 113420 w 209968"/>
                  <a:gd name="connsiteY14" fmla="*/ 200464 h 221812"/>
                  <a:gd name="connsiteX15" fmla="*/ 97119 w 209968"/>
                  <a:gd name="connsiteY15" fmla="*/ 191516 h 221812"/>
                  <a:gd name="connsiteX16" fmla="*/ 87031 w 209968"/>
                  <a:gd name="connsiteY16" fmla="*/ 179433 h 221812"/>
                  <a:gd name="connsiteX17" fmla="*/ 75176 w 209968"/>
                  <a:gd name="connsiteY17" fmla="*/ 173335 h 221812"/>
                  <a:gd name="connsiteX18" fmla="*/ 70275 w 209968"/>
                  <a:gd name="connsiteY18" fmla="*/ 166096 h 221812"/>
                  <a:gd name="connsiteX19" fmla="*/ 58876 w 209968"/>
                  <a:gd name="connsiteY19" fmla="*/ 160967 h 221812"/>
                  <a:gd name="connsiteX20" fmla="*/ 54487 w 209968"/>
                  <a:gd name="connsiteY20" fmla="*/ 154982 h 221812"/>
                  <a:gd name="connsiteX21" fmla="*/ 46337 w 209968"/>
                  <a:gd name="connsiteY21" fmla="*/ 151164 h 221812"/>
                  <a:gd name="connsiteX22" fmla="*/ 44513 w 209968"/>
                  <a:gd name="connsiteY22" fmla="*/ 146433 h 221812"/>
                  <a:gd name="connsiteX23" fmla="*/ 37218 w 209968"/>
                  <a:gd name="connsiteY23" fmla="*/ 142558 h 221812"/>
                  <a:gd name="connsiteX24" fmla="*/ 5415 w 209968"/>
                  <a:gd name="connsiteY24" fmla="*/ 143526 h 221812"/>
                  <a:gd name="connsiteX25" fmla="*/ 3876 w 209968"/>
                  <a:gd name="connsiteY25" fmla="*/ 136003 h 221812"/>
                  <a:gd name="connsiteX26" fmla="*/ 6041 w 209968"/>
                  <a:gd name="connsiteY26" fmla="*/ 121527 h 221812"/>
                  <a:gd name="connsiteX27" fmla="*/ 0 w 209968"/>
                  <a:gd name="connsiteY27" fmla="*/ 112635 h 221812"/>
                  <a:gd name="connsiteX28" fmla="*/ 16187 w 209968"/>
                  <a:gd name="connsiteY28" fmla="*/ 94568 h 221812"/>
                  <a:gd name="connsiteX29" fmla="*/ 29181 w 209968"/>
                  <a:gd name="connsiteY29" fmla="*/ 90065 h 221812"/>
                  <a:gd name="connsiteX30" fmla="*/ 51295 w 209968"/>
                  <a:gd name="connsiteY30" fmla="*/ 62936 h 221812"/>
                  <a:gd name="connsiteX31" fmla="*/ 53461 w 209968"/>
                  <a:gd name="connsiteY31" fmla="*/ 52563 h 221812"/>
                  <a:gd name="connsiteX32" fmla="*/ 58819 w 209968"/>
                  <a:gd name="connsiteY32" fmla="*/ 42703 h 221812"/>
                  <a:gd name="connsiteX33" fmla="*/ 55228 w 209968"/>
                  <a:gd name="connsiteY33" fmla="*/ 33584 h 221812"/>
                  <a:gd name="connsiteX34" fmla="*/ 59902 w 209968"/>
                  <a:gd name="connsiteY34" fmla="*/ 20646 h 221812"/>
                  <a:gd name="connsiteX35" fmla="*/ 76088 w 209968"/>
                  <a:gd name="connsiteY35" fmla="*/ 9247 h 221812"/>
                  <a:gd name="connsiteX36" fmla="*/ 82814 w 209968"/>
                  <a:gd name="connsiteY36" fmla="*/ 5827 h 221812"/>
                  <a:gd name="connsiteX37" fmla="*/ 85207 w 209968"/>
                  <a:gd name="connsiteY37" fmla="*/ 1097 h 221812"/>
                  <a:gd name="connsiteX38" fmla="*/ 89938 w 209968"/>
                  <a:gd name="connsiteY38" fmla="*/ 71 h 221812"/>
                  <a:gd name="connsiteX39" fmla="*/ 115015 w 209968"/>
                  <a:gd name="connsiteY39" fmla="*/ 3091 h 221812"/>
                  <a:gd name="connsiteX40" fmla="*/ 120715 w 209968"/>
                  <a:gd name="connsiteY40" fmla="*/ 3547 h 221812"/>
                  <a:gd name="connsiteX41" fmla="*/ 122083 w 209968"/>
                  <a:gd name="connsiteY41" fmla="*/ 6454 h 221812"/>
                  <a:gd name="connsiteX42" fmla="*/ 134793 w 209968"/>
                  <a:gd name="connsiteY42" fmla="*/ 13122 h 221812"/>
                  <a:gd name="connsiteX43" fmla="*/ 138041 w 209968"/>
                  <a:gd name="connsiteY43" fmla="*/ 20361 h 221812"/>
                  <a:gd name="connsiteX44" fmla="*/ 144140 w 209968"/>
                  <a:gd name="connsiteY44" fmla="*/ 24008 h 221812"/>
                  <a:gd name="connsiteX45" fmla="*/ 148756 w 209968"/>
                  <a:gd name="connsiteY45" fmla="*/ 38827 h 221812"/>
                  <a:gd name="connsiteX46" fmla="*/ 164601 w 209968"/>
                  <a:gd name="connsiteY46" fmla="*/ 40936 h 221812"/>
                  <a:gd name="connsiteX47" fmla="*/ 166425 w 209968"/>
                  <a:gd name="connsiteY47" fmla="*/ 48516 h 221812"/>
                  <a:gd name="connsiteX48" fmla="*/ 157077 w 209968"/>
                  <a:gd name="connsiteY48" fmla="*/ 57806 h 221812"/>
                  <a:gd name="connsiteX49" fmla="*/ 155425 w 209968"/>
                  <a:gd name="connsiteY49" fmla="*/ 67837 h 221812"/>
                  <a:gd name="connsiteX50" fmla="*/ 149725 w 209968"/>
                  <a:gd name="connsiteY50" fmla="*/ 74905 h 221812"/>
                  <a:gd name="connsiteX51" fmla="*/ 152404 w 209968"/>
                  <a:gd name="connsiteY51" fmla="*/ 89951 h 221812"/>
                  <a:gd name="connsiteX52" fmla="*/ 151207 w 209968"/>
                  <a:gd name="connsiteY52" fmla="*/ 97076 h 221812"/>
                  <a:gd name="connsiteX53" fmla="*/ 164088 w 209968"/>
                  <a:gd name="connsiteY53" fmla="*/ 106765 h 221812"/>
                  <a:gd name="connsiteX54" fmla="*/ 164088 w 209968"/>
                  <a:gd name="connsiteY54" fmla="*/ 111438 h 221812"/>
                  <a:gd name="connsiteX55" fmla="*/ 168533 w 209968"/>
                  <a:gd name="connsiteY55" fmla="*/ 115998 h 221812"/>
                  <a:gd name="connsiteX56" fmla="*/ 173150 w 209968"/>
                  <a:gd name="connsiteY56" fmla="*/ 123977 h 221812"/>
                  <a:gd name="connsiteX57" fmla="*/ 180845 w 209968"/>
                  <a:gd name="connsiteY57" fmla="*/ 126998 h 221812"/>
                  <a:gd name="connsiteX58" fmla="*/ 186544 w 209968"/>
                  <a:gd name="connsiteY58" fmla="*/ 133495 h 221812"/>
                  <a:gd name="connsiteX59" fmla="*/ 195378 w 209968"/>
                  <a:gd name="connsiteY59" fmla="*/ 136858 h 221812"/>
                  <a:gd name="connsiteX60" fmla="*/ 199083 w 209968"/>
                  <a:gd name="connsiteY60" fmla="*/ 145749 h 221812"/>
                  <a:gd name="connsiteX61" fmla="*/ 201477 w 209968"/>
                  <a:gd name="connsiteY61" fmla="*/ 159656 h 221812"/>
                  <a:gd name="connsiteX62" fmla="*/ 201477 w 209968"/>
                  <a:gd name="connsiteY62" fmla="*/ 165754 h 221812"/>
                  <a:gd name="connsiteX63" fmla="*/ 200793 w 209968"/>
                  <a:gd name="connsiteY63" fmla="*/ 168547 h 221812"/>
                  <a:gd name="connsiteX64" fmla="*/ 203756 w 209968"/>
                  <a:gd name="connsiteY64" fmla="*/ 173221 h 221812"/>
                  <a:gd name="connsiteX65" fmla="*/ 208886 w 209968"/>
                  <a:gd name="connsiteY65" fmla="*/ 187982 h 22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9968" h="221812">
                    <a:moveTo>
                      <a:pt x="208886" y="187982"/>
                    </a:moveTo>
                    <a:cubicBezTo>
                      <a:pt x="208886" y="188894"/>
                      <a:pt x="209627" y="189692"/>
                      <a:pt x="209969" y="190604"/>
                    </a:cubicBezTo>
                    <a:cubicBezTo>
                      <a:pt x="209063" y="191499"/>
                      <a:pt x="208259" y="192496"/>
                      <a:pt x="207575" y="193568"/>
                    </a:cubicBezTo>
                    <a:lnTo>
                      <a:pt x="207119" y="192998"/>
                    </a:lnTo>
                    <a:cubicBezTo>
                      <a:pt x="203015" y="188609"/>
                      <a:pt x="196347" y="185133"/>
                      <a:pt x="191046" y="188096"/>
                    </a:cubicBezTo>
                    <a:cubicBezTo>
                      <a:pt x="185746" y="191060"/>
                      <a:pt x="185347" y="197443"/>
                      <a:pt x="181642" y="201832"/>
                    </a:cubicBezTo>
                    <a:cubicBezTo>
                      <a:pt x="180867" y="202670"/>
                      <a:pt x="180178" y="203587"/>
                      <a:pt x="179590" y="204568"/>
                    </a:cubicBezTo>
                    <a:cubicBezTo>
                      <a:pt x="179106" y="206437"/>
                      <a:pt x="179106" y="208398"/>
                      <a:pt x="179590" y="210267"/>
                    </a:cubicBezTo>
                    <a:cubicBezTo>
                      <a:pt x="179670" y="213715"/>
                      <a:pt x="179328" y="217164"/>
                      <a:pt x="178565" y="220526"/>
                    </a:cubicBezTo>
                    <a:lnTo>
                      <a:pt x="174062" y="221096"/>
                    </a:lnTo>
                    <a:cubicBezTo>
                      <a:pt x="162042" y="222698"/>
                      <a:pt x="149816" y="221604"/>
                      <a:pt x="138269" y="217905"/>
                    </a:cubicBezTo>
                    <a:cubicBezTo>
                      <a:pt x="135625" y="217232"/>
                      <a:pt x="133168" y="215961"/>
                      <a:pt x="131088" y="214200"/>
                    </a:cubicBezTo>
                    <a:cubicBezTo>
                      <a:pt x="129492" y="212547"/>
                      <a:pt x="128352" y="210324"/>
                      <a:pt x="126414" y="209184"/>
                    </a:cubicBezTo>
                    <a:cubicBezTo>
                      <a:pt x="122824" y="207019"/>
                      <a:pt x="117238" y="208671"/>
                      <a:pt x="115015" y="205195"/>
                    </a:cubicBezTo>
                    <a:cubicBezTo>
                      <a:pt x="114331" y="203673"/>
                      <a:pt x="113796" y="202088"/>
                      <a:pt x="113420" y="200464"/>
                    </a:cubicBezTo>
                    <a:cubicBezTo>
                      <a:pt x="111026" y="194765"/>
                      <a:pt x="102306" y="195221"/>
                      <a:pt x="97119" y="191516"/>
                    </a:cubicBezTo>
                    <a:cubicBezTo>
                      <a:pt x="92788" y="188438"/>
                      <a:pt x="91420" y="182511"/>
                      <a:pt x="87031" y="179433"/>
                    </a:cubicBezTo>
                    <a:cubicBezTo>
                      <a:pt x="82642" y="176355"/>
                      <a:pt x="78197" y="176640"/>
                      <a:pt x="75176" y="173335"/>
                    </a:cubicBezTo>
                    <a:cubicBezTo>
                      <a:pt x="73181" y="171169"/>
                      <a:pt x="72497" y="168034"/>
                      <a:pt x="70275" y="166096"/>
                    </a:cubicBezTo>
                    <a:cubicBezTo>
                      <a:pt x="67140" y="163304"/>
                      <a:pt x="61896" y="163931"/>
                      <a:pt x="58876" y="160967"/>
                    </a:cubicBezTo>
                    <a:cubicBezTo>
                      <a:pt x="57109" y="159200"/>
                      <a:pt x="56482" y="156464"/>
                      <a:pt x="54487" y="154982"/>
                    </a:cubicBezTo>
                    <a:cubicBezTo>
                      <a:pt x="52492" y="153500"/>
                      <a:pt x="48161" y="153615"/>
                      <a:pt x="46337" y="151164"/>
                    </a:cubicBezTo>
                    <a:cubicBezTo>
                      <a:pt x="45311" y="149796"/>
                      <a:pt x="45311" y="147915"/>
                      <a:pt x="44513" y="146433"/>
                    </a:cubicBezTo>
                    <a:cubicBezTo>
                      <a:pt x="42786" y="144113"/>
                      <a:pt x="40107" y="142689"/>
                      <a:pt x="37218" y="142558"/>
                    </a:cubicBezTo>
                    <a:cubicBezTo>
                      <a:pt x="26651" y="140825"/>
                      <a:pt x="15856" y="141156"/>
                      <a:pt x="5415" y="143526"/>
                    </a:cubicBezTo>
                    <a:cubicBezTo>
                      <a:pt x="4394" y="141150"/>
                      <a:pt x="3876" y="138591"/>
                      <a:pt x="3876" y="136003"/>
                    </a:cubicBezTo>
                    <a:cubicBezTo>
                      <a:pt x="4901" y="131227"/>
                      <a:pt x="5620" y="126394"/>
                      <a:pt x="6041" y="121527"/>
                    </a:cubicBezTo>
                    <a:cubicBezTo>
                      <a:pt x="5574" y="117765"/>
                      <a:pt x="3323" y="114459"/>
                      <a:pt x="0" y="112635"/>
                    </a:cubicBezTo>
                    <a:cubicBezTo>
                      <a:pt x="7067" y="108349"/>
                      <a:pt x="12699" y="102063"/>
                      <a:pt x="16187" y="94568"/>
                    </a:cubicBezTo>
                    <a:cubicBezTo>
                      <a:pt x="20410" y="92778"/>
                      <a:pt x="24753" y="91274"/>
                      <a:pt x="29181" y="90065"/>
                    </a:cubicBezTo>
                    <a:cubicBezTo>
                      <a:pt x="40820" y="85557"/>
                      <a:pt x="49226" y="75247"/>
                      <a:pt x="51295" y="62936"/>
                    </a:cubicBezTo>
                    <a:cubicBezTo>
                      <a:pt x="51426" y="59379"/>
                      <a:pt x="52156" y="55874"/>
                      <a:pt x="53461" y="52563"/>
                    </a:cubicBezTo>
                    <a:cubicBezTo>
                      <a:pt x="55228" y="49200"/>
                      <a:pt x="58819" y="46521"/>
                      <a:pt x="58819" y="42703"/>
                    </a:cubicBezTo>
                    <a:cubicBezTo>
                      <a:pt x="58819" y="38884"/>
                      <a:pt x="56140" y="36718"/>
                      <a:pt x="55228" y="33584"/>
                    </a:cubicBezTo>
                    <a:cubicBezTo>
                      <a:pt x="54550" y="28762"/>
                      <a:pt x="56299" y="23917"/>
                      <a:pt x="59902" y="20646"/>
                    </a:cubicBezTo>
                    <a:cubicBezTo>
                      <a:pt x="64370" y="15676"/>
                      <a:pt x="69904" y="11777"/>
                      <a:pt x="76088" y="9247"/>
                    </a:cubicBezTo>
                    <a:cubicBezTo>
                      <a:pt x="78493" y="8466"/>
                      <a:pt x="80767" y="7315"/>
                      <a:pt x="82814" y="5827"/>
                    </a:cubicBezTo>
                    <a:cubicBezTo>
                      <a:pt x="84215" y="4636"/>
                      <a:pt x="85076" y="2932"/>
                      <a:pt x="85207" y="1097"/>
                    </a:cubicBezTo>
                    <a:cubicBezTo>
                      <a:pt x="86735" y="555"/>
                      <a:pt x="88325" y="207"/>
                      <a:pt x="89938" y="71"/>
                    </a:cubicBezTo>
                    <a:cubicBezTo>
                      <a:pt x="98373" y="-670"/>
                      <a:pt x="106694" y="4687"/>
                      <a:pt x="115015" y="3091"/>
                    </a:cubicBezTo>
                    <a:cubicBezTo>
                      <a:pt x="116953" y="2750"/>
                      <a:pt x="119290" y="2123"/>
                      <a:pt x="120715" y="3547"/>
                    </a:cubicBezTo>
                    <a:cubicBezTo>
                      <a:pt x="121319" y="4442"/>
                      <a:pt x="121781" y="5423"/>
                      <a:pt x="122083" y="6454"/>
                    </a:cubicBezTo>
                    <a:cubicBezTo>
                      <a:pt x="124248" y="10843"/>
                      <a:pt x="131373" y="9589"/>
                      <a:pt x="134793" y="13122"/>
                    </a:cubicBezTo>
                    <a:cubicBezTo>
                      <a:pt x="136326" y="15305"/>
                      <a:pt x="137432" y="17762"/>
                      <a:pt x="138041" y="20361"/>
                    </a:cubicBezTo>
                    <a:cubicBezTo>
                      <a:pt x="139067" y="22812"/>
                      <a:pt x="141746" y="25148"/>
                      <a:pt x="144140" y="24008"/>
                    </a:cubicBezTo>
                    <a:cubicBezTo>
                      <a:pt x="142293" y="29429"/>
                      <a:pt x="144163" y="35419"/>
                      <a:pt x="148756" y="38827"/>
                    </a:cubicBezTo>
                    <a:cubicBezTo>
                      <a:pt x="153396" y="42036"/>
                      <a:pt x="159289" y="42817"/>
                      <a:pt x="164601" y="40936"/>
                    </a:cubicBezTo>
                    <a:cubicBezTo>
                      <a:pt x="166128" y="43147"/>
                      <a:pt x="166778" y="45849"/>
                      <a:pt x="166425" y="48516"/>
                    </a:cubicBezTo>
                    <a:cubicBezTo>
                      <a:pt x="165228" y="52848"/>
                      <a:pt x="159472" y="54216"/>
                      <a:pt x="157077" y="57806"/>
                    </a:cubicBezTo>
                    <a:cubicBezTo>
                      <a:pt x="155778" y="60981"/>
                      <a:pt x="155214" y="64412"/>
                      <a:pt x="155425" y="67837"/>
                    </a:cubicBezTo>
                    <a:cubicBezTo>
                      <a:pt x="155083" y="71257"/>
                      <a:pt x="152860" y="75190"/>
                      <a:pt x="149725" y="74905"/>
                    </a:cubicBezTo>
                    <a:cubicBezTo>
                      <a:pt x="152165" y="79521"/>
                      <a:pt x="153099" y="84782"/>
                      <a:pt x="152404" y="89951"/>
                    </a:cubicBezTo>
                    <a:cubicBezTo>
                      <a:pt x="151349" y="92169"/>
                      <a:pt x="150933" y="94636"/>
                      <a:pt x="151207" y="97076"/>
                    </a:cubicBezTo>
                    <a:cubicBezTo>
                      <a:pt x="152974" y="102433"/>
                      <a:pt x="163347" y="101179"/>
                      <a:pt x="164088" y="106765"/>
                    </a:cubicBezTo>
                    <a:cubicBezTo>
                      <a:pt x="164088" y="108304"/>
                      <a:pt x="163575" y="109957"/>
                      <a:pt x="164088" y="111438"/>
                    </a:cubicBezTo>
                    <a:cubicBezTo>
                      <a:pt x="164601" y="112920"/>
                      <a:pt x="166938" y="114516"/>
                      <a:pt x="168533" y="115998"/>
                    </a:cubicBezTo>
                    <a:cubicBezTo>
                      <a:pt x="170414" y="118449"/>
                      <a:pt x="171965" y="121128"/>
                      <a:pt x="173150" y="123977"/>
                    </a:cubicBezTo>
                    <a:cubicBezTo>
                      <a:pt x="174746" y="126599"/>
                      <a:pt x="178280" y="128765"/>
                      <a:pt x="180845" y="126998"/>
                    </a:cubicBezTo>
                    <a:cubicBezTo>
                      <a:pt x="180502" y="130190"/>
                      <a:pt x="183694" y="132697"/>
                      <a:pt x="186544" y="133495"/>
                    </a:cubicBezTo>
                    <a:cubicBezTo>
                      <a:pt x="189684" y="134003"/>
                      <a:pt x="192694" y="135148"/>
                      <a:pt x="195378" y="136858"/>
                    </a:cubicBezTo>
                    <a:cubicBezTo>
                      <a:pt x="197572" y="139326"/>
                      <a:pt x="198877" y="142455"/>
                      <a:pt x="199083" y="145749"/>
                    </a:cubicBezTo>
                    <a:lnTo>
                      <a:pt x="201477" y="159656"/>
                    </a:lnTo>
                    <a:cubicBezTo>
                      <a:pt x="201932" y="161662"/>
                      <a:pt x="201932" y="163748"/>
                      <a:pt x="201477" y="165754"/>
                    </a:cubicBezTo>
                    <a:cubicBezTo>
                      <a:pt x="201135" y="166655"/>
                      <a:pt x="200906" y="167590"/>
                      <a:pt x="200793" y="168547"/>
                    </a:cubicBezTo>
                    <a:cubicBezTo>
                      <a:pt x="200793" y="170428"/>
                      <a:pt x="202502" y="171796"/>
                      <a:pt x="203756" y="173221"/>
                    </a:cubicBezTo>
                    <a:cubicBezTo>
                      <a:pt x="206509" y="177712"/>
                      <a:pt x="208259" y="182750"/>
                      <a:pt x="208886" y="18798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2" name="Freihandform: Form 368">
                <a:extLst>
                  <a:ext uri="{FF2B5EF4-FFF2-40B4-BE49-F238E27FC236}">
                    <a16:creationId xmlns:a16="http://schemas.microsoft.com/office/drawing/2014/main" id="{342EBF79-12DB-6BC9-A903-C5556C1AF638}"/>
                  </a:ext>
                </a:extLst>
              </p:cNvPr>
              <p:cNvSpPr/>
              <p:nvPr/>
            </p:nvSpPr>
            <p:spPr>
              <a:xfrm>
                <a:off x="4717351" y="3259331"/>
                <a:ext cx="423917" cy="379300"/>
              </a:xfrm>
              <a:custGeom>
                <a:avLst/>
                <a:gdLst>
                  <a:gd name="connsiteX0" fmla="*/ 394282 w 423917"/>
                  <a:gd name="connsiteY0" fmla="*/ 379300 h 379300"/>
                  <a:gd name="connsiteX1" fmla="*/ 360826 w 423917"/>
                  <a:gd name="connsiteY1" fmla="*/ 367217 h 379300"/>
                  <a:gd name="connsiteX2" fmla="*/ 314489 w 423917"/>
                  <a:gd name="connsiteY2" fmla="*/ 367616 h 379300"/>
                  <a:gd name="connsiteX3" fmla="*/ 310899 w 423917"/>
                  <a:gd name="connsiteY3" fmla="*/ 377419 h 379300"/>
                  <a:gd name="connsiteX4" fmla="*/ 295054 w 423917"/>
                  <a:gd name="connsiteY4" fmla="*/ 361347 h 379300"/>
                  <a:gd name="connsiteX5" fmla="*/ 264619 w 423917"/>
                  <a:gd name="connsiteY5" fmla="*/ 337067 h 379300"/>
                  <a:gd name="connsiteX6" fmla="*/ 252479 w 423917"/>
                  <a:gd name="connsiteY6" fmla="*/ 345502 h 379300"/>
                  <a:gd name="connsiteX7" fmla="*/ 199474 w 423917"/>
                  <a:gd name="connsiteY7" fmla="*/ 334901 h 379300"/>
                  <a:gd name="connsiteX8" fmla="*/ 165619 w 423917"/>
                  <a:gd name="connsiteY8" fmla="*/ 307259 h 379300"/>
                  <a:gd name="connsiteX9" fmla="*/ 147324 w 423917"/>
                  <a:gd name="connsiteY9" fmla="*/ 276311 h 379300"/>
                  <a:gd name="connsiteX10" fmla="*/ 121391 w 423917"/>
                  <a:gd name="connsiteY10" fmla="*/ 252487 h 379300"/>
                  <a:gd name="connsiteX11" fmla="*/ 95459 w 423917"/>
                  <a:gd name="connsiteY11" fmla="*/ 258186 h 379300"/>
                  <a:gd name="connsiteX12" fmla="*/ 94376 w 423917"/>
                  <a:gd name="connsiteY12" fmla="*/ 255565 h 379300"/>
                  <a:gd name="connsiteX13" fmla="*/ 88676 w 423917"/>
                  <a:gd name="connsiteY13" fmla="*/ 240689 h 379300"/>
                  <a:gd name="connsiteX14" fmla="*/ 85712 w 423917"/>
                  <a:gd name="connsiteY14" fmla="*/ 236015 h 379300"/>
                  <a:gd name="connsiteX15" fmla="*/ 86396 w 423917"/>
                  <a:gd name="connsiteY15" fmla="*/ 233223 h 379300"/>
                  <a:gd name="connsiteX16" fmla="*/ 86396 w 423917"/>
                  <a:gd name="connsiteY16" fmla="*/ 227124 h 379300"/>
                  <a:gd name="connsiteX17" fmla="*/ 84003 w 423917"/>
                  <a:gd name="connsiteY17" fmla="*/ 213217 h 379300"/>
                  <a:gd name="connsiteX18" fmla="*/ 80298 w 423917"/>
                  <a:gd name="connsiteY18" fmla="*/ 204326 h 379300"/>
                  <a:gd name="connsiteX19" fmla="*/ 71464 w 423917"/>
                  <a:gd name="connsiteY19" fmla="*/ 200963 h 379300"/>
                  <a:gd name="connsiteX20" fmla="*/ 65764 w 423917"/>
                  <a:gd name="connsiteY20" fmla="*/ 194466 h 379300"/>
                  <a:gd name="connsiteX21" fmla="*/ 58070 w 423917"/>
                  <a:gd name="connsiteY21" fmla="*/ 191445 h 379300"/>
                  <a:gd name="connsiteX22" fmla="*/ 53339 w 423917"/>
                  <a:gd name="connsiteY22" fmla="*/ 183181 h 379300"/>
                  <a:gd name="connsiteX23" fmla="*/ 48894 w 423917"/>
                  <a:gd name="connsiteY23" fmla="*/ 178622 h 379300"/>
                  <a:gd name="connsiteX24" fmla="*/ 48894 w 423917"/>
                  <a:gd name="connsiteY24" fmla="*/ 173948 h 379300"/>
                  <a:gd name="connsiteX25" fmla="*/ 36013 w 423917"/>
                  <a:gd name="connsiteY25" fmla="*/ 164259 h 379300"/>
                  <a:gd name="connsiteX26" fmla="*/ 37210 w 423917"/>
                  <a:gd name="connsiteY26" fmla="*/ 157135 h 379300"/>
                  <a:gd name="connsiteX27" fmla="*/ 34531 w 423917"/>
                  <a:gd name="connsiteY27" fmla="*/ 142088 h 379300"/>
                  <a:gd name="connsiteX28" fmla="*/ 40231 w 423917"/>
                  <a:gd name="connsiteY28" fmla="*/ 135021 h 379300"/>
                  <a:gd name="connsiteX29" fmla="*/ 41883 w 423917"/>
                  <a:gd name="connsiteY29" fmla="*/ 124990 h 379300"/>
                  <a:gd name="connsiteX30" fmla="*/ 51231 w 423917"/>
                  <a:gd name="connsiteY30" fmla="*/ 115699 h 379300"/>
                  <a:gd name="connsiteX31" fmla="*/ 49407 w 423917"/>
                  <a:gd name="connsiteY31" fmla="*/ 108119 h 379300"/>
                  <a:gd name="connsiteX32" fmla="*/ 33562 w 423917"/>
                  <a:gd name="connsiteY32" fmla="*/ 106010 h 379300"/>
                  <a:gd name="connsiteX33" fmla="*/ 28945 w 423917"/>
                  <a:gd name="connsiteY33" fmla="*/ 91192 h 379300"/>
                  <a:gd name="connsiteX34" fmla="*/ 22847 w 423917"/>
                  <a:gd name="connsiteY34" fmla="*/ 87544 h 379300"/>
                  <a:gd name="connsiteX35" fmla="*/ 19599 w 423917"/>
                  <a:gd name="connsiteY35" fmla="*/ 80306 h 379300"/>
                  <a:gd name="connsiteX36" fmla="*/ 6889 w 423917"/>
                  <a:gd name="connsiteY36" fmla="*/ 73637 h 379300"/>
                  <a:gd name="connsiteX37" fmla="*/ 5521 w 423917"/>
                  <a:gd name="connsiteY37" fmla="*/ 70730 h 379300"/>
                  <a:gd name="connsiteX38" fmla="*/ 4381 w 423917"/>
                  <a:gd name="connsiteY38" fmla="*/ 70047 h 379300"/>
                  <a:gd name="connsiteX39" fmla="*/ 8997 w 423917"/>
                  <a:gd name="connsiteY39" fmla="*/ 59560 h 379300"/>
                  <a:gd name="connsiteX40" fmla="*/ 9567 w 423917"/>
                  <a:gd name="connsiteY40" fmla="*/ 55171 h 379300"/>
                  <a:gd name="connsiteX41" fmla="*/ 7915 w 423917"/>
                  <a:gd name="connsiteY41" fmla="*/ 51694 h 379300"/>
                  <a:gd name="connsiteX42" fmla="*/ 8769 w 423917"/>
                  <a:gd name="connsiteY42" fmla="*/ 46508 h 379300"/>
                  <a:gd name="connsiteX43" fmla="*/ 3526 w 423917"/>
                  <a:gd name="connsiteY43" fmla="*/ 22912 h 379300"/>
                  <a:gd name="connsiteX44" fmla="*/ 106 w 423917"/>
                  <a:gd name="connsiteY44" fmla="*/ 16585 h 379300"/>
                  <a:gd name="connsiteX45" fmla="*/ 5065 w 423917"/>
                  <a:gd name="connsiteY45" fmla="*/ 12026 h 379300"/>
                  <a:gd name="connsiteX46" fmla="*/ 9340 w 423917"/>
                  <a:gd name="connsiteY46" fmla="*/ 0 h 379300"/>
                  <a:gd name="connsiteX47" fmla="*/ 31453 w 423917"/>
                  <a:gd name="connsiteY47" fmla="*/ 18124 h 379300"/>
                  <a:gd name="connsiteX48" fmla="*/ 44904 w 423917"/>
                  <a:gd name="connsiteY48" fmla="*/ 28383 h 379300"/>
                  <a:gd name="connsiteX49" fmla="*/ 52029 w 423917"/>
                  <a:gd name="connsiteY49" fmla="*/ 25363 h 379300"/>
                  <a:gd name="connsiteX50" fmla="*/ 82179 w 423917"/>
                  <a:gd name="connsiteY50" fmla="*/ 6384 h 379300"/>
                  <a:gd name="connsiteX51" fmla="*/ 85940 w 423917"/>
                  <a:gd name="connsiteY51" fmla="*/ 5187 h 379300"/>
                  <a:gd name="connsiteX52" fmla="*/ 88619 w 423917"/>
                  <a:gd name="connsiteY52" fmla="*/ 12425 h 379300"/>
                  <a:gd name="connsiteX53" fmla="*/ 101785 w 423917"/>
                  <a:gd name="connsiteY53" fmla="*/ 33057 h 379300"/>
                  <a:gd name="connsiteX54" fmla="*/ 101785 w 423917"/>
                  <a:gd name="connsiteY54" fmla="*/ 33057 h 379300"/>
                  <a:gd name="connsiteX55" fmla="*/ 103381 w 423917"/>
                  <a:gd name="connsiteY55" fmla="*/ 47249 h 379300"/>
                  <a:gd name="connsiteX56" fmla="*/ 111588 w 423917"/>
                  <a:gd name="connsiteY56" fmla="*/ 49186 h 379300"/>
                  <a:gd name="connsiteX57" fmla="*/ 119339 w 423917"/>
                  <a:gd name="connsiteY57" fmla="*/ 64176 h 379300"/>
                  <a:gd name="connsiteX58" fmla="*/ 134614 w 423917"/>
                  <a:gd name="connsiteY58" fmla="*/ 62409 h 379300"/>
                  <a:gd name="connsiteX59" fmla="*/ 138318 w 423917"/>
                  <a:gd name="connsiteY59" fmla="*/ 75461 h 379300"/>
                  <a:gd name="connsiteX60" fmla="*/ 147894 w 423917"/>
                  <a:gd name="connsiteY60" fmla="*/ 74720 h 379300"/>
                  <a:gd name="connsiteX61" fmla="*/ 154847 w 423917"/>
                  <a:gd name="connsiteY61" fmla="*/ 85036 h 379300"/>
                  <a:gd name="connsiteX62" fmla="*/ 167386 w 423917"/>
                  <a:gd name="connsiteY62" fmla="*/ 88513 h 379300"/>
                  <a:gd name="connsiteX63" fmla="*/ 194743 w 423917"/>
                  <a:gd name="connsiteY63" fmla="*/ 92731 h 379300"/>
                  <a:gd name="connsiteX64" fmla="*/ 201241 w 423917"/>
                  <a:gd name="connsiteY64" fmla="*/ 84010 h 379300"/>
                  <a:gd name="connsiteX65" fmla="*/ 213552 w 423917"/>
                  <a:gd name="connsiteY65" fmla="*/ 82015 h 379300"/>
                  <a:gd name="connsiteX66" fmla="*/ 221075 w 423917"/>
                  <a:gd name="connsiteY66" fmla="*/ 69762 h 379300"/>
                  <a:gd name="connsiteX67" fmla="*/ 236521 w 423917"/>
                  <a:gd name="connsiteY67" fmla="*/ 65715 h 379300"/>
                  <a:gd name="connsiteX68" fmla="*/ 263878 w 423917"/>
                  <a:gd name="connsiteY68" fmla="*/ 49186 h 379300"/>
                  <a:gd name="connsiteX69" fmla="*/ 277329 w 423917"/>
                  <a:gd name="connsiteY69" fmla="*/ 47933 h 379300"/>
                  <a:gd name="connsiteX70" fmla="*/ 292888 w 423917"/>
                  <a:gd name="connsiteY70" fmla="*/ 44456 h 379300"/>
                  <a:gd name="connsiteX71" fmla="*/ 301780 w 423917"/>
                  <a:gd name="connsiteY71" fmla="*/ 51067 h 379300"/>
                  <a:gd name="connsiteX72" fmla="*/ 341220 w 423917"/>
                  <a:gd name="connsiteY72" fmla="*/ 67254 h 379300"/>
                  <a:gd name="connsiteX73" fmla="*/ 358888 w 423917"/>
                  <a:gd name="connsiteY73" fmla="*/ 78368 h 379300"/>
                  <a:gd name="connsiteX74" fmla="*/ 376670 w 423917"/>
                  <a:gd name="connsiteY74" fmla="*/ 93984 h 379300"/>
                  <a:gd name="connsiteX75" fmla="*/ 384878 w 423917"/>
                  <a:gd name="connsiteY75" fmla="*/ 94554 h 379300"/>
                  <a:gd name="connsiteX76" fmla="*/ 381287 w 423917"/>
                  <a:gd name="connsiteY76" fmla="*/ 130974 h 379300"/>
                  <a:gd name="connsiteX77" fmla="*/ 370287 w 423917"/>
                  <a:gd name="connsiteY77" fmla="*/ 148471 h 379300"/>
                  <a:gd name="connsiteX78" fmla="*/ 372966 w 423917"/>
                  <a:gd name="connsiteY78" fmla="*/ 202901 h 379300"/>
                  <a:gd name="connsiteX79" fmla="*/ 377126 w 423917"/>
                  <a:gd name="connsiteY79" fmla="*/ 218062 h 379300"/>
                  <a:gd name="connsiteX80" fmla="*/ 396106 w 423917"/>
                  <a:gd name="connsiteY80" fmla="*/ 233792 h 379300"/>
                  <a:gd name="connsiteX81" fmla="*/ 381515 w 423917"/>
                  <a:gd name="connsiteY81" fmla="*/ 252430 h 379300"/>
                  <a:gd name="connsiteX82" fmla="*/ 385448 w 423917"/>
                  <a:gd name="connsiteY82" fmla="*/ 289647 h 379300"/>
                  <a:gd name="connsiteX83" fmla="*/ 417821 w 423917"/>
                  <a:gd name="connsiteY83" fmla="*/ 314725 h 379300"/>
                  <a:gd name="connsiteX84" fmla="*/ 422152 w 423917"/>
                  <a:gd name="connsiteY84" fmla="*/ 334217 h 379300"/>
                  <a:gd name="connsiteX85" fmla="*/ 419758 w 423917"/>
                  <a:gd name="connsiteY85" fmla="*/ 352911 h 379300"/>
                  <a:gd name="connsiteX86" fmla="*/ 413318 w 423917"/>
                  <a:gd name="connsiteY86" fmla="*/ 355647 h 379300"/>
                  <a:gd name="connsiteX87" fmla="*/ 394282 w 423917"/>
                  <a:gd name="connsiteY87" fmla="*/ 379300 h 37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23917" h="379300">
                    <a:moveTo>
                      <a:pt x="394282" y="379300"/>
                    </a:moveTo>
                    <a:cubicBezTo>
                      <a:pt x="382883" y="376279"/>
                      <a:pt x="372054" y="371036"/>
                      <a:pt x="360826" y="367217"/>
                    </a:cubicBezTo>
                    <a:cubicBezTo>
                      <a:pt x="345722" y="362031"/>
                      <a:pt x="328225" y="359523"/>
                      <a:pt x="314489" y="367616"/>
                    </a:cubicBezTo>
                    <a:lnTo>
                      <a:pt x="310899" y="377419"/>
                    </a:lnTo>
                    <a:cubicBezTo>
                      <a:pt x="303147" y="381466"/>
                      <a:pt x="297220" y="369782"/>
                      <a:pt x="295054" y="361347"/>
                    </a:cubicBezTo>
                    <a:cubicBezTo>
                      <a:pt x="291349" y="347041"/>
                      <a:pt x="278241" y="331538"/>
                      <a:pt x="264619" y="337067"/>
                    </a:cubicBezTo>
                    <a:cubicBezTo>
                      <a:pt x="260321" y="339495"/>
                      <a:pt x="256258" y="342322"/>
                      <a:pt x="252479" y="345502"/>
                    </a:cubicBezTo>
                    <a:cubicBezTo>
                      <a:pt x="236406" y="355818"/>
                      <a:pt x="215489" y="345502"/>
                      <a:pt x="199474" y="334901"/>
                    </a:cubicBezTo>
                    <a:cubicBezTo>
                      <a:pt x="186736" y="327623"/>
                      <a:pt x="175297" y="318282"/>
                      <a:pt x="165619" y="307259"/>
                    </a:cubicBezTo>
                    <a:cubicBezTo>
                      <a:pt x="158865" y="297347"/>
                      <a:pt x="152750" y="287009"/>
                      <a:pt x="147324" y="276311"/>
                    </a:cubicBezTo>
                    <a:cubicBezTo>
                      <a:pt x="141761" y="265556"/>
                      <a:pt x="132573" y="257120"/>
                      <a:pt x="121391" y="252487"/>
                    </a:cubicBezTo>
                    <a:cubicBezTo>
                      <a:pt x="112352" y="249557"/>
                      <a:pt x="102435" y="251740"/>
                      <a:pt x="95459" y="258186"/>
                    </a:cubicBezTo>
                    <a:cubicBezTo>
                      <a:pt x="95117" y="257274"/>
                      <a:pt x="94661" y="256476"/>
                      <a:pt x="94376" y="255565"/>
                    </a:cubicBezTo>
                    <a:cubicBezTo>
                      <a:pt x="93589" y="250247"/>
                      <a:pt x="91646" y="245169"/>
                      <a:pt x="88676" y="240689"/>
                    </a:cubicBezTo>
                    <a:cubicBezTo>
                      <a:pt x="87422" y="239264"/>
                      <a:pt x="85712" y="237896"/>
                      <a:pt x="85712" y="236015"/>
                    </a:cubicBezTo>
                    <a:cubicBezTo>
                      <a:pt x="85826" y="235058"/>
                      <a:pt x="86054" y="234123"/>
                      <a:pt x="86396" y="233223"/>
                    </a:cubicBezTo>
                    <a:cubicBezTo>
                      <a:pt x="86852" y="231216"/>
                      <a:pt x="86852" y="229130"/>
                      <a:pt x="86396" y="227124"/>
                    </a:cubicBezTo>
                    <a:lnTo>
                      <a:pt x="84003" y="213217"/>
                    </a:lnTo>
                    <a:cubicBezTo>
                      <a:pt x="83797" y="209923"/>
                      <a:pt x="82492" y="206794"/>
                      <a:pt x="80298" y="204326"/>
                    </a:cubicBezTo>
                    <a:cubicBezTo>
                      <a:pt x="77613" y="202616"/>
                      <a:pt x="74604" y="201471"/>
                      <a:pt x="71464" y="200963"/>
                    </a:cubicBezTo>
                    <a:cubicBezTo>
                      <a:pt x="68386" y="200052"/>
                      <a:pt x="65194" y="197658"/>
                      <a:pt x="65764" y="194466"/>
                    </a:cubicBezTo>
                    <a:cubicBezTo>
                      <a:pt x="63199" y="196233"/>
                      <a:pt x="59666" y="194067"/>
                      <a:pt x="58070" y="191445"/>
                    </a:cubicBezTo>
                    <a:cubicBezTo>
                      <a:pt x="56873" y="188493"/>
                      <a:pt x="55277" y="185712"/>
                      <a:pt x="53339" y="183181"/>
                    </a:cubicBezTo>
                    <a:cubicBezTo>
                      <a:pt x="51743" y="181699"/>
                      <a:pt x="49407" y="180730"/>
                      <a:pt x="48894" y="178622"/>
                    </a:cubicBezTo>
                    <a:cubicBezTo>
                      <a:pt x="48381" y="176513"/>
                      <a:pt x="49236" y="175487"/>
                      <a:pt x="48894" y="173948"/>
                    </a:cubicBezTo>
                    <a:cubicBezTo>
                      <a:pt x="48153" y="168249"/>
                      <a:pt x="37495" y="169616"/>
                      <a:pt x="36013" y="164259"/>
                    </a:cubicBezTo>
                    <a:cubicBezTo>
                      <a:pt x="35739" y="161820"/>
                      <a:pt x="36155" y="159352"/>
                      <a:pt x="37210" y="157135"/>
                    </a:cubicBezTo>
                    <a:cubicBezTo>
                      <a:pt x="37905" y="151965"/>
                      <a:pt x="36970" y="146705"/>
                      <a:pt x="34531" y="142088"/>
                    </a:cubicBezTo>
                    <a:cubicBezTo>
                      <a:pt x="37894" y="142373"/>
                      <a:pt x="40231" y="138440"/>
                      <a:pt x="40231" y="135021"/>
                    </a:cubicBezTo>
                    <a:cubicBezTo>
                      <a:pt x="40020" y="131595"/>
                      <a:pt x="40584" y="128164"/>
                      <a:pt x="41883" y="124990"/>
                    </a:cubicBezTo>
                    <a:cubicBezTo>
                      <a:pt x="44277" y="121228"/>
                      <a:pt x="50034" y="120031"/>
                      <a:pt x="51231" y="115699"/>
                    </a:cubicBezTo>
                    <a:cubicBezTo>
                      <a:pt x="51584" y="113032"/>
                      <a:pt x="50934" y="110330"/>
                      <a:pt x="49407" y="108119"/>
                    </a:cubicBezTo>
                    <a:cubicBezTo>
                      <a:pt x="44095" y="110000"/>
                      <a:pt x="38202" y="109219"/>
                      <a:pt x="33562" y="106010"/>
                    </a:cubicBezTo>
                    <a:cubicBezTo>
                      <a:pt x="28968" y="102602"/>
                      <a:pt x="27099" y="96612"/>
                      <a:pt x="28945" y="91192"/>
                    </a:cubicBezTo>
                    <a:cubicBezTo>
                      <a:pt x="26552" y="92332"/>
                      <a:pt x="23873" y="89995"/>
                      <a:pt x="22847" y="87544"/>
                    </a:cubicBezTo>
                    <a:cubicBezTo>
                      <a:pt x="22238" y="84945"/>
                      <a:pt x="21132" y="82489"/>
                      <a:pt x="19599" y="80306"/>
                    </a:cubicBezTo>
                    <a:cubicBezTo>
                      <a:pt x="16179" y="76772"/>
                      <a:pt x="9054" y="78026"/>
                      <a:pt x="6889" y="73637"/>
                    </a:cubicBezTo>
                    <a:cubicBezTo>
                      <a:pt x="6587" y="72606"/>
                      <a:pt x="6125" y="71625"/>
                      <a:pt x="5521" y="70730"/>
                    </a:cubicBezTo>
                    <a:cubicBezTo>
                      <a:pt x="5202" y="70411"/>
                      <a:pt x="4814" y="70178"/>
                      <a:pt x="4381" y="70047"/>
                    </a:cubicBezTo>
                    <a:cubicBezTo>
                      <a:pt x="6290" y="66724"/>
                      <a:pt x="7835" y="63207"/>
                      <a:pt x="8997" y="59560"/>
                    </a:cubicBezTo>
                    <a:cubicBezTo>
                      <a:pt x="9659" y="58197"/>
                      <a:pt x="9858" y="56659"/>
                      <a:pt x="9567" y="55171"/>
                    </a:cubicBezTo>
                    <a:cubicBezTo>
                      <a:pt x="9226" y="53917"/>
                      <a:pt x="8257" y="52948"/>
                      <a:pt x="7915" y="51694"/>
                    </a:cubicBezTo>
                    <a:cubicBezTo>
                      <a:pt x="7669" y="49916"/>
                      <a:pt x="7966" y="48109"/>
                      <a:pt x="8769" y="46508"/>
                    </a:cubicBezTo>
                    <a:cubicBezTo>
                      <a:pt x="11465" y="38278"/>
                      <a:pt x="9453" y="29227"/>
                      <a:pt x="3526" y="22912"/>
                    </a:cubicBezTo>
                    <a:cubicBezTo>
                      <a:pt x="1759" y="21145"/>
                      <a:pt x="-521" y="19036"/>
                      <a:pt x="106" y="16585"/>
                    </a:cubicBezTo>
                    <a:cubicBezTo>
                      <a:pt x="733" y="14135"/>
                      <a:pt x="3241" y="13451"/>
                      <a:pt x="5065" y="12026"/>
                    </a:cubicBezTo>
                    <a:cubicBezTo>
                      <a:pt x="8143" y="8812"/>
                      <a:pt x="9699" y="4434"/>
                      <a:pt x="9340" y="0"/>
                    </a:cubicBezTo>
                    <a:cubicBezTo>
                      <a:pt x="18248" y="3881"/>
                      <a:pt x="25902" y="10151"/>
                      <a:pt x="31453" y="18124"/>
                    </a:cubicBezTo>
                    <a:cubicBezTo>
                      <a:pt x="34873" y="22912"/>
                      <a:pt x="38977" y="28782"/>
                      <a:pt x="44904" y="28383"/>
                    </a:cubicBezTo>
                    <a:cubicBezTo>
                      <a:pt x="47497" y="28007"/>
                      <a:pt x="49954" y="26964"/>
                      <a:pt x="52029" y="25363"/>
                    </a:cubicBezTo>
                    <a:lnTo>
                      <a:pt x="82179" y="6384"/>
                    </a:lnTo>
                    <a:cubicBezTo>
                      <a:pt x="83250" y="5551"/>
                      <a:pt x="84584" y="5124"/>
                      <a:pt x="85940" y="5187"/>
                    </a:cubicBezTo>
                    <a:cubicBezTo>
                      <a:pt x="88676" y="5814"/>
                      <a:pt x="88676" y="9632"/>
                      <a:pt x="88619" y="12425"/>
                    </a:cubicBezTo>
                    <a:cubicBezTo>
                      <a:pt x="89058" y="21145"/>
                      <a:pt x="94062" y="28988"/>
                      <a:pt x="101785" y="33057"/>
                    </a:cubicBezTo>
                    <a:lnTo>
                      <a:pt x="101785" y="33057"/>
                    </a:lnTo>
                    <a:cubicBezTo>
                      <a:pt x="99106" y="37674"/>
                      <a:pt x="98707" y="44741"/>
                      <a:pt x="103381" y="47249"/>
                    </a:cubicBezTo>
                    <a:cubicBezTo>
                      <a:pt x="106065" y="48104"/>
                      <a:pt x="108807" y="48748"/>
                      <a:pt x="111588" y="49186"/>
                    </a:cubicBezTo>
                    <a:cubicBezTo>
                      <a:pt x="117287" y="51238"/>
                      <a:pt x="118655" y="58306"/>
                      <a:pt x="119339" y="64176"/>
                    </a:cubicBezTo>
                    <a:lnTo>
                      <a:pt x="134614" y="62409"/>
                    </a:lnTo>
                    <a:cubicBezTo>
                      <a:pt x="135868" y="66741"/>
                      <a:pt x="137065" y="71072"/>
                      <a:pt x="138318" y="75461"/>
                    </a:cubicBezTo>
                    <a:lnTo>
                      <a:pt x="147894" y="74720"/>
                    </a:lnTo>
                    <a:cubicBezTo>
                      <a:pt x="148224" y="79149"/>
                      <a:pt x="150869" y="83070"/>
                      <a:pt x="154847" y="85036"/>
                    </a:cubicBezTo>
                    <a:cubicBezTo>
                      <a:pt x="158791" y="86911"/>
                      <a:pt x="163037" y="88091"/>
                      <a:pt x="167386" y="88513"/>
                    </a:cubicBezTo>
                    <a:lnTo>
                      <a:pt x="194743" y="92731"/>
                    </a:lnTo>
                    <a:cubicBezTo>
                      <a:pt x="193034" y="88912"/>
                      <a:pt x="197194" y="84922"/>
                      <a:pt x="201241" y="84010"/>
                    </a:cubicBezTo>
                    <a:cubicBezTo>
                      <a:pt x="205401" y="83782"/>
                      <a:pt x="209528" y="83115"/>
                      <a:pt x="213552" y="82015"/>
                    </a:cubicBezTo>
                    <a:cubicBezTo>
                      <a:pt x="218014" y="79513"/>
                      <a:pt x="220858" y="74874"/>
                      <a:pt x="221075" y="69762"/>
                    </a:cubicBezTo>
                    <a:cubicBezTo>
                      <a:pt x="226455" y="69534"/>
                      <a:pt x="231721" y="68154"/>
                      <a:pt x="236521" y="65715"/>
                    </a:cubicBezTo>
                    <a:cubicBezTo>
                      <a:pt x="246039" y="60700"/>
                      <a:pt x="253619" y="51181"/>
                      <a:pt x="263878" y="49186"/>
                    </a:cubicBezTo>
                    <a:cubicBezTo>
                      <a:pt x="268323" y="48389"/>
                      <a:pt x="272940" y="49186"/>
                      <a:pt x="277329" y="47933"/>
                    </a:cubicBezTo>
                    <a:cubicBezTo>
                      <a:pt x="281717" y="46679"/>
                      <a:pt x="287702" y="42974"/>
                      <a:pt x="292888" y="44456"/>
                    </a:cubicBezTo>
                    <a:cubicBezTo>
                      <a:pt x="296268" y="46035"/>
                      <a:pt x="299294" y="48280"/>
                      <a:pt x="301780" y="51067"/>
                    </a:cubicBezTo>
                    <a:cubicBezTo>
                      <a:pt x="312837" y="60243"/>
                      <a:pt x="331018" y="57052"/>
                      <a:pt x="341220" y="67254"/>
                    </a:cubicBezTo>
                    <a:cubicBezTo>
                      <a:pt x="346577" y="72611"/>
                      <a:pt x="352220" y="82015"/>
                      <a:pt x="358888" y="78368"/>
                    </a:cubicBezTo>
                    <a:lnTo>
                      <a:pt x="376670" y="93984"/>
                    </a:lnTo>
                    <a:lnTo>
                      <a:pt x="384878" y="94554"/>
                    </a:lnTo>
                    <a:lnTo>
                      <a:pt x="381287" y="130974"/>
                    </a:lnTo>
                    <a:cubicBezTo>
                      <a:pt x="380546" y="138497"/>
                      <a:pt x="377810" y="148072"/>
                      <a:pt x="370287" y="148471"/>
                    </a:cubicBezTo>
                    <a:cubicBezTo>
                      <a:pt x="371199" y="166596"/>
                      <a:pt x="372054" y="184720"/>
                      <a:pt x="372966" y="202901"/>
                    </a:cubicBezTo>
                    <a:cubicBezTo>
                      <a:pt x="372641" y="208276"/>
                      <a:pt x="374106" y="213605"/>
                      <a:pt x="377126" y="218062"/>
                    </a:cubicBezTo>
                    <a:cubicBezTo>
                      <a:pt x="382826" y="224502"/>
                      <a:pt x="394738" y="225414"/>
                      <a:pt x="396106" y="233792"/>
                    </a:cubicBezTo>
                    <a:cubicBezTo>
                      <a:pt x="397474" y="242171"/>
                      <a:pt x="387158" y="246388"/>
                      <a:pt x="381515" y="252430"/>
                    </a:cubicBezTo>
                    <a:cubicBezTo>
                      <a:pt x="372225" y="262518"/>
                      <a:pt x="376328" y="279388"/>
                      <a:pt x="385448" y="289647"/>
                    </a:cubicBezTo>
                    <a:cubicBezTo>
                      <a:pt x="394567" y="299906"/>
                      <a:pt x="407334" y="305948"/>
                      <a:pt x="417821" y="314725"/>
                    </a:cubicBezTo>
                    <a:cubicBezTo>
                      <a:pt x="416225" y="321336"/>
                      <a:pt x="419815" y="327891"/>
                      <a:pt x="422152" y="334217"/>
                    </a:cubicBezTo>
                    <a:cubicBezTo>
                      <a:pt x="424489" y="340544"/>
                      <a:pt x="425230" y="348922"/>
                      <a:pt x="419758" y="352911"/>
                    </a:cubicBezTo>
                    <a:cubicBezTo>
                      <a:pt x="417752" y="354120"/>
                      <a:pt x="415581" y="355043"/>
                      <a:pt x="413318" y="355647"/>
                    </a:cubicBezTo>
                    <a:cubicBezTo>
                      <a:pt x="403378" y="359796"/>
                      <a:pt x="396214" y="368699"/>
                      <a:pt x="394282" y="3793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3" name="Freihandform: Form 369">
                <a:extLst>
                  <a:ext uri="{FF2B5EF4-FFF2-40B4-BE49-F238E27FC236}">
                    <a16:creationId xmlns:a16="http://schemas.microsoft.com/office/drawing/2014/main" id="{480701B6-32B2-0040-0F27-01B01C89EC95}"/>
                  </a:ext>
                </a:extLst>
              </p:cNvPr>
              <p:cNvSpPr/>
              <p:nvPr/>
            </p:nvSpPr>
            <p:spPr>
              <a:xfrm>
                <a:off x="4655504" y="3160079"/>
                <a:ext cx="120893" cy="60666"/>
              </a:xfrm>
              <a:custGeom>
                <a:avLst/>
                <a:gdLst>
                  <a:gd name="connsiteX0" fmla="*/ 59161 w 120893"/>
                  <a:gd name="connsiteY0" fmla="*/ 59812 h 60666"/>
                  <a:gd name="connsiteX1" fmla="*/ 52150 w 120893"/>
                  <a:gd name="connsiteY1" fmla="*/ 60667 h 60666"/>
                  <a:gd name="connsiteX2" fmla="*/ 48389 w 120893"/>
                  <a:gd name="connsiteY2" fmla="*/ 58159 h 60666"/>
                  <a:gd name="connsiteX3" fmla="*/ 38757 w 120893"/>
                  <a:gd name="connsiteY3" fmla="*/ 50579 h 60666"/>
                  <a:gd name="connsiteX4" fmla="*/ 2565 w 120893"/>
                  <a:gd name="connsiteY4" fmla="*/ 50009 h 60666"/>
                  <a:gd name="connsiteX5" fmla="*/ 20005 w 120893"/>
                  <a:gd name="connsiteY5" fmla="*/ 38610 h 60666"/>
                  <a:gd name="connsiteX6" fmla="*/ 10943 w 120893"/>
                  <a:gd name="connsiteY6" fmla="*/ 28750 h 60666"/>
                  <a:gd name="connsiteX7" fmla="*/ 4275 w 120893"/>
                  <a:gd name="connsiteY7" fmla="*/ 7662 h 60666"/>
                  <a:gd name="connsiteX8" fmla="*/ 0 w 120893"/>
                  <a:gd name="connsiteY8" fmla="*/ 7947 h 60666"/>
                  <a:gd name="connsiteX9" fmla="*/ 4446 w 120893"/>
                  <a:gd name="connsiteY9" fmla="*/ 3102 h 60666"/>
                  <a:gd name="connsiteX10" fmla="*/ 7865 w 120893"/>
                  <a:gd name="connsiteY10" fmla="*/ 81 h 60666"/>
                  <a:gd name="connsiteX11" fmla="*/ 14078 w 120893"/>
                  <a:gd name="connsiteY11" fmla="*/ 1335 h 60666"/>
                  <a:gd name="connsiteX12" fmla="*/ 32031 w 120893"/>
                  <a:gd name="connsiteY12" fmla="*/ 2133 h 60666"/>
                  <a:gd name="connsiteX13" fmla="*/ 48104 w 120893"/>
                  <a:gd name="connsiteY13" fmla="*/ 8574 h 60666"/>
                  <a:gd name="connsiteX14" fmla="*/ 50156 w 120893"/>
                  <a:gd name="connsiteY14" fmla="*/ 11708 h 60666"/>
                  <a:gd name="connsiteX15" fmla="*/ 61555 w 120893"/>
                  <a:gd name="connsiteY15" fmla="*/ 13190 h 60666"/>
                  <a:gd name="connsiteX16" fmla="*/ 64119 w 120893"/>
                  <a:gd name="connsiteY16" fmla="*/ 14957 h 60666"/>
                  <a:gd name="connsiteX17" fmla="*/ 74435 w 120893"/>
                  <a:gd name="connsiteY17" fmla="*/ 16781 h 60666"/>
                  <a:gd name="connsiteX18" fmla="*/ 105155 w 120893"/>
                  <a:gd name="connsiteY18" fmla="*/ 24133 h 60666"/>
                  <a:gd name="connsiteX19" fmla="*/ 107720 w 120893"/>
                  <a:gd name="connsiteY19" fmla="*/ 26185 h 60666"/>
                  <a:gd name="connsiteX20" fmla="*/ 107720 w 120893"/>
                  <a:gd name="connsiteY20" fmla="*/ 29548 h 60666"/>
                  <a:gd name="connsiteX21" fmla="*/ 117124 w 120893"/>
                  <a:gd name="connsiteY21" fmla="*/ 41573 h 60666"/>
                  <a:gd name="connsiteX22" fmla="*/ 119290 w 120893"/>
                  <a:gd name="connsiteY22" fmla="*/ 42314 h 60666"/>
                  <a:gd name="connsiteX23" fmla="*/ 120145 w 120893"/>
                  <a:gd name="connsiteY23" fmla="*/ 44081 h 60666"/>
                  <a:gd name="connsiteX24" fmla="*/ 120145 w 120893"/>
                  <a:gd name="connsiteY24" fmla="*/ 53428 h 60666"/>
                  <a:gd name="connsiteX25" fmla="*/ 109145 w 120893"/>
                  <a:gd name="connsiteY25" fmla="*/ 58444 h 60666"/>
                  <a:gd name="connsiteX26" fmla="*/ 102363 w 120893"/>
                  <a:gd name="connsiteY26" fmla="*/ 54112 h 60666"/>
                  <a:gd name="connsiteX27" fmla="*/ 91762 w 120893"/>
                  <a:gd name="connsiteY27" fmla="*/ 50693 h 60666"/>
                  <a:gd name="connsiteX28" fmla="*/ 83041 w 120893"/>
                  <a:gd name="connsiteY28" fmla="*/ 49838 h 60666"/>
                  <a:gd name="connsiteX29" fmla="*/ 59161 w 120893"/>
                  <a:gd name="connsiteY29" fmla="*/ 59812 h 6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893" h="60666">
                    <a:moveTo>
                      <a:pt x="59161" y="59812"/>
                    </a:moveTo>
                    <a:cubicBezTo>
                      <a:pt x="56807" y="59949"/>
                      <a:pt x="54464" y="60234"/>
                      <a:pt x="52150" y="60667"/>
                    </a:cubicBezTo>
                    <a:cubicBezTo>
                      <a:pt x="50965" y="59732"/>
                      <a:pt x="49705" y="58894"/>
                      <a:pt x="48389" y="58159"/>
                    </a:cubicBezTo>
                    <a:cubicBezTo>
                      <a:pt x="44855" y="56050"/>
                      <a:pt x="42233" y="52801"/>
                      <a:pt x="38757" y="50579"/>
                    </a:cubicBezTo>
                    <a:cubicBezTo>
                      <a:pt x="28441" y="44138"/>
                      <a:pt x="14876" y="49325"/>
                      <a:pt x="2565" y="50009"/>
                    </a:cubicBezTo>
                    <a:lnTo>
                      <a:pt x="20005" y="38610"/>
                    </a:lnTo>
                    <a:cubicBezTo>
                      <a:pt x="19943" y="33492"/>
                      <a:pt x="16038" y="29246"/>
                      <a:pt x="10943" y="28750"/>
                    </a:cubicBezTo>
                    <a:cubicBezTo>
                      <a:pt x="11051" y="21187"/>
                      <a:pt x="8714" y="13789"/>
                      <a:pt x="4275" y="7662"/>
                    </a:cubicBezTo>
                    <a:cubicBezTo>
                      <a:pt x="2873" y="7981"/>
                      <a:pt x="1431" y="8078"/>
                      <a:pt x="0" y="7947"/>
                    </a:cubicBezTo>
                    <a:cubicBezTo>
                      <a:pt x="1585" y="6431"/>
                      <a:pt x="3072" y="4812"/>
                      <a:pt x="4446" y="3102"/>
                    </a:cubicBezTo>
                    <a:cubicBezTo>
                      <a:pt x="5283" y="1797"/>
                      <a:pt x="6469" y="748"/>
                      <a:pt x="7865" y="81"/>
                    </a:cubicBezTo>
                    <a:cubicBezTo>
                      <a:pt x="10020" y="-198"/>
                      <a:pt x="12203" y="247"/>
                      <a:pt x="14078" y="1335"/>
                    </a:cubicBezTo>
                    <a:cubicBezTo>
                      <a:pt x="19954" y="2772"/>
                      <a:pt x="26053" y="3045"/>
                      <a:pt x="32031" y="2133"/>
                    </a:cubicBezTo>
                    <a:cubicBezTo>
                      <a:pt x="38152" y="1295"/>
                      <a:pt x="44256" y="3740"/>
                      <a:pt x="48104" y="8574"/>
                    </a:cubicBezTo>
                    <a:cubicBezTo>
                      <a:pt x="48622" y="9719"/>
                      <a:pt x="49318" y="10774"/>
                      <a:pt x="50156" y="11708"/>
                    </a:cubicBezTo>
                    <a:cubicBezTo>
                      <a:pt x="53062" y="14330"/>
                      <a:pt x="58021" y="11708"/>
                      <a:pt x="61555" y="13190"/>
                    </a:cubicBezTo>
                    <a:cubicBezTo>
                      <a:pt x="62455" y="13714"/>
                      <a:pt x="63310" y="14301"/>
                      <a:pt x="64119" y="14957"/>
                    </a:cubicBezTo>
                    <a:cubicBezTo>
                      <a:pt x="67322" y="16513"/>
                      <a:pt x="70896" y="17146"/>
                      <a:pt x="74435" y="16781"/>
                    </a:cubicBezTo>
                    <a:cubicBezTo>
                      <a:pt x="85088" y="16975"/>
                      <a:pt x="95569" y="19488"/>
                      <a:pt x="105155" y="24133"/>
                    </a:cubicBezTo>
                    <a:cubicBezTo>
                      <a:pt x="106193" y="24549"/>
                      <a:pt x="107087" y="25262"/>
                      <a:pt x="107720" y="26185"/>
                    </a:cubicBezTo>
                    <a:cubicBezTo>
                      <a:pt x="108005" y="27285"/>
                      <a:pt x="108005" y="28448"/>
                      <a:pt x="107720" y="29548"/>
                    </a:cubicBezTo>
                    <a:cubicBezTo>
                      <a:pt x="107629" y="35270"/>
                      <a:pt x="111545" y="40286"/>
                      <a:pt x="117124" y="41573"/>
                    </a:cubicBezTo>
                    <a:cubicBezTo>
                      <a:pt x="117905" y="41608"/>
                      <a:pt x="118652" y="41870"/>
                      <a:pt x="119290" y="42314"/>
                    </a:cubicBezTo>
                    <a:cubicBezTo>
                      <a:pt x="119717" y="42822"/>
                      <a:pt x="120014" y="43432"/>
                      <a:pt x="120145" y="44081"/>
                    </a:cubicBezTo>
                    <a:cubicBezTo>
                      <a:pt x="121142" y="47119"/>
                      <a:pt x="121142" y="50391"/>
                      <a:pt x="120145" y="53428"/>
                    </a:cubicBezTo>
                    <a:cubicBezTo>
                      <a:pt x="118316" y="57680"/>
                      <a:pt x="113556" y="59846"/>
                      <a:pt x="109145" y="58444"/>
                    </a:cubicBezTo>
                    <a:cubicBezTo>
                      <a:pt x="106751" y="57224"/>
                      <a:pt x="104477" y="55777"/>
                      <a:pt x="102363" y="54112"/>
                    </a:cubicBezTo>
                    <a:cubicBezTo>
                      <a:pt x="99057" y="52363"/>
                      <a:pt x="95466" y="51206"/>
                      <a:pt x="91762" y="50693"/>
                    </a:cubicBezTo>
                    <a:cubicBezTo>
                      <a:pt x="88912" y="49980"/>
                      <a:pt x="85977" y="49695"/>
                      <a:pt x="83041" y="49838"/>
                    </a:cubicBezTo>
                    <a:cubicBezTo>
                      <a:pt x="74720" y="50864"/>
                      <a:pt x="67881" y="58729"/>
                      <a:pt x="59161" y="5981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4" name="Freihandform: Form 370">
                <a:extLst>
                  <a:ext uri="{FF2B5EF4-FFF2-40B4-BE49-F238E27FC236}">
                    <a16:creationId xmlns:a16="http://schemas.microsoft.com/office/drawing/2014/main" id="{72142FE6-6347-2240-79FE-10A487E35A71}"/>
                  </a:ext>
                </a:extLst>
              </p:cNvPr>
              <p:cNvSpPr/>
              <p:nvPr/>
            </p:nvSpPr>
            <p:spPr>
              <a:xfrm>
                <a:off x="4707597" y="3210714"/>
                <a:ext cx="71300" cy="77075"/>
              </a:xfrm>
              <a:custGeom>
                <a:avLst/>
                <a:gdLst>
                  <a:gd name="connsiteX0" fmla="*/ 66456 w 71300"/>
                  <a:gd name="connsiteY0" fmla="*/ 57508 h 77075"/>
                  <a:gd name="connsiteX1" fmla="*/ 71300 w 71300"/>
                  <a:gd name="connsiteY1" fmla="*/ 68337 h 77075"/>
                  <a:gd name="connsiteX2" fmla="*/ 62067 w 71300"/>
                  <a:gd name="connsiteY2" fmla="*/ 74036 h 77075"/>
                  <a:gd name="connsiteX3" fmla="*/ 54943 w 71300"/>
                  <a:gd name="connsiteY3" fmla="*/ 77057 h 77075"/>
                  <a:gd name="connsiteX4" fmla="*/ 41492 w 71300"/>
                  <a:gd name="connsiteY4" fmla="*/ 66798 h 77075"/>
                  <a:gd name="connsiteX5" fmla="*/ 19378 w 71300"/>
                  <a:gd name="connsiteY5" fmla="*/ 48674 h 77075"/>
                  <a:gd name="connsiteX6" fmla="*/ 19378 w 71300"/>
                  <a:gd name="connsiteY6" fmla="*/ 47021 h 77075"/>
                  <a:gd name="connsiteX7" fmla="*/ 15389 w 71300"/>
                  <a:gd name="connsiteY7" fmla="*/ 38187 h 77075"/>
                  <a:gd name="connsiteX8" fmla="*/ 11399 w 71300"/>
                  <a:gd name="connsiteY8" fmla="*/ 36876 h 77075"/>
                  <a:gd name="connsiteX9" fmla="*/ 10829 w 71300"/>
                  <a:gd name="connsiteY9" fmla="*/ 34881 h 77075"/>
                  <a:gd name="connsiteX10" fmla="*/ 2052 w 71300"/>
                  <a:gd name="connsiteY10" fmla="*/ 27642 h 77075"/>
                  <a:gd name="connsiteX11" fmla="*/ 1083 w 71300"/>
                  <a:gd name="connsiteY11" fmla="*/ 10943 h 77075"/>
                  <a:gd name="connsiteX12" fmla="*/ 0 w 71300"/>
                  <a:gd name="connsiteY12" fmla="*/ 9974 h 77075"/>
                  <a:gd name="connsiteX13" fmla="*/ 7010 w 71300"/>
                  <a:gd name="connsiteY13" fmla="*/ 9119 h 77075"/>
                  <a:gd name="connsiteX14" fmla="*/ 28327 w 71300"/>
                  <a:gd name="connsiteY14" fmla="*/ 0 h 77075"/>
                  <a:gd name="connsiteX15" fmla="*/ 38301 w 71300"/>
                  <a:gd name="connsiteY15" fmla="*/ 8549 h 77075"/>
                  <a:gd name="connsiteX16" fmla="*/ 43088 w 71300"/>
                  <a:gd name="connsiteY16" fmla="*/ 15161 h 77075"/>
                  <a:gd name="connsiteX17" fmla="*/ 42404 w 71300"/>
                  <a:gd name="connsiteY17" fmla="*/ 20860 h 77075"/>
                  <a:gd name="connsiteX18" fmla="*/ 49129 w 71300"/>
                  <a:gd name="connsiteY18" fmla="*/ 25933 h 77075"/>
                  <a:gd name="connsiteX19" fmla="*/ 50441 w 71300"/>
                  <a:gd name="connsiteY19" fmla="*/ 35850 h 77075"/>
                  <a:gd name="connsiteX20" fmla="*/ 55627 w 71300"/>
                  <a:gd name="connsiteY20" fmla="*/ 39896 h 77075"/>
                  <a:gd name="connsiteX21" fmla="*/ 56995 w 71300"/>
                  <a:gd name="connsiteY21" fmla="*/ 43145 h 77075"/>
                  <a:gd name="connsiteX22" fmla="*/ 66456 w 71300"/>
                  <a:gd name="connsiteY22" fmla="*/ 57508 h 7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300" h="77075">
                    <a:moveTo>
                      <a:pt x="66456" y="57508"/>
                    </a:moveTo>
                    <a:cubicBezTo>
                      <a:pt x="68667" y="60819"/>
                      <a:pt x="70303" y="64484"/>
                      <a:pt x="71300" y="68337"/>
                    </a:cubicBezTo>
                    <a:lnTo>
                      <a:pt x="62067" y="74036"/>
                    </a:lnTo>
                    <a:cubicBezTo>
                      <a:pt x="59993" y="75638"/>
                      <a:pt x="57536" y="76681"/>
                      <a:pt x="54943" y="77057"/>
                    </a:cubicBezTo>
                    <a:cubicBezTo>
                      <a:pt x="49244" y="77456"/>
                      <a:pt x="44912" y="71358"/>
                      <a:pt x="41492" y="66798"/>
                    </a:cubicBezTo>
                    <a:cubicBezTo>
                      <a:pt x="35941" y="58824"/>
                      <a:pt x="28287" y="52555"/>
                      <a:pt x="19378" y="48674"/>
                    </a:cubicBezTo>
                    <a:cubicBezTo>
                      <a:pt x="19407" y="48121"/>
                      <a:pt x="19407" y="47574"/>
                      <a:pt x="19378" y="47021"/>
                    </a:cubicBezTo>
                    <a:cubicBezTo>
                      <a:pt x="19378" y="43544"/>
                      <a:pt x="18808" y="39041"/>
                      <a:pt x="15389" y="38187"/>
                    </a:cubicBezTo>
                    <a:cubicBezTo>
                      <a:pt x="14021" y="37788"/>
                      <a:pt x="12197" y="38187"/>
                      <a:pt x="11399" y="36876"/>
                    </a:cubicBezTo>
                    <a:cubicBezTo>
                      <a:pt x="11091" y="36249"/>
                      <a:pt x="10897" y="35576"/>
                      <a:pt x="10829" y="34881"/>
                    </a:cubicBezTo>
                    <a:cubicBezTo>
                      <a:pt x="9860" y="31119"/>
                      <a:pt x="4332" y="30834"/>
                      <a:pt x="2052" y="27642"/>
                    </a:cubicBezTo>
                    <a:cubicBezTo>
                      <a:pt x="-1311" y="22969"/>
                      <a:pt x="4446" y="15617"/>
                      <a:pt x="1083" y="10943"/>
                    </a:cubicBezTo>
                    <a:cubicBezTo>
                      <a:pt x="764" y="10573"/>
                      <a:pt x="399" y="10248"/>
                      <a:pt x="0" y="9974"/>
                    </a:cubicBezTo>
                    <a:cubicBezTo>
                      <a:pt x="2314" y="9541"/>
                      <a:pt x="4657" y="9256"/>
                      <a:pt x="7010" y="9119"/>
                    </a:cubicBezTo>
                    <a:cubicBezTo>
                      <a:pt x="14705" y="8150"/>
                      <a:pt x="20917" y="1938"/>
                      <a:pt x="28327" y="0"/>
                    </a:cubicBezTo>
                    <a:cubicBezTo>
                      <a:pt x="31490" y="3032"/>
                      <a:pt x="34824" y="5882"/>
                      <a:pt x="38301" y="8549"/>
                    </a:cubicBezTo>
                    <a:cubicBezTo>
                      <a:pt x="40523" y="10259"/>
                      <a:pt x="43088" y="12368"/>
                      <a:pt x="43088" y="15161"/>
                    </a:cubicBezTo>
                    <a:cubicBezTo>
                      <a:pt x="43088" y="17098"/>
                      <a:pt x="41777" y="19036"/>
                      <a:pt x="42404" y="20860"/>
                    </a:cubicBezTo>
                    <a:cubicBezTo>
                      <a:pt x="43373" y="23596"/>
                      <a:pt x="47477" y="23596"/>
                      <a:pt x="49129" y="25933"/>
                    </a:cubicBezTo>
                    <a:cubicBezTo>
                      <a:pt x="50783" y="28270"/>
                      <a:pt x="48560" y="33000"/>
                      <a:pt x="50441" y="35850"/>
                    </a:cubicBezTo>
                    <a:cubicBezTo>
                      <a:pt x="51694" y="37731"/>
                      <a:pt x="54259" y="38187"/>
                      <a:pt x="55627" y="39896"/>
                    </a:cubicBezTo>
                    <a:cubicBezTo>
                      <a:pt x="56271" y="40894"/>
                      <a:pt x="56732" y="41988"/>
                      <a:pt x="56995" y="43145"/>
                    </a:cubicBezTo>
                    <a:cubicBezTo>
                      <a:pt x="59531" y="48309"/>
                      <a:pt x="62711" y="53136"/>
                      <a:pt x="66456" y="5750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5" name="Freihandform: Form 371">
                <a:extLst>
                  <a:ext uri="{FF2B5EF4-FFF2-40B4-BE49-F238E27FC236}">
                    <a16:creationId xmlns:a16="http://schemas.microsoft.com/office/drawing/2014/main" id="{D6268684-2A59-9379-6DFD-A82A66FFCB7D}"/>
                  </a:ext>
                </a:extLst>
              </p:cNvPr>
              <p:cNvSpPr/>
              <p:nvPr/>
            </p:nvSpPr>
            <p:spPr>
              <a:xfrm>
                <a:off x="4735981" y="3207409"/>
                <a:ext cx="107104" cy="84865"/>
              </a:xfrm>
              <a:custGeom>
                <a:avLst/>
                <a:gdLst>
                  <a:gd name="connsiteX0" fmla="*/ 90109 w 107104"/>
                  <a:gd name="connsiteY0" fmla="*/ 75518 h 84865"/>
                  <a:gd name="connsiteX1" fmla="*/ 83440 w 107104"/>
                  <a:gd name="connsiteY1" fmla="*/ 84865 h 84865"/>
                  <a:gd name="connsiteX2" fmla="*/ 70275 w 107104"/>
                  <a:gd name="connsiteY2" fmla="*/ 64233 h 84865"/>
                  <a:gd name="connsiteX3" fmla="*/ 67596 w 107104"/>
                  <a:gd name="connsiteY3" fmla="*/ 56995 h 84865"/>
                  <a:gd name="connsiteX4" fmla="*/ 63834 w 107104"/>
                  <a:gd name="connsiteY4" fmla="*/ 58192 h 84865"/>
                  <a:gd name="connsiteX5" fmla="*/ 42917 w 107104"/>
                  <a:gd name="connsiteY5" fmla="*/ 71414 h 84865"/>
                  <a:gd name="connsiteX6" fmla="*/ 38073 w 107104"/>
                  <a:gd name="connsiteY6" fmla="*/ 60585 h 84865"/>
                  <a:gd name="connsiteX7" fmla="*/ 28669 w 107104"/>
                  <a:gd name="connsiteY7" fmla="*/ 46280 h 84865"/>
                  <a:gd name="connsiteX8" fmla="*/ 27301 w 107104"/>
                  <a:gd name="connsiteY8" fmla="*/ 43031 h 84865"/>
                  <a:gd name="connsiteX9" fmla="*/ 22114 w 107104"/>
                  <a:gd name="connsiteY9" fmla="*/ 38984 h 84865"/>
                  <a:gd name="connsiteX10" fmla="*/ 20803 w 107104"/>
                  <a:gd name="connsiteY10" fmla="*/ 29067 h 84865"/>
                  <a:gd name="connsiteX11" fmla="*/ 14078 w 107104"/>
                  <a:gd name="connsiteY11" fmla="*/ 23995 h 84865"/>
                  <a:gd name="connsiteX12" fmla="*/ 14762 w 107104"/>
                  <a:gd name="connsiteY12" fmla="*/ 18295 h 84865"/>
                  <a:gd name="connsiteX13" fmla="*/ 9974 w 107104"/>
                  <a:gd name="connsiteY13" fmla="*/ 11684 h 84865"/>
                  <a:gd name="connsiteX14" fmla="*/ 0 w 107104"/>
                  <a:gd name="connsiteY14" fmla="*/ 3135 h 84865"/>
                  <a:gd name="connsiteX15" fmla="*/ 3021 w 107104"/>
                  <a:gd name="connsiteY15" fmla="*/ 2565 h 84865"/>
                  <a:gd name="connsiteX16" fmla="*/ 11741 w 107104"/>
                  <a:gd name="connsiteY16" fmla="*/ 3420 h 84865"/>
                  <a:gd name="connsiteX17" fmla="*/ 22342 w 107104"/>
                  <a:gd name="connsiteY17" fmla="*/ 6839 h 84865"/>
                  <a:gd name="connsiteX18" fmla="*/ 29125 w 107104"/>
                  <a:gd name="connsiteY18" fmla="*/ 11171 h 84865"/>
                  <a:gd name="connsiteX19" fmla="*/ 40125 w 107104"/>
                  <a:gd name="connsiteY19" fmla="*/ 6155 h 84865"/>
                  <a:gd name="connsiteX20" fmla="*/ 40581 w 107104"/>
                  <a:gd name="connsiteY20" fmla="*/ 0 h 84865"/>
                  <a:gd name="connsiteX21" fmla="*/ 52492 w 107104"/>
                  <a:gd name="connsiteY21" fmla="*/ 798 h 84865"/>
                  <a:gd name="connsiteX22" fmla="*/ 56140 w 107104"/>
                  <a:gd name="connsiteY22" fmla="*/ 1425 h 84865"/>
                  <a:gd name="connsiteX23" fmla="*/ 58591 w 107104"/>
                  <a:gd name="connsiteY23" fmla="*/ 4332 h 84865"/>
                  <a:gd name="connsiteX24" fmla="*/ 67653 w 107104"/>
                  <a:gd name="connsiteY24" fmla="*/ 7580 h 84865"/>
                  <a:gd name="connsiteX25" fmla="*/ 77570 w 107104"/>
                  <a:gd name="connsiteY25" fmla="*/ 7580 h 84865"/>
                  <a:gd name="connsiteX26" fmla="*/ 81617 w 107104"/>
                  <a:gd name="connsiteY26" fmla="*/ 8378 h 84865"/>
                  <a:gd name="connsiteX27" fmla="*/ 84865 w 107104"/>
                  <a:gd name="connsiteY27" fmla="*/ 6896 h 84865"/>
                  <a:gd name="connsiteX28" fmla="*/ 93187 w 107104"/>
                  <a:gd name="connsiteY28" fmla="*/ 1197 h 84865"/>
                  <a:gd name="connsiteX29" fmla="*/ 93187 w 107104"/>
                  <a:gd name="connsiteY29" fmla="*/ 1197 h 84865"/>
                  <a:gd name="connsiteX30" fmla="*/ 101223 w 107104"/>
                  <a:gd name="connsiteY30" fmla="*/ 18010 h 84865"/>
                  <a:gd name="connsiteX31" fmla="*/ 105098 w 107104"/>
                  <a:gd name="connsiteY31" fmla="*/ 31689 h 84865"/>
                  <a:gd name="connsiteX32" fmla="*/ 107093 w 107104"/>
                  <a:gd name="connsiteY32" fmla="*/ 36078 h 84865"/>
                  <a:gd name="connsiteX33" fmla="*/ 106466 w 107104"/>
                  <a:gd name="connsiteY33" fmla="*/ 40352 h 84865"/>
                  <a:gd name="connsiteX34" fmla="*/ 99969 w 107104"/>
                  <a:gd name="connsiteY34" fmla="*/ 63150 h 84865"/>
                  <a:gd name="connsiteX35" fmla="*/ 96606 w 107104"/>
                  <a:gd name="connsiteY35" fmla="*/ 67710 h 84865"/>
                  <a:gd name="connsiteX36" fmla="*/ 94041 w 107104"/>
                  <a:gd name="connsiteY36" fmla="*/ 67710 h 84865"/>
                  <a:gd name="connsiteX37" fmla="*/ 91990 w 107104"/>
                  <a:gd name="connsiteY37" fmla="*/ 70959 h 84865"/>
                  <a:gd name="connsiteX38" fmla="*/ 90280 w 107104"/>
                  <a:gd name="connsiteY38" fmla="*/ 74549 h 8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104" h="84865">
                    <a:moveTo>
                      <a:pt x="90109" y="75518"/>
                    </a:moveTo>
                    <a:cubicBezTo>
                      <a:pt x="88114" y="78710"/>
                      <a:pt x="85378" y="81559"/>
                      <a:pt x="83440" y="84865"/>
                    </a:cubicBezTo>
                    <a:cubicBezTo>
                      <a:pt x="75718" y="80796"/>
                      <a:pt x="70714" y="72953"/>
                      <a:pt x="70275" y="64233"/>
                    </a:cubicBezTo>
                    <a:cubicBezTo>
                      <a:pt x="70275" y="61440"/>
                      <a:pt x="70275" y="57622"/>
                      <a:pt x="67596" y="56995"/>
                    </a:cubicBezTo>
                    <a:cubicBezTo>
                      <a:pt x="66239" y="56932"/>
                      <a:pt x="64906" y="57359"/>
                      <a:pt x="63834" y="58192"/>
                    </a:cubicBezTo>
                    <a:lnTo>
                      <a:pt x="42917" y="71414"/>
                    </a:lnTo>
                    <a:cubicBezTo>
                      <a:pt x="41920" y="67562"/>
                      <a:pt x="40284" y="63897"/>
                      <a:pt x="38073" y="60585"/>
                    </a:cubicBezTo>
                    <a:cubicBezTo>
                      <a:pt x="34351" y="56231"/>
                      <a:pt x="31193" y="51421"/>
                      <a:pt x="28669" y="46280"/>
                    </a:cubicBezTo>
                    <a:cubicBezTo>
                      <a:pt x="28406" y="45123"/>
                      <a:pt x="27945" y="44028"/>
                      <a:pt x="27301" y="43031"/>
                    </a:cubicBezTo>
                    <a:cubicBezTo>
                      <a:pt x="25933" y="41321"/>
                      <a:pt x="23368" y="40865"/>
                      <a:pt x="22114" y="38984"/>
                    </a:cubicBezTo>
                    <a:cubicBezTo>
                      <a:pt x="20233" y="36135"/>
                      <a:pt x="22798" y="31860"/>
                      <a:pt x="20803" y="29067"/>
                    </a:cubicBezTo>
                    <a:cubicBezTo>
                      <a:pt x="18809" y="26274"/>
                      <a:pt x="15104" y="26731"/>
                      <a:pt x="14078" y="23995"/>
                    </a:cubicBezTo>
                    <a:cubicBezTo>
                      <a:pt x="13451" y="22171"/>
                      <a:pt x="14705" y="20233"/>
                      <a:pt x="14762" y="18295"/>
                    </a:cubicBezTo>
                    <a:cubicBezTo>
                      <a:pt x="14762" y="15503"/>
                      <a:pt x="12197" y="13394"/>
                      <a:pt x="9974" y="11684"/>
                    </a:cubicBezTo>
                    <a:cubicBezTo>
                      <a:pt x="6497" y="9017"/>
                      <a:pt x="3164" y="6167"/>
                      <a:pt x="0" y="3135"/>
                    </a:cubicBezTo>
                    <a:cubicBezTo>
                      <a:pt x="980" y="2833"/>
                      <a:pt x="1995" y="2639"/>
                      <a:pt x="3021" y="2565"/>
                    </a:cubicBezTo>
                    <a:cubicBezTo>
                      <a:pt x="5956" y="2422"/>
                      <a:pt x="8891" y="2707"/>
                      <a:pt x="11741" y="3420"/>
                    </a:cubicBezTo>
                    <a:cubicBezTo>
                      <a:pt x="15446" y="3933"/>
                      <a:pt x="19036" y="5090"/>
                      <a:pt x="22342" y="6839"/>
                    </a:cubicBezTo>
                    <a:cubicBezTo>
                      <a:pt x="24457" y="8498"/>
                      <a:pt x="26731" y="9951"/>
                      <a:pt x="29125" y="11171"/>
                    </a:cubicBezTo>
                    <a:cubicBezTo>
                      <a:pt x="33536" y="12573"/>
                      <a:pt x="38289" y="10407"/>
                      <a:pt x="40125" y="6155"/>
                    </a:cubicBezTo>
                    <a:cubicBezTo>
                      <a:pt x="40843" y="4183"/>
                      <a:pt x="40997" y="2057"/>
                      <a:pt x="40581" y="0"/>
                    </a:cubicBezTo>
                    <a:cubicBezTo>
                      <a:pt x="44530" y="524"/>
                      <a:pt x="48508" y="792"/>
                      <a:pt x="52492" y="798"/>
                    </a:cubicBezTo>
                    <a:cubicBezTo>
                      <a:pt x="53746" y="650"/>
                      <a:pt x="55012" y="872"/>
                      <a:pt x="56140" y="1425"/>
                    </a:cubicBezTo>
                    <a:cubicBezTo>
                      <a:pt x="57103" y="2257"/>
                      <a:pt x="57935" y="3237"/>
                      <a:pt x="58591" y="4332"/>
                    </a:cubicBezTo>
                    <a:cubicBezTo>
                      <a:pt x="60984" y="6697"/>
                      <a:pt x="64302" y="7888"/>
                      <a:pt x="67653" y="7580"/>
                    </a:cubicBezTo>
                    <a:cubicBezTo>
                      <a:pt x="70941" y="7124"/>
                      <a:pt x="74281" y="7124"/>
                      <a:pt x="77570" y="7580"/>
                    </a:cubicBezTo>
                    <a:cubicBezTo>
                      <a:pt x="78852" y="8116"/>
                      <a:pt x="80226" y="8390"/>
                      <a:pt x="81617" y="8378"/>
                    </a:cubicBezTo>
                    <a:cubicBezTo>
                      <a:pt x="82808" y="8173"/>
                      <a:pt x="83925" y="7660"/>
                      <a:pt x="84865" y="6896"/>
                    </a:cubicBezTo>
                    <a:lnTo>
                      <a:pt x="93187" y="1197"/>
                    </a:lnTo>
                    <a:lnTo>
                      <a:pt x="93187" y="1197"/>
                    </a:lnTo>
                    <a:cubicBezTo>
                      <a:pt x="91266" y="8025"/>
                      <a:pt x="94708" y="15218"/>
                      <a:pt x="101223" y="18010"/>
                    </a:cubicBezTo>
                    <a:cubicBezTo>
                      <a:pt x="101411" y="22815"/>
                      <a:pt x="102739" y="27500"/>
                      <a:pt x="105098" y="31689"/>
                    </a:cubicBezTo>
                    <a:cubicBezTo>
                      <a:pt x="106027" y="33017"/>
                      <a:pt x="106700" y="34505"/>
                      <a:pt x="107093" y="36078"/>
                    </a:cubicBezTo>
                    <a:cubicBezTo>
                      <a:pt x="107156" y="37531"/>
                      <a:pt x="106945" y="38979"/>
                      <a:pt x="106466" y="40352"/>
                    </a:cubicBezTo>
                    <a:lnTo>
                      <a:pt x="99969" y="63150"/>
                    </a:lnTo>
                    <a:cubicBezTo>
                      <a:pt x="99399" y="65088"/>
                      <a:pt x="98544" y="67311"/>
                      <a:pt x="96606" y="67710"/>
                    </a:cubicBezTo>
                    <a:cubicBezTo>
                      <a:pt x="95757" y="67596"/>
                      <a:pt x="94891" y="67596"/>
                      <a:pt x="94041" y="67710"/>
                    </a:cubicBezTo>
                    <a:cubicBezTo>
                      <a:pt x="92788" y="68166"/>
                      <a:pt x="92389" y="69705"/>
                      <a:pt x="91990" y="70959"/>
                    </a:cubicBezTo>
                    <a:cubicBezTo>
                      <a:pt x="91534" y="72207"/>
                      <a:pt x="90964" y="73409"/>
                      <a:pt x="90280" y="74549"/>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6" name="Freihandform: Form 372">
                <a:extLst>
                  <a:ext uri="{FF2B5EF4-FFF2-40B4-BE49-F238E27FC236}">
                    <a16:creationId xmlns:a16="http://schemas.microsoft.com/office/drawing/2014/main" id="{26BCF5B7-CC36-ECEC-341F-60C96066CB76}"/>
                  </a:ext>
                </a:extLst>
              </p:cNvPr>
              <p:cNvSpPr/>
              <p:nvPr/>
            </p:nvSpPr>
            <p:spPr>
              <a:xfrm>
                <a:off x="5094136" y="3326063"/>
                <a:ext cx="356668" cy="359816"/>
              </a:xfrm>
              <a:custGeom>
                <a:avLst/>
                <a:gdLst>
                  <a:gd name="connsiteX0" fmla="*/ 168704 w 356668"/>
                  <a:gd name="connsiteY0" fmla="*/ 349785 h 359816"/>
                  <a:gd name="connsiteX1" fmla="*/ 164373 w 356668"/>
                  <a:gd name="connsiteY1" fmla="*/ 359817 h 359816"/>
                  <a:gd name="connsiteX2" fmla="*/ 143000 w 356668"/>
                  <a:gd name="connsiteY2" fmla="*/ 349329 h 359816"/>
                  <a:gd name="connsiteX3" fmla="*/ 141917 w 356668"/>
                  <a:gd name="connsiteY3" fmla="*/ 337930 h 359816"/>
                  <a:gd name="connsiteX4" fmla="*/ 93414 w 356668"/>
                  <a:gd name="connsiteY4" fmla="*/ 306469 h 359816"/>
                  <a:gd name="connsiteX5" fmla="*/ 29523 w 356668"/>
                  <a:gd name="connsiteY5" fmla="*/ 315133 h 359816"/>
                  <a:gd name="connsiteX6" fmla="*/ 17497 w 356668"/>
                  <a:gd name="connsiteY6" fmla="*/ 312796 h 359816"/>
                  <a:gd name="connsiteX7" fmla="*/ 36762 w 356668"/>
                  <a:gd name="connsiteY7" fmla="*/ 289371 h 359816"/>
                  <a:gd name="connsiteX8" fmla="*/ 43202 w 356668"/>
                  <a:gd name="connsiteY8" fmla="*/ 286635 h 359816"/>
                  <a:gd name="connsiteX9" fmla="*/ 45596 w 356668"/>
                  <a:gd name="connsiteY9" fmla="*/ 267941 h 359816"/>
                  <a:gd name="connsiteX10" fmla="*/ 41264 w 356668"/>
                  <a:gd name="connsiteY10" fmla="*/ 248449 h 359816"/>
                  <a:gd name="connsiteX11" fmla="*/ 8891 w 356668"/>
                  <a:gd name="connsiteY11" fmla="*/ 223371 h 359816"/>
                  <a:gd name="connsiteX12" fmla="*/ 0 w 356668"/>
                  <a:gd name="connsiteY12" fmla="*/ 203708 h 359816"/>
                  <a:gd name="connsiteX13" fmla="*/ 86917 w 356668"/>
                  <a:gd name="connsiteY13" fmla="*/ 209977 h 359816"/>
                  <a:gd name="connsiteX14" fmla="*/ 115870 w 356668"/>
                  <a:gd name="connsiteY14" fmla="*/ 199376 h 359816"/>
                  <a:gd name="connsiteX15" fmla="*/ 120316 w 356668"/>
                  <a:gd name="connsiteY15" fmla="*/ 183475 h 359816"/>
                  <a:gd name="connsiteX16" fmla="*/ 130176 w 356668"/>
                  <a:gd name="connsiteY16" fmla="*/ 171221 h 359816"/>
                  <a:gd name="connsiteX17" fmla="*/ 141176 w 356668"/>
                  <a:gd name="connsiteY17" fmla="*/ 170024 h 359816"/>
                  <a:gd name="connsiteX18" fmla="*/ 148471 w 356668"/>
                  <a:gd name="connsiteY18" fmla="*/ 160392 h 359816"/>
                  <a:gd name="connsiteX19" fmla="*/ 154513 w 356668"/>
                  <a:gd name="connsiteY19" fmla="*/ 158055 h 359816"/>
                  <a:gd name="connsiteX20" fmla="*/ 186031 w 356668"/>
                  <a:gd name="connsiteY20" fmla="*/ 151273 h 359816"/>
                  <a:gd name="connsiteX21" fmla="*/ 202103 w 356668"/>
                  <a:gd name="connsiteY21" fmla="*/ 117076 h 359816"/>
                  <a:gd name="connsiteX22" fmla="*/ 211792 w 356668"/>
                  <a:gd name="connsiteY22" fmla="*/ 110066 h 359816"/>
                  <a:gd name="connsiteX23" fmla="*/ 206606 w 356668"/>
                  <a:gd name="connsiteY23" fmla="*/ 89605 h 359816"/>
                  <a:gd name="connsiteX24" fmla="*/ 230886 w 356668"/>
                  <a:gd name="connsiteY24" fmla="*/ 76781 h 359816"/>
                  <a:gd name="connsiteX25" fmla="*/ 246787 w 356668"/>
                  <a:gd name="connsiteY25" fmla="*/ 24574 h 359816"/>
                  <a:gd name="connsiteX26" fmla="*/ 270782 w 356668"/>
                  <a:gd name="connsiteY26" fmla="*/ 14828 h 359816"/>
                  <a:gd name="connsiteX27" fmla="*/ 287880 w 356668"/>
                  <a:gd name="connsiteY27" fmla="*/ 408 h 359816"/>
                  <a:gd name="connsiteX28" fmla="*/ 296999 w 356668"/>
                  <a:gd name="connsiteY28" fmla="*/ 10325 h 359816"/>
                  <a:gd name="connsiteX29" fmla="*/ 312103 w 356668"/>
                  <a:gd name="connsiteY29" fmla="*/ 11009 h 359816"/>
                  <a:gd name="connsiteX30" fmla="*/ 326694 w 356668"/>
                  <a:gd name="connsiteY30" fmla="*/ 21610 h 359816"/>
                  <a:gd name="connsiteX31" fmla="*/ 351259 w 356668"/>
                  <a:gd name="connsiteY31" fmla="*/ 48112 h 359816"/>
                  <a:gd name="connsiteX32" fmla="*/ 356445 w 356668"/>
                  <a:gd name="connsiteY32" fmla="*/ 55636 h 359816"/>
                  <a:gd name="connsiteX33" fmla="*/ 347839 w 356668"/>
                  <a:gd name="connsiteY33" fmla="*/ 72734 h 359816"/>
                  <a:gd name="connsiteX34" fmla="*/ 328461 w 356668"/>
                  <a:gd name="connsiteY34" fmla="*/ 77009 h 359816"/>
                  <a:gd name="connsiteX35" fmla="*/ 301673 w 356668"/>
                  <a:gd name="connsiteY35" fmla="*/ 70055 h 359816"/>
                  <a:gd name="connsiteX36" fmla="*/ 284575 w 356668"/>
                  <a:gd name="connsiteY36" fmla="*/ 86014 h 359816"/>
                  <a:gd name="connsiteX37" fmla="*/ 291927 w 356668"/>
                  <a:gd name="connsiteY37" fmla="*/ 97413 h 359816"/>
                  <a:gd name="connsiteX38" fmla="*/ 292326 w 356668"/>
                  <a:gd name="connsiteY38" fmla="*/ 105962 h 359816"/>
                  <a:gd name="connsiteX39" fmla="*/ 296430 w 356668"/>
                  <a:gd name="connsiteY39" fmla="*/ 116563 h 359816"/>
                  <a:gd name="connsiteX40" fmla="*/ 312445 w 356668"/>
                  <a:gd name="connsiteY40" fmla="*/ 137252 h 359816"/>
                  <a:gd name="connsiteX41" fmla="*/ 316207 w 356668"/>
                  <a:gd name="connsiteY41" fmla="*/ 142154 h 359816"/>
                  <a:gd name="connsiteX42" fmla="*/ 303383 w 356668"/>
                  <a:gd name="connsiteY42" fmla="*/ 160506 h 359816"/>
                  <a:gd name="connsiteX43" fmla="*/ 298139 w 356668"/>
                  <a:gd name="connsiteY43" fmla="*/ 181480 h 359816"/>
                  <a:gd name="connsiteX44" fmla="*/ 268388 w 356668"/>
                  <a:gd name="connsiteY44" fmla="*/ 219552 h 359816"/>
                  <a:gd name="connsiteX45" fmla="*/ 263715 w 356668"/>
                  <a:gd name="connsiteY45" fmla="*/ 227760 h 359816"/>
                  <a:gd name="connsiteX46" fmla="*/ 256932 w 356668"/>
                  <a:gd name="connsiteY46" fmla="*/ 232547 h 359816"/>
                  <a:gd name="connsiteX47" fmla="*/ 247072 w 356668"/>
                  <a:gd name="connsiteY47" fmla="*/ 250501 h 359816"/>
                  <a:gd name="connsiteX48" fmla="*/ 209798 w 356668"/>
                  <a:gd name="connsiteY48" fmla="*/ 256200 h 359816"/>
                  <a:gd name="connsiteX49" fmla="*/ 187513 w 356668"/>
                  <a:gd name="connsiteY49" fmla="*/ 275407 h 359816"/>
                  <a:gd name="connsiteX50" fmla="*/ 203699 w 356668"/>
                  <a:gd name="connsiteY50" fmla="*/ 293418 h 359816"/>
                  <a:gd name="connsiteX51" fmla="*/ 205580 w 356668"/>
                  <a:gd name="connsiteY51" fmla="*/ 299516 h 359816"/>
                  <a:gd name="connsiteX52" fmla="*/ 209228 w 356668"/>
                  <a:gd name="connsiteY52" fmla="*/ 303905 h 359816"/>
                  <a:gd name="connsiteX53" fmla="*/ 213103 w 356668"/>
                  <a:gd name="connsiteY53" fmla="*/ 311599 h 359816"/>
                  <a:gd name="connsiteX54" fmla="*/ 224502 w 356668"/>
                  <a:gd name="connsiteY54" fmla="*/ 341179 h 359816"/>
                  <a:gd name="connsiteX55" fmla="*/ 177824 w 356668"/>
                  <a:gd name="connsiteY55" fmla="*/ 346879 h 359816"/>
                  <a:gd name="connsiteX56" fmla="*/ 168704 w 356668"/>
                  <a:gd name="connsiteY56" fmla="*/ 349785 h 3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6668" h="359816">
                    <a:moveTo>
                      <a:pt x="168704" y="349785"/>
                    </a:moveTo>
                    <a:cubicBezTo>
                      <a:pt x="165729" y="352236"/>
                      <a:pt x="164116" y="355969"/>
                      <a:pt x="164373" y="359817"/>
                    </a:cubicBezTo>
                    <a:cubicBezTo>
                      <a:pt x="156508" y="357024"/>
                      <a:pt x="146305" y="356739"/>
                      <a:pt x="143000" y="349329"/>
                    </a:cubicBezTo>
                    <a:cubicBezTo>
                      <a:pt x="141946" y="345631"/>
                      <a:pt x="141581" y="341766"/>
                      <a:pt x="141917" y="337930"/>
                    </a:cubicBezTo>
                    <a:cubicBezTo>
                      <a:pt x="141062" y="316386"/>
                      <a:pt x="114901" y="304931"/>
                      <a:pt x="93414" y="306469"/>
                    </a:cubicBezTo>
                    <a:cubicBezTo>
                      <a:pt x="71927" y="308008"/>
                      <a:pt x="51010" y="317242"/>
                      <a:pt x="29523" y="315133"/>
                    </a:cubicBezTo>
                    <a:cubicBezTo>
                      <a:pt x="25459" y="314665"/>
                      <a:pt x="21442" y="313884"/>
                      <a:pt x="17497" y="312796"/>
                    </a:cubicBezTo>
                    <a:cubicBezTo>
                      <a:pt x="19544" y="302229"/>
                      <a:pt x="26793" y="293418"/>
                      <a:pt x="36762" y="289371"/>
                    </a:cubicBezTo>
                    <a:cubicBezTo>
                      <a:pt x="39024" y="288767"/>
                      <a:pt x="41196" y="287844"/>
                      <a:pt x="43202" y="286635"/>
                    </a:cubicBezTo>
                    <a:cubicBezTo>
                      <a:pt x="48902" y="282646"/>
                      <a:pt x="47989" y="274267"/>
                      <a:pt x="45596" y="267941"/>
                    </a:cubicBezTo>
                    <a:cubicBezTo>
                      <a:pt x="43202" y="261615"/>
                      <a:pt x="39896" y="255060"/>
                      <a:pt x="41264" y="248449"/>
                    </a:cubicBezTo>
                    <a:cubicBezTo>
                      <a:pt x="30777" y="239672"/>
                      <a:pt x="18010" y="233573"/>
                      <a:pt x="8891" y="223371"/>
                    </a:cubicBezTo>
                    <a:cubicBezTo>
                      <a:pt x="4029" y="217854"/>
                      <a:pt x="929" y="211003"/>
                      <a:pt x="0" y="203708"/>
                    </a:cubicBezTo>
                    <a:cubicBezTo>
                      <a:pt x="28765" y="208068"/>
                      <a:pt x="57827" y="210165"/>
                      <a:pt x="86917" y="209977"/>
                    </a:cubicBezTo>
                    <a:cubicBezTo>
                      <a:pt x="97689" y="209977"/>
                      <a:pt x="110285" y="208610"/>
                      <a:pt x="115870" y="199376"/>
                    </a:cubicBezTo>
                    <a:cubicBezTo>
                      <a:pt x="118144" y="194332"/>
                      <a:pt x="119643" y="188969"/>
                      <a:pt x="120316" y="183475"/>
                    </a:cubicBezTo>
                    <a:cubicBezTo>
                      <a:pt x="121085" y="177884"/>
                      <a:pt x="124875" y="173170"/>
                      <a:pt x="130176" y="171221"/>
                    </a:cubicBezTo>
                    <a:cubicBezTo>
                      <a:pt x="133824" y="170480"/>
                      <a:pt x="137984" y="171905"/>
                      <a:pt x="141176" y="170024"/>
                    </a:cubicBezTo>
                    <a:cubicBezTo>
                      <a:pt x="144368" y="168143"/>
                      <a:pt x="145280" y="162957"/>
                      <a:pt x="148471" y="160392"/>
                    </a:cubicBezTo>
                    <a:cubicBezTo>
                      <a:pt x="150278" y="159161"/>
                      <a:pt x="152347" y="158357"/>
                      <a:pt x="154513" y="158055"/>
                    </a:cubicBezTo>
                    <a:lnTo>
                      <a:pt x="186031" y="151273"/>
                    </a:lnTo>
                    <a:cubicBezTo>
                      <a:pt x="182508" y="137497"/>
                      <a:pt x="189251" y="123157"/>
                      <a:pt x="202103" y="117076"/>
                    </a:cubicBezTo>
                    <a:cubicBezTo>
                      <a:pt x="205865" y="115423"/>
                      <a:pt x="210596" y="114055"/>
                      <a:pt x="211792" y="110066"/>
                    </a:cubicBezTo>
                    <a:cubicBezTo>
                      <a:pt x="213901" y="102941"/>
                      <a:pt x="202103" y="95532"/>
                      <a:pt x="206606" y="89605"/>
                    </a:cubicBezTo>
                    <a:cubicBezTo>
                      <a:pt x="215611" y="87154"/>
                      <a:pt x="225300" y="84247"/>
                      <a:pt x="230886" y="76781"/>
                    </a:cubicBezTo>
                    <a:cubicBezTo>
                      <a:pt x="242285" y="61677"/>
                      <a:pt x="231285" y="35118"/>
                      <a:pt x="246787" y="24574"/>
                    </a:cubicBezTo>
                    <a:cubicBezTo>
                      <a:pt x="254026" y="19672"/>
                      <a:pt x="264399" y="20755"/>
                      <a:pt x="270782" y="14828"/>
                    </a:cubicBezTo>
                    <a:cubicBezTo>
                      <a:pt x="277165" y="8900"/>
                      <a:pt x="280357" y="-2271"/>
                      <a:pt x="287880" y="408"/>
                    </a:cubicBezTo>
                    <a:cubicBezTo>
                      <a:pt x="286626" y="5309"/>
                      <a:pt x="291984" y="9584"/>
                      <a:pt x="296999" y="10325"/>
                    </a:cubicBezTo>
                    <a:cubicBezTo>
                      <a:pt x="302015" y="11066"/>
                      <a:pt x="307202" y="9812"/>
                      <a:pt x="312103" y="11009"/>
                    </a:cubicBezTo>
                    <a:cubicBezTo>
                      <a:pt x="317888" y="13061"/>
                      <a:pt x="322955" y="16743"/>
                      <a:pt x="326694" y="21610"/>
                    </a:cubicBezTo>
                    <a:lnTo>
                      <a:pt x="351259" y="48112"/>
                    </a:lnTo>
                    <a:cubicBezTo>
                      <a:pt x="353516" y="50215"/>
                      <a:pt x="355282" y="52780"/>
                      <a:pt x="356445" y="55636"/>
                    </a:cubicBezTo>
                    <a:cubicBezTo>
                      <a:pt x="357613" y="62600"/>
                      <a:pt x="354131" y="69525"/>
                      <a:pt x="347839" y="72734"/>
                    </a:cubicBezTo>
                    <a:cubicBezTo>
                      <a:pt x="342037" y="76279"/>
                      <a:pt x="335215" y="77784"/>
                      <a:pt x="328461" y="77009"/>
                    </a:cubicBezTo>
                    <a:cubicBezTo>
                      <a:pt x="319285" y="75926"/>
                      <a:pt x="310906" y="70625"/>
                      <a:pt x="301673" y="70055"/>
                    </a:cubicBezTo>
                    <a:cubicBezTo>
                      <a:pt x="292440" y="69485"/>
                      <a:pt x="281497" y="77408"/>
                      <a:pt x="284575" y="86014"/>
                    </a:cubicBezTo>
                    <a:cubicBezTo>
                      <a:pt x="286171" y="90288"/>
                      <a:pt x="290673" y="92967"/>
                      <a:pt x="291927" y="97413"/>
                    </a:cubicBezTo>
                    <a:cubicBezTo>
                      <a:pt x="292343" y="100240"/>
                      <a:pt x="292480" y="103107"/>
                      <a:pt x="292326" y="105962"/>
                    </a:cubicBezTo>
                    <a:cubicBezTo>
                      <a:pt x="292885" y="109758"/>
                      <a:pt x="294286" y="113377"/>
                      <a:pt x="296430" y="116563"/>
                    </a:cubicBezTo>
                    <a:cubicBezTo>
                      <a:pt x="300910" y="124081"/>
                      <a:pt x="306290" y="131028"/>
                      <a:pt x="312445" y="137252"/>
                    </a:cubicBezTo>
                    <a:cubicBezTo>
                      <a:pt x="314030" y="138603"/>
                      <a:pt x="315312" y="140273"/>
                      <a:pt x="316207" y="142154"/>
                    </a:cubicBezTo>
                    <a:cubicBezTo>
                      <a:pt x="318999" y="149677"/>
                      <a:pt x="309025" y="154863"/>
                      <a:pt x="303383" y="160506"/>
                    </a:cubicBezTo>
                    <a:cubicBezTo>
                      <a:pt x="297923" y="166006"/>
                      <a:pt x="295911" y="174054"/>
                      <a:pt x="298139" y="181480"/>
                    </a:cubicBezTo>
                    <a:cubicBezTo>
                      <a:pt x="285048" y="191334"/>
                      <a:pt x="274789" y="204466"/>
                      <a:pt x="268388" y="219552"/>
                    </a:cubicBezTo>
                    <a:cubicBezTo>
                      <a:pt x="267408" y="222579"/>
                      <a:pt x="265818" y="225372"/>
                      <a:pt x="263715" y="227760"/>
                    </a:cubicBezTo>
                    <a:cubicBezTo>
                      <a:pt x="261720" y="229698"/>
                      <a:pt x="259041" y="230723"/>
                      <a:pt x="256932" y="232547"/>
                    </a:cubicBezTo>
                    <a:cubicBezTo>
                      <a:pt x="251746" y="237107"/>
                      <a:pt x="251518" y="245257"/>
                      <a:pt x="247072" y="250501"/>
                    </a:cubicBezTo>
                    <a:cubicBezTo>
                      <a:pt x="238637" y="260418"/>
                      <a:pt x="222621" y="254319"/>
                      <a:pt x="209798" y="256200"/>
                    </a:cubicBezTo>
                    <a:cubicBezTo>
                      <a:pt x="199385" y="257978"/>
                      <a:pt x="190807" y="265371"/>
                      <a:pt x="187513" y="275407"/>
                    </a:cubicBezTo>
                    <a:cubicBezTo>
                      <a:pt x="195469" y="278491"/>
                      <a:pt x="201482" y="285176"/>
                      <a:pt x="203699" y="293418"/>
                    </a:cubicBezTo>
                    <a:cubicBezTo>
                      <a:pt x="204030" y="295532"/>
                      <a:pt x="204662" y="297584"/>
                      <a:pt x="205580" y="299516"/>
                    </a:cubicBezTo>
                    <a:cubicBezTo>
                      <a:pt x="206686" y="301066"/>
                      <a:pt x="207906" y="302537"/>
                      <a:pt x="209228" y="303905"/>
                    </a:cubicBezTo>
                    <a:cubicBezTo>
                      <a:pt x="210921" y="306247"/>
                      <a:pt x="212231" y="308846"/>
                      <a:pt x="213103" y="311599"/>
                    </a:cubicBezTo>
                    <a:cubicBezTo>
                      <a:pt x="216905" y="321476"/>
                      <a:pt x="220701" y="331336"/>
                      <a:pt x="224502" y="341179"/>
                    </a:cubicBezTo>
                    <a:lnTo>
                      <a:pt x="177824" y="346879"/>
                    </a:lnTo>
                    <a:cubicBezTo>
                      <a:pt x="174586" y="347050"/>
                      <a:pt x="171446" y="348053"/>
                      <a:pt x="168704" y="349785"/>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7" name="Freihandform: Form 373">
                <a:extLst>
                  <a:ext uri="{FF2B5EF4-FFF2-40B4-BE49-F238E27FC236}">
                    <a16:creationId xmlns:a16="http://schemas.microsoft.com/office/drawing/2014/main" id="{9A9ABE19-00B9-2F15-B3F8-B017111F291E}"/>
                  </a:ext>
                </a:extLst>
              </p:cNvPr>
              <p:cNvSpPr/>
              <p:nvPr/>
            </p:nvSpPr>
            <p:spPr>
              <a:xfrm>
                <a:off x="5087867" y="3302617"/>
                <a:ext cx="250035" cy="233485"/>
              </a:xfrm>
              <a:custGeom>
                <a:avLst/>
                <a:gdLst>
                  <a:gd name="connsiteX0" fmla="*/ 247699 w 250035"/>
                  <a:gd name="connsiteY0" fmla="*/ 37875 h 233485"/>
                  <a:gd name="connsiteX1" fmla="*/ 250036 w 250035"/>
                  <a:gd name="connsiteY1" fmla="*/ 50927 h 233485"/>
                  <a:gd name="connsiteX2" fmla="*/ 237269 w 250035"/>
                  <a:gd name="connsiteY2" fmla="*/ 100284 h 233485"/>
                  <a:gd name="connsiteX3" fmla="*/ 212989 w 250035"/>
                  <a:gd name="connsiteY3" fmla="*/ 113108 h 233485"/>
                  <a:gd name="connsiteX4" fmla="*/ 218176 w 250035"/>
                  <a:gd name="connsiteY4" fmla="*/ 133569 h 233485"/>
                  <a:gd name="connsiteX5" fmla="*/ 208486 w 250035"/>
                  <a:gd name="connsiteY5" fmla="*/ 140579 h 233485"/>
                  <a:gd name="connsiteX6" fmla="*/ 192414 w 250035"/>
                  <a:gd name="connsiteY6" fmla="*/ 174776 h 233485"/>
                  <a:gd name="connsiteX7" fmla="*/ 160896 w 250035"/>
                  <a:gd name="connsiteY7" fmla="*/ 181558 h 233485"/>
                  <a:gd name="connsiteX8" fmla="*/ 154855 w 250035"/>
                  <a:gd name="connsiteY8" fmla="*/ 183895 h 233485"/>
                  <a:gd name="connsiteX9" fmla="*/ 147559 w 250035"/>
                  <a:gd name="connsiteY9" fmla="*/ 193527 h 233485"/>
                  <a:gd name="connsiteX10" fmla="*/ 136559 w 250035"/>
                  <a:gd name="connsiteY10" fmla="*/ 194724 h 233485"/>
                  <a:gd name="connsiteX11" fmla="*/ 126699 w 250035"/>
                  <a:gd name="connsiteY11" fmla="*/ 206978 h 233485"/>
                  <a:gd name="connsiteX12" fmla="*/ 122253 w 250035"/>
                  <a:gd name="connsiteY12" fmla="*/ 222880 h 233485"/>
                  <a:gd name="connsiteX13" fmla="*/ 93300 w 250035"/>
                  <a:gd name="connsiteY13" fmla="*/ 233481 h 233485"/>
                  <a:gd name="connsiteX14" fmla="*/ 6269 w 250035"/>
                  <a:gd name="connsiteY14" fmla="*/ 226983 h 233485"/>
                  <a:gd name="connsiteX15" fmla="*/ 11228 w 250035"/>
                  <a:gd name="connsiteY15" fmla="*/ 209429 h 233485"/>
                  <a:gd name="connsiteX16" fmla="*/ 25818 w 250035"/>
                  <a:gd name="connsiteY16" fmla="*/ 190792 h 233485"/>
                  <a:gd name="connsiteX17" fmla="*/ 6839 w 250035"/>
                  <a:gd name="connsiteY17" fmla="*/ 175061 h 233485"/>
                  <a:gd name="connsiteX18" fmla="*/ 2679 w 250035"/>
                  <a:gd name="connsiteY18" fmla="*/ 159901 h 233485"/>
                  <a:gd name="connsiteX19" fmla="*/ 0 w 250035"/>
                  <a:gd name="connsiteY19" fmla="*/ 105470 h 233485"/>
                  <a:gd name="connsiteX20" fmla="*/ 11000 w 250035"/>
                  <a:gd name="connsiteY20" fmla="*/ 87973 h 233485"/>
                  <a:gd name="connsiteX21" fmla="*/ 12254 w 250035"/>
                  <a:gd name="connsiteY21" fmla="*/ 75206 h 233485"/>
                  <a:gd name="connsiteX22" fmla="*/ 21088 w 250035"/>
                  <a:gd name="connsiteY22" fmla="*/ 74522 h 233485"/>
                  <a:gd name="connsiteX23" fmla="*/ 31119 w 250035"/>
                  <a:gd name="connsiteY23" fmla="*/ 83186 h 233485"/>
                  <a:gd name="connsiteX24" fmla="*/ 37788 w 250035"/>
                  <a:gd name="connsiteY24" fmla="*/ 83186 h 233485"/>
                  <a:gd name="connsiteX25" fmla="*/ 47590 w 250035"/>
                  <a:gd name="connsiteY25" fmla="*/ 88486 h 233485"/>
                  <a:gd name="connsiteX26" fmla="*/ 51010 w 250035"/>
                  <a:gd name="connsiteY26" fmla="*/ 82787 h 233485"/>
                  <a:gd name="connsiteX27" fmla="*/ 51010 w 250035"/>
                  <a:gd name="connsiteY27" fmla="*/ 75434 h 233485"/>
                  <a:gd name="connsiteX28" fmla="*/ 63549 w 250035"/>
                  <a:gd name="connsiteY28" fmla="*/ 67341 h 233485"/>
                  <a:gd name="connsiteX29" fmla="*/ 74435 w 250035"/>
                  <a:gd name="connsiteY29" fmla="*/ 57823 h 233485"/>
                  <a:gd name="connsiteX30" fmla="*/ 86347 w 250035"/>
                  <a:gd name="connsiteY30" fmla="*/ 52876 h 233485"/>
                  <a:gd name="connsiteX31" fmla="*/ 87031 w 250035"/>
                  <a:gd name="connsiteY31" fmla="*/ 49673 h 233485"/>
                  <a:gd name="connsiteX32" fmla="*/ 87031 w 250035"/>
                  <a:gd name="connsiteY32" fmla="*/ 44486 h 233485"/>
                  <a:gd name="connsiteX33" fmla="*/ 99114 w 250035"/>
                  <a:gd name="connsiteY33" fmla="*/ 36051 h 233485"/>
                  <a:gd name="connsiteX34" fmla="*/ 101963 w 250035"/>
                  <a:gd name="connsiteY34" fmla="*/ 29725 h 233485"/>
                  <a:gd name="connsiteX35" fmla="*/ 107378 w 250035"/>
                  <a:gd name="connsiteY35" fmla="*/ 26989 h 233485"/>
                  <a:gd name="connsiteX36" fmla="*/ 123450 w 250035"/>
                  <a:gd name="connsiteY36" fmla="*/ 22543 h 233485"/>
                  <a:gd name="connsiteX37" fmla="*/ 138098 w 250035"/>
                  <a:gd name="connsiteY37" fmla="*/ 20149 h 233485"/>
                  <a:gd name="connsiteX38" fmla="*/ 150808 w 250035"/>
                  <a:gd name="connsiteY38" fmla="*/ 26761 h 233485"/>
                  <a:gd name="connsiteX39" fmla="*/ 154855 w 250035"/>
                  <a:gd name="connsiteY39" fmla="*/ 31890 h 233485"/>
                  <a:gd name="connsiteX40" fmla="*/ 162834 w 250035"/>
                  <a:gd name="connsiteY40" fmla="*/ 30921 h 233485"/>
                  <a:gd name="connsiteX41" fmla="*/ 170072 w 250035"/>
                  <a:gd name="connsiteY41" fmla="*/ 42719 h 233485"/>
                  <a:gd name="connsiteX42" fmla="*/ 198569 w 250035"/>
                  <a:gd name="connsiteY42" fmla="*/ 31035 h 233485"/>
                  <a:gd name="connsiteX43" fmla="*/ 203927 w 250035"/>
                  <a:gd name="connsiteY43" fmla="*/ 26590 h 233485"/>
                  <a:gd name="connsiteX44" fmla="*/ 205181 w 250035"/>
                  <a:gd name="connsiteY44" fmla="*/ 23113 h 233485"/>
                  <a:gd name="connsiteX45" fmla="*/ 214414 w 250035"/>
                  <a:gd name="connsiteY45" fmla="*/ 18611 h 233485"/>
                  <a:gd name="connsiteX46" fmla="*/ 220114 w 250035"/>
                  <a:gd name="connsiteY46" fmla="*/ 12056 h 233485"/>
                  <a:gd name="connsiteX47" fmla="*/ 227808 w 250035"/>
                  <a:gd name="connsiteY47" fmla="*/ 10061 h 233485"/>
                  <a:gd name="connsiteX48" fmla="*/ 228834 w 250035"/>
                  <a:gd name="connsiteY48" fmla="*/ 3108 h 233485"/>
                  <a:gd name="connsiteX49" fmla="*/ 234533 w 250035"/>
                  <a:gd name="connsiteY49" fmla="*/ 87 h 233485"/>
                  <a:gd name="connsiteX50" fmla="*/ 238010 w 250035"/>
                  <a:gd name="connsiteY50" fmla="*/ 6699 h 233485"/>
                  <a:gd name="connsiteX51" fmla="*/ 238409 w 250035"/>
                  <a:gd name="connsiteY51" fmla="*/ 14621 h 233485"/>
                  <a:gd name="connsiteX52" fmla="*/ 244792 w 250035"/>
                  <a:gd name="connsiteY52" fmla="*/ 16274 h 233485"/>
                  <a:gd name="connsiteX53" fmla="*/ 247699 w 250035"/>
                  <a:gd name="connsiteY53" fmla="*/ 37875 h 2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0035" h="233485">
                    <a:moveTo>
                      <a:pt x="247699" y="37875"/>
                    </a:moveTo>
                    <a:cubicBezTo>
                      <a:pt x="247933" y="42303"/>
                      <a:pt x="248719" y="46692"/>
                      <a:pt x="250036" y="50927"/>
                    </a:cubicBezTo>
                    <a:cubicBezTo>
                      <a:pt x="239264" y="62781"/>
                      <a:pt x="247471" y="86377"/>
                      <a:pt x="237269" y="100284"/>
                    </a:cubicBezTo>
                    <a:cubicBezTo>
                      <a:pt x="231570" y="107750"/>
                      <a:pt x="221994" y="110657"/>
                      <a:pt x="212989" y="113108"/>
                    </a:cubicBezTo>
                    <a:cubicBezTo>
                      <a:pt x="208486" y="118807"/>
                      <a:pt x="220284" y="126445"/>
                      <a:pt x="218176" y="133569"/>
                    </a:cubicBezTo>
                    <a:cubicBezTo>
                      <a:pt x="216979" y="137559"/>
                      <a:pt x="212476" y="138926"/>
                      <a:pt x="208486" y="140579"/>
                    </a:cubicBezTo>
                    <a:cubicBezTo>
                      <a:pt x="195634" y="146661"/>
                      <a:pt x="188892" y="161001"/>
                      <a:pt x="192414" y="174776"/>
                    </a:cubicBezTo>
                    <a:lnTo>
                      <a:pt x="160896" y="181558"/>
                    </a:lnTo>
                    <a:cubicBezTo>
                      <a:pt x="158730" y="181861"/>
                      <a:pt x="156661" y="182664"/>
                      <a:pt x="154855" y="183895"/>
                    </a:cubicBezTo>
                    <a:cubicBezTo>
                      <a:pt x="151663" y="186460"/>
                      <a:pt x="151093" y="191476"/>
                      <a:pt x="147559" y="193527"/>
                    </a:cubicBezTo>
                    <a:cubicBezTo>
                      <a:pt x="144025" y="195579"/>
                      <a:pt x="140207" y="193983"/>
                      <a:pt x="136559" y="194724"/>
                    </a:cubicBezTo>
                    <a:cubicBezTo>
                      <a:pt x="131259" y="196674"/>
                      <a:pt x="127469" y="201387"/>
                      <a:pt x="126699" y="206978"/>
                    </a:cubicBezTo>
                    <a:cubicBezTo>
                      <a:pt x="126027" y="212472"/>
                      <a:pt x="124528" y="217836"/>
                      <a:pt x="122253" y="222880"/>
                    </a:cubicBezTo>
                    <a:cubicBezTo>
                      <a:pt x="116554" y="232113"/>
                      <a:pt x="104072" y="233481"/>
                      <a:pt x="93300" y="233481"/>
                    </a:cubicBezTo>
                    <a:cubicBezTo>
                      <a:pt x="64165" y="233600"/>
                      <a:pt x="35063" y="231423"/>
                      <a:pt x="6269" y="226983"/>
                    </a:cubicBezTo>
                    <a:cubicBezTo>
                      <a:pt x="5249" y="220685"/>
                      <a:pt x="7061" y="214262"/>
                      <a:pt x="11228" y="209429"/>
                    </a:cubicBezTo>
                    <a:cubicBezTo>
                      <a:pt x="16927" y="203388"/>
                      <a:pt x="27186" y="198942"/>
                      <a:pt x="25818" y="190792"/>
                    </a:cubicBezTo>
                    <a:cubicBezTo>
                      <a:pt x="24451" y="182641"/>
                      <a:pt x="12368" y="181501"/>
                      <a:pt x="6839" y="175061"/>
                    </a:cubicBezTo>
                    <a:cubicBezTo>
                      <a:pt x="3819" y="170604"/>
                      <a:pt x="2354" y="165275"/>
                      <a:pt x="2679" y="159901"/>
                    </a:cubicBezTo>
                    <a:cubicBezTo>
                      <a:pt x="1767" y="141719"/>
                      <a:pt x="912" y="123595"/>
                      <a:pt x="0" y="105470"/>
                    </a:cubicBezTo>
                    <a:cubicBezTo>
                      <a:pt x="7523" y="105015"/>
                      <a:pt x="10259" y="95496"/>
                      <a:pt x="11000" y="87973"/>
                    </a:cubicBezTo>
                    <a:cubicBezTo>
                      <a:pt x="11456" y="83755"/>
                      <a:pt x="11855" y="79481"/>
                      <a:pt x="12254" y="75206"/>
                    </a:cubicBezTo>
                    <a:cubicBezTo>
                      <a:pt x="14887" y="73491"/>
                      <a:pt x="18221" y="73229"/>
                      <a:pt x="21088" y="74522"/>
                    </a:cubicBezTo>
                    <a:cubicBezTo>
                      <a:pt x="25077" y="76631"/>
                      <a:pt x="26787" y="82445"/>
                      <a:pt x="31119" y="83186"/>
                    </a:cubicBezTo>
                    <a:cubicBezTo>
                      <a:pt x="33342" y="83585"/>
                      <a:pt x="35622" y="82559"/>
                      <a:pt x="37788" y="83186"/>
                    </a:cubicBezTo>
                    <a:cubicBezTo>
                      <a:pt x="41549" y="84097"/>
                      <a:pt x="43829" y="89341"/>
                      <a:pt x="47590" y="88486"/>
                    </a:cubicBezTo>
                    <a:cubicBezTo>
                      <a:pt x="49984" y="87973"/>
                      <a:pt x="51067" y="85066"/>
                      <a:pt x="51010" y="82787"/>
                    </a:cubicBezTo>
                    <a:cubicBezTo>
                      <a:pt x="50697" y="80347"/>
                      <a:pt x="50697" y="77874"/>
                      <a:pt x="51010" y="75434"/>
                    </a:cubicBezTo>
                    <a:cubicBezTo>
                      <a:pt x="52321" y="70362"/>
                      <a:pt x="58476" y="68595"/>
                      <a:pt x="63549" y="67341"/>
                    </a:cubicBezTo>
                    <a:cubicBezTo>
                      <a:pt x="68622" y="66087"/>
                      <a:pt x="74948" y="63066"/>
                      <a:pt x="74435" y="57823"/>
                    </a:cubicBezTo>
                    <a:cubicBezTo>
                      <a:pt x="79091" y="59744"/>
                      <a:pt x="84420" y="57532"/>
                      <a:pt x="86347" y="52876"/>
                    </a:cubicBezTo>
                    <a:cubicBezTo>
                      <a:pt x="86763" y="51856"/>
                      <a:pt x="86997" y="50773"/>
                      <a:pt x="87031" y="49673"/>
                    </a:cubicBezTo>
                    <a:cubicBezTo>
                      <a:pt x="86751" y="47957"/>
                      <a:pt x="86751" y="46202"/>
                      <a:pt x="87031" y="44486"/>
                    </a:cubicBezTo>
                    <a:cubicBezTo>
                      <a:pt x="88285" y="39528"/>
                      <a:pt x="96150" y="40212"/>
                      <a:pt x="99114" y="36051"/>
                    </a:cubicBezTo>
                    <a:cubicBezTo>
                      <a:pt x="100482" y="34170"/>
                      <a:pt x="100538" y="31548"/>
                      <a:pt x="101963" y="29725"/>
                    </a:cubicBezTo>
                    <a:cubicBezTo>
                      <a:pt x="103462" y="28305"/>
                      <a:pt x="105343" y="27359"/>
                      <a:pt x="107378" y="26989"/>
                    </a:cubicBezTo>
                    <a:lnTo>
                      <a:pt x="123450" y="22543"/>
                    </a:lnTo>
                    <a:cubicBezTo>
                      <a:pt x="128181" y="20987"/>
                      <a:pt x="133123" y="20178"/>
                      <a:pt x="138098" y="20149"/>
                    </a:cubicBezTo>
                    <a:cubicBezTo>
                      <a:pt x="143148" y="20201"/>
                      <a:pt x="147867" y="22657"/>
                      <a:pt x="150808" y="26761"/>
                    </a:cubicBezTo>
                    <a:cubicBezTo>
                      <a:pt x="151948" y="28642"/>
                      <a:pt x="152803" y="31035"/>
                      <a:pt x="154855" y="31890"/>
                    </a:cubicBezTo>
                    <a:cubicBezTo>
                      <a:pt x="156906" y="32745"/>
                      <a:pt x="160155" y="30807"/>
                      <a:pt x="162834" y="30921"/>
                    </a:cubicBezTo>
                    <a:cubicBezTo>
                      <a:pt x="167963" y="30921"/>
                      <a:pt x="169730" y="37647"/>
                      <a:pt x="170072" y="42719"/>
                    </a:cubicBezTo>
                    <a:cubicBezTo>
                      <a:pt x="179995" y="39949"/>
                      <a:pt x="189559" y="36028"/>
                      <a:pt x="198569" y="31035"/>
                    </a:cubicBezTo>
                    <a:cubicBezTo>
                      <a:pt x="200792" y="30180"/>
                      <a:pt x="202679" y="28619"/>
                      <a:pt x="203927" y="26590"/>
                    </a:cubicBezTo>
                    <a:cubicBezTo>
                      <a:pt x="204275" y="25410"/>
                      <a:pt x="204696" y="24247"/>
                      <a:pt x="205181" y="23113"/>
                    </a:cubicBezTo>
                    <a:cubicBezTo>
                      <a:pt x="206948" y="20035"/>
                      <a:pt x="211393" y="20377"/>
                      <a:pt x="214414" y="18611"/>
                    </a:cubicBezTo>
                    <a:cubicBezTo>
                      <a:pt x="217435" y="16844"/>
                      <a:pt x="218290" y="14279"/>
                      <a:pt x="220114" y="12056"/>
                    </a:cubicBezTo>
                    <a:cubicBezTo>
                      <a:pt x="221938" y="9833"/>
                      <a:pt x="225471" y="8237"/>
                      <a:pt x="227808" y="10061"/>
                    </a:cubicBezTo>
                    <a:cubicBezTo>
                      <a:pt x="227626" y="7696"/>
                      <a:pt x="227973" y="5319"/>
                      <a:pt x="228834" y="3108"/>
                    </a:cubicBezTo>
                    <a:cubicBezTo>
                      <a:pt x="229802" y="897"/>
                      <a:pt x="232162" y="-352"/>
                      <a:pt x="234533" y="87"/>
                    </a:cubicBezTo>
                    <a:cubicBezTo>
                      <a:pt x="237098" y="885"/>
                      <a:pt x="238010" y="4020"/>
                      <a:pt x="238010" y="6699"/>
                    </a:cubicBezTo>
                    <a:cubicBezTo>
                      <a:pt x="237565" y="9337"/>
                      <a:pt x="237702" y="12039"/>
                      <a:pt x="238409" y="14621"/>
                    </a:cubicBezTo>
                    <a:cubicBezTo>
                      <a:pt x="239492" y="17072"/>
                      <a:pt x="243253" y="18497"/>
                      <a:pt x="244792" y="16274"/>
                    </a:cubicBezTo>
                    <a:cubicBezTo>
                      <a:pt x="248383" y="22258"/>
                      <a:pt x="247357" y="30351"/>
                      <a:pt x="247699" y="3787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58" name="Freihandform: Form 374">
                <a:extLst>
                  <a:ext uri="{FF2B5EF4-FFF2-40B4-BE49-F238E27FC236}">
                    <a16:creationId xmlns:a16="http://schemas.microsoft.com/office/drawing/2014/main" id="{F7452D9E-8F65-E3A5-E264-3940EBEA6911}"/>
                  </a:ext>
                </a:extLst>
              </p:cNvPr>
              <p:cNvSpPr/>
              <p:nvPr/>
            </p:nvSpPr>
            <p:spPr>
              <a:xfrm>
                <a:off x="5521073" y="3515804"/>
                <a:ext cx="169844" cy="104487"/>
              </a:xfrm>
              <a:custGeom>
                <a:avLst/>
                <a:gdLst>
                  <a:gd name="connsiteX0" fmla="*/ 156347 w 169844"/>
                  <a:gd name="connsiteY0" fmla="*/ 93019 h 104487"/>
                  <a:gd name="connsiteX1" fmla="*/ 150135 w 169844"/>
                  <a:gd name="connsiteY1" fmla="*/ 103392 h 104487"/>
                  <a:gd name="connsiteX2" fmla="*/ 142212 w 169844"/>
                  <a:gd name="connsiteY2" fmla="*/ 104475 h 104487"/>
                  <a:gd name="connsiteX3" fmla="*/ 118104 w 169844"/>
                  <a:gd name="connsiteY3" fmla="*/ 100599 h 104487"/>
                  <a:gd name="connsiteX4" fmla="*/ 85617 w 169844"/>
                  <a:gd name="connsiteY4" fmla="*/ 83159 h 104487"/>
                  <a:gd name="connsiteX5" fmla="*/ 58601 w 169844"/>
                  <a:gd name="connsiteY5" fmla="*/ 77858 h 104487"/>
                  <a:gd name="connsiteX6" fmla="*/ 51990 w 169844"/>
                  <a:gd name="connsiteY6" fmla="*/ 75465 h 104487"/>
                  <a:gd name="connsiteX7" fmla="*/ 44751 w 169844"/>
                  <a:gd name="connsiteY7" fmla="*/ 67884 h 104487"/>
                  <a:gd name="connsiteX8" fmla="*/ 33922 w 169844"/>
                  <a:gd name="connsiteY8" fmla="*/ 66345 h 104487"/>
                  <a:gd name="connsiteX9" fmla="*/ 865 w 169844"/>
                  <a:gd name="connsiteY9" fmla="*/ 44859 h 104487"/>
                  <a:gd name="connsiteX10" fmla="*/ 2461 w 169844"/>
                  <a:gd name="connsiteY10" fmla="*/ 16760 h 104487"/>
                  <a:gd name="connsiteX11" fmla="*/ 2860 w 169844"/>
                  <a:gd name="connsiteY11" fmla="*/ 7755 h 104487"/>
                  <a:gd name="connsiteX12" fmla="*/ 6052 w 169844"/>
                  <a:gd name="connsiteY12" fmla="*/ 6102 h 104487"/>
                  <a:gd name="connsiteX13" fmla="*/ 43526 w 169844"/>
                  <a:gd name="connsiteY13" fmla="*/ 9658 h 104487"/>
                  <a:gd name="connsiteX14" fmla="*/ 43783 w 169844"/>
                  <a:gd name="connsiteY14" fmla="*/ 9978 h 104487"/>
                  <a:gd name="connsiteX15" fmla="*/ 64528 w 169844"/>
                  <a:gd name="connsiteY15" fmla="*/ 27589 h 104487"/>
                  <a:gd name="connsiteX16" fmla="*/ 115368 w 169844"/>
                  <a:gd name="connsiteY16" fmla="*/ 55402 h 104487"/>
                  <a:gd name="connsiteX17" fmla="*/ 128363 w 169844"/>
                  <a:gd name="connsiteY17" fmla="*/ 57454 h 104487"/>
                  <a:gd name="connsiteX18" fmla="*/ 135772 w 169844"/>
                  <a:gd name="connsiteY18" fmla="*/ 61900 h 104487"/>
                  <a:gd name="connsiteX19" fmla="*/ 158000 w 169844"/>
                  <a:gd name="connsiteY19" fmla="*/ 66687 h 104487"/>
                  <a:gd name="connsiteX20" fmla="*/ 168886 w 169844"/>
                  <a:gd name="connsiteY20" fmla="*/ 83273 h 104487"/>
                  <a:gd name="connsiteX21" fmla="*/ 156347 w 169844"/>
                  <a:gd name="connsiteY21" fmla="*/ 93019 h 10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844" h="104487">
                    <a:moveTo>
                      <a:pt x="156347" y="93019"/>
                    </a:moveTo>
                    <a:cubicBezTo>
                      <a:pt x="153714" y="96108"/>
                      <a:pt x="151617" y="99613"/>
                      <a:pt x="150135" y="103392"/>
                    </a:cubicBezTo>
                    <a:cubicBezTo>
                      <a:pt x="147513" y="103791"/>
                      <a:pt x="144891" y="104247"/>
                      <a:pt x="142212" y="104475"/>
                    </a:cubicBezTo>
                    <a:cubicBezTo>
                      <a:pt x="134011" y="104634"/>
                      <a:pt x="125843" y="103318"/>
                      <a:pt x="118104" y="100599"/>
                    </a:cubicBezTo>
                    <a:cubicBezTo>
                      <a:pt x="106078" y="97123"/>
                      <a:pt x="93254" y="93076"/>
                      <a:pt x="85617" y="83159"/>
                    </a:cubicBezTo>
                    <a:lnTo>
                      <a:pt x="58601" y="77858"/>
                    </a:lnTo>
                    <a:cubicBezTo>
                      <a:pt x="56241" y="77573"/>
                      <a:pt x="53984" y="76753"/>
                      <a:pt x="51990" y="75465"/>
                    </a:cubicBezTo>
                    <a:cubicBezTo>
                      <a:pt x="49140" y="73413"/>
                      <a:pt x="47772" y="69765"/>
                      <a:pt x="44751" y="67884"/>
                    </a:cubicBezTo>
                    <a:cubicBezTo>
                      <a:pt x="41280" y="66648"/>
                      <a:pt x="37599" y="66123"/>
                      <a:pt x="33922" y="66345"/>
                    </a:cubicBezTo>
                    <a:cubicBezTo>
                      <a:pt x="20643" y="64750"/>
                      <a:pt x="13974" y="47480"/>
                      <a:pt x="865" y="44859"/>
                    </a:cubicBezTo>
                    <a:cubicBezTo>
                      <a:pt x="-1358" y="35682"/>
                      <a:pt x="1264" y="26164"/>
                      <a:pt x="2461" y="16760"/>
                    </a:cubicBezTo>
                    <a:cubicBezTo>
                      <a:pt x="2854" y="13774"/>
                      <a:pt x="2986" y="10764"/>
                      <a:pt x="2860" y="7755"/>
                    </a:cubicBezTo>
                    <a:lnTo>
                      <a:pt x="6052" y="6102"/>
                    </a:lnTo>
                    <a:cubicBezTo>
                      <a:pt x="17382" y="-3262"/>
                      <a:pt x="34162" y="-1672"/>
                      <a:pt x="43526" y="9658"/>
                    </a:cubicBezTo>
                    <a:cubicBezTo>
                      <a:pt x="43611" y="9767"/>
                      <a:pt x="43697" y="9869"/>
                      <a:pt x="43783" y="9978"/>
                    </a:cubicBezTo>
                    <a:lnTo>
                      <a:pt x="64528" y="27589"/>
                    </a:lnTo>
                    <a:cubicBezTo>
                      <a:pt x="79518" y="40242"/>
                      <a:pt x="95818" y="53522"/>
                      <a:pt x="115368" y="55402"/>
                    </a:cubicBezTo>
                    <a:cubicBezTo>
                      <a:pt x="119779" y="55385"/>
                      <a:pt x="124168" y="56081"/>
                      <a:pt x="128363" y="57454"/>
                    </a:cubicBezTo>
                    <a:cubicBezTo>
                      <a:pt x="130984" y="58594"/>
                      <a:pt x="133207" y="60532"/>
                      <a:pt x="135772" y="61900"/>
                    </a:cubicBezTo>
                    <a:cubicBezTo>
                      <a:pt x="142497" y="65434"/>
                      <a:pt x="150648" y="64636"/>
                      <a:pt x="158000" y="66687"/>
                    </a:cubicBezTo>
                    <a:cubicBezTo>
                      <a:pt x="165352" y="68739"/>
                      <a:pt x="172476" y="76548"/>
                      <a:pt x="168886" y="83273"/>
                    </a:cubicBezTo>
                    <a:cubicBezTo>
                      <a:pt x="166549" y="88231"/>
                      <a:pt x="160223" y="89314"/>
                      <a:pt x="156347" y="93019"/>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59" name="Freihandform: Form 375">
                <a:extLst>
                  <a:ext uri="{FF2B5EF4-FFF2-40B4-BE49-F238E27FC236}">
                    <a16:creationId xmlns:a16="http://schemas.microsoft.com/office/drawing/2014/main" id="{F0B5A456-1DE4-0CF7-BD3B-705BD14D205B}"/>
                  </a:ext>
                </a:extLst>
              </p:cNvPr>
              <p:cNvSpPr/>
              <p:nvPr/>
            </p:nvSpPr>
            <p:spPr>
              <a:xfrm>
                <a:off x="5687223" y="3572688"/>
                <a:ext cx="64021" cy="33966"/>
              </a:xfrm>
              <a:custGeom>
                <a:avLst/>
                <a:gdLst>
                  <a:gd name="connsiteX0" fmla="*/ 29067 w 64021"/>
                  <a:gd name="connsiteY0" fmla="*/ 29694 h 33966"/>
                  <a:gd name="connsiteX1" fmla="*/ 3761 w 64021"/>
                  <a:gd name="connsiteY1" fmla="*/ 22912 h 33966"/>
                  <a:gd name="connsiteX2" fmla="*/ 0 w 64021"/>
                  <a:gd name="connsiteY2" fmla="*/ 14819 h 33966"/>
                  <a:gd name="connsiteX3" fmla="*/ 25306 w 64021"/>
                  <a:gd name="connsiteY3" fmla="*/ 3420 h 33966"/>
                  <a:gd name="connsiteX4" fmla="*/ 45425 w 64021"/>
                  <a:gd name="connsiteY4" fmla="*/ 0 h 33966"/>
                  <a:gd name="connsiteX5" fmla="*/ 50326 w 64021"/>
                  <a:gd name="connsiteY5" fmla="*/ 912 h 33966"/>
                  <a:gd name="connsiteX6" fmla="*/ 56026 w 64021"/>
                  <a:gd name="connsiteY6" fmla="*/ 4446 h 33966"/>
                  <a:gd name="connsiteX7" fmla="*/ 62865 w 64021"/>
                  <a:gd name="connsiteY7" fmla="*/ 31119 h 33966"/>
                  <a:gd name="connsiteX8" fmla="*/ 61839 w 64021"/>
                  <a:gd name="connsiteY8" fmla="*/ 33000 h 33966"/>
                  <a:gd name="connsiteX9" fmla="*/ 59503 w 64021"/>
                  <a:gd name="connsiteY9" fmla="*/ 33798 h 33966"/>
                  <a:gd name="connsiteX10" fmla="*/ 29067 w 64021"/>
                  <a:gd name="connsiteY10" fmla="*/ 29694 h 3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21" h="33966">
                    <a:moveTo>
                      <a:pt x="29067" y="29694"/>
                    </a:moveTo>
                    <a:lnTo>
                      <a:pt x="3761" y="22912"/>
                    </a:lnTo>
                    <a:cubicBezTo>
                      <a:pt x="3659" y="19817"/>
                      <a:pt x="2303" y="16893"/>
                      <a:pt x="0" y="14819"/>
                    </a:cubicBezTo>
                    <a:cubicBezTo>
                      <a:pt x="7461" y="9148"/>
                      <a:pt x="16113" y="5249"/>
                      <a:pt x="25306" y="3420"/>
                    </a:cubicBezTo>
                    <a:cubicBezTo>
                      <a:pt x="31786" y="1208"/>
                      <a:pt x="38580" y="57"/>
                      <a:pt x="45425" y="0"/>
                    </a:cubicBezTo>
                    <a:cubicBezTo>
                      <a:pt x="47095" y="74"/>
                      <a:pt x="48742" y="382"/>
                      <a:pt x="50326" y="912"/>
                    </a:cubicBezTo>
                    <a:cubicBezTo>
                      <a:pt x="52447" y="1687"/>
                      <a:pt x="54390" y="2890"/>
                      <a:pt x="56026" y="4446"/>
                    </a:cubicBezTo>
                    <a:cubicBezTo>
                      <a:pt x="63122" y="11353"/>
                      <a:pt x="65761" y="21647"/>
                      <a:pt x="62865" y="31119"/>
                    </a:cubicBezTo>
                    <a:cubicBezTo>
                      <a:pt x="62672" y="31814"/>
                      <a:pt x="62324" y="32459"/>
                      <a:pt x="61839" y="33000"/>
                    </a:cubicBezTo>
                    <a:cubicBezTo>
                      <a:pt x="61150" y="33473"/>
                      <a:pt x="60340" y="33752"/>
                      <a:pt x="59503" y="33798"/>
                    </a:cubicBezTo>
                    <a:cubicBezTo>
                      <a:pt x="49186" y="34482"/>
                      <a:pt x="38836" y="33085"/>
                      <a:pt x="29067" y="2969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60" name="Freihandform: Form 376">
                <a:extLst>
                  <a:ext uri="{FF2B5EF4-FFF2-40B4-BE49-F238E27FC236}">
                    <a16:creationId xmlns:a16="http://schemas.microsoft.com/office/drawing/2014/main" id="{E7571480-B728-AF12-7817-9CC1EF042E28}"/>
                  </a:ext>
                </a:extLst>
              </p:cNvPr>
              <p:cNvSpPr/>
              <p:nvPr/>
            </p:nvSpPr>
            <p:spPr>
              <a:xfrm>
                <a:off x="5679777" y="3621158"/>
                <a:ext cx="87483" cy="109279"/>
              </a:xfrm>
              <a:custGeom>
                <a:avLst/>
                <a:gdLst>
                  <a:gd name="connsiteX0" fmla="*/ 73161 w 87483"/>
                  <a:gd name="connsiteY0" fmla="*/ 62841 h 109279"/>
                  <a:gd name="connsiteX1" fmla="*/ 73161 w 87483"/>
                  <a:gd name="connsiteY1" fmla="*/ 64265 h 109279"/>
                  <a:gd name="connsiteX2" fmla="*/ 44664 w 87483"/>
                  <a:gd name="connsiteY2" fmla="*/ 105530 h 109279"/>
                  <a:gd name="connsiteX3" fmla="*/ 23861 w 87483"/>
                  <a:gd name="connsiteY3" fmla="*/ 109006 h 109279"/>
                  <a:gd name="connsiteX4" fmla="*/ 18674 w 87483"/>
                  <a:gd name="connsiteY4" fmla="*/ 109006 h 109279"/>
                  <a:gd name="connsiteX5" fmla="*/ 18674 w 87483"/>
                  <a:gd name="connsiteY5" fmla="*/ 104789 h 109279"/>
                  <a:gd name="connsiteX6" fmla="*/ 18674 w 87483"/>
                  <a:gd name="connsiteY6" fmla="*/ 81022 h 109279"/>
                  <a:gd name="connsiteX7" fmla="*/ 3855 w 87483"/>
                  <a:gd name="connsiteY7" fmla="*/ 54633 h 109279"/>
                  <a:gd name="connsiteX8" fmla="*/ 4938 w 87483"/>
                  <a:gd name="connsiteY8" fmla="*/ 45286 h 109279"/>
                  <a:gd name="connsiteX9" fmla="*/ 664 w 87483"/>
                  <a:gd name="connsiteY9" fmla="*/ 31664 h 109279"/>
                  <a:gd name="connsiteX10" fmla="*/ 17762 w 87483"/>
                  <a:gd name="connsiteY10" fmla="*/ 25623 h 109279"/>
                  <a:gd name="connsiteX11" fmla="*/ 9897 w 87483"/>
                  <a:gd name="connsiteY11" fmla="*/ 14851 h 109279"/>
                  <a:gd name="connsiteX12" fmla="*/ 8985 w 87483"/>
                  <a:gd name="connsiteY12" fmla="*/ 5561 h 109279"/>
                  <a:gd name="connsiteX13" fmla="*/ 5736 w 87483"/>
                  <a:gd name="connsiteY13" fmla="*/ 773 h 109279"/>
                  <a:gd name="connsiteX14" fmla="*/ 20726 w 87483"/>
                  <a:gd name="connsiteY14" fmla="*/ 4136 h 109279"/>
                  <a:gd name="connsiteX15" fmla="*/ 30985 w 87483"/>
                  <a:gd name="connsiteY15" fmla="*/ 16333 h 109279"/>
                  <a:gd name="connsiteX16" fmla="*/ 39648 w 87483"/>
                  <a:gd name="connsiteY16" fmla="*/ 16333 h 109279"/>
                  <a:gd name="connsiteX17" fmla="*/ 40560 w 87483"/>
                  <a:gd name="connsiteY17" fmla="*/ 19639 h 109279"/>
                  <a:gd name="connsiteX18" fmla="*/ 41073 w 87483"/>
                  <a:gd name="connsiteY18" fmla="*/ 31322 h 109279"/>
                  <a:gd name="connsiteX19" fmla="*/ 84503 w 87483"/>
                  <a:gd name="connsiteY19" fmla="*/ 27048 h 109279"/>
                  <a:gd name="connsiteX20" fmla="*/ 87466 w 87483"/>
                  <a:gd name="connsiteY20" fmla="*/ 37706 h 109279"/>
                  <a:gd name="connsiteX21" fmla="*/ 82280 w 87483"/>
                  <a:gd name="connsiteY21" fmla="*/ 46825 h 109279"/>
                  <a:gd name="connsiteX22" fmla="*/ 77150 w 87483"/>
                  <a:gd name="connsiteY22" fmla="*/ 48364 h 109279"/>
                  <a:gd name="connsiteX23" fmla="*/ 73161 w 87483"/>
                  <a:gd name="connsiteY23" fmla="*/ 62841 h 10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483" h="109279">
                    <a:moveTo>
                      <a:pt x="73161" y="62841"/>
                    </a:moveTo>
                    <a:lnTo>
                      <a:pt x="73161" y="64265"/>
                    </a:lnTo>
                    <a:cubicBezTo>
                      <a:pt x="57830" y="69110"/>
                      <a:pt x="59425" y="96353"/>
                      <a:pt x="44664" y="105530"/>
                    </a:cubicBezTo>
                    <a:cubicBezTo>
                      <a:pt x="38206" y="108664"/>
                      <a:pt x="30985" y="109873"/>
                      <a:pt x="23861" y="109006"/>
                    </a:cubicBezTo>
                    <a:cubicBezTo>
                      <a:pt x="22151" y="109006"/>
                      <a:pt x="20384" y="109006"/>
                      <a:pt x="18674" y="109006"/>
                    </a:cubicBezTo>
                    <a:cubicBezTo>
                      <a:pt x="18674" y="107581"/>
                      <a:pt x="18674" y="106214"/>
                      <a:pt x="18674" y="104789"/>
                    </a:cubicBezTo>
                    <a:cubicBezTo>
                      <a:pt x="19472" y="96809"/>
                      <a:pt x="21752" y="88488"/>
                      <a:pt x="18674" y="81022"/>
                    </a:cubicBezTo>
                    <a:cubicBezTo>
                      <a:pt x="14912" y="71390"/>
                      <a:pt x="3057" y="64892"/>
                      <a:pt x="3855" y="54633"/>
                    </a:cubicBezTo>
                    <a:cubicBezTo>
                      <a:pt x="4636" y="51578"/>
                      <a:pt x="4995" y="48438"/>
                      <a:pt x="4938" y="45286"/>
                    </a:cubicBezTo>
                    <a:cubicBezTo>
                      <a:pt x="3969" y="40385"/>
                      <a:pt x="-1958" y="35939"/>
                      <a:pt x="664" y="31664"/>
                    </a:cubicBezTo>
                    <a:cubicBezTo>
                      <a:pt x="4026" y="25965"/>
                      <a:pt x="16166" y="31950"/>
                      <a:pt x="17762" y="25623"/>
                    </a:cubicBezTo>
                    <a:cubicBezTo>
                      <a:pt x="18902" y="21120"/>
                      <a:pt x="12063" y="19069"/>
                      <a:pt x="9897" y="14851"/>
                    </a:cubicBezTo>
                    <a:cubicBezTo>
                      <a:pt x="8529" y="12001"/>
                      <a:pt x="9897" y="8639"/>
                      <a:pt x="8985" y="5561"/>
                    </a:cubicBezTo>
                    <a:cubicBezTo>
                      <a:pt x="8483" y="3640"/>
                      <a:pt x="7338" y="1947"/>
                      <a:pt x="5736" y="773"/>
                    </a:cubicBezTo>
                    <a:cubicBezTo>
                      <a:pt x="10968" y="-988"/>
                      <a:pt x="16748" y="312"/>
                      <a:pt x="20726" y="4136"/>
                    </a:cubicBezTo>
                    <a:cubicBezTo>
                      <a:pt x="24260" y="8411"/>
                      <a:pt x="25399" y="16219"/>
                      <a:pt x="30985" y="16333"/>
                    </a:cubicBezTo>
                    <a:cubicBezTo>
                      <a:pt x="34005" y="16333"/>
                      <a:pt x="37653" y="13882"/>
                      <a:pt x="39648" y="16333"/>
                    </a:cubicBezTo>
                    <a:cubicBezTo>
                      <a:pt x="40304" y="17308"/>
                      <a:pt x="40628" y="18465"/>
                      <a:pt x="40560" y="19639"/>
                    </a:cubicBezTo>
                    <a:lnTo>
                      <a:pt x="41073" y="31322"/>
                    </a:lnTo>
                    <a:lnTo>
                      <a:pt x="84503" y="27048"/>
                    </a:lnTo>
                    <a:cubicBezTo>
                      <a:pt x="86156" y="30382"/>
                      <a:pt x="87159" y="33996"/>
                      <a:pt x="87466" y="37706"/>
                    </a:cubicBezTo>
                    <a:cubicBezTo>
                      <a:pt x="87689" y="41502"/>
                      <a:pt x="85660" y="45075"/>
                      <a:pt x="82280" y="46825"/>
                    </a:cubicBezTo>
                    <a:cubicBezTo>
                      <a:pt x="80627" y="47509"/>
                      <a:pt x="78746" y="47566"/>
                      <a:pt x="77150" y="48364"/>
                    </a:cubicBezTo>
                    <a:cubicBezTo>
                      <a:pt x="72705" y="50644"/>
                      <a:pt x="73560" y="57483"/>
                      <a:pt x="73161" y="62841"/>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1" name="Freihandform: Form 377">
                <a:extLst>
                  <a:ext uri="{FF2B5EF4-FFF2-40B4-BE49-F238E27FC236}">
                    <a16:creationId xmlns:a16="http://schemas.microsoft.com/office/drawing/2014/main" id="{5C4A58D6-585D-D3E0-A0A2-4E629CC1EF9C}"/>
                  </a:ext>
                </a:extLst>
              </p:cNvPr>
              <p:cNvSpPr/>
              <p:nvPr/>
            </p:nvSpPr>
            <p:spPr>
              <a:xfrm>
                <a:off x="5259223" y="3382656"/>
                <a:ext cx="597341" cy="683948"/>
              </a:xfrm>
              <a:custGeom>
                <a:avLst/>
                <a:gdLst>
                  <a:gd name="connsiteX0" fmla="*/ 439456 w 597341"/>
                  <a:gd name="connsiteY0" fmla="*/ 343291 h 683948"/>
                  <a:gd name="connsiteX1" fmla="*/ 439456 w 597341"/>
                  <a:gd name="connsiteY1" fmla="*/ 347509 h 683948"/>
                  <a:gd name="connsiteX2" fmla="*/ 395057 w 597341"/>
                  <a:gd name="connsiteY2" fmla="*/ 368141 h 683948"/>
                  <a:gd name="connsiteX3" fmla="*/ 390726 w 597341"/>
                  <a:gd name="connsiteY3" fmla="*/ 377317 h 683948"/>
                  <a:gd name="connsiteX4" fmla="*/ 363539 w 597341"/>
                  <a:gd name="connsiteY4" fmla="*/ 380338 h 683948"/>
                  <a:gd name="connsiteX5" fmla="*/ 352140 w 597341"/>
                  <a:gd name="connsiteY5" fmla="*/ 386037 h 683948"/>
                  <a:gd name="connsiteX6" fmla="*/ 319368 w 597341"/>
                  <a:gd name="connsiteY6" fmla="*/ 421431 h 683948"/>
                  <a:gd name="connsiteX7" fmla="*/ 297425 w 597341"/>
                  <a:gd name="connsiteY7" fmla="*/ 464120 h 683948"/>
                  <a:gd name="connsiteX8" fmla="*/ 263229 w 597341"/>
                  <a:gd name="connsiteY8" fmla="*/ 496208 h 683948"/>
                  <a:gd name="connsiteX9" fmla="*/ 254109 w 597341"/>
                  <a:gd name="connsiteY9" fmla="*/ 500939 h 683948"/>
                  <a:gd name="connsiteX10" fmla="*/ 251658 w 597341"/>
                  <a:gd name="connsiteY10" fmla="*/ 510400 h 683948"/>
                  <a:gd name="connsiteX11" fmla="*/ 249550 w 597341"/>
                  <a:gd name="connsiteY11" fmla="*/ 569161 h 683948"/>
                  <a:gd name="connsiteX12" fmla="*/ 247726 w 597341"/>
                  <a:gd name="connsiteY12" fmla="*/ 604270 h 683948"/>
                  <a:gd name="connsiteX13" fmla="*/ 244021 w 597341"/>
                  <a:gd name="connsiteY13" fmla="*/ 625244 h 683948"/>
                  <a:gd name="connsiteX14" fmla="*/ 218716 w 597341"/>
                  <a:gd name="connsiteY14" fmla="*/ 661835 h 683948"/>
                  <a:gd name="connsiteX15" fmla="*/ 198197 w 597341"/>
                  <a:gd name="connsiteY15" fmla="*/ 683949 h 683948"/>
                  <a:gd name="connsiteX16" fmla="*/ 152602 w 597341"/>
                  <a:gd name="connsiteY16" fmla="*/ 589622 h 683948"/>
                  <a:gd name="connsiteX17" fmla="*/ 141203 w 597341"/>
                  <a:gd name="connsiteY17" fmla="*/ 568933 h 683948"/>
                  <a:gd name="connsiteX18" fmla="*/ 133508 w 597341"/>
                  <a:gd name="connsiteY18" fmla="*/ 534736 h 683948"/>
                  <a:gd name="connsiteX19" fmla="*/ 127011 w 597341"/>
                  <a:gd name="connsiteY19" fmla="*/ 527726 h 683948"/>
                  <a:gd name="connsiteX20" fmla="*/ 125529 w 597341"/>
                  <a:gd name="connsiteY20" fmla="*/ 518835 h 683948"/>
                  <a:gd name="connsiteX21" fmla="*/ 125529 w 597341"/>
                  <a:gd name="connsiteY21" fmla="*/ 479964 h 683948"/>
                  <a:gd name="connsiteX22" fmla="*/ 104099 w 597341"/>
                  <a:gd name="connsiteY22" fmla="*/ 434369 h 683948"/>
                  <a:gd name="connsiteX23" fmla="*/ 101477 w 597341"/>
                  <a:gd name="connsiteY23" fmla="*/ 383985 h 683948"/>
                  <a:gd name="connsiteX24" fmla="*/ 100736 w 597341"/>
                  <a:gd name="connsiteY24" fmla="*/ 370250 h 683948"/>
                  <a:gd name="connsiteX25" fmla="*/ 96690 w 597341"/>
                  <a:gd name="connsiteY25" fmla="*/ 361016 h 683948"/>
                  <a:gd name="connsiteX26" fmla="*/ 93441 w 597341"/>
                  <a:gd name="connsiteY26" fmla="*/ 346426 h 683948"/>
                  <a:gd name="connsiteX27" fmla="*/ 81529 w 597341"/>
                  <a:gd name="connsiteY27" fmla="*/ 341752 h 683948"/>
                  <a:gd name="connsiteX28" fmla="*/ 77084 w 597341"/>
                  <a:gd name="connsiteY28" fmla="*/ 364550 h 683948"/>
                  <a:gd name="connsiteX29" fmla="*/ 67451 w 597341"/>
                  <a:gd name="connsiteY29" fmla="*/ 382959 h 683948"/>
                  <a:gd name="connsiteX30" fmla="*/ 20488 w 597341"/>
                  <a:gd name="connsiteY30" fmla="*/ 352125 h 683948"/>
                  <a:gd name="connsiteX31" fmla="*/ 13535 w 597341"/>
                  <a:gd name="connsiteY31" fmla="*/ 341524 h 683948"/>
                  <a:gd name="connsiteX32" fmla="*/ 42032 w 597341"/>
                  <a:gd name="connsiteY32" fmla="*/ 334343 h 683948"/>
                  <a:gd name="connsiteX33" fmla="*/ 47731 w 597341"/>
                  <a:gd name="connsiteY33" fmla="*/ 331892 h 683948"/>
                  <a:gd name="connsiteX34" fmla="*/ 39353 w 597341"/>
                  <a:gd name="connsiteY34" fmla="*/ 318441 h 683948"/>
                  <a:gd name="connsiteX35" fmla="*/ 19747 w 597341"/>
                  <a:gd name="connsiteY35" fmla="*/ 321804 h 683948"/>
                  <a:gd name="connsiteX36" fmla="*/ 8633 w 597341"/>
                  <a:gd name="connsiteY36" fmla="*/ 309721 h 683948"/>
                  <a:gd name="connsiteX37" fmla="*/ 27 w 597341"/>
                  <a:gd name="connsiteY37" fmla="*/ 303053 h 683948"/>
                  <a:gd name="connsiteX38" fmla="*/ 4358 w 597341"/>
                  <a:gd name="connsiteY38" fmla="*/ 293022 h 683948"/>
                  <a:gd name="connsiteX39" fmla="*/ 13705 w 597341"/>
                  <a:gd name="connsiteY39" fmla="*/ 290172 h 683948"/>
                  <a:gd name="connsiteX40" fmla="*/ 60384 w 597341"/>
                  <a:gd name="connsiteY40" fmla="*/ 284473 h 683948"/>
                  <a:gd name="connsiteX41" fmla="*/ 48985 w 597341"/>
                  <a:gd name="connsiteY41" fmla="*/ 254892 h 683948"/>
                  <a:gd name="connsiteX42" fmla="*/ 45110 w 597341"/>
                  <a:gd name="connsiteY42" fmla="*/ 247198 h 683948"/>
                  <a:gd name="connsiteX43" fmla="*/ 41462 w 597341"/>
                  <a:gd name="connsiteY43" fmla="*/ 242809 h 683948"/>
                  <a:gd name="connsiteX44" fmla="*/ 39581 w 597341"/>
                  <a:gd name="connsiteY44" fmla="*/ 236711 h 683948"/>
                  <a:gd name="connsiteX45" fmla="*/ 23395 w 597341"/>
                  <a:gd name="connsiteY45" fmla="*/ 218701 h 683948"/>
                  <a:gd name="connsiteX46" fmla="*/ 45679 w 597341"/>
                  <a:gd name="connsiteY46" fmla="*/ 199493 h 683948"/>
                  <a:gd name="connsiteX47" fmla="*/ 82954 w 597341"/>
                  <a:gd name="connsiteY47" fmla="*/ 193794 h 683948"/>
                  <a:gd name="connsiteX48" fmla="*/ 92814 w 597341"/>
                  <a:gd name="connsiteY48" fmla="*/ 175841 h 683948"/>
                  <a:gd name="connsiteX49" fmla="*/ 99597 w 597341"/>
                  <a:gd name="connsiteY49" fmla="*/ 171053 h 683948"/>
                  <a:gd name="connsiteX50" fmla="*/ 104270 w 597341"/>
                  <a:gd name="connsiteY50" fmla="*/ 162846 h 683948"/>
                  <a:gd name="connsiteX51" fmla="*/ 134021 w 597341"/>
                  <a:gd name="connsiteY51" fmla="*/ 124773 h 683948"/>
                  <a:gd name="connsiteX52" fmla="*/ 139265 w 597341"/>
                  <a:gd name="connsiteY52" fmla="*/ 103799 h 683948"/>
                  <a:gd name="connsiteX53" fmla="*/ 152089 w 597341"/>
                  <a:gd name="connsiteY53" fmla="*/ 85447 h 683948"/>
                  <a:gd name="connsiteX54" fmla="*/ 148327 w 597341"/>
                  <a:gd name="connsiteY54" fmla="*/ 80545 h 683948"/>
                  <a:gd name="connsiteX55" fmla="*/ 132311 w 597341"/>
                  <a:gd name="connsiteY55" fmla="*/ 59856 h 683948"/>
                  <a:gd name="connsiteX56" fmla="*/ 128208 w 597341"/>
                  <a:gd name="connsiteY56" fmla="*/ 49255 h 683948"/>
                  <a:gd name="connsiteX57" fmla="*/ 127809 w 597341"/>
                  <a:gd name="connsiteY57" fmla="*/ 40706 h 683948"/>
                  <a:gd name="connsiteX58" fmla="*/ 120456 w 597341"/>
                  <a:gd name="connsiteY58" fmla="*/ 29307 h 683948"/>
                  <a:gd name="connsiteX59" fmla="*/ 137555 w 597341"/>
                  <a:gd name="connsiteY59" fmla="*/ 13349 h 683948"/>
                  <a:gd name="connsiteX60" fmla="*/ 164342 w 597341"/>
                  <a:gd name="connsiteY60" fmla="*/ 20302 h 683948"/>
                  <a:gd name="connsiteX61" fmla="*/ 183721 w 597341"/>
                  <a:gd name="connsiteY61" fmla="*/ 16027 h 683948"/>
                  <a:gd name="connsiteX62" fmla="*/ 192669 w 597341"/>
                  <a:gd name="connsiteY62" fmla="*/ 582 h 683948"/>
                  <a:gd name="connsiteX63" fmla="*/ 203042 w 597341"/>
                  <a:gd name="connsiteY63" fmla="*/ 69 h 683948"/>
                  <a:gd name="connsiteX64" fmla="*/ 207146 w 597341"/>
                  <a:gd name="connsiteY64" fmla="*/ 639 h 683948"/>
                  <a:gd name="connsiteX65" fmla="*/ 211534 w 597341"/>
                  <a:gd name="connsiteY65" fmla="*/ 11012 h 683948"/>
                  <a:gd name="connsiteX66" fmla="*/ 217234 w 597341"/>
                  <a:gd name="connsiteY66" fmla="*/ 15970 h 683948"/>
                  <a:gd name="connsiteX67" fmla="*/ 227721 w 597341"/>
                  <a:gd name="connsiteY67" fmla="*/ 32727 h 683948"/>
                  <a:gd name="connsiteX68" fmla="*/ 237296 w 597341"/>
                  <a:gd name="connsiteY68" fmla="*/ 56779 h 683948"/>
                  <a:gd name="connsiteX69" fmla="*/ 236897 w 597341"/>
                  <a:gd name="connsiteY69" fmla="*/ 73877 h 683948"/>
                  <a:gd name="connsiteX70" fmla="*/ 226866 w 597341"/>
                  <a:gd name="connsiteY70" fmla="*/ 78380 h 683948"/>
                  <a:gd name="connsiteX71" fmla="*/ 226866 w 597341"/>
                  <a:gd name="connsiteY71" fmla="*/ 101633 h 683948"/>
                  <a:gd name="connsiteX72" fmla="*/ 244819 w 597341"/>
                  <a:gd name="connsiteY72" fmla="*/ 116395 h 683948"/>
                  <a:gd name="connsiteX73" fmla="*/ 258327 w 597341"/>
                  <a:gd name="connsiteY73" fmla="*/ 123576 h 683948"/>
                  <a:gd name="connsiteX74" fmla="*/ 264824 w 597341"/>
                  <a:gd name="connsiteY74" fmla="*/ 149965 h 683948"/>
                  <a:gd name="connsiteX75" fmla="*/ 263229 w 597341"/>
                  <a:gd name="connsiteY75" fmla="*/ 178063 h 683948"/>
                  <a:gd name="connsiteX76" fmla="*/ 296285 w 597341"/>
                  <a:gd name="connsiteY76" fmla="*/ 199550 h 683948"/>
                  <a:gd name="connsiteX77" fmla="*/ 307114 w 597341"/>
                  <a:gd name="connsiteY77" fmla="*/ 201089 h 683948"/>
                  <a:gd name="connsiteX78" fmla="*/ 314353 w 597341"/>
                  <a:gd name="connsiteY78" fmla="*/ 208670 h 683948"/>
                  <a:gd name="connsiteX79" fmla="*/ 320964 w 597341"/>
                  <a:gd name="connsiteY79" fmla="*/ 211063 h 683948"/>
                  <a:gd name="connsiteX80" fmla="*/ 347980 w 597341"/>
                  <a:gd name="connsiteY80" fmla="*/ 216364 h 683948"/>
                  <a:gd name="connsiteX81" fmla="*/ 380466 w 597341"/>
                  <a:gd name="connsiteY81" fmla="*/ 233804 h 683948"/>
                  <a:gd name="connsiteX82" fmla="*/ 404575 w 597341"/>
                  <a:gd name="connsiteY82" fmla="*/ 237680 h 683948"/>
                  <a:gd name="connsiteX83" fmla="*/ 419052 w 597341"/>
                  <a:gd name="connsiteY83" fmla="*/ 236198 h 683948"/>
                  <a:gd name="connsiteX84" fmla="*/ 430451 w 597341"/>
                  <a:gd name="connsiteY84" fmla="*/ 243892 h 683948"/>
                  <a:gd name="connsiteX85" fmla="*/ 431363 w 597341"/>
                  <a:gd name="connsiteY85" fmla="*/ 253183 h 683948"/>
                  <a:gd name="connsiteX86" fmla="*/ 439228 w 597341"/>
                  <a:gd name="connsiteY86" fmla="*/ 263954 h 683948"/>
                  <a:gd name="connsiteX87" fmla="*/ 422130 w 597341"/>
                  <a:gd name="connsiteY87" fmla="*/ 269996 h 683948"/>
                  <a:gd name="connsiteX88" fmla="*/ 426404 w 597341"/>
                  <a:gd name="connsiteY88" fmla="*/ 283618 h 683948"/>
                  <a:gd name="connsiteX89" fmla="*/ 425322 w 597341"/>
                  <a:gd name="connsiteY89" fmla="*/ 292965 h 683948"/>
                  <a:gd name="connsiteX90" fmla="*/ 440140 w 597341"/>
                  <a:gd name="connsiteY90" fmla="*/ 319353 h 683948"/>
                  <a:gd name="connsiteX91" fmla="*/ 439456 w 597341"/>
                  <a:gd name="connsiteY91" fmla="*/ 343291 h 683948"/>
                  <a:gd name="connsiteX92" fmla="*/ 502777 w 597341"/>
                  <a:gd name="connsiteY92" fmla="*/ 303737 h 683948"/>
                  <a:gd name="connsiteX93" fmla="*/ 509674 w 597341"/>
                  <a:gd name="connsiteY93" fmla="*/ 303224 h 683948"/>
                  <a:gd name="connsiteX94" fmla="*/ 536005 w 597341"/>
                  <a:gd name="connsiteY94" fmla="*/ 276550 h 683948"/>
                  <a:gd name="connsiteX95" fmla="*/ 540850 w 597341"/>
                  <a:gd name="connsiteY95" fmla="*/ 264125 h 683948"/>
                  <a:gd name="connsiteX96" fmla="*/ 547176 w 597341"/>
                  <a:gd name="connsiteY96" fmla="*/ 256944 h 683948"/>
                  <a:gd name="connsiteX97" fmla="*/ 554300 w 597341"/>
                  <a:gd name="connsiteY97" fmla="*/ 234146 h 683948"/>
                  <a:gd name="connsiteX98" fmla="*/ 566497 w 597341"/>
                  <a:gd name="connsiteY98" fmla="*/ 221835 h 683948"/>
                  <a:gd name="connsiteX99" fmla="*/ 566497 w 597341"/>
                  <a:gd name="connsiteY99" fmla="*/ 215737 h 683948"/>
                  <a:gd name="connsiteX100" fmla="*/ 571456 w 597341"/>
                  <a:gd name="connsiteY100" fmla="*/ 212830 h 683948"/>
                  <a:gd name="connsiteX101" fmla="*/ 590093 w 597341"/>
                  <a:gd name="connsiteY101" fmla="*/ 200519 h 683948"/>
                  <a:gd name="connsiteX102" fmla="*/ 597161 w 597341"/>
                  <a:gd name="connsiteY102" fmla="*/ 178633 h 683948"/>
                  <a:gd name="connsiteX103" fmla="*/ 581487 w 597341"/>
                  <a:gd name="connsiteY103" fmla="*/ 163245 h 683948"/>
                  <a:gd name="connsiteX104" fmla="*/ 569290 w 597341"/>
                  <a:gd name="connsiteY104" fmla="*/ 166151 h 683948"/>
                  <a:gd name="connsiteX105" fmla="*/ 552648 w 597341"/>
                  <a:gd name="connsiteY105" fmla="*/ 172706 h 683948"/>
                  <a:gd name="connsiteX106" fmla="*/ 546948 w 597341"/>
                  <a:gd name="connsiteY106" fmla="*/ 176183 h 683948"/>
                  <a:gd name="connsiteX107" fmla="*/ 540907 w 597341"/>
                  <a:gd name="connsiteY107" fmla="*/ 198297 h 683948"/>
                  <a:gd name="connsiteX108" fmla="*/ 533555 w 597341"/>
                  <a:gd name="connsiteY108" fmla="*/ 199664 h 683948"/>
                  <a:gd name="connsiteX109" fmla="*/ 517311 w 597341"/>
                  <a:gd name="connsiteY109" fmla="*/ 205364 h 683948"/>
                  <a:gd name="connsiteX110" fmla="*/ 511269 w 597341"/>
                  <a:gd name="connsiteY110" fmla="*/ 221037 h 683948"/>
                  <a:gd name="connsiteX111" fmla="*/ 514461 w 597341"/>
                  <a:gd name="connsiteY111" fmla="*/ 231866 h 683948"/>
                  <a:gd name="connsiteX112" fmla="*/ 504031 w 597341"/>
                  <a:gd name="connsiteY112" fmla="*/ 245203 h 683948"/>
                  <a:gd name="connsiteX113" fmla="*/ 490694 w 597341"/>
                  <a:gd name="connsiteY113" fmla="*/ 234773 h 683948"/>
                  <a:gd name="connsiteX114" fmla="*/ 489839 w 597341"/>
                  <a:gd name="connsiteY114" fmla="*/ 222291 h 683948"/>
                  <a:gd name="connsiteX115" fmla="*/ 489441 w 597341"/>
                  <a:gd name="connsiteY115" fmla="*/ 222861 h 683948"/>
                  <a:gd name="connsiteX116" fmla="*/ 487104 w 597341"/>
                  <a:gd name="connsiteY116" fmla="*/ 223659 h 683948"/>
                  <a:gd name="connsiteX117" fmla="*/ 456897 w 597341"/>
                  <a:gd name="connsiteY117" fmla="*/ 219784 h 683948"/>
                  <a:gd name="connsiteX118" fmla="*/ 431591 w 597341"/>
                  <a:gd name="connsiteY118" fmla="*/ 213001 h 683948"/>
                  <a:gd name="connsiteX119" fmla="*/ 430736 w 597341"/>
                  <a:gd name="connsiteY119" fmla="*/ 216706 h 683948"/>
                  <a:gd name="connsiteX120" fmla="*/ 418026 w 597341"/>
                  <a:gd name="connsiteY120" fmla="*/ 226224 h 683948"/>
                  <a:gd name="connsiteX121" fmla="*/ 411985 w 597341"/>
                  <a:gd name="connsiteY121" fmla="*/ 236540 h 683948"/>
                  <a:gd name="connsiteX122" fmla="*/ 418539 w 597341"/>
                  <a:gd name="connsiteY122" fmla="*/ 236141 h 683948"/>
                  <a:gd name="connsiteX123" fmla="*/ 426461 w 597341"/>
                  <a:gd name="connsiteY123" fmla="*/ 239048 h 683948"/>
                  <a:gd name="connsiteX124" fmla="*/ 441451 w 597341"/>
                  <a:gd name="connsiteY124" fmla="*/ 242410 h 683948"/>
                  <a:gd name="connsiteX125" fmla="*/ 451710 w 597341"/>
                  <a:gd name="connsiteY125" fmla="*/ 254607 h 683948"/>
                  <a:gd name="connsiteX126" fmla="*/ 460373 w 597341"/>
                  <a:gd name="connsiteY126" fmla="*/ 254607 h 683948"/>
                  <a:gd name="connsiteX127" fmla="*/ 461285 w 597341"/>
                  <a:gd name="connsiteY127" fmla="*/ 257913 h 683948"/>
                  <a:gd name="connsiteX128" fmla="*/ 461798 w 597341"/>
                  <a:gd name="connsiteY128" fmla="*/ 269597 h 683948"/>
                  <a:gd name="connsiteX129" fmla="*/ 505228 w 597341"/>
                  <a:gd name="connsiteY129" fmla="*/ 265322 h 683948"/>
                  <a:gd name="connsiteX130" fmla="*/ 508192 w 597341"/>
                  <a:gd name="connsiteY130" fmla="*/ 275980 h 683948"/>
                  <a:gd name="connsiteX131" fmla="*/ 503005 w 597341"/>
                  <a:gd name="connsiteY131" fmla="*/ 285099 h 683948"/>
                  <a:gd name="connsiteX132" fmla="*/ 497876 w 597341"/>
                  <a:gd name="connsiteY132" fmla="*/ 286638 h 683948"/>
                  <a:gd name="connsiteX133" fmla="*/ 493544 w 597341"/>
                  <a:gd name="connsiteY133" fmla="*/ 301286 h 683948"/>
                  <a:gd name="connsiteX134" fmla="*/ 493544 w 597341"/>
                  <a:gd name="connsiteY134" fmla="*/ 302711 h 683948"/>
                  <a:gd name="connsiteX135" fmla="*/ 495710 w 597341"/>
                  <a:gd name="connsiteY135" fmla="*/ 302141 h 683948"/>
                  <a:gd name="connsiteX136" fmla="*/ 492860 w 597341"/>
                  <a:gd name="connsiteY136" fmla="*/ 311089 h 683948"/>
                  <a:gd name="connsiteX137" fmla="*/ 496394 w 597341"/>
                  <a:gd name="connsiteY137" fmla="*/ 307840 h 683948"/>
                  <a:gd name="connsiteX138" fmla="*/ 502777 w 597341"/>
                  <a:gd name="connsiteY138" fmla="*/ 303737 h 68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97341" h="683948">
                    <a:moveTo>
                      <a:pt x="439456" y="343291"/>
                    </a:moveTo>
                    <a:cubicBezTo>
                      <a:pt x="439456" y="344716"/>
                      <a:pt x="439456" y="346084"/>
                      <a:pt x="439456" y="347509"/>
                    </a:cubicBezTo>
                    <a:cubicBezTo>
                      <a:pt x="421560" y="347851"/>
                      <a:pt x="401783" y="352125"/>
                      <a:pt x="395057" y="368141"/>
                    </a:cubicBezTo>
                    <a:cubicBezTo>
                      <a:pt x="394140" y="371424"/>
                      <a:pt x="392675" y="374524"/>
                      <a:pt x="390726" y="377317"/>
                    </a:cubicBezTo>
                    <a:cubicBezTo>
                      <a:pt x="384342" y="384270"/>
                      <a:pt x="372772" y="378457"/>
                      <a:pt x="363539" y="380338"/>
                    </a:cubicBezTo>
                    <a:cubicBezTo>
                      <a:pt x="359362" y="381364"/>
                      <a:pt x="355469" y="383313"/>
                      <a:pt x="352140" y="386037"/>
                    </a:cubicBezTo>
                    <a:cubicBezTo>
                      <a:pt x="339134" y="395721"/>
                      <a:pt x="328026" y="407718"/>
                      <a:pt x="319368" y="421431"/>
                    </a:cubicBezTo>
                    <a:cubicBezTo>
                      <a:pt x="310933" y="435053"/>
                      <a:pt x="305347" y="449928"/>
                      <a:pt x="297425" y="464120"/>
                    </a:cubicBezTo>
                    <a:cubicBezTo>
                      <a:pt x="289503" y="478312"/>
                      <a:pt x="278275" y="491021"/>
                      <a:pt x="263229" y="496208"/>
                    </a:cubicBezTo>
                    <a:cubicBezTo>
                      <a:pt x="259809" y="496915"/>
                      <a:pt x="256657" y="498551"/>
                      <a:pt x="254109" y="500939"/>
                    </a:cubicBezTo>
                    <a:cubicBezTo>
                      <a:pt x="252291" y="503743"/>
                      <a:pt x="251431" y="507065"/>
                      <a:pt x="251658" y="510400"/>
                    </a:cubicBezTo>
                    <a:cubicBezTo>
                      <a:pt x="250975" y="530006"/>
                      <a:pt x="250234" y="549555"/>
                      <a:pt x="249550" y="569161"/>
                    </a:cubicBezTo>
                    <a:cubicBezTo>
                      <a:pt x="249151" y="580845"/>
                      <a:pt x="248695" y="592586"/>
                      <a:pt x="247726" y="604270"/>
                    </a:cubicBezTo>
                    <a:cubicBezTo>
                      <a:pt x="247298" y="611377"/>
                      <a:pt x="246056" y="618416"/>
                      <a:pt x="244021" y="625244"/>
                    </a:cubicBezTo>
                    <a:cubicBezTo>
                      <a:pt x="239348" y="639436"/>
                      <a:pt x="228861" y="650892"/>
                      <a:pt x="218716" y="661835"/>
                    </a:cubicBezTo>
                    <a:lnTo>
                      <a:pt x="198197" y="683949"/>
                    </a:lnTo>
                    <a:cubicBezTo>
                      <a:pt x="188218" y="650242"/>
                      <a:pt x="172818" y="618382"/>
                      <a:pt x="152602" y="589622"/>
                    </a:cubicBezTo>
                    <a:cubicBezTo>
                      <a:pt x="147632" y="583438"/>
                      <a:pt x="143773" y="576439"/>
                      <a:pt x="141203" y="568933"/>
                    </a:cubicBezTo>
                    <a:cubicBezTo>
                      <a:pt x="138182" y="557534"/>
                      <a:pt x="141488" y="543514"/>
                      <a:pt x="133508" y="534736"/>
                    </a:cubicBezTo>
                    <a:cubicBezTo>
                      <a:pt x="131080" y="532656"/>
                      <a:pt x="128903" y="530302"/>
                      <a:pt x="127011" y="527726"/>
                    </a:cubicBezTo>
                    <a:cubicBezTo>
                      <a:pt x="125797" y="524928"/>
                      <a:pt x="125290" y="521873"/>
                      <a:pt x="125529" y="518835"/>
                    </a:cubicBezTo>
                    <a:lnTo>
                      <a:pt x="125529" y="479964"/>
                    </a:lnTo>
                    <a:cubicBezTo>
                      <a:pt x="112192" y="469022"/>
                      <a:pt x="106835" y="451467"/>
                      <a:pt x="104099" y="434369"/>
                    </a:cubicBezTo>
                    <a:cubicBezTo>
                      <a:pt x="101375" y="417721"/>
                      <a:pt x="100497" y="400827"/>
                      <a:pt x="101477" y="383985"/>
                    </a:cubicBezTo>
                    <a:cubicBezTo>
                      <a:pt x="102093" y="379403"/>
                      <a:pt x="101842" y="374741"/>
                      <a:pt x="100736" y="370250"/>
                    </a:cubicBezTo>
                    <a:cubicBezTo>
                      <a:pt x="99711" y="367058"/>
                      <a:pt x="97773" y="364208"/>
                      <a:pt x="96690" y="361016"/>
                    </a:cubicBezTo>
                    <a:cubicBezTo>
                      <a:pt x="95094" y="356286"/>
                      <a:pt x="95436" y="350985"/>
                      <a:pt x="93441" y="346426"/>
                    </a:cubicBezTo>
                    <a:cubicBezTo>
                      <a:pt x="91446" y="341866"/>
                      <a:pt x="85234" y="338447"/>
                      <a:pt x="81529" y="341752"/>
                    </a:cubicBezTo>
                    <a:cubicBezTo>
                      <a:pt x="78571" y="348985"/>
                      <a:pt x="77061" y="356731"/>
                      <a:pt x="77084" y="364550"/>
                    </a:cubicBezTo>
                    <a:cubicBezTo>
                      <a:pt x="71259" y="368916"/>
                      <a:pt x="67719" y="375681"/>
                      <a:pt x="67451" y="382959"/>
                    </a:cubicBezTo>
                    <a:cubicBezTo>
                      <a:pt x="49270" y="377830"/>
                      <a:pt x="34566" y="364778"/>
                      <a:pt x="20488" y="352125"/>
                    </a:cubicBezTo>
                    <a:cubicBezTo>
                      <a:pt x="16897" y="349612"/>
                      <a:pt x="14406" y="345816"/>
                      <a:pt x="13535" y="341524"/>
                    </a:cubicBezTo>
                    <a:lnTo>
                      <a:pt x="42032" y="334343"/>
                    </a:lnTo>
                    <a:cubicBezTo>
                      <a:pt x="44106" y="334018"/>
                      <a:pt x="46067" y="333174"/>
                      <a:pt x="47731" y="331892"/>
                    </a:cubicBezTo>
                    <a:cubicBezTo>
                      <a:pt x="52519" y="327219"/>
                      <a:pt x="46021" y="318897"/>
                      <a:pt x="39353" y="318441"/>
                    </a:cubicBezTo>
                    <a:cubicBezTo>
                      <a:pt x="32685" y="317986"/>
                      <a:pt x="26415" y="321576"/>
                      <a:pt x="19747" y="321804"/>
                    </a:cubicBezTo>
                    <a:cubicBezTo>
                      <a:pt x="13079" y="322032"/>
                      <a:pt x="5327" y="315535"/>
                      <a:pt x="8633" y="309721"/>
                    </a:cubicBezTo>
                    <a:cubicBezTo>
                      <a:pt x="6781" y="306433"/>
                      <a:pt x="3674" y="304027"/>
                      <a:pt x="27" y="303053"/>
                    </a:cubicBezTo>
                    <a:cubicBezTo>
                      <a:pt x="-230" y="299206"/>
                      <a:pt x="1383" y="295473"/>
                      <a:pt x="4358" y="293022"/>
                    </a:cubicBezTo>
                    <a:cubicBezTo>
                      <a:pt x="7168" y="291272"/>
                      <a:pt x="10394" y="290286"/>
                      <a:pt x="13705" y="290172"/>
                    </a:cubicBezTo>
                    <a:lnTo>
                      <a:pt x="60384" y="284473"/>
                    </a:lnTo>
                    <a:cubicBezTo>
                      <a:pt x="56583" y="274630"/>
                      <a:pt x="52787" y="264770"/>
                      <a:pt x="48985" y="254892"/>
                    </a:cubicBezTo>
                    <a:cubicBezTo>
                      <a:pt x="48113" y="252139"/>
                      <a:pt x="46802" y="249541"/>
                      <a:pt x="45110" y="247198"/>
                    </a:cubicBezTo>
                    <a:cubicBezTo>
                      <a:pt x="43787" y="245830"/>
                      <a:pt x="42568" y="244360"/>
                      <a:pt x="41462" y="242809"/>
                    </a:cubicBezTo>
                    <a:cubicBezTo>
                      <a:pt x="40544" y="240877"/>
                      <a:pt x="39912" y="238825"/>
                      <a:pt x="39581" y="236711"/>
                    </a:cubicBezTo>
                    <a:cubicBezTo>
                      <a:pt x="37364" y="228470"/>
                      <a:pt x="31351" y="221784"/>
                      <a:pt x="23395" y="218701"/>
                    </a:cubicBezTo>
                    <a:cubicBezTo>
                      <a:pt x="26689" y="208664"/>
                      <a:pt x="35267" y="201272"/>
                      <a:pt x="45679" y="199493"/>
                    </a:cubicBezTo>
                    <a:cubicBezTo>
                      <a:pt x="58503" y="197556"/>
                      <a:pt x="74519" y="203654"/>
                      <a:pt x="82954" y="193794"/>
                    </a:cubicBezTo>
                    <a:cubicBezTo>
                      <a:pt x="87400" y="188550"/>
                      <a:pt x="87628" y="180400"/>
                      <a:pt x="92814" y="175841"/>
                    </a:cubicBezTo>
                    <a:cubicBezTo>
                      <a:pt x="94923" y="174017"/>
                      <a:pt x="97602" y="172991"/>
                      <a:pt x="99597" y="171053"/>
                    </a:cubicBezTo>
                    <a:cubicBezTo>
                      <a:pt x="101694" y="168665"/>
                      <a:pt x="103290" y="165872"/>
                      <a:pt x="104270" y="162846"/>
                    </a:cubicBezTo>
                    <a:cubicBezTo>
                      <a:pt x="110671" y="147759"/>
                      <a:pt x="120930" y="134628"/>
                      <a:pt x="134021" y="124773"/>
                    </a:cubicBezTo>
                    <a:cubicBezTo>
                      <a:pt x="131793" y="117347"/>
                      <a:pt x="133805" y="109299"/>
                      <a:pt x="139265" y="103799"/>
                    </a:cubicBezTo>
                    <a:cubicBezTo>
                      <a:pt x="144964" y="98100"/>
                      <a:pt x="154881" y="92970"/>
                      <a:pt x="152089" y="85447"/>
                    </a:cubicBezTo>
                    <a:cubicBezTo>
                      <a:pt x="151194" y="83566"/>
                      <a:pt x="149911" y="81896"/>
                      <a:pt x="148327" y="80545"/>
                    </a:cubicBezTo>
                    <a:cubicBezTo>
                      <a:pt x="142171" y="74322"/>
                      <a:pt x="136797" y="67374"/>
                      <a:pt x="132311" y="59856"/>
                    </a:cubicBezTo>
                    <a:cubicBezTo>
                      <a:pt x="130174" y="56670"/>
                      <a:pt x="128772" y="53051"/>
                      <a:pt x="128208" y="49255"/>
                    </a:cubicBezTo>
                    <a:cubicBezTo>
                      <a:pt x="128362" y="46400"/>
                      <a:pt x="128231" y="43533"/>
                      <a:pt x="127809" y="40706"/>
                    </a:cubicBezTo>
                    <a:cubicBezTo>
                      <a:pt x="126555" y="36375"/>
                      <a:pt x="122110" y="33696"/>
                      <a:pt x="120456" y="29307"/>
                    </a:cubicBezTo>
                    <a:cubicBezTo>
                      <a:pt x="117208" y="20701"/>
                      <a:pt x="128151" y="12722"/>
                      <a:pt x="137555" y="13349"/>
                    </a:cubicBezTo>
                    <a:cubicBezTo>
                      <a:pt x="146959" y="13976"/>
                      <a:pt x="155166" y="19048"/>
                      <a:pt x="164342" y="20302"/>
                    </a:cubicBezTo>
                    <a:cubicBezTo>
                      <a:pt x="171096" y="21077"/>
                      <a:pt x="177919" y="19573"/>
                      <a:pt x="183721" y="16027"/>
                    </a:cubicBezTo>
                    <a:cubicBezTo>
                      <a:pt x="189369" y="12967"/>
                      <a:pt x="192823" y="7005"/>
                      <a:pt x="192669" y="582"/>
                    </a:cubicBezTo>
                    <a:lnTo>
                      <a:pt x="203042" y="69"/>
                    </a:lnTo>
                    <a:cubicBezTo>
                      <a:pt x="204438" y="-119"/>
                      <a:pt x="205857" y="80"/>
                      <a:pt x="207146" y="639"/>
                    </a:cubicBezTo>
                    <a:cubicBezTo>
                      <a:pt x="210565" y="2406"/>
                      <a:pt x="209596" y="7649"/>
                      <a:pt x="211534" y="11012"/>
                    </a:cubicBezTo>
                    <a:cubicBezTo>
                      <a:pt x="213101" y="13012"/>
                      <a:pt x="215033" y="14699"/>
                      <a:pt x="217234" y="15970"/>
                    </a:cubicBezTo>
                    <a:cubicBezTo>
                      <a:pt x="222175" y="20507"/>
                      <a:pt x="225800" y="26298"/>
                      <a:pt x="227721" y="32727"/>
                    </a:cubicBezTo>
                    <a:lnTo>
                      <a:pt x="237296" y="56779"/>
                    </a:lnTo>
                    <a:cubicBezTo>
                      <a:pt x="239576" y="62478"/>
                      <a:pt x="241457" y="69773"/>
                      <a:pt x="236897" y="73877"/>
                    </a:cubicBezTo>
                    <a:cubicBezTo>
                      <a:pt x="234104" y="76328"/>
                      <a:pt x="230001" y="76385"/>
                      <a:pt x="226866" y="78380"/>
                    </a:cubicBezTo>
                    <a:cubicBezTo>
                      <a:pt x="219456" y="82996"/>
                      <a:pt x="221793" y="94623"/>
                      <a:pt x="226866" y="101633"/>
                    </a:cubicBezTo>
                    <a:cubicBezTo>
                      <a:pt x="231568" y="107937"/>
                      <a:pt x="237729" y="113004"/>
                      <a:pt x="244819" y="116395"/>
                    </a:cubicBezTo>
                    <a:cubicBezTo>
                      <a:pt x="249635" y="118145"/>
                      <a:pt x="254183" y="120561"/>
                      <a:pt x="258327" y="123576"/>
                    </a:cubicBezTo>
                    <a:cubicBezTo>
                      <a:pt x="265337" y="129846"/>
                      <a:pt x="266021" y="140675"/>
                      <a:pt x="264824" y="149965"/>
                    </a:cubicBezTo>
                    <a:cubicBezTo>
                      <a:pt x="263627" y="159255"/>
                      <a:pt x="261006" y="168887"/>
                      <a:pt x="263229" y="178063"/>
                    </a:cubicBezTo>
                    <a:cubicBezTo>
                      <a:pt x="276337" y="180685"/>
                      <a:pt x="283006" y="197955"/>
                      <a:pt x="296285" y="199550"/>
                    </a:cubicBezTo>
                    <a:cubicBezTo>
                      <a:pt x="299961" y="199328"/>
                      <a:pt x="303644" y="199852"/>
                      <a:pt x="307114" y="201089"/>
                    </a:cubicBezTo>
                    <a:cubicBezTo>
                      <a:pt x="310135" y="202856"/>
                      <a:pt x="311503" y="206789"/>
                      <a:pt x="314353" y="208670"/>
                    </a:cubicBezTo>
                    <a:cubicBezTo>
                      <a:pt x="316347" y="209958"/>
                      <a:pt x="318610" y="210778"/>
                      <a:pt x="320964" y="211063"/>
                    </a:cubicBezTo>
                    <a:lnTo>
                      <a:pt x="347980" y="216364"/>
                    </a:lnTo>
                    <a:cubicBezTo>
                      <a:pt x="355617" y="226281"/>
                      <a:pt x="368441" y="230328"/>
                      <a:pt x="380466" y="233804"/>
                    </a:cubicBezTo>
                    <a:cubicBezTo>
                      <a:pt x="388206" y="236523"/>
                      <a:pt x="396374" y="237839"/>
                      <a:pt x="404575" y="237680"/>
                    </a:cubicBezTo>
                    <a:cubicBezTo>
                      <a:pt x="409357" y="236819"/>
                      <a:pt x="414196" y="236323"/>
                      <a:pt x="419052" y="236198"/>
                    </a:cubicBezTo>
                    <a:cubicBezTo>
                      <a:pt x="424147" y="235924"/>
                      <a:pt x="428798" y="239065"/>
                      <a:pt x="430451" y="243892"/>
                    </a:cubicBezTo>
                    <a:cubicBezTo>
                      <a:pt x="431135" y="246970"/>
                      <a:pt x="429995" y="250333"/>
                      <a:pt x="431363" y="253183"/>
                    </a:cubicBezTo>
                    <a:cubicBezTo>
                      <a:pt x="433358" y="257400"/>
                      <a:pt x="440368" y="259452"/>
                      <a:pt x="439228" y="263954"/>
                    </a:cubicBezTo>
                    <a:cubicBezTo>
                      <a:pt x="437689" y="270281"/>
                      <a:pt x="425549" y="264467"/>
                      <a:pt x="422130" y="269996"/>
                    </a:cubicBezTo>
                    <a:cubicBezTo>
                      <a:pt x="419508" y="274270"/>
                      <a:pt x="425435" y="278716"/>
                      <a:pt x="426404" y="283618"/>
                    </a:cubicBezTo>
                    <a:cubicBezTo>
                      <a:pt x="426461" y="286769"/>
                      <a:pt x="426102" y="289910"/>
                      <a:pt x="425322" y="292965"/>
                    </a:cubicBezTo>
                    <a:cubicBezTo>
                      <a:pt x="424524" y="303224"/>
                      <a:pt x="436379" y="309721"/>
                      <a:pt x="440140" y="319353"/>
                    </a:cubicBezTo>
                    <a:cubicBezTo>
                      <a:pt x="442534" y="326991"/>
                      <a:pt x="440482" y="335312"/>
                      <a:pt x="439456" y="343291"/>
                    </a:cubicBezTo>
                    <a:close/>
                    <a:moveTo>
                      <a:pt x="502777" y="303737"/>
                    </a:moveTo>
                    <a:cubicBezTo>
                      <a:pt x="505051" y="303309"/>
                      <a:pt x="507365" y="303133"/>
                      <a:pt x="509674" y="303224"/>
                    </a:cubicBezTo>
                    <a:cubicBezTo>
                      <a:pt x="522953" y="302426"/>
                      <a:pt x="532472" y="289317"/>
                      <a:pt x="536005" y="276550"/>
                    </a:cubicBezTo>
                    <a:cubicBezTo>
                      <a:pt x="536860" y="272156"/>
                      <a:pt x="538513" y="267950"/>
                      <a:pt x="540850" y="264125"/>
                    </a:cubicBezTo>
                    <a:cubicBezTo>
                      <a:pt x="542731" y="261561"/>
                      <a:pt x="545466" y="259623"/>
                      <a:pt x="547176" y="256944"/>
                    </a:cubicBezTo>
                    <a:cubicBezTo>
                      <a:pt x="551622" y="250105"/>
                      <a:pt x="548943" y="239846"/>
                      <a:pt x="554300" y="234146"/>
                    </a:cubicBezTo>
                    <a:cubicBezTo>
                      <a:pt x="558233" y="229644"/>
                      <a:pt x="566042" y="227820"/>
                      <a:pt x="566497" y="221835"/>
                    </a:cubicBezTo>
                    <a:cubicBezTo>
                      <a:pt x="566497" y="219784"/>
                      <a:pt x="565813" y="217561"/>
                      <a:pt x="566497" y="215737"/>
                    </a:cubicBezTo>
                    <a:cubicBezTo>
                      <a:pt x="567694" y="214158"/>
                      <a:pt x="569461" y="213115"/>
                      <a:pt x="571456" y="212830"/>
                    </a:cubicBezTo>
                    <a:cubicBezTo>
                      <a:pt x="578751" y="210636"/>
                      <a:pt x="585192" y="206356"/>
                      <a:pt x="590093" y="200519"/>
                    </a:cubicBezTo>
                    <a:cubicBezTo>
                      <a:pt x="595508" y="194580"/>
                      <a:pt x="598073" y="186607"/>
                      <a:pt x="597161" y="178633"/>
                    </a:cubicBezTo>
                    <a:cubicBezTo>
                      <a:pt x="596021" y="170551"/>
                      <a:pt x="589580" y="164242"/>
                      <a:pt x="581487" y="163245"/>
                    </a:cubicBezTo>
                    <a:cubicBezTo>
                      <a:pt x="577269" y="163359"/>
                      <a:pt x="573109" y="164351"/>
                      <a:pt x="569290" y="166151"/>
                    </a:cubicBezTo>
                    <a:lnTo>
                      <a:pt x="552648" y="172706"/>
                    </a:lnTo>
                    <a:cubicBezTo>
                      <a:pt x="550482" y="173413"/>
                      <a:pt x="548544" y="174604"/>
                      <a:pt x="546948" y="176183"/>
                    </a:cubicBezTo>
                    <a:cubicBezTo>
                      <a:pt x="541705" y="181882"/>
                      <a:pt x="547632" y="194022"/>
                      <a:pt x="540907" y="198297"/>
                    </a:cubicBezTo>
                    <a:cubicBezTo>
                      <a:pt x="538627" y="199357"/>
                      <a:pt x="536062" y="199830"/>
                      <a:pt x="533555" y="199664"/>
                    </a:cubicBezTo>
                    <a:cubicBezTo>
                      <a:pt x="527684" y="199704"/>
                      <a:pt x="521939" y="201711"/>
                      <a:pt x="517311" y="205364"/>
                    </a:cubicBezTo>
                    <a:cubicBezTo>
                      <a:pt x="512694" y="209171"/>
                      <a:pt x="510403" y="215116"/>
                      <a:pt x="511269" y="221037"/>
                    </a:cubicBezTo>
                    <a:cubicBezTo>
                      <a:pt x="511953" y="224742"/>
                      <a:pt x="514062" y="228105"/>
                      <a:pt x="514461" y="231866"/>
                    </a:cubicBezTo>
                    <a:cubicBezTo>
                      <a:pt x="515265" y="238432"/>
                      <a:pt x="510597" y="244400"/>
                      <a:pt x="504031" y="245203"/>
                    </a:cubicBezTo>
                    <a:cubicBezTo>
                      <a:pt x="497465" y="246007"/>
                      <a:pt x="491498" y="241333"/>
                      <a:pt x="490694" y="234773"/>
                    </a:cubicBezTo>
                    <a:cubicBezTo>
                      <a:pt x="490125" y="230613"/>
                      <a:pt x="491606" y="225939"/>
                      <a:pt x="489839" y="222291"/>
                    </a:cubicBezTo>
                    <a:cubicBezTo>
                      <a:pt x="489726" y="222497"/>
                      <a:pt x="489594" y="222685"/>
                      <a:pt x="489441" y="222861"/>
                    </a:cubicBezTo>
                    <a:cubicBezTo>
                      <a:pt x="488751" y="223340"/>
                      <a:pt x="487942" y="223614"/>
                      <a:pt x="487104" y="223659"/>
                    </a:cubicBezTo>
                    <a:cubicBezTo>
                      <a:pt x="476879" y="224383"/>
                      <a:pt x="466608" y="223066"/>
                      <a:pt x="456897" y="219784"/>
                    </a:cubicBezTo>
                    <a:lnTo>
                      <a:pt x="431591" y="213001"/>
                    </a:lnTo>
                    <a:cubicBezTo>
                      <a:pt x="431613" y="214289"/>
                      <a:pt x="431317" y="215560"/>
                      <a:pt x="430736" y="216706"/>
                    </a:cubicBezTo>
                    <a:cubicBezTo>
                      <a:pt x="428228" y="221436"/>
                      <a:pt x="421902" y="222405"/>
                      <a:pt x="418026" y="226224"/>
                    </a:cubicBezTo>
                    <a:cubicBezTo>
                      <a:pt x="415461" y="229307"/>
                      <a:pt x="413421" y="232795"/>
                      <a:pt x="411985" y="236540"/>
                    </a:cubicBezTo>
                    <a:cubicBezTo>
                      <a:pt x="414145" y="236152"/>
                      <a:pt x="416345" y="236016"/>
                      <a:pt x="418539" y="236141"/>
                    </a:cubicBezTo>
                    <a:cubicBezTo>
                      <a:pt x="421412" y="236306"/>
                      <a:pt x="424165" y="237321"/>
                      <a:pt x="426461" y="239048"/>
                    </a:cubicBezTo>
                    <a:cubicBezTo>
                      <a:pt x="431693" y="237287"/>
                      <a:pt x="437473" y="238586"/>
                      <a:pt x="441451" y="242410"/>
                    </a:cubicBezTo>
                    <a:cubicBezTo>
                      <a:pt x="444984" y="246685"/>
                      <a:pt x="446124" y="254493"/>
                      <a:pt x="451710" y="254607"/>
                    </a:cubicBezTo>
                    <a:cubicBezTo>
                      <a:pt x="454731" y="254607"/>
                      <a:pt x="458378" y="252157"/>
                      <a:pt x="460373" y="254607"/>
                    </a:cubicBezTo>
                    <a:cubicBezTo>
                      <a:pt x="461029" y="255582"/>
                      <a:pt x="461353" y="256739"/>
                      <a:pt x="461285" y="257913"/>
                    </a:cubicBezTo>
                    <a:lnTo>
                      <a:pt x="461798" y="269597"/>
                    </a:lnTo>
                    <a:lnTo>
                      <a:pt x="505228" y="265322"/>
                    </a:lnTo>
                    <a:cubicBezTo>
                      <a:pt x="506881" y="268657"/>
                      <a:pt x="507884" y="272270"/>
                      <a:pt x="508192" y="275980"/>
                    </a:cubicBezTo>
                    <a:cubicBezTo>
                      <a:pt x="508414" y="279776"/>
                      <a:pt x="506385" y="283350"/>
                      <a:pt x="503005" y="285099"/>
                    </a:cubicBezTo>
                    <a:cubicBezTo>
                      <a:pt x="501352" y="285784"/>
                      <a:pt x="499471" y="285840"/>
                      <a:pt x="497876" y="286638"/>
                    </a:cubicBezTo>
                    <a:cubicBezTo>
                      <a:pt x="493088" y="289089"/>
                      <a:pt x="493943" y="295929"/>
                      <a:pt x="493544" y="301286"/>
                    </a:cubicBezTo>
                    <a:lnTo>
                      <a:pt x="493544" y="302711"/>
                    </a:lnTo>
                    <a:cubicBezTo>
                      <a:pt x="494245" y="302454"/>
                      <a:pt x="494969" y="302261"/>
                      <a:pt x="495710" y="302141"/>
                    </a:cubicBezTo>
                    <a:cubicBezTo>
                      <a:pt x="494479" y="305025"/>
                      <a:pt x="493527" y="308023"/>
                      <a:pt x="492860" y="311089"/>
                    </a:cubicBezTo>
                    <a:cubicBezTo>
                      <a:pt x="494000" y="309949"/>
                      <a:pt x="495197" y="308866"/>
                      <a:pt x="496394" y="307840"/>
                    </a:cubicBezTo>
                    <a:cubicBezTo>
                      <a:pt x="498206" y="306034"/>
                      <a:pt x="500384" y="304632"/>
                      <a:pt x="502777" y="303737"/>
                    </a:cubicBezTo>
                    <a:close/>
                  </a:path>
                </a:pathLst>
              </a:custGeom>
              <a:solidFill>
                <a:schemeClr val="accent1"/>
              </a:solidFill>
              <a:ln w="3175" cap="flat">
                <a:solidFill>
                  <a:schemeClr val="accent2"/>
                </a:solidFill>
                <a:prstDash val="solid"/>
                <a:miter/>
              </a:ln>
            </p:spPr>
            <p:txBody>
              <a:bodyPr rtlCol="0" anchor="ctr"/>
              <a:lstStyle/>
              <a:p>
                <a:endParaRPr lang="en-US"/>
              </a:p>
            </p:txBody>
          </p:sp>
          <p:sp>
            <p:nvSpPr>
              <p:cNvPr id="662" name="Freihandform: Form 378">
                <a:extLst>
                  <a:ext uri="{FF2B5EF4-FFF2-40B4-BE49-F238E27FC236}">
                    <a16:creationId xmlns:a16="http://schemas.microsoft.com/office/drawing/2014/main" id="{C2045036-3538-21D0-F8D3-A6E523408BE7}"/>
                  </a:ext>
                </a:extLst>
              </p:cNvPr>
              <p:cNvSpPr/>
              <p:nvPr/>
            </p:nvSpPr>
            <p:spPr>
              <a:xfrm>
                <a:off x="5468819" y="3367338"/>
                <a:ext cx="50921" cy="54998"/>
              </a:xfrm>
              <a:custGeom>
                <a:avLst/>
                <a:gdLst>
                  <a:gd name="connsiteX0" fmla="*/ 24337 w 50921"/>
                  <a:gd name="connsiteY0" fmla="*/ 53688 h 54998"/>
                  <a:gd name="connsiteX1" fmla="*/ 20290 w 50921"/>
                  <a:gd name="connsiteY1" fmla="*/ 54998 h 54998"/>
                  <a:gd name="connsiteX2" fmla="*/ 17612 w 50921"/>
                  <a:gd name="connsiteY2" fmla="*/ 48330 h 54998"/>
                  <a:gd name="connsiteX3" fmla="*/ 7124 w 50921"/>
                  <a:gd name="connsiteY3" fmla="*/ 31574 h 54998"/>
                  <a:gd name="connsiteX4" fmla="*/ 1425 w 50921"/>
                  <a:gd name="connsiteY4" fmla="*/ 26615 h 54998"/>
                  <a:gd name="connsiteX5" fmla="*/ 0 w 50921"/>
                  <a:gd name="connsiteY5" fmla="*/ 21713 h 54998"/>
                  <a:gd name="connsiteX6" fmla="*/ 2109 w 50921"/>
                  <a:gd name="connsiteY6" fmla="*/ 19662 h 54998"/>
                  <a:gd name="connsiteX7" fmla="*/ 4845 w 50921"/>
                  <a:gd name="connsiteY7" fmla="*/ 14361 h 54998"/>
                  <a:gd name="connsiteX8" fmla="*/ 13508 w 50921"/>
                  <a:gd name="connsiteY8" fmla="*/ 2962 h 54998"/>
                  <a:gd name="connsiteX9" fmla="*/ 27130 w 50921"/>
                  <a:gd name="connsiteY9" fmla="*/ 796 h 54998"/>
                  <a:gd name="connsiteX10" fmla="*/ 31689 w 50921"/>
                  <a:gd name="connsiteY10" fmla="*/ 3418 h 54998"/>
                  <a:gd name="connsiteX11" fmla="*/ 42062 w 50921"/>
                  <a:gd name="connsiteY11" fmla="*/ 10485 h 54998"/>
                  <a:gd name="connsiteX12" fmla="*/ 47762 w 50921"/>
                  <a:gd name="connsiteY12" fmla="*/ 15102 h 54998"/>
                  <a:gd name="connsiteX13" fmla="*/ 45174 w 50921"/>
                  <a:gd name="connsiteY13" fmla="*/ 36059 h 54998"/>
                  <a:gd name="connsiteX14" fmla="*/ 43658 w 50921"/>
                  <a:gd name="connsiteY14" fmla="*/ 37102 h 54998"/>
                  <a:gd name="connsiteX15" fmla="*/ 37047 w 50921"/>
                  <a:gd name="connsiteY15" fmla="*/ 39952 h 54998"/>
                  <a:gd name="connsiteX16" fmla="*/ 33057 w 50921"/>
                  <a:gd name="connsiteY16" fmla="*/ 45651 h 54998"/>
                  <a:gd name="connsiteX17" fmla="*/ 33057 w 50921"/>
                  <a:gd name="connsiteY17" fmla="*/ 48501 h 54998"/>
                  <a:gd name="connsiteX18" fmla="*/ 24337 w 50921"/>
                  <a:gd name="connsiteY18" fmla="*/ 53688 h 5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921" h="54998">
                    <a:moveTo>
                      <a:pt x="24337" y="53688"/>
                    </a:moveTo>
                    <a:cubicBezTo>
                      <a:pt x="22958" y="54029"/>
                      <a:pt x="21607" y="54468"/>
                      <a:pt x="20290" y="54998"/>
                    </a:cubicBezTo>
                    <a:lnTo>
                      <a:pt x="17612" y="48330"/>
                    </a:lnTo>
                    <a:cubicBezTo>
                      <a:pt x="15691" y="41901"/>
                      <a:pt x="12066" y="36110"/>
                      <a:pt x="7124" y="31574"/>
                    </a:cubicBezTo>
                    <a:cubicBezTo>
                      <a:pt x="4924" y="30303"/>
                      <a:pt x="2992" y="28615"/>
                      <a:pt x="1425" y="26615"/>
                    </a:cubicBezTo>
                    <a:cubicBezTo>
                      <a:pt x="707" y="25059"/>
                      <a:pt x="228" y="23412"/>
                      <a:pt x="0" y="21713"/>
                    </a:cubicBezTo>
                    <a:cubicBezTo>
                      <a:pt x="769" y="21104"/>
                      <a:pt x="1476" y="20414"/>
                      <a:pt x="2109" y="19662"/>
                    </a:cubicBezTo>
                    <a:cubicBezTo>
                      <a:pt x="3220" y="18009"/>
                      <a:pt x="4138" y="16225"/>
                      <a:pt x="4845" y="14361"/>
                    </a:cubicBezTo>
                    <a:cubicBezTo>
                      <a:pt x="6657" y="9853"/>
                      <a:pt x="9649" y="5914"/>
                      <a:pt x="13508" y="2962"/>
                    </a:cubicBezTo>
                    <a:cubicBezTo>
                      <a:pt x="17406" y="21"/>
                      <a:pt x="22513" y="-788"/>
                      <a:pt x="27130" y="796"/>
                    </a:cubicBezTo>
                    <a:cubicBezTo>
                      <a:pt x="28748" y="1492"/>
                      <a:pt x="30276" y="2369"/>
                      <a:pt x="31689" y="3418"/>
                    </a:cubicBezTo>
                    <a:lnTo>
                      <a:pt x="42062" y="10485"/>
                    </a:lnTo>
                    <a:cubicBezTo>
                      <a:pt x="44159" y="11768"/>
                      <a:pt x="46074" y="13318"/>
                      <a:pt x="47762" y="15102"/>
                    </a:cubicBezTo>
                    <a:cubicBezTo>
                      <a:pt x="52834" y="21605"/>
                      <a:pt x="51677" y="30986"/>
                      <a:pt x="45174" y="36059"/>
                    </a:cubicBezTo>
                    <a:cubicBezTo>
                      <a:pt x="44690" y="36441"/>
                      <a:pt x="44182" y="36789"/>
                      <a:pt x="43658" y="37102"/>
                    </a:cubicBezTo>
                    <a:cubicBezTo>
                      <a:pt x="41549" y="38242"/>
                      <a:pt x="39155" y="38812"/>
                      <a:pt x="37047" y="39952"/>
                    </a:cubicBezTo>
                    <a:cubicBezTo>
                      <a:pt x="34795" y="41000"/>
                      <a:pt x="33274" y="43178"/>
                      <a:pt x="33057" y="45651"/>
                    </a:cubicBezTo>
                    <a:cubicBezTo>
                      <a:pt x="33057" y="46620"/>
                      <a:pt x="33057" y="47589"/>
                      <a:pt x="33057" y="48501"/>
                    </a:cubicBezTo>
                    <a:cubicBezTo>
                      <a:pt x="32772" y="52377"/>
                      <a:pt x="27871" y="52889"/>
                      <a:pt x="24337" y="5368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63" name="Freihandform: Form 379">
                <a:extLst>
                  <a:ext uri="{FF2B5EF4-FFF2-40B4-BE49-F238E27FC236}">
                    <a16:creationId xmlns:a16="http://schemas.microsoft.com/office/drawing/2014/main" id="{4930476A-0761-DC38-2601-08A1C06A21D5}"/>
                  </a:ext>
                </a:extLst>
              </p:cNvPr>
              <p:cNvSpPr/>
              <p:nvPr/>
            </p:nvSpPr>
            <p:spPr>
              <a:xfrm>
                <a:off x="5750302" y="3567330"/>
                <a:ext cx="184107" cy="425408"/>
              </a:xfrm>
              <a:custGeom>
                <a:avLst/>
                <a:gdLst>
                  <a:gd name="connsiteX0" fmla="*/ 150879 w 184107"/>
                  <a:gd name="connsiteY0" fmla="*/ 407000 h 425408"/>
                  <a:gd name="connsiteX1" fmla="*/ 143584 w 184107"/>
                  <a:gd name="connsiteY1" fmla="*/ 425409 h 425408"/>
                  <a:gd name="connsiteX2" fmla="*/ 133667 w 184107"/>
                  <a:gd name="connsiteY2" fmla="*/ 415378 h 425408"/>
                  <a:gd name="connsiteX3" fmla="*/ 145977 w 184107"/>
                  <a:gd name="connsiteY3" fmla="*/ 396684 h 425408"/>
                  <a:gd name="connsiteX4" fmla="*/ 134579 w 184107"/>
                  <a:gd name="connsiteY4" fmla="*/ 381124 h 425408"/>
                  <a:gd name="connsiteX5" fmla="*/ 137314 w 184107"/>
                  <a:gd name="connsiteY5" fmla="*/ 374456 h 425408"/>
                  <a:gd name="connsiteX6" fmla="*/ 125915 w 184107"/>
                  <a:gd name="connsiteY6" fmla="*/ 365678 h 425408"/>
                  <a:gd name="connsiteX7" fmla="*/ 122895 w 184107"/>
                  <a:gd name="connsiteY7" fmla="*/ 357357 h 425408"/>
                  <a:gd name="connsiteX8" fmla="*/ 115827 w 184107"/>
                  <a:gd name="connsiteY8" fmla="*/ 301901 h 425408"/>
                  <a:gd name="connsiteX9" fmla="*/ 113776 w 184107"/>
                  <a:gd name="connsiteY9" fmla="*/ 290502 h 425408"/>
                  <a:gd name="connsiteX10" fmla="*/ 102377 w 184107"/>
                  <a:gd name="connsiteY10" fmla="*/ 278704 h 425408"/>
                  <a:gd name="connsiteX11" fmla="*/ 76102 w 184107"/>
                  <a:gd name="connsiteY11" fmla="*/ 308114 h 425408"/>
                  <a:gd name="connsiteX12" fmla="*/ 70402 w 184107"/>
                  <a:gd name="connsiteY12" fmla="*/ 311305 h 425408"/>
                  <a:gd name="connsiteX13" fmla="*/ 57408 w 184107"/>
                  <a:gd name="connsiteY13" fmla="*/ 297171 h 425408"/>
                  <a:gd name="connsiteX14" fmla="*/ 60770 w 184107"/>
                  <a:gd name="connsiteY14" fmla="*/ 275285 h 425408"/>
                  <a:gd name="connsiteX15" fmla="*/ 46750 w 184107"/>
                  <a:gd name="connsiteY15" fmla="*/ 234135 h 425408"/>
                  <a:gd name="connsiteX16" fmla="*/ 46180 w 184107"/>
                  <a:gd name="connsiteY16" fmla="*/ 224559 h 425408"/>
                  <a:gd name="connsiteX17" fmla="*/ 14491 w 184107"/>
                  <a:gd name="connsiteY17" fmla="*/ 193725 h 425408"/>
                  <a:gd name="connsiteX18" fmla="*/ 12097 w 184107"/>
                  <a:gd name="connsiteY18" fmla="*/ 182953 h 425408"/>
                  <a:gd name="connsiteX19" fmla="*/ 4915 w 184107"/>
                  <a:gd name="connsiteY19" fmla="*/ 176399 h 425408"/>
                  <a:gd name="connsiteX20" fmla="*/ 2123 w 184107"/>
                  <a:gd name="connsiteY20" fmla="*/ 167793 h 425408"/>
                  <a:gd name="connsiteX21" fmla="*/ 1610 w 184107"/>
                  <a:gd name="connsiteY21" fmla="*/ 126243 h 425408"/>
                  <a:gd name="connsiteX22" fmla="*/ 5144 w 184107"/>
                  <a:gd name="connsiteY22" fmla="*/ 122995 h 425408"/>
                  <a:gd name="connsiteX23" fmla="*/ 11527 w 184107"/>
                  <a:gd name="connsiteY23" fmla="*/ 118834 h 425408"/>
                  <a:gd name="connsiteX24" fmla="*/ 18423 w 184107"/>
                  <a:gd name="connsiteY24" fmla="*/ 118321 h 425408"/>
                  <a:gd name="connsiteX25" fmla="*/ 44755 w 184107"/>
                  <a:gd name="connsiteY25" fmla="*/ 91648 h 425408"/>
                  <a:gd name="connsiteX26" fmla="*/ 49599 w 184107"/>
                  <a:gd name="connsiteY26" fmla="*/ 79223 h 425408"/>
                  <a:gd name="connsiteX27" fmla="*/ 55926 w 184107"/>
                  <a:gd name="connsiteY27" fmla="*/ 72042 h 425408"/>
                  <a:gd name="connsiteX28" fmla="*/ 63050 w 184107"/>
                  <a:gd name="connsiteY28" fmla="*/ 49244 h 425408"/>
                  <a:gd name="connsiteX29" fmla="*/ 75247 w 184107"/>
                  <a:gd name="connsiteY29" fmla="*/ 36933 h 425408"/>
                  <a:gd name="connsiteX30" fmla="*/ 75247 w 184107"/>
                  <a:gd name="connsiteY30" fmla="*/ 30834 h 425408"/>
                  <a:gd name="connsiteX31" fmla="*/ 80206 w 184107"/>
                  <a:gd name="connsiteY31" fmla="*/ 27928 h 425408"/>
                  <a:gd name="connsiteX32" fmla="*/ 98843 w 184107"/>
                  <a:gd name="connsiteY32" fmla="*/ 15617 h 425408"/>
                  <a:gd name="connsiteX33" fmla="*/ 106024 w 184107"/>
                  <a:gd name="connsiteY33" fmla="*/ 0 h 425408"/>
                  <a:gd name="connsiteX34" fmla="*/ 144952 w 184107"/>
                  <a:gd name="connsiteY34" fmla="*/ 38700 h 425408"/>
                  <a:gd name="connsiteX35" fmla="*/ 139537 w 184107"/>
                  <a:gd name="connsiteY35" fmla="*/ 58591 h 425408"/>
                  <a:gd name="connsiteX36" fmla="*/ 129734 w 184107"/>
                  <a:gd name="connsiteY36" fmla="*/ 76886 h 425408"/>
                  <a:gd name="connsiteX37" fmla="*/ 128765 w 184107"/>
                  <a:gd name="connsiteY37" fmla="*/ 87259 h 425408"/>
                  <a:gd name="connsiteX38" fmla="*/ 121185 w 184107"/>
                  <a:gd name="connsiteY38" fmla="*/ 97518 h 425408"/>
                  <a:gd name="connsiteX39" fmla="*/ 121185 w 184107"/>
                  <a:gd name="connsiteY39" fmla="*/ 108917 h 425408"/>
                  <a:gd name="connsiteX40" fmla="*/ 130532 w 184107"/>
                  <a:gd name="connsiteY40" fmla="*/ 110513 h 425408"/>
                  <a:gd name="connsiteX41" fmla="*/ 150822 w 184107"/>
                  <a:gd name="connsiteY41" fmla="*/ 139010 h 425408"/>
                  <a:gd name="connsiteX42" fmla="*/ 155325 w 184107"/>
                  <a:gd name="connsiteY42" fmla="*/ 142487 h 425408"/>
                  <a:gd name="connsiteX43" fmla="*/ 159314 w 184107"/>
                  <a:gd name="connsiteY43" fmla="*/ 148813 h 425408"/>
                  <a:gd name="connsiteX44" fmla="*/ 163760 w 184107"/>
                  <a:gd name="connsiteY44" fmla="*/ 158104 h 425408"/>
                  <a:gd name="connsiteX45" fmla="*/ 178806 w 184107"/>
                  <a:gd name="connsiteY45" fmla="*/ 176855 h 425408"/>
                  <a:gd name="connsiteX46" fmla="*/ 184107 w 184107"/>
                  <a:gd name="connsiteY46" fmla="*/ 178109 h 425408"/>
                  <a:gd name="connsiteX47" fmla="*/ 176469 w 184107"/>
                  <a:gd name="connsiteY47" fmla="*/ 195720 h 425408"/>
                  <a:gd name="connsiteX48" fmla="*/ 167522 w 184107"/>
                  <a:gd name="connsiteY48" fmla="*/ 204668 h 425408"/>
                  <a:gd name="connsiteX49" fmla="*/ 158174 w 184107"/>
                  <a:gd name="connsiteY49" fmla="*/ 207917 h 425408"/>
                  <a:gd name="connsiteX50" fmla="*/ 128822 w 184107"/>
                  <a:gd name="connsiteY50" fmla="*/ 217834 h 425408"/>
                  <a:gd name="connsiteX51" fmla="*/ 120330 w 184107"/>
                  <a:gd name="connsiteY51" fmla="*/ 223534 h 425408"/>
                  <a:gd name="connsiteX52" fmla="*/ 118392 w 184107"/>
                  <a:gd name="connsiteY52" fmla="*/ 233394 h 425408"/>
                  <a:gd name="connsiteX53" fmla="*/ 118107 w 184107"/>
                  <a:gd name="connsiteY53" fmla="*/ 260124 h 425408"/>
                  <a:gd name="connsiteX54" fmla="*/ 119247 w 184107"/>
                  <a:gd name="connsiteY54" fmla="*/ 270041 h 425408"/>
                  <a:gd name="connsiteX55" fmla="*/ 123921 w 184107"/>
                  <a:gd name="connsiteY55" fmla="*/ 277394 h 425408"/>
                  <a:gd name="connsiteX56" fmla="*/ 137257 w 184107"/>
                  <a:gd name="connsiteY56" fmla="*/ 294093 h 425408"/>
                  <a:gd name="connsiteX57" fmla="*/ 140848 w 184107"/>
                  <a:gd name="connsiteY57" fmla="*/ 300818 h 425408"/>
                  <a:gd name="connsiteX58" fmla="*/ 139594 w 184107"/>
                  <a:gd name="connsiteY58" fmla="*/ 307430 h 425408"/>
                  <a:gd name="connsiteX59" fmla="*/ 145578 w 184107"/>
                  <a:gd name="connsiteY59" fmla="*/ 363627 h 425408"/>
                  <a:gd name="connsiteX60" fmla="*/ 150081 w 184107"/>
                  <a:gd name="connsiteY60" fmla="*/ 372062 h 425408"/>
                  <a:gd name="connsiteX61" fmla="*/ 151563 w 184107"/>
                  <a:gd name="connsiteY61" fmla="*/ 381181 h 425408"/>
                  <a:gd name="connsiteX62" fmla="*/ 150879 w 184107"/>
                  <a:gd name="connsiteY62" fmla="*/ 407000 h 4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84107" h="425408">
                    <a:moveTo>
                      <a:pt x="150879" y="407000"/>
                    </a:moveTo>
                    <a:cubicBezTo>
                      <a:pt x="150537" y="413770"/>
                      <a:pt x="147972" y="420239"/>
                      <a:pt x="143584" y="425409"/>
                    </a:cubicBezTo>
                    <a:cubicBezTo>
                      <a:pt x="138568" y="423585"/>
                      <a:pt x="133382" y="420507"/>
                      <a:pt x="133667" y="415378"/>
                    </a:cubicBezTo>
                    <a:cubicBezTo>
                      <a:pt x="134122" y="407627"/>
                      <a:pt x="147232" y="404321"/>
                      <a:pt x="145977" y="396684"/>
                    </a:cubicBezTo>
                    <a:cubicBezTo>
                      <a:pt x="144895" y="390072"/>
                      <a:pt x="133496" y="387678"/>
                      <a:pt x="134579" y="381124"/>
                    </a:cubicBezTo>
                    <a:cubicBezTo>
                      <a:pt x="135035" y="378730"/>
                      <a:pt x="137257" y="376906"/>
                      <a:pt x="137314" y="374456"/>
                    </a:cubicBezTo>
                    <a:cubicBezTo>
                      <a:pt x="137314" y="369497"/>
                      <a:pt x="129734" y="369155"/>
                      <a:pt x="125915" y="365678"/>
                    </a:cubicBezTo>
                    <a:cubicBezTo>
                      <a:pt x="123978" y="363330"/>
                      <a:pt x="122895" y="360395"/>
                      <a:pt x="122895" y="357357"/>
                    </a:cubicBezTo>
                    <a:cubicBezTo>
                      <a:pt x="120501" y="338891"/>
                      <a:pt x="118164" y="320408"/>
                      <a:pt x="115827" y="301901"/>
                    </a:cubicBezTo>
                    <a:cubicBezTo>
                      <a:pt x="114915" y="298145"/>
                      <a:pt x="114231" y="294338"/>
                      <a:pt x="113776" y="290502"/>
                    </a:cubicBezTo>
                    <a:cubicBezTo>
                      <a:pt x="108076" y="289032"/>
                      <a:pt x="103630" y="284472"/>
                      <a:pt x="102377" y="278704"/>
                    </a:cubicBezTo>
                    <a:cubicBezTo>
                      <a:pt x="95309" y="289915"/>
                      <a:pt x="86475" y="299861"/>
                      <a:pt x="76102" y="308114"/>
                    </a:cubicBezTo>
                    <a:cubicBezTo>
                      <a:pt x="74449" y="309601"/>
                      <a:pt x="72511" y="310690"/>
                      <a:pt x="70402" y="311305"/>
                    </a:cubicBezTo>
                    <a:cubicBezTo>
                      <a:pt x="63221" y="313129"/>
                      <a:pt x="57351" y="304580"/>
                      <a:pt x="57408" y="297171"/>
                    </a:cubicBezTo>
                    <a:cubicBezTo>
                      <a:pt x="57465" y="289761"/>
                      <a:pt x="60770" y="282637"/>
                      <a:pt x="60770" y="275285"/>
                    </a:cubicBezTo>
                    <a:cubicBezTo>
                      <a:pt x="60770" y="260637"/>
                      <a:pt x="47719" y="248725"/>
                      <a:pt x="46750" y="234135"/>
                    </a:cubicBezTo>
                    <a:cubicBezTo>
                      <a:pt x="46807" y="230931"/>
                      <a:pt x="46579" y="227734"/>
                      <a:pt x="46180" y="224559"/>
                    </a:cubicBezTo>
                    <a:cubicBezTo>
                      <a:pt x="42760" y="209798"/>
                      <a:pt x="18936" y="208259"/>
                      <a:pt x="14491" y="193725"/>
                    </a:cubicBezTo>
                    <a:cubicBezTo>
                      <a:pt x="14280" y="190026"/>
                      <a:pt x="13471" y="186390"/>
                      <a:pt x="12097" y="182953"/>
                    </a:cubicBezTo>
                    <a:cubicBezTo>
                      <a:pt x="10273" y="180275"/>
                      <a:pt x="6910" y="178964"/>
                      <a:pt x="4915" y="176399"/>
                    </a:cubicBezTo>
                    <a:cubicBezTo>
                      <a:pt x="3263" y="173817"/>
                      <a:pt x="2300" y="170853"/>
                      <a:pt x="2123" y="167793"/>
                    </a:cubicBezTo>
                    <a:cubicBezTo>
                      <a:pt x="-522" y="154085"/>
                      <a:pt x="-698" y="140013"/>
                      <a:pt x="1610" y="126243"/>
                    </a:cubicBezTo>
                    <a:cubicBezTo>
                      <a:pt x="2750" y="125104"/>
                      <a:pt x="3947" y="124021"/>
                      <a:pt x="5144" y="122995"/>
                    </a:cubicBezTo>
                    <a:cubicBezTo>
                      <a:pt x="6950" y="121165"/>
                      <a:pt x="9127" y="119746"/>
                      <a:pt x="11527" y="118834"/>
                    </a:cubicBezTo>
                    <a:cubicBezTo>
                      <a:pt x="13801" y="118407"/>
                      <a:pt x="16115" y="118230"/>
                      <a:pt x="18423" y="118321"/>
                    </a:cubicBezTo>
                    <a:cubicBezTo>
                      <a:pt x="31703" y="117523"/>
                      <a:pt x="41221" y="104415"/>
                      <a:pt x="44755" y="91648"/>
                    </a:cubicBezTo>
                    <a:cubicBezTo>
                      <a:pt x="45610" y="87254"/>
                      <a:pt x="47263" y="83047"/>
                      <a:pt x="49599" y="79223"/>
                    </a:cubicBezTo>
                    <a:cubicBezTo>
                      <a:pt x="51480" y="76658"/>
                      <a:pt x="54216" y="74720"/>
                      <a:pt x="55926" y="72042"/>
                    </a:cubicBezTo>
                    <a:cubicBezTo>
                      <a:pt x="60371" y="65202"/>
                      <a:pt x="57693" y="54943"/>
                      <a:pt x="63050" y="49244"/>
                    </a:cubicBezTo>
                    <a:cubicBezTo>
                      <a:pt x="66983" y="44741"/>
                      <a:pt x="74791" y="42917"/>
                      <a:pt x="75247" y="36933"/>
                    </a:cubicBezTo>
                    <a:cubicBezTo>
                      <a:pt x="75247" y="34881"/>
                      <a:pt x="74563" y="32658"/>
                      <a:pt x="75247" y="30834"/>
                    </a:cubicBezTo>
                    <a:cubicBezTo>
                      <a:pt x="76444" y="29256"/>
                      <a:pt x="78211" y="28213"/>
                      <a:pt x="80206" y="27928"/>
                    </a:cubicBezTo>
                    <a:cubicBezTo>
                      <a:pt x="87501" y="25733"/>
                      <a:pt x="93941" y="21453"/>
                      <a:pt x="98843" y="15617"/>
                    </a:cubicBezTo>
                    <a:cubicBezTo>
                      <a:pt x="102662" y="11205"/>
                      <a:pt x="105169" y="5785"/>
                      <a:pt x="106024" y="0"/>
                    </a:cubicBezTo>
                    <a:cubicBezTo>
                      <a:pt x="127454" y="-62"/>
                      <a:pt x="144895" y="17264"/>
                      <a:pt x="144952" y="38700"/>
                    </a:cubicBezTo>
                    <a:cubicBezTo>
                      <a:pt x="144952" y="45693"/>
                      <a:pt x="143128" y="52566"/>
                      <a:pt x="139537" y="58591"/>
                    </a:cubicBezTo>
                    <a:cubicBezTo>
                      <a:pt x="136003" y="64632"/>
                      <a:pt x="130703" y="69990"/>
                      <a:pt x="129734" y="76886"/>
                    </a:cubicBezTo>
                    <a:cubicBezTo>
                      <a:pt x="129677" y="80363"/>
                      <a:pt x="129392" y="83834"/>
                      <a:pt x="128765" y="87259"/>
                    </a:cubicBezTo>
                    <a:cubicBezTo>
                      <a:pt x="126770" y="91044"/>
                      <a:pt x="124205" y="94503"/>
                      <a:pt x="121185" y="97518"/>
                    </a:cubicBezTo>
                    <a:cubicBezTo>
                      <a:pt x="118620" y="100995"/>
                      <a:pt x="117594" y="106580"/>
                      <a:pt x="121185" y="108917"/>
                    </a:cubicBezTo>
                    <a:cubicBezTo>
                      <a:pt x="123750" y="110855"/>
                      <a:pt x="127397" y="109943"/>
                      <a:pt x="130532" y="110513"/>
                    </a:cubicBezTo>
                    <a:cubicBezTo>
                      <a:pt x="142444" y="112565"/>
                      <a:pt x="141646" y="131088"/>
                      <a:pt x="150822" y="139010"/>
                    </a:cubicBezTo>
                    <a:cubicBezTo>
                      <a:pt x="152304" y="140207"/>
                      <a:pt x="153957" y="141176"/>
                      <a:pt x="155325" y="142487"/>
                    </a:cubicBezTo>
                    <a:cubicBezTo>
                      <a:pt x="156977" y="144351"/>
                      <a:pt x="158345" y="146494"/>
                      <a:pt x="159314" y="148813"/>
                    </a:cubicBezTo>
                    <a:lnTo>
                      <a:pt x="163760" y="158104"/>
                    </a:lnTo>
                    <a:cubicBezTo>
                      <a:pt x="167293" y="165513"/>
                      <a:pt x="171340" y="173435"/>
                      <a:pt x="178806" y="176855"/>
                    </a:cubicBezTo>
                    <a:cubicBezTo>
                      <a:pt x="180460" y="177579"/>
                      <a:pt x="182283" y="178006"/>
                      <a:pt x="184107" y="178109"/>
                    </a:cubicBezTo>
                    <a:cubicBezTo>
                      <a:pt x="182625" y="184390"/>
                      <a:pt x="180060" y="190351"/>
                      <a:pt x="176469" y="195720"/>
                    </a:cubicBezTo>
                    <a:cubicBezTo>
                      <a:pt x="174247" y="199374"/>
                      <a:pt x="171169" y="202440"/>
                      <a:pt x="167522" y="204668"/>
                    </a:cubicBezTo>
                    <a:cubicBezTo>
                      <a:pt x="164558" y="206122"/>
                      <a:pt x="161423" y="207210"/>
                      <a:pt x="158174" y="207917"/>
                    </a:cubicBezTo>
                    <a:cubicBezTo>
                      <a:pt x="148143" y="210527"/>
                      <a:pt x="138340" y="213839"/>
                      <a:pt x="128822" y="217834"/>
                    </a:cubicBezTo>
                    <a:cubicBezTo>
                      <a:pt x="125459" y="218820"/>
                      <a:pt x="122496" y="220809"/>
                      <a:pt x="120330" y="223534"/>
                    </a:cubicBezTo>
                    <a:cubicBezTo>
                      <a:pt x="118791" y="226571"/>
                      <a:pt x="118107" y="229991"/>
                      <a:pt x="118392" y="233394"/>
                    </a:cubicBezTo>
                    <a:cubicBezTo>
                      <a:pt x="118392" y="242285"/>
                      <a:pt x="118392" y="251233"/>
                      <a:pt x="118107" y="260124"/>
                    </a:cubicBezTo>
                    <a:cubicBezTo>
                      <a:pt x="117936" y="263470"/>
                      <a:pt x="118278" y="266827"/>
                      <a:pt x="119247" y="270041"/>
                    </a:cubicBezTo>
                    <a:cubicBezTo>
                      <a:pt x="120387" y="272720"/>
                      <a:pt x="121983" y="275205"/>
                      <a:pt x="123921" y="277394"/>
                    </a:cubicBezTo>
                    <a:lnTo>
                      <a:pt x="137257" y="294093"/>
                    </a:lnTo>
                    <a:cubicBezTo>
                      <a:pt x="139024" y="295985"/>
                      <a:pt x="140278" y="298305"/>
                      <a:pt x="140848" y="300818"/>
                    </a:cubicBezTo>
                    <a:cubicBezTo>
                      <a:pt x="140905" y="303087"/>
                      <a:pt x="140506" y="305344"/>
                      <a:pt x="139594" y="307430"/>
                    </a:cubicBezTo>
                    <a:cubicBezTo>
                      <a:pt x="133553" y="326170"/>
                      <a:pt x="135776" y="346574"/>
                      <a:pt x="145578" y="363627"/>
                    </a:cubicBezTo>
                    <a:cubicBezTo>
                      <a:pt x="147345" y="366294"/>
                      <a:pt x="148827" y="369115"/>
                      <a:pt x="150081" y="372062"/>
                    </a:cubicBezTo>
                    <a:cubicBezTo>
                      <a:pt x="150993" y="375014"/>
                      <a:pt x="151506" y="378086"/>
                      <a:pt x="151563" y="381181"/>
                    </a:cubicBezTo>
                    <a:cubicBezTo>
                      <a:pt x="152133" y="389793"/>
                      <a:pt x="151905" y="398433"/>
                      <a:pt x="150879" y="4070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64" name="Freihandform: Form 380">
                <a:extLst>
                  <a:ext uri="{FF2B5EF4-FFF2-40B4-BE49-F238E27FC236}">
                    <a16:creationId xmlns:a16="http://schemas.microsoft.com/office/drawing/2014/main" id="{C9F5A280-E1B9-592E-182F-37192D999A3D}"/>
                  </a:ext>
                </a:extLst>
              </p:cNvPr>
              <p:cNvSpPr/>
              <p:nvPr/>
            </p:nvSpPr>
            <p:spPr>
              <a:xfrm>
                <a:off x="5869051" y="3767553"/>
                <a:ext cx="175069" cy="339745"/>
              </a:xfrm>
              <a:custGeom>
                <a:avLst/>
                <a:gdLst>
                  <a:gd name="connsiteX0" fmla="*/ 109472 w 175069"/>
                  <a:gd name="connsiteY0" fmla="*/ 167393 h 339745"/>
                  <a:gd name="connsiteX1" fmla="*/ 98074 w 175069"/>
                  <a:gd name="connsiteY1" fmla="*/ 195093 h 339745"/>
                  <a:gd name="connsiteX2" fmla="*/ 92374 w 175069"/>
                  <a:gd name="connsiteY2" fmla="*/ 189394 h 339745"/>
                  <a:gd name="connsiteX3" fmla="*/ 74306 w 175069"/>
                  <a:gd name="connsiteY3" fmla="*/ 175430 h 339745"/>
                  <a:gd name="connsiteX4" fmla="*/ 52706 w 175069"/>
                  <a:gd name="connsiteY4" fmla="*/ 177767 h 339745"/>
                  <a:gd name="connsiteX5" fmla="*/ 47006 w 175069"/>
                  <a:gd name="connsiteY5" fmla="*/ 219202 h 339745"/>
                  <a:gd name="connsiteX6" fmla="*/ 41819 w 175069"/>
                  <a:gd name="connsiteY6" fmla="*/ 232196 h 339745"/>
                  <a:gd name="connsiteX7" fmla="*/ 37089 w 175069"/>
                  <a:gd name="connsiteY7" fmla="*/ 266393 h 339745"/>
                  <a:gd name="connsiteX8" fmla="*/ 52534 w 175069"/>
                  <a:gd name="connsiteY8" fmla="*/ 275455 h 339745"/>
                  <a:gd name="connsiteX9" fmla="*/ 52990 w 175069"/>
                  <a:gd name="connsiteY9" fmla="*/ 281155 h 339745"/>
                  <a:gd name="connsiteX10" fmla="*/ 59374 w 175069"/>
                  <a:gd name="connsiteY10" fmla="*/ 291756 h 339745"/>
                  <a:gd name="connsiteX11" fmla="*/ 60115 w 175069"/>
                  <a:gd name="connsiteY11" fmla="*/ 310108 h 339745"/>
                  <a:gd name="connsiteX12" fmla="*/ 67752 w 175069"/>
                  <a:gd name="connsiteY12" fmla="*/ 325440 h 339745"/>
                  <a:gd name="connsiteX13" fmla="*/ 75389 w 175069"/>
                  <a:gd name="connsiteY13" fmla="*/ 326181 h 339745"/>
                  <a:gd name="connsiteX14" fmla="*/ 82856 w 175069"/>
                  <a:gd name="connsiteY14" fmla="*/ 332507 h 339745"/>
                  <a:gd name="connsiteX15" fmla="*/ 87016 w 175069"/>
                  <a:gd name="connsiteY15" fmla="*/ 335642 h 339745"/>
                  <a:gd name="connsiteX16" fmla="*/ 71286 w 175069"/>
                  <a:gd name="connsiteY16" fmla="*/ 339746 h 339745"/>
                  <a:gd name="connsiteX17" fmla="*/ 64959 w 175069"/>
                  <a:gd name="connsiteY17" fmla="*/ 337808 h 339745"/>
                  <a:gd name="connsiteX18" fmla="*/ 53903 w 175069"/>
                  <a:gd name="connsiteY18" fmla="*/ 336383 h 339745"/>
                  <a:gd name="connsiteX19" fmla="*/ 51908 w 175069"/>
                  <a:gd name="connsiteY19" fmla="*/ 331652 h 339745"/>
                  <a:gd name="connsiteX20" fmla="*/ 36177 w 175069"/>
                  <a:gd name="connsiteY20" fmla="*/ 319057 h 339745"/>
                  <a:gd name="connsiteX21" fmla="*/ 32074 w 175069"/>
                  <a:gd name="connsiteY21" fmla="*/ 305891 h 339745"/>
                  <a:gd name="connsiteX22" fmla="*/ 20333 w 175069"/>
                  <a:gd name="connsiteY22" fmla="*/ 303212 h 339745"/>
                  <a:gd name="connsiteX23" fmla="*/ 9674 w 175069"/>
                  <a:gd name="connsiteY23" fmla="*/ 292098 h 339745"/>
                  <a:gd name="connsiteX24" fmla="*/ 8478 w 175069"/>
                  <a:gd name="connsiteY24" fmla="*/ 276140 h 339745"/>
                  <a:gd name="connsiteX25" fmla="*/ 15830 w 175069"/>
                  <a:gd name="connsiteY25" fmla="*/ 246844 h 339745"/>
                  <a:gd name="connsiteX26" fmla="*/ 27229 w 175069"/>
                  <a:gd name="connsiteY26" fmla="*/ 225813 h 339745"/>
                  <a:gd name="connsiteX27" fmla="*/ 25234 w 175069"/>
                  <a:gd name="connsiteY27" fmla="*/ 225129 h 339745"/>
                  <a:gd name="connsiteX28" fmla="*/ 32529 w 175069"/>
                  <a:gd name="connsiteY28" fmla="*/ 206720 h 339745"/>
                  <a:gd name="connsiteX29" fmla="*/ 33498 w 175069"/>
                  <a:gd name="connsiteY29" fmla="*/ 181129 h 339745"/>
                  <a:gd name="connsiteX30" fmla="*/ 32016 w 175069"/>
                  <a:gd name="connsiteY30" fmla="*/ 172010 h 339745"/>
                  <a:gd name="connsiteX31" fmla="*/ 27514 w 175069"/>
                  <a:gd name="connsiteY31" fmla="*/ 163575 h 339745"/>
                  <a:gd name="connsiteX32" fmla="*/ 21529 w 175069"/>
                  <a:gd name="connsiteY32" fmla="*/ 107378 h 339745"/>
                  <a:gd name="connsiteX33" fmla="*/ 22783 w 175069"/>
                  <a:gd name="connsiteY33" fmla="*/ 100767 h 339745"/>
                  <a:gd name="connsiteX34" fmla="*/ 19193 w 175069"/>
                  <a:gd name="connsiteY34" fmla="*/ 94041 h 339745"/>
                  <a:gd name="connsiteX35" fmla="*/ 5856 w 175069"/>
                  <a:gd name="connsiteY35" fmla="*/ 77342 h 339745"/>
                  <a:gd name="connsiteX36" fmla="*/ 1182 w 175069"/>
                  <a:gd name="connsiteY36" fmla="*/ 69990 h 339745"/>
                  <a:gd name="connsiteX37" fmla="*/ 42 w 175069"/>
                  <a:gd name="connsiteY37" fmla="*/ 60072 h 339745"/>
                  <a:gd name="connsiteX38" fmla="*/ 327 w 175069"/>
                  <a:gd name="connsiteY38" fmla="*/ 33342 h 339745"/>
                  <a:gd name="connsiteX39" fmla="*/ 2265 w 175069"/>
                  <a:gd name="connsiteY39" fmla="*/ 23482 h 339745"/>
                  <a:gd name="connsiteX40" fmla="*/ 10757 w 175069"/>
                  <a:gd name="connsiteY40" fmla="*/ 17782 h 339745"/>
                  <a:gd name="connsiteX41" fmla="*/ 40110 w 175069"/>
                  <a:gd name="connsiteY41" fmla="*/ 7865 h 339745"/>
                  <a:gd name="connsiteX42" fmla="*/ 49457 w 175069"/>
                  <a:gd name="connsiteY42" fmla="*/ 4617 h 339745"/>
                  <a:gd name="connsiteX43" fmla="*/ 55156 w 175069"/>
                  <a:gd name="connsiteY43" fmla="*/ 0 h 339745"/>
                  <a:gd name="connsiteX44" fmla="*/ 59203 w 175069"/>
                  <a:gd name="connsiteY44" fmla="*/ 13679 h 339745"/>
                  <a:gd name="connsiteX45" fmla="*/ 68550 w 175069"/>
                  <a:gd name="connsiteY45" fmla="*/ 25534 h 339745"/>
                  <a:gd name="connsiteX46" fmla="*/ 75560 w 175069"/>
                  <a:gd name="connsiteY46" fmla="*/ 26731 h 339745"/>
                  <a:gd name="connsiteX47" fmla="*/ 76472 w 175069"/>
                  <a:gd name="connsiteY47" fmla="*/ 30435 h 339745"/>
                  <a:gd name="connsiteX48" fmla="*/ 72939 w 175069"/>
                  <a:gd name="connsiteY48" fmla="*/ 73352 h 339745"/>
                  <a:gd name="connsiteX49" fmla="*/ 86845 w 175069"/>
                  <a:gd name="connsiteY49" fmla="*/ 60984 h 339745"/>
                  <a:gd name="connsiteX50" fmla="*/ 102006 w 175069"/>
                  <a:gd name="connsiteY50" fmla="*/ 62979 h 339745"/>
                  <a:gd name="connsiteX51" fmla="*/ 102804 w 175069"/>
                  <a:gd name="connsiteY51" fmla="*/ 54658 h 339745"/>
                  <a:gd name="connsiteX52" fmla="*/ 115628 w 175069"/>
                  <a:gd name="connsiteY52" fmla="*/ 60357 h 339745"/>
                  <a:gd name="connsiteX53" fmla="*/ 118933 w 175069"/>
                  <a:gd name="connsiteY53" fmla="*/ 57850 h 339745"/>
                  <a:gd name="connsiteX54" fmla="*/ 136715 w 175069"/>
                  <a:gd name="connsiteY54" fmla="*/ 53917 h 339745"/>
                  <a:gd name="connsiteX55" fmla="*/ 152617 w 175069"/>
                  <a:gd name="connsiteY55" fmla="*/ 69249 h 339745"/>
                  <a:gd name="connsiteX56" fmla="*/ 152617 w 175069"/>
                  <a:gd name="connsiteY56" fmla="*/ 77684 h 339745"/>
                  <a:gd name="connsiteX57" fmla="*/ 160084 w 175069"/>
                  <a:gd name="connsiteY57" fmla="*/ 92445 h 339745"/>
                  <a:gd name="connsiteX58" fmla="*/ 159742 w 175069"/>
                  <a:gd name="connsiteY58" fmla="*/ 98145 h 339745"/>
                  <a:gd name="connsiteX59" fmla="*/ 162021 w 175069"/>
                  <a:gd name="connsiteY59" fmla="*/ 102704 h 339745"/>
                  <a:gd name="connsiteX60" fmla="*/ 174275 w 175069"/>
                  <a:gd name="connsiteY60" fmla="*/ 123223 h 339745"/>
                  <a:gd name="connsiteX61" fmla="*/ 166581 w 175069"/>
                  <a:gd name="connsiteY61" fmla="*/ 143741 h 339745"/>
                  <a:gd name="connsiteX62" fmla="*/ 147602 w 175069"/>
                  <a:gd name="connsiteY62" fmla="*/ 143456 h 339745"/>
                  <a:gd name="connsiteX63" fmla="*/ 128907 w 175069"/>
                  <a:gd name="connsiteY63" fmla="*/ 148243 h 339745"/>
                  <a:gd name="connsiteX64" fmla="*/ 117508 w 175069"/>
                  <a:gd name="connsiteY64" fmla="*/ 154513 h 339745"/>
                  <a:gd name="connsiteX65" fmla="*/ 109472 w 175069"/>
                  <a:gd name="connsiteY65" fmla="*/ 167393 h 33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5069" h="339745">
                    <a:moveTo>
                      <a:pt x="109472" y="167393"/>
                    </a:moveTo>
                    <a:cubicBezTo>
                      <a:pt x="105368" y="176513"/>
                      <a:pt x="101322" y="185689"/>
                      <a:pt x="98074" y="195093"/>
                    </a:cubicBezTo>
                    <a:lnTo>
                      <a:pt x="92374" y="189394"/>
                    </a:lnTo>
                    <a:cubicBezTo>
                      <a:pt x="87301" y="183614"/>
                      <a:pt x="81203" y="178872"/>
                      <a:pt x="74306" y="175430"/>
                    </a:cubicBezTo>
                    <a:cubicBezTo>
                      <a:pt x="67239" y="171976"/>
                      <a:pt x="58861" y="172888"/>
                      <a:pt x="52706" y="177767"/>
                    </a:cubicBezTo>
                    <a:cubicBezTo>
                      <a:pt x="42161" y="187513"/>
                      <a:pt x="50084" y="205238"/>
                      <a:pt x="47006" y="219202"/>
                    </a:cubicBezTo>
                    <a:cubicBezTo>
                      <a:pt x="45638" y="223670"/>
                      <a:pt x="43928" y="228019"/>
                      <a:pt x="41819" y="232196"/>
                    </a:cubicBezTo>
                    <a:cubicBezTo>
                      <a:pt x="37260" y="242986"/>
                      <a:pt x="35664" y="254778"/>
                      <a:pt x="37089" y="266393"/>
                    </a:cubicBezTo>
                    <a:cubicBezTo>
                      <a:pt x="37830" y="272435"/>
                      <a:pt x="50426" y="269699"/>
                      <a:pt x="52534" y="275455"/>
                    </a:cubicBezTo>
                    <a:cubicBezTo>
                      <a:pt x="52876" y="277336"/>
                      <a:pt x="53048" y="279246"/>
                      <a:pt x="52990" y="281155"/>
                    </a:cubicBezTo>
                    <a:cubicBezTo>
                      <a:pt x="53560" y="285259"/>
                      <a:pt x="57436" y="288051"/>
                      <a:pt x="59374" y="291756"/>
                    </a:cubicBezTo>
                    <a:cubicBezTo>
                      <a:pt x="62224" y="297456"/>
                      <a:pt x="60571" y="303896"/>
                      <a:pt x="60115" y="310108"/>
                    </a:cubicBezTo>
                    <a:cubicBezTo>
                      <a:pt x="59659" y="316321"/>
                      <a:pt x="61711" y="323958"/>
                      <a:pt x="67752" y="325440"/>
                    </a:cubicBezTo>
                    <a:cubicBezTo>
                      <a:pt x="70260" y="326067"/>
                      <a:pt x="72939" y="325440"/>
                      <a:pt x="75389" y="326181"/>
                    </a:cubicBezTo>
                    <a:cubicBezTo>
                      <a:pt x="78353" y="327680"/>
                      <a:pt x="80918" y="329846"/>
                      <a:pt x="82856" y="332507"/>
                    </a:cubicBezTo>
                    <a:cubicBezTo>
                      <a:pt x="84109" y="333693"/>
                      <a:pt x="85534" y="334747"/>
                      <a:pt x="87016" y="335642"/>
                    </a:cubicBezTo>
                    <a:cubicBezTo>
                      <a:pt x="82229" y="338321"/>
                      <a:pt x="76814" y="339734"/>
                      <a:pt x="71286" y="339746"/>
                    </a:cubicBezTo>
                    <a:cubicBezTo>
                      <a:pt x="69120" y="339267"/>
                      <a:pt x="67011" y="338617"/>
                      <a:pt x="64959" y="337808"/>
                    </a:cubicBezTo>
                    <a:cubicBezTo>
                      <a:pt x="61369" y="336793"/>
                      <a:pt x="57664" y="336314"/>
                      <a:pt x="53903" y="336383"/>
                    </a:cubicBezTo>
                    <a:cubicBezTo>
                      <a:pt x="53503" y="334702"/>
                      <a:pt x="52819" y="333106"/>
                      <a:pt x="51908" y="331652"/>
                    </a:cubicBezTo>
                    <a:cubicBezTo>
                      <a:pt x="47975" y="325953"/>
                      <a:pt x="39141" y="325212"/>
                      <a:pt x="36177" y="319057"/>
                    </a:cubicBezTo>
                    <a:cubicBezTo>
                      <a:pt x="34125" y="314839"/>
                      <a:pt x="35493" y="309082"/>
                      <a:pt x="32074" y="305891"/>
                    </a:cubicBezTo>
                    <a:cubicBezTo>
                      <a:pt x="28654" y="302699"/>
                      <a:pt x="24322" y="304124"/>
                      <a:pt x="20333" y="303212"/>
                    </a:cubicBezTo>
                    <a:cubicBezTo>
                      <a:pt x="15089" y="301610"/>
                      <a:pt x="11042" y="297404"/>
                      <a:pt x="9674" y="292098"/>
                    </a:cubicBezTo>
                    <a:cubicBezTo>
                      <a:pt x="8364" y="286889"/>
                      <a:pt x="7907" y="281486"/>
                      <a:pt x="8478" y="276140"/>
                    </a:cubicBezTo>
                    <a:cubicBezTo>
                      <a:pt x="8990" y="265937"/>
                      <a:pt x="9788" y="255051"/>
                      <a:pt x="15830" y="246844"/>
                    </a:cubicBezTo>
                    <a:cubicBezTo>
                      <a:pt x="20788" y="240119"/>
                      <a:pt x="29338" y="233792"/>
                      <a:pt x="27229" y="225813"/>
                    </a:cubicBezTo>
                    <a:lnTo>
                      <a:pt x="25234" y="225129"/>
                    </a:lnTo>
                    <a:cubicBezTo>
                      <a:pt x="29622" y="219960"/>
                      <a:pt x="32187" y="213491"/>
                      <a:pt x="32529" y="206720"/>
                    </a:cubicBezTo>
                    <a:cubicBezTo>
                      <a:pt x="33612" y="198233"/>
                      <a:pt x="33954" y="189673"/>
                      <a:pt x="33498" y="181129"/>
                    </a:cubicBezTo>
                    <a:cubicBezTo>
                      <a:pt x="33441" y="178034"/>
                      <a:pt x="32928" y="174962"/>
                      <a:pt x="32016" y="172010"/>
                    </a:cubicBezTo>
                    <a:cubicBezTo>
                      <a:pt x="30762" y="169063"/>
                      <a:pt x="29280" y="166242"/>
                      <a:pt x="27514" y="163575"/>
                    </a:cubicBezTo>
                    <a:cubicBezTo>
                      <a:pt x="17711" y="146522"/>
                      <a:pt x="15488" y="126118"/>
                      <a:pt x="21529" y="107378"/>
                    </a:cubicBezTo>
                    <a:cubicBezTo>
                      <a:pt x="22441" y="105292"/>
                      <a:pt x="22840" y="103035"/>
                      <a:pt x="22783" y="100767"/>
                    </a:cubicBezTo>
                    <a:cubicBezTo>
                      <a:pt x="22213" y="98253"/>
                      <a:pt x="20959" y="95934"/>
                      <a:pt x="19193" y="94041"/>
                    </a:cubicBezTo>
                    <a:lnTo>
                      <a:pt x="5856" y="77342"/>
                    </a:lnTo>
                    <a:cubicBezTo>
                      <a:pt x="3918" y="75153"/>
                      <a:pt x="2322" y="72668"/>
                      <a:pt x="1182" y="69990"/>
                    </a:cubicBezTo>
                    <a:cubicBezTo>
                      <a:pt x="213" y="66775"/>
                      <a:pt x="-129" y="63418"/>
                      <a:pt x="42" y="60072"/>
                    </a:cubicBezTo>
                    <a:cubicBezTo>
                      <a:pt x="42" y="51181"/>
                      <a:pt x="42" y="42233"/>
                      <a:pt x="327" y="33342"/>
                    </a:cubicBezTo>
                    <a:cubicBezTo>
                      <a:pt x="42" y="29939"/>
                      <a:pt x="726" y="26520"/>
                      <a:pt x="2265" y="23482"/>
                    </a:cubicBezTo>
                    <a:cubicBezTo>
                      <a:pt x="4431" y="20757"/>
                      <a:pt x="7395" y="18768"/>
                      <a:pt x="10757" y="17782"/>
                    </a:cubicBezTo>
                    <a:cubicBezTo>
                      <a:pt x="20276" y="13787"/>
                      <a:pt x="30078" y="10476"/>
                      <a:pt x="40110" y="7865"/>
                    </a:cubicBezTo>
                    <a:cubicBezTo>
                      <a:pt x="43358" y="7159"/>
                      <a:pt x="46493" y="6070"/>
                      <a:pt x="49457" y="4617"/>
                    </a:cubicBezTo>
                    <a:cubicBezTo>
                      <a:pt x="51566" y="3397"/>
                      <a:pt x="53503" y="1835"/>
                      <a:pt x="55156" y="0"/>
                    </a:cubicBezTo>
                    <a:cubicBezTo>
                      <a:pt x="57436" y="4223"/>
                      <a:pt x="58804" y="8885"/>
                      <a:pt x="59203" y="13679"/>
                    </a:cubicBezTo>
                    <a:cubicBezTo>
                      <a:pt x="60172" y="18979"/>
                      <a:pt x="63193" y="25078"/>
                      <a:pt x="68550" y="25534"/>
                    </a:cubicBezTo>
                    <a:cubicBezTo>
                      <a:pt x="71001" y="25534"/>
                      <a:pt x="73964" y="24907"/>
                      <a:pt x="75560" y="26731"/>
                    </a:cubicBezTo>
                    <a:cubicBezTo>
                      <a:pt x="76301" y="27825"/>
                      <a:pt x="76586" y="29130"/>
                      <a:pt x="76472" y="30435"/>
                    </a:cubicBezTo>
                    <a:cubicBezTo>
                      <a:pt x="76814" y="44826"/>
                      <a:pt x="75617" y="59212"/>
                      <a:pt x="72939" y="73352"/>
                    </a:cubicBezTo>
                    <a:cubicBezTo>
                      <a:pt x="80177" y="73774"/>
                      <a:pt x="86389" y="68240"/>
                      <a:pt x="86845" y="60984"/>
                    </a:cubicBezTo>
                    <a:lnTo>
                      <a:pt x="102006" y="62979"/>
                    </a:lnTo>
                    <a:cubicBezTo>
                      <a:pt x="102006" y="60186"/>
                      <a:pt x="102519" y="57280"/>
                      <a:pt x="102804" y="54658"/>
                    </a:cubicBezTo>
                    <a:cubicBezTo>
                      <a:pt x="107705" y="54658"/>
                      <a:pt x="110954" y="62124"/>
                      <a:pt x="115628" y="60357"/>
                    </a:cubicBezTo>
                    <a:cubicBezTo>
                      <a:pt x="116881" y="59765"/>
                      <a:pt x="118022" y="58910"/>
                      <a:pt x="118933" y="57850"/>
                    </a:cubicBezTo>
                    <a:cubicBezTo>
                      <a:pt x="123721" y="53461"/>
                      <a:pt x="130503" y="51962"/>
                      <a:pt x="136715" y="53917"/>
                    </a:cubicBezTo>
                    <a:cubicBezTo>
                      <a:pt x="137399" y="61554"/>
                      <a:pt x="150451" y="61896"/>
                      <a:pt x="152617" y="69249"/>
                    </a:cubicBezTo>
                    <a:cubicBezTo>
                      <a:pt x="152788" y="72058"/>
                      <a:pt x="152788" y="74874"/>
                      <a:pt x="152617" y="77684"/>
                    </a:cubicBezTo>
                    <a:cubicBezTo>
                      <a:pt x="153529" y="83383"/>
                      <a:pt x="159799" y="86860"/>
                      <a:pt x="160084" y="92445"/>
                    </a:cubicBezTo>
                    <a:cubicBezTo>
                      <a:pt x="160084" y="94383"/>
                      <a:pt x="159456" y="96378"/>
                      <a:pt x="159742" y="98145"/>
                    </a:cubicBezTo>
                    <a:cubicBezTo>
                      <a:pt x="160141" y="99826"/>
                      <a:pt x="160881" y="101388"/>
                      <a:pt x="162021" y="102704"/>
                    </a:cubicBezTo>
                    <a:cubicBezTo>
                      <a:pt x="167208" y="108803"/>
                      <a:pt x="171369" y="115745"/>
                      <a:pt x="174275" y="123223"/>
                    </a:cubicBezTo>
                    <a:cubicBezTo>
                      <a:pt x="176441" y="130917"/>
                      <a:pt x="174275" y="140720"/>
                      <a:pt x="166581" y="143741"/>
                    </a:cubicBezTo>
                    <a:cubicBezTo>
                      <a:pt x="160881" y="146191"/>
                      <a:pt x="153985" y="143741"/>
                      <a:pt x="147602" y="143456"/>
                    </a:cubicBezTo>
                    <a:cubicBezTo>
                      <a:pt x="141104" y="143741"/>
                      <a:pt x="134721" y="145371"/>
                      <a:pt x="128907" y="148243"/>
                    </a:cubicBezTo>
                    <a:cubicBezTo>
                      <a:pt x="124747" y="149611"/>
                      <a:pt x="120871" y="151737"/>
                      <a:pt x="117508" y="154513"/>
                    </a:cubicBezTo>
                    <a:cubicBezTo>
                      <a:pt x="113975" y="158200"/>
                      <a:pt x="111239" y="162589"/>
                      <a:pt x="109472" y="167393"/>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5" name="Freihandform: Form 381">
                <a:extLst>
                  <a:ext uri="{FF2B5EF4-FFF2-40B4-BE49-F238E27FC236}">
                    <a16:creationId xmlns:a16="http://schemas.microsoft.com/office/drawing/2014/main" id="{7F34BF81-BB96-782D-CC23-49F75548A71C}"/>
                  </a:ext>
                </a:extLst>
              </p:cNvPr>
              <p:cNvSpPr/>
              <p:nvPr/>
            </p:nvSpPr>
            <p:spPr>
              <a:xfrm>
                <a:off x="5966953" y="3910610"/>
                <a:ext cx="127257" cy="105896"/>
              </a:xfrm>
              <a:custGeom>
                <a:avLst/>
                <a:gdLst>
                  <a:gd name="connsiteX0" fmla="*/ 54772 w 127257"/>
                  <a:gd name="connsiteY0" fmla="*/ 105497 h 105896"/>
                  <a:gd name="connsiteX1" fmla="*/ 54202 w 127257"/>
                  <a:gd name="connsiteY1" fmla="*/ 105896 h 105896"/>
                  <a:gd name="connsiteX2" fmla="*/ 55854 w 127257"/>
                  <a:gd name="connsiteY2" fmla="*/ 100653 h 105896"/>
                  <a:gd name="connsiteX3" fmla="*/ 33627 w 127257"/>
                  <a:gd name="connsiteY3" fmla="*/ 96834 h 105896"/>
                  <a:gd name="connsiteX4" fmla="*/ 32943 w 127257"/>
                  <a:gd name="connsiteY4" fmla="*/ 87487 h 105896"/>
                  <a:gd name="connsiteX5" fmla="*/ 18751 w 127257"/>
                  <a:gd name="connsiteY5" fmla="*/ 83725 h 105896"/>
                  <a:gd name="connsiteX6" fmla="*/ 3362 w 127257"/>
                  <a:gd name="connsiteY6" fmla="*/ 55228 h 105896"/>
                  <a:gd name="connsiteX7" fmla="*/ 0 w 127257"/>
                  <a:gd name="connsiteY7" fmla="*/ 51922 h 105896"/>
                  <a:gd name="connsiteX8" fmla="*/ 11399 w 127257"/>
                  <a:gd name="connsiteY8" fmla="*/ 24223 h 105896"/>
                  <a:gd name="connsiteX9" fmla="*/ 19207 w 127257"/>
                  <a:gd name="connsiteY9" fmla="*/ 11684 h 105896"/>
                  <a:gd name="connsiteX10" fmla="*/ 30606 w 127257"/>
                  <a:gd name="connsiteY10" fmla="*/ 5414 h 105896"/>
                  <a:gd name="connsiteX11" fmla="*/ 49301 w 127257"/>
                  <a:gd name="connsiteY11" fmla="*/ 627 h 105896"/>
                  <a:gd name="connsiteX12" fmla="*/ 68280 w 127257"/>
                  <a:gd name="connsiteY12" fmla="*/ 912 h 105896"/>
                  <a:gd name="connsiteX13" fmla="*/ 69933 w 127257"/>
                  <a:gd name="connsiteY13" fmla="*/ 0 h 105896"/>
                  <a:gd name="connsiteX14" fmla="*/ 72156 w 127257"/>
                  <a:gd name="connsiteY14" fmla="*/ 855 h 105896"/>
                  <a:gd name="connsiteX15" fmla="*/ 86347 w 127257"/>
                  <a:gd name="connsiteY15" fmla="*/ 16016 h 105896"/>
                  <a:gd name="connsiteX16" fmla="*/ 104357 w 127257"/>
                  <a:gd name="connsiteY16" fmla="*/ 5928 h 105896"/>
                  <a:gd name="connsiteX17" fmla="*/ 109430 w 127257"/>
                  <a:gd name="connsiteY17" fmla="*/ 6554 h 105896"/>
                  <a:gd name="connsiteX18" fmla="*/ 112451 w 127257"/>
                  <a:gd name="connsiteY18" fmla="*/ 9575 h 105896"/>
                  <a:gd name="connsiteX19" fmla="*/ 122937 w 127257"/>
                  <a:gd name="connsiteY19" fmla="*/ 23824 h 105896"/>
                  <a:gd name="connsiteX20" fmla="*/ 127098 w 127257"/>
                  <a:gd name="connsiteY20" fmla="*/ 36477 h 105896"/>
                  <a:gd name="connsiteX21" fmla="*/ 110854 w 127257"/>
                  <a:gd name="connsiteY21" fmla="*/ 51067 h 105896"/>
                  <a:gd name="connsiteX22" fmla="*/ 109031 w 127257"/>
                  <a:gd name="connsiteY22" fmla="*/ 63948 h 105896"/>
                  <a:gd name="connsiteX23" fmla="*/ 96150 w 127257"/>
                  <a:gd name="connsiteY23" fmla="*/ 66228 h 105896"/>
                  <a:gd name="connsiteX24" fmla="*/ 87487 w 127257"/>
                  <a:gd name="connsiteY24" fmla="*/ 73580 h 105896"/>
                  <a:gd name="connsiteX25" fmla="*/ 91990 w 127257"/>
                  <a:gd name="connsiteY25" fmla="*/ 77741 h 105896"/>
                  <a:gd name="connsiteX26" fmla="*/ 92958 w 127257"/>
                  <a:gd name="connsiteY26" fmla="*/ 85036 h 105896"/>
                  <a:gd name="connsiteX27" fmla="*/ 83155 w 127257"/>
                  <a:gd name="connsiteY27" fmla="*/ 87715 h 105896"/>
                  <a:gd name="connsiteX28" fmla="*/ 75119 w 127257"/>
                  <a:gd name="connsiteY28" fmla="*/ 92844 h 105896"/>
                  <a:gd name="connsiteX29" fmla="*/ 75119 w 127257"/>
                  <a:gd name="connsiteY29" fmla="*/ 95865 h 105896"/>
                  <a:gd name="connsiteX30" fmla="*/ 68678 w 127257"/>
                  <a:gd name="connsiteY30" fmla="*/ 97176 h 105896"/>
                  <a:gd name="connsiteX31" fmla="*/ 54772 w 127257"/>
                  <a:gd name="connsiteY31" fmla="*/ 105497 h 10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7257" h="105896">
                    <a:moveTo>
                      <a:pt x="54772" y="105497"/>
                    </a:moveTo>
                    <a:lnTo>
                      <a:pt x="54202" y="105896"/>
                    </a:lnTo>
                    <a:cubicBezTo>
                      <a:pt x="53176" y="103502"/>
                      <a:pt x="53347" y="101109"/>
                      <a:pt x="55854" y="100653"/>
                    </a:cubicBezTo>
                    <a:cubicBezTo>
                      <a:pt x="48674" y="98270"/>
                      <a:pt x="41207" y="96982"/>
                      <a:pt x="33627" y="96834"/>
                    </a:cubicBezTo>
                    <a:lnTo>
                      <a:pt x="32943" y="87487"/>
                    </a:lnTo>
                    <a:lnTo>
                      <a:pt x="18751" y="83725"/>
                    </a:lnTo>
                    <a:cubicBezTo>
                      <a:pt x="19663" y="72668"/>
                      <a:pt x="11228" y="63264"/>
                      <a:pt x="3362" y="55228"/>
                    </a:cubicBezTo>
                    <a:lnTo>
                      <a:pt x="0" y="51922"/>
                    </a:lnTo>
                    <a:cubicBezTo>
                      <a:pt x="3420" y="42518"/>
                      <a:pt x="7466" y="33342"/>
                      <a:pt x="11399" y="24223"/>
                    </a:cubicBezTo>
                    <a:cubicBezTo>
                      <a:pt x="13108" y="19555"/>
                      <a:pt x="15788" y="15292"/>
                      <a:pt x="19207" y="11684"/>
                    </a:cubicBezTo>
                    <a:cubicBezTo>
                      <a:pt x="22570" y="8908"/>
                      <a:pt x="26446" y="6782"/>
                      <a:pt x="30606" y="5414"/>
                    </a:cubicBezTo>
                    <a:cubicBezTo>
                      <a:pt x="36420" y="2542"/>
                      <a:pt x="42803" y="912"/>
                      <a:pt x="49301" y="627"/>
                    </a:cubicBezTo>
                    <a:cubicBezTo>
                      <a:pt x="55684" y="627"/>
                      <a:pt x="62352" y="3363"/>
                      <a:pt x="68280" y="912"/>
                    </a:cubicBezTo>
                    <a:cubicBezTo>
                      <a:pt x="68849" y="678"/>
                      <a:pt x="69419" y="370"/>
                      <a:pt x="69933" y="0"/>
                    </a:cubicBezTo>
                    <a:cubicBezTo>
                      <a:pt x="70674" y="211"/>
                      <a:pt x="71472" y="496"/>
                      <a:pt x="72156" y="855"/>
                    </a:cubicBezTo>
                    <a:cubicBezTo>
                      <a:pt x="78425" y="4275"/>
                      <a:pt x="79337" y="14876"/>
                      <a:pt x="86347" y="16016"/>
                    </a:cubicBezTo>
                    <a:cubicBezTo>
                      <a:pt x="87430" y="8606"/>
                      <a:pt x="96891" y="6383"/>
                      <a:pt x="104357" y="5928"/>
                    </a:cubicBezTo>
                    <a:cubicBezTo>
                      <a:pt x="106067" y="5671"/>
                      <a:pt x="107834" y="5887"/>
                      <a:pt x="109430" y="6554"/>
                    </a:cubicBezTo>
                    <a:cubicBezTo>
                      <a:pt x="110627" y="7335"/>
                      <a:pt x="111652" y="8367"/>
                      <a:pt x="112451" y="9575"/>
                    </a:cubicBezTo>
                    <a:cubicBezTo>
                      <a:pt x="115927" y="14363"/>
                      <a:pt x="119404" y="19093"/>
                      <a:pt x="122937" y="23824"/>
                    </a:cubicBezTo>
                    <a:cubicBezTo>
                      <a:pt x="126243" y="27158"/>
                      <a:pt x="127782" y="31843"/>
                      <a:pt x="127098" y="36477"/>
                    </a:cubicBezTo>
                    <a:cubicBezTo>
                      <a:pt x="124762" y="43544"/>
                      <a:pt x="113363" y="44057"/>
                      <a:pt x="110854" y="51067"/>
                    </a:cubicBezTo>
                    <a:cubicBezTo>
                      <a:pt x="109430" y="55228"/>
                      <a:pt x="111710" y="60471"/>
                      <a:pt x="109031" y="63948"/>
                    </a:cubicBezTo>
                    <a:cubicBezTo>
                      <a:pt x="106352" y="67425"/>
                      <a:pt x="100710" y="66513"/>
                      <a:pt x="96150" y="66228"/>
                    </a:cubicBezTo>
                    <a:cubicBezTo>
                      <a:pt x="91590" y="65943"/>
                      <a:pt x="85549" y="69477"/>
                      <a:pt x="87487" y="73580"/>
                    </a:cubicBezTo>
                    <a:cubicBezTo>
                      <a:pt x="88399" y="75404"/>
                      <a:pt x="90565" y="76259"/>
                      <a:pt x="91990" y="77741"/>
                    </a:cubicBezTo>
                    <a:cubicBezTo>
                      <a:pt x="93813" y="79724"/>
                      <a:pt x="94212" y="82642"/>
                      <a:pt x="92958" y="85036"/>
                    </a:cubicBezTo>
                    <a:cubicBezTo>
                      <a:pt x="91020" y="88000"/>
                      <a:pt x="86689" y="87772"/>
                      <a:pt x="83155" y="87715"/>
                    </a:cubicBezTo>
                    <a:cubicBezTo>
                      <a:pt x="79621" y="87658"/>
                      <a:pt x="75005" y="89311"/>
                      <a:pt x="75119" y="92844"/>
                    </a:cubicBezTo>
                    <a:cubicBezTo>
                      <a:pt x="75290" y="93842"/>
                      <a:pt x="75290" y="94868"/>
                      <a:pt x="75119" y="95865"/>
                    </a:cubicBezTo>
                    <a:cubicBezTo>
                      <a:pt x="74378" y="98145"/>
                      <a:pt x="71072" y="97404"/>
                      <a:pt x="68678" y="97176"/>
                    </a:cubicBezTo>
                    <a:cubicBezTo>
                      <a:pt x="63321" y="96777"/>
                      <a:pt x="59218" y="101850"/>
                      <a:pt x="54772" y="10549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6" name="Freihandform: Form 382">
                <a:extLst>
                  <a:ext uri="{FF2B5EF4-FFF2-40B4-BE49-F238E27FC236}">
                    <a16:creationId xmlns:a16="http://schemas.microsoft.com/office/drawing/2014/main" id="{948AAEC6-0A1B-C085-0A1B-C8FE3B172401}"/>
                  </a:ext>
                </a:extLst>
              </p:cNvPr>
              <p:cNvSpPr/>
              <p:nvPr/>
            </p:nvSpPr>
            <p:spPr>
              <a:xfrm>
                <a:off x="5923979" y="3717398"/>
                <a:ext cx="165854" cy="209341"/>
              </a:xfrm>
              <a:custGeom>
                <a:avLst/>
                <a:gdLst>
                  <a:gd name="connsiteX0" fmla="*/ 160440 w 165854"/>
                  <a:gd name="connsiteY0" fmla="*/ 197259 h 209341"/>
                  <a:gd name="connsiteX1" fmla="*/ 159187 w 165854"/>
                  <a:gd name="connsiteY1" fmla="*/ 207746 h 209341"/>
                  <a:gd name="connsiteX2" fmla="*/ 155596 w 165854"/>
                  <a:gd name="connsiteY2" fmla="*/ 202901 h 209341"/>
                  <a:gd name="connsiteX3" fmla="*/ 152575 w 165854"/>
                  <a:gd name="connsiteY3" fmla="*/ 199880 h 209341"/>
                  <a:gd name="connsiteX4" fmla="*/ 147502 w 165854"/>
                  <a:gd name="connsiteY4" fmla="*/ 199254 h 209341"/>
                  <a:gd name="connsiteX5" fmla="*/ 129492 w 165854"/>
                  <a:gd name="connsiteY5" fmla="*/ 209342 h 209341"/>
                  <a:gd name="connsiteX6" fmla="*/ 115300 w 165854"/>
                  <a:gd name="connsiteY6" fmla="*/ 194181 h 209341"/>
                  <a:gd name="connsiteX7" fmla="*/ 113077 w 165854"/>
                  <a:gd name="connsiteY7" fmla="*/ 193326 h 209341"/>
                  <a:gd name="connsiteX8" fmla="*/ 119119 w 165854"/>
                  <a:gd name="connsiteY8" fmla="*/ 173720 h 209341"/>
                  <a:gd name="connsiteX9" fmla="*/ 106865 w 165854"/>
                  <a:gd name="connsiteY9" fmla="*/ 153202 h 209341"/>
                  <a:gd name="connsiteX10" fmla="*/ 104585 w 165854"/>
                  <a:gd name="connsiteY10" fmla="*/ 148642 h 209341"/>
                  <a:gd name="connsiteX11" fmla="*/ 104928 w 165854"/>
                  <a:gd name="connsiteY11" fmla="*/ 142943 h 209341"/>
                  <a:gd name="connsiteX12" fmla="*/ 97461 w 165854"/>
                  <a:gd name="connsiteY12" fmla="*/ 128181 h 209341"/>
                  <a:gd name="connsiteX13" fmla="*/ 97461 w 165854"/>
                  <a:gd name="connsiteY13" fmla="*/ 119746 h 209341"/>
                  <a:gd name="connsiteX14" fmla="*/ 81560 w 165854"/>
                  <a:gd name="connsiteY14" fmla="*/ 104414 h 209341"/>
                  <a:gd name="connsiteX15" fmla="*/ 63777 w 165854"/>
                  <a:gd name="connsiteY15" fmla="*/ 108347 h 209341"/>
                  <a:gd name="connsiteX16" fmla="*/ 60471 w 165854"/>
                  <a:gd name="connsiteY16" fmla="*/ 110855 h 209341"/>
                  <a:gd name="connsiteX17" fmla="*/ 47648 w 165854"/>
                  <a:gd name="connsiteY17" fmla="*/ 105155 h 209341"/>
                  <a:gd name="connsiteX18" fmla="*/ 46850 w 165854"/>
                  <a:gd name="connsiteY18" fmla="*/ 113477 h 209341"/>
                  <a:gd name="connsiteX19" fmla="*/ 31689 w 165854"/>
                  <a:gd name="connsiteY19" fmla="*/ 111482 h 209341"/>
                  <a:gd name="connsiteX20" fmla="*/ 17782 w 165854"/>
                  <a:gd name="connsiteY20" fmla="*/ 123849 h 209341"/>
                  <a:gd name="connsiteX21" fmla="*/ 21316 w 165854"/>
                  <a:gd name="connsiteY21" fmla="*/ 80932 h 209341"/>
                  <a:gd name="connsiteX22" fmla="*/ 20405 w 165854"/>
                  <a:gd name="connsiteY22" fmla="*/ 77228 h 209341"/>
                  <a:gd name="connsiteX23" fmla="*/ 13394 w 165854"/>
                  <a:gd name="connsiteY23" fmla="*/ 76031 h 209341"/>
                  <a:gd name="connsiteX24" fmla="*/ 4047 w 165854"/>
                  <a:gd name="connsiteY24" fmla="*/ 64176 h 209341"/>
                  <a:gd name="connsiteX25" fmla="*/ 0 w 165854"/>
                  <a:gd name="connsiteY25" fmla="*/ 50497 h 209341"/>
                  <a:gd name="connsiteX26" fmla="*/ 3362 w 165854"/>
                  <a:gd name="connsiteY26" fmla="*/ 46166 h 209341"/>
                  <a:gd name="connsiteX27" fmla="*/ 11000 w 165854"/>
                  <a:gd name="connsiteY27" fmla="*/ 28554 h 209341"/>
                  <a:gd name="connsiteX28" fmla="*/ 30492 w 165854"/>
                  <a:gd name="connsiteY28" fmla="*/ 13736 h 209341"/>
                  <a:gd name="connsiteX29" fmla="*/ 32658 w 165854"/>
                  <a:gd name="connsiteY29" fmla="*/ 3477 h 209341"/>
                  <a:gd name="connsiteX30" fmla="*/ 49756 w 165854"/>
                  <a:gd name="connsiteY30" fmla="*/ 0 h 209341"/>
                  <a:gd name="connsiteX31" fmla="*/ 49756 w 165854"/>
                  <a:gd name="connsiteY31" fmla="*/ 3363 h 209341"/>
                  <a:gd name="connsiteX32" fmla="*/ 49301 w 165854"/>
                  <a:gd name="connsiteY32" fmla="*/ 13508 h 209341"/>
                  <a:gd name="connsiteX33" fmla="*/ 58135 w 165854"/>
                  <a:gd name="connsiteY33" fmla="*/ 19207 h 209341"/>
                  <a:gd name="connsiteX34" fmla="*/ 64803 w 165854"/>
                  <a:gd name="connsiteY34" fmla="*/ 26731 h 209341"/>
                  <a:gd name="connsiteX35" fmla="*/ 63094 w 165854"/>
                  <a:gd name="connsiteY35" fmla="*/ 31860 h 209341"/>
                  <a:gd name="connsiteX36" fmla="*/ 67539 w 165854"/>
                  <a:gd name="connsiteY36" fmla="*/ 36705 h 209341"/>
                  <a:gd name="connsiteX37" fmla="*/ 74550 w 165854"/>
                  <a:gd name="connsiteY37" fmla="*/ 37161 h 209341"/>
                  <a:gd name="connsiteX38" fmla="*/ 93016 w 165854"/>
                  <a:gd name="connsiteY38" fmla="*/ 44969 h 209341"/>
                  <a:gd name="connsiteX39" fmla="*/ 102419 w 165854"/>
                  <a:gd name="connsiteY39" fmla="*/ 53062 h 209341"/>
                  <a:gd name="connsiteX40" fmla="*/ 102419 w 165854"/>
                  <a:gd name="connsiteY40" fmla="*/ 64461 h 209341"/>
                  <a:gd name="connsiteX41" fmla="*/ 88570 w 165854"/>
                  <a:gd name="connsiteY41" fmla="*/ 73352 h 209341"/>
                  <a:gd name="connsiteX42" fmla="*/ 95923 w 165854"/>
                  <a:gd name="connsiteY42" fmla="*/ 87373 h 209341"/>
                  <a:gd name="connsiteX43" fmla="*/ 107322 w 165854"/>
                  <a:gd name="connsiteY43" fmla="*/ 99627 h 209341"/>
                  <a:gd name="connsiteX44" fmla="*/ 107322 w 165854"/>
                  <a:gd name="connsiteY44" fmla="*/ 103274 h 209341"/>
                  <a:gd name="connsiteX45" fmla="*/ 117751 w 165854"/>
                  <a:gd name="connsiteY45" fmla="*/ 112963 h 209341"/>
                  <a:gd name="connsiteX46" fmla="*/ 118321 w 165854"/>
                  <a:gd name="connsiteY46" fmla="*/ 117409 h 209341"/>
                  <a:gd name="connsiteX47" fmla="*/ 121741 w 165854"/>
                  <a:gd name="connsiteY47" fmla="*/ 123108 h 209341"/>
                  <a:gd name="connsiteX48" fmla="*/ 141575 w 165854"/>
                  <a:gd name="connsiteY48" fmla="*/ 145564 h 209341"/>
                  <a:gd name="connsiteX49" fmla="*/ 145508 w 165854"/>
                  <a:gd name="connsiteY49" fmla="*/ 150751 h 209341"/>
                  <a:gd name="connsiteX50" fmla="*/ 147845 w 165854"/>
                  <a:gd name="connsiteY50" fmla="*/ 155880 h 209341"/>
                  <a:gd name="connsiteX51" fmla="*/ 158673 w 165854"/>
                  <a:gd name="connsiteY51" fmla="*/ 164772 h 209341"/>
                  <a:gd name="connsiteX52" fmla="*/ 165855 w 165854"/>
                  <a:gd name="connsiteY52" fmla="*/ 176171 h 209341"/>
                  <a:gd name="connsiteX53" fmla="*/ 160155 w 165854"/>
                  <a:gd name="connsiteY53" fmla="*/ 187228 h 209341"/>
                  <a:gd name="connsiteX54" fmla="*/ 160440 w 165854"/>
                  <a:gd name="connsiteY54" fmla="*/ 197259 h 20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5854" h="209341">
                    <a:moveTo>
                      <a:pt x="160440" y="197259"/>
                    </a:moveTo>
                    <a:cubicBezTo>
                      <a:pt x="160497" y="200792"/>
                      <a:pt x="160042" y="204320"/>
                      <a:pt x="159187" y="207746"/>
                    </a:cubicBezTo>
                    <a:lnTo>
                      <a:pt x="155596" y="202901"/>
                    </a:lnTo>
                    <a:cubicBezTo>
                      <a:pt x="154798" y="201693"/>
                      <a:pt x="153772" y="200661"/>
                      <a:pt x="152575" y="199880"/>
                    </a:cubicBezTo>
                    <a:cubicBezTo>
                      <a:pt x="150979" y="199214"/>
                      <a:pt x="149213" y="198997"/>
                      <a:pt x="147502" y="199254"/>
                    </a:cubicBezTo>
                    <a:cubicBezTo>
                      <a:pt x="140036" y="199709"/>
                      <a:pt x="130404" y="201932"/>
                      <a:pt x="129492" y="209342"/>
                    </a:cubicBezTo>
                    <a:cubicBezTo>
                      <a:pt x="122482" y="208202"/>
                      <a:pt x="121570" y="197601"/>
                      <a:pt x="115300" y="194181"/>
                    </a:cubicBezTo>
                    <a:cubicBezTo>
                      <a:pt x="114616" y="193822"/>
                      <a:pt x="113818" y="193537"/>
                      <a:pt x="113077" y="193326"/>
                    </a:cubicBezTo>
                    <a:cubicBezTo>
                      <a:pt x="119062" y="188738"/>
                      <a:pt x="121456" y="180873"/>
                      <a:pt x="119119" y="173720"/>
                    </a:cubicBezTo>
                    <a:cubicBezTo>
                      <a:pt x="116212" y="166242"/>
                      <a:pt x="112052" y="159300"/>
                      <a:pt x="106865" y="153202"/>
                    </a:cubicBezTo>
                    <a:cubicBezTo>
                      <a:pt x="105726" y="151885"/>
                      <a:pt x="104985" y="150324"/>
                      <a:pt x="104585" y="148642"/>
                    </a:cubicBezTo>
                    <a:cubicBezTo>
                      <a:pt x="104585" y="146704"/>
                      <a:pt x="105042" y="144710"/>
                      <a:pt x="104928" y="142943"/>
                    </a:cubicBezTo>
                    <a:cubicBezTo>
                      <a:pt x="104928" y="137243"/>
                      <a:pt x="98373" y="133710"/>
                      <a:pt x="97461" y="128181"/>
                    </a:cubicBezTo>
                    <a:cubicBezTo>
                      <a:pt x="97632" y="125371"/>
                      <a:pt x="97632" y="122556"/>
                      <a:pt x="97461" y="119746"/>
                    </a:cubicBezTo>
                    <a:cubicBezTo>
                      <a:pt x="95295" y="112394"/>
                      <a:pt x="82244" y="112052"/>
                      <a:pt x="81560" y="104414"/>
                    </a:cubicBezTo>
                    <a:cubicBezTo>
                      <a:pt x="75347" y="102459"/>
                      <a:pt x="68565" y="103958"/>
                      <a:pt x="63777" y="108347"/>
                    </a:cubicBezTo>
                    <a:cubicBezTo>
                      <a:pt x="62865" y="109407"/>
                      <a:pt x="61726" y="110262"/>
                      <a:pt x="60471" y="110855"/>
                    </a:cubicBezTo>
                    <a:cubicBezTo>
                      <a:pt x="55798" y="112394"/>
                      <a:pt x="52549" y="104813"/>
                      <a:pt x="47648" y="105155"/>
                    </a:cubicBezTo>
                    <a:cubicBezTo>
                      <a:pt x="47363" y="107948"/>
                      <a:pt x="47135" y="110855"/>
                      <a:pt x="46850" y="113477"/>
                    </a:cubicBezTo>
                    <a:lnTo>
                      <a:pt x="31689" y="111482"/>
                    </a:lnTo>
                    <a:cubicBezTo>
                      <a:pt x="31233" y="118737"/>
                      <a:pt x="25021" y="124271"/>
                      <a:pt x="17782" y="123849"/>
                    </a:cubicBezTo>
                    <a:cubicBezTo>
                      <a:pt x="20461" y="109709"/>
                      <a:pt x="21658" y="95324"/>
                      <a:pt x="21316" y="80932"/>
                    </a:cubicBezTo>
                    <a:cubicBezTo>
                      <a:pt x="21430" y="79627"/>
                      <a:pt x="21146" y="78322"/>
                      <a:pt x="20405" y="77228"/>
                    </a:cubicBezTo>
                    <a:cubicBezTo>
                      <a:pt x="18809" y="75404"/>
                      <a:pt x="15845" y="76259"/>
                      <a:pt x="13394" y="76031"/>
                    </a:cubicBezTo>
                    <a:cubicBezTo>
                      <a:pt x="8036" y="75518"/>
                      <a:pt x="5016" y="69477"/>
                      <a:pt x="4047" y="64176"/>
                    </a:cubicBezTo>
                    <a:cubicBezTo>
                      <a:pt x="3648" y="59383"/>
                      <a:pt x="2280" y="54721"/>
                      <a:pt x="0" y="50497"/>
                    </a:cubicBezTo>
                    <a:cubicBezTo>
                      <a:pt x="1197" y="49129"/>
                      <a:pt x="2337" y="47682"/>
                      <a:pt x="3362" y="46166"/>
                    </a:cubicBezTo>
                    <a:cubicBezTo>
                      <a:pt x="6953" y="40797"/>
                      <a:pt x="9518" y="34835"/>
                      <a:pt x="11000" y="28554"/>
                    </a:cubicBezTo>
                    <a:cubicBezTo>
                      <a:pt x="20290" y="29176"/>
                      <a:pt x="28611" y="22849"/>
                      <a:pt x="30492" y="13736"/>
                    </a:cubicBezTo>
                    <a:cubicBezTo>
                      <a:pt x="30322" y="10191"/>
                      <a:pt x="31063" y="6657"/>
                      <a:pt x="32658" y="3477"/>
                    </a:cubicBezTo>
                    <a:cubicBezTo>
                      <a:pt x="36363" y="-1311"/>
                      <a:pt x="43715" y="1083"/>
                      <a:pt x="49756" y="0"/>
                    </a:cubicBezTo>
                    <a:cubicBezTo>
                      <a:pt x="49927" y="1117"/>
                      <a:pt x="49927" y="2245"/>
                      <a:pt x="49756" y="3363"/>
                    </a:cubicBezTo>
                    <a:cubicBezTo>
                      <a:pt x="49756" y="6782"/>
                      <a:pt x="47933" y="10373"/>
                      <a:pt x="49301" y="13508"/>
                    </a:cubicBezTo>
                    <a:cubicBezTo>
                      <a:pt x="50668" y="16642"/>
                      <a:pt x="55000" y="17953"/>
                      <a:pt x="58135" y="19207"/>
                    </a:cubicBezTo>
                    <a:cubicBezTo>
                      <a:pt x="61269" y="20461"/>
                      <a:pt x="65316" y="23140"/>
                      <a:pt x="64803" y="26731"/>
                    </a:cubicBezTo>
                    <a:cubicBezTo>
                      <a:pt x="64803" y="28554"/>
                      <a:pt x="63151" y="30036"/>
                      <a:pt x="63094" y="31860"/>
                    </a:cubicBezTo>
                    <a:cubicBezTo>
                      <a:pt x="63378" y="34254"/>
                      <a:pt x="65202" y="36192"/>
                      <a:pt x="67539" y="36705"/>
                    </a:cubicBezTo>
                    <a:cubicBezTo>
                      <a:pt x="69876" y="37115"/>
                      <a:pt x="72213" y="37269"/>
                      <a:pt x="74550" y="37161"/>
                    </a:cubicBezTo>
                    <a:cubicBezTo>
                      <a:pt x="81275" y="38101"/>
                      <a:pt x="87658" y="40791"/>
                      <a:pt x="93016" y="44969"/>
                    </a:cubicBezTo>
                    <a:cubicBezTo>
                      <a:pt x="96664" y="46964"/>
                      <a:pt x="99912" y="49722"/>
                      <a:pt x="102419" y="53062"/>
                    </a:cubicBezTo>
                    <a:cubicBezTo>
                      <a:pt x="104756" y="56499"/>
                      <a:pt x="104756" y="61024"/>
                      <a:pt x="102419" y="64461"/>
                    </a:cubicBezTo>
                    <a:cubicBezTo>
                      <a:pt x="98886" y="68793"/>
                      <a:pt x="91020" y="68451"/>
                      <a:pt x="88570" y="73352"/>
                    </a:cubicBezTo>
                    <a:cubicBezTo>
                      <a:pt x="86119" y="78254"/>
                      <a:pt x="90907" y="84352"/>
                      <a:pt x="95923" y="87373"/>
                    </a:cubicBezTo>
                    <a:cubicBezTo>
                      <a:pt x="100938" y="90394"/>
                      <a:pt x="107322" y="93756"/>
                      <a:pt x="107322" y="99627"/>
                    </a:cubicBezTo>
                    <a:cubicBezTo>
                      <a:pt x="107264" y="100841"/>
                      <a:pt x="107264" y="102060"/>
                      <a:pt x="107322" y="103274"/>
                    </a:cubicBezTo>
                    <a:cubicBezTo>
                      <a:pt x="108518" y="108005"/>
                      <a:pt x="116212" y="108290"/>
                      <a:pt x="117751" y="112963"/>
                    </a:cubicBezTo>
                    <a:cubicBezTo>
                      <a:pt x="118037" y="114428"/>
                      <a:pt x="118264" y="115916"/>
                      <a:pt x="118321" y="117409"/>
                    </a:cubicBezTo>
                    <a:cubicBezTo>
                      <a:pt x="118948" y="119581"/>
                      <a:pt x="120088" y="121547"/>
                      <a:pt x="121741" y="123108"/>
                    </a:cubicBezTo>
                    <a:lnTo>
                      <a:pt x="141575" y="145564"/>
                    </a:lnTo>
                    <a:cubicBezTo>
                      <a:pt x="143057" y="147137"/>
                      <a:pt x="144368" y="148882"/>
                      <a:pt x="145508" y="150751"/>
                    </a:cubicBezTo>
                    <a:cubicBezTo>
                      <a:pt x="146363" y="152404"/>
                      <a:pt x="146933" y="154228"/>
                      <a:pt x="147845" y="155880"/>
                    </a:cubicBezTo>
                    <a:cubicBezTo>
                      <a:pt x="150751" y="159614"/>
                      <a:pt x="154456" y="162646"/>
                      <a:pt x="158673" y="164772"/>
                    </a:cubicBezTo>
                    <a:cubicBezTo>
                      <a:pt x="162948" y="167012"/>
                      <a:pt x="165684" y="171360"/>
                      <a:pt x="165855" y="176171"/>
                    </a:cubicBezTo>
                    <a:cubicBezTo>
                      <a:pt x="165399" y="180274"/>
                      <a:pt x="161751" y="183295"/>
                      <a:pt x="160155" y="187228"/>
                    </a:cubicBezTo>
                    <a:cubicBezTo>
                      <a:pt x="159642" y="190562"/>
                      <a:pt x="159756" y="193959"/>
                      <a:pt x="160440" y="19725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67" name="Freihandform: Form 383">
                <a:extLst>
                  <a:ext uri="{FF2B5EF4-FFF2-40B4-BE49-F238E27FC236}">
                    <a16:creationId xmlns:a16="http://schemas.microsoft.com/office/drawing/2014/main" id="{2466AB44-68CB-A124-F396-756C2393F640}"/>
                  </a:ext>
                </a:extLst>
              </p:cNvPr>
              <p:cNvSpPr/>
              <p:nvPr/>
            </p:nvSpPr>
            <p:spPr>
              <a:xfrm>
                <a:off x="5973517" y="3692605"/>
                <a:ext cx="148856" cy="349605"/>
              </a:xfrm>
              <a:custGeom>
                <a:avLst/>
                <a:gdLst>
                  <a:gd name="connsiteX0" fmla="*/ 145840 w 148856"/>
                  <a:gd name="connsiteY0" fmla="*/ 272207 h 349605"/>
                  <a:gd name="connsiteX1" fmla="*/ 136550 w 148856"/>
                  <a:gd name="connsiteY1" fmla="*/ 297057 h 349605"/>
                  <a:gd name="connsiteX2" fmla="*/ 127089 w 148856"/>
                  <a:gd name="connsiteY2" fmla="*/ 298310 h 349605"/>
                  <a:gd name="connsiteX3" fmla="*/ 115006 w 148856"/>
                  <a:gd name="connsiteY3" fmla="*/ 319170 h 349605"/>
                  <a:gd name="connsiteX4" fmla="*/ 93063 w 148856"/>
                  <a:gd name="connsiteY4" fmla="*/ 318601 h 349605"/>
                  <a:gd name="connsiteX5" fmla="*/ 83830 w 148856"/>
                  <a:gd name="connsiteY5" fmla="*/ 333875 h 349605"/>
                  <a:gd name="connsiteX6" fmla="*/ 75109 w 148856"/>
                  <a:gd name="connsiteY6" fmla="*/ 339575 h 349605"/>
                  <a:gd name="connsiteX7" fmla="*/ 48436 w 148856"/>
                  <a:gd name="connsiteY7" fmla="*/ 349606 h 349605"/>
                  <a:gd name="connsiteX8" fmla="*/ 52881 w 148856"/>
                  <a:gd name="connsiteY8" fmla="*/ 342538 h 349605"/>
                  <a:gd name="connsiteX9" fmla="*/ 60861 w 148856"/>
                  <a:gd name="connsiteY9" fmla="*/ 337580 h 349605"/>
                  <a:gd name="connsiteX10" fmla="*/ 51856 w 148856"/>
                  <a:gd name="connsiteY10" fmla="*/ 328632 h 349605"/>
                  <a:gd name="connsiteX11" fmla="*/ 47467 w 148856"/>
                  <a:gd name="connsiteY11" fmla="*/ 323844 h 349605"/>
                  <a:gd name="connsiteX12" fmla="*/ 48037 w 148856"/>
                  <a:gd name="connsiteY12" fmla="*/ 323445 h 349605"/>
                  <a:gd name="connsiteX13" fmla="*/ 62343 w 148856"/>
                  <a:gd name="connsiteY13" fmla="*/ 315238 h 349605"/>
                  <a:gd name="connsiteX14" fmla="*/ 68783 w 148856"/>
                  <a:gd name="connsiteY14" fmla="*/ 313927 h 349605"/>
                  <a:gd name="connsiteX15" fmla="*/ 68783 w 148856"/>
                  <a:gd name="connsiteY15" fmla="*/ 310906 h 349605"/>
                  <a:gd name="connsiteX16" fmla="*/ 76820 w 148856"/>
                  <a:gd name="connsiteY16" fmla="*/ 305777 h 349605"/>
                  <a:gd name="connsiteX17" fmla="*/ 86622 w 148856"/>
                  <a:gd name="connsiteY17" fmla="*/ 303098 h 349605"/>
                  <a:gd name="connsiteX18" fmla="*/ 85653 w 148856"/>
                  <a:gd name="connsiteY18" fmla="*/ 295803 h 349605"/>
                  <a:gd name="connsiteX19" fmla="*/ 81151 w 148856"/>
                  <a:gd name="connsiteY19" fmla="*/ 291642 h 349605"/>
                  <a:gd name="connsiteX20" fmla="*/ 89815 w 148856"/>
                  <a:gd name="connsiteY20" fmla="*/ 284290 h 349605"/>
                  <a:gd name="connsiteX21" fmla="*/ 102695 w 148856"/>
                  <a:gd name="connsiteY21" fmla="*/ 282010 h 349605"/>
                  <a:gd name="connsiteX22" fmla="*/ 104519 w 148856"/>
                  <a:gd name="connsiteY22" fmla="*/ 269129 h 349605"/>
                  <a:gd name="connsiteX23" fmla="*/ 120762 w 148856"/>
                  <a:gd name="connsiteY23" fmla="*/ 254538 h 349605"/>
                  <a:gd name="connsiteX24" fmla="*/ 116602 w 148856"/>
                  <a:gd name="connsiteY24" fmla="*/ 241886 h 349605"/>
                  <a:gd name="connsiteX25" fmla="*/ 109706 w 148856"/>
                  <a:gd name="connsiteY25" fmla="*/ 232482 h 349605"/>
                  <a:gd name="connsiteX26" fmla="*/ 110959 w 148856"/>
                  <a:gd name="connsiteY26" fmla="*/ 221994 h 349605"/>
                  <a:gd name="connsiteX27" fmla="*/ 111472 w 148856"/>
                  <a:gd name="connsiteY27" fmla="*/ 211849 h 349605"/>
                  <a:gd name="connsiteX28" fmla="*/ 117172 w 148856"/>
                  <a:gd name="connsiteY28" fmla="*/ 200792 h 349605"/>
                  <a:gd name="connsiteX29" fmla="*/ 109990 w 148856"/>
                  <a:gd name="connsiteY29" fmla="*/ 189393 h 349605"/>
                  <a:gd name="connsiteX30" fmla="*/ 99161 w 148856"/>
                  <a:gd name="connsiteY30" fmla="*/ 180502 h 349605"/>
                  <a:gd name="connsiteX31" fmla="*/ 96825 w 148856"/>
                  <a:gd name="connsiteY31" fmla="*/ 175373 h 349605"/>
                  <a:gd name="connsiteX32" fmla="*/ 92892 w 148856"/>
                  <a:gd name="connsiteY32" fmla="*/ 170186 h 349605"/>
                  <a:gd name="connsiteX33" fmla="*/ 73058 w 148856"/>
                  <a:gd name="connsiteY33" fmla="*/ 147730 h 349605"/>
                  <a:gd name="connsiteX34" fmla="*/ 69638 w 148856"/>
                  <a:gd name="connsiteY34" fmla="*/ 142031 h 349605"/>
                  <a:gd name="connsiteX35" fmla="*/ 69068 w 148856"/>
                  <a:gd name="connsiteY35" fmla="*/ 137585 h 349605"/>
                  <a:gd name="connsiteX36" fmla="*/ 58638 w 148856"/>
                  <a:gd name="connsiteY36" fmla="*/ 127896 h 349605"/>
                  <a:gd name="connsiteX37" fmla="*/ 58638 w 148856"/>
                  <a:gd name="connsiteY37" fmla="*/ 124248 h 349605"/>
                  <a:gd name="connsiteX38" fmla="*/ 47239 w 148856"/>
                  <a:gd name="connsiteY38" fmla="*/ 111995 h 349605"/>
                  <a:gd name="connsiteX39" fmla="*/ 39887 w 148856"/>
                  <a:gd name="connsiteY39" fmla="*/ 97974 h 349605"/>
                  <a:gd name="connsiteX40" fmla="*/ 53736 w 148856"/>
                  <a:gd name="connsiteY40" fmla="*/ 89083 h 349605"/>
                  <a:gd name="connsiteX41" fmla="*/ 53736 w 148856"/>
                  <a:gd name="connsiteY41" fmla="*/ 77684 h 349605"/>
                  <a:gd name="connsiteX42" fmla="*/ 44332 w 148856"/>
                  <a:gd name="connsiteY42" fmla="*/ 69591 h 349605"/>
                  <a:gd name="connsiteX43" fmla="*/ 25866 w 148856"/>
                  <a:gd name="connsiteY43" fmla="*/ 61782 h 349605"/>
                  <a:gd name="connsiteX44" fmla="*/ 18856 w 148856"/>
                  <a:gd name="connsiteY44" fmla="*/ 61326 h 349605"/>
                  <a:gd name="connsiteX45" fmla="*/ 14410 w 148856"/>
                  <a:gd name="connsiteY45" fmla="*/ 56482 h 349605"/>
                  <a:gd name="connsiteX46" fmla="*/ 16120 w 148856"/>
                  <a:gd name="connsiteY46" fmla="*/ 51352 h 349605"/>
                  <a:gd name="connsiteX47" fmla="*/ 9451 w 148856"/>
                  <a:gd name="connsiteY47" fmla="*/ 43829 h 349605"/>
                  <a:gd name="connsiteX48" fmla="*/ 618 w 148856"/>
                  <a:gd name="connsiteY48" fmla="*/ 38129 h 349605"/>
                  <a:gd name="connsiteX49" fmla="*/ 1073 w 148856"/>
                  <a:gd name="connsiteY49" fmla="*/ 27984 h 349605"/>
                  <a:gd name="connsiteX50" fmla="*/ 1073 w 148856"/>
                  <a:gd name="connsiteY50" fmla="*/ 24622 h 349605"/>
                  <a:gd name="connsiteX51" fmla="*/ 3752 w 148856"/>
                  <a:gd name="connsiteY51" fmla="*/ 23881 h 349605"/>
                  <a:gd name="connsiteX52" fmla="*/ 10876 w 148856"/>
                  <a:gd name="connsiteY52" fmla="*/ 18637 h 349605"/>
                  <a:gd name="connsiteX53" fmla="*/ 31737 w 148856"/>
                  <a:gd name="connsiteY53" fmla="*/ 15047 h 349605"/>
                  <a:gd name="connsiteX54" fmla="*/ 53224 w 148856"/>
                  <a:gd name="connsiteY54" fmla="*/ 15047 h 349605"/>
                  <a:gd name="connsiteX55" fmla="*/ 66104 w 148856"/>
                  <a:gd name="connsiteY55" fmla="*/ 0 h 349605"/>
                  <a:gd name="connsiteX56" fmla="*/ 83602 w 148856"/>
                  <a:gd name="connsiteY56" fmla="*/ 10259 h 349605"/>
                  <a:gd name="connsiteX57" fmla="*/ 95970 w 148856"/>
                  <a:gd name="connsiteY57" fmla="*/ 17383 h 349605"/>
                  <a:gd name="connsiteX58" fmla="*/ 95970 w 148856"/>
                  <a:gd name="connsiteY58" fmla="*/ 26274 h 349605"/>
                  <a:gd name="connsiteX59" fmla="*/ 116659 w 148856"/>
                  <a:gd name="connsiteY59" fmla="*/ 45539 h 349605"/>
                  <a:gd name="connsiteX60" fmla="*/ 129711 w 148856"/>
                  <a:gd name="connsiteY60" fmla="*/ 52264 h 349605"/>
                  <a:gd name="connsiteX61" fmla="*/ 92322 w 148856"/>
                  <a:gd name="connsiteY61" fmla="*/ 62181 h 349605"/>
                  <a:gd name="connsiteX62" fmla="*/ 80923 w 148856"/>
                  <a:gd name="connsiteY62" fmla="*/ 89938 h 349605"/>
                  <a:gd name="connsiteX63" fmla="*/ 75736 w 148856"/>
                  <a:gd name="connsiteY63" fmla="*/ 118435 h 349605"/>
                  <a:gd name="connsiteX64" fmla="*/ 81037 w 148856"/>
                  <a:gd name="connsiteY64" fmla="*/ 128466 h 349605"/>
                  <a:gd name="connsiteX65" fmla="*/ 108622 w 148856"/>
                  <a:gd name="connsiteY65" fmla="*/ 167849 h 349605"/>
                  <a:gd name="connsiteX66" fmla="*/ 131420 w 148856"/>
                  <a:gd name="connsiteY66" fmla="*/ 191901 h 349605"/>
                  <a:gd name="connsiteX67" fmla="*/ 144073 w 148856"/>
                  <a:gd name="connsiteY67" fmla="*/ 202559 h 349605"/>
                  <a:gd name="connsiteX68" fmla="*/ 145840 w 148856"/>
                  <a:gd name="connsiteY68" fmla="*/ 272207 h 34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8856" h="349605">
                    <a:moveTo>
                      <a:pt x="145840" y="272207"/>
                    </a:moveTo>
                    <a:cubicBezTo>
                      <a:pt x="144301" y="280990"/>
                      <a:pt x="141167" y="289413"/>
                      <a:pt x="136550" y="297057"/>
                    </a:cubicBezTo>
                    <a:lnTo>
                      <a:pt x="127089" y="298310"/>
                    </a:lnTo>
                    <a:cubicBezTo>
                      <a:pt x="125721" y="306501"/>
                      <a:pt x="121446" y="313916"/>
                      <a:pt x="115006" y="319170"/>
                    </a:cubicBezTo>
                    <a:cubicBezTo>
                      <a:pt x="107881" y="316321"/>
                      <a:pt x="98991" y="313471"/>
                      <a:pt x="93063" y="318601"/>
                    </a:cubicBezTo>
                    <a:cubicBezTo>
                      <a:pt x="88447" y="322419"/>
                      <a:pt x="87762" y="329373"/>
                      <a:pt x="83830" y="333875"/>
                    </a:cubicBezTo>
                    <a:cubicBezTo>
                      <a:pt x="81379" y="336383"/>
                      <a:pt x="78416" y="338326"/>
                      <a:pt x="75109" y="339575"/>
                    </a:cubicBezTo>
                    <a:cubicBezTo>
                      <a:pt x="66503" y="343570"/>
                      <a:pt x="57555" y="346927"/>
                      <a:pt x="48436" y="349606"/>
                    </a:cubicBezTo>
                    <a:cubicBezTo>
                      <a:pt x="46441" y="347041"/>
                      <a:pt x="49747" y="343507"/>
                      <a:pt x="52881" y="342538"/>
                    </a:cubicBezTo>
                    <a:cubicBezTo>
                      <a:pt x="56016" y="341569"/>
                      <a:pt x="59949" y="340714"/>
                      <a:pt x="60861" y="337580"/>
                    </a:cubicBezTo>
                    <a:cubicBezTo>
                      <a:pt x="62171" y="333077"/>
                      <a:pt x="56187" y="330455"/>
                      <a:pt x="51856" y="328632"/>
                    </a:cubicBezTo>
                    <a:cubicBezTo>
                      <a:pt x="49861" y="327617"/>
                      <a:pt x="48322" y="325919"/>
                      <a:pt x="47467" y="323844"/>
                    </a:cubicBezTo>
                    <a:lnTo>
                      <a:pt x="48037" y="323445"/>
                    </a:lnTo>
                    <a:cubicBezTo>
                      <a:pt x="52483" y="319911"/>
                      <a:pt x="56700" y="314725"/>
                      <a:pt x="62343" y="315238"/>
                    </a:cubicBezTo>
                    <a:cubicBezTo>
                      <a:pt x="64737" y="315238"/>
                      <a:pt x="68042" y="316207"/>
                      <a:pt x="68783" y="313927"/>
                    </a:cubicBezTo>
                    <a:cubicBezTo>
                      <a:pt x="68954" y="312930"/>
                      <a:pt x="68954" y="311904"/>
                      <a:pt x="68783" y="310906"/>
                    </a:cubicBezTo>
                    <a:cubicBezTo>
                      <a:pt x="68783" y="307373"/>
                      <a:pt x="73229" y="305720"/>
                      <a:pt x="76820" y="305777"/>
                    </a:cubicBezTo>
                    <a:cubicBezTo>
                      <a:pt x="80410" y="305834"/>
                      <a:pt x="84685" y="305777"/>
                      <a:pt x="86622" y="303098"/>
                    </a:cubicBezTo>
                    <a:cubicBezTo>
                      <a:pt x="87876" y="300704"/>
                      <a:pt x="87478" y="297786"/>
                      <a:pt x="85653" y="295803"/>
                    </a:cubicBezTo>
                    <a:cubicBezTo>
                      <a:pt x="84228" y="294321"/>
                      <a:pt x="82063" y="293466"/>
                      <a:pt x="81151" y="291642"/>
                    </a:cubicBezTo>
                    <a:cubicBezTo>
                      <a:pt x="79213" y="287538"/>
                      <a:pt x="85255" y="284062"/>
                      <a:pt x="89815" y="284290"/>
                    </a:cubicBezTo>
                    <a:cubicBezTo>
                      <a:pt x="94374" y="284518"/>
                      <a:pt x="99902" y="285658"/>
                      <a:pt x="102695" y="282010"/>
                    </a:cubicBezTo>
                    <a:cubicBezTo>
                      <a:pt x="105488" y="278362"/>
                      <a:pt x="103094" y="273290"/>
                      <a:pt x="104519" y="269129"/>
                    </a:cubicBezTo>
                    <a:cubicBezTo>
                      <a:pt x="107026" y="262119"/>
                      <a:pt x="118425" y="261606"/>
                      <a:pt x="120762" y="254538"/>
                    </a:cubicBezTo>
                    <a:cubicBezTo>
                      <a:pt x="121446" y="249905"/>
                      <a:pt x="119907" y="245220"/>
                      <a:pt x="116602" y="241886"/>
                    </a:cubicBezTo>
                    <a:lnTo>
                      <a:pt x="109706" y="232482"/>
                    </a:lnTo>
                    <a:cubicBezTo>
                      <a:pt x="110560" y="229056"/>
                      <a:pt x="111016" y="225528"/>
                      <a:pt x="110959" y="221994"/>
                    </a:cubicBezTo>
                    <a:cubicBezTo>
                      <a:pt x="110504" y="218609"/>
                      <a:pt x="110674" y="215172"/>
                      <a:pt x="111472" y="211849"/>
                    </a:cubicBezTo>
                    <a:cubicBezTo>
                      <a:pt x="112840" y="207917"/>
                      <a:pt x="116488" y="204896"/>
                      <a:pt x="117172" y="200792"/>
                    </a:cubicBezTo>
                    <a:cubicBezTo>
                      <a:pt x="117000" y="195982"/>
                      <a:pt x="114265" y="191633"/>
                      <a:pt x="109990" y="189393"/>
                    </a:cubicBezTo>
                    <a:cubicBezTo>
                      <a:pt x="105773" y="187268"/>
                      <a:pt x="102068" y="184235"/>
                      <a:pt x="99161" y="180502"/>
                    </a:cubicBezTo>
                    <a:cubicBezTo>
                      <a:pt x="98250" y="178849"/>
                      <a:pt x="97680" y="177026"/>
                      <a:pt x="96825" y="175373"/>
                    </a:cubicBezTo>
                    <a:cubicBezTo>
                      <a:pt x="95741" y="173503"/>
                      <a:pt x="94374" y="171759"/>
                      <a:pt x="92892" y="170186"/>
                    </a:cubicBezTo>
                    <a:lnTo>
                      <a:pt x="73058" y="147730"/>
                    </a:lnTo>
                    <a:cubicBezTo>
                      <a:pt x="71405" y="146169"/>
                      <a:pt x="70265" y="144202"/>
                      <a:pt x="69638" y="142031"/>
                    </a:cubicBezTo>
                    <a:cubicBezTo>
                      <a:pt x="69581" y="140538"/>
                      <a:pt x="69353" y="139050"/>
                      <a:pt x="69068" y="137585"/>
                    </a:cubicBezTo>
                    <a:cubicBezTo>
                      <a:pt x="67529" y="132912"/>
                      <a:pt x="59835" y="132627"/>
                      <a:pt x="58638" y="127896"/>
                    </a:cubicBezTo>
                    <a:cubicBezTo>
                      <a:pt x="58581" y="126682"/>
                      <a:pt x="58581" y="125462"/>
                      <a:pt x="58638" y="124248"/>
                    </a:cubicBezTo>
                    <a:cubicBezTo>
                      <a:pt x="58239" y="118549"/>
                      <a:pt x="52084" y="115015"/>
                      <a:pt x="47239" y="111995"/>
                    </a:cubicBezTo>
                    <a:cubicBezTo>
                      <a:pt x="42394" y="108974"/>
                      <a:pt x="37094" y="103103"/>
                      <a:pt x="39887" y="97974"/>
                    </a:cubicBezTo>
                    <a:cubicBezTo>
                      <a:pt x="42680" y="92844"/>
                      <a:pt x="50203" y="93414"/>
                      <a:pt x="53736" y="89083"/>
                    </a:cubicBezTo>
                    <a:cubicBezTo>
                      <a:pt x="56073" y="85646"/>
                      <a:pt x="56073" y="81121"/>
                      <a:pt x="53736" y="77684"/>
                    </a:cubicBezTo>
                    <a:cubicBezTo>
                      <a:pt x="51229" y="74344"/>
                      <a:pt x="47980" y="71585"/>
                      <a:pt x="44332" y="69591"/>
                    </a:cubicBezTo>
                    <a:cubicBezTo>
                      <a:pt x="38975" y="65413"/>
                      <a:pt x="32592" y="62723"/>
                      <a:pt x="25866" y="61782"/>
                    </a:cubicBezTo>
                    <a:cubicBezTo>
                      <a:pt x="23530" y="61891"/>
                      <a:pt x="21193" y="61737"/>
                      <a:pt x="18856" y="61326"/>
                    </a:cubicBezTo>
                    <a:cubicBezTo>
                      <a:pt x="16519" y="60813"/>
                      <a:pt x="14695" y="58875"/>
                      <a:pt x="14410" y="56482"/>
                    </a:cubicBezTo>
                    <a:cubicBezTo>
                      <a:pt x="14410" y="54658"/>
                      <a:pt x="15835" y="53176"/>
                      <a:pt x="16120" y="51352"/>
                    </a:cubicBezTo>
                    <a:cubicBezTo>
                      <a:pt x="16633" y="47762"/>
                      <a:pt x="12872" y="45083"/>
                      <a:pt x="9451" y="43829"/>
                    </a:cubicBezTo>
                    <a:cubicBezTo>
                      <a:pt x="6032" y="42575"/>
                      <a:pt x="2042" y="41435"/>
                      <a:pt x="618" y="38129"/>
                    </a:cubicBezTo>
                    <a:cubicBezTo>
                      <a:pt x="-807" y="34824"/>
                      <a:pt x="618" y="31404"/>
                      <a:pt x="1073" y="27984"/>
                    </a:cubicBezTo>
                    <a:cubicBezTo>
                      <a:pt x="1244" y="26867"/>
                      <a:pt x="1244" y="25739"/>
                      <a:pt x="1073" y="24622"/>
                    </a:cubicBezTo>
                    <a:cubicBezTo>
                      <a:pt x="1985" y="24462"/>
                      <a:pt x="2898" y="24211"/>
                      <a:pt x="3752" y="23881"/>
                    </a:cubicBezTo>
                    <a:cubicBezTo>
                      <a:pt x="6317" y="22388"/>
                      <a:pt x="8710" y="20626"/>
                      <a:pt x="10876" y="18637"/>
                    </a:cubicBezTo>
                    <a:cubicBezTo>
                      <a:pt x="17203" y="15024"/>
                      <a:pt x="24555" y="13747"/>
                      <a:pt x="31737" y="15047"/>
                    </a:cubicBezTo>
                    <a:cubicBezTo>
                      <a:pt x="38861" y="16272"/>
                      <a:pt x="46099" y="16272"/>
                      <a:pt x="53224" y="15047"/>
                    </a:cubicBezTo>
                    <a:cubicBezTo>
                      <a:pt x="60519" y="13662"/>
                      <a:pt x="65876" y="7409"/>
                      <a:pt x="66104" y="0"/>
                    </a:cubicBezTo>
                    <a:cubicBezTo>
                      <a:pt x="70949" y="4867"/>
                      <a:pt x="76991" y="8401"/>
                      <a:pt x="83602" y="10259"/>
                    </a:cubicBezTo>
                    <a:cubicBezTo>
                      <a:pt x="88333" y="11627"/>
                      <a:pt x="94203" y="12767"/>
                      <a:pt x="95970" y="17383"/>
                    </a:cubicBezTo>
                    <a:cubicBezTo>
                      <a:pt x="96482" y="20324"/>
                      <a:pt x="96482" y="23334"/>
                      <a:pt x="95970" y="26274"/>
                    </a:cubicBezTo>
                    <a:cubicBezTo>
                      <a:pt x="96311" y="36306"/>
                      <a:pt x="107369" y="42005"/>
                      <a:pt x="116659" y="45539"/>
                    </a:cubicBezTo>
                    <a:cubicBezTo>
                      <a:pt x="121275" y="47203"/>
                      <a:pt x="125664" y="49466"/>
                      <a:pt x="129711" y="52264"/>
                    </a:cubicBezTo>
                    <a:cubicBezTo>
                      <a:pt x="116716" y="53056"/>
                      <a:pt x="104006" y="56430"/>
                      <a:pt x="92322" y="62181"/>
                    </a:cubicBezTo>
                    <a:cubicBezTo>
                      <a:pt x="94488" y="72269"/>
                      <a:pt x="87022" y="81616"/>
                      <a:pt x="80923" y="89938"/>
                    </a:cubicBezTo>
                    <a:cubicBezTo>
                      <a:pt x="74825" y="98259"/>
                      <a:pt x="69524" y="110057"/>
                      <a:pt x="75736" y="118435"/>
                    </a:cubicBezTo>
                    <a:lnTo>
                      <a:pt x="81037" y="128466"/>
                    </a:lnTo>
                    <a:cubicBezTo>
                      <a:pt x="87762" y="143159"/>
                      <a:pt x="97109" y="156502"/>
                      <a:pt x="108622" y="167849"/>
                    </a:cubicBezTo>
                    <a:cubicBezTo>
                      <a:pt x="117057" y="175259"/>
                      <a:pt x="128001" y="181243"/>
                      <a:pt x="131420" y="191901"/>
                    </a:cubicBezTo>
                    <a:cubicBezTo>
                      <a:pt x="137120" y="188482"/>
                      <a:pt x="142819" y="196290"/>
                      <a:pt x="144073" y="202559"/>
                    </a:cubicBezTo>
                    <a:cubicBezTo>
                      <a:pt x="149772" y="225363"/>
                      <a:pt x="150400" y="249147"/>
                      <a:pt x="145840" y="27220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68" name="Freihandform: Form 384">
                <a:extLst>
                  <a:ext uri="{FF2B5EF4-FFF2-40B4-BE49-F238E27FC236}">
                    <a16:creationId xmlns:a16="http://schemas.microsoft.com/office/drawing/2014/main" id="{ABF9B516-663E-3643-AFD2-7D0220251179}"/>
                  </a:ext>
                </a:extLst>
              </p:cNvPr>
              <p:cNvSpPr/>
              <p:nvPr/>
            </p:nvSpPr>
            <p:spPr>
              <a:xfrm>
                <a:off x="6234691" y="4132718"/>
                <a:ext cx="28402" cy="33946"/>
              </a:xfrm>
              <a:custGeom>
                <a:avLst/>
                <a:gdLst>
                  <a:gd name="connsiteX0" fmla="*/ 80 w 28402"/>
                  <a:gd name="connsiteY0" fmla="*/ 19321 h 33946"/>
                  <a:gd name="connsiteX1" fmla="*/ 1733 w 28402"/>
                  <a:gd name="connsiteY1" fmla="*/ 19321 h 33946"/>
                  <a:gd name="connsiteX2" fmla="*/ 14044 w 28402"/>
                  <a:gd name="connsiteY2" fmla="*/ 18409 h 33946"/>
                  <a:gd name="connsiteX3" fmla="*/ 24816 w 28402"/>
                  <a:gd name="connsiteY3" fmla="*/ 3648 h 33946"/>
                  <a:gd name="connsiteX4" fmla="*/ 26925 w 28402"/>
                  <a:gd name="connsiteY4" fmla="*/ 0 h 33946"/>
                  <a:gd name="connsiteX5" fmla="*/ 28065 w 28402"/>
                  <a:gd name="connsiteY5" fmla="*/ 14591 h 33946"/>
                  <a:gd name="connsiteX6" fmla="*/ 26583 w 28402"/>
                  <a:gd name="connsiteY6" fmla="*/ 18694 h 33946"/>
                  <a:gd name="connsiteX7" fmla="*/ 23562 w 28402"/>
                  <a:gd name="connsiteY7" fmla="*/ 20974 h 33946"/>
                  <a:gd name="connsiteX8" fmla="*/ 19174 w 28402"/>
                  <a:gd name="connsiteY8" fmla="*/ 23425 h 33946"/>
                  <a:gd name="connsiteX9" fmla="*/ 16153 w 28402"/>
                  <a:gd name="connsiteY9" fmla="*/ 25705 h 33946"/>
                  <a:gd name="connsiteX10" fmla="*/ 14329 w 28402"/>
                  <a:gd name="connsiteY10" fmla="*/ 29637 h 33946"/>
                  <a:gd name="connsiteX11" fmla="*/ 1562 w 28402"/>
                  <a:gd name="connsiteY11" fmla="*/ 32772 h 33946"/>
                  <a:gd name="connsiteX12" fmla="*/ 764 w 28402"/>
                  <a:gd name="connsiteY12" fmla="*/ 32202 h 33946"/>
                  <a:gd name="connsiteX13" fmla="*/ 309 w 28402"/>
                  <a:gd name="connsiteY13" fmla="*/ 30777 h 33946"/>
                  <a:gd name="connsiteX14" fmla="*/ 80 w 28402"/>
                  <a:gd name="connsiteY14" fmla="*/ 19321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2" h="33946">
                    <a:moveTo>
                      <a:pt x="80" y="19321"/>
                    </a:moveTo>
                    <a:lnTo>
                      <a:pt x="1733" y="19321"/>
                    </a:lnTo>
                    <a:cubicBezTo>
                      <a:pt x="5837" y="20170"/>
                      <a:pt x="10112" y="19857"/>
                      <a:pt x="14044" y="18409"/>
                    </a:cubicBezTo>
                    <a:cubicBezTo>
                      <a:pt x="19743" y="15730"/>
                      <a:pt x="22023" y="9233"/>
                      <a:pt x="24816" y="3648"/>
                    </a:cubicBezTo>
                    <a:cubicBezTo>
                      <a:pt x="25443" y="2377"/>
                      <a:pt x="26127" y="1157"/>
                      <a:pt x="26925" y="0"/>
                    </a:cubicBezTo>
                    <a:cubicBezTo>
                      <a:pt x="28407" y="4719"/>
                      <a:pt x="28749" y="9700"/>
                      <a:pt x="28065" y="14591"/>
                    </a:cubicBezTo>
                    <a:cubicBezTo>
                      <a:pt x="27894" y="16061"/>
                      <a:pt x="27381" y="17469"/>
                      <a:pt x="26583" y="18694"/>
                    </a:cubicBezTo>
                    <a:cubicBezTo>
                      <a:pt x="25728" y="19623"/>
                      <a:pt x="24702" y="20398"/>
                      <a:pt x="23562" y="20974"/>
                    </a:cubicBezTo>
                    <a:lnTo>
                      <a:pt x="19174" y="23425"/>
                    </a:lnTo>
                    <a:cubicBezTo>
                      <a:pt x="18034" y="23955"/>
                      <a:pt x="16951" y="24730"/>
                      <a:pt x="16153" y="25705"/>
                    </a:cubicBezTo>
                    <a:cubicBezTo>
                      <a:pt x="15469" y="26964"/>
                      <a:pt x="14842" y="28281"/>
                      <a:pt x="14329" y="29637"/>
                    </a:cubicBezTo>
                    <a:cubicBezTo>
                      <a:pt x="11536" y="33804"/>
                      <a:pt x="6008" y="35160"/>
                      <a:pt x="1562" y="32772"/>
                    </a:cubicBezTo>
                    <a:cubicBezTo>
                      <a:pt x="1277" y="32630"/>
                      <a:pt x="993" y="32436"/>
                      <a:pt x="764" y="32202"/>
                    </a:cubicBezTo>
                    <a:cubicBezTo>
                      <a:pt x="479" y="31786"/>
                      <a:pt x="309" y="31290"/>
                      <a:pt x="309" y="30777"/>
                    </a:cubicBezTo>
                    <a:cubicBezTo>
                      <a:pt x="23" y="26964"/>
                      <a:pt x="-91" y="23140"/>
                      <a:pt x="80" y="1932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69" name="Freihandform: Form 385">
                <a:extLst>
                  <a:ext uri="{FF2B5EF4-FFF2-40B4-BE49-F238E27FC236}">
                    <a16:creationId xmlns:a16="http://schemas.microsoft.com/office/drawing/2014/main" id="{AB642657-9B0C-1C2F-1A7D-FD3B1B133BF0}"/>
                  </a:ext>
                </a:extLst>
              </p:cNvPr>
              <p:cNvSpPr/>
              <p:nvPr/>
            </p:nvSpPr>
            <p:spPr>
              <a:xfrm>
                <a:off x="5994140" y="4205044"/>
                <a:ext cx="17124" cy="21574"/>
              </a:xfrm>
              <a:custGeom>
                <a:avLst/>
                <a:gdLst>
                  <a:gd name="connsiteX0" fmla="*/ 10202 w 17124"/>
                  <a:gd name="connsiteY0" fmla="*/ 0 h 21574"/>
                  <a:gd name="connsiteX1" fmla="*/ 11285 w 17124"/>
                  <a:gd name="connsiteY1" fmla="*/ 1311 h 21574"/>
                  <a:gd name="connsiteX2" fmla="*/ 14704 w 17124"/>
                  <a:gd name="connsiteY2" fmla="*/ 20746 h 21574"/>
                  <a:gd name="connsiteX3" fmla="*/ 4844 w 17124"/>
                  <a:gd name="connsiteY3" fmla="*/ 18409 h 21574"/>
                  <a:gd name="connsiteX4" fmla="*/ 0 w 17124"/>
                  <a:gd name="connsiteY4" fmla="*/ 11570 h 21574"/>
                  <a:gd name="connsiteX5" fmla="*/ 1425 w 17124"/>
                  <a:gd name="connsiteY5" fmla="*/ 9347 h 21574"/>
                  <a:gd name="connsiteX6" fmla="*/ 10202 w 17124"/>
                  <a:gd name="connsiteY6" fmla="*/ 0 h 2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4" h="21574">
                    <a:moveTo>
                      <a:pt x="10202" y="0"/>
                    </a:moveTo>
                    <a:lnTo>
                      <a:pt x="11285" y="1311"/>
                    </a:lnTo>
                    <a:cubicBezTo>
                      <a:pt x="15674" y="7010"/>
                      <a:pt x="19948" y="15730"/>
                      <a:pt x="14704" y="20746"/>
                    </a:cubicBezTo>
                    <a:cubicBezTo>
                      <a:pt x="11285" y="22444"/>
                      <a:pt x="7124" y="21464"/>
                      <a:pt x="4844" y="18409"/>
                    </a:cubicBezTo>
                    <a:cubicBezTo>
                      <a:pt x="3134" y="16215"/>
                      <a:pt x="1482" y="13930"/>
                      <a:pt x="0" y="11570"/>
                    </a:cubicBezTo>
                    <a:cubicBezTo>
                      <a:pt x="456" y="10829"/>
                      <a:pt x="911" y="10088"/>
                      <a:pt x="1425" y="9347"/>
                    </a:cubicBezTo>
                    <a:cubicBezTo>
                      <a:pt x="3932" y="5870"/>
                      <a:pt x="6896" y="2730"/>
                      <a:pt x="10202"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0" name="Freihandform: Form 386">
                <a:extLst>
                  <a:ext uri="{FF2B5EF4-FFF2-40B4-BE49-F238E27FC236}">
                    <a16:creationId xmlns:a16="http://schemas.microsoft.com/office/drawing/2014/main" id="{66A134A6-3A35-FEC8-31EB-4C0DB85F9AA7}"/>
                  </a:ext>
                </a:extLst>
              </p:cNvPr>
              <p:cNvSpPr/>
              <p:nvPr/>
            </p:nvSpPr>
            <p:spPr>
              <a:xfrm>
                <a:off x="5922725" y="4098364"/>
                <a:ext cx="422775" cy="146882"/>
              </a:xfrm>
              <a:custGeom>
                <a:avLst/>
                <a:gdLst>
                  <a:gd name="connsiteX0" fmla="*/ 417372 w 422775"/>
                  <a:gd name="connsiteY0" fmla="*/ 43815 h 146882"/>
                  <a:gd name="connsiteX1" fmla="*/ 404264 w 422775"/>
                  <a:gd name="connsiteY1" fmla="*/ 44214 h 146882"/>
                  <a:gd name="connsiteX2" fmla="*/ 392865 w 422775"/>
                  <a:gd name="connsiteY2" fmla="*/ 49572 h 146882"/>
                  <a:gd name="connsiteX3" fmla="*/ 390072 w 422775"/>
                  <a:gd name="connsiteY3" fmla="*/ 59147 h 146882"/>
                  <a:gd name="connsiteX4" fmla="*/ 390072 w 422775"/>
                  <a:gd name="connsiteY4" fmla="*/ 59147 h 146882"/>
                  <a:gd name="connsiteX5" fmla="*/ 364368 w 422775"/>
                  <a:gd name="connsiteY5" fmla="*/ 58748 h 146882"/>
                  <a:gd name="connsiteX6" fmla="*/ 341570 w 422775"/>
                  <a:gd name="connsiteY6" fmla="*/ 80520 h 146882"/>
                  <a:gd name="connsiteX7" fmla="*/ 338890 w 422775"/>
                  <a:gd name="connsiteY7" fmla="*/ 92204 h 146882"/>
                  <a:gd name="connsiteX8" fmla="*/ 324186 w 422775"/>
                  <a:gd name="connsiteY8" fmla="*/ 100525 h 146882"/>
                  <a:gd name="connsiteX9" fmla="*/ 323730 w 422775"/>
                  <a:gd name="connsiteY9" fmla="*/ 113805 h 146882"/>
                  <a:gd name="connsiteX10" fmla="*/ 309994 w 422775"/>
                  <a:gd name="connsiteY10" fmla="*/ 126002 h 146882"/>
                  <a:gd name="connsiteX11" fmla="*/ 298196 w 422775"/>
                  <a:gd name="connsiteY11" fmla="*/ 129650 h 146882"/>
                  <a:gd name="connsiteX12" fmla="*/ 286797 w 422775"/>
                  <a:gd name="connsiteY12" fmla="*/ 129650 h 146882"/>
                  <a:gd name="connsiteX13" fmla="*/ 251746 w 422775"/>
                  <a:gd name="connsiteY13" fmla="*/ 140308 h 146882"/>
                  <a:gd name="connsiteX14" fmla="*/ 240347 w 422775"/>
                  <a:gd name="connsiteY14" fmla="*/ 146691 h 146882"/>
                  <a:gd name="connsiteX15" fmla="*/ 219316 w 422775"/>
                  <a:gd name="connsiteY15" fmla="*/ 137230 h 146882"/>
                  <a:gd name="connsiteX16" fmla="*/ 207290 w 422775"/>
                  <a:gd name="connsiteY16" fmla="*/ 119276 h 146882"/>
                  <a:gd name="connsiteX17" fmla="*/ 210311 w 422775"/>
                  <a:gd name="connsiteY17" fmla="*/ 118934 h 146882"/>
                  <a:gd name="connsiteX18" fmla="*/ 222279 w 422775"/>
                  <a:gd name="connsiteY18" fmla="*/ 120188 h 146882"/>
                  <a:gd name="connsiteX19" fmla="*/ 226953 w 422775"/>
                  <a:gd name="connsiteY19" fmla="*/ 130162 h 146882"/>
                  <a:gd name="connsiteX20" fmla="*/ 244051 w 422775"/>
                  <a:gd name="connsiteY20" fmla="*/ 127712 h 146882"/>
                  <a:gd name="connsiteX21" fmla="*/ 244051 w 422775"/>
                  <a:gd name="connsiteY21" fmla="*/ 108732 h 146882"/>
                  <a:gd name="connsiteX22" fmla="*/ 244963 w 422775"/>
                  <a:gd name="connsiteY22" fmla="*/ 102007 h 146882"/>
                  <a:gd name="connsiteX23" fmla="*/ 258015 w 422775"/>
                  <a:gd name="connsiteY23" fmla="*/ 94940 h 146882"/>
                  <a:gd name="connsiteX24" fmla="*/ 273689 w 422775"/>
                  <a:gd name="connsiteY24" fmla="*/ 95510 h 146882"/>
                  <a:gd name="connsiteX25" fmla="*/ 285088 w 422775"/>
                  <a:gd name="connsiteY25" fmla="*/ 86276 h 146882"/>
                  <a:gd name="connsiteX26" fmla="*/ 285088 w 422775"/>
                  <a:gd name="connsiteY26" fmla="*/ 80577 h 146882"/>
                  <a:gd name="connsiteX27" fmla="*/ 292953 w 422775"/>
                  <a:gd name="connsiteY27" fmla="*/ 72028 h 146882"/>
                  <a:gd name="connsiteX28" fmla="*/ 297057 w 422775"/>
                  <a:gd name="connsiteY28" fmla="*/ 52878 h 146882"/>
                  <a:gd name="connsiteX29" fmla="*/ 302414 w 422775"/>
                  <a:gd name="connsiteY29" fmla="*/ 52479 h 146882"/>
                  <a:gd name="connsiteX30" fmla="*/ 311476 w 422775"/>
                  <a:gd name="connsiteY30" fmla="*/ 53504 h 146882"/>
                  <a:gd name="connsiteX31" fmla="*/ 311476 w 422775"/>
                  <a:gd name="connsiteY31" fmla="*/ 64903 h 146882"/>
                  <a:gd name="connsiteX32" fmla="*/ 311932 w 422775"/>
                  <a:gd name="connsiteY32" fmla="*/ 66328 h 146882"/>
                  <a:gd name="connsiteX33" fmla="*/ 312730 w 422775"/>
                  <a:gd name="connsiteY33" fmla="*/ 66898 h 146882"/>
                  <a:gd name="connsiteX34" fmla="*/ 325497 w 422775"/>
                  <a:gd name="connsiteY34" fmla="*/ 63764 h 146882"/>
                  <a:gd name="connsiteX35" fmla="*/ 327321 w 422775"/>
                  <a:gd name="connsiteY35" fmla="*/ 59831 h 146882"/>
                  <a:gd name="connsiteX36" fmla="*/ 330341 w 422775"/>
                  <a:gd name="connsiteY36" fmla="*/ 57551 h 146882"/>
                  <a:gd name="connsiteX37" fmla="*/ 334730 w 422775"/>
                  <a:gd name="connsiteY37" fmla="*/ 55100 h 146882"/>
                  <a:gd name="connsiteX38" fmla="*/ 337751 w 422775"/>
                  <a:gd name="connsiteY38" fmla="*/ 52821 h 146882"/>
                  <a:gd name="connsiteX39" fmla="*/ 339233 w 422775"/>
                  <a:gd name="connsiteY39" fmla="*/ 48717 h 146882"/>
                  <a:gd name="connsiteX40" fmla="*/ 338092 w 422775"/>
                  <a:gd name="connsiteY40" fmla="*/ 34126 h 146882"/>
                  <a:gd name="connsiteX41" fmla="*/ 349891 w 422775"/>
                  <a:gd name="connsiteY41" fmla="*/ 27401 h 146882"/>
                  <a:gd name="connsiteX42" fmla="*/ 358440 w 422775"/>
                  <a:gd name="connsiteY42" fmla="*/ 1981 h 146882"/>
                  <a:gd name="connsiteX43" fmla="*/ 378844 w 422775"/>
                  <a:gd name="connsiteY43" fmla="*/ 5344 h 146882"/>
                  <a:gd name="connsiteX44" fmla="*/ 387222 w 422775"/>
                  <a:gd name="connsiteY44" fmla="*/ 25520 h 146882"/>
                  <a:gd name="connsiteX45" fmla="*/ 417258 w 422775"/>
                  <a:gd name="connsiteY45" fmla="*/ 30479 h 146882"/>
                  <a:gd name="connsiteX46" fmla="*/ 421305 w 422775"/>
                  <a:gd name="connsiteY46" fmla="*/ 33157 h 146882"/>
                  <a:gd name="connsiteX47" fmla="*/ 417372 w 422775"/>
                  <a:gd name="connsiteY47" fmla="*/ 43815 h 146882"/>
                  <a:gd name="connsiteX48" fmla="*/ 71813 w 422775"/>
                  <a:gd name="connsiteY48" fmla="*/ 92603 h 146882"/>
                  <a:gd name="connsiteX49" fmla="*/ 70958 w 422775"/>
                  <a:gd name="connsiteY49" fmla="*/ 82287 h 146882"/>
                  <a:gd name="connsiteX50" fmla="*/ 67367 w 422775"/>
                  <a:gd name="connsiteY50" fmla="*/ 33157 h 146882"/>
                  <a:gd name="connsiteX51" fmla="*/ 58932 w 422775"/>
                  <a:gd name="connsiteY51" fmla="*/ 27116 h 146882"/>
                  <a:gd name="connsiteX52" fmla="*/ 47192 w 422775"/>
                  <a:gd name="connsiteY52" fmla="*/ 11499 h 146882"/>
                  <a:gd name="connsiteX53" fmla="*/ 33114 w 422775"/>
                  <a:gd name="connsiteY53" fmla="*/ 4888 h 146882"/>
                  <a:gd name="connsiteX54" fmla="*/ 17384 w 422775"/>
                  <a:gd name="connsiteY54" fmla="*/ 8992 h 146882"/>
                  <a:gd name="connsiteX55" fmla="*/ 11057 w 422775"/>
                  <a:gd name="connsiteY55" fmla="*/ 7054 h 146882"/>
                  <a:gd name="connsiteX56" fmla="*/ 0 w 422775"/>
                  <a:gd name="connsiteY56" fmla="*/ 5629 h 146882"/>
                  <a:gd name="connsiteX57" fmla="*/ 741 w 422775"/>
                  <a:gd name="connsiteY57" fmla="*/ 10246 h 146882"/>
                  <a:gd name="connsiteX58" fmla="*/ 3135 w 422775"/>
                  <a:gd name="connsiteY58" fmla="*/ 29852 h 146882"/>
                  <a:gd name="connsiteX59" fmla="*/ 21031 w 422775"/>
                  <a:gd name="connsiteY59" fmla="*/ 75789 h 146882"/>
                  <a:gd name="connsiteX60" fmla="*/ 31062 w 422775"/>
                  <a:gd name="connsiteY60" fmla="*/ 84111 h 146882"/>
                  <a:gd name="connsiteX61" fmla="*/ 43202 w 422775"/>
                  <a:gd name="connsiteY61" fmla="*/ 104800 h 146882"/>
                  <a:gd name="connsiteX62" fmla="*/ 69647 w 422775"/>
                  <a:gd name="connsiteY62" fmla="*/ 116199 h 146882"/>
                  <a:gd name="connsiteX63" fmla="*/ 71415 w 422775"/>
                  <a:gd name="connsiteY63" fmla="*/ 118251 h 146882"/>
                  <a:gd name="connsiteX64" fmla="*/ 72839 w 422775"/>
                  <a:gd name="connsiteY64" fmla="*/ 116028 h 146882"/>
                  <a:gd name="connsiteX65" fmla="*/ 81616 w 422775"/>
                  <a:gd name="connsiteY65" fmla="*/ 106681 h 146882"/>
                  <a:gd name="connsiteX66" fmla="*/ 75917 w 422775"/>
                  <a:gd name="connsiteY66" fmla="*/ 99100 h 146882"/>
                  <a:gd name="connsiteX67" fmla="*/ 71813 w 422775"/>
                  <a:gd name="connsiteY67" fmla="*/ 92603 h 14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22775" h="146882">
                    <a:moveTo>
                      <a:pt x="417372" y="43815"/>
                    </a:moveTo>
                    <a:cubicBezTo>
                      <a:pt x="413041" y="44693"/>
                      <a:pt x="408652" y="44824"/>
                      <a:pt x="404264" y="44214"/>
                    </a:cubicBezTo>
                    <a:cubicBezTo>
                      <a:pt x="399761" y="43548"/>
                      <a:pt x="395258" y="45656"/>
                      <a:pt x="392865" y="49572"/>
                    </a:cubicBezTo>
                    <a:cubicBezTo>
                      <a:pt x="391554" y="52650"/>
                      <a:pt x="392523" y="56810"/>
                      <a:pt x="390072" y="59147"/>
                    </a:cubicBezTo>
                    <a:lnTo>
                      <a:pt x="390072" y="59147"/>
                    </a:lnTo>
                    <a:cubicBezTo>
                      <a:pt x="381579" y="57420"/>
                      <a:pt x="372860" y="57289"/>
                      <a:pt x="364368" y="58748"/>
                    </a:cubicBezTo>
                    <a:cubicBezTo>
                      <a:pt x="353367" y="61142"/>
                      <a:pt x="342766" y="69349"/>
                      <a:pt x="341570" y="80520"/>
                    </a:cubicBezTo>
                    <a:cubicBezTo>
                      <a:pt x="340999" y="84567"/>
                      <a:pt x="341570" y="89126"/>
                      <a:pt x="338890" y="92204"/>
                    </a:cubicBezTo>
                    <a:cubicBezTo>
                      <a:pt x="335129" y="96592"/>
                      <a:pt x="327036" y="95567"/>
                      <a:pt x="324186" y="100525"/>
                    </a:cubicBezTo>
                    <a:cubicBezTo>
                      <a:pt x="321906" y="104401"/>
                      <a:pt x="324186" y="109359"/>
                      <a:pt x="323730" y="113805"/>
                    </a:cubicBezTo>
                    <a:cubicBezTo>
                      <a:pt x="322761" y="120188"/>
                      <a:pt x="315978" y="123608"/>
                      <a:pt x="309994" y="126002"/>
                    </a:cubicBezTo>
                    <a:cubicBezTo>
                      <a:pt x="306233" y="127695"/>
                      <a:pt x="302243" y="128920"/>
                      <a:pt x="298196" y="129650"/>
                    </a:cubicBezTo>
                    <a:cubicBezTo>
                      <a:pt x="294378" y="129889"/>
                      <a:pt x="290616" y="129889"/>
                      <a:pt x="286797" y="129650"/>
                    </a:cubicBezTo>
                    <a:cubicBezTo>
                      <a:pt x="274316" y="129547"/>
                      <a:pt x="262062" y="133269"/>
                      <a:pt x="251746" y="140308"/>
                    </a:cubicBezTo>
                    <a:cubicBezTo>
                      <a:pt x="248326" y="143083"/>
                      <a:pt x="244508" y="145249"/>
                      <a:pt x="240347" y="146691"/>
                    </a:cubicBezTo>
                    <a:cubicBezTo>
                      <a:pt x="232082" y="147785"/>
                      <a:pt x="223990" y="144121"/>
                      <a:pt x="219316" y="137230"/>
                    </a:cubicBezTo>
                    <a:cubicBezTo>
                      <a:pt x="214813" y="131530"/>
                      <a:pt x="211621" y="125033"/>
                      <a:pt x="207290" y="119276"/>
                    </a:cubicBezTo>
                    <a:lnTo>
                      <a:pt x="210311" y="118934"/>
                    </a:lnTo>
                    <a:cubicBezTo>
                      <a:pt x="214357" y="118370"/>
                      <a:pt x="218461" y="118803"/>
                      <a:pt x="222279" y="120188"/>
                    </a:cubicBezTo>
                    <a:cubicBezTo>
                      <a:pt x="226155" y="121841"/>
                      <a:pt x="228150" y="126133"/>
                      <a:pt x="226953" y="130162"/>
                    </a:cubicBezTo>
                    <a:cubicBezTo>
                      <a:pt x="232709" y="130094"/>
                      <a:pt x="238466" y="129273"/>
                      <a:pt x="244051" y="127712"/>
                    </a:cubicBezTo>
                    <a:cubicBezTo>
                      <a:pt x="244051" y="121385"/>
                      <a:pt x="244051" y="115059"/>
                      <a:pt x="244051" y="108732"/>
                    </a:cubicBezTo>
                    <a:cubicBezTo>
                      <a:pt x="243881" y="106453"/>
                      <a:pt x="244222" y="104161"/>
                      <a:pt x="244963" y="102007"/>
                    </a:cubicBezTo>
                    <a:cubicBezTo>
                      <a:pt x="247585" y="97311"/>
                      <a:pt x="252657" y="94552"/>
                      <a:pt x="258015" y="94940"/>
                    </a:cubicBezTo>
                    <a:cubicBezTo>
                      <a:pt x="263258" y="94940"/>
                      <a:pt x="268502" y="96137"/>
                      <a:pt x="273689" y="95510"/>
                    </a:cubicBezTo>
                    <a:cubicBezTo>
                      <a:pt x="279160" y="95396"/>
                      <a:pt x="283834" y="91594"/>
                      <a:pt x="285088" y="86276"/>
                    </a:cubicBezTo>
                    <a:cubicBezTo>
                      <a:pt x="284917" y="84379"/>
                      <a:pt x="284917" y="82475"/>
                      <a:pt x="285088" y="80577"/>
                    </a:cubicBezTo>
                    <a:cubicBezTo>
                      <a:pt x="286170" y="76815"/>
                      <a:pt x="290787" y="75447"/>
                      <a:pt x="292953" y="72028"/>
                    </a:cubicBezTo>
                    <a:cubicBezTo>
                      <a:pt x="296430" y="66328"/>
                      <a:pt x="290844" y="55898"/>
                      <a:pt x="297057" y="52878"/>
                    </a:cubicBezTo>
                    <a:cubicBezTo>
                      <a:pt x="298767" y="52262"/>
                      <a:pt x="300647" y="52120"/>
                      <a:pt x="302414" y="52479"/>
                    </a:cubicBezTo>
                    <a:lnTo>
                      <a:pt x="311476" y="53504"/>
                    </a:lnTo>
                    <a:cubicBezTo>
                      <a:pt x="311248" y="57300"/>
                      <a:pt x="311248" y="61108"/>
                      <a:pt x="311476" y="64903"/>
                    </a:cubicBezTo>
                    <a:cubicBezTo>
                      <a:pt x="311476" y="65416"/>
                      <a:pt x="311648" y="65912"/>
                      <a:pt x="311932" y="66328"/>
                    </a:cubicBezTo>
                    <a:cubicBezTo>
                      <a:pt x="312160" y="66562"/>
                      <a:pt x="312445" y="66756"/>
                      <a:pt x="312730" y="66898"/>
                    </a:cubicBezTo>
                    <a:cubicBezTo>
                      <a:pt x="317176" y="69286"/>
                      <a:pt x="322704" y="67930"/>
                      <a:pt x="325497" y="63764"/>
                    </a:cubicBezTo>
                    <a:cubicBezTo>
                      <a:pt x="326010" y="62407"/>
                      <a:pt x="326636" y="61090"/>
                      <a:pt x="327321" y="59831"/>
                    </a:cubicBezTo>
                    <a:cubicBezTo>
                      <a:pt x="328118" y="58856"/>
                      <a:pt x="329202" y="58081"/>
                      <a:pt x="330341" y="57551"/>
                    </a:cubicBezTo>
                    <a:lnTo>
                      <a:pt x="334730" y="55100"/>
                    </a:lnTo>
                    <a:cubicBezTo>
                      <a:pt x="335870" y="54525"/>
                      <a:pt x="336896" y="53750"/>
                      <a:pt x="337751" y="52821"/>
                    </a:cubicBezTo>
                    <a:cubicBezTo>
                      <a:pt x="338549" y="51595"/>
                      <a:pt x="339062" y="50187"/>
                      <a:pt x="339233" y="48717"/>
                    </a:cubicBezTo>
                    <a:cubicBezTo>
                      <a:pt x="339917" y="43827"/>
                      <a:pt x="339574" y="38845"/>
                      <a:pt x="338092" y="34126"/>
                    </a:cubicBezTo>
                    <a:cubicBezTo>
                      <a:pt x="340372" y="29795"/>
                      <a:pt x="344989" y="27179"/>
                      <a:pt x="349891" y="27401"/>
                    </a:cubicBezTo>
                    <a:cubicBezTo>
                      <a:pt x="349891" y="17997"/>
                      <a:pt x="350461" y="6883"/>
                      <a:pt x="358440" y="1981"/>
                    </a:cubicBezTo>
                    <a:cubicBezTo>
                      <a:pt x="365222" y="-1604"/>
                      <a:pt x="373544" y="-230"/>
                      <a:pt x="378844" y="5344"/>
                    </a:cubicBezTo>
                    <a:cubicBezTo>
                      <a:pt x="383916" y="10867"/>
                      <a:pt x="386880" y="18014"/>
                      <a:pt x="387222" y="25520"/>
                    </a:cubicBezTo>
                    <a:cubicBezTo>
                      <a:pt x="397481" y="24842"/>
                      <a:pt x="407741" y="26535"/>
                      <a:pt x="417258" y="30479"/>
                    </a:cubicBezTo>
                    <a:cubicBezTo>
                      <a:pt x="418797" y="30986"/>
                      <a:pt x="420222" y="31915"/>
                      <a:pt x="421305" y="33157"/>
                    </a:cubicBezTo>
                    <a:cubicBezTo>
                      <a:pt x="424782" y="37033"/>
                      <a:pt x="421533" y="42391"/>
                      <a:pt x="417372" y="43815"/>
                    </a:cubicBezTo>
                    <a:close/>
                    <a:moveTo>
                      <a:pt x="71813" y="92603"/>
                    </a:moveTo>
                    <a:cubicBezTo>
                      <a:pt x="70788" y="89269"/>
                      <a:pt x="70502" y="85746"/>
                      <a:pt x="70958" y="82287"/>
                    </a:cubicBezTo>
                    <a:cubicBezTo>
                      <a:pt x="72156" y="65644"/>
                      <a:pt x="74777" y="48090"/>
                      <a:pt x="67367" y="33157"/>
                    </a:cubicBezTo>
                    <a:cubicBezTo>
                      <a:pt x="65715" y="29795"/>
                      <a:pt x="62580" y="26261"/>
                      <a:pt x="58932" y="27116"/>
                    </a:cubicBezTo>
                    <a:cubicBezTo>
                      <a:pt x="59446" y="20220"/>
                      <a:pt x="53233" y="14577"/>
                      <a:pt x="47192" y="11499"/>
                    </a:cubicBezTo>
                    <a:cubicBezTo>
                      <a:pt x="42575" y="9163"/>
                      <a:pt x="37445" y="7567"/>
                      <a:pt x="33114" y="4888"/>
                    </a:cubicBezTo>
                    <a:cubicBezTo>
                      <a:pt x="28326" y="7567"/>
                      <a:pt x="22912" y="8980"/>
                      <a:pt x="17384" y="8992"/>
                    </a:cubicBezTo>
                    <a:cubicBezTo>
                      <a:pt x="15218" y="8513"/>
                      <a:pt x="13109" y="7863"/>
                      <a:pt x="11057" y="7054"/>
                    </a:cubicBezTo>
                    <a:cubicBezTo>
                      <a:pt x="7466" y="6039"/>
                      <a:pt x="3762" y="5561"/>
                      <a:pt x="0" y="5629"/>
                    </a:cubicBezTo>
                    <a:cubicBezTo>
                      <a:pt x="342" y="7151"/>
                      <a:pt x="570" y="8695"/>
                      <a:pt x="741" y="10246"/>
                    </a:cubicBezTo>
                    <a:lnTo>
                      <a:pt x="3135" y="29852"/>
                    </a:lnTo>
                    <a:cubicBezTo>
                      <a:pt x="5244" y="46551"/>
                      <a:pt x="8151" y="64960"/>
                      <a:pt x="21031" y="75789"/>
                    </a:cubicBezTo>
                    <a:cubicBezTo>
                      <a:pt x="24564" y="78297"/>
                      <a:pt x="27928" y="81079"/>
                      <a:pt x="31062" y="84111"/>
                    </a:cubicBezTo>
                    <a:cubicBezTo>
                      <a:pt x="36249" y="90266"/>
                      <a:pt x="37104" y="99499"/>
                      <a:pt x="43202" y="104800"/>
                    </a:cubicBezTo>
                    <a:cubicBezTo>
                      <a:pt x="50554" y="111183"/>
                      <a:pt x="62751" y="109359"/>
                      <a:pt x="69647" y="116199"/>
                    </a:cubicBezTo>
                    <a:cubicBezTo>
                      <a:pt x="70331" y="116814"/>
                      <a:pt x="70901" y="117504"/>
                      <a:pt x="71415" y="118251"/>
                    </a:cubicBezTo>
                    <a:cubicBezTo>
                      <a:pt x="71870" y="117510"/>
                      <a:pt x="72326" y="116769"/>
                      <a:pt x="72839" y="116028"/>
                    </a:cubicBezTo>
                    <a:cubicBezTo>
                      <a:pt x="75347" y="112551"/>
                      <a:pt x="78311" y="109411"/>
                      <a:pt x="81616" y="106681"/>
                    </a:cubicBezTo>
                    <a:lnTo>
                      <a:pt x="75917" y="99100"/>
                    </a:lnTo>
                    <a:cubicBezTo>
                      <a:pt x="74207" y="97151"/>
                      <a:pt x="72839" y="94963"/>
                      <a:pt x="71813" y="926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1" name="Freihandform: Form 387">
                <a:extLst>
                  <a:ext uri="{FF2B5EF4-FFF2-40B4-BE49-F238E27FC236}">
                    <a16:creationId xmlns:a16="http://schemas.microsoft.com/office/drawing/2014/main" id="{C21BE284-87F0-C41A-01C0-B9FAF084459F}"/>
                  </a:ext>
                </a:extLst>
              </p:cNvPr>
              <p:cNvSpPr/>
              <p:nvPr/>
            </p:nvSpPr>
            <p:spPr>
              <a:xfrm>
                <a:off x="6821760" y="4328552"/>
                <a:ext cx="477219" cy="197801"/>
              </a:xfrm>
              <a:custGeom>
                <a:avLst/>
                <a:gdLst>
                  <a:gd name="connsiteX0" fmla="*/ 201819 w 477219"/>
                  <a:gd name="connsiteY0" fmla="*/ 69135 h 197801"/>
                  <a:gd name="connsiteX1" fmla="*/ 205295 w 477219"/>
                  <a:gd name="connsiteY1" fmla="*/ 68337 h 197801"/>
                  <a:gd name="connsiteX2" fmla="*/ 210368 w 477219"/>
                  <a:gd name="connsiteY2" fmla="*/ 61896 h 197801"/>
                  <a:gd name="connsiteX3" fmla="*/ 218917 w 477219"/>
                  <a:gd name="connsiteY3" fmla="*/ 60015 h 197801"/>
                  <a:gd name="connsiteX4" fmla="*/ 226440 w 477219"/>
                  <a:gd name="connsiteY4" fmla="*/ 56254 h 197801"/>
                  <a:gd name="connsiteX5" fmla="*/ 227523 w 477219"/>
                  <a:gd name="connsiteY5" fmla="*/ 51637 h 197801"/>
                  <a:gd name="connsiteX6" fmla="*/ 235274 w 477219"/>
                  <a:gd name="connsiteY6" fmla="*/ 47135 h 197801"/>
                  <a:gd name="connsiteX7" fmla="*/ 235901 w 477219"/>
                  <a:gd name="connsiteY7" fmla="*/ 43715 h 197801"/>
                  <a:gd name="connsiteX8" fmla="*/ 239948 w 477219"/>
                  <a:gd name="connsiteY8" fmla="*/ 41036 h 197801"/>
                  <a:gd name="connsiteX9" fmla="*/ 249865 w 477219"/>
                  <a:gd name="connsiteY9" fmla="*/ 46280 h 197801"/>
                  <a:gd name="connsiteX10" fmla="*/ 246217 w 477219"/>
                  <a:gd name="connsiteY10" fmla="*/ 56539 h 197801"/>
                  <a:gd name="connsiteX11" fmla="*/ 239435 w 477219"/>
                  <a:gd name="connsiteY11" fmla="*/ 59274 h 197801"/>
                  <a:gd name="connsiteX12" fmla="*/ 236927 w 477219"/>
                  <a:gd name="connsiteY12" fmla="*/ 72725 h 197801"/>
                  <a:gd name="connsiteX13" fmla="*/ 227238 w 477219"/>
                  <a:gd name="connsiteY13" fmla="*/ 75461 h 197801"/>
                  <a:gd name="connsiteX14" fmla="*/ 212989 w 477219"/>
                  <a:gd name="connsiteY14" fmla="*/ 85435 h 197801"/>
                  <a:gd name="connsiteX15" fmla="*/ 185290 w 477219"/>
                  <a:gd name="connsiteY15" fmla="*/ 86119 h 197801"/>
                  <a:gd name="connsiteX16" fmla="*/ 178907 w 477219"/>
                  <a:gd name="connsiteY16" fmla="*/ 82357 h 197801"/>
                  <a:gd name="connsiteX17" fmla="*/ 175829 w 477219"/>
                  <a:gd name="connsiteY17" fmla="*/ 77627 h 197801"/>
                  <a:gd name="connsiteX18" fmla="*/ 170129 w 477219"/>
                  <a:gd name="connsiteY18" fmla="*/ 75632 h 197801"/>
                  <a:gd name="connsiteX19" fmla="*/ 161979 w 477219"/>
                  <a:gd name="connsiteY19" fmla="*/ 61326 h 197801"/>
                  <a:gd name="connsiteX20" fmla="*/ 180103 w 477219"/>
                  <a:gd name="connsiteY20" fmla="*/ 63492 h 197801"/>
                  <a:gd name="connsiteX21" fmla="*/ 183979 w 477219"/>
                  <a:gd name="connsiteY21" fmla="*/ 66570 h 197801"/>
                  <a:gd name="connsiteX22" fmla="*/ 201819 w 477219"/>
                  <a:gd name="connsiteY22" fmla="*/ 69135 h 197801"/>
                  <a:gd name="connsiteX23" fmla="*/ 268445 w 477219"/>
                  <a:gd name="connsiteY23" fmla="*/ 32088 h 197801"/>
                  <a:gd name="connsiteX24" fmla="*/ 259953 w 477219"/>
                  <a:gd name="connsiteY24" fmla="*/ 27358 h 197801"/>
                  <a:gd name="connsiteX25" fmla="*/ 259440 w 477219"/>
                  <a:gd name="connsiteY25" fmla="*/ 20746 h 197801"/>
                  <a:gd name="connsiteX26" fmla="*/ 254539 w 477219"/>
                  <a:gd name="connsiteY26" fmla="*/ 18010 h 197801"/>
                  <a:gd name="connsiteX27" fmla="*/ 248839 w 477219"/>
                  <a:gd name="connsiteY27" fmla="*/ 20176 h 197801"/>
                  <a:gd name="connsiteX28" fmla="*/ 250549 w 477219"/>
                  <a:gd name="connsiteY28" fmla="*/ 28839 h 197801"/>
                  <a:gd name="connsiteX29" fmla="*/ 254994 w 477219"/>
                  <a:gd name="connsiteY29" fmla="*/ 32829 h 197801"/>
                  <a:gd name="connsiteX30" fmla="*/ 260694 w 477219"/>
                  <a:gd name="connsiteY30" fmla="*/ 44228 h 197801"/>
                  <a:gd name="connsiteX31" fmla="*/ 262005 w 477219"/>
                  <a:gd name="connsiteY31" fmla="*/ 47762 h 197801"/>
                  <a:gd name="connsiteX32" fmla="*/ 269129 w 477219"/>
                  <a:gd name="connsiteY32" fmla="*/ 48742 h 197801"/>
                  <a:gd name="connsiteX33" fmla="*/ 269528 w 477219"/>
                  <a:gd name="connsiteY33" fmla="*/ 48389 h 197801"/>
                  <a:gd name="connsiteX34" fmla="*/ 270953 w 477219"/>
                  <a:gd name="connsiteY34" fmla="*/ 40865 h 197801"/>
                  <a:gd name="connsiteX35" fmla="*/ 268616 w 477219"/>
                  <a:gd name="connsiteY35" fmla="*/ 32088 h 197801"/>
                  <a:gd name="connsiteX36" fmla="*/ 325440 w 477219"/>
                  <a:gd name="connsiteY36" fmla="*/ 75803 h 197801"/>
                  <a:gd name="connsiteX37" fmla="*/ 325440 w 477219"/>
                  <a:gd name="connsiteY37" fmla="*/ 74207 h 197801"/>
                  <a:gd name="connsiteX38" fmla="*/ 320083 w 477219"/>
                  <a:gd name="connsiteY38" fmla="*/ 71585 h 197801"/>
                  <a:gd name="connsiteX39" fmla="*/ 314383 w 477219"/>
                  <a:gd name="connsiteY39" fmla="*/ 69648 h 197801"/>
                  <a:gd name="connsiteX40" fmla="*/ 313528 w 477219"/>
                  <a:gd name="connsiteY40" fmla="*/ 66513 h 197801"/>
                  <a:gd name="connsiteX41" fmla="*/ 307259 w 477219"/>
                  <a:gd name="connsiteY41" fmla="*/ 63264 h 197801"/>
                  <a:gd name="connsiteX42" fmla="*/ 303440 w 477219"/>
                  <a:gd name="connsiteY42" fmla="*/ 67653 h 197801"/>
                  <a:gd name="connsiteX43" fmla="*/ 302756 w 477219"/>
                  <a:gd name="connsiteY43" fmla="*/ 73637 h 197801"/>
                  <a:gd name="connsiteX44" fmla="*/ 302756 w 477219"/>
                  <a:gd name="connsiteY44" fmla="*/ 77171 h 197801"/>
                  <a:gd name="connsiteX45" fmla="*/ 302756 w 477219"/>
                  <a:gd name="connsiteY45" fmla="*/ 79394 h 197801"/>
                  <a:gd name="connsiteX46" fmla="*/ 311077 w 477219"/>
                  <a:gd name="connsiteY46" fmla="*/ 83839 h 197801"/>
                  <a:gd name="connsiteX47" fmla="*/ 311875 w 477219"/>
                  <a:gd name="connsiteY47" fmla="*/ 90052 h 197801"/>
                  <a:gd name="connsiteX48" fmla="*/ 317575 w 477219"/>
                  <a:gd name="connsiteY48" fmla="*/ 92389 h 197801"/>
                  <a:gd name="connsiteX49" fmla="*/ 319228 w 477219"/>
                  <a:gd name="connsiteY49" fmla="*/ 92389 h 197801"/>
                  <a:gd name="connsiteX50" fmla="*/ 319569 w 477219"/>
                  <a:gd name="connsiteY50" fmla="*/ 94212 h 197801"/>
                  <a:gd name="connsiteX51" fmla="*/ 326466 w 477219"/>
                  <a:gd name="connsiteY51" fmla="*/ 103389 h 197801"/>
                  <a:gd name="connsiteX52" fmla="*/ 329316 w 477219"/>
                  <a:gd name="connsiteY52" fmla="*/ 103389 h 197801"/>
                  <a:gd name="connsiteX53" fmla="*/ 332621 w 477219"/>
                  <a:gd name="connsiteY53" fmla="*/ 99627 h 197801"/>
                  <a:gd name="connsiteX54" fmla="*/ 332621 w 477219"/>
                  <a:gd name="connsiteY54" fmla="*/ 94383 h 197801"/>
                  <a:gd name="connsiteX55" fmla="*/ 332280 w 477219"/>
                  <a:gd name="connsiteY55" fmla="*/ 87886 h 197801"/>
                  <a:gd name="connsiteX56" fmla="*/ 328632 w 477219"/>
                  <a:gd name="connsiteY56" fmla="*/ 78311 h 197801"/>
                  <a:gd name="connsiteX57" fmla="*/ 325611 w 477219"/>
                  <a:gd name="connsiteY57" fmla="*/ 75803 h 197801"/>
                  <a:gd name="connsiteX58" fmla="*/ 350232 w 477219"/>
                  <a:gd name="connsiteY58" fmla="*/ 93300 h 197801"/>
                  <a:gd name="connsiteX59" fmla="*/ 343736 w 477219"/>
                  <a:gd name="connsiteY59" fmla="*/ 97005 h 197801"/>
                  <a:gd name="connsiteX60" fmla="*/ 343165 w 477219"/>
                  <a:gd name="connsiteY60" fmla="*/ 97860 h 197801"/>
                  <a:gd name="connsiteX61" fmla="*/ 341570 w 477219"/>
                  <a:gd name="connsiteY61" fmla="*/ 98487 h 197801"/>
                  <a:gd name="connsiteX62" fmla="*/ 340715 w 477219"/>
                  <a:gd name="connsiteY62" fmla="*/ 101964 h 197801"/>
                  <a:gd name="connsiteX63" fmla="*/ 350062 w 477219"/>
                  <a:gd name="connsiteY63" fmla="*/ 106466 h 197801"/>
                  <a:gd name="connsiteX64" fmla="*/ 350916 w 477219"/>
                  <a:gd name="connsiteY64" fmla="*/ 106466 h 197801"/>
                  <a:gd name="connsiteX65" fmla="*/ 351430 w 477219"/>
                  <a:gd name="connsiteY65" fmla="*/ 107150 h 197801"/>
                  <a:gd name="connsiteX66" fmla="*/ 356502 w 477219"/>
                  <a:gd name="connsiteY66" fmla="*/ 111539 h 197801"/>
                  <a:gd name="connsiteX67" fmla="*/ 362202 w 477219"/>
                  <a:gd name="connsiteY67" fmla="*/ 108803 h 197801"/>
                  <a:gd name="connsiteX68" fmla="*/ 362886 w 477219"/>
                  <a:gd name="connsiteY68" fmla="*/ 105782 h 197801"/>
                  <a:gd name="connsiteX69" fmla="*/ 362886 w 477219"/>
                  <a:gd name="connsiteY69" fmla="*/ 96891 h 197801"/>
                  <a:gd name="connsiteX70" fmla="*/ 350289 w 477219"/>
                  <a:gd name="connsiteY70" fmla="*/ 93300 h 197801"/>
                  <a:gd name="connsiteX71" fmla="*/ 402725 w 477219"/>
                  <a:gd name="connsiteY71" fmla="*/ 137357 h 197801"/>
                  <a:gd name="connsiteX72" fmla="*/ 410021 w 477219"/>
                  <a:gd name="connsiteY72" fmla="*/ 139637 h 197801"/>
                  <a:gd name="connsiteX73" fmla="*/ 413440 w 477219"/>
                  <a:gd name="connsiteY73" fmla="*/ 134622 h 197801"/>
                  <a:gd name="connsiteX74" fmla="*/ 413098 w 477219"/>
                  <a:gd name="connsiteY74" fmla="*/ 128409 h 197801"/>
                  <a:gd name="connsiteX75" fmla="*/ 406486 w 477219"/>
                  <a:gd name="connsiteY75" fmla="*/ 120715 h 197801"/>
                  <a:gd name="connsiteX76" fmla="*/ 399305 w 477219"/>
                  <a:gd name="connsiteY76" fmla="*/ 119803 h 197801"/>
                  <a:gd name="connsiteX77" fmla="*/ 395658 w 477219"/>
                  <a:gd name="connsiteY77" fmla="*/ 117010 h 197801"/>
                  <a:gd name="connsiteX78" fmla="*/ 389958 w 477219"/>
                  <a:gd name="connsiteY78" fmla="*/ 112337 h 197801"/>
                  <a:gd name="connsiteX79" fmla="*/ 382891 w 477219"/>
                  <a:gd name="connsiteY79" fmla="*/ 111824 h 197801"/>
                  <a:gd name="connsiteX80" fmla="*/ 384031 w 477219"/>
                  <a:gd name="connsiteY80" fmla="*/ 125730 h 197801"/>
                  <a:gd name="connsiteX81" fmla="*/ 390984 w 477219"/>
                  <a:gd name="connsiteY81" fmla="*/ 130119 h 197801"/>
                  <a:gd name="connsiteX82" fmla="*/ 399419 w 477219"/>
                  <a:gd name="connsiteY82" fmla="*/ 129834 h 197801"/>
                  <a:gd name="connsiteX83" fmla="*/ 402782 w 477219"/>
                  <a:gd name="connsiteY83" fmla="*/ 137357 h 197801"/>
                  <a:gd name="connsiteX84" fmla="*/ 448834 w 477219"/>
                  <a:gd name="connsiteY84" fmla="*/ 154912 h 197801"/>
                  <a:gd name="connsiteX85" fmla="*/ 449575 w 477219"/>
                  <a:gd name="connsiteY85" fmla="*/ 150067 h 197801"/>
                  <a:gd name="connsiteX86" fmla="*/ 447807 w 477219"/>
                  <a:gd name="connsiteY86" fmla="*/ 144026 h 197801"/>
                  <a:gd name="connsiteX87" fmla="*/ 443248 w 477219"/>
                  <a:gd name="connsiteY87" fmla="*/ 142259 h 197801"/>
                  <a:gd name="connsiteX88" fmla="*/ 441538 w 477219"/>
                  <a:gd name="connsiteY88" fmla="*/ 140150 h 197801"/>
                  <a:gd name="connsiteX89" fmla="*/ 440398 w 477219"/>
                  <a:gd name="connsiteY89" fmla="*/ 137699 h 197801"/>
                  <a:gd name="connsiteX90" fmla="*/ 439031 w 477219"/>
                  <a:gd name="connsiteY90" fmla="*/ 137357 h 197801"/>
                  <a:gd name="connsiteX91" fmla="*/ 433331 w 477219"/>
                  <a:gd name="connsiteY91" fmla="*/ 137357 h 197801"/>
                  <a:gd name="connsiteX92" fmla="*/ 431678 w 477219"/>
                  <a:gd name="connsiteY92" fmla="*/ 141803 h 197801"/>
                  <a:gd name="connsiteX93" fmla="*/ 431678 w 477219"/>
                  <a:gd name="connsiteY93" fmla="*/ 144197 h 197801"/>
                  <a:gd name="connsiteX94" fmla="*/ 432704 w 477219"/>
                  <a:gd name="connsiteY94" fmla="*/ 146705 h 197801"/>
                  <a:gd name="connsiteX95" fmla="*/ 439145 w 477219"/>
                  <a:gd name="connsiteY95" fmla="*/ 160098 h 197801"/>
                  <a:gd name="connsiteX96" fmla="*/ 443932 w 477219"/>
                  <a:gd name="connsiteY96" fmla="*/ 158958 h 197801"/>
                  <a:gd name="connsiteX97" fmla="*/ 448891 w 477219"/>
                  <a:gd name="connsiteY97" fmla="*/ 154912 h 197801"/>
                  <a:gd name="connsiteX98" fmla="*/ 426378 w 477219"/>
                  <a:gd name="connsiteY98" fmla="*/ 175943 h 197801"/>
                  <a:gd name="connsiteX99" fmla="*/ 433445 w 477219"/>
                  <a:gd name="connsiteY99" fmla="*/ 177026 h 197801"/>
                  <a:gd name="connsiteX100" fmla="*/ 432362 w 477219"/>
                  <a:gd name="connsiteY100" fmla="*/ 167906 h 197801"/>
                  <a:gd name="connsiteX101" fmla="*/ 430880 w 477219"/>
                  <a:gd name="connsiteY101" fmla="*/ 165000 h 197801"/>
                  <a:gd name="connsiteX102" fmla="*/ 429512 w 477219"/>
                  <a:gd name="connsiteY102" fmla="*/ 157704 h 197801"/>
                  <a:gd name="connsiteX103" fmla="*/ 423813 w 477219"/>
                  <a:gd name="connsiteY103" fmla="*/ 157704 h 197801"/>
                  <a:gd name="connsiteX104" fmla="*/ 419197 w 477219"/>
                  <a:gd name="connsiteY104" fmla="*/ 159300 h 197801"/>
                  <a:gd name="connsiteX105" fmla="*/ 417829 w 477219"/>
                  <a:gd name="connsiteY105" fmla="*/ 159300 h 197801"/>
                  <a:gd name="connsiteX106" fmla="*/ 415776 w 477219"/>
                  <a:gd name="connsiteY106" fmla="*/ 155482 h 197801"/>
                  <a:gd name="connsiteX107" fmla="*/ 414067 w 477219"/>
                  <a:gd name="connsiteY107" fmla="*/ 155026 h 197801"/>
                  <a:gd name="connsiteX108" fmla="*/ 407114 w 477219"/>
                  <a:gd name="connsiteY108" fmla="*/ 155881 h 197801"/>
                  <a:gd name="connsiteX109" fmla="*/ 404434 w 477219"/>
                  <a:gd name="connsiteY109" fmla="*/ 164749 h 197801"/>
                  <a:gd name="connsiteX110" fmla="*/ 408025 w 477219"/>
                  <a:gd name="connsiteY110" fmla="*/ 167849 h 197801"/>
                  <a:gd name="connsiteX111" fmla="*/ 421305 w 477219"/>
                  <a:gd name="connsiteY111" fmla="*/ 169958 h 197801"/>
                  <a:gd name="connsiteX112" fmla="*/ 422502 w 477219"/>
                  <a:gd name="connsiteY112" fmla="*/ 169958 h 197801"/>
                  <a:gd name="connsiteX113" fmla="*/ 423072 w 477219"/>
                  <a:gd name="connsiteY113" fmla="*/ 171269 h 197801"/>
                  <a:gd name="connsiteX114" fmla="*/ 426434 w 477219"/>
                  <a:gd name="connsiteY114" fmla="*/ 175943 h 197801"/>
                  <a:gd name="connsiteX115" fmla="*/ 463025 w 477219"/>
                  <a:gd name="connsiteY115" fmla="*/ 177425 h 197801"/>
                  <a:gd name="connsiteX116" fmla="*/ 461429 w 477219"/>
                  <a:gd name="connsiteY116" fmla="*/ 177026 h 197801"/>
                  <a:gd name="connsiteX117" fmla="*/ 453222 w 477219"/>
                  <a:gd name="connsiteY117" fmla="*/ 178165 h 197801"/>
                  <a:gd name="connsiteX118" fmla="*/ 450828 w 477219"/>
                  <a:gd name="connsiteY118" fmla="*/ 186715 h 197801"/>
                  <a:gd name="connsiteX119" fmla="*/ 451512 w 477219"/>
                  <a:gd name="connsiteY119" fmla="*/ 190704 h 197801"/>
                  <a:gd name="connsiteX120" fmla="*/ 456756 w 477219"/>
                  <a:gd name="connsiteY120" fmla="*/ 194580 h 197801"/>
                  <a:gd name="connsiteX121" fmla="*/ 465248 w 477219"/>
                  <a:gd name="connsiteY121" fmla="*/ 197202 h 197801"/>
                  <a:gd name="connsiteX122" fmla="*/ 474367 w 477219"/>
                  <a:gd name="connsiteY122" fmla="*/ 196518 h 197801"/>
                  <a:gd name="connsiteX123" fmla="*/ 477217 w 477219"/>
                  <a:gd name="connsiteY123" fmla="*/ 190818 h 197801"/>
                  <a:gd name="connsiteX124" fmla="*/ 473512 w 477219"/>
                  <a:gd name="connsiteY124" fmla="*/ 185518 h 197801"/>
                  <a:gd name="connsiteX125" fmla="*/ 464621 w 477219"/>
                  <a:gd name="connsiteY125" fmla="*/ 184378 h 197801"/>
                  <a:gd name="connsiteX126" fmla="*/ 463082 w 477219"/>
                  <a:gd name="connsiteY126" fmla="*/ 177425 h 197801"/>
                  <a:gd name="connsiteX127" fmla="*/ 200108 w 477219"/>
                  <a:gd name="connsiteY127" fmla="*/ 172124 h 197801"/>
                  <a:gd name="connsiteX128" fmla="*/ 196632 w 477219"/>
                  <a:gd name="connsiteY128" fmla="*/ 166710 h 197801"/>
                  <a:gd name="connsiteX129" fmla="*/ 178337 w 477219"/>
                  <a:gd name="connsiteY129" fmla="*/ 156394 h 197801"/>
                  <a:gd name="connsiteX130" fmla="*/ 166938 w 477219"/>
                  <a:gd name="connsiteY130" fmla="*/ 140606 h 197801"/>
                  <a:gd name="connsiteX131" fmla="*/ 152005 w 477219"/>
                  <a:gd name="connsiteY131" fmla="*/ 133083 h 197801"/>
                  <a:gd name="connsiteX132" fmla="*/ 144824 w 477219"/>
                  <a:gd name="connsiteY132" fmla="*/ 115984 h 197801"/>
                  <a:gd name="connsiteX133" fmla="*/ 139523 w 477219"/>
                  <a:gd name="connsiteY133" fmla="*/ 107663 h 197801"/>
                  <a:gd name="connsiteX134" fmla="*/ 129834 w 477219"/>
                  <a:gd name="connsiteY134" fmla="*/ 103160 h 197801"/>
                  <a:gd name="connsiteX135" fmla="*/ 128751 w 477219"/>
                  <a:gd name="connsiteY135" fmla="*/ 93984 h 197801"/>
                  <a:gd name="connsiteX136" fmla="*/ 135305 w 477219"/>
                  <a:gd name="connsiteY136" fmla="*/ 93300 h 197801"/>
                  <a:gd name="connsiteX137" fmla="*/ 148756 w 477219"/>
                  <a:gd name="connsiteY137" fmla="*/ 86176 h 197801"/>
                  <a:gd name="connsiteX138" fmla="*/ 137357 w 477219"/>
                  <a:gd name="connsiteY138" fmla="*/ 77285 h 197801"/>
                  <a:gd name="connsiteX139" fmla="*/ 104414 w 477219"/>
                  <a:gd name="connsiteY139" fmla="*/ 60813 h 197801"/>
                  <a:gd name="connsiteX140" fmla="*/ 100254 w 477219"/>
                  <a:gd name="connsiteY140" fmla="*/ 53176 h 197801"/>
                  <a:gd name="connsiteX141" fmla="*/ 94896 w 477219"/>
                  <a:gd name="connsiteY141" fmla="*/ 47477 h 197801"/>
                  <a:gd name="connsiteX142" fmla="*/ 69363 w 477219"/>
                  <a:gd name="connsiteY142" fmla="*/ 29181 h 197801"/>
                  <a:gd name="connsiteX143" fmla="*/ 58875 w 477219"/>
                  <a:gd name="connsiteY143" fmla="*/ 24907 h 197801"/>
                  <a:gd name="connsiteX144" fmla="*/ 50326 w 477219"/>
                  <a:gd name="connsiteY144" fmla="*/ 16130 h 197801"/>
                  <a:gd name="connsiteX145" fmla="*/ 24793 w 477219"/>
                  <a:gd name="connsiteY145" fmla="*/ 10772 h 197801"/>
                  <a:gd name="connsiteX146" fmla="*/ 13394 w 477219"/>
                  <a:gd name="connsiteY146" fmla="*/ 3534 h 197801"/>
                  <a:gd name="connsiteX147" fmla="*/ 1254 w 477219"/>
                  <a:gd name="connsiteY147" fmla="*/ 0 h 197801"/>
                  <a:gd name="connsiteX148" fmla="*/ 0 w 477219"/>
                  <a:gd name="connsiteY148" fmla="*/ 0 h 197801"/>
                  <a:gd name="connsiteX149" fmla="*/ 0 w 477219"/>
                  <a:gd name="connsiteY149" fmla="*/ 143057 h 197801"/>
                  <a:gd name="connsiteX150" fmla="*/ 2622 w 477219"/>
                  <a:gd name="connsiteY150" fmla="*/ 142487 h 197801"/>
                  <a:gd name="connsiteX151" fmla="*/ 16243 w 477219"/>
                  <a:gd name="connsiteY151" fmla="*/ 155083 h 197801"/>
                  <a:gd name="connsiteX152" fmla="*/ 37161 w 477219"/>
                  <a:gd name="connsiteY152" fmla="*/ 154684 h 197801"/>
                  <a:gd name="connsiteX153" fmla="*/ 47819 w 477219"/>
                  <a:gd name="connsiteY153" fmla="*/ 142316 h 197801"/>
                  <a:gd name="connsiteX154" fmla="*/ 51979 w 477219"/>
                  <a:gd name="connsiteY154" fmla="*/ 127725 h 197801"/>
                  <a:gd name="connsiteX155" fmla="*/ 61612 w 477219"/>
                  <a:gd name="connsiteY155" fmla="*/ 122653 h 197801"/>
                  <a:gd name="connsiteX156" fmla="*/ 68736 w 477219"/>
                  <a:gd name="connsiteY156" fmla="*/ 113534 h 197801"/>
                  <a:gd name="connsiteX157" fmla="*/ 83839 w 477219"/>
                  <a:gd name="connsiteY157" fmla="*/ 116554 h 197801"/>
                  <a:gd name="connsiteX158" fmla="*/ 97632 w 477219"/>
                  <a:gd name="connsiteY158" fmla="*/ 125046 h 197801"/>
                  <a:gd name="connsiteX159" fmla="*/ 103331 w 477219"/>
                  <a:gd name="connsiteY159" fmla="*/ 126870 h 197801"/>
                  <a:gd name="connsiteX160" fmla="*/ 106295 w 477219"/>
                  <a:gd name="connsiteY160" fmla="*/ 132570 h 197801"/>
                  <a:gd name="connsiteX161" fmla="*/ 115414 w 477219"/>
                  <a:gd name="connsiteY161" fmla="*/ 137927 h 197801"/>
                  <a:gd name="connsiteX162" fmla="*/ 119062 w 477219"/>
                  <a:gd name="connsiteY162" fmla="*/ 146420 h 197801"/>
                  <a:gd name="connsiteX163" fmla="*/ 125787 w 477219"/>
                  <a:gd name="connsiteY163" fmla="*/ 164373 h 197801"/>
                  <a:gd name="connsiteX164" fmla="*/ 140948 w 477219"/>
                  <a:gd name="connsiteY164" fmla="*/ 172295 h 197801"/>
                  <a:gd name="connsiteX165" fmla="*/ 141860 w 477219"/>
                  <a:gd name="connsiteY165" fmla="*/ 176513 h 197801"/>
                  <a:gd name="connsiteX166" fmla="*/ 146876 w 477219"/>
                  <a:gd name="connsiteY166" fmla="*/ 178850 h 197801"/>
                  <a:gd name="connsiteX167" fmla="*/ 181072 w 477219"/>
                  <a:gd name="connsiteY167" fmla="*/ 180160 h 197801"/>
                  <a:gd name="connsiteX168" fmla="*/ 194295 w 477219"/>
                  <a:gd name="connsiteY168" fmla="*/ 187570 h 197801"/>
                  <a:gd name="connsiteX169" fmla="*/ 208886 w 477219"/>
                  <a:gd name="connsiteY169" fmla="*/ 188482 h 197801"/>
                  <a:gd name="connsiteX170" fmla="*/ 208886 w 477219"/>
                  <a:gd name="connsiteY170" fmla="*/ 177539 h 197801"/>
                  <a:gd name="connsiteX171" fmla="*/ 200223 w 477219"/>
                  <a:gd name="connsiteY171" fmla="*/ 172124 h 19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77219" h="197801">
                    <a:moveTo>
                      <a:pt x="201819" y="69135"/>
                    </a:moveTo>
                    <a:cubicBezTo>
                      <a:pt x="203015" y="69157"/>
                      <a:pt x="204212" y="68884"/>
                      <a:pt x="205295" y="68337"/>
                    </a:cubicBezTo>
                    <a:cubicBezTo>
                      <a:pt x="207689" y="67026"/>
                      <a:pt x="208316" y="63720"/>
                      <a:pt x="210368" y="61896"/>
                    </a:cubicBezTo>
                    <a:cubicBezTo>
                      <a:pt x="212932" y="60340"/>
                      <a:pt x="215953" y="59673"/>
                      <a:pt x="218917" y="60015"/>
                    </a:cubicBezTo>
                    <a:cubicBezTo>
                      <a:pt x="221938" y="60015"/>
                      <a:pt x="225414" y="59047"/>
                      <a:pt x="226440" y="56254"/>
                    </a:cubicBezTo>
                    <a:cubicBezTo>
                      <a:pt x="226953" y="54715"/>
                      <a:pt x="226440" y="52948"/>
                      <a:pt x="227523" y="51637"/>
                    </a:cubicBezTo>
                    <a:cubicBezTo>
                      <a:pt x="229176" y="49016"/>
                      <a:pt x="234021" y="49927"/>
                      <a:pt x="235274" y="47135"/>
                    </a:cubicBezTo>
                    <a:cubicBezTo>
                      <a:pt x="235730" y="46052"/>
                      <a:pt x="235274" y="44798"/>
                      <a:pt x="235901" y="43715"/>
                    </a:cubicBezTo>
                    <a:cubicBezTo>
                      <a:pt x="236699" y="42205"/>
                      <a:pt x="238238" y="41202"/>
                      <a:pt x="239948" y="41036"/>
                    </a:cubicBezTo>
                    <a:cubicBezTo>
                      <a:pt x="244051" y="40426"/>
                      <a:pt x="248041" y="42547"/>
                      <a:pt x="249865" y="46280"/>
                    </a:cubicBezTo>
                    <a:cubicBezTo>
                      <a:pt x="251518" y="50127"/>
                      <a:pt x="249922" y="54590"/>
                      <a:pt x="246217" y="56539"/>
                    </a:cubicBezTo>
                    <a:cubicBezTo>
                      <a:pt x="243995" y="57565"/>
                      <a:pt x="241145" y="57508"/>
                      <a:pt x="239435" y="59274"/>
                    </a:cubicBezTo>
                    <a:cubicBezTo>
                      <a:pt x="236187" y="62637"/>
                      <a:pt x="239891" y="69078"/>
                      <a:pt x="236927" y="72725"/>
                    </a:cubicBezTo>
                    <a:cubicBezTo>
                      <a:pt x="234762" y="75404"/>
                      <a:pt x="230600" y="74720"/>
                      <a:pt x="227238" y="75461"/>
                    </a:cubicBezTo>
                    <a:cubicBezTo>
                      <a:pt x="221539" y="76715"/>
                      <a:pt x="217891" y="82244"/>
                      <a:pt x="212989" y="85435"/>
                    </a:cubicBezTo>
                    <a:cubicBezTo>
                      <a:pt x="204953" y="90622"/>
                      <a:pt x="194352" y="89026"/>
                      <a:pt x="185290" y="86119"/>
                    </a:cubicBezTo>
                    <a:cubicBezTo>
                      <a:pt x="182839" y="85538"/>
                      <a:pt x="180617" y="84227"/>
                      <a:pt x="178907" y="82357"/>
                    </a:cubicBezTo>
                    <a:cubicBezTo>
                      <a:pt x="177767" y="80876"/>
                      <a:pt x="177253" y="78824"/>
                      <a:pt x="175829" y="77627"/>
                    </a:cubicBezTo>
                    <a:cubicBezTo>
                      <a:pt x="174119" y="76527"/>
                      <a:pt x="172181" y="75843"/>
                      <a:pt x="170129" y="75632"/>
                    </a:cubicBezTo>
                    <a:cubicBezTo>
                      <a:pt x="164145" y="73671"/>
                      <a:pt x="160611" y="67482"/>
                      <a:pt x="161979" y="61326"/>
                    </a:cubicBezTo>
                    <a:cubicBezTo>
                      <a:pt x="168077" y="59822"/>
                      <a:pt x="174518" y="60591"/>
                      <a:pt x="180103" y="63492"/>
                    </a:cubicBezTo>
                    <a:cubicBezTo>
                      <a:pt x="181471" y="64461"/>
                      <a:pt x="182611" y="65601"/>
                      <a:pt x="183979" y="66570"/>
                    </a:cubicBezTo>
                    <a:cubicBezTo>
                      <a:pt x="189450" y="69494"/>
                      <a:pt x="195777" y="70400"/>
                      <a:pt x="201819" y="69135"/>
                    </a:cubicBezTo>
                    <a:close/>
                    <a:moveTo>
                      <a:pt x="268445" y="32088"/>
                    </a:moveTo>
                    <a:cubicBezTo>
                      <a:pt x="266507" y="29267"/>
                      <a:pt x="263372" y="27511"/>
                      <a:pt x="259953" y="27358"/>
                    </a:cubicBezTo>
                    <a:cubicBezTo>
                      <a:pt x="258699" y="25534"/>
                      <a:pt x="259953" y="22855"/>
                      <a:pt x="259440" y="20746"/>
                    </a:cubicBezTo>
                    <a:cubicBezTo>
                      <a:pt x="258585" y="18848"/>
                      <a:pt x="256590" y="17731"/>
                      <a:pt x="254539" y="18010"/>
                    </a:cubicBezTo>
                    <a:cubicBezTo>
                      <a:pt x="252487" y="18272"/>
                      <a:pt x="250549" y="19013"/>
                      <a:pt x="248839" y="20176"/>
                    </a:cubicBezTo>
                    <a:cubicBezTo>
                      <a:pt x="248839" y="23146"/>
                      <a:pt x="249409" y="26092"/>
                      <a:pt x="250549" y="28839"/>
                    </a:cubicBezTo>
                    <a:cubicBezTo>
                      <a:pt x="251347" y="30777"/>
                      <a:pt x="252829" y="32886"/>
                      <a:pt x="254994" y="32829"/>
                    </a:cubicBezTo>
                    <a:cubicBezTo>
                      <a:pt x="257673" y="36197"/>
                      <a:pt x="259611" y="40079"/>
                      <a:pt x="260694" y="44228"/>
                    </a:cubicBezTo>
                    <a:cubicBezTo>
                      <a:pt x="260979" y="45465"/>
                      <a:pt x="261378" y="46656"/>
                      <a:pt x="262005" y="47762"/>
                    </a:cubicBezTo>
                    <a:cubicBezTo>
                      <a:pt x="263715" y="49996"/>
                      <a:pt x="266906" y="50435"/>
                      <a:pt x="269129" y="48742"/>
                    </a:cubicBezTo>
                    <a:cubicBezTo>
                      <a:pt x="269243" y="48634"/>
                      <a:pt x="269414" y="48514"/>
                      <a:pt x="269528" y="48389"/>
                    </a:cubicBezTo>
                    <a:cubicBezTo>
                      <a:pt x="271010" y="46189"/>
                      <a:pt x="271580" y="43464"/>
                      <a:pt x="270953" y="40865"/>
                    </a:cubicBezTo>
                    <a:cubicBezTo>
                      <a:pt x="270896" y="37793"/>
                      <a:pt x="270098" y="34784"/>
                      <a:pt x="268616" y="32088"/>
                    </a:cubicBezTo>
                    <a:close/>
                    <a:moveTo>
                      <a:pt x="325440" y="75803"/>
                    </a:moveTo>
                    <a:cubicBezTo>
                      <a:pt x="325440" y="75290"/>
                      <a:pt x="325440" y="74720"/>
                      <a:pt x="325440" y="74207"/>
                    </a:cubicBezTo>
                    <a:cubicBezTo>
                      <a:pt x="324927" y="72155"/>
                      <a:pt x="322248" y="71585"/>
                      <a:pt x="320083" y="71585"/>
                    </a:cubicBezTo>
                    <a:cubicBezTo>
                      <a:pt x="317917" y="71585"/>
                      <a:pt x="315352" y="71585"/>
                      <a:pt x="314383" y="69648"/>
                    </a:cubicBezTo>
                    <a:cubicBezTo>
                      <a:pt x="313984" y="68639"/>
                      <a:pt x="313699" y="67584"/>
                      <a:pt x="313528" y="66513"/>
                    </a:cubicBezTo>
                    <a:cubicBezTo>
                      <a:pt x="312673" y="63891"/>
                      <a:pt x="309880" y="62443"/>
                      <a:pt x="307259" y="63264"/>
                    </a:cubicBezTo>
                    <a:cubicBezTo>
                      <a:pt x="305378" y="64051"/>
                      <a:pt x="303953" y="65675"/>
                      <a:pt x="303440" y="67653"/>
                    </a:cubicBezTo>
                    <a:cubicBezTo>
                      <a:pt x="302870" y="69596"/>
                      <a:pt x="302642" y="71620"/>
                      <a:pt x="302756" y="73637"/>
                    </a:cubicBezTo>
                    <a:lnTo>
                      <a:pt x="302756" y="77171"/>
                    </a:lnTo>
                    <a:cubicBezTo>
                      <a:pt x="302585" y="77906"/>
                      <a:pt x="302585" y="78658"/>
                      <a:pt x="302756" y="79394"/>
                    </a:cubicBezTo>
                    <a:cubicBezTo>
                      <a:pt x="303896" y="82415"/>
                      <a:pt x="308455" y="81674"/>
                      <a:pt x="311077" y="83839"/>
                    </a:cubicBezTo>
                    <a:cubicBezTo>
                      <a:pt x="310052" y="85885"/>
                      <a:pt x="310393" y="88325"/>
                      <a:pt x="311875" y="90052"/>
                    </a:cubicBezTo>
                    <a:cubicBezTo>
                      <a:pt x="313300" y="91704"/>
                      <a:pt x="315409" y="92577"/>
                      <a:pt x="317575" y="92389"/>
                    </a:cubicBezTo>
                    <a:cubicBezTo>
                      <a:pt x="318144" y="92389"/>
                      <a:pt x="318829" y="92389"/>
                      <a:pt x="319228" y="92389"/>
                    </a:cubicBezTo>
                    <a:cubicBezTo>
                      <a:pt x="319626" y="92919"/>
                      <a:pt x="319740" y="93585"/>
                      <a:pt x="319569" y="94212"/>
                    </a:cubicBezTo>
                    <a:cubicBezTo>
                      <a:pt x="319342" y="98532"/>
                      <a:pt x="322248" y="102380"/>
                      <a:pt x="326466" y="103389"/>
                    </a:cubicBezTo>
                    <a:cubicBezTo>
                      <a:pt x="327378" y="103673"/>
                      <a:pt x="328404" y="103673"/>
                      <a:pt x="329316" y="103389"/>
                    </a:cubicBezTo>
                    <a:cubicBezTo>
                      <a:pt x="330912" y="102710"/>
                      <a:pt x="332165" y="101325"/>
                      <a:pt x="332621" y="99627"/>
                    </a:cubicBezTo>
                    <a:cubicBezTo>
                      <a:pt x="332906" y="97889"/>
                      <a:pt x="332906" y="96122"/>
                      <a:pt x="332621" y="94383"/>
                    </a:cubicBezTo>
                    <a:lnTo>
                      <a:pt x="332280" y="87886"/>
                    </a:lnTo>
                    <a:cubicBezTo>
                      <a:pt x="332564" y="84307"/>
                      <a:pt x="331253" y="80779"/>
                      <a:pt x="328632" y="78311"/>
                    </a:cubicBezTo>
                    <a:cubicBezTo>
                      <a:pt x="327720" y="77741"/>
                      <a:pt x="326010" y="77171"/>
                      <a:pt x="325611" y="75803"/>
                    </a:cubicBezTo>
                    <a:close/>
                    <a:moveTo>
                      <a:pt x="350232" y="93300"/>
                    </a:moveTo>
                    <a:cubicBezTo>
                      <a:pt x="347554" y="93181"/>
                      <a:pt x="344989" y="94623"/>
                      <a:pt x="343736" y="97005"/>
                    </a:cubicBezTo>
                    <a:cubicBezTo>
                      <a:pt x="343564" y="97313"/>
                      <a:pt x="343393" y="97598"/>
                      <a:pt x="343165" y="97860"/>
                    </a:cubicBezTo>
                    <a:cubicBezTo>
                      <a:pt x="342652" y="98128"/>
                      <a:pt x="342140" y="98339"/>
                      <a:pt x="341570" y="98487"/>
                    </a:cubicBezTo>
                    <a:cubicBezTo>
                      <a:pt x="340429" y="99057"/>
                      <a:pt x="340315" y="100710"/>
                      <a:pt x="340715" y="101964"/>
                    </a:cubicBezTo>
                    <a:cubicBezTo>
                      <a:pt x="342140" y="105714"/>
                      <a:pt x="346243" y="107697"/>
                      <a:pt x="350062" y="106466"/>
                    </a:cubicBezTo>
                    <a:cubicBezTo>
                      <a:pt x="350346" y="106358"/>
                      <a:pt x="350632" y="106358"/>
                      <a:pt x="350916" y="106466"/>
                    </a:cubicBezTo>
                    <a:cubicBezTo>
                      <a:pt x="351202" y="106614"/>
                      <a:pt x="351373" y="106860"/>
                      <a:pt x="351430" y="107150"/>
                    </a:cubicBezTo>
                    <a:cubicBezTo>
                      <a:pt x="352285" y="109356"/>
                      <a:pt x="354222" y="110997"/>
                      <a:pt x="356502" y="111539"/>
                    </a:cubicBezTo>
                    <a:cubicBezTo>
                      <a:pt x="358782" y="111983"/>
                      <a:pt x="361119" y="110872"/>
                      <a:pt x="362202" y="108803"/>
                    </a:cubicBezTo>
                    <a:cubicBezTo>
                      <a:pt x="362600" y="107845"/>
                      <a:pt x="362829" y="106820"/>
                      <a:pt x="362886" y="105782"/>
                    </a:cubicBezTo>
                    <a:cubicBezTo>
                      <a:pt x="363113" y="102824"/>
                      <a:pt x="363113" y="99849"/>
                      <a:pt x="362886" y="96891"/>
                    </a:cubicBezTo>
                    <a:cubicBezTo>
                      <a:pt x="358782" y="98202"/>
                      <a:pt x="354792" y="93642"/>
                      <a:pt x="350289" y="93300"/>
                    </a:cubicBezTo>
                    <a:close/>
                    <a:moveTo>
                      <a:pt x="402725" y="137357"/>
                    </a:moveTo>
                    <a:cubicBezTo>
                      <a:pt x="404434" y="139603"/>
                      <a:pt x="407341" y="140520"/>
                      <a:pt x="410021" y="139637"/>
                    </a:cubicBezTo>
                    <a:cubicBezTo>
                      <a:pt x="411901" y="138640"/>
                      <a:pt x="413212" y="136759"/>
                      <a:pt x="413440" y="134622"/>
                    </a:cubicBezTo>
                    <a:cubicBezTo>
                      <a:pt x="413668" y="132547"/>
                      <a:pt x="413554" y="130450"/>
                      <a:pt x="413098" y="128409"/>
                    </a:cubicBezTo>
                    <a:cubicBezTo>
                      <a:pt x="409849" y="126979"/>
                      <a:pt x="407398" y="124146"/>
                      <a:pt x="406486" y="120715"/>
                    </a:cubicBezTo>
                    <a:lnTo>
                      <a:pt x="399305" y="119803"/>
                    </a:lnTo>
                    <a:cubicBezTo>
                      <a:pt x="397595" y="119803"/>
                      <a:pt x="395315" y="118720"/>
                      <a:pt x="395658" y="117010"/>
                    </a:cubicBezTo>
                    <a:cubicBezTo>
                      <a:pt x="394005" y="115158"/>
                      <a:pt x="392067" y="113579"/>
                      <a:pt x="389958" y="112337"/>
                    </a:cubicBezTo>
                    <a:cubicBezTo>
                      <a:pt x="387792" y="111071"/>
                      <a:pt x="385170" y="110883"/>
                      <a:pt x="382891" y="111824"/>
                    </a:cubicBezTo>
                    <a:cubicBezTo>
                      <a:pt x="383859" y="116440"/>
                      <a:pt x="381694" y="121627"/>
                      <a:pt x="384031" y="125730"/>
                    </a:cubicBezTo>
                    <a:cubicBezTo>
                      <a:pt x="385627" y="128136"/>
                      <a:pt x="388134" y="129737"/>
                      <a:pt x="390984" y="130119"/>
                    </a:cubicBezTo>
                    <a:cubicBezTo>
                      <a:pt x="393776" y="130450"/>
                      <a:pt x="396626" y="130353"/>
                      <a:pt x="399419" y="129834"/>
                    </a:cubicBezTo>
                    <a:cubicBezTo>
                      <a:pt x="399989" y="132564"/>
                      <a:pt x="401129" y="135135"/>
                      <a:pt x="402782" y="137357"/>
                    </a:cubicBezTo>
                    <a:close/>
                    <a:moveTo>
                      <a:pt x="448834" y="154912"/>
                    </a:moveTo>
                    <a:cubicBezTo>
                      <a:pt x="449403" y="153361"/>
                      <a:pt x="449632" y="151714"/>
                      <a:pt x="449575" y="150067"/>
                    </a:cubicBezTo>
                    <a:cubicBezTo>
                      <a:pt x="450030" y="147884"/>
                      <a:pt x="449346" y="145633"/>
                      <a:pt x="447807" y="144026"/>
                    </a:cubicBezTo>
                    <a:cubicBezTo>
                      <a:pt x="446497" y="143057"/>
                      <a:pt x="444673" y="143114"/>
                      <a:pt x="443248" y="142259"/>
                    </a:cubicBezTo>
                    <a:cubicBezTo>
                      <a:pt x="442450" y="141786"/>
                      <a:pt x="441823" y="141033"/>
                      <a:pt x="441538" y="140150"/>
                    </a:cubicBezTo>
                    <a:cubicBezTo>
                      <a:pt x="441538" y="139238"/>
                      <a:pt x="441196" y="138155"/>
                      <a:pt x="440398" y="137699"/>
                    </a:cubicBezTo>
                    <a:cubicBezTo>
                      <a:pt x="439999" y="137471"/>
                      <a:pt x="439486" y="137357"/>
                      <a:pt x="439031" y="137357"/>
                    </a:cubicBezTo>
                    <a:lnTo>
                      <a:pt x="433331" y="137357"/>
                    </a:lnTo>
                    <a:cubicBezTo>
                      <a:pt x="432419" y="138680"/>
                      <a:pt x="431849" y="140207"/>
                      <a:pt x="431678" y="141803"/>
                    </a:cubicBezTo>
                    <a:cubicBezTo>
                      <a:pt x="431564" y="142595"/>
                      <a:pt x="431564" y="143405"/>
                      <a:pt x="431678" y="144197"/>
                    </a:cubicBezTo>
                    <a:cubicBezTo>
                      <a:pt x="431906" y="145069"/>
                      <a:pt x="432248" y="145907"/>
                      <a:pt x="432704" y="146705"/>
                    </a:cubicBezTo>
                    <a:cubicBezTo>
                      <a:pt x="434813" y="151150"/>
                      <a:pt x="436979" y="155596"/>
                      <a:pt x="439145" y="160098"/>
                    </a:cubicBezTo>
                    <a:cubicBezTo>
                      <a:pt x="440398" y="159015"/>
                      <a:pt x="442279" y="159300"/>
                      <a:pt x="443932" y="158958"/>
                    </a:cubicBezTo>
                    <a:cubicBezTo>
                      <a:pt x="446155" y="158571"/>
                      <a:pt x="448036" y="157038"/>
                      <a:pt x="448891" y="154912"/>
                    </a:cubicBezTo>
                    <a:close/>
                    <a:moveTo>
                      <a:pt x="426378" y="175943"/>
                    </a:moveTo>
                    <a:lnTo>
                      <a:pt x="433445" y="177026"/>
                    </a:lnTo>
                    <a:cubicBezTo>
                      <a:pt x="434243" y="173959"/>
                      <a:pt x="433901" y="170699"/>
                      <a:pt x="432362" y="167906"/>
                    </a:cubicBezTo>
                    <a:cubicBezTo>
                      <a:pt x="431792" y="166995"/>
                      <a:pt x="431279" y="166020"/>
                      <a:pt x="430880" y="165000"/>
                    </a:cubicBezTo>
                    <a:cubicBezTo>
                      <a:pt x="430196" y="162549"/>
                      <a:pt x="431394" y="159300"/>
                      <a:pt x="429512" y="157704"/>
                    </a:cubicBezTo>
                    <a:cubicBezTo>
                      <a:pt x="427632" y="156108"/>
                      <a:pt x="425807" y="156964"/>
                      <a:pt x="423813" y="157704"/>
                    </a:cubicBezTo>
                    <a:lnTo>
                      <a:pt x="419197" y="159300"/>
                    </a:lnTo>
                    <a:cubicBezTo>
                      <a:pt x="418740" y="159409"/>
                      <a:pt x="418284" y="159409"/>
                      <a:pt x="417829" y="159300"/>
                    </a:cubicBezTo>
                    <a:cubicBezTo>
                      <a:pt x="416404" y="158902"/>
                      <a:pt x="416974" y="156450"/>
                      <a:pt x="415776" y="155482"/>
                    </a:cubicBezTo>
                    <a:cubicBezTo>
                      <a:pt x="415264" y="155134"/>
                      <a:pt x="414694" y="154974"/>
                      <a:pt x="414067" y="155026"/>
                    </a:cubicBezTo>
                    <a:cubicBezTo>
                      <a:pt x="411730" y="154701"/>
                      <a:pt x="409336" y="154991"/>
                      <a:pt x="407114" y="155881"/>
                    </a:cubicBezTo>
                    <a:cubicBezTo>
                      <a:pt x="403922" y="157585"/>
                      <a:pt x="402725" y="161552"/>
                      <a:pt x="404434" y="164749"/>
                    </a:cubicBezTo>
                    <a:cubicBezTo>
                      <a:pt x="405175" y="166197"/>
                      <a:pt x="406486" y="167308"/>
                      <a:pt x="408025" y="167849"/>
                    </a:cubicBezTo>
                    <a:cubicBezTo>
                      <a:pt x="412186" y="169764"/>
                      <a:pt x="416745" y="170494"/>
                      <a:pt x="421305" y="169958"/>
                    </a:cubicBezTo>
                    <a:cubicBezTo>
                      <a:pt x="421704" y="169844"/>
                      <a:pt x="422103" y="169844"/>
                      <a:pt x="422502" y="169958"/>
                    </a:cubicBezTo>
                    <a:cubicBezTo>
                      <a:pt x="422901" y="169958"/>
                      <a:pt x="422958" y="170756"/>
                      <a:pt x="423072" y="171269"/>
                    </a:cubicBezTo>
                    <a:cubicBezTo>
                      <a:pt x="423414" y="173264"/>
                      <a:pt x="424668" y="174985"/>
                      <a:pt x="426434" y="175943"/>
                    </a:cubicBezTo>
                    <a:close/>
                    <a:moveTo>
                      <a:pt x="463025" y="177425"/>
                    </a:moveTo>
                    <a:cubicBezTo>
                      <a:pt x="462512" y="177174"/>
                      <a:pt x="462000" y="177037"/>
                      <a:pt x="461429" y="177026"/>
                    </a:cubicBezTo>
                    <a:cubicBezTo>
                      <a:pt x="458636" y="176262"/>
                      <a:pt x="455673" y="176672"/>
                      <a:pt x="453222" y="178165"/>
                    </a:cubicBezTo>
                    <a:cubicBezTo>
                      <a:pt x="451228" y="180531"/>
                      <a:pt x="450315" y="183654"/>
                      <a:pt x="450828" y="186715"/>
                    </a:cubicBezTo>
                    <a:cubicBezTo>
                      <a:pt x="450771" y="188077"/>
                      <a:pt x="450999" y="189439"/>
                      <a:pt x="451512" y="190704"/>
                    </a:cubicBezTo>
                    <a:cubicBezTo>
                      <a:pt x="452710" y="192608"/>
                      <a:pt x="454590" y="193993"/>
                      <a:pt x="456756" y="194580"/>
                    </a:cubicBezTo>
                    <a:cubicBezTo>
                      <a:pt x="459492" y="195657"/>
                      <a:pt x="462341" y="196535"/>
                      <a:pt x="465248" y="197202"/>
                    </a:cubicBezTo>
                    <a:cubicBezTo>
                      <a:pt x="468269" y="198194"/>
                      <a:pt x="471517" y="197948"/>
                      <a:pt x="474367" y="196518"/>
                    </a:cubicBezTo>
                    <a:cubicBezTo>
                      <a:pt x="476248" y="195224"/>
                      <a:pt x="477274" y="193081"/>
                      <a:pt x="477217" y="190818"/>
                    </a:cubicBezTo>
                    <a:cubicBezTo>
                      <a:pt x="476989" y="188527"/>
                      <a:pt x="475564" y="186521"/>
                      <a:pt x="473512" y="185518"/>
                    </a:cubicBezTo>
                    <a:cubicBezTo>
                      <a:pt x="470605" y="184794"/>
                      <a:pt x="467642" y="184412"/>
                      <a:pt x="464621" y="184378"/>
                    </a:cubicBezTo>
                    <a:cubicBezTo>
                      <a:pt x="463709" y="181984"/>
                      <a:pt x="465191" y="178679"/>
                      <a:pt x="463082" y="177425"/>
                    </a:cubicBezTo>
                    <a:close/>
                    <a:moveTo>
                      <a:pt x="200108" y="172124"/>
                    </a:moveTo>
                    <a:cubicBezTo>
                      <a:pt x="198798" y="170414"/>
                      <a:pt x="197886" y="168420"/>
                      <a:pt x="196632" y="166710"/>
                    </a:cubicBezTo>
                    <a:cubicBezTo>
                      <a:pt x="192471" y="161010"/>
                      <a:pt x="184834" y="159243"/>
                      <a:pt x="178337" y="156394"/>
                    </a:cubicBezTo>
                    <a:cubicBezTo>
                      <a:pt x="171839" y="153544"/>
                      <a:pt x="165228" y="147503"/>
                      <a:pt x="166938" y="140606"/>
                    </a:cubicBezTo>
                    <a:cubicBezTo>
                      <a:pt x="161637" y="144140"/>
                      <a:pt x="154456" y="139010"/>
                      <a:pt x="152005" y="133083"/>
                    </a:cubicBezTo>
                    <a:cubicBezTo>
                      <a:pt x="150067" y="127201"/>
                      <a:pt x="147674" y="121479"/>
                      <a:pt x="144824" y="115984"/>
                    </a:cubicBezTo>
                    <a:cubicBezTo>
                      <a:pt x="145792" y="112508"/>
                      <a:pt x="142772" y="109202"/>
                      <a:pt x="139523" y="107663"/>
                    </a:cubicBezTo>
                    <a:cubicBezTo>
                      <a:pt x="136161" y="106523"/>
                      <a:pt x="132911" y="105013"/>
                      <a:pt x="129834" y="103160"/>
                    </a:cubicBezTo>
                    <a:cubicBezTo>
                      <a:pt x="127041" y="100938"/>
                      <a:pt x="125844" y="96093"/>
                      <a:pt x="128751" y="93984"/>
                    </a:cubicBezTo>
                    <a:cubicBezTo>
                      <a:pt x="130746" y="92924"/>
                      <a:pt x="133140" y="92679"/>
                      <a:pt x="135305" y="93300"/>
                    </a:cubicBezTo>
                    <a:cubicBezTo>
                      <a:pt x="141005" y="94041"/>
                      <a:pt x="148699" y="91933"/>
                      <a:pt x="148756" y="86176"/>
                    </a:cubicBezTo>
                    <a:cubicBezTo>
                      <a:pt x="148813" y="80420"/>
                      <a:pt x="142373" y="78311"/>
                      <a:pt x="137357" y="77285"/>
                    </a:cubicBezTo>
                    <a:cubicBezTo>
                      <a:pt x="124933" y="74834"/>
                      <a:pt x="111083" y="71585"/>
                      <a:pt x="104414" y="60813"/>
                    </a:cubicBezTo>
                    <a:cubicBezTo>
                      <a:pt x="102933" y="58363"/>
                      <a:pt x="101850" y="55570"/>
                      <a:pt x="100254" y="53176"/>
                    </a:cubicBezTo>
                    <a:cubicBezTo>
                      <a:pt x="98658" y="51096"/>
                      <a:pt x="96891" y="49181"/>
                      <a:pt x="94896" y="47477"/>
                    </a:cubicBezTo>
                    <a:cubicBezTo>
                      <a:pt x="87772" y="39623"/>
                      <a:pt x="79109" y="33388"/>
                      <a:pt x="69363" y="29181"/>
                    </a:cubicBezTo>
                    <a:cubicBezTo>
                      <a:pt x="65658" y="28304"/>
                      <a:pt x="62124" y="26862"/>
                      <a:pt x="58875" y="24907"/>
                    </a:cubicBezTo>
                    <a:cubicBezTo>
                      <a:pt x="55570" y="22513"/>
                      <a:pt x="53632" y="18580"/>
                      <a:pt x="50326" y="16130"/>
                    </a:cubicBezTo>
                    <a:cubicBezTo>
                      <a:pt x="43259" y="10829"/>
                      <a:pt x="32943" y="14135"/>
                      <a:pt x="24793" y="10772"/>
                    </a:cubicBezTo>
                    <a:cubicBezTo>
                      <a:pt x="20575" y="9062"/>
                      <a:pt x="17270" y="5643"/>
                      <a:pt x="13394" y="3534"/>
                    </a:cubicBezTo>
                    <a:cubicBezTo>
                      <a:pt x="9518" y="1773"/>
                      <a:pt x="5471" y="587"/>
                      <a:pt x="1254" y="0"/>
                    </a:cubicBezTo>
                    <a:lnTo>
                      <a:pt x="0" y="0"/>
                    </a:lnTo>
                    <a:lnTo>
                      <a:pt x="0" y="143057"/>
                    </a:lnTo>
                    <a:cubicBezTo>
                      <a:pt x="912" y="142948"/>
                      <a:pt x="1767" y="142760"/>
                      <a:pt x="2622" y="142487"/>
                    </a:cubicBezTo>
                    <a:cubicBezTo>
                      <a:pt x="1197" y="149383"/>
                      <a:pt x="9233" y="154684"/>
                      <a:pt x="16243" y="155083"/>
                    </a:cubicBezTo>
                    <a:cubicBezTo>
                      <a:pt x="23254" y="155482"/>
                      <a:pt x="30378" y="153088"/>
                      <a:pt x="37161" y="154684"/>
                    </a:cubicBezTo>
                    <a:cubicBezTo>
                      <a:pt x="38814" y="149440"/>
                      <a:pt x="43829" y="146134"/>
                      <a:pt x="47819" y="142316"/>
                    </a:cubicBezTo>
                    <a:cubicBezTo>
                      <a:pt x="51808" y="138497"/>
                      <a:pt x="54943" y="132342"/>
                      <a:pt x="51979" y="127725"/>
                    </a:cubicBezTo>
                    <a:cubicBezTo>
                      <a:pt x="55684" y="129036"/>
                      <a:pt x="59503" y="125958"/>
                      <a:pt x="61612" y="122653"/>
                    </a:cubicBezTo>
                    <a:cubicBezTo>
                      <a:pt x="63207" y="119091"/>
                      <a:pt x="65658" y="115962"/>
                      <a:pt x="68736" y="113534"/>
                    </a:cubicBezTo>
                    <a:cubicBezTo>
                      <a:pt x="73922" y="111573"/>
                      <a:pt x="79793" y="112741"/>
                      <a:pt x="83839" y="116554"/>
                    </a:cubicBezTo>
                    <a:cubicBezTo>
                      <a:pt x="87772" y="120356"/>
                      <a:pt x="92445" y="123251"/>
                      <a:pt x="97632" y="125046"/>
                    </a:cubicBezTo>
                    <a:cubicBezTo>
                      <a:pt x="99684" y="125138"/>
                      <a:pt x="101621" y="125765"/>
                      <a:pt x="103331" y="126870"/>
                    </a:cubicBezTo>
                    <a:cubicBezTo>
                      <a:pt x="104870" y="128238"/>
                      <a:pt x="105155" y="130575"/>
                      <a:pt x="106295" y="132570"/>
                    </a:cubicBezTo>
                    <a:cubicBezTo>
                      <a:pt x="108233" y="135591"/>
                      <a:pt x="111995" y="136331"/>
                      <a:pt x="115414" y="137927"/>
                    </a:cubicBezTo>
                    <a:cubicBezTo>
                      <a:pt x="118834" y="139523"/>
                      <a:pt x="121456" y="143627"/>
                      <a:pt x="119062" y="146420"/>
                    </a:cubicBezTo>
                    <a:cubicBezTo>
                      <a:pt x="125445" y="149919"/>
                      <a:pt x="128295" y="157551"/>
                      <a:pt x="125787" y="164373"/>
                    </a:cubicBezTo>
                    <a:cubicBezTo>
                      <a:pt x="131943" y="164658"/>
                      <a:pt x="139751" y="166197"/>
                      <a:pt x="140948" y="172295"/>
                    </a:cubicBezTo>
                    <a:cubicBezTo>
                      <a:pt x="141005" y="173743"/>
                      <a:pt x="141347" y="175167"/>
                      <a:pt x="141860" y="176513"/>
                    </a:cubicBezTo>
                    <a:cubicBezTo>
                      <a:pt x="143114" y="178012"/>
                      <a:pt x="144938" y="178872"/>
                      <a:pt x="146876" y="178850"/>
                    </a:cubicBezTo>
                    <a:cubicBezTo>
                      <a:pt x="158274" y="179876"/>
                      <a:pt x="170243" y="176000"/>
                      <a:pt x="181072" y="180160"/>
                    </a:cubicBezTo>
                    <a:cubicBezTo>
                      <a:pt x="185575" y="182406"/>
                      <a:pt x="190020" y="184880"/>
                      <a:pt x="194295" y="187570"/>
                    </a:cubicBezTo>
                    <a:cubicBezTo>
                      <a:pt x="198684" y="190260"/>
                      <a:pt x="204155" y="190602"/>
                      <a:pt x="208886" y="188482"/>
                    </a:cubicBezTo>
                    <a:cubicBezTo>
                      <a:pt x="208886" y="184834"/>
                      <a:pt x="208886" y="181186"/>
                      <a:pt x="208886" y="177539"/>
                    </a:cubicBezTo>
                    <a:cubicBezTo>
                      <a:pt x="205352" y="177026"/>
                      <a:pt x="202217" y="175059"/>
                      <a:pt x="200223" y="1721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2" name="Freihandform: Form 388">
                <a:extLst>
                  <a:ext uri="{FF2B5EF4-FFF2-40B4-BE49-F238E27FC236}">
                    <a16:creationId xmlns:a16="http://schemas.microsoft.com/office/drawing/2014/main" id="{EA1931B6-A9EB-6A33-8440-D34C7EAA2F05}"/>
                  </a:ext>
                </a:extLst>
              </p:cNvPr>
              <p:cNvSpPr/>
              <p:nvPr/>
            </p:nvSpPr>
            <p:spPr>
              <a:xfrm>
                <a:off x="5818894" y="4130837"/>
                <a:ext cx="1002353" cy="377990"/>
              </a:xfrm>
              <a:custGeom>
                <a:avLst/>
                <a:gdLst>
                  <a:gd name="connsiteX0" fmla="*/ 673038 w 1002353"/>
                  <a:gd name="connsiteY0" fmla="*/ 212191 h 377990"/>
                  <a:gd name="connsiteX1" fmla="*/ 671442 w 1002353"/>
                  <a:gd name="connsiteY1" fmla="*/ 204782 h 377990"/>
                  <a:gd name="connsiteX2" fmla="*/ 673665 w 1002353"/>
                  <a:gd name="connsiteY2" fmla="*/ 196461 h 377990"/>
                  <a:gd name="connsiteX3" fmla="*/ 677655 w 1002353"/>
                  <a:gd name="connsiteY3" fmla="*/ 195948 h 377990"/>
                  <a:gd name="connsiteX4" fmla="*/ 683354 w 1002353"/>
                  <a:gd name="connsiteY4" fmla="*/ 197373 h 377990"/>
                  <a:gd name="connsiteX5" fmla="*/ 686774 w 1002353"/>
                  <a:gd name="connsiteY5" fmla="*/ 202103 h 377990"/>
                  <a:gd name="connsiteX6" fmla="*/ 687457 w 1002353"/>
                  <a:gd name="connsiteY6" fmla="*/ 205751 h 377990"/>
                  <a:gd name="connsiteX7" fmla="*/ 690022 w 1002353"/>
                  <a:gd name="connsiteY7" fmla="*/ 206720 h 377990"/>
                  <a:gd name="connsiteX8" fmla="*/ 697830 w 1002353"/>
                  <a:gd name="connsiteY8" fmla="*/ 210425 h 377990"/>
                  <a:gd name="connsiteX9" fmla="*/ 698287 w 1002353"/>
                  <a:gd name="connsiteY9" fmla="*/ 222906 h 377990"/>
                  <a:gd name="connsiteX10" fmla="*/ 696064 w 1002353"/>
                  <a:gd name="connsiteY10" fmla="*/ 225579 h 377990"/>
                  <a:gd name="connsiteX11" fmla="*/ 695664 w 1002353"/>
                  <a:gd name="connsiteY11" fmla="*/ 225585 h 377990"/>
                  <a:gd name="connsiteX12" fmla="*/ 685519 w 1002353"/>
                  <a:gd name="connsiteY12" fmla="*/ 224217 h 377990"/>
                  <a:gd name="connsiteX13" fmla="*/ 683012 w 1002353"/>
                  <a:gd name="connsiteY13" fmla="*/ 220228 h 377990"/>
                  <a:gd name="connsiteX14" fmla="*/ 680447 w 1002353"/>
                  <a:gd name="connsiteY14" fmla="*/ 214528 h 377990"/>
                  <a:gd name="connsiteX15" fmla="*/ 676059 w 1002353"/>
                  <a:gd name="connsiteY15" fmla="*/ 213502 h 377990"/>
                  <a:gd name="connsiteX16" fmla="*/ 673038 w 1002353"/>
                  <a:gd name="connsiteY16" fmla="*/ 212191 h 377990"/>
                  <a:gd name="connsiteX17" fmla="*/ 591820 w 1002353"/>
                  <a:gd name="connsiteY17" fmla="*/ 118207 h 377990"/>
                  <a:gd name="connsiteX18" fmla="*/ 605556 w 1002353"/>
                  <a:gd name="connsiteY18" fmla="*/ 120031 h 377990"/>
                  <a:gd name="connsiteX19" fmla="*/ 624706 w 1002353"/>
                  <a:gd name="connsiteY19" fmla="*/ 126870 h 377990"/>
                  <a:gd name="connsiteX20" fmla="*/ 638043 w 1002353"/>
                  <a:gd name="connsiteY20" fmla="*/ 113591 h 377990"/>
                  <a:gd name="connsiteX21" fmla="*/ 643742 w 1002353"/>
                  <a:gd name="connsiteY21" fmla="*/ 109715 h 377990"/>
                  <a:gd name="connsiteX22" fmla="*/ 650695 w 1002353"/>
                  <a:gd name="connsiteY22" fmla="*/ 95808 h 377990"/>
                  <a:gd name="connsiteX23" fmla="*/ 638328 w 1002353"/>
                  <a:gd name="connsiteY23" fmla="*/ 97689 h 377990"/>
                  <a:gd name="connsiteX24" fmla="*/ 636903 w 1002353"/>
                  <a:gd name="connsiteY24" fmla="*/ 99684 h 377990"/>
                  <a:gd name="connsiteX25" fmla="*/ 634680 w 1002353"/>
                  <a:gd name="connsiteY25" fmla="*/ 100368 h 377990"/>
                  <a:gd name="connsiteX26" fmla="*/ 627613 w 1002353"/>
                  <a:gd name="connsiteY26" fmla="*/ 101337 h 377990"/>
                  <a:gd name="connsiteX27" fmla="*/ 625504 w 1002353"/>
                  <a:gd name="connsiteY27" fmla="*/ 109122 h 377990"/>
                  <a:gd name="connsiteX28" fmla="*/ 625390 w 1002353"/>
                  <a:gd name="connsiteY28" fmla="*/ 109202 h 377990"/>
                  <a:gd name="connsiteX29" fmla="*/ 616157 w 1002353"/>
                  <a:gd name="connsiteY29" fmla="*/ 110000 h 377990"/>
                  <a:gd name="connsiteX30" fmla="*/ 594556 w 1002353"/>
                  <a:gd name="connsiteY30" fmla="*/ 107549 h 377990"/>
                  <a:gd name="connsiteX31" fmla="*/ 588856 w 1002353"/>
                  <a:gd name="connsiteY31" fmla="*/ 105041 h 377990"/>
                  <a:gd name="connsiteX32" fmla="*/ 587374 w 1002353"/>
                  <a:gd name="connsiteY32" fmla="*/ 101337 h 377990"/>
                  <a:gd name="connsiteX33" fmla="*/ 583670 w 1002353"/>
                  <a:gd name="connsiteY33" fmla="*/ 100311 h 377990"/>
                  <a:gd name="connsiteX34" fmla="*/ 559162 w 1002353"/>
                  <a:gd name="connsiteY34" fmla="*/ 101679 h 377990"/>
                  <a:gd name="connsiteX35" fmla="*/ 555572 w 1002353"/>
                  <a:gd name="connsiteY35" fmla="*/ 102761 h 377990"/>
                  <a:gd name="connsiteX36" fmla="*/ 551696 w 1002353"/>
                  <a:gd name="connsiteY36" fmla="*/ 112736 h 377990"/>
                  <a:gd name="connsiteX37" fmla="*/ 545369 w 1002353"/>
                  <a:gd name="connsiteY37" fmla="*/ 113192 h 377990"/>
                  <a:gd name="connsiteX38" fmla="*/ 539670 w 1002353"/>
                  <a:gd name="connsiteY38" fmla="*/ 115528 h 377990"/>
                  <a:gd name="connsiteX39" fmla="*/ 539670 w 1002353"/>
                  <a:gd name="connsiteY39" fmla="*/ 117808 h 377990"/>
                  <a:gd name="connsiteX40" fmla="*/ 530779 w 1002353"/>
                  <a:gd name="connsiteY40" fmla="*/ 132570 h 377990"/>
                  <a:gd name="connsiteX41" fmla="*/ 549986 w 1002353"/>
                  <a:gd name="connsiteY41" fmla="*/ 130062 h 377990"/>
                  <a:gd name="connsiteX42" fmla="*/ 554375 w 1002353"/>
                  <a:gd name="connsiteY42" fmla="*/ 128295 h 377990"/>
                  <a:gd name="connsiteX43" fmla="*/ 556654 w 1002353"/>
                  <a:gd name="connsiteY43" fmla="*/ 118378 h 377990"/>
                  <a:gd name="connsiteX44" fmla="*/ 559732 w 1002353"/>
                  <a:gd name="connsiteY44" fmla="*/ 117808 h 377990"/>
                  <a:gd name="connsiteX45" fmla="*/ 585038 w 1002353"/>
                  <a:gd name="connsiteY45" fmla="*/ 118150 h 377990"/>
                  <a:gd name="connsiteX46" fmla="*/ 592276 w 1002353"/>
                  <a:gd name="connsiteY46" fmla="*/ 163803 h 377990"/>
                  <a:gd name="connsiteX47" fmla="*/ 601167 w 1002353"/>
                  <a:gd name="connsiteY47" fmla="*/ 160098 h 377990"/>
                  <a:gd name="connsiteX48" fmla="*/ 611199 w 1002353"/>
                  <a:gd name="connsiteY48" fmla="*/ 154741 h 377990"/>
                  <a:gd name="connsiteX49" fmla="*/ 610515 w 1002353"/>
                  <a:gd name="connsiteY49" fmla="*/ 144140 h 377990"/>
                  <a:gd name="connsiteX50" fmla="*/ 599971 w 1002353"/>
                  <a:gd name="connsiteY50" fmla="*/ 143513 h 377990"/>
                  <a:gd name="connsiteX51" fmla="*/ 589256 w 1002353"/>
                  <a:gd name="connsiteY51" fmla="*/ 145508 h 377990"/>
                  <a:gd name="connsiteX52" fmla="*/ 582872 w 1002353"/>
                  <a:gd name="connsiteY52" fmla="*/ 145508 h 377990"/>
                  <a:gd name="connsiteX53" fmla="*/ 581276 w 1002353"/>
                  <a:gd name="connsiteY53" fmla="*/ 148357 h 377990"/>
                  <a:gd name="connsiteX54" fmla="*/ 575577 w 1002353"/>
                  <a:gd name="connsiteY54" fmla="*/ 153316 h 377990"/>
                  <a:gd name="connsiteX55" fmla="*/ 564178 w 1002353"/>
                  <a:gd name="connsiteY55" fmla="*/ 161694 h 377990"/>
                  <a:gd name="connsiteX56" fmla="*/ 550898 w 1002353"/>
                  <a:gd name="connsiteY56" fmla="*/ 163461 h 377990"/>
                  <a:gd name="connsiteX57" fmla="*/ 547877 w 1002353"/>
                  <a:gd name="connsiteY57" fmla="*/ 157762 h 377990"/>
                  <a:gd name="connsiteX58" fmla="*/ 540924 w 1002353"/>
                  <a:gd name="connsiteY58" fmla="*/ 157305 h 377990"/>
                  <a:gd name="connsiteX59" fmla="*/ 540924 w 1002353"/>
                  <a:gd name="connsiteY59" fmla="*/ 147331 h 377990"/>
                  <a:gd name="connsiteX60" fmla="*/ 531349 w 1002353"/>
                  <a:gd name="connsiteY60" fmla="*/ 144938 h 377990"/>
                  <a:gd name="connsiteX61" fmla="*/ 526732 w 1002353"/>
                  <a:gd name="connsiteY61" fmla="*/ 146989 h 377990"/>
                  <a:gd name="connsiteX62" fmla="*/ 521032 w 1002353"/>
                  <a:gd name="connsiteY62" fmla="*/ 170813 h 377990"/>
                  <a:gd name="connsiteX63" fmla="*/ 517043 w 1002353"/>
                  <a:gd name="connsiteY63" fmla="*/ 174632 h 377990"/>
                  <a:gd name="connsiteX64" fmla="*/ 519380 w 1002353"/>
                  <a:gd name="connsiteY64" fmla="*/ 180331 h 377990"/>
                  <a:gd name="connsiteX65" fmla="*/ 514991 w 1002353"/>
                  <a:gd name="connsiteY65" fmla="*/ 191730 h 377990"/>
                  <a:gd name="connsiteX66" fmla="*/ 506556 w 1002353"/>
                  <a:gd name="connsiteY66" fmla="*/ 201533 h 377990"/>
                  <a:gd name="connsiteX67" fmla="*/ 515675 w 1002353"/>
                  <a:gd name="connsiteY67" fmla="*/ 214984 h 377990"/>
                  <a:gd name="connsiteX68" fmla="*/ 533229 w 1002353"/>
                  <a:gd name="connsiteY68" fmla="*/ 217948 h 377990"/>
                  <a:gd name="connsiteX69" fmla="*/ 533229 w 1002353"/>
                  <a:gd name="connsiteY69" fmla="*/ 236870 h 377990"/>
                  <a:gd name="connsiteX70" fmla="*/ 534370 w 1002353"/>
                  <a:gd name="connsiteY70" fmla="*/ 245248 h 377990"/>
                  <a:gd name="connsiteX71" fmla="*/ 532033 w 1002353"/>
                  <a:gd name="connsiteY71" fmla="*/ 249067 h 377990"/>
                  <a:gd name="connsiteX72" fmla="*/ 533344 w 1002353"/>
                  <a:gd name="connsiteY72" fmla="*/ 274031 h 377990"/>
                  <a:gd name="connsiteX73" fmla="*/ 541950 w 1002353"/>
                  <a:gd name="connsiteY73" fmla="*/ 269186 h 377990"/>
                  <a:gd name="connsiteX74" fmla="*/ 544514 w 1002353"/>
                  <a:gd name="connsiteY74" fmla="*/ 259668 h 377990"/>
                  <a:gd name="connsiteX75" fmla="*/ 551525 w 1002353"/>
                  <a:gd name="connsiteY75" fmla="*/ 254311 h 377990"/>
                  <a:gd name="connsiteX76" fmla="*/ 549074 w 1002353"/>
                  <a:gd name="connsiteY76" fmla="*/ 245077 h 377990"/>
                  <a:gd name="connsiteX77" fmla="*/ 543773 w 1002353"/>
                  <a:gd name="connsiteY77" fmla="*/ 241202 h 377990"/>
                  <a:gd name="connsiteX78" fmla="*/ 539271 w 1002353"/>
                  <a:gd name="connsiteY78" fmla="*/ 227181 h 377990"/>
                  <a:gd name="connsiteX79" fmla="*/ 542348 w 1002353"/>
                  <a:gd name="connsiteY79" fmla="*/ 218518 h 377990"/>
                  <a:gd name="connsiteX80" fmla="*/ 540924 w 1002353"/>
                  <a:gd name="connsiteY80" fmla="*/ 211337 h 377990"/>
                  <a:gd name="connsiteX81" fmla="*/ 540924 w 1002353"/>
                  <a:gd name="connsiteY81" fmla="*/ 201704 h 377990"/>
                  <a:gd name="connsiteX82" fmla="*/ 548048 w 1002353"/>
                  <a:gd name="connsiteY82" fmla="*/ 195720 h 377990"/>
                  <a:gd name="connsiteX83" fmla="*/ 556996 w 1002353"/>
                  <a:gd name="connsiteY83" fmla="*/ 200679 h 377990"/>
                  <a:gd name="connsiteX84" fmla="*/ 559048 w 1002353"/>
                  <a:gd name="connsiteY84" fmla="*/ 211222 h 377990"/>
                  <a:gd name="connsiteX85" fmla="*/ 558650 w 1002353"/>
                  <a:gd name="connsiteY85" fmla="*/ 221881 h 377990"/>
                  <a:gd name="connsiteX86" fmla="*/ 565260 w 1002353"/>
                  <a:gd name="connsiteY86" fmla="*/ 229347 h 377990"/>
                  <a:gd name="connsiteX87" fmla="*/ 570960 w 1002353"/>
                  <a:gd name="connsiteY87" fmla="*/ 229803 h 377990"/>
                  <a:gd name="connsiteX88" fmla="*/ 573354 w 1002353"/>
                  <a:gd name="connsiteY88" fmla="*/ 235502 h 377990"/>
                  <a:gd name="connsiteX89" fmla="*/ 573354 w 1002353"/>
                  <a:gd name="connsiteY89" fmla="*/ 242114 h 377990"/>
                  <a:gd name="connsiteX90" fmla="*/ 578198 w 1002353"/>
                  <a:gd name="connsiteY90" fmla="*/ 245191 h 377990"/>
                  <a:gd name="connsiteX91" fmla="*/ 588572 w 1002353"/>
                  <a:gd name="connsiteY91" fmla="*/ 239948 h 377990"/>
                  <a:gd name="connsiteX92" fmla="*/ 594271 w 1002353"/>
                  <a:gd name="connsiteY92" fmla="*/ 240290 h 377990"/>
                  <a:gd name="connsiteX93" fmla="*/ 600768 w 1002353"/>
                  <a:gd name="connsiteY93" fmla="*/ 232026 h 377990"/>
                  <a:gd name="connsiteX94" fmla="*/ 594271 w 1002353"/>
                  <a:gd name="connsiteY94" fmla="*/ 223135 h 377990"/>
                  <a:gd name="connsiteX95" fmla="*/ 591649 w 1002353"/>
                  <a:gd name="connsiteY95" fmla="*/ 221596 h 377990"/>
                  <a:gd name="connsiteX96" fmla="*/ 590509 w 1002353"/>
                  <a:gd name="connsiteY96" fmla="*/ 218575 h 377990"/>
                  <a:gd name="connsiteX97" fmla="*/ 587317 w 1002353"/>
                  <a:gd name="connsiteY97" fmla="*/ 195264 h 377990"/>
                  <a:gd name="connsiteX98" fmla="*/ 585494 w 1002353"/>
                  <a:gd name="connsiteY98" fmla="*/ 192756 h 377990"/>
                  <a:gd name="connsiteX99" fmla="*/ 585892 w 1002353"/>
                  <a:gd name="connsiteY99" fmla="*/ 185746 h 377990"/>
                  <a:gd name="connsiteX100" fmla="*/ 577970 w 1002353"/>
                  <a:gd name="connsiteY100" fmla="*/ 182953 h 377990"/>
                  <a:gd name="connsiteX101" fmla="*/ 572271 w 1002353"/>
                  <a:gd name="connsiteY101" fmla="*/ 174575 h 377990"/>
                  <a:gd name="connsiteX102" fmla="*/ 583328 w 1002353"/>
                  <a:gd name="connsiteY102" fmla="*/ 174575 h 377990"/>
                  <a:gd name="connsiteX103" fmla="*/ 591592 w 1002353"/>
                  <a:gd name="connsiteY103" fmla="*/ 167907 h 377990"/>
                  <a:gd name="connsiteX104" fmla="*/ 592333 w 1002353"/>
                  <a:gd name="connsiteY104" fmla="*/ 164145 h 377990"/>
                  <a:gd name="connsiteX105" fmla="*/ 713846 w 1002353"/>
                  <a:gd name="connsiteY105" fmla="*/ 84979 h 377990"/>
                  <a:gd name="connsiteX106" fmla="*/ 706779 w 1002353"/>
                  <a:gd name="connsiteY106" fmla="*/ 84979 h 377990"/>
                  <a:gd name="connsiteX107" fmla="*/ 704727 w 1002353"/>
                  <a:gd name="connsiteY107" fmla="*/ 84979 h 377990"/>
                  <a:gd name="connsiteX108" fmla="*/ 703074 w 1002353"/>
                  <a:gd name="connsiteY108" fmla="*/ 88798 h 377990"/>
                  <a:gd name="connsiteX109" fmla="*/ 703701 w 1002353"/>
                  <a:gd name="connsiteY109" fmla="*/ 93186 h 377990"/>
                  <a:gd name="connsiteX110" fmla="*/ 698001 w 1002353"/>
                  <a:gd name="connsiteY110" fmla="*/ 104585 h 377990"/>
                  <a:gd name="connsiteX111" fmla="*/ 704271 w 1002353"/>
                  <a:gd name="connsiteY111" fmla="*/ 117808 h 377990"/>
                  <a:gd name="connsiteX112" fmla="*/ 706436 w 1002353"/>
                  <a:gd name="connsiteY112" fmla="*/ 129207 h 377990"/>
                  <a:gd name="connsiteX113" fmla="*/ 709002 w 1002353"/>
                  <a:gd name="connsiteY113" fmla="*/ 133767 h 377990"/>
                  <a:gd name="connsiteX114" fmla="*/ 710540 w 1002353"/>
                  <a:gd name="connsiteY114" fmla="*/ 133083 h 377990"/>
                  <a:gd name="connsiteX115" fmla="*/ 720229 w 1002353"/>
                  <a:gd name="connsiteY115" fmla="*/ 128979 h 377990"/>
                  <a:gd name="connsiteX116" fmla="*/ 725131 w 1002353"/>
                  <a:gd name="connsiteY116" fmla="*/ 116212 h 377990"/>
                  <a:gd name="connsiteX117" fmla="*/ 731685 w 1002353"/>
                  <a:gd name="connsiteY117" fmla="*/ 115015 h 377990"/>
                  <a:gd name="connsiteX118" fmla="*/ 733509 w 1002353"/>
                  <a:gd name="connsiteY118" fmla="*/ 105839 h 377990"/>
                  <a:gd name="connsiteX119" fmla="*/ 717323 w 1002353"/>
                  <a:gd name="connsiteY119" fmla="*/ 95295 h 377990"/>
                  <a:gd name="connsiteX120" fmla="*/ 716182 w 1002353"/>
                  <a:gd name="connsiteY120" fmla="*/ 94611 h 377990"/>
                  <a:gd name="connsiteX121" fmla="*/ 716182 w 1002353"/>
                  <a:gd name="connsiteY121" fmla="*/ 93129 h 377990"/>
                  <a:gd name="connsiteX122" fmla="*/ 716182 w 1002353"/>
                  <a:gd name="connsiteY122" fmla="*/ 86746 h 377990"/>
                  <a:gd name="connsiteX123" fmla="*/ 716182 w 1002353"/>
                  <a:gd name="connsiteY123" fmla="*/ 85150 h 377990"/>
                  <a:gd name="connsiteX124" fmla="*/ 713903 w 1002353"/>
                  <a:gd name="connsiteY124" fmla="*/ 85321 h 377990"/>
                  <a:gd name="connsiteX125" fmla="*/ 749411 w 1002353"/>
                  <a:gd name="connsiteY125" fmla="*/ 215041 h 377990"/>
                  <a:gd name="connsiteX126" fmla="*/ 761665 w 1002353"/>
                  <a:gd name="connsiteY126" fmla="*/ 216124 h 377990"/>
                  <a:gd name="connsiteX127" fmla="*/ 765825 w 1002353"/>
                  <a:gd name="connsiteY127" fmla="*/ 219943 h 377990"/>
                  <a:gd name="connsiteX128" fmla="*/ 777566 w 1002353"/>
                  <a:gd name="connsiteY128" fmla="*/ 223305 h 377990"/>
                  <a:gd name="connsiteX129" fmla="*/ 780473 w 1002353"/>
                  <a:gd name="connsiteY129" fmla="*/ 214255 h 377990"/>
                  <a:gd name="connsiteX130" fmla="*/ 776027 w 1002353"/>
                  <a:gd name="connsiteY130" fmla="*/ 210767 h 377990"/>
                  <a:gd name="connsiteX131" fmla="*/ 773576 w 1002353"/>
                  <a:gd name="connsiteY131" fmla="*/ 210140 h 377990"/>
                  <a:gd name="connsiteX132" fmla="*/ 769245 w 1002353"/>
                  <a:gd name="connsiteY132" fmla="*/ 205580 h 377990"/>
                  <a:gd name="connsiteX133" fmla="*/ 764685 w 1002353"/>
                  <a:gd name="connsiteY133" fmla="*/ 205580 h 377990"/>
                  <a:gd name="connsiteX134" fmla="*/ 763374 w 1002353"/>
                  <a:gd name="connsiteY134" fmla="*/ 201419 h 377990"/>
                  <a:gd name="connsiteX135" fmla="*/ 757675 w 1002353"/>
                  <a:gd name="connsiteY135" fmla="*/ 199140 h 377990"/>
                  <a:gd name="connsiteX136" fmla="*/ 728095 w 1002353"/>
                  <a:gd name="connsiteY136" fmla="*/ 199482 h 377990"/>
                  <a:gd name="connsiteX137" fmla="*/ 719431 w 1002353"/>
                  <a:gd name="connsiteY137" fmla="*/ 202388 h 377990"/>
                  <a:gd name="connsiteX138" fmla="*/ 718348 w 1002353"/>
                  <a:gd name="connsiteY138" fmla="*/ 211109 h 377990"/>
                  <a:gd name="connsiteX139" fmla="*/ 718348 w 1002353"/>
                  <a:gd name="connsiteY139" fmla="*/ 214129 h 377990"/>
                  <a:gd name="connsiteX140" fmla="*/ 721141 w 1002353"/>
                  <a:gd name="connsiteY140" fmla="*/ 215554 h 377990"/>
                  <a:gd name="connsiteX141" fmla="*/ 739551 w 1002353"/>
                  <a:gd name="connsiteY141" fmla="*/ 213160 h 377990"/>
                  <a:gd name="connsiteX142" fmla="*/ 749468 w 1002353"/>
                  <a:gd name="connsiteY142" fmla="*/ 215383 h 377990"/>
                  <a:gd name="connsiteX143" fmla="*/ 573297 w 1002353"/>
                  <a:gd name="connsiteY143" fmla="*/ 332108 h 377990"/>
                  <a:gd name="connsiteX144" fmla="*/ 569877 w 1002353"/>
                  <a:gd name="connsiteY144" fmla="*/ 325383 h 377990"/>
                  <a:gd name="connsiteX145" fmla="*/ 562126 w 1002353"/>
                  <a:gd name="connsiteY145" fmla="*/ 323502 h 377990"/>
                  <a:gd name="connsiteX146" fmla="*/ 540297 w 1002353"/>
                  <a:gd name="connsiteY146" fmla="*/ 326580 h 377990"/>
                  <a:gd name="connsiteX147" fmla="*/ 527530 w 1002353"/>
                  <a:gd name="connsiteY147" fmla="*/ 340544 h 377990"/>
                  <a:gd name="connsiteX148" fmla="*/ 592105 w 1002353"/>
                  <a:gd name="connsiteY148" fmla="*/ 341741 h 377990"/>
                  <a:gd name="connsiteX149" fmla="*/ 607095 w 1002353"/>
                  <a:gd name="connsiteY149" fmla="*/ 334388 h 377990"/>
                  <a:gd name="connsiteX150" fmla="*/ 624193 w 1002353"/>
                  <a:gd name="connsiteY150" fmla="*/ 331139 h 377990"/>
                  <a:gd name="connsiteX151" fmla="*/ 625561 w 1002353"/>
                  <a:gd name="connsiteY151" fmla="*/ 326865 h 377990"/>
                  <a:gd name="connsiteX152" fmla="*/ 619862 w 1002353"/>
                  <a:gd name="connsiteY152" fmla="*/ 324129 h 377990"/>
                  <a:gd name="connsiteX153" fmla="*/ 584582 w 1002353"/>
                  <a:gd name="connsiteY153" fmla="*/ 328404 h 377990"/>
                  <a:gd name="connsiteX154" fmla="*/ 573354 w 1002353"/>
                  <a:gd name="connsiteY154" fmla="*/ 332450 h 377990"/>
                  <a:gd name="connsiteX155" fmla="*/ 560188 w 1002353"/>
                  <a:gd name="connsiteY155" fmla="*/ 367958 h 377990"/>
                  <a:gd name="connsiteX156" fmla="*/ 548447 w 1002353"/>
                  <a:gd name="connsiteY156" fmla="*/ 362658 h 377990"/>
                  <a:gd name="connsiteX157" fmla="*/ 545085 w 1002353"/>
                  <a:gd name="connsiteY157" fmla="*/ 357699 h 377990"/>
                  <a:gd name="connsiteX158" fmla="*/ 538929 w 1002353"/>
                  <a:gd name="connsiteY158" fmla="*/ 356502 h 377990"/>
                  <a:gd name="connsiteX159" fmla="*/ 517100 w 1002353"/>
                  <a:gd name="connsiteY159" fmla="*/ 355134 h 377990"/>
                  <a:gd name="connsiteX160" fmla="*/ 519437 w 1002353"/>
                  <a:gd name="connsiteY160" fmla="*/ 364139 h 377990"/>
                  <a:gd name="connsiteX161" fmla="*/ 529525 w 1002353"/>
                  <a:gd name="connsiteY161" fmla="*/ 366419 h 377990"/>
                  <a:gd name="connsiteX162" fmla="*/ 539613 w 1002353"/>
                  <a:gd name="connsiteY162" fmla="*/ 368756 h 377990"/>
                  <a:gd name="connsiteX163" fmla="*/ 546737 w 1002353"/>
                  <a:gd name="connsiteY163" fmla="*/ 375823 h 377990"/>
                  <a:gd name="connsiteX164" fmla="*/ 560473 w 1002353"/>
                  <a:gd name="connsiteY164" fmla="*/ 377362 h 377990"/>
                  <a:gd name="connsiteX165" fmla="*/ 560245 w 1002353"/>
                  <a:gd name="connsiteY165" fmla="*/ 368300 h 377990"/>
                  <a:gd name="connsiteX166" fmla="*/ 454919 w 1002353"/>
                  <a:gd name="connsiteY166" fmla="*/ 338549 h 377990"/>
                  <a:gd name="connsiteX167" fmla="*/ 455888 w 1002353"/>
                  <a:gd name="connsiteY167" fmla="*/ 344248 h 377990"/>
                  <a:gd name="connsiteX168" fmla="*/ 462442 w 1002353"/>
                  <a:gd name="connsiteY168" fmla="*/ 351886 h 377990"/>
                  <a:gd name="connsiteX169" fmla="*/ 479541 w 1002353"/>
                  <a:gd name="connsiteY169" fmla="*/ 351372 h 377990"/>
                  <a:gd name="connsiteX170" fmla="*/ 482162 w 1002353"/>
                  <a:gd name="connsiteY170" fmla="*/ 350005 h 377990"/>
                  <a:gd name="connsiteX171" fmla="*/ 484043 w 1002353"/>
                  <a:gd name="connsiteY171" fmla="*/ 347668 h 377990"/>
                  <a:gd name="connsiteX172" fmla="*/ 488375 w 1002353"/>
                  <a:gd name="connsiteY172" fmla="*/ 340885 h 377990"/>
                  <a:gd name="connsiteX173" fmla="*/ 510774 w 1002353"/>
                  <a:gd name="connsiteY173" fmla="*/ 338036 h 377990"/>
                  <a:gd name="connsiteX174" fmla="*/ 511287 w 1002353"/>
                  <a:gd name="connsiteY174" fmla="*/ 327036 h 377990"/>
                  <a:gd name="connsiteX175" fmla="*/ 482391 w 1002353"/>
                  <a:gd name="connsiteY175" fmla="*/ 330114 h 377990"/>
                  <a:gd name="connsiteX176" fmla="*/ 476691 w 1002353"/>
                  <a:gd name="connsiteY176" fmla="*/ 334445 h 377990"/>
                  <a:gd name="connsiteX177" fmla="*/ 470194 w 1002353"/>
                  <a:gd name="connsiteY177" fmla="*/ 334160 h 377990"/>
                  <a:gd name="connsiteX178" fmla="*/ 468312 w 1002353"/>
                  <a:gd name="connsiteY178" fmla="*/ 330911 h 377990"/>
                  <a:gd name="connsiteX179" fmla="*/ 465406 w 1002353"/>
                  <a:gd name="connsiteY179" fmla="*/ 323502 h 377990"/>
                  <a:gd name="connsiteX180" fmla="*/ 453551 w 1002353"/>
                  <a:gd name="connsiteY180" fmla="*/ 322704 h 377990"/>
                  <a:gd name="connsiteX181" fmla="*/ 454976 w 1002353"/>
                  <a:gd name="connsiteY181" fmla="*/ 338891 h 377990"/>
                  <a:gd name="connsiteX182" fmla="*/ 429100 w 1002353"/>
                  <a:gd name="connsiteY182" fmla="*/ 332849 h 377990"/>
                  <a:gd name="connsiteX183" fmla="*/ 437193 w 1002353"/>
                  <a:gd name="connsiteY183" fmla="*/ 336440 h 377990"/>
                  <a:gd name="connsiteX184" fmla="*/ 446996 w 1002353"/>
                  <a:gd name="connsiteY184" fmla="*/ 331082 h 377990"/>
                  <a:gd name="connsiteX185" fmla="*/ 440955 w 1002353"/>
                  <a:gd name="connsiteY185" fmla="*/ 324243 h 377990"/>
                  <a:gd name="connsiteX186" fmla="*/ 431836 w 1002353"/>
                  <a:gd name="connsiteY186" fmla="*/ 324756 h 377990"/>
                  <a:gd name="connsiteX187" fmla="*/ 429157 w 1002353"/>
                  <a:gd name="connsiteY187" fmla="*/ 333305 h 377990"/>
                  <a:gd name="connsiteX188" fmla="*/ 383504 w 1002353"/>
                  <a:gd name="connsiteY188" fmla="*/ 302870 h 377990"/>
                  <a:gd name="connsiteX189" fmla="*/ 390515 w 1002353"/>
                  <a:gd name="connsiteY189" fmla="*/ 302300 h 377990"/>
                  <a:gd name="connsiteX190" fmla="*/ 401572 w 1002353"/>
                  <a:gd name="connsiteY190" fmla="*/ 291813 h 377990"/>
                  <a:gd name="connsiteX191" fmla="*/ 348623 w 1002353"/>
                  <a:gd name="connsiteY191" fmla="*/ 294492 h 377990"/>
                  <a:gd name="connsiteX192" fmla="*/ 338763 w 1002353"/>
                  <a:gd name="connsiteY192" fmla="*/ 286057 h 377990"/>
                  <a:gd name="connsiteX193" fmla="*/ 324059 w 1002353"/>
                  <a:gd name="connsiteY193" fmla="*/ 291756 h 377990"/>
                  <a:gd name="connsiteX194" fmla="*/ 301261 w 1002353"/>
                  <a:gd name="connsiteY194" fmla="*/ 288108 h 377990"/>
                  <a:gd name="connsiteX195" fmla="*/ 293282 w 1002353"/>
                  <a:gd name="connsiteY195" fmla="*/ 286228 h 377990"/>
                  <a:gd name="connsiteX196" fmla="*/ 291914 w 1002353"/>
                  <a:gd name="connsiteY196" fmla="*/ 279274 h 377990"/>
                  <a:gd name="connsiteX197" fmla="*/ 277038 w 1002353"/>
                  <a:gd name="connsiteY197" fmla="*/ 275228 h 377990"/>
                  <a:gd name="connsiteX198" fmla="*/ 275898 w 1002353"/>
                  <a:gd name="connsiteY198" fmla="*/ 271466 h 377990"/>
                  <a:gd name="connsiteX199" fmla="*/ 270199 w 1002353"/>
                  <a:gd name="connsiteY199" fmla="*/ 269585 h 377990"/>
                  <a:gd name="connsiteX200" fmla="*/ 236458 w 1002353"/>
                  <a:gd name="connsiteY200" fmla="*/ 271295 h 377990"/>
                  <a:gd name="connsiteX201" fmla="*/ 219360 w 1002353"/>
                  <a:gd name="connsiteY201" fmla="*/ 286684 h 377990"/>
                  <a:gd name="connsiteX202" fmla="*/ 227111 w 1002353"/>
                  <a:gd name="connsiteY202" fmla="*/ 295176 h 377990"/>
                  <a:gd name="connsiteX203" fmla="*/ 239935 w 1002353"/>
                  <a:gd name="connsiteY203" fmla="*/ 295176 h 377990"/>
                  <a:gd name="connsiteX204" fmla="*/ 249453 w 1002353"/>
                  <a:gd name="connsiteY204" fmla="*/ 302129 h 377990"/>
                  <a:gd name="connsiteX205" fmla="*/ 249453 w 1002353"/>
                  <a:gd name="connsiteY205" fmla="*/ 305435 h 377990"/>
                  <a:gd name="connsiteX206" fmla="*/ 260852 w 1002353"/>
                  <a:gd name="connsiteY206" fmla="*/ 308798 h 377990"/>
                  <a:gd name="connsiteX207" fmla="*/ 266552 w 1002353"/>
                  <a:gd name="connsiteY207" fmla="*/ 313243 h 377990"/>
                  <a:gd name="connsiteX208" fmla="*/ 289463 w 1002353"/>
                  <a:gd name="connsiteY208" fmla="*/ 310918 h 377990"/>
                  <a:gd name="connsiteX209" fmla="*/ 290147 w 1002353"/>
                  <a:gd name="connsiteY209" fmla="*/ 310051 h 377990"/>
                  <a:gd name="connsiteX210" fmla="*/ 296303 w 1002353"/>
                  <a:gd name="connsiteY210" fmla="*/ 302813 h 377990"/>
                  <a:gd name="connsiteX211" fmla="*/ 306504 w 1002353"/>
                  <a:gd name="connsiteY211" fmla="*/ 306746 h 377990"/>
                  <a:gd name="connsiteX212" fmla="*/ 315965 w 1002353"/>
                  <a:gd name="connsiteY212" fmla="*/ 311248 h 377990"/>
                  <a:gd name="connsiteX213" fmla="*/ 318531 w 1002353"/>
                  <a:gd name="connsiteY213" fmla="*/ 316207 h 377990"/>
                  <a:gd name="connsiteX214" fmla="*/ 338820 w 1002353"/>
                  <a:gd name="connsiteY214" fmla="*/ 318487 h 377990"/>
                  <a:gd name="connsiteX215" fmla="*/ 374214 w 1002353"/>
                  <a:gd name="connsiteY215" fmla="*/ 314440 h 377990"/>
                  <a:gd name="connsiteX216" fmla="*/ 378318 w 1002353"/>
                  <a:gd name="connsiteY216" fmla="*/ 313927 h 377990"/>
                  <a:gd name="connsiteX217" fmla="*/ 383675 w 1002353"/>
                  <a:gd name="connsiteY217" fmla="*/ 303383 h 377990"/>
                  <a:gd name="connsiteX218" fmla="*/ 227567 w 1002353"/>
                  <a:gd name="connsiteY218" fmla="*/ 181243 h 377990"/>
                  <a:gd name="connsiteX219" fmla="*/ 233266 w 1002353"/>
                  <a:gd name="connsiteY219" fmla="*/ 193440 h 377990"/>
                  <a:gd name="connsiteX220" fmla="*/ 221126 w 1002353"/>
                  <a:gd name="connsiteY220" fmla="*/ 193440 h 377990"/>
                  <a:gd name="connsiteX221" fmla="*/ 204028 w 1002353"/>
                  <a:gd name="connsiteY221" fmla="*/ 174005 h 377990"/>
                  <a:gd name="connsiteX222" fmla="*/ 200267 w 1002353"/>
                  <a:gd name="connsiteY222" fmla="*/ 167109 h 377990"/>
                  <a:gd name="connsiteX223" fmla="*/ 191717 w 1002353"/>
                  <a:gd name="connsiteY223" fmla="*/ 163347 h 377990"/>
                  <a:gd name="connsiteX224" fmla="*/ 189209 w 1002353"/>
                  <a:gd name="connsiteY224" fmla="*/ 152803 h 377990"/>
                  <a:gd name="connsiteX225" fmla="*/ 176214 w 1002353"/>
                  <a:gd name="connsiteY225" fmla="*/ 152062 h 377990"/>
                  <a:gd name="connsiteX226" fmla="*/ 171997 w 1002353"/>
                  <a:gd name="connsiteY226" fmla="*/ 141330 h 377990"/>
                  <a:gd name="connsiteX227" fmla="*/ 172111 w 1002353"/>
                  <a:gd name="connsiteY227" fmla="*/ 141119 h 377990"/>
                  <a:gd name="connsiteX228" fmla="*/ 181401 w 1002353"/>
                  <a:gd name="connsiteY228" fmla="*/ 135249 h 377990"/>
                  <a:gd name="connsiteX229" fmla="*/ 175530 w 1002353"/>
                  <a:gd name="connsiteY229" fmla="*/ 125958 h 377990"/>
                  <a:gd name="connsiteX230" fmla="*/ 167381 w 1002353"/>
                  <a:gd name="connsiteY230" fmla="*/ 117147 h 377990"/>
                  <a:gd name="connsiteX231" fmla="*/ 165442 w 1002353"/>
                  <a:gd name="connsiteY231" fmla="*/ 117295 h 377990"/>
                  <a:gd name="connsiteX232" fmla="*/ 157178 w 1002353"/>
                  <a:gd name="connsiteY232" fmla="*/ 104357 h 377990"/>
                  <a:gd name="connsiteX233" fmla="*/ 144354 w 1002353"/>
                  <a:gd name="connsiteY233" fmla="*/ 94668 h 377990"/>
                  <a:gd name="connsiteX234" fmla="*/ 143671 w 1002353"/>
                  <a:gd name="connsiteY234" fmla="*/ 88513 h 377990"/>
                  <a:gd name="connsiteX235" fmla="*/ 114832 w 1002353"/>
                  <a:gd name="connsiteY235" fmla="*/ 78653 h 377990"/>
                  <a:gd name="connsiteX236" fmla="*/ 110784 w 1002353"/>
                  <a:gd name="connsiteY236" fmla="*/ 76715 h 377990"/>
                  <a:gd name="connsiteX237" fmla="*/ 109759 w 1002353"/>
                  <a:gd name="connsiteY237" fmla="*/ 73238 h 377990"/>
                  <a:gd name="connsiteX238" fmla="*/ 101780 w 1002353"/>
                  <a:gd name="connsiteY238" fmla="*/ 65373 h 377990"/>
                  <a:gd name="connsiteX239" fmla="*/ 99956 w 1002353"/>
                  <a:gd name="connsiteY239" fmla="*/ 57736 h 377990"/>
                  <a:gd name="connsiteX240" fmla="*/ 89355 w 1002353"/>
                  <a:gd name="connsiteY240" fmla="*/ 52036 h 377990"/>
                  <a:gd name="connsiteX241" fmla="*/ 83028 w 1002353"/>
                  <a:gd name="connsiteY241" fmla="*/ 42461 h 377990"/>
                  <a:gd name="connsiteX242" fmla="*/ 69407 w 1002353"/>
                  <a:gd name="connsiteY242" fmla="*/ 35451 h 377990"/>
                  <a:gd name="connsiteX243" fmla="*/ 66500 w 1002353"/>
                  <a:gd name="connsiteY243" fmla="*/ 28440 h 377990"/>
                  <a:gd name="connsiteX244" fmla="*/ 59375 w 1002353"/>
                  <a:gd name="connsiteY244" fmla="*/ 23653 h 377990"/>
                  <a:gd name="connsiteX245" fmla="*/ 59375 w 1002353"/>
                  <a:gd name="connsiteY245" fmla="*/ 13508 h 377990"/>
                  <a:gd name="connsiteX246" fmla="*/ 45981 w 1002353"/>
                  <a:gd name="connsiteY246" fmla="*/ 5016 h 377990"/>
                  <a:gd name="connsiteX247" fmla="*/ 386 w 1002353"/>
                  <a:gd name="connsiteY247" fmla="*/ 0 h 377990"/>
                  <a:gd name="connsiteX248" fmla="*/ 6085 w 1002353"/>
                  <a:gd name="connsiteY248" fmla="*/ 11399 h 377990"/>
                  <a:gd name="connsiteX249" fmla="*/ 10474 w 1002353"/>
                  <a:gd name="connsiteY249" fmla="*/ 23083 h 377990"/>
                  <a:gd name="connsiteX250" fmla="*/ 17427 w 1002353"/>
                  <a:gd name="connsiteY250" fmla="*/ 25249 h 377990"/>
                  <a:gd name="connsiteX251" fmla="*/ 20277 w 1002353"/>
                  <a:gd name="connsiteY251" fmla="*/ 33000 h 377990"/>
                  <a:gd name="connsiteX252" fmla="*/ 33785 w 1002353"/>
                  <a:gd name="connsiteY252" fmla="*/ 41093 h 377990"/>
                  <a:gd name="connsiteX253" fmla="*/ 47293 w 1002353"/>
                  <a:gd name="connsiteY253" fmla="*/ 63207 h 377990"/>
                  <a:gd name="connsiteX254" fmla="*/ 66785 w 1002353"/>
                  <a:gd name="connsiteY254" fmla="*/ 81787 h 377990"/>
                  <a:gd name="connsiteX255" fmla="*/ 72484 w 1002353"/>
                  <a:gd name="connsiteY255" fmla="*/ 84637 h 377990"/>
                  <a:gd name="connsiteX256" fmla="*/ 75904 w 1002353"/>
                  <a:gd name="connsiteY256" fmla="*/ 102876 h 377990"/>
                  <a:gd name="connsiteX257" fmla="*/ 81033 w 1002353"/>
                  <a:gd name="connsiteY257" fmla="*/ 106922 h 377990"/>
                  <a:gd name="connsiteX258" fmla="*/ 81033 w 1002353"/>
                  <a:gd name="connsiteY258" fmla="*/ 115528 h 377990"/>
                  <a:gd name="connsiteX259" fmla="*/ 88670 w 1002353"/>
                  <a:gd name="connsiteY259" fmla="*/ 126015 h 377990"/>
                  <a:gd name="connsiteX260" fmla="*/ 102121 w 1002353"/>
                  <a:gd name="connsiteY260" fmla="*/ 128352 h 377990"/>
                  <a:gd name="connsiteX261" fmla="*/ 109531 w 1002353"/>
                  <a:gd name="connsiteY261" fmla="*/ 143627 h 377990"/>
                  <a:gd name="connsiteX262" fmla="*/ 126230 w 1002353"/>
                  <a:gd name="connsiteY262" fmla="*/ 161637 h 377990"/>
                  <a:gd name="connsiteX263" fmla="*/ 131245 w 1002353"/>
                  <a:gd name="connsiteY263" fmla="*/ 175886 h 377990"/>
                  <a:gd name="connsiteX264" fmla="*/ 138541 w 1002353"/>
                  <a:gd name="connsiteY264" fmla="*/ 180274 h 377990"/>
                  <a:gd name="connsiteX265" fmla="*/ 142588 w 1002353"/>
                  <a:gd name="connsiteY265" fmla="*/ 194067 h 377990"/>
                  <a:gd name="connsiteX266" fmla="*/ 152163 w 1002353"/>
                  <a:gd name="connsiteY266" fmla="*/ 202445 h 377990"/>
                  <a:gd name="connsiteX267" fmla="*/ 156551 w 1002353"/>
                  <a:gd name="connsiteY267" fmla="*/ 219544 h 377990"/>
                  <a:gd name="connsiteX268" fmla="*/ 166981 w 1002353"/>
                  <a:gd name="connsiteY268" fmla="*/ 226725 h 377990"/>
                  <a:gd name="connsiteX269" fmla="*/ 167836 w 1002353"/>
                  <a:gd name="connsiteY269" fmla="*/ 233393 h 377990"/>
                  <a:gd name="connsiteX270" fmla="*/ 182769 w 1002353"/>
                  <a:gd name="connsiteY270" fmla="*/ 242741 h 377990"/>
                  <a:gd name="connsiteX271" fmla="*/ 192971 w 1002353"/>
                  <a:gd name="connsiteY271" fmla="*/ 259041 h 377990"/>
                  <a:gd name="connsiteX272" fmla="*/ 208929 w 1002353"/>
                  <a:gd name="connsiteY272" fmla="*/ 267191 h 377990"/>
                  <a:gd name="connsiteX273" fmla="*/ 218219 w 1002353"/>
                  <a:gd name="connsiteY273" fmla="*/ 267191 h 377990"/>
                  <a:gd name="connsiteX274" fmla="*/ 224603 w 1002353"/>
                  <a:gd name="connsiteY274" fmla="*/ 255108 h 377990"/>
                  <a:gd name="connsiteX275" fmla="*/ 228650 w 1002353"/>
                  <a:gd name="connsiteY275" fmla="*/ 217777 h 377990"/>
                  <a:gd name="connsiteX276" fmla="*/ 236800 w 1002353"/>
                  <a:gd name="connsiteY276" fmla="*/ 202559 h 377990"/>
                  <a:gd name="connsiteX277" fmla="*/ 243183 w 1002353"/>
                  <a:gd name="connsiteY277" fmla="*/ 201191 h 377990"/>
                  <a:gd name="connsiteX278" fmla="*/ 244665 w 1002353"/>
                  <a:gd name="connsiteY278" fmla="*/ 195948 h 377990"/>
                  <a:gd name="connsiteX279" fmla="*/ 239308 w 1002353"/>
                  <a:gd name="connsiteY279" fmla="*/ 177197 h 377990"/>
                  <a:gd name="connsiteX280" fmla="*/ 222608 w 1002353"/>
                  <a:gd name="connsiteY280" fmla="*/ 168533 h 377990"/>
                  <a:gd name="connsiteX281" fmla="*/ 227738 w 1002353"/>
                  <a:gd name="connsiteY281" fmla="*/ 181699 h 377990"/>
                  <a:gd name="connsiteX282" fmla="*/ 483302 w 1002353"/>
                  <a:gd name="connsiteY282" fmla="*/ 30036 h 377990"/>
                  <a:gd name="connsiteX283" fmla="*/ 493789 w 1002353"/>
                  <a:gd name="connsiteY283" fmla="*/ 26275 h 377990"/>
                  <a:gd name="connsiteX284" fmla="*/ 468085 w 1002353"/>
                  <a:gd name="connsiteY284" fmla="*/ 25876 h 377990"/>
                  <a:gd name="connsiteX285" fmla="*/ 445287 w 1002353"/>
                  <a:gd name="connsiteY285" fmla="*/ 47648 h 377990"/>
                  <a:gd name="connsiteX286" fmla="*/ 442608 w 1002353"/>
                  <a:gd name="connsiteY286" fmla="*/ 59332 h 377990"/>
                  <a:gd name="connsiteX287" fmla="*/ 427903 w 1002353"/>
                  <a:gd name="connsiteY287" fmla="*/ 67653 h 377990"/>
                  <a:gd name="connsiteX288" fmla="*/ 427448 w 1002353"/>
                  <a:gd name="connsiteY288" fmla="*/ 80933 h 377990"/>
                  <a:gd name="connsiteX289" fmla="*/ 413712 w 1002353"/>
                  <a:gd name="connsiteY289" fmla="*/ 93129 h 377990"/>
                  <a:gd name="connsiteX290" fmla="*/ 401914 w 1002353"/>
                  <a:gd name="connsiteY290" fmla="*/ 96777 h 377990"/>
                  <a:gd name="connsiteX291" fmla="*/ 390515 w 1002353"/>
                  <a:gd name="connsiteY291" fmla="*/ 96777 h 377990"/>
                  <a:gd name="connsiteX292" fmla="*/ 355463 w 1002353"/>
                  <a:gd name="connsiteY292" fmla="*/ 107435 h 377990"/>
                  <a:gd name="connsiteX293" fmla="*/ 344064 w 1002353"/>
                  <a:gd name="connsiteY293" fmla="*/ 113818 h 377990"/>
                  <a:gd name="connsiteX294" fmla="*/ 323033 w 1002353"/>
                  <a:gd name="connsiteY294" fmla="*/ 104357 h 377990"/>
                  <a:gd name="connsiteX295" fmla="*/ 311007 w 1002353"/>
                  <a:gd name="connsiteY295" fmla="*/ 86404 h 377990"/>
                  <a:gd name="connsiteX296" fmla="*/ 299608 w 1002353"/>
                  <a:gd name="connsiteY296" fmla="*/ 94668 h 377990"/>
                  <a:gd name="connsiteX297" fmla="*/ 289634 w 1002353"/>
                  <a:gd name="connsiteY297" fmla="*/ 104979 h 377990"/>
                  <a:gd name="connsiteX298" fmla="*/ 290831 w 1002353"/>
                  <a:gd name="connsiteY298" fmla="*/ 109601 h 377990"/>
                  <a:gd name="connsiteX299" fmla="*/ 298525 w 1002353"/>
                  <a:gd name="connsiteY299" fmla="*/ 117637 h 377990"/>
                  <a:gd name="connsiteX300" fmla="*/ 301774 w 1002353"/>
                  <a:gd name="connsiteY300" fmla="*/ 144710 h 377990"/>
                  <a:gd name="connsiteX301" fmla="*/ 313800 w 1002353"/>
                  <a:gd name="connsiteY301" fmla="*/ 152404 h 377990"/>
                  <a:gd name="connsiteX302" fmla="*/ 314199 w 1002353"/>
                  <a:gd name="connsiteY302" fmla="*/ 158103 h 377990"/>
                  <a:gd name="connsiteX303" fmla="*/ 326566 w 1002353"/>
                  <a:gd name="connsiteY303" fmla="*/ 170186 h 377990"/>
                  <a:gd name="connsiteX304" fmla="*/ 330727 w 1002353"/>
                  <a:gd name="connsiteY304" fmla="*/ 184150 h 377990"/>
                  <a:gd name="connsiteX305" fmla="*/ 332266 w 1002353"/>
                  <a:gd name="connsiteY305" fmla="*/ 198969 h 377990"/>
                  <a:gd name="connsiteX306" fmla="*/ 343665 w 1002353"/>
                  <a:gd name="connsiteY306" fmla="*/ 206606 h 377990"/>
                  <a:gd name="connsiteX307" fmla="*/ 357287 w 1002353"/>
                  <a:gd name="connsiteY307" fmla="*/ 197088 h 377990"/>
                  <a:gd name="connsiteX308" fmla="*/ 365950 w 1002353"/>
                  <a:gd name="connsiteY308" fmla="*/ 214528 h 377990"/>
                  <a:gd name="connsiteX309" fmla="*/ 378147 w 1002353"/>
                  <a:gd name="connsiteY309" fmla="*/ 210938 h 377990"/>
                  <a:gd name="connsiteX310" fmla="*/ 399520 w 1002353"/>
                  <a:gd name="connsiteY310" fmla="*/ 207233 h 377990"/>
                  <a:gd name="connsiteX311" fmla="*/ 414738 w 1002353"/>
                  <a:gd name="connsiteY311" fmla="*/ 218632 h 377990"/>
                  <a:gd name="connsiteX312" fmla="*/ 428530 w 1002353"/>
                  <a:gd name="connsiteY312" fmla="*/ 221539 h 377990"/>
                  <a:gd name="connsiteX313" fmla="*/ 442209 w 1002353"/>
                  <a:gd name="connsiteY313" fmla="*/ 223590 h 377990"/>
                  <a:gd name="connsiteX314" fmla="*/ 445743 w 1002353"/>
                  <a:gd name="connsiteY314" fmla="*/ 216523 h 377990"/>
                  <a:gd name="connsiteX315" fmla="*/ 450986 w 1002353"/>
                  <a:gd name="connsiteY315" fmla="*/ 216523 h 377990"/>
                  <a:gd name="connsiteX316" fmla="*/ 459307 w 1002353"/>
                  <a:gd name="connsiteY316" fmla="*/ 204041 h 377990"/>
                  <a:gd name="connsiteX317" fmla="*/ 462499 w 1002353"/>
                  <a:gd name="connsiteY317" fmla="*/ 172010 h 377990"/>
                  <a:gd name="connsiteX318" fmla="*/ 467514 w 1002353"/>
                  <a:gd name="connsiteY318" fmla="*/ 162435 h 377990"/>
                  <a:gd name="connsiteX319" fmla="*/ 471846 w 1002353"/>
                  <a:gd name="connsiteY319" fmla="*/ 161865 h 377990"/>
                  <a:gd name="connsiteX320" fmla="*/ 480509 w 1002353"/>
                  <a:gd name="connsiteY320" fmla="*/ 147673 h 377990"/>
                  <a:gd name="connsiteX321" fmla="*/ 479711 w 1002353"/>
                  <a:gd name="connsiteY321" fmla="*/ 126984 h 377990"/>
                  <a:gd name="connsiteX322" fmla="*/ 479313 w 1002353"/>
                  <a:gd name="connsiteY322" fmla="*/ 120829 h 377990"/>
                  <a:gd name="connsiteX323" fmla="*/ 496411 w 1002353"/>
                  <a:gd name="connsiteY323" fmla="*/ 110912 h 377990"/>
                  <a:gd name="connsiteX324" fmla="*/ 515846 w 1002353"/>
                  <a:gd name="connsiteY324" fmla="*/ 104357 h 377990"/>
                  <a:gd name="connsiteX325" fmla="*/ 506271 w 1002353"/>
                  <a:gd name="connsiteY325" fmla="*/ 95010 h 377990"/>
                  <a:gd name="connsiteX326" fmla="*/ 498292 w 1002353"/>
                  <a:gd name="connsiteY326" fmla="*/ 94155 h 377990"/>
                  <a:gd name="connsiteX327" fmla="*/ 487748 w 1002353"/>
                  <a:gd name="connsiteY327" fmla="*/ 68394 h 377990"/>
                  <a:gd name="connsiteX328" fmla="*/ 477033 w 1002353"/>
                  <a:gd name="connsiteY328" fmla="*/ 62694 h 377990"/>
                  <a:gd name="connsiteX329" fmla="*/ 482391 w 1002353"/>
                  <a:gd name="connsiteY329" fmla="*/ 54829 h 377990"/>
                  <a:gd name="connsiteX330" fmla="*/ 481307 w 1002353"/>
                  <a:gd name="connsiteY330" fmla="*/ 34140 h 377990"/>
                  <a:gd name="connsiteX331" fmla="*/ 483473 w 1002353"/>
                  <a:gd name="connsiteY331" fmla="*/ 30492 h 377990"/>
                  <a:gd name="connsiteX332" fmla="*/ 964224 w 1002353"/>
                  <a:gd name="connsiteY332" fmla="*/ 189622 h 377990"/>
                  <a:gd name="connsiteX333" fmla="*/ 958809 w 1002353"/>
                  <a:gd name="connsiteY333" fmla="*/ 187342 h 377990"/>
                  <a:gd name="connsiteX334" fmla="*/ 956929 w 1002353"/>
                  <a:gd name="connsiteY334" fmla="*/ 183922 h 377990"/>
                  <a:gd name="connsiteX335" fmla="*/ 941995 w 1002353"/>
                  <a:gd name="connsiteY335" fmla="*/ 177368 h 377990"/>
                  <a:gd name="connsiteX336" fmla="*/ 937949 w 1002353"/>
                  <a:gd name="connsiteY336" fmla="*/ 165114 h 377990"/>
                  <a:gd name="connsiteX337" fmla="*/ 918514 w 1002353"/>
                  <a:gd name="connsiteY337" fmla="*/ 173948 h 377990"/>
                  <a:gd name="connsiteX338" fmla="*/ 908882 w 1002353"/>
                  <a:gd name="connsiteY338" fmla="*/ 184891 h 377990"/>
                  <a:gd name="connsiteX339" fmla="*/ 903524 w 1002353"/>
                  <a:gd name="connsiteY339" fmla="*/ 189166 h 377990"/>
                  <a:gd name="connsiteX340" fmla="*/ 894291 w 1002353"/>
                  <a:gd name="connsiteY340" fmla="*/ 190932 h 377990"/>
                  <a:gd name="connsiteX341" fmla="*/ 888591 w 1002353"/>
                  <a:gd name="connsiteY341" fmla="*/ 200337 h 377990"/>
                  <a:gd name="connsiteX342" fmla="*/ 879644 w 1002353"/>
                  <a:gd name="connsiteY342" fmla="*/ 202160 h 377990"/>
                  <a:gd name="connsiteX343" fmla="*/ 875084 w 1002353"/>
                  <a:gd name="connsiteY343" fmla="*/ 206777 h 377990"/>
                  <a:gd name="connsiteX344" fmla="*/ 862944 w 1002353"/>
                  <a:gd name="connsiteY344" fmla="*/ 205352 h 377990"/>
                  <a:gd name="connsiteX345" fmla="*/ 859012 w 1002353"/>
                  <a:gd name="connsiteY345" fmla="*/ 192756 h 377990"/>
                  <a:gd name="connsiteX346" fmla="*/ 857644 w 1002353"/>
                  <a:gd name="connsiteY346" fmla="*/ 180730 h 377990"/>
                  <a:gd name="connsiteX347" fmla="*/ 853939 w 1002353"/>
                  <a:gd name="connsiteY347" fmla="*/ 176342 h 377990"/>
                  <a:gd name="connsiteX348" fmla="*/ 853312 w 1002353"/>
                  <a:gd name="connsiteY348" fmla="*/ 167850 h 377990"/>
                  <a:gd name="connsiteX349" fmla="*/ 835587 w 1002353"/>
                  <a:gd name="connsiteY349" fmla="*/ 143741 h 377990"/>
                  <a:gd name="connsiteX350" fmla="*/ 804297 w 1002353"/>
                  <a:gd name="connsiteY350" fmla="*/ 143741 h 377990"/>
                  <a:gd name="connsiteX351" fmla="*/ 797001 w 1002353"/>
                  <a:gd name="connsiteY351" fmla="*/ 147388 h 377990"/>
                  <a:gd name="connsiteX352" fmla="*/ 793639 w 1002353"/>
                  <a:gd name="connsiteY352" fmla="*/ 153088 h 377990"/>
                  <a:gd name="connsiteX353" fmla="*/ 781042 w 1002353"/>
                  <a:gd name="connsiteY353" fmla="*/ 158787 h 377990"/>
                  <a:gd name="connsiteX354" fmla="*/ 792955 w 1002353"/>
                  <a:gd name="connsiteY354" fmla="*/ 169046 h 377990"/>
                  <a:gd name="connsiteX355" fmla="*/ 804752 w 1002353"/>
                  <a:gd name="connsiteY355" fmla="*/ 179477 h 377990"/>
                  <a:gd name="connsiteX356" fmla="*/ 843395 w 1002353"/>
                  <a:gd name="connsiteY356" fmla="*/ 181528 h 377990"/>
                  <a:gd name="connsiteX357" fmla="*/ 844193 w 1002353"/>
                  <a:gd name="connsiteY357" fmla="*/ 189280 h 377990"/>
                  <a:gd name="connsiteX358" fmla="*/ 835416 w 1002353"/>
                  <a:gd name="connsiteY358" fmla="*/ 192129 h 377990"/>
                  <a:gd name="connsiteX359" fmla="*/ 817235 w 1002353"/>
                  <a:gd name="connsiteY359" fmla="*/ 194067 h 377990"/>
                  <a:gd name="connsiteX360" fmla="*/ 811535 w 1002353"/>
                  <a:gd name="connsiteY360" fmla="*/ 195777 h 377990"/>
                  <a:gd name="connsiteX361" fmla="*/ 810965 w 1002353"/>
                  <a:gd name="connsiteY361" fmla="*/ 205637 h 377990"/>
                  <a:gd name="connsiteX362" fmla="*/ 820084 w 1002353"/>
                  <a:gd name="connsiteY362" fmla="*/ 211337 h 377990"/>
                  <a:gd name="connsiteX363" fmla="*/ 816208 w 1002353"/>
                  <a:gd name="connsiteY363" fmla="*/ 225300 h 377990"/>
                  <a:gd name="connsiteX364" fmla="*/ 829716 w 1002353"/>
                  <a:gd name="connsiteY364" fmla="*/ 227905 h 377990"/>
                  <a:gd name="connsiteX365" fmla="*/ 830343 w 1002353"/>
                  <a:gd name="connsiteY365" fmla="*/ 227466 h 377990"/>
                  <a:gd name="connsiteX366" fmla="*/ 836555 w 1002353"/>
                  <a:gd name="connsiteY366" fmla="*/ 217150 h 377990"/>
                  <a:gd name="connsiteX367" fmla="*/ 846700 w 1002353"/>
                  <a:gd name="connsiteY367" fmla="*/ 215098 h 377990"/>
                  <a:gd name="connsiteX368" fmla="*/ 848296 w 1002353"/>
                  <a:gd name="connsiteY368" fmla="*/ 221140 h 377990"/>
                  <a:gd name="connsiteX369" fmla="*/ 864597 w 1002353"/>
                  <a:gd name="connsiteY369" fmla="*/ 225642 h 377990"/>
                  <a:gd name="connsiteX370" fmla="*/ 865851 w 1002353"/>
                  <a:gd name="connsiteY370" fmla="*/ 237383 h 377990"/>
                  <a:gd name="connsiteX371" fmla="*/ 892467 w 1002353"/>
                  <a:gd name="connsiteY371" fmla="*/ 238751 h 377990"/>
                  <a:gd name="connsiteX372" fmla="*/ 899934 w 1002353"/>
                  <a:gd name="connsiteY372" fmla="*/ 240290 h 377990"/>
                  <a:gd name="connsiteX373" fmla="*/ 907457 w 1002353"/>
                  <a:gd name="connsiteY373" fmla="*/ 245989 h 377990"/>
                  <a:gd name="connsiteX374" fmla="*/ 919711 w 1002353"/>
                  <a:gd name="connsiteY374" fmla="*/ 247015 h 377990"/>
                  <a:gd name="connsiteX375" fmla="*/ 925011 w 1002353"/>
                  <a:gd name="connsiteY375" fmla="*/ 255450 h 377990"/>
                  <a:gd name="connsiteX376" fmla="*/ 947582 w 1002353"/>
                  <a:gd name="connsiteY376" fmla="*/ 277342 h 377990"/>
                  <a:gd name="connsiteX377" fmla="*/ 947353 w 1002353"/>
                  <a:gd name="connsiteY377" fmla="*/ 280813 h 377990"/>
                  <a:gd name="connsiteX378" fmla="*/ 946898 w 1002353"/>
                  <a:gd name="connsiteY378" fmla="*/ 286513 h 377990"/>
                  <a:gd name="connsiteX379" fmla="*/ 959322 w 1002353"/>
                  <a:gd name="connsiteY379" fmla="*/ 297912 h 377990"/>
                  <a:gd name="connsiteX380" fmla="*/ 954022 w 1002353"/>
                  <a:gd name="connsiteY380" fmla="*/ 303611 h 377990"/>
                  <a:gd name="connsiteX381" fmla="*/ 945700 w 1002353"/>
                  <a:gd name="connsiteY381" fmla="*/ 302129 h 377990"/>
                  <a:gd name="connsiteX382" fmla="*/ 942281 w 1002353"/>
                  <a:gd name="connsiteY382" fmla="*/ 307829 h 377990"/>
                  <a:gd name="connsiteX383" fmla="*/ 935783 w 1002353"/>
                  <a:gd name="connsiteY383" fmla="*/ 311419 h 377990"/>
                  <a:gd name="connsiteX384" fmla="*/ 933560 w 1002353"/>
                  <a:gd name="connsiteY384" fmla="*/ 316264 h 377990"/>
                  <a:gd name="connsiteX385" fmla="*/ 922561 w 1002353"/>
                  <a:gd name="connsiteY385" fmla="*/ 319740 h 377990"/>
                  <a:gd name="connsiteX386" fmla="*/ 918628 w 1002353"/>
                  <a:gd name="connsiteY386" fmla="*/ 327948 h 377990"/>
                  <a:gd name="connsiteX387" fmla="*/ 975623 w 1002353"/>
                  <a:gd name="connsiteY387" fmla="*/ 322533 h 377990"/>
                  <a:gd name="connsiteX388" fmla="*/ 984913 w 1002353"/>
                  <a:gd name="connsiteY388" fmla="*/ 325155 h 377990"/>
                  <a:gd name="connsiteX389" fmla="*/ 986851 w 1002353"/>
                  <a:gd name="connsiteY389" fmla="*/ 330171 h 377990"/>
                  <a:gd name="connsiteX390" fmla="*/ 1002353 w 1002353"/>
                  <a:gd name="connsiteY390" fmla="*/ 339917 h 377990"/>
                  <a:gd name="connsiteX391" fmla="*/ 1002353 w 1002353"/>
                  <a:gd name="connsiteY391" fmla="*/ 196860 h 377990"/>
                  <a:gd name="connsiteX392" fmla="*/ 648074 w 1002353"/>
                  <a:gd name="connsiteY392" fmla="*/ 340088 h 377990"/>
                  <a:gd name="connsiteX393" fmla="*/ 638784 w 1002353"/>
                  <a:gd name="connsiteY393" fmla="*/ 346300 h 377990"/>
                  <a:gd name="connsiteX394" fmla="*/ 630747 w 1002353"/>
                  <a:gd name="connsiteY394" fmla="*/ 352000 h 377990"/>
                  <a:gd name="connsiteX395" fmla="*/ 626131 w 1002353"/>
                  <a:gd name="connsiteY395" fmla="*/ 357072 h 377990"/>
                  <a:gd name="connsiteX396" fmla="*/ 614048 w 1002353"/>
                  <a:gd name="connsiteY396" fmla="*/ 359352 h 377990"/>
                  <a:gd name="connsiteX397" fmla="*/ 618152 w 1002353"/>
                  <a:gd name="connsiteY397" fmla="*/ 374512 h 377990"/>
                  <a:gd name="connsiteX398" fmla="*/ 634909 w 1002353"/>
                  <a:gd name="connsiteY398" fmla="*/ 375994 h 377990"/>
                  <a:gd name="connsiteX399" fmla="*/ 644426 w 1002353"/>
                  <a:gd name="connsiteY399" fmla="*/ 365564 h 377990"/>
                  <a:gd name="connsiteX400" fmla="*/ 644426 w 1002353"/>
                  <a:gd name="connsiteY400" fmla="*/ 360948 h 377990"/>
                  <a:gd name="connsiteX401" fmla="*/ 652520 w 1002353"/>
                  <a:gd name="connsiteY401" fmla="*/ 356559 h 377990"/>
                  <a:gd name="connsiteX402" fmla="*/ 659587 w 1002353"/>
                  <a:gd name="connsiteY402" fmla="*/ 346015 h 377990"/>
                  <a:gd name="connsiteX403" fmla="*/ 659587 w 1002353"/>
                  <a:gd name="connsiteY403" fmla="*/ 346015 h 377990"/>
                  <a:gd name="connsiteX404" fmla="*/ 651950 w 1002353"/>
                  <a:gd name="connsiteY404" fmla="*/ 341626 h 377990"/>
                  <a:gd name="connsiteX405" fmla="*/ 648245 w 1002353"/>
                  <a:gd name="connsiteY405" fmla="*/ 340601 h 37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1002353" h="377990">
                    <a:moveTo>
                      <a:pt x="673038" y="212191"/>
                    </a:moveTo>
                    <a:cubicBezTo>
                      <a:pt x="671043" y="210482"/>
                      <a:pt x="671442" y="207404"/>
                      <a:pt x="671442" y="204782"/>
                    </a:cubicBezTo>
                    <a:cubicBezTo>
                      <a:pt x="671442" y="202160"/>
                      <a:pt x="671043" y="198000"/>
                      <a:pt x="673665" y="196461"/>
                    </a:cubicBezTo>
                    <a:cubicBezTo>
                      <a:pt x="674918" y="195891"/>
                      <a:pt x="676286" y="195714"/>
                      <a:pt x="677655" y="195948"/>
                    </a:cubicBezTo>
                    <a:cubicBezTo>
                      <a:pt x="679649" y="196068"/>
                      <a:pt x="681530" y="196552"/>
                      <a:pt x="683354" y="197373"/>
                    </a:cubicBezTo>
                    <a:cubicBezTo>
                      <a:pt x="685178" y="198290"/>
                      <a:pt x="686488" y="200057"/>
                      <a:pt x="686774" y="202103"/>
                    </a:cubicBezTo>
                    <a:cubicBezTo>
                      <a:pt x="686774" y="203357"/>
                      <a:pt x="686774" y="204839"/>
                      <a:pt x="687457" y="205751"/>
                    </a:cubicBezTo>
                    <a:cubicBezTo>
                      <a:pt x="688141" y="206384"/>
                      <a:pt x="689054" y="206731"/>
                      <a:pt x="690022" y="206720"/>
                    </a:cubicBezTo>
                    <a:cubicBezTo>
                      <a:pt x="692929" y="207182"/>
                      <a:pt x="695664" y="208464"/>
                      <a:pt x="697830" y="210425"/>
                    </a:cubicBezTo>
                    <a:cubicBezTo>
                      <a:pt x="698571" y="214540"/>
                      <a:pt x="698742" y="218746"/>
                      <a:pt x="698287" y="222906"/>
                    </a:cubicBezTo>
                    <a:cubicBezTo>
                      <a:pt x="698400" y="224252"/>
                      <a:pt x="697432" y="225448"/>
                      <a:pt x="696064" y="225579"/>
                    </a:cubicBezTo>
                    <a:cubicBezTo>
                      <a:pt x="695950" y="225597"/>
                      <a:pt x="695779" y="225597"/>
                      <a:pt x="695664" y="225585"/>
                    </a:cubicBezTo>
                    <a:cubicBezTo>
                      <a:pt x="692245" y="226662"/>
                      <a:pt x="688540" y="226161"/>
                      <a:pt x="685519" y="224217"/>
                    </a:cubicBezTo>
                    <a:cubicBezTo>
                      <a:pt x="684437" y="223049"/>
                      <a:pt x="683582" y="221698"/>
                      <a:pt x="683012" y="220228"/>
                    </a:cubicBezTo>
                    <a:lnTo>
                      <a:pt x="680447" y="214528"/>
                    </a:lnTo>
                    <a:lnTo>
                      <a:pt x="676059" y="213502"/>
                    </a:lnTo>
                    <a:cubicBezTo>
                      <a:pt x="674975" y="213280"/>
                      <a:pt x="673950" y="212836"/>
                      <a:pt x="673038" y="212191"/>
                    </a:cubicBezTo>
                    <a:close/>
                    <a:moveTo>
                      <a:pt x="591820" y="118207"/>
                    </a:moveTo>
                    <a:cubicBezTo>
                      <a:pt x="596493" y="118008"/>
                      <a:pt x="601110" y="118629"/>
                      <a:pt x="605556" y="120031"/>
                    </a:cubicBezTo>
                    <a:cubicBezTo>
                      <a:pt x="611997" y="122596"/>
                      <a:pt x="617981" y="128751"/>
                      <a:pt x="624706" y="126870"/>
                    </a:cubicBezTo>
                    <a:cubicBezTo>
                      <a:pt x="631431" y="124990"/>
                      <a:pt x="633141" y="117637"/>
                      <a:pt x="638043" y="113591"/>
                    </a:cubicBezTo>
                    <a:cubicBezTo>
                      <a:pt x="639867" y="112109"/>
                      <a:pt x="642033" y="111140"/>
                      <a:pt x="643742" y="109715"/>
                    </a:cubicBezTo>
                    <a:cubicBezTo>
                      <a:pt x="648131" y="106426"/>
                      <a:pt x="650695" y="101280"/>
                      <a:pt x="650695" y="95808"/>
                    </a:cubicBezTo>
                    <a:cubicBezTo>
                      <a:pt x="646364" y="94668"/>
                      <a:pt x="640835" y="93984"/>
                      <a:pt x="638328" y="97689"/>
                    </a:cubicBezTo>
                    <a:cubicBezTo>
                      <a:pt x="637986" y="98430"/>
                      <a:pt x="637473" y="99108"/>
                      <a:pt x="636903" y="99684"/>
                    </a:cubicBezTo>
                    <a:cubicBezTo>
                      <a:pt x="636219" y="100088"/>
                      <a:pt x="635478" y="100322"/>
                      <a:pt x="634680" y="100368"/>
                    </a:cubicBezTo>
                    <a:lnTo>
                      <a:pt x="627613" y="101337"/>
                    </a:lnTo>
                    <a:cubicBezTo>
                      <a:pt x="629209" y="104061"/>
                      <a:pt x="628240" y="107549"/>
                      <a:pt x="625504" y="109122"/>
                    </a:cubicBezTo>
                    <a:cubicBezTo>
                      <a:pt x="625504" y="109151"/>
                      <a:pt x="625447" y="109179"/>
                      <a:pt x="625390" y="109202"/>
                    </a:cubicBezTo>
                    <a:cubicBezTo>
                      <a:pt x="622483" y="110416"/>
                      <a:pt x="619235" y="110695"/>
                      <a:pt x="616157" y="110000"/>
                    </a:cubicBezTo>
                    <a:lnTo>
                      <a:pt x="594556" y="107549"/>
                    </a:lnTo>
                    <a:cubicBezTo>
                      <a:pt x="592447" y="107549"/>
                      <a:pt x="590053" y="106865"/>
                      <a:pt x="588856" y="105041"/>
                    </a:cubicBezTo>
                    <a:cubicBezTo>
                      <a:pt x="587660" y="103218"/>
                      <a:pt x="588287" y="102363"/>
                      <a:pt x="587374" y="101337"/>
                    </a:cubicBezTo>
                    <a:cubicBezTo>
                      <a:pt x="586349" y="100499"/>
                      <a:pt x="584981" y="100128"/>
                      <a:pt x="583670" y="100311"/>
                    </a:cubicBezTo>
                    <a:cubicBezTo>
                      <a:pt x="575463" y="100311"/>
                      <a:pt x="567312" y="100824"/>
                      <a:pt x="559162" y="101679"/>
                    </a:cubicBezTo>
                    <a:cubicBezTo>
                      <a:pt x="557909" y="101690"/>
                      <a:pt x="556654" y="102066"/>
                      <a:pt x="555572" y="102761"/>
                    </a:cubicBezTo>
                    <a:cubicBezTo>
                      <a:pt x="552665" y="104984"/>
                      <a:pt x="554602" y="110456"/>
                      <a:pt x="551696" y="112736"/>
                    </a:cubicBezTo>
                    <a:cubicBezTo>
                      <a:pt x="549986" y="114047"/>
                      <a:pt x="547535" y="113477"/>
                      <a:pt x="545369" y="113192"/>
                    </a:cubicBezTo>
                    <a:cubicBezTo>
                      <a:pt x="543203" y="112907"/>
                      <a:pt x="540354" y="113192"/>
                      <a:pt x="539670" y="115528"/>
                    </a:cubicBezTo>
                    <a:cubicBezTo>
                      <a:pt x="539556" y="116286"/>
                      <a:pt x="539556" y="117050"/>
                      <a:pt x="539670" y="117808"/>
                    </a:cubicBezTo>
                    <a:cubicBezTo>
                      <a:pt x="540297" y="123508"/>
                      <a:pt x="535338" y="128694"/>
                      <a:pt x="530779" y="132570"/>
                    </a:cubicBezTo>
                    <a:lnTo>
                      <a:pt x="549986" y="130062"/>
                    </a:lnTo>
                    <a:cubicBezTo>
                      <a:pt x="551639" y="130085"/>
                      <a:pt x="553235" y="129452"/>
                      <a:pt x="554375" y="128295"/>
                    </a:cubicBezTo>
                    <a:cubicBezTo>
                      <a:pt x="556597" y="125559"/>
                      <a:pt x="553691" y="120316"/>
                      <a:pt x="556654" y="118378"/>
                    </a:cubicBezTo>
                    <a:cubicBezTo>
                      <a:pt x="557623" y="117905"/>
                      <a:pt x="558650" y="117706"/>
                      <a:pt x="559732" y="117808"/>
                    </a:cubicBezTo>
                    <a:lnTo>
                      <a:pt x="585038" y="118150"/>
                    </a:lnTo>
                    <a:close/>
                    <a:moveTo>
                      <a:pt x="592276" y="163803"/>
                    </a:moveTo>
                    <a:cubicBezTo>
                      <a:pt x="593872" y="160839"/>
                      <a:pt x="597975" y="160611"/>
                      <a:pt x="601167" y="160098"/>
                    </a:cubicBezTo>
                    <a:cubicBezTo>
                      <a:pt x="605100" y="159677"/>
                      <a:pt x="608690" y="157756"/>
                      <a:pt x="611199" y="154741"/>
                    </a:cubicBezTo>
                    <a:cubicBezTo>
                      <a:pt x="613649" y="151538"/>
                      <a:pt x="613364" y="146995"/>
                      <a:pt x="610515" y="144140"/>
                    </a:cubicBezTo>
                    <a:cubicBezTo>
                      <a:pt x="607323" y="142219"/>
                      <a:pt x="603390" y="141980"/>
                      <a:pt x="599971" y="143513"/>
                    </a:cubicBezTo>
                    <a:cubicBezTo>
                      <a:pt x="596608" y="145086"/>
                      <a:pt x="592960" y="145770"/>
                      <a:pt x="589256" y="145508"/>
                    </a:cubicBezTo>
                    <a:cubicBezTo>
                      <a:pt x="587090" y="145052"/>
                      <a:pt x="584525" y="143912"/>
                      <a:pt x="582872" y="145508"/>
                    </a:cubicBezTo>
                    <a:cubicBezTo>
                      <a:pt x="582188" y="146351"/>
                      <a:pt x="581618" y="147314"/>
                      <a:pt x="581276" y="148357"/>
                    </a:cubicBezTo>
                    <a:cubicBezTo>
                      <a:pt x="579851" y="150495"/>
                      <a:pt x="577914" y="152210"/>
                      <a:pt x="575577" y="153316"/>
                    </a:cubicBezTo>
                    <a:cubicBezTo>
                      <a:pt x="571587" y="155824"/>
                      <a:pt x="568281" y="159015"/>
                      <a:pt x="564178" y="161694"/>
                    </a:cubicBezTo>
                    <a:cubicBezTo>
                      <a:pt x="560302" y="164475"/>
                      <a:pt x="555343" y="165142"/>
                      <a:pt x="550898" y="163461"/>
                    </a:cubicBezTo>
                    <a:cubicBezTo>
                      <a:pt x="551468" y="161067"/>
                      <a:pt x="550214" y="158616"/>
                      <a:pt x="547877" y="157762"/>
                    </a:cubicBezTo>
                    <a:cubicBezTo>
                      <a:pt x="545655" y="157038"/>
                      <a:pt x="543261" y="156884"/>
                      <a:pt x="540924" y="157305"/>
                    </a:cubicBezTo>
                    <a:cubicBezTo>
                      <a:pt x="539214" y="154342"/>
                      <a:pt x="542121" y="150466"/>
                      <a:pt x="540924" y="147331"/>
                    </a:cubicBezTo>
                    <a:cubicBezTo>
                      <a:pt x="539727" y="144197"/>
                      <a:pt x="534825" y="144083"/>
                      <a:pt x="531349" y="144938"/>
                    </a:cubicBezTo>
                    <a:cubicBezTo>
                      <a:pt x="529696" y="145291"/>
                      <a:pt x="528100" y="145986"/>
                      <a:pt x="526732" y="146989"/>
                    </a:cubicBezTo>
                    <a:cubicBezTo>
                      <a:pt x="520121" y="152347"/>
                      <a:pt x="527815" y="165399"/>
                      <a:pt x="521032" y="170813"/>
                    </a:cubicBezTo>
                    <a:cubicBezTo>
                      <a:pt x="519608" y="172010"/>
                      <a:pt x="517442" y="172808"/>
                      <a:pt x="517043" y="174632"/>
                    </a:cubicBezTo>
                    <a:cubicBezTo>
                      <a:pt x="516644" y="176456"/>
                      <a:pt x="518468" y="178280"/>
                      <a:pt x="519380" y="180331"/>
                    </a:cubicBezTo>
                    <a:cubicBezTo>
                      <a:pt x="521261" y="184264"/>
                      <a:pt x="518240" y="188824"/>
                      <a:pt x="514991" y="191730"/>
                    </a:cubicBezTo>
                    <a:cubicBezTo>
                      <a:pt x="511742" y="194637"/>
                      <a:pt x="507639" y="197430"/>
                      <a:pt x="506556" y="201533"/>
                    </a:cubicBezTo>
                    <a:cubicBezTo>
                      <a:pt x="505929" y="207632"/>
                      <a:pt x="509805" y="213303"/>
                      <a:pt x="515675" y="214984"/>
                    </a:cubicBezTo>
                    <a:cubicBezTo>
                      <a:pt x="521432" y="216460"/>
                      <a:pt x="527302" y="217452"/>
                      <a:pt x="533229" y="217948"/>
                    </a:cubicBezTo>
                    <a:cubicBezTo>
                      <a:pt x="531463" y="224132"/>
                      <a:pt x="531463" y="230686"/>
                      <a:pt x="533229" y="236870"/>
                    </a:cubicBezTo>
                    <a:cubicBezTo>
                      <a:pt x="534483" y="239469"/>
                      <a:pt x="534882" y="242404"/>
                      <a:pt x="534370" y="245248"/>
                    </a:cubicBezTo>
                    <a:cubicBezTo>
                      <a:pt x="533743" y="246605"/>
                      <a:pt x="532945" y="247887"/>
                      <a:pt x="532033" y="249067"/>
                    </a:cubicBezTo>
                    <a:cubicBezTo>
                      <a:pt x="527245" y="256305"/>
                      <a:pt x="530209" y="266165"/>
                      <a:pt x="533344" y="274031"/>
                    </a:cubicBezTo>
                    <a:cubicBezTo>
                      <a:pt x="536934" y="274230"/>
                      <a:pt x="540297" y="272338"/>
                      <a:pt x="541950" y="269186"/>
                    </a:cubicBezTo>
                    <a:cubicBezTo>
                      <a:pt x="543375" y="266194"/>
                      <a:pt x="544230" y="262968"/>
                      <a:pt x="544514" y="259668"/>
                    </a:cubicBezTo>
                    <a:cubicBezTo>
                      <a:pt x="547877" y="260016"/>
                      <a:pt x="550955" y="257668"/>
                      <a:pt x="551525" y="254311"/>
                    </a:cubicBezTo>
                    <a:cubicBezTo>
                      <a:pt x="551924" y="251033"/>
                      <a:pt x="551069" y="247728"/>
                      <a:pt x="549074" y="245077"/>
                    </a:cubicBezTo>
                    <a:cubicBezTo>
                      <a:pt x="548048" y="242986"/>
                      <a:pt x="546053" y="241532"/>
                      <a:pt x="543773" y="241202"/>
                    </a:cubicBezTo>
                    <a:cubicBezTo>
                      <a:pt x="546396" y="236813"/>
                      <a:pt x="539214" y="232311"/>
                      <a:pt x="539271" y="227181"/>
                    </a:cubicBezTo>
                    <a:cubicBezTo>
                      <a:pt x="539271" y="224103"/>
                      <a:pt x="541950" y="221482"/>
                      <a:pt x="542348" y="218518"/>
                    </a:cubicBezTo>
                    <a:cubicBezTo>
                      <a:pt x="542405" y="216050"/>
                      <a:pt x="541950" y="213594"/>
                      <a:pt x="540924" y="211337"/>
                    </a:cubicBezTo>
                    <a:cubicBezTo>
                      <a:pt x="539841" y="208213"/>
                      <a:pt x="539841" y="204828"/>
                      <a:pt x="540924" y="201704"/>
                    </a:cubicBezTo>
                    <a:cubicBezTo>
                      <a:pt x="542064" y="198570"/>
                      <a:pt x="544742" y="196284"/>
                      <a:pt x="548048" y="195720"/>
                    </a:cubicBezTo>
                    <a:cubicBezTo>
                      <a:pt x="551753" y="195538"/>
                      <a:pt x="555172" y="197458"/>
                      <a:pt x="556996" y="200679"/>
                    </a:cubicBezTo>
                    <a:cubicBezTo>
                      <a:pt x="558650" y="203922"/>
                      <a:pt x="559390" y="207586"/>
                      <a:pt x="559048" y="211222"/>
                    </a:cubicBezTo>
                    <a:cubicBezTo>
                      <a:pt x="558535" y="214751"/>
                      <a:pt x="558364" y="218324"/>
                      <a:pt x="558650" y="221881"/>
                    </a:cubicBezTo>
                    <a:cubicBezTo>
                      <a:pt x="559048" y="225522"/>
                      <a:pt x="561670" y="228520"/>
                      <a:pt x="565260" y="229347"/>
                    </a:cubicBezTo>
                    <a:cubicBezTo>
                      <a:pt x="567142" y="229632"/>
                      <a:pt x="569250" y="228891"/>
                      <a:pt x="570960" y="229803"/>
                    </a:cubicBezTo>
                    <a:cubicBezTo>
                      <a:pt x="572784" y="231068"/>
                      <a:pt x="573753" y="233297"/>
                      <a:pt x="573354" y="235502"/>
                    </a:cubicBezTo>
                    <a:cubicBezTo>
                      <a:pt x="573069" y="237697"/>
                      <a:pt x="573069" y="239919"/>
                      <a:pt x="573354" y="242114"/>
                    </a:cubicBezTo>
                    <a:cubicBezTo>
                      <a:pt x="573924" y="244222"/>
                      <a:pt x="576261" y="246160"/>
                      <a:pt x="578198" y="245191"/>
                    </a:cubicBezTo>
                    <a:cubicBezTo>
                      <a:pt x="580991" y="242324"/>
                      <a:pt x="584639" y="240478"/>
                      <a:pt x="588572" y="239948"/>
                    </a:cubicBezTo>
                    <a:cubicBezTo>
                      <a:pt x="590395" y="239948"/>
                      <a:pt x="592219" y="240461"/>
                      <a:pt x="594271" y="240290"/>
                    </a:cubicBezTo>
                    <a:cubicBezTo>
                      <a:pt x="598204" y="239577"/>
                      <a:pt x="600996" y="236027"/>
                      <a:pt x="600768" y="232026"/>
                    </a:cubicBezTo>
                    <a:cubicBezTo>
                      <a:pt x="600369" y="228104"/>
                      <a:pt x="597862" y="224702"/>
                      <a:pt x="594271" y="223135"/>
                    </a:cubicBezTo>
                    <a:cubicBezTo>
                      <a:pt x="593302" y="222781"/>
                      <a:pt x="592447" y="222262"/>
                      <a:pt x="591649" y="221596"/>
                    </a:cubicBezTo>
                    <a:cubicBezTo>
                      <a:pt x="590965" y="220735"/>
                      <a:pt x="590566" y="219675"/>
                      <a:pt x="590509" y="218575"/>
                    </a:cubicBezTo>
                    <a:cubicBezTo>
                      <a:pt x="589426" y="210653"/>
                      <a:pt x="592447" y="201476"/>
                      <a:pt x="587317" y="195264"/>
                    </a:cubicBezTo>
                    <a:cubicBezTo>
                      <a:pt x="586576" y="194546"/>
                      <a:pt x="585950" y="193697"/>
                      <a:pt x="585494" y="192756"/>
                    </a:cubicBezTo>
                    <a:cubicBezTo>
                      <a:pt x="584753" y="190476"/>
                      <a:pt x="586805" y="187969"/>
                      <a:pt x="585892" y="185746"/>
                    </a:cubicBezTo>
                    <a:cubicBezTo>
                      <a:pt x="584981" y="183523"/>
                      <a:pt x="580820" y="183637"/>
                      <a:pt x="577970" y="182953"/>
                    </a:cubicBezTo>
                    <a:cubicBezTo>
                      <a:pt x="574152" y="182075"/>
                      <a:pt x="571701" y="178428"/>
                      <a:pt x="572271" y="174575"/>
                    </a:cubicBezTo>
                    <a:cubicBezTo>
                      <a:pt x="575918" y="175230"/>
                      <a:pt x="579680" y="175230"/>
                      <a:pt x="583328" y="174575"/>
                    </a:cubicBezTo>
                    <a:cubicBezTo>
                      <a:pt x="587033" y="173908"/>
                      <a:pt x="590167" y="171395"/>
                      <a:pt x="591592" y="167907"/>
                    </a:cubicBezTo>
                    <a:cubicBezTo>
                      <a:pt x="591706" y="166630"/>
                      <a:pt x="591991" y="165370"/>
                      <a:pt x="592333" y="164145"/>
                    </a:cubicBezTo>
                    <a:close/>
                    <a:moveTo>
                      <a:pt x="713846" y="84979"/>
                    </a:moveTo>
                    <a:lnTo>
                      <a:pt x="706779" y="84979"/>
                    </a:lnTo>
                    <a:cubicBezTo>
                      <a:pt x="706095" y="84837"/>
                      <a:pt x="705411" y="84837"/>
                      <a:pt x="704727" y="84979"/>
                    </a:cubicBezTo>
                    <a:cubicBezTo>
                      <a:pt x="703473" y="85806"/>
                      <a:pt x="702789" y="87310"/>
                      <a:pt x="703074" y="88798"/>
                    </a:cubicBezTo>
                    <a:cubicBezTo>
                      <a:pt x="703074" y="90280"/>
                      <a:pt x="703701" y="91762"/>
                      <a:pt x="703701" y="93186"/>
                    </a:cubicBezTo>
                    <a:cubicBezTo>
                      <a:pt x="703701" y="97575"/>
                      <a:pt x="698799" y="100539"/>
                      <a:pt x="698001" y="104585"/>
                    </a:cubicBezTo>
                    <a:cubicBezTo>
                      <a:pt x="697203" y="108632"/>
                      <a:pt x="701934" y="113420"/>
                      <a:pt x="704271" y="117808"/>
                    </a:cubicBezTo>
                    <a:cubicBezTo>
                      <a:pt x="705981" y="121359"/>
                      <a:pt x="706722" y="125286"/>
                      <a:pt x="706436" y="129207"/>
                    </a:cubicBezTo>
                    <a:cubicBezTo>
                      <a:pt x="706436" y="131202"/>
                      <a:pt x="707006" y="133995"/>
                      <a:pt x="709002" y="133767"/>
                    </a:cubicBezTo>
                    <a:cubicBezTo>
                      <a:pt x="709571" y="133647"/>
                      <a:pt x="710084" y="133413"/>
                      <a:pt x="710540" y="133083"/>
                    </a:cubicBezTo>
                    <a:cubicBezTo>
                      <a:pt x="713618" y="131316"/>
                      <a:pt x="717892" y="131715"/>
                      <a:pt x="720229" y="128979"/>
                    </a:cubicBezTo>
                    <a:cubicBezTo>
                      <a:pt x="723250" y="125388"/>
                      <a:pt x="720856" y="118264"/>
                      <a:pt x="725131" y="116212"/>
                    </a:cubicBezTo>
                    <a:cubicBezTo>
                      <a:pt x="727126" y="115186"/>
                      <a:pt x="729690" y="116212"/>
                      <a:pt x="731685" y="115015"/>
                    </a:cubicBezTo>
                    <a:cubicBezTo>
                      <a:pt x="734706" y="113420"/>
                      <a:pt x="734364" y="109316"/>
                      <a:pt x="733509" y="105839"/>
                    </a:cubicBezTo>
                    <a:cubicBezTo>
                      <a:pt x="729006" y="101086"/>
                      <a:pt x="723478" y="97467"/>
                      <a:pt x="717323" y="95295"/>
                    </a:cubicBezTo>
                    <a:cubicBezTo>
                      <a:pt x="716866" y="95158"/>
                      <a:pt x="716525" y="94925"/>
                      <a:pt x="716182" y="94611"/>
                    </a:cubicBezTo>
                    <a:cubicBezTo>
                      <a:pt x="716012" y="94127"/>
                      <a:pt x="716012" y="93614"/>
                      <a:pt x="716182" y="93129"/>
                    </a:cubicBezTo>
                    <a:lnTo>
                      <a:pt x="716182" y="86746"/>
                    </a:lnTo>
                    <a:cubicBezTo>
                      <a:pt x="716354" y="86222"/>
                      <a:pt x="716354" y="85675"/>
                      <a:pt x="716182" y="85150"/>
                    </a:cubicBezTo>
                    <a:cubicBezTo>
                      <a:pt x="715441" y="84894"/>
                      <a:pt x="714587" y="84956"/>
                      <a:pt x="713903" y="85321"/>
                    </a:cubicBezTo>
                    <a:close/>
                    <a:moveTo>
                      <a:pt x="749411" y="215041"/>
                    </a:moveTo>
                    <a:cubicBezTo>
                      <a:pt x="753571" y="215440"/>
                      <a:pt x="758074" y="214072"/>
                      <a:pt x="761665" y="216124"/>
                    </a:cubicBezTo>
                    <a:cubicBezTo>
                      <a:pt x="763203" y="217196"/>
                      <a:pt x="764628" y="218484"/>
                      <a:pt x="765825" y="219943"/>
                    </a:cubicBezTo>
                    <a:cubicBezTo>
                      <a:pt x="768675" y="223391"/>
                      <a:pt x="773348" y="224725"/>
                      <a:pt x="777566" y="223305"/>
                    </a:cubicBezTo>
                    <a:cubicBezTo>
                      <a:pt x="780872" y="221613"/>
                      <a:pt x="782183" y="217560"/>
                      <a:pt x="780473" y="214255"/>
                    </a:cubicBezTo>
                    <a:cubicBezTo>
                      <a:pt x="779618" y="212494"/>
                      <a:pt x="777965" y="211217"/>
                      <a:pt x="776027" y="210767"/>
                    </a:cubicBezTo>
                    <a:cubicBezTo>
                      <a:pt x="775172" y="210681"/>
                      <a:pt x="774374" y="210470"/>
                      <a:pt x="773576" y="210140"/>
                    </a:cubicBezTo>
                    <a:cubicBezTo>
                      <a:pt x="771696" y="209114"/>
                      <a:pt x="771297" y="206150"/>
                      <a:pt x="769245" y="205580"/>
                    </a:cubicBezTo>
                    <a:cubicBezTo>
                      <a:pt x="767193" y="205010"/>
                      <a:pt x="765939" y="206264"/>
                      <a:pt x="764685" y="205580"/>
                    </a:cubicBezTo>
                    <a:cubicBezTo>
                      <a:pt x="763431" y="204896"/>
                      <a:pt x="763944" y="202787"/>
                      <a:pt x="763374" y="201419"/>
                    </a:cubicBezTo>
                    <a:cubicBezTo>
                      <a:pt x="762804" y="200052"/>
                      <a:pt x="759898" y="199140"/>
                      <a:pt x="757675" y="199140"/>
                    </a:cubicBezTo>
                    <a:lnTo>
                      <a:pt x="728095" y="199482"/>
                    </a:lnTo>
                    <a:cubicBezTo>
                      <a:pt x="724903" y="199003"/>
                      <a:pt x="721711" y="200086"/>
                      <a:pt x="719431" y="202388"/>
                    </a:cubicBezTo>
                    <a:cubicBezTo>
                      <a:pt x="717721" y="204896"/>
                      <a:pt x="718576" y="208088"/>
                      <a:pt x="718348" y="211109"/>
                    </a:cubicBezTo>
                    <a:cubicBezTo>
                      <a:pt x="718064" y="212095"/>
                      <a:pt x="718064" y="213143"/>
                      <a:pt x="718348" y="214129"/>
                    </a:cubicBezTo>
                    <a:cubicBezTo>
                      <a:pt x="719032" y="214984"/>
                      <a:pt x="720058" y="215503"/>
                      <a:pt x="721141" y="215554"/>
                    </a:cubicBezTo>
                    <a:cubicBezTo>
                      <a:pt x="727297" y="216409"/>
                      <a:pt x="733338" y="212590"/>
                      <a:pt x="739551" y="213160"/>
                    </a:cubicBezTo>
                    <a:cubicBezTo>
                      <a:pt x="743199" y="213559"/>
                      <a:pt x="746219" y="215041"/>
                      <a:pt x="749468" y="215383"/>
                    </a:cubicBezTo>
                    <a:close/>
                    <a:moveTo>
                      <a:pt x="573297" y="332108"/>
                    </a:moveTo>
                    <a:cubicBezTo>
                      <a:pt x="573639" y="329373"/>
                      <a:pt x="572271" y="326705"/>
                      <a:pt x="569877" y="325383"/>
                    </a:cubicBezTo>
                    <a:cubicBezTo>
                      <a:pt x="567483" y="324101"/>
                      <a:pt x="564805" y="323451"/>
                      <a:pt x="562126" y="323502"/>
                    </a:cubicBezTo>
                    <a:cubicBezTo>
                      <a:pt x="554717" y="323120"/>
                      <a:pt x="547307" y="324169"/>
                      <a:pt x="540297" y="326580"/>
                    </a:cubicBezTo>
                    <a:cubicBezTo>
                      <a:pt x="533856" y="328803"/>
                      <a:pt x="526903" y="333761"/>
                      <a:pt x="527530" y="340544"/>
                    </a:cubicBezTo>
                    <a:cubicBezTo>
                      <a:pt x="548903" y="344134"/>
                      <a:pt x="570618" y="344533"/>
                      <a:pt x="592105" y="341741"/>
                    </a:cubicBezTo>
                    <a:cubicBezTo>
                      <a:pt x="593473" y="336041"/>
                      <a:pt x="601053" y="334103"/>
                      <a:pt x="607095" y="334388"/>
                    </a:cubicBezTo>
                    <a:cubicBezTo>
                      <a:pt x="613136" y="334673"/>
                      <a:pt x="620146" y="335471"/>
                      <a:pt x="624193" y="331139"/>
                    </a:cubicBezTo>
                    <a:cubicBezTo>
                      <a:pt x="625390" y="330079"/>
                      <a:pt x="625960" y="328432"/>
                      <a:pt x="625561" y="326865"/>
                    </a:cubicBezTo>
                    <a:cubicBezTo>
                      <a:pt x="624877" y="324813"/>
                      <a:pt x="622312" y="324300"/>
                      <a:pt x="619862" y="324129"/>
                    </a:cubicBezTo>
                    <a:cubicBezTo>
                      <a:pt x="607836" y="323160"/>
                      <a:pt x="595012" y="322305"/>
                      <a:pt x="584582" y="328404"/>
                    </a:cubicBezTo>
                    <a:cubicBezTo>
                      <a:pt x="581447" y="330911"/>
                      <a:pt x="577343" y="333989"/>
                      <a:pt x="573354" y="332450"/>
                    </a:cubicBezTo>
                    <a:close/>
                    <a:moveTo>
                      <a:pt x="560188" y="367958"/>
                    </a:moveTo>
                    <a:lnTo>
                      <a:pt x="548447" y="362658"/>
                    </a:lnTo>
                    <a:cubicBezTo>
                      <a:pt x="548333" y="360503"/>
                      <a:pt x="547079" y="358582"/>
                      <a:pt x="545085" y="357699"/>
                    </a:cubicBezTo>
                    <a:cubicBezTo>
                      <a:pt x="543146" y="356901"/>
                      <a:pt x="541038" y="356491"/>
                      <a:pt x="538929" y="356502"/>
                    </a:cubicBezTo>
                    <a:lnTo>
                      <a:pt x="517100" y="355134"/>
                    </a:lnTo>
                    <a:cubicBezTo>
                      <a:pt x="515276" y="358269"/>
                      <a:pt x="516302" y="362287"/>
                      <a:pt x="519437" y="364139"/>
                    </a:cubicBezTo>
                    <a:cubicBezTo>
                      <a:pt x="522514" y="365786"/>
                      <a:pt x="525991" y="366579"/>
                      <a:pt x="529525" y="366419"/>
                    </a:cubicBezTo>
                    <a:cubicBezTo>
                      <a:pt x="533058" y="366277"/>
                      <a:pt x="536536" y="367086"/>
                      <a:pt x="539613" y="368756"/>
                    </a:cubicBezTo>
                    <a:cubicBezTo>
                      <a:pt x="542405" y="370694"/>
                      <a:pt x="544001" y="373943"/>
                      <a:pt x="546737" y="375823"/>
                    </a:cubicBezTo>
                    <a:cubicBezTo>
                      <a:pt x="550955" y="378023"/>
                      <a:pt x="555856" y="378571"/>
                      <a:pt x="560473" y="377362"/>
                    </a:cubicBezTo>
                    <a:cubicBezTo>
                      <a:pt x="560416" y="374569"/>
                      <a:pt x="560359" y="371435"/>
                      <a:pt x="560245" y="368300"/>
                    </a:cubicBezTo>
                    <a:close/>
                    <a:moveTo>
                      <a:pt x="454919" y="338549"/>
                    </a:moveTo>
                    <a:cubicBezTo>
                      <a:pt x="455033" y="340481"/>
                      <a:pt x="455375" y="342390"/>
                      <a:pt x="455888" y="344248"/>
                    </a:cubicBezTo>
                    <a:cubicBezTo>
                      <a:pt x="456970" y="347559"/>
                      <a:pt x="459307" y="350307"/>
                      <a:pt x="462442" y="351886"/>
                    </a:cubicBezTo>
                    <a:cubicBezTo>
                      <a:pt x="467971" y="354126"/>
                      <a:pt x="474183" y="353937"/>
                      <a:pt x="479541" y="351372"/>
                    </a:cubicBezTo>
                    <a:cubicBezTo>
                      <a:pt x="480509" y="351065"/>
                      <a:pt x="481364" y="350603"/>
                      <a:pt x="482162" y="350005"/>
                    </a:cubicBezTo>
                    <a:cubicBezTo>
                      <a:pt x="482903" y="349315"/>
                      <a:pt x="483530" y="348529"/>
                      <a:pt x="484043" y="347668"/>
                    </a:cubicBezTo>
                    <a:lnTo>
                      <a:pt x="488375" y="340885"/>
                    </a:lnTo>
                    <a:cubicBezTo>
                      <a:pt x="495556" y="338463"/>
                      <a:pt x="503193" y="337494"/>
                      <a:pt x="510774" y="338036"/>
                    </a:cubicBezTo>
                    <a:lnTo>
                      <a:pt x="511287" y="327036"/>
                    </a:lnTo>
                    <a:cubicBezTo>
                      <a:pt x="501882" y="322186"/>
                      <a:pt x="490540" y="323400"/>
                      <a:pt x="482391" y="330114"/>
                    </a:cubicBezTo>
                    <a:cubicBezTo>
                      <a:pt x="480680" y="331761"/>
                      <a:pt x="478743" y="333214"/>
                      <a:pt x="476691" y="334445"/>
                    </a:cubicBezTo>
                    <a:cubicBezTo>
                      <a:pt x="474696" y="335716"/>
                      <a:pt x="472074" y="335602"/>
                      <a:pt x="470194" y="334160"/>
                    </a:cubicBezTo>
                    <a:cubicBezTo>
                      <a:pt x="469339" y="333248"/>
                      <a:pt x="468655" y="332131"/>
                      <a:pt x="468312" y="330911"/>
                    </a:cubicBezTo>
                    <a:lnTo>
                      <a:pt x="465406" y="323502"/>
                    </a:lnTo>
                    <a:cubicBezTo>
                      <a:pt x="461473" y="322755"/>
                      <a:pt x="457540" y="322488"/>
                      <a:pt x="453551" y="322704"/>
                    </a:cubicBezTo>
                    <a:cubicBezTo>
                      <a:pt x="454121" y="328518"/>
                      <a:pt x="454577" y="333704"/>
                      <a:pt x="454976" y="338891"/>
                    </a:cubicBezTo>
                    <a:close/>
                    <a:moveTo>
                      <a:pt x="429100" y="332849"/>
                    </a:moveTo>
                    <a:cubicBezTo>
                      <a:pt x="430981" y="335357"/>
                      <a:pt x="434058" y="336708"/>
                      <a:pt x="437193" y="336440"/>
                    </a:cubicBezTo>
                    <a:cubicBezTo>
                      <a:pt x="441297" y="336440"/>
                      <a:pt x="446541" y="335186"/>
                      <a:pt x="446996" y="331082"/>
                    </a:cubicBezTo>
                    <a:cubicBezTo>
                      <a:pt x="447339" y="327834"/>
                      <a:pt x="444090" y="325383"/>
                      <a:pt x="440955" y="324243"/>
                    </a:cubicBezTo>
                    <a:cubicBezTo>
                      <a:pt x="437991" y="323137"/>
                      <a:pt x="434686" y="323320"/>
                      <a:pt x="431836" y="324756"/>
                    </a:cubicBezTo>
                    <a:cubicBezTo>
                      <a:pt x="428758" y="326414"/>
                      <a:pt x="427618" y="330199"/>
                      <a:pt x="429157" y="333305"/>
                    </a:cubicBezTo>
                    <a:close/>
                    <a:moveTo>
                      <a:pt x="383504" y="302870"/>
                    </a:moveTo>
                    <a:cubicBezTo>
                      <a:pt x="385499" y="301559"/>
                      <a:pt x="388121" y="302300"/>
                      <a:pt x="390515" y="302300"/>
                    </a:cubicBezTo>
                    <a:cubicBezTo>
                      <a:pt x="396328" y="302146"/>
                      <a:pt x="401116" y="297621"/>
                      <a:pt x="401572" y="291813"/>
                    </a:cubicBezTo>
                    <a:lnTo>
                      <a:pt x="348623" y="294492"/>
                    </a:lnTo>
                    <a:cubicBezTo>
                      <a:pt x="350562" y="289590"/>
                      <a:pt x="343950" y="285202"/>
                      <a:pt x="338763" y="286057"/>
                    </a:cubicBezTo>
                    <a:cubicBezTo>
                      <a:pt x="333577" y="286911"/>
                      <a:pt x="329189" y="290559"/>
                      <a:pt x="324059" y="291756"/>
                    </a:cubicBezTo>
                    <a:cubicBezTo>
                      <a:pt x="316365" y="293352"/>
                      <a:pt x="308727" y="289134"/>
                      <a:pt x="301261" y="288108"/>
                    </a:cubicBezTo>
                    <a:cubicBezTo>
                      <a:pt x="298525" y="288046"/>
                      <a:pt x="295790" y="287407"/>
                      <a:pt x="293282" y="286228"/>
                    </a:cubicBezTo>
                    <a:cubicBezTo>
                      <a:pt x="291002" y="284746"/>
                      <a:pt x="289805" y="281098"/>
                      <a:pt x="291914" y="279274"/>
                    </a:cubicBezTo>
                    <a:cubicBezTo>
                      <a:pt x="286955" y="277109"/>
                      <a:pt x="279147" y="280186"/>
                      <a:pt x="277038" y="275228"/>
                    </a:cubicBezTo>
                    <a:cubicBezTo>
                      <a:pt x="276753" y="273945"/>
                      <a:pt x="276354" y="272691"/>
                      <a:pt x="275898" y="271466"/>
                    </a:cubicBezTo>
                    <a:cubicBezTo>
                      <a:pt x="274758" y="269585"/>
                      <a:pt x="272080" y="269471"/>
                      <a:pt x="270199" y="269585"/>
                    </a:cubicBezTo>
                    <a:lnTo>
                      <a:pt x="236458" y="271295"/>
                    </a:lnTo>
                    <a:cubicBezTo>
                      <a:pt x="235204" y="279884"/>
                      <a:pt x="228023" y="286359"/>
                      <a:pt x="219360" y="286684"/>
                    </a:cubicBezTo>
                    <a:cubicBezTo>
                      <a:pt x="218562" y="290901"/>
                      <a:pt x="222893" y="294492"/>
                      <a:pt x="227111" y="295176"/>
                    </a:cubicBezTo>
                    <a:cubicBezTo>
                      <a:pt x="231385" y="295404"/>
                      <a:pt x="235660" y="295404"/>
                      <a:pt x="239935" y="295176"/>
                    </a:cubicBezTo>
                    <a:cubicBezTo>
                      <a:pt x="244152" y="295176"/>
                      <a:pt x="248940" y="297912"/>
                      <a:pt x="249453" y="302129"/>
                    </a:cubicBezTo>
                    <a:cubicBezTo>
                      <a:pt x="249339" y="303229"/>
                      <a:pt x="249339" y="304335"/>
                      <a:pt x="249453" y="305435"/>
                    </a:cubicBezTo>
                    <a:cubicBezTo>
                      <a:pt x="250878" y="309367"/>
                      <a:pt x="256976" y="307316"/>
                      <a:pt x="260852" y="308798"/>
                    </a:cubicBezTo>
                    <a:cubicBezTo>
                      <a:pt x="263018" y="309903"/>
                      <a:pt x="264955" y="311414"/>
                      <a:pt x="266552" y="313243"/>
                    </a:cubicBezTo>
                    <a:cubicBezTo>
                      <a:pt x="273505" y="318937"/>
                      <a:pt x="283820" y="317894"/>
                      <a:pt x="289463" y="310918"/>
                    </a:cubicBezTo>
                    <a:cubicBezTo>
                      <a:pt x="289691" y="310638"/>
                      <a:pt x="289919" y="310348"/>
                      <a:pt x="290147" y="310051"/>
                    </a:cubicBezTo>
                    <a:cubicBezTo>
                      <a:pt x="291914" y="307316"/>
                      <a:pt x="293168" y="303725"/>
                      <a:pt x="296303" y="302813"/>
                    </a:cubicBezTo>
                    <a:cubicBezTo>
                      <a:pt x="299437" y="301901"/>
                      <a:pt x="303085" y="305150"/>
                      <a:pt x="306504" y="306746"/>
                    </a:cubicBezTo>
                    <a:cubicBezTo>
                      <a:pt x="309924" y="308342"/>
                      <a:pt x="313743" y="308456"/>
                      <a:pt x="315965" y="311248"/>
                    </a:cubicBezTo>
                    <a:cubicBezTo>
                      <a:pt x="316935" y="312844"/>
                      <a:pt x="317790" y="314503"/>
                      <a:pt x="318531" y="316207"/>
                    </a:cubicBezTo>
                    <a:cubicBezTo>
                      <a:pt x="322406" y="322419"/>
                      <a:pt x="331753" y="320481"/>
                      <a:pt x="338820" y="318487"/>
                    </a:cubicBezTo>
                    <a:cubicBezTo>
                      <a:pt x="350333" y="315238"/>
                      <a:pt x="362302" y="313870"/>
                      <a:pt x="374214" y="314440"/>
                    </a:cubicBezTo>
                    <a:cubicBezTo>
                      <a:pt x="375582" y="314645"/>
                      <a:pt x="377007" y="314469"/>
                      <a:pt x="378318" y="313927"/>
                    </a:cubicBezTo>
                    <a:cubicBezTo>
                      <a:pt x="381852" y="312103"/>
                      <a:pt x="380199" y="305663"/>
                      <a:pt x="383675" y="303383"/>
                    </a:cubicBezTo>
                    <a:close/>
                    <a:moveTo>
                      <a:pt x="227567" y="181243"/>
                    </a:moveTo>
                    <a:cubicBezTo>
                      <a:pt x="231214" y="184435"/>
                      <a:pt x="235261" y="189052"/>
                      <a:pt x="233266" y="193440"/>
                    </a:cubicBezTo>
                    <a:lnTo>
                      <a:pt x="221126" y="193440"/>
                    </a:lnTo>
                    <a:cubicBezTo>
                      <a:pt x="217878" y="185159"/>
                      <a:pt x="211836" y="178285"/>
                      <a:pt x="204028" y="174005"/>
                    </a:cubicBezTo>
                    <a:cubicBezTo>
                      <a:pt x="206365" y="171839"/>
                      <a:pt x="203344" y="167963"/>
                      <a:pt x="200267" y="167109"/>
                    </a:cubicBezTo>
                    <a:cubicBezTo>
                      <a:pt x="197189" y="166254"/>
                      <a:pt x="193370" y="166140"/>
                      <a:pt x="191717" y="163347"/>
                    </a:cubicBezTo>
                    <a:cubicBezTo>
                      <a:pt x="190064" y="160554"/>
                      <a:pt x="192230" y="154969"/>
                      <a:pt x="189209" y="152803"/>
                    </a:cubicBezTo>
                    <a:cubicBezTo>
                      <a:pt x="184878" y="153852"/>
                      <a:pt x="180375" y="153595"/>
                      <a:pt x="176214" y="152062"/>
                    </a:cubicBezTo>
                    <a:cubicBezTo>
                      <a:pt x="172111" y="150255"/>
                      <a:pt x="170230" y="145451"/>
                      <a:pt x="171997" y="141330"/>
                    </a:cubicBezTo>
                    <a:cubicBezTo>
                      <a:pt x="172054" y="141256"/>
                      <a:pt x="172054" y="141187"/>
                      <a:pt x="172111" y="141119"/>
                    </a:cubicBezTo>
                    <a:cubicBezTo>
                      <a:pt x="176271" y="142065"/>
                      <a:pt x="180432" y="139432"/>
                      <a:pt x="181401" y="135249"/>
                    </a:cubicBezTo>
                    <a:cubicBezTo>
                      <a:pt x="182370" y="131060"/>
                      <a:pt x="179691" y="126905"/>
                      <a:pt x="175530" y="125958"/>
                    </a:cubicBezTo>
                    <a:cubicBezTo>
                      <a:pt x="175702" y="121273"/>
                      <a:pt x="172054" y="117329"/>
                      <a:pt x="167381" y="117147"/>
                    </a:cubicBezTo>
                    <a:cubicBezTo>
                      <a:pt x="166697" y="117124"/>
                      <a:pt x="166070" y="117176"/>
                      <a:pt x="165442" y="117295"/>
                    </a:cubicBezTo>
                    <a:cubicBezTo>
                      <a:pt x="166240" y="111938"/>
                      <a:pt x="161510" y="107606"/>
                      <a:pt x="157178" y="104357"/>
                    </a:cubicBezTo>
                    <a:lnTo>
                      <a:pt x="144354" y="94668"/>
                    </a:lnTo>
                    <a:lnTo>
                      <a:pt x="143671" y="88513"/>
                    </a:lnTo>
                    <a:cubicBezTo>
                      <a:pt x="134609" y="83794"/>
                      <a:pt x="124862" y="80471"/>
                      <a:pt x="114832" y="78653"/>
                    </a:cubicBezTo>
                    <a:cubicBezTo>
                      <a:pt x="113293" y="78584"/>
                      <a:pt x="111811" y="77889"/>
                      <a:pt x="110784" y="76715"/>
                    </a:cubicBezTo>
                    <a:cubicBezTo>
                      <a:pt x="110272" y="75609"/>
                      <a:pt x="109929" y="74435"/>
                      <a:pt x="109759" y="73238"/>
                    </a:cubicBezTo>
                    <a:cubicBezTo>
                      <a:pt x="108505" y="69648"/>
                      <a:pt x="103546" y="68736"/>
                      <a:pt x="101780" y="65373"/>
                    </a:cubicBezTo>
                    <a:cubicBezTo>
                      <a:pt x="100583" y="63036"/>
                      <a:pt x="101266" y="60015"/>
                      <a:pt x="99956" y="57736"/>
                    </a:cubicBezTo>
                    <a:cubicBezTo>
                      <a:pt x="97904" y="54259"/>
                      <a:pt x="92717" y="54544"/>
                      <a:pt x="89355" y="52036"/>
                    </a:cubicBezTo>
                    <a:cubicBezTo>
                      <a:pt x="85992" y="49528"/>
                      <a:pt x="85137" y="45710"/>
                      <a:pt x="83028" y="42461"/>
                    </a:cubicBezTo>
                    <a:cubicBezTo>
                      <a:pt x="80007" y="37947"/>
                      <a:pt x="74821" y="35303"/>
                      <a:pt x="69407" y="35451"/>
                    </a:cubicBezTo>
                    <a:cubicBezTo>
                      <a:pt x="71287" y="33228"/>
                      <a:pt x="69065" y="29751"/>
                      <a:pt x="66500" y="28440"/>
                    </a:cubicBezTo>
                    <a:cubicBezTo>
                      <a:pt x="63935" y="27130"/>
                      <a:pt x="60800" y="26275"/>
                      <a:pt x="59375" y="23653"/>
                    </a:cubicBezTo>
                    <a:cubicBezTo>
                      <a:pt x="57951" y="21031"/>
                      <a:pt x="59375" y="16927"/>
                      <a:pt x="59375" y="13508"/>
                    </a:cubicBezTo>
                    <a:cubicBezTo>
                      <a:pt x="58350" y="7808"/>
                      <a:pt x="51567" y="5870"/>
                      <a:pt x="45981" y="5016"/>
                    </a:cubicBezTo>
                    <a:cubicBezTo>
                      <a:pt x="30821" y="2736"/>
                      <a:pt x="15546" y="1026"/>
                      <a:pt x="386" y="0"/>
                    </a:cubicBezTo>
                    <a:cubicBezTo>
                      <a:pt x="-1267" y="4275"/>
                      <a:pt x="2723" y="8435"/>
                      <a:pt x="6085" y="11399"/>
                    </a:cubicBezTo>
                    <a:cubicBezTo>
                      <a:pt x="9448" y="14363"/>
                      <a:pt x="13039" y="19264"/>
                      <a:pt x="10474" y="23083"/>
                    </a:cubicBezTo>
                    <a:cubicBezTo>
                      <a:pt x="12583" y="21316"/>
                      <a:pt x="16173" y="23083"/>
                      <a:pt x="17427" y="25249"/>
                    </a:cubicBezTo>
                    <a:cubicBezTo>
                      <a:pt x="18567" y="27751"/>
                      <a:pt x="19536" y="30344"/>
                      <a:pt x="20277" y="33000"/>
                    </a:cubicBezTo>
                    <a:cubicBezTo>
                      <a:pt x="22671" y="38232"/>
                      <a:pt x="28028" y="41452"/>
                      <a:pt x="33785" y="41093"/>
                    </a:cubicBezTo>
                    <a:cubicBezTo>
                      <a:pt x="38002" y="48691"/>
                      <a:pt x="42505" y="56066"/>
                      <a:pt x="47293" y="63207"/>
                    </a:cubicBezTo>
                    <a:cubicBezTo>
                      <a:pt x="51738" y="71255"/>
                      <a:pt x="58520" y="77747"/>
                      <a:pt x="66785" y="81787"/>
                    </a:cubicBezTo>
                    <a:cubicBezTo>
                      <a:pt x="68893" y="82323"/>
                      <a:pt x="70831" y="83292"/>
                      <a:pt x="72484" y="84637"/>
                    </a:cubicBezTo>
                    <a:cubicBezTo>
                      <a:pt x="76930" y="89254"/>
                      <a:pt x="71458" y="98316"/>
                      <a:pt x="75904" y="102876"/>
                    </a:cubicBezTo>
                    <a:cubicBezTo>
                      <a:pt x="77443" y="104471"/>
                      <a:pt x="79836" y="105041"/>
                      <a:pt x="81033" y="106922"/>
                    </a:cubicBezTo>
                    <a:cubicBezTo>
                      <a:pt x="82230" y="108803"/>
                      <a:pt x="81033" y="112622"/>
                      <a:pt x="81033" y="115528"/>
                    </a:cubicBezTo>
                    <a:cubicBezTo>
                      <a:pt x="81318" y="120208"/>
                      <a:pt x="84339" y="124288"/>
                      <a:pt x="88670" y="126015"/>
                    </a:cubicBezTo>
                    <a:cubicBezTo>
                      <a:pt x="92945" y="127680"/>
                      <a:pt x="97505" y="128472"/>
                      <a:pt x="102121" y="128352"/>
                    </a:cubicBezTo>
                    <a:lnTo>
                      <a:pt x="109531" y="143627"/>
                    </a:lnTo>
                    <a:cubicBezTo>
                      <a:pt x="113236" y="151321"/>
                      <a:pt x="117966" y="159813"/>
                      <a:pt x="126230" y="161637"/>
                    </a:cubicBezTo>
                    <a:cubicBezTo>
                      <a:pt x="124749" y="166972"/>
                      <a:pt x="126743" y="172671"/>
                      <a:pt x="131245" y="175886"/>
                    </a:cubicBezTo>
                    <a:cubicBezTo>
                      <a:pt x="133811" y="177134"/>
                      <a:pt x="136261" y="178604"/>
                      <a:pt x="138541" y="180274"/>
                    </a:cubicBezTo>
                    <a:cubicBezTo>
                      <a:pt x="142017" y="183694"/>
                      <a:pt x="141676" y="189280"/>
                      <a:pt x="142588" y="194067"/>
                    </a:cubicBezTo>
                    <a:cubicBezTo>
                      <a:pt x="143499" y="198855"/>
                      <a:pt x="147660" y="204212"/>
                      <a:pt x="152163" y="202445"/>
                    </a:cubicBezTo>
                    <a:cubicBezTo>
                      <a:pt x="149028" y="208430"/>
                      <a:pt x="150966" y="215799"/>
                      <a:pt x="156551" y="219544"/>
                    </a:cubicBezTo>
                    <a:cubicBezTo>
                      <a:pt x="160256" y="221824"/>
                      <a:pt x="165499" y="222621"/>
                      <a:pt x="166981" y="226725"/>
                    </a:cubicBezTo>
                    <a:cubicBezTo>
                      <a:pt x="167779" y="228834"/>
                      <a:pt x="166981" y="231228"/>
                      <a:pt x="167836" y="233393"/>
                    </a:cubicBezTo>
                    <a:cubicBezTo>
                      <a:pt x="169546" y="239093"/>
                      <a:pt x="177867" y="239093"/>
                      <a:pt x="182769" y="242741"/>
                    </a:cubicBezTo>
                    <a:cubicBezTo>
                      <a:pt x="187670" y="246388"/>
                      <a:pt x="188868" y="254139"/>
                      <a:pt x="192971" y="259041"/>
                    </a:cubicBezTo>
                    <a:cubicBezTo>
                      <a:pt x="197303" y="263401"/>
                      <a:pt x="202888" y="266262"/>
                      <a:pt x="208929" y="267191"/>
                    </a:cubicBezTo>
                    <a:cubicBezTo>
                      <a:pt x="211950" y="268240"/>
                      <a:pt x="215199" y="268240"/>
                      <a:pt x="218219" y="267191"/>
                    </a:cubicBezTo>
                    <a:cubicBezTo>
                      <a:pt x="222551" y="265254"/>
                      <a:pt x="223919" y="259839"/>
                      <a:pt x="224603" y="255108"/>
                    </a:cubicBezTo>
                    <a:cubicBezTo>
                      <a:pt x="226484" y="242741"/>
                      <a:pt x="227852" y="230259"/>
                      <a:pt x="228650" y="217777"/>
                    </a:cubicBezTo>
                    <a:cubicBezTo>
                      <a:pt x="229049" y="211565"/>
                      <a:pt x="230702" y="203699"/>
                      <a:pt x="236800" y="202559"/>
                    </a:cubicBezTo>
                    <a:cubicBezTo>
                      <a:pt x="238966" y="202103"/>
                      <a:pt x="241531" y="202559"/>
                      <a:pt x="243183" y="201191"/>
                    </a:cubicBezTo>
                    <a:cubicBezTo>
                      <a:pt x="244438" y="199744"/>
                      <a:pt x="244950" y="197829"/>
                      <a:pt x="244665" y="195948"/>
                    </a:cubicBezTo>
                    <a:cubicBezTo>
                      <a:pt x="244665" y="189319"/>
                      <a:pt x="242784" y="182828"/>
                      <a:pt x="239308" y="177197"/>
                    </a:cubicBezTo>
                    <a:cubicBezTo>
                      <a:pt x="235660" y="171548"/>
                      <a:pt x="229334" y="168254"/>
                      <a:pt x="222608" y="168533"/>
                    </a:cubicBezTo>
                    <a:cubicBezTo>
                      <a:pt x="220272" y="173606"/>
                      <a:pt x="224147" y="178508"/>
                      <a:pt x="227738" y="181699"/>
                    </a:cubicBezTo>
                    <a:close/>
                    <a:moveTo>
                      <a:pt x="483302" y="30036"/>
                    </a:moveTo>
                    <a:cubicBezTo>
                      <a:pt x="485867" y="27243"/>
                      <a:pt x="490997" y="28782"/>
                      <a:pt x="493789" y="26275"/>
                    </a:cubicBezTo>
                    <a:cubicBezTo>
                      <a:pt x="485297" y="24548"/>
                      <a:pt x="476577" y="24417"/>
                      <a:pt x="468085" y="25876"/>
                    </a:cubicBezTo>
                    <a:cubicBezTo>
                      <a:pt x="457085" y="28270"/>
                      <a:pt x="446484" y="36477"/>
                      <a:pt x="445287" y="47648"/>
                    </a:cubicBezTo>
                    <a:cubicBezTo>
                      <a:pt x="444716" y="51694"/>
                      <a:pt x="445287" y="56254"/>
                      <a:pt x="442608" y="59332"/>
                    </a:cubicBezTo>
                    <a:cubicBezTo>
                      <a:pt x="438846" y="63720"/>
                      <a:pt x="430753" y="62694"/>
                      <a:pt x="427903" y="67653"/>
                    </a:cubicBezTo>
                    <a:cubicBezTo>
                      <a:pt x="425623" y="71528"/>
                      <a:pt x="427903" y="76487"/>
                      <a:pt x="427448" y="80933"/>
                    </a:cubicBezTo>
                    <a:cubicBezTo>
                      <a:pt x="426478" y="87316"/>
                      <a:pt x="419696" y="90736"/>
                      <a:pt x="413712" y="93129"/>
                    </a:cubicBezTo>
                    <a:cubicBezTo>
                      <a:pt x="409950" y="94822"/>
                      <a:pt x="405960" y="96048"/>
                      <a:pt x="401914" y="96777"/>
                    </a:cubicBezTo>
                    <a:cubicBezTo>
                      <a:pt x="398095" y="97016"/>
                      <a:pt x="394333" y="97016"/>
                      <a:pt x="390515" y="96777"/>
                    </a:cubicBezTo>
                    <a:cubicBezTo>
                      <a:pt x="378033" y="96674"/>
                      <a:pt x="365779" y="100396"/>
                      <a:pt x="355463" y="107435"/>
                    </a:cubicBezTo>
                    <a:cubicBezTo>
                      <a:pt x="352044" y="110211"/>
                      <a:pt x="348225" y="112377"/>
                      <a:pt x="344064" y="113818"/>
                    </a:cubicBezTo>
                    <a:cubicBezTo>
                      <a:pt x="335800" y="114913"/>
                      <a:pt x="327707" y="111248"/>
                      <a:pt x="323033" y="104357"/>
                    </a:cubicBezTo>
                    <a:cubicBezTo>
                      <a:pt x="318531" y="98658"/>
                      <a:pt x="315339" y="92161"/>
                      <a:pt x="311007" y="86404"/>
                    </a:cubicBezTo>
                    <a:cubicBezTo>
                      <a:pt x="305308" y="87259"/>
                      <a:pt x="299950" y="89539"/>
                      <a:pt x="299608" y="94668"/>
                    </a:cubicBezTo>
                    <a:cubicBezTo>
                      <a:pt x="294023" y="94759"/>
                      <a:pt x="289520" y="99376"/>
                      <a:pt x="289634" y="104979"/>
                    </a:cubicBezTo>
                    <a:cubicBezTo>
                      <a:pt x="289634" y="106592"/>
                      <a:pt x="290090" y="108176"/>
                      <a:pt x="290831" y="109601"/>
                    </a:cubicBezTo>
                    <a:cubicBezTo>
                      <a:pt x="292883" y="112736"/>
                      <a:pt x="296530" y="114446"/>
                      <a:pt x="298525" y="117637"/>
                    </a:cubicBezTo>
                    <a:cubicBezTo>
                      <a:pt x="303427" y="125673"/>
                      <a:pt x="294707" y="138440"/>
                      <a:pt x="301774" y="144710"/>
                    </a:cubicBezTo>
                    <a:cubicBezTo>
                      <a:pt x="305479" y="147958"/>
                      <a:pt x="312204" y="147787"/>
                      <a:pt x="313800" y="152404"/>
                    </a:cubicBezTo>
                    <a:cubicBezTo>
                      <a:pt x="314085" y="154291"/>
                      <a:pt x="314199" y="156194"/>
                      <a:pt x="314199" y="158103"/>
                    </a:cubicBezTo>
                    <a:cubicBezTo>
                      <a:pt x="315167" y="163803"/>
                      <a:pt x="322634" y="165798"/>
                      <a:pt x="326566" y="170186"/>
                    </a:cubicBezTo>
                    <a:cubicBezTo>
                      <a:pt x="329587" y="174182"/>
                      <a:pt x="331069" y="179146"/>
                      <a:pt x="330727" y="184150"/>
                    </a:cubicBezTo>
                    <a:cubicBezTo>
                      <a:pt x="330385" y="189143"/>
                      <a:pt x="330898" y="194153"/>
                      <a:pt x="332266" y="198969"/>
                    </a:cubicBezTo>
                    <a:cubicBezTo>
                      <a:pt x="333805" y="203876"/>
                      <a:pt x="338536" y="207056"/>
                      <a:pt x="343665" y="206606"/>
                    </a:cubicBezTo>
                    <a:cubicBezTo>
                      <a:pt x="349364" y="205466"/>
                      <a:pt x="351987" y="198798"/>
                      <a:pt x="357287" y="197088"/>
                    </a:cubicBezTo>
                    <a:cubicBezTo>
                      <a:pt x="362131" y="201704"/>
                      <a:pt x="365209" y="207877"/>
                      <a:pt x="365950" y="214528"/>
                    </a:cubicBezTo>
                    <a:lnTo>
                      <a:pt x="378147" y="210938"/>
                    </a:lnTo>
                    <a:cubicBezTo>
                      <a:pt x="384986" y="208470"/>
                      <a:pt x="392224" y="207216"/>
                      <a:pt x="399520" y="207233"/>
                    </a:cubicBezTo>
                    <a:cubicBezTo>
                      <a:pt x="406359" y="207632"/>
                      <a:pt x="414054" y="211565"/>
                      <a:pt x="414738" y="218632"/>
                    </a:cubicBezTo>
                    <a:cubicBezTo>
                      <a:pt x="418043" y="214528"/>
                      <a:pt x="424541" y="218062"/>
                      <a:pt x="428530" y="221539"/>
                    </a:cubicBezTo>
                    <a:cubicBezTo>
                      <a:pt x="432520" y="225015"/>
                      <a:pt x="439359" y="228036"/>
                      <a:pt x="442209" y="223590"/>
                    </a:cubicBezTo>
                    <a:cubicBezTo>
                      <a:pt x="443634" y="221311"/>
                      <a:pt x="443292" y="217891"/>
                      <a:pt x="445743" y="216523"/>
                    </a:cubicBezTo>
                    <a:cubicBezTo>
                      <a:pt x="447339" y="215782"/>
                      <a:pt x="449219" y="216523"/>
                      <a:pt x="450986" y="216523"/>
                    </a:cubicBezTo>
                    <a:cubicBezTo>
                      <a:pt x="456686" y="216523"/>
                      <a:pt x="458795" y="209570"/>
                      <a:pt x="459307" y="204041"/>
                    </a:cubicBezTo>
                    <a:cubicBezTo>
                      <a:pt x="460390" y="193383"/>
                      <a:pt x="461473" y="182668"/>
                      <a:pt x="462499" y="172010"/>
                    </a:cubicBezTo>
                    <a:cubicBezTo>
                      <a:pt x="462898" y="168192"/>
                      <a:pt x="463867" y="163632"/>
                      <a:pt x="467514" y="162435"/>
                    </a:cubicBezTo>
                    <a:cubicBezTo>
                      <a:pt x="468939" y="162127"/>
                      <a:pt x="470364" y="161939"/>
                      <a:pt x="471846" y="161865"/>
                    </a:cubicBezTo>
                    <a:cubicBezTo>
                      <a:pt x="477545" y="160839"/>
                      <a:pt x="479997" y="153658"/>
                      <a:pt x="480509" y="147673"/>
                    </a:cubicBezTo>
                    <a:cubicBezTo>
                      <a:pt x="481023" y="140771"/>
                      <a:pt x="480737" y="133829"/>
                      <a:pt x="479711" y="126984"/>
                    </a:cubicBezTo>
                    <a:cubicBezTo>
                      <a:pt x="479256" y="124967"/>
                      <a:pt x="479084" y="122886"/>
                      <a:pt x="479313" y="120829"/>
                    </a:cubicBezTo>
                    <a:cubicBezTo>
                      <a:pt x="480566" y="113762"/>
                      <a:pt x="489287" y="111254"/>
                      <a:pt x="496411" y="110912"/>
                    </a:cubicBezTo>
                    <a:cubicBezTo>
                      <a:pt x="503535" y="110570"/>
                      <a:pt x="512028" y="110342"/>
                      <a:pt x="515846" y="104357"/>
                    </a:cubicBezTo>
                    <a:cubicBezTo>
                      <a:pt x="514877" y="99558"/>
                      <a:pt x="511115" y="95842"/>
                      <a:pt x="506271" y="95010"/>
                    </a:cubicBezTo>
                    <a:cubicBezTo>
                      <a:pt x="503592" y="95045"/>
                      <a:pt x="500914" y="94759"/>
                      <a:pt x="498292" y="94155"/>
                    </a:cubicBezTo>
                    <a:cubicBezTo>
                      <a:pt x="489287" y="90394"/>
                      <a:pt x="496012" y="73580"/>
                      <a:pt x="487748" y="68394"/>
                    </a:cubicBezTo>
                    <a:cubicBezTo>
                      <a:pt x="484157" y="66171"/>
                      <a:pt x="478229" y="66513"/>
                      <a:pt x="477033" y="62694"/>
                    </a:cubicBezTo>
                    <a:cubicBezTo>
                      <a:pt x="475836" y="58876"/>
                      <a:pt x="479484" y="56596"/>
                      <a:pt x="482391" y="54829"/>
                    </a:cubicBezTo>
                    <a:cubicBezTo>
                      <a:pt x="478458" y="49130"/>
                      <a:pt x="479768" y="41093"/>
                      <a:pt x="481307" y="34140"/>
                    </a:cubicBezTo>
                    <a:cubicBezTo>
                      <a:pt x="481707" y="32755"/>
                      <a:pt x="482448" y="31495"/>
                      <a:pt x="483473" y="30492"/>
                    </a:cubicBezTo>
                    <a:close/>
                    <a:moveTo>
                      <a:pt x="964224" y="189622"/>
                    </a:moveTo>
                    <a:cubicBezTo>
                      <a:pt x="962229" y="189468"/>
                      <a:pt x="960348" y="188670"/>
                      <a:pt x="958809" y="187342"/>
                    </a:cubicBezTo>
                    <a:cubicBezTo>
                      <a:pt x="958011" y="186293"/>
                      <a:pt x="957384" y="185142"/>
                      <a:pt x="956929" y="183922"/>
                    </a:cubicBezTo>
                    <a:cubicBezTo>
                      <a:pt x="954022" y="178576"/>
                      <a:pt x="947866" y="175880"/>
                      <a:pt x="941995" y="177368"/>
                    </a:cubicBezTo>
                    <a:cubicBezTo>
                      <a:pt x="944161" y="172859"/>
                      <a:pt x="942395" y="167445"/>
                      <a:pt x="937949" y="165114"/>
                    </a:cubicBezTo>
                    <a:cubicBezTo>
                      <a:pt x="930996" y="161865"/>
                      <a:pt x="923586" y="168192"/>
                      <a:pt x="918514" y="173948"/>
                    </a:cubicBezTo>
                    <a:lnTo>
                      <a:pt x="908882" y="184891"/>
                    </a:lnTo>
                    <a:cubicBezTo>
                      <a:pt x="907514" y="186755"/>
                      <a:pt x="905634" y="188225"/>
                      <a:pt x="903524" y="189166"/>
                    </a:cubicBezTo>
                    <a:cubicBezTo>
                      <a:pt x="900561" y="190192"/>
                      <a:pt x="896856" y="189166"/>
                      <a:pt x="894291" y="190932"/>
                    </a:cubicBezTo>
                    <a:cubicBezTo>
                      <a:pt x="891726" y="192699"/>
                      <a:pt x="891612" y="198342"/>
                      <a:pt x="888591" y="200337"/>
                    </a:cubicBezTo>
                    <a:cubicBezTo>
                      <a:pt x="885571" y="202331"/>
                      <a:pt x="882379" y="200679"/>
                      <a:pt x="879644" y="202160"/>
                    </a:cubicBezTo>
                    <a:cubicBezTo>
                      <a:pt x="877763" y="203186"/>
                      <a:pt x="876737" y="205352"/>
                      <a:pt x="875084" y="206777"/>
                    </a:cubicBezTo>
                    <a:cubicBezTo>
                      <a:pt x="871266" y="209484"/>
                      <a:pt x="866022" y="208869"/>
                      <a:pt x="862944" y="205352"/>
                    </a:cubicBezTo>
                    <a:cubicBezTo>
                      <a:pt x="859981" y="201847"/>
                      <a:pt x="858556" y="197310"/>
                      <a:pt x="859012" y="192756"/>
                    </a:cubicBezTo>
                    <a:cubicBezTo>
                      <a:pt x="859867" y="188704"/>
                      <a:pt x="859353" y="184492"/>
                      <a:pt x="857644" y="180730"/>
                    </a:cubicBezTo>
                    <a:cubicBezTo>
                      <a:pt x="856560" y="179135"/>
                      <a:pt x="854851" y="177995"/>
                      <a:pt x="853939" y="176342"/>
                    </a:cubicBezTo>
                    <a:cubicBezTo>
                      <a:pt x="852970" y="173617"/>
                      <a:pt x="852742" y="170688"/>
                      <a:pt x="853312" y="167850"/>
                    </a:cubicBezTo>
                    <a:cubicBezTo>
                      <a:pt x="852913" y="156941"/>
                      <a:pt x="845902" y="147383"/>
                      <a:pt x="835587" y="143741"/>
                    </a:cubicBezTo>
                    <a:cubicBezTo>
                      <a:pt x="825442" y="140429"/>
                      <a:pt x="814442" y="140429"/>
                      <a:pt x="804297" y="143741"/>
                    </a:cubicBezTo>
                    <a:cubicBezTo>
                      <a:pt x="801561" y="144214"/>
                      <a:pt x="798996" y="145485"/>
                      <a:pt x="797001" y="147388"/>
                    </a:cubicBezTo>
                    <a:cubicBezTo>
                      <a:pt x="795747" y="149190"/>
                      <a:pt x="794607" y="151093"/>
                      <a:pt x="793639" y="153088"/>
                    </a:cubicBezTo>
                    <a:cubicBezTo>
                      <a:pt x="790789" y="157163"/>
                      <a:pt x="785945" y="159357"/>
                      <a:pt x="781042" y="158787"/>
                    </a:cubicBezTo>
                    <a:cubicBezTo>
                      <a:pt x="780358" y="164487"/>
                      <a:pt x="787369" y="167679"/>
                      <a:pt x="792955" y="169046"/>
                    </a:cubicBezTo>
                    <a:cubicBezTo>
                      <a:pt x="798540" y="170414"/>
                      <a:pt x="805550" y="173777"/>
                      <a:pt x="804752" y="179477"/>
                    </a:cubicBezTo>
                    <a:cubicBezTo>
                      <a:pt x="817690" y="179078"/>
                      <a:pt x="830571" y="179761"/>
                      <a:pt x="843395" y="181528"/>
                    </a:cubicBezTo>
                    <a:cubicBezTo>
                      <a:pt x="846473" y="181927"/>
                      <a:pt x="846529" y="187228"/>
                      <a:pt x="844193" y="189280"/>
                    </a:cubicBezTo>
                    <a:cubicBezTo>
                      <a:pt x="841628" y="191103"/>
                      <a:pt x="838551" y="192101"/>
                      <a:pt x="835416" y="192129"/>
                    </a:cubicBezTo>
                    <a:lnTo>
                      <a:pt x="817235" y="194067"/>
                    </a:lnTo>
                    <a:cubicBezTo>
                      <a:pt x="815182" y="194084"/>
                      <a:pt x="813245" y="194677"/>
                      <a:pt x="811535" y="195777"/>
                    </a:cubicBezTo>
                    <a:cubicBezTo>
                      <a:pt x="808856" y="198427"/>
                      <a:pt x="808571" y="202690"/>
                      <a:pt x="810965" y="205637"/>
                    </a:cubicBezTo>
                    <a:cubicBezTo>
                      <a:pt x="813359" y="208441"/>
                      <a:pt x="816551" y="210436"/>
                      <a:pt x="820084" y="211337"/>
                    </a:cubicBezTo>
                    <a:cubicBezTo>
                      <a:pt x="815182" y="214129"/>
                      <a:pt x="813416" y="220376"/>
                      <a:pt x="816208" y="225300"/>
                    </a:cubicBezTo>
                    <a:cubicBezTo>
                      <a:pt x="819229" y="229757"/>
                      <a:pt x="825270" y="230926"/>
                      <a:pt x="829716" y="227905"/>
                    </a:cubicBezTo>
                    <a:cubicBezTo>
                      <a:pt x="829944" y="227768"/>
                      <a:pt x="830172" y="227620"/>
                      <a:pt x="830343" y="227466"/>
                    </a:cubicBezTo>
                    <a:cubicBezTo>
                      <a:pt x="833364" y="224787"/>
                      <a:pt x="834276" y="220456"/>
                      <a:pt x="836555" y="217150"/>
                    </a:cubicBezTo>
                    <a:cubicBezTo>
                      <a:pt x="838835" y="213844"/>
                      <a:pt x="844307" y="211792"/>
                      <a:pt x="846700" y="215098"/>
                    </a:cubicBezTo>
                    <a:cubicBezTo>
                      <a:pt x="847898" y="216808"/>
                      <a:pt x="847613" y="219145"/>
                      <a:pt x="848296" y="221140"/>
                    </a:cubicBezTo>
                    <a:cubicBezTo>
                      <a:pt x="850291" y="226839"/>
                      <a:pt x="858556" y="226839"/>
                      <a:pt x="864597" y="225642"/>
                    </a:cubicBezTo>
                    <a:cubicBezTo>
                      <a:pt x="864996" y="229575"/>
                      <a:pt x="865452" y="233507"/>
                      <a:pt x="865851" y="237383"/>
                    </a:cubicBezTo>
                    <a:lnTo>
                      <a:pt x="892467" y="238751"/>
                    </a:lnTo>
                    <a:cubicBezTo>
                      <a:pt x="895032" y="238694"/>
                      <a:pt x="897597" y="239224"/>
                      <a:pt x="899934" y="240290"/>
                    </a:cubicBezTo>
                    <a:cubicBezTo>
                      <a:pt x="902727" y="241772"/>
                      <a:pt x="904607" y="244792"/>
                      <a:pt x="907457" y="245989"/>
                    </a:cubicBezTo>
                    <a:cubicBezTo>
                      <a:pt x="911219" y="247813"/>
                      <a:pt x="915608" y="246445"/>
                      <a:pt x="919711" y="247015"/>
                    </a:cubicBezTo>
                    <a:cubicBezTo>
                      <a:pt x="923814" y="247585"/>
                      <a:pt x="927918" y="252715"/>
                      <a:pt x="925011" y="255450"/>
                    </a:cubicBezTo>
                    <a:cubicBezTo>
                      <a:pt x="937265" y="255262"/>
                      <a:pt x="947410" y="265065"/>
                      <a:pt x="947582" y="277342"/>
                    </a:cubicBezTo>
                    <a:cubicBezTo>
                      <a:pt x="947582" y="278499"/>
                      <a:pt x="947525" y="279662"/>
                      <a:pt x="947353" y="280813"/>
                    </a:cubicBezTo>
                    <a:cubicBezTo>
                      <a:pt x="946784" y="282654"/>
                      <a:pt x="946612" y="284603"/>
                      <a:pt x="946898" y="286513"/>
                    </a:cubicBezTo>
                    <a:cubicBezTo>
                      <a:pt x="948436" y="292212"/>
                      <a:pt x="958866" y="292212"/>
                      <a:pt x="959322" y="297912"/>
                    </a:cubicBezTo>
                    <a:cubicBezTo>
                      <a:pt x="959322" y="300909"/>
                      <a:pt x="956985" y="303400"/>
                      <a:pt x="954022" y="303611"/>
                    </a:cubicBezTo>
                    <a:cubicBezTo>
                      <a:pt x="951172" y="303822"/>
                      <a:pt x="948323" y="303309"/>
                      <a:pt x="945700" y="302129"/>
                    </a:cubicBezTo>
                    <a:cubicBezTo>
                      <a:pt x="946784" y="304352"/>
                      <a:pt x="944561" y="306917"/>
                      <a:pt x="942281" y="307829"/>
                    </a:cubicBezTo>
                    <a:cubicBezTo>
                      <a:pt x="940001" y="308741"/>
                      <a:pt x="937265" y="309367"/>
                      <a:pt x="935783" y="311419"/>
                    </a:cubicBezTo>
                    <a:cubicBezTo>
                      <a:pt x="934301" y="313471"/>
                      <a:pt x="934530" y="314782"/>
                      <a:pt x="933560" y="316264"/>
                    </a:cubicBezTo>
                    <a:cubicBezTo>
                      <a:pt x="931281" y="319512"/>
                      <a:pt x="926436" y="319000"/>
                      <a:pt x="922561" y="319740"/>
                    </a:cubicBezTo>
                    <a:cubicBezTo>
                      <a:pt x="918685" y="320481"/>
                      <a:pt x="915094" y="326067"/>
                      <a:pt x="918628" y="327948"/>
                    </a:cubicBezTo>
                    <a:cubicBezTo>
                      <a:pt x="937607" y="325252"/>
                      <a:pt x="956644" y="323445"/>
                      <a:pt x="975623" y="322533"/>
                    </a:cubicBezTo>
                    <a:cubicBezTo>
                      <a:pt x="978986" y="321866"/>
                      <a:pt x="982405" y="322841"/>
                      <a:pt x="984913" y="325155"/>
                    </a:cubicBezTo>
                    <a:cubicBezTo>
                      <a:pt x="985825" y="326711"/>
                      <a:pt x="986452" y="328404"/>
                      <a:pt x="986851" y="330171"/>
                    </a:cubicBezTo>
                    <a:cubicBezTo>
                      <a:pt x="989244" y="336525"/>
                      <a:pt x="995571" y="340509"/>
                      <a:pt x="1002353" y="339917"/>
                    </a:cubicBezTo>
                    <a:lnTo>
                      <a:pt x="1002353" y="196860"/>
                    </a:lnTo>
                    <a:close/>
                    <a:moveTo>
                      <a:pt x="648074" y="340088"/>
                    </a:moveTo>
                    <a:cubicBezTo>
                      <a:pt x="645110" y="342328"/>
                      <a:pt x="641976" y="344402"/>
                      <a:pt x="638784" y="346300"/>
                    </a:cubicBezTo>
                    <a:cubicBezTo>
                      <a:pt x="635820" y="347719"/>
                      <a:pt x="633084" y="349646"/>
                      <a:pt x="630747" y="352000"/>
                    </a:cubicBezTo>
                    <a:cubicBezTo>
                      <a:pt x="629265" y="353767"/>
                      <a:pt x="628183" y="356046"/>
                      <a:pt x="626131" y="357072"/>
                    </a:cubicBezTo>
                    <a:cubicBezTo>
                      <a:pt x="622312" y="358953"/>
                      <a:pt x="616385" y="355818"/>
                      <a:pt x="614048" y="359352"/>
                    </a:cubicBezTo>
                    <a:cubicBezTo>
                      <a:pt x="611313" y="364709"/>
                      <a:pt x="613079" y="371252"/>
                      <a:pt x="618152" y="374512"/>
                    </a:cubicBezTo>
                    <a:cubicBezTo>
                      <a:pt x="623224" y="377499"/>
                      <a:pt x="629380" y="378040"/>
                      <a:pt x="634909" y="375994"/>
                    </a:cubicBezTo>
                    <a:cubicBezTo>
                      <a:pt x="639753" y="374455"/>
                      <a:pt x="644768" y="370637"/>
                      <a:pt x="644426" y="365564"/>
                    </a:cubicBezTo>
                    <a:cubicBezTo>
                      <a:pt x="644198" y="364037"/>
                      <a:pt x="644198" y="362475"/>
                      <a:pt x="644426" y="360948"/>
                    </a:cubicBezTo>
                    <a:cubicBezTo>
                      <a:pt x="645338" y="357870"/>
                      <a:pt x="649499" y="357642"/>
                      <a:pt x="652520" y="356559"/>
                    </a:cubicBezTo>
                    <a:cubicBezTo>
                      <a:pt x="656908" y="354924"/>
                      <a:pt x="659758" y="350683"/>
                      <a:pt x="659587" y="346015"/>
                    </a:cubicBezTo>
                    <a:lnTo>
                      <a:pt x="659587" y="346015"/>
                    </a:lnTo>
                    <a:cubicBezTo>
                      <a:pt x="657079" y="344476"/>
                      <a:pt x="654571" y="342937"/>
                      <a:pt x="651950" y="341626"/>
                    </a:cubicBezTo>
                    <a:cubicBezTo>
                      <a:pt x="650753" y="341205"/>
                      <a:pt x="649499" y="340863"/>
                      <a:pt x="648245" y="340601"/>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3" name="Freihandform: Form 389">
                <a:extLst>
                  <a:ext uri="{FF2B5EF4-FFF2-40B4-BE49-F238E27FC236}">
                    <a16:creationId xmlns:a16="http://schemas.microsoft.com/office/drawing/2014/main" id="{297D4076-DC76-0C43-1781-0F483AEC9840}"/>
                  </a:ext>
                </a:extLst>
              </p:cNvPr>
              <p:cNvSpPr/>
              <p:nvPr/>
            </p:nvSpPr>
            <p:spPr>
              <a:xfrm>
                <a:off x="6467139" y="4456039"/>
                <a:ext cx="50953" cy="21446"/>
              </a:xfrm>
              <a:custGeom>
                <a:avLst/>
                <a:gdLst>
                  <a:gd name="connsiteX0" fmla="*/ 49186 w 50953"/>
                  <a:gd name="connsiteY0" fmla="*/ 10441 h 21446"/>
                  <a:gd name="connsiteX1" fmla="*/ 31119 w 50953"/>
                  <a:gd name="connsiteY1" fmla="*/ 15000 h 21446"/>
                  <a:gd name="connsiteX2" fmla="*/ 26503 w 50953"/>
                  <a:gd name="connsiteY2" fmla="*/ 17565 h 21446"/>
                  <a:gd name="connsiteX3" fmla="*/ 11342 w 50953"/>
                  <a:gd name="connsiteY3" fmla="*/ 21441 h 21446"/>
                  <a:gd name="connsiteX4" fmla="*/ 3705 w 50953"/>
                  <a:gd name="connsiteY4" fmla="*/ 17052 h 21446"/>
                  <a:gd name="connsiteX5" fmla="*/ 0 w 50953"/>
                  <a:gd name="connsiteY5" fmla="*/ 15399 h 21446"/>
                  <a:gd name="connsiteX6" fmla="*/ 7580 w 50953"/>
                  <a:gd name="connsiteY6" fmla="*/ 9016 h 21446"/>
                  <a:gd name="connsiteX7" fmla="*/ 17440 w 50953"/>
                  <a:gd name="connsiteY7" fmla="*/ 1379 h 21446"/>
                  <a:gd name="connsiteX8" fmla="*/ 31518 w 50953"/>
                  <a:gd name="connsiteY8" fmla="*/ 467 h 21446"/>
                  <a:gd name="connsiteX9" fmla="*/ 44171 w 50953"/>
                  <a:gd name="connsiteY9" fmla="*/ 1721 h 21446"/>
                  <a:gd name="connsiteX10" fmla="*/ 50668 w 50953"/>
                  <a:gd name="connsiteY10" fmla="*/ 4855 h 21446"/>
                  <a:gd name="connsiteX11" fmla="*/ 49186 w 50953"/>
                  <a:gd name="connsiteY11" fmla="*/ 10441 h 2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953" h="21446">
                    <a:moveTo>
                      <a:pt x="49186" y="10441"/>
                    </a:moveTo>
                    <a:cubicBezTo>
                      <a:pt x="44684" y="14886"/>
                      <a:pt x="36990" y="12607"/>
                      <a:pt x="31119" y="15000"/>
                    </a:cubicBezTo>
                    <a:cubicBezTo>
                      <a:pt x="29523" y="15741"/>
                      <a:pt x="27985" y="16602"/>
                      <a:pt x="26503" y="17565"/>
                    </a:cubicBezTo>
                    <a:cubicBezTo>
                      <a:pt x="21886" y="20204"/>
                      <a:pt x="16642" y="21543"/>
                      <a:pt x="11342" y="21441"/>
                    </a:cubicBezTo>
                    <a:cubicBezTo>
                      <a:pt x="8834" y="19902"/>
                      <a:pt x="6326" y="18363"/>
                      <a:pt x="3705" y="17052"/>
                    </a:cubicBezTo>
                    <a:cubicBezTo>
                      <a:pt x="2507" y="16420"/>
                      <a:pt x="1254" y="15867"/>
                      <a:pt x="0" y="15399"/>
                    </a:cubicBezTo>
                    <a:cubicBezTo>
                      <a:pt x="2622" y="13410"/>
                      <a:pt x="5187" y="11284"/>
                      <a:pt x="7580" y="9016"/>
                    </a:cubicBezTo>
                    <a:cubicBezTo>
                      <a:pt x="10373" y="5875"/>
                      <a:pt x="13679" y="3282"/>
                      <a:pt x="17440" y="1379"/>
                    </a:cubicBezTo>
                    <a:cubicBezTo>
                      <a:pt x="22000" y="-69"/>
                      <a:pt x="26844" y="-383"/>
                      <a:pt x="31518" y="467"/>
                    </a:cubicBezTo>
                    <a:lnTo>
                      <a:pt x="44171" y="1721"/>
                    </a:lnTo>
                    <a:cubicBezTo>
                      <a:pt x="46678" y="2005"/>
                      <a:pt x="49585" y="2518"/>
                      <a:pt x="50668" y="4855"/>
                    </a:cubicBezTo>
                    <a:cubicBezTo>
                      <a:pt x="51352" y="6844"/>
                      <a:pt x="50783" y="9050"/>
                      <a:pt x="49186" y="104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4" name="Freihandform: Form 390">
                <a:extLst>
                  <a:ext uri="{FF2B5EF4-FFF2-40B4-BE49-F238E27FC236}">
                    <a16:creationId xmlns:a16="http://schemas.microsoft.com/office/drawing/2014/main" id="{74E23410-82E6-611D-142F-B374B7DF2A55}"/>
                  </a:ext>
                </a:extLst>
              </p:cNvPr>
              <p:cNvSpPr/>
              <p:nvPr/>
            </p:nvSpPr>
            <p:spPr>
              <a:xfrm>
                <a:off x="5675083" y="2894679"/>
                <a:ext cx="687953" cy="321381"/>
              </a:xfrm>
              <a:custGeom>
                <a:avLst/>
                <a:gdLst>
                  <a:gd name="connsiteX0" fmla="*/ 619134 w 687953"/>
                  <a:gd name="connsiteY0" fmla="*/ 80876 h 321381"/>
                  <a:gd name="connsiteX1" fmla="*/ 618735 w 687953"/>
                  <a:gd name="connsiteY1" fmla="*/ 80876 h 321381"/>
                  <a:gd name="connsiteX2" fmla="*/ 600383 w 687953"/>
                  <a:gd name="connsiteY2" fmla="*/ 103673 h 321381"/>
                  <a:gd name="connsiteX3" fmla="*/ 593885 w 687953"/>
                  <a:gd name="connsiteY3" fmla="*/ 121456 h 321381"/>
                  <a:gd name="connsiteX4" fmla="*/ 592973 w 687953"/>
                  <a:gd name="connsiteY4" fmla="*/ 124989 h 321381"/>
                  <a:gd name="connsiteX5" fmla="*/ 605740 w 687953"/>
                  <a:gd name="connsiteY5" fmla="*/ 134735 h 321381"/>
                  <a:gd name="connsiteX6" fmla="*/ 629336 w 687953"/>
                  <a:gd name="connsiteY6" fmla="*/ 134735 h 321381"/>
                  <a:gd name="connsiteX7" fmla="*/ 647061 w 687953"/>
                  <a:gd name="connsiteY7" fmla="*/ 128523 h 321381"/>
                  <a:gd name="connsiteX8" fmla="*/ 664159 w 687953"/>
                  <a:gd name="connsiteY8" fmla="*/ 144938 h 321381"/>
                  <a:gd name="connsiteX9" fmla="*/ 679947 w 687953"/>
                  <a:gd name="connsiteY9" fmla="*/ 156337 h 321381"/>
                  <a:gd name="connsiteX10" fmla="*/ 687812 w 687953"/>
                  <a:gd name="connsiteY10" fmla="*/ 172979 h 321381"/>
                  <a:gd name="connsiteX11" fmla="*/ 661994 w 687953"/>
                  <a:gd name="connsiteY11" fmla="*/ 169445 h 321381"/>
                  <a:gd name="connsiteX12" fmla="*/ 646605 w 687953"/>
                  <a:gd name="connsiteY12" fmla="*/ 174404 h 321381"/>
                  <a:gd name="connsiteX13" fmla="*/ 637030 w 687953"/>
                  <a:gd name="connsiteY13" fmla="*/ 173606 h 321381"/>
                  <a:gd name="connsiteX14" fmla="*/ 610813 w 687953"/>
                  <a:gd name="connsiteY14" fmla="*/ 186316 h 321381"/>
                  <a:gd name="connsiteX15" fmla="*/ 605968 w 687953"/>
                  <a:gd name="connsiteY15" fmla="*/ 191274 h 321381"/>
                  <a:gd name="connsiteX16" fmla="*/ 601351 w 687953"/>
                  <a:gd name="connsiteY16" fmla="*/ 202673 h 321381"/>
                  <a:gd name="connsiteX17" fmla="*/ 577869 w 687953"/>
                  <a:gd name="connsiteY17" fmla="*/ 210880 h 321381"/>
                  <a:gd name="connsiteX18" fmla="*/ 550797 w 687953"/>
                  <a:gd name="connsiteY18" fmla="*/ 219031 h 321381"/>
                  <a:gd name="connsiteX19" fmla="*/ 542989 w 687953"/>
                  <a:gd name="connsiteY19" fmla="*/ 224730 h 321381"/>
                  <a:gd name="connsiteX20" fmla="*/ 532958 w 687953"/>
                  <a:gd name="connsiteY20" fmla="*/ 222108 h 321381"/>
                  <a:gd name="connsiteX21" fmla="*/ 514948 w 687953"/>
                  <a:gd name="connsiteY21" fmla="*/ 217435 h 321381"/>
                  <a:gd name="connsiteX22" fmla="*/ 500528 w 687953"/>
                  <a:gd name="connsiteY22" fmla="*/ 227466 h 321381"/>
                  <a:gd name="connsiteX23" fmla="*/ 507595 w 687953"/>
                  <a:gd name="connsiteY23" fmla="*/ 254652 h 321381"/>
                  <a:gd name="connsiteX24" fmla="*/ 491693 w 687953"/>
                  <a:gd name="connsiteY24" fmla="*/ 271751 h 321381"/>
                  <a:gd name="connsiteX25" fmla="*/ 472373 w 687953"/>
                  <a:gd name="connsiteY25" fmla="*/ 286113 h 321381"/>
                  <a:gd name="connsiteX26" fmla="*/ 468440 w 687953"/>
                  <a:gd name="connsiteY26" fmla="*/ 293352 h 321381"/>
                  <a:gd name="connsiteX27" fmla="*/ 459833 w 687953"/>
                  <a:gd name="connsiteY27" fmla="*/ 294834 h 321381"/>
                  <a:gd name="connsiteX28" fmla="*/ 438005 w 687953"/>
                  <a:gd name="connsiteY28" fmla="*/ 293979 h 321381"/>
                  <a:gd name="connsiteX29" fmla="*/ 379984 w 687953"/>
                  <a:gd name="connsiteY29" fmla="*/ 304010 h 321381"/>
                  <a:gd name="connsiteX30" fmla="*/ 366192 w 687953"/>
                  <a:gd name="connsiteY30" fmla="*/ 320595 h 321381"/>
                  <a:gd name="connsiteX31" fmla="*/ 353197 w 687953"/>
                  <a:gd name="connsiteY31" fmla="*/ 315466 h 321381"/>
                  <a:gd name="connsiteX32" fmla="*/ 332336 w 687953"/>
                  <a:gd name="connsiteY32" fmla="*/ 313756 h 321381"/>
                  <a:gd name="connsiteX33" fmla="*/ 321450 w 687953"/>
                  <a:gd name="connsiteY33" fmla="*/ 308056 h 321381"/>
                  <a:gd name="connsiteX34" fmla="*/ 312388 w 687953"/>
                  <a:gd name="connsiteY34" fmla="*/ 307145 h 321381"/>
                  <a:gd name="connsiteX35" fmla="*/ 300020 w 687953"/>
                  <a:gd name="connsiteY35" fmla="*/ 300191 h 321381"/>
                  <a:gd name="connsiteX36" fmla="*/ 292269 w 687953"/>
                  <a:gd name="connsiteY36" fmla="*/ 298481 h 321381"/>
                  <a:gd name="connsiteX37" fmla="*/ 276083 w 687953"/>
                  <a:gd name="connsiteY37" fmla="*/ 288450 h 321381"/>
                  <a:gd name="connsiteX38" fmla="*/ 186316 w 687953"/>
                  <a:gd name="connsiteY38" fmla="*/ 287766 h 321381"/>
                  <a:gd name="connsiteX39" fmla="*/ 174176 w 687953"/>
                  <a:gd name="connsiteY39" fmla="*/ 283093 h 321381"/>
                  <a:gd name="connsiteX40" fmla="*/ 164430 w 687953"/>
                  <a:gd name="connsiteY40" fmla="*/ 263829 h 321381"/>
                  <a:gd name="connsiteX41" fmla="*/ 163005 w 687953"/>
                  <a:gd name="connsiteY41" fmla="*/ 258927 h 321381"/>
                  <a:gd name="connsiteX42" fmla="*/ 154741 w 687953"/>
                  <a:gd name="connsiteY42" fmla="*/ 254481 h 321381"/>
                  <a:gd name="connsiteX43" fmla="*/ 151663 w 687953"/>
                  <a:gd name="connsiteY43" fmla="*/ 248098 h 321381"/>
                  <a:gd name="connsiteX44" fmla="*/ 125902 w 687953"/>
                  <a:gd name="connsiteY44" fmla="*/ 232653 h 321381"/>
                  <a:gd name="connsiteX45" fmla="*/ 125331 w 687953"/>
                  <a:gd name="connsiteY45" fmla="*/ 220684 h 321381"/>
                  <a:gd name="connsiteX46" fmla="*/ 77627 w 687953"/>
                  <a:gd name="connsiteY46" fmla="*/ 217264 h 321381"/>
                  <a:gd name="connsiteX47" fmla="*/ 74378 w 687953"/>
                  <a:gd name="connsiteY47" fmla="*/ 216238 h 321381"/>
                  <a:gd name="connsiteX48" fmla="*/ 72725 w 687953"/>
                  <a:gd name="connsiteY48" fmla="*/ 212362 h 321381"/>
                  <a:gd name="connsiteX49" fmla="*/ 61326 w 687953"/>
                  <a:gd name="connsiteY49" fmla="*/ 206663 h 321381"/>
                  <a:gd name="connsiteX50" fmla="*/ 61611 w 687953"/>
                  <a:gd name="connsiteY50" fmla="*/ 197088 h 321381"/>
                  <a:gd name="connsiteX51" fmla="*/ 74948 w 687953"/>
                  <a:gd name="connsiteY51" fmla="*/ 164487 h 321381"/>
                  <a:gd name="connsiteX52" fmla="*/ 59445 w 687953"/>
                  <a:gd name="connsiteY52" fmla="*/ 140891 h 321381"/>
                  <a:gd name="connsiteX53" fmla="*/ 41948 w 687953"/>
                  <a:gd name="connsiteY53" fmla="*/ 125502 h 321381"/>
                  <a:gd name="connsiteX54" fmla="*/ 22855 w 687953"/>
                  <a:gd name="connsiteY54" fmla="*/ 123394 h 321381"/>
                  <a:gd name="connsiteX55" fmla="*/ 13679 w 687953"/>
                  <a:gd name="connsiteY55" fmla="*/ 112793 h 321381"/>
                  <a:gd name="connsiteX56" fmla="*/ 4901 w 687953"/>
                  <a:gd name="connsiteY56" fmla="*/ 105839 h 321381"/>
                  <a:gd name="connsiteX57" fmla="*/ 0 w 687953"/>
                  <a:gd name="connsiteY57" fmla="*/ 95694 h 321381"/>
                  <a:gd name="connsiteX58" fmla="*/ 741 w 687953"/>
                  <a:gd name="connsiteY58" fmla="*/ 92787 h 321381"/>
                  <a:gd name="connsiteX59" fmla="*/ 41492 w 687953"/>
                  <a:gd name="connsiteY59" fmla="*/ 74777 h 321381"/>
                  <a:gd name="connsiteX60" fmla="*/ 50098 w 687953"/>
                  <a:gd name="connsiteY60" fmla="*/ 64974 h 321381"/>
                  <a:gd name="connsiteX61" fmla="*/ 50783 w 687953"/>
                  <a:gd name="connsiteY61" fmla="*/ 60015 h 321381"/>
                  <a:gd name="connsiteX62" fmla="*/ 60243 w 687953"/>
                  <a:gd name="connsiteY62" fmla="*/ 60015 h 321381"/>
                  <a:gd name="connsiteX63" fmla="*/ 82186 w 687953"/>
                  <a:gd name="connsiteY63" fmla="*/ 47534 h 321381"/>
                  <a:gd name="connsiteX64" fmla="*/ 129093 w 687953"/>
                  <a:gd name="connsiteY64" fmla="*/ 47534 h 321381"/>
                  <a:gd name="connsiteX65" fmla="*/ 134109 w 687953"/>
                  <a:gd name="connsiteY65" fmla="*/ 64632 h 321381"/>
                  <a:gd name="connsiteX66" fmla="*/ 154285 w 687953"/>
                  <a:gd name="connsiteY66" fmla="*/ 71585 h 321381"/>
                  <a:gd name="connsiteX67" fmla="*/ 164430 w 687953"/>
                  <a:gd name="connsiteY67" fmla="*/ 71585 h 321381"/>
                  <a:gd name="connsiteX68" fmla="*/ 195321 w 687953"/>
                  <a:gd name="connsiteY68" fmla="*/ 73124 h 321381"/>
                  <a:gd name="connsiteX69" fmla="*/ 206720 w 687953"/>
                  <a:gd name="connsiteY69" fmla="*/ 50668 h 321381"/>
                  <a:gd name="connsiteX70" fmla="*/ 200223 w 687953"/>
                  <a:gd name="connsiteY70" fmla="*/ 44969 h 321381"/>
                  <a:gd name="connsiteX71" fmla="*/ 199425 w 687953"/>
                  <a:gd name="connsiteY71" fmla="*/ 38243 h 321381"/>
                  <a:gd name="connsiteX72" fmla="*/ 227922 w 687953"/>
                  <a:gd name="connsiteY72" fmla="*/ 0 h 321381"/>
                  <a:gd name="connsiteX73" fmla="*/ 296316 w 687953"/>
                  <a:gd name="connsiteY73" fmla="*/ 23596 h 321381"/>
                  <a:gd name="connsiteX74" fmla="*/ 300134 w 687953"/>
                  <a:gd name="connsiteY74" fmla="*/ 50269 h 321381"/>
                  <a:gd name="connsiteX75" fmla="*/ 308569 w 687953"/>
                  <a:gd name="connsiteY75" fmla="*/ 56071 h 321381"/>
                  <a:gd name="connsiteX76" fmla="*/ 308683 w 687953"/>
                  <a:gd name="connsiteY76" fmla="*/ 57679 h 321381"/>
                  <a:gd name="connsiteX77" fmla="*/ 323616 w 687953"/>
                  <a:gd name="connsiteY77" fmla="*/ 64575 h 321381"/>
                  <a:gd name="connsiteX78" fmla="*/ 339005 w 687953"/>
                  <a:gd name="connsiteY78" fmla="*/ 65601 h 321381"/>
                  <a:gd name="connsiteX79" fmla="*/ 341969 w 687953"/>
                  <a:gd name="connsiteY79" fmla="*/ 60642 h 321381"/>
                  <a:gd name="connsiteX80" fmla="*/ 357072 w 687953"/>
                  <a:gd name="connsiteY80" fmla="*/ 54202 h 321381"/>
                  <a:gd name="connsiteX81" fmla="*/ 429284 w 687953"/>
                  <a:gd name="connsiteY81" fmla="*/ 80477 h 321381"/>
                  <a:gd name="connsiteX82" fmla="*/ 437834 w 687953"/>
                  <a:gd name="connsiteY82" fmla="*/ 86632 h 321381"/>
                  <a:gd name="connsiteX83" fmla="*/ 451113 w 687953"/>
                  <a:gd name="connsiteY83" fmla="*/ 86347 h 321381"/>
                  <a:gd name="connsiteX84" fmla="*/ 484797 w 687953"/>
                  <a:gd name="connsiteY84" fmla="*/ 94212 h 321381"/>
                  <a:gd name="connsiteX85" fmla="*/ 494885 w 687953"/>
                  <a:gd name="connsiteY85" fmla="*/ 87943 h 321381"/>
                  <a:gd name="connsiteX86" fmla="*/ 509077 w 687953"/>
                  <a:gd name="connsiteY86" fmla="*/ 86176 h 321381"/>
                  <a:gd name="connsiteX87" fmla="*/ 548973 w 687953"/>
                  <a:gd name="connsiteY87" fmla="*/ 69876 h 321381"/>
                  <a:gd name="connsiteX88" fmla="*/ 590523 w 687953"/>
                  <a:gd name="connsiteY88" fmla="*/ 66342 h 321381"/>
                  <a:gd name="connsiteX89" fmla="*/ 598901 w 687953"/>
                  <a:gd name="connsiteY89" fmla="*/ 71414 h 321381"/>
                  <a:gd name="connsiteX90" fmla="*/ 611269 w 687953"/>
                  <a:gd name="connsiteY90" fmla="*/ 72839 h 321381"/>
                  <a:gd name="connsiteX91" fmla="*/ 619134 w 687953"/>
                  <a:gd name="connsiteY91" fmla="*/ 80876 h 32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87953" h="321381">
                    <a:moveTo>
                      <a:pt x="619134" y="80876"/>
                    </a:moveTo>
                    <a:lnTo>
                      <a:pt x="618735" y="80876"/>
                    </a:lnTo>
                    <a:cubicBezTo>
                      <a:pt x="608818" y="83383"/>
                      <a:pt x="603916" y="94326"/>
                      <a:pt x="600383" y="103673"/>
                    </a:cubicBezTo>
                    <a:lnTo>
                      <a:pt x="593885" y="121456"/>
                    </a:lnTo>
                    <a:cubicBezTo>
                      <a:pt x="593430" y="122584"/>
                      <a:pt x="593087" y="123775"/>
                      <a:pt x="592973" y="124989"/>
                    </a:cubicBezTo>
                    <a:cubicBezTo>
                      <a:pt x="592973" y="130689"/>
                      <a:pt x="599983" y="133710"/>
                      <a:pt x="605740" y="134735"/>
                    </a:cubicBezTo>
                    <a:cubicBezTo>
                      <a:pt x="613491" y="136844"/>
                      <a:pt x="621585" y="136844"/>
                      <a:pt x="629336" y="134735"/>
                    </a:cubicBezTo>
                    <a:cubicBezTo>
                      <a:pt x="635035" y="132513"/>
                      <a:pt x="640735" y="127668"/>
                      <a:pt x="647061" y="128523"/>
                    </a:cubicBezTo>
                    <a:cubicBezTo>
                      <a:pt x="655212" y="129606"/>
                      <a:pt x="658802" y="139010"/>
                      <a:pt x="664159" y="144938"/>
                    </a:cubicBezTo>
                    <a:cubicBezTo>
                      <a:pt x="669175" y="149104"/>
                      <a:pt x="674419" y="152911"/>
                      <a:pt x="679947" y="156337"/>
                    </a:cubicBezTo>
                    <a:cubicBezTo>
                      <a:pt x="685590" y="159882"/>
                      <a:pt x="688668" y="166373"/>
                      <a:pt x="687812" y="172979"/>
                    </a:cubicBezTo>
                    <a:cubicBezTo>
                      <a:pt x="680347" y="177994"/>
                      <a:pt x="670714" y="168818"/>
                      <a:pt x="661994" y="169445"/>
                    </a:cubicBezTo>
                    <a:cubicBezTo>
                      <a:pt x="656636" y="169844"/>
                      <a:pt x="652020" y="173891"/>
                      <a:pt x="646605" y="174404"/>
                    </a:cubicBezTo>
                    <a:cubicBezTo>
                      <a:pt x="643413" y="174364"/>
                      <a:pt x="640222" y="174096"/>
                      <a:pt x="637030" y="173606"/>
                    </a:cubicBezTo>
                    <a:cubicBezTo>
                      <a:pt x="627113" y="173036"/>
                      <a:pt x="618393" y="179875"/>
                      <a:pt x="610813" y="186316"/>
                    </a:cubicBezTo>
                    <a:cubicBezTo>
                      <a:pt x="608989" y="187718"/>
                      <a:pt x="607336" y="189393"/>
                      <a:pt x="605968" y="191274"/>
                    </a:cubicBezTo>
                    <a:cubicBezTo>
                      <a:pt x="603745" y="194694"/>
                      <a:pt x="603461" y="199025"/>
                      <a:pt x="601351" y="202673"/>
                    </a:cubicBezTo>
                    <a:cubicBezTo>
                      <a:pt x="596906" y="210197"/>
                      <a:pt x="586590" y="211051"/>
                      <a:pt x="577869" y="210880"/>
                    </a:cubicBezTo>
                    <a:cubicBezTo>
                      <a:pt x="569150" y="210710"/>
                      <a:pt x="552621" y="210481"/>
                      <a:pt x="550797" y="219031"/>
                    </a:cubicBezTo>
                    <a:cubicBezTo>
                      <a:pt x="549714" y="222445"/>
                      <a:pt x="546579" y="224764"/>
                      <a:pt x="542989" y="224730"/>
                    </a:cubicBezTo>
                    <a:cubicBezTo>
                      <a:pt x="539512" y="224588"/>
                      <a:pt x="536092" y="223693"/>
                      <a:pt x="532958" y="222108"/>
                    </a:cubicBezTo>
                    <a:cubicBezTo>
                      <a:pt x="527372" y="219276"/>
                      <a:pt x="521217" y="217686"/>
                      <a:pt x="514948" y="217435"/>
                    </a:cubicBezTo>
                    <a:cubicBezTo>
                      <a:pt x="508507" y="217355"/>
                      <a:pt x="502694" y="221385"/>
                      <a:pt x="500528" y="227466"/>
                    </a:cubicBezTo>
                    <a:cubicBezTo>
                      <a:pt x="498248" y="236699"/>
                      <a:pt x="508222" y="245134"/>
                      <a:pt x="507595" y="254652"/>
                    </a:cubicBezTo>
                    <a:cubicBezTo>
                      <a:pt x="507082" y="262803"/>
                      <a:pt x="499103" y="268331"/>
                      <a:pt x="491693" y="271751"/>
                    </a:cubicBezTo>
                    <a:cubicBezTo>
                      <a:pt x="484284" y="275171"/>
                      <a:pt x="475849" y="278647"/>
                      <a:pt x="472373" y="286113"/>
                    </a:cubicBezTo>
                    <a:cubicBezTo>
                      <a:pt x="471632" y="288792"/>
                      <a:pt x="470263" y="291271"/>
                      <a:pt x="468440" y="293352"/>
                    </a:cubicBezTo>
                    <a:cubicBezTo>
                      <a:pt x="465875" y="294908"/>
                      <a:pt x="462797" y="295438"/>
                      <a:pt x="459833" y="294834"/>
                    </a:cubicBezTo>
                    <a:cubicBezTo>
                      <a:pt x="452538" y="294264"/>
                      <a:pt x="445300" y="293979"/>
                      <a:pt x="438005" y="293979"/>
                    </a:cubicBezTo>
                    <a:cubicBezTo>
                      <a:pt x="418171" y="293301"/>
                      <a:pt x="398450" y="296715"/>
                      <a:pt x="379984" y="304010"/>
                    </a:cubicBezTo>
                    <a:cubicBezTo>
                      <a:pt x="372917" y="307088"/>
                      <a:pt x="365222" y="312901"/>
                      <a:pt x="366192" y="320595"/>
                    </a:cubicBezTo>
                    <a:cubicBezTo>
                      <a:pt x="362087" y="323445"/>
                      <a:pt x="357585" y="317803"/>
                      <a:pt x="353197" y="315466"/>
                    </a:cubicBezTo>
                    <a:cubicBezTo>
                      <a:pt x="346927" y="312217"/>
                      <a:pt x="339005" y="316093"/>
                      <a:pt x="332336" y="313756"/>
                    </a:cubicBezTo>
                    <a:cubicBezTo>
                      <a:pt x="328461" y="312388"/>
                      <a:pt x="325440" y="309025"/>
                      <a:pt x="321450" y="308056"/>
                    </a:cubicBezTo>
                    <a:cubicBezTo>
                      <a:pt x="318487" y="307259"/>
                      <a:pt x="315352" y="308056"/>
                      <a:pt x="312388" y="307145"/>
                    </a:cubicBezTo>
                    <a:cubicBezTo>
                      <a:pt x="307772" y="306005"/>
                      <a:pt x="304466" y="301958"/>
                      <a:pt x="300020" y="300191"/>
                    </a:cubicBezTo>
                    <a:cubicBezTo>
                      <a:pt x="297513" y="299388"/>
                      <a:pt x="294891" y="298812"/>
                      <a:pt x="292269" y="298481"/>
                    </a:cubicBezTo>
                    <a:cubicBezTo>
                      <a:pt x="285885" y="297062"/>
                      <a:pt x="280186" y="293529"/>
                      <a:pt x="276083" y="288450"/>
                    </a:cubicBezTo>
                    <a:lnTo>
                      <a:pt x="186316" y="287766"/>
                    </a:lnTo>
                    <a:cubicBezTo>
                      <a:pt x="181756" y="288365"/>
                      <a:pt x="177197" y="286609"/>
                      <a:pt x="174176" y="283093"/>
                    </a:cubicBezTo>
                    <a:cubicBezTo>
                      <a:pt x="168990" y="277872"/>
                      <a:pt x="165570" y="271124"/>
                      <a:pt x="164430" y="263829"/>
                    </a:cubicBezTo>
                    <a:cubicBezTo>
                      <a:pt x="164373" y="262102"/>
                      <a:pt x="163860" y="260415"/>
                      <a:pt x="163005" y="258927"/>
                    </a:cubicBezTo>
                    <a:cubicBezTo>
                      <a:pt x="161067" y="256419"/>
                      <a:pt x="157306" y="256590"/>
                      <a:pt x="154741" y="254481"/>
                    </a:cubicBezTo>
                    <a:cubicBezTo>
                      <a:pt x="153259" y="252612"/>
                      <a:pt x="152176" y="250429"/>
                      <a:pt x="151663" y="248098"/>
                    </a:cubicBezTo>
                    <a:cubicBezTo>
                      <a:pt x="147844" y="238352"/>
                      <a:pt x="136103" y="234875"/>
                      <a:pt x="125902" y="232653"/>
                    </a:cubicBezTo>
                    <a:cubicBezTo>
                      <a:pt x="125902" y="228663"/>
                      <a:pt x="125560" y="224673"/>
                      <a:pt x="125331" y="220684"/>
                    </a:cubicBezTo>
                    <a:lnTo>
                      <a:pt x="77627" y="217264"/>
                    </a:lnTo>
                    <a:cubicBezTo>
                      <a:pt x="76458" y="217287"/>
                      <a:pt x="75319" y="216922"/>
                      <a:pt x="74378" y="216238"/>
                    </a:cubicBezTo>
                    <a:cubicBezTo>
                      <a:pt x="73409" y="215212"/>
                      <a:pt x="73409" y="213616"/>
                      <a:pt x="72725" y="212362"/>
                    </a:cubicBezTo>
                    <a:cubicBezTo>
                      <a:pt x="70731" y="208430"/>
                      <a:pt x="64062" y="210026"/>
                      <a:pt x="61326" y="206663"/>
                    </a:cubicBezTo>
                    <a:cubicBezTo>
                      <a:pt x="58591" y="203300"/>
                      <a:pt x="60358" y="200223"/>
                      <a:pt x="61611" y="197088"/>
                    </a:cubicBezTo>
                    <a:lnTo>
                      <a:pt x="74948" y="164487"/>
                    </a:lnTo>
                    <a:cubicBezTo>
                      <a:pt x="64415" y="161871"/>
                      <a:pt x="57667" y="151595"/>
                      <a:pt x="59445" y="140891"/>
                    </a:cubicBezTo>
                    <a:cubicBezTo>
                      <a:pt x="51409" y="140891"/>
                      <a:pt x="49244" y="128865"/>
                      <a:pt x="41948" y="125502"/>
                    </a:cubicBezTo>
                    <a:cubicBezTo>
                      <a:pt x="36249" y="122767"/>
                      <a:pt x="28554" y="126528"/>
                      <a:pt x="22855" y="123394"/>
                    </a:cubicBezTo>
                    <a:cubicBezTo>
                      <a:pt x="18694" y="121114"/>
                      <a:pt x="17155" y="116041"/>
                      <a:pt x="13679" y="112793"/>
                    </a:cubicBezTo>
                    <a:cubicBezTo>
                      <a:pt x="10202" y="109544"/>
                      <a:pt x="7181" y="108803"/>
                      <a:pt x="4901" y="105839"/>
                    </a:cubicBezTo>
                    <a:cubicBezTo>
                      <a:pt x="3003" y="102591"/>
                      <a:pt x="1368" y="99199"/>
                      <a:pt x="0" y="95694"/>
                    </a:cubicBezTo>
                    <a:cubicBezTo>
                      <a:pt x="0" y="94725"/>
                      <a:pt x="456" y="93756"/>
                      <a:pt x="741" y="92787"/>
                    </a:cubicBezTo>
                    <a:cubicBezTo>
                      <a:pt x="15320" y="89351"/>
                      <a:pt x="29136" y="83246"/>
                      <a:pt x="41492" y="74777"/>
                    </a:cubicBezTo>
                    <a:cubicBezTo>
                      <a:pt x="45368" y="72497"/>
                      <a:pt x="49700" y="69477"/>
                      <a:pt x="50098" y="64974"/>
                    </a:cubicBezTo>
                    <a:cubicBezTo>
                      <a:pt x="50098" y="63321"/>
                      <a:pt x="49813" y="61383"/>
                      <a:pt x="50783" y="60015"/>
                    </a:cubicBezTo>
                    <a:cubicBezTo>
                      <a:pt x="52720" y="57223"/>
                      <a:pt x="56938" y="59445"/>
                      <a:pt x="60243" y="60015"/>
                    </a:cubicBezTo>
                    <a:cubicBezTo>
                      <a:pt x="68793" y="61725"/>
                      <a:pt x="74435" y="51466"/>
                      <a:pt x="82186" y="47534"/>
                    </a:cubicBezTo>
                    <a:cubicBezTo>
                      <a:pt x="96492" y="40295"/>
                      <a:pt x="115357" y="56026"/>
                      <a:pt x="129093" y="47534"/>
                    </a:cubicBezTo>
                    <a:cubicBezTo>
                      <a:pt x="130803" y="53233"/>
                      <a:pt x="132456" y="58933"/>
                      <a:pt x="134109" y="64632"/>
                    </a:cubicBezTo>
                    <a:cubicBezTo>
                      <a:pt x="140264" y="60300"/>
                      <a:pt x="147046" y="69477"/>
                      <a:pt x="154285" y="71585"/>
                    </a:cubicBezTo>
                    <a:cubicBezTo>
                      <a:pt x="157648" y="72127"/>
                      <a:pt x="161067" y="72127"/>
                      <a:pt x="164430" y="71585"/>
                    </a:cubicBezTo>
                    <a:cubicBezTo>
                      <a:pt x="174803" y="71186"/>
                      <a:pt x="185176" y="75119"/>
                      <a:pt x="195321" y="73124"/>
                    </a:cubicBezTo>
                    <a:cubicBezTo>
                      <a:pt x="205466" y="71129"/>
                      <a:pt x="214243" y="58021"/>
                      <a:pt x="206720" y="50668"/>
                    </a:cubicBezTo>
                    <a:cubicBezTo>
                      <a:pt x="204668" y="48559"/>
                      <a:pt x="201704" y="47420"/>
                      <a:pt x="200223" y="44969"/>
                    </a:cubicBezTo>
                    <a:cubicBezTo>
                      <a:pt x="199254" y="42871"/>
                      <a:pt x="198969" y="40512"/>
                      <a:pt x="199425" y="38243"/>
                    </a:cubicBezTo>
                    <a:cubicBezTo>
                      <a:pt x="201704" y="22057"/>
                      <a:pt x="215383" y="10202"/>
                      <a:pt x="227922" y="0"/>
                    </a:cubicBezTo>
                    <a:cubicBezTo>
                      <a:pt x="249409" y="11399"/>
                      <a:pt x="271979" y="23197"/>
                      <a:pt x="296316" y="23596"/>
                    </a:cubicBezTo>
                    <a:cubicBezTo>
                      <a:pt x="297570" y="32487"/>
                      <a:pt x="298880" y="41378"/>
                      <a:pt x="300134" y="50269"/>
                    </a:cubicBezTo>
                    <a:cubicBezTo>
                      <a:pt x="304067" y="49540"/>
                      <a:pt x="307828" y="52139"/>
                      <a:pt x="308569" y="56071"/>
                    </a:cubicBezTo>
                    <a:cubicBezTo>
                      <a:pt x="308683" y="56601"/>
                      <a:pt x="308683" y="57137"/>
                      <a:pt x="308683" y="57679"/>
                    </a:cubicBezTo>
                    <a:cubicBezTo>
                      <a:pt x="314383" y="57223"/>
                      <a:pt x="319000" y="61440"/>
                      <a:pt x="323616" y="64575"/>
                    </a:cubicBezTo>
                    <a:cubicBezTo>
                      <a:pt x="328233" y="67710"/>
                      <a:pt x="335015" y="69761"/>
                      <a:pt x="339005" y="65601"/>
                    </a:cubicBezTo>
                    <a:cubicBezTo>
                      <a:pt x="340145" y="64039"/>
                      <a:pt x="341114" y="62375"/>
                      <a:pt x="341969" y="60642"/>
                    </a:cubicBezTo>
                    <a:cubicBezTo>
                      <a:pt x="345787" y="56351"/>
                      <a:pt x="351315" y="53991"/>
                      <a:pt x="357072" y="54202"/>
                    </a:cubicBezTo>
                    <a:cubicBezTo>
                      <a:pt x="383746" y="52464"/>
                      <a:pt x="409963" y="61993"/>
                      <a:pt x="429284" y="80477"/>
                    </a:cubicBezTo>
                    <a:cubicBezTo>
                      <a:pt x="431621" y="83161"/>
                      <a:pt x="434528" y="85264"/>
                      <a:pt x="437834" y="86632"/>
                    </a:cubicBezTo>
                    <a:cubicBezTo>
                      <a:pt x="442279" y="87134"/>
                      <a:pt x="446725" y="87037"/>
                      <a:pt x="451113" y="86347"/>
                    </a:cubicBezTo>
                    <a:cubicBezTo>
                      <a:pt x="462911" y="86632"/>
                      <a:pt x="473911" y="98658"/>
                      <a:pt x="484797" y="94212"/>
                    </a:cubicBezTo>
                    <a:cubicBezTo>
                      <a:pt x="488502" y="92673"/>
                      <a:pt x="491238" y="89482"/>
                      <a:pt x="494885" y="87943"/>
                    </a:cubicBezTo>
                    <a:cubicBezTo>
                      <a:pt x="499445" y="86495"/>
                      <a:pt x="504290" y="85897"/>
                      <a:pt x="509077" y="86176"/>
                    </a:cubicBezTo>
                    <a:cubicBezTo>
                      <a:pt x="523668" y="85606"/>
                      <a:pt x="536321" y="76658"/>
                      <a:pt x="548973" y="69876"/>
                    </a:cubicBezTo>
                    <a:cubicBezTo>
                      <a:pt x="561626" y="63093"/>
                      <a:pt x="578212" y="58477"/>
                      <a:pt x="590523" y="66342"/>
                    </a:cubicBezTo>
                    <a:cubicBezTo>
                      <a:pt x="593087" y="68405"/>
                      <a:pt x="595880" y="70109"/>
                      <a:pt x="598901" y="71414"/>
                    </a:cubicBezTo>
                    <a:cubicBezTo>
                      <a:pt x="602890" y="72611"/>
                      <a:pt x="607336" y="71414"/>
                      <a:pt x="611269" y="72839"/>
                    </a:cubicBezTo>
                    <a:cubicBezTo>
                      <a:pt x="614746" y="74486"/>
                      <a:pt x="617538" y="77336"/>
                      <a:pt x="619134" y="80876"/>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75" name="Freihandform: Form 391">
                <a:extLst>
                  <a:ext uri="{FF2B5EF4-FFF2-40B4-BE49-F238E27FC236}">
                    <a16:creationId xmlns:a16="http://schemas.microsoft.com/office/drawing/2014/main" id="{09302CA7-0134-E4BF-C9F4-769363C3AD5E}"/>
                  </a:ext>
                </a:extLst>
              </p:cNvPr>
              <p:cNvSpPr/>
              <p:nvPr/>
            </p:nvSpPr>
            <p:spPr>
              <a:xfrm>
                <a:off x="5309713" y="3162196"/>
                <a:ext cx="206810" cy="109737"/>
              </a:xfrm>
              <a:custGeom>
                <a:avLst/>
                <a:gdLst>
                  <a:gd name="connsiteX0" fmla="*/ 204132 w 206810"/>
                  <a:gd name="connsiteY0" fmla="*/ 29539 h 109737"/>
                  <a:gd name="connsiteX1" fmla="*/ 206811 w 206810"/>
                  <a:gd name="connsiteY1" fmla="*/ 33928 h 109737"/>
                  <a:gd name="connsiteX2" fmla="*/ 204759 w 206810"/>
                  <a:gd name="connsiteY2" fmla="*/ 35752 h 109737"/>
                  <a:gd name="connsiteX3" fmla="*/ 199801 w 206810"/>
                  <a:gd name="connsiteY3" fmla="*/ 36721 h 109737"/>
                  <a:gd name="connsiteX4" fmla="*/ 190226 w 206810"/>
                  <a:gd name="connsiteY4" fmla="*/ 45612 h 109737"/>
                  <a:gd name="connsiteX5" fmla="*/ 180764 w 206810"/>
                  <a:gd name="connsiteY5" fmla="*/ 49202 h 109737"/>
                  <a:gd name="connsiteX6" fmla="*/ 159961 w 206810"/>
                  <a:gd name="connsiteY6" fmla="*/ 68011 h 109737"/>
                  <a:gd name="connsiteX7" fmla="*/ 140127 w 206810"/>
                  <a:gd name="connsiteY7" fmla="*/ 69322 h 109737"/>
                  <a:gd name="connsiteX8" fmla="*/ 137619 w 206810"/>
                  <a:gd name="connsiteY8" fmla="*/ 73539 h 109737"/>
                  <a:gd name="connsiteX9" fmla="*/ 125822 w 206810"/>
                  <a:gd name="connsiteY9" fmla="*/ 77187 h 109737"/>
                  <a:gd name="connsiteX10" fmla="*/ 126107 w 206810"/>
                  <a:gd name="connsiteY10" fmla="*/ 88586 h 109737"/>
                  <a:gd name="connsiteX11" fmla="*/ 115506 w 206810"/>
                  <a:gd name="connsiteY11" fmla="*/ 89555 h 109737"/>
                  <a:gd name="connsiteX12" fmla="*/ 112770 w 206810"/>
                  <a:gd name="connsiteY12" fmla="*/ 81404 h 109737"/>
                  <a:gd name="connsiteX13" fmla="*/ 96640 w 206810"/>
                  <a:gd name="connsiteY13" fmla="*/ 80606 h 109737"/>
                  <a:gd name="connsiteX14" fmla="*/ 82221 w 206810"/>
                  <a:gd name="connsiteY14" fmla="*/ 92233 h 109737"/>
                  <a:gd name="connsiteX15" fmla="*/ 74013 w 206810"/>
                  <a:gd name="connsiteY15" fmla="*/ 94399 h 109737"/>
                  <a:gd name="connsiteX16" fmla="*/ 70822 w 206810"/>
                  <a:gd name="connsiteY16" fmla="*/ 103632 h 109737"/>
                  <a:gd name="connsiteX17" fmla="*/ 70822 w 206810"/>
                  <a:gd name="connsiteY17" fmla="*/ 104373 h 109737"/>
                  <a:gd name="connsiteX18" fmla="*/ 62956 w 206810"/>
                  <a:gd name="connsiteY18" fmla="*/ 103518 h 109737"/>
                  <a:gd name="connsiteX19" fmla="*/ 32008 w 206810"/>
                  <a:gd name="connsiteY19" fmla="*/ 109617 h 109737"/>
                  <a:gd name="connsiteX20" fmla="*/ 7671 w 206810"/>
                  <a:gd name="connsiteY20" fmla="*/ 103518 h 109737"/>
                  <a:gd name="connsiteX21" fmla="*/ 1573 w 206810"/>
                  <a:gd name="connsiteY21" fmla="*/ 95482 h 109737"/>
                  <a:gd name="connsiteX22" fmla="*/ 8640 w 206810"/>
                  <a:gd name="connsiteY22" fmla="*/ 86306 h 109737"/>
                  <a:gd name="connsiteX23" fmla="*/ 21065 w 206810"/>
                  <a:gd name="connsiteY23" fmla="*/ 85565 h 109737"/>
                  <a:gd name="connsiteX24" fmla="*/ 54065 w 206810"/>
                  <a:gd name="connsiteY24" fmla="*/ 73197 h 109737"/>
                  <a:gd name="connsiteX25" fmla="*/ 54635 w 206810"/>
                  <a:gd name="connsiteY25" fmla="*/ 71772 h 109737"/>
                  <a:gd name="connsiteX26" fmla="*/ 52697 w 206810"/>
                  <a:gd name="connsiteY26" fmla="*/ 68980 h 109737"/>
                  <a:gd name="connsiteX27" fmla="*/ 48138 w 206810"/>
                  <a:gd name="connsiteY27" fmla="*/ 57068 h 109737"/>
                  <a:gd name="connsiteX28" fmla="*/ 37423 w 206810"/>
                  <a:gd name="connsiteY28" fmla="*/ 55244 h 109737"/>
                  <a:gd name="connsiteX29" fmla="*/ 27848 w 206810"/>
                  <a:gd name="connsiteY29" fmla="*/ 49259 h 109737"/>
                  <a:gd name="connsiteX30" fmla="*/ 10749 w 206810"/>
                  <a:gd name="connsiteY30" fmla="*/ 48062 h 109737"/>
                  <a:gd name="connsiteX31" fmla="*/ 205 w 206810"/>
                  <a:gd name="connsiteY31" fmla="*/ 37290 h 109737"/>
                  <a:gd name="connsiteX32" fmla="*/ 4138 w 206810"/>
                  <a:gd name="connsiteY32" fmla="*/ 31591 h 109737"/>
                  <a:gd name="connsiteX33" fmla="*/ 16562 w 206810"/>
                  <a:gd name="connsiteY33" fmla="*/ 19451 h 109737"/>
                  <a:gd name="connsiteX34" fmla="*/ 24599 w 206810"/>
                  <a:gd name="connsiteY34" fmla="*/ 13752 h 109737"/>
                  <a:gd name="connsiteX35" fmla="*/ 46371 w 206810"/>
                  <a:gd name="connsiteY35" fmla="*/ 20591 h 109737"/>
                  <a:gd name="connsiteX36" fmla="*/ 66490 w 206810"/>
                  <a:gd name="connsiteY36" fmla="*/ 11472 h 109737"/>
                  <a:gd name="connsiteX37" fmla="*/ 85811 w 206810"/>
                  <a:gd name="connsiteY37" fmla="*/ 73 h 109737"/>
                  <a:gd name="connsiteX38" fmla="*/ 94475 w 206810"/>
                  <a:gd name="connsiteY38" fmla="*/ 4005 h 109737"/>
                  <a:gd name="connsiteX39" fmla="*/ 95899 w 206810"/>
                  <a:gd name="connsiteY39" fmla="*/ 7482 h 109737"/>
                  <a:gd name="connsiteX40" fmla="*/ 105702 w 206810"/>
                  <a:gd name="connsiteY40" fmla="*/ 10503 h 109737"/>
                  <a:gd name="connsiteX41" fmla="*/ 178143 w 206810"/>
                  <a:gd name="connsiteY41" fmla="*/ 15690 h 109737"/>
                  <a:gd name="connsiteX42" fmla="*/ 204132 w 206810"/>
                  <a:gd name="connsiteY42" fmla="*/ 29539 h 10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810" h="109737">
                    <a:moveTo>
                      <a:pt x="204132" y="29539"/>
                    </a:moveTo>
                    <a:cubicBezTo>
                      <a:pt x="205147" y="30924"/>
                      <a:pt x="206041" y="32395"/>
                      <a:pt x="206811" y="33928"/>
                    </a:cubicBezTo>
                    <a:cubicBezTo>
                      <a:pt x="206304" y="34709"/>
                      <a:pt x="205591" y="35336"/>
                      <a:pt x="204759" y="35752"/>
                    </a:cubicBezTo>
                    <a:cubicBezTo>
                      <a:pt x="203141" y="36219"/>
                      <a:pt x="201476" y="36544"/>
                      <a:pt x="199801" y="36721"/>
                    </a:cubicBezTo>
                    <a:cubicBezTo>
                      <a:pt x="195526" y="37917"/>
                      <a:pt x="194101" y="43047"/>
                      <a:pt x="190226" y="45612"/>
                    </a:cubicBezTo>
                    <a:cubicBezTo>
                      <a:pt x="187182" y="47076"/>
                      <a:pt x="184013" y="48279"/>
                      <a:pt x="180764" y="49202"/>
                    </a:cubicBezTo>
                    <a:cubicBezTo>
                      <a:pt x="172158" y="53363"/>
                      <a:pt x="169365" y="66301"/>
                      <a:pt x="159961" y="68011"/>
                    </a:cubicBezTo>
                    <a:cubicBezTo>
                      <a:pt x="153122" y="69094"/>
                      <a:pt x="144231" y="63736"/>
                      <a:pt x="140127" y="69322"/>
                    </a:cubicBezTo>
                    <a:cubicBezTo>
                      <a:pt x="139380" y="70781"/>
                      <a:pt x="138543" y="72188"/>
                      <a:pt x="137619" y="73539"/>
                    </a:cubicBezTo>
                    <a:cubicBezTo>
                      <a:pt x="134599" y="76503"/>
                      <a:pt x="128614" y="73995"/>
                      <a:pt x="125822" y="77187"/>
                    </a:cubicBezTo>
                    <a:cubicBezTo>
                      <a:pt x="127867" y="80686"/>
                      <a:pt x="127976" y="84989"/>
                      <a:pt x="126107" y="88586"/>
                    </a:cubicBezTo>
                    <a:cubicBezTo>
                      <a:pt x="122687" y="87332"/>
                      <a:pt x="118583" y="91492"/>
                      <a:pt x="115506" y="89555"/>
                    </a:cubicBezTo>
                    <a:cubicBezTo>
                      <a:pt x="112428" y="87617"/>
                      <a:pt x="113795" y="84140"/>
                      <a:pt x="112770" y="81404"/>
                    </a:cubicBezTo>
                    <a:cubicBezTo>
                      <a:pt x="110604" y="75420"/>
                      <a:pt x="101371" y="76503"/>
                      <a:pt x="96640" y="80606"/>
                    </a:cubicBezTo>
                    <a:cubicBezTo>
                      <a:pt x="91910" y="84710"/>
                      <a:pt x="87920" y="90980"/>
                      <a:pt x="82221" y="92233"/>
                    </a:cubicBezTo>
                    <a:cubicBezTo>
                      <a:pt x="79365" y="92376"/>
                      <a:pt x="76567" y="93117"/>
                      <a:pt x="74013" y="94399"/>
                    </a:cubicBezTo>
                    <a:cubicBezTo>
                      <a:pt x="71557" y="96804"/>
                      <a:pt x="70377" y="100224"/>
                      <a:pt x="70822" y="103632"/>
                    </a:cubicBezTo>
                    <a:lnTo>
                      <a:pt x="70822" y="104373"/>
                    </a:lnTo>
                    <a:cubicBezTo>
                      <a:pt x="68234" y="103832"/>
                      <a:pt x="65601" y="103547"/>
                      <a:pt x="62956" y="103518"/>
                    </a:cubicBezTo>
                    <a:cubicBezTo>
                      <a:pt x="52412" y="103518"/>
                      <a:pt x="42495" y="108648"/>
                      <a:pt x="32008" y="109617"/>
                    </a:cubicBezTo>
                    <a:cubicBezTo>
                      <a:pt x="23447" y="110289"/>
                      <a:pt x="14904" y="108146"/>
                      <a:pt x="7671" y="103518"/>
                    </a:cubicBezTo>
                    <a:cubicBezTo>
                      <a:pt x="4542" y="101883"/>
                      <a:pt x="2308" y="98936"/>
                      <a:pt x="1573" y="95482"/>
                    </a:cubicBezTo>
                    <a:cubicBezTo>
                      <a:pt x="1618" y="91190"/>
                      <a:pt x="4503" y="87446"/>
                      <a:pt x="8640" y="86306"/>
                    </a:cubicBezTo>
                    <a:cubicBezTo>
                      <a:pt x="12704" y="85320"/>
                      <a:pt x="16910" y="85063"/>
                      <a:pt x="21065" y="85565"/>
                    </a:cubicBezTo>
                    <a:cubicBezTo>
                      <a:pt x="33376" y="86135"/>
                      <a:pt x="47397" y="83513"/>
                      <a:pt x="54065" y="73197"/>
                    </a:cubicBezTo>
                    <a:cubicBezTo>
                      <a:pt x="54384" y="72787"/>
                      <a:pt x="54584" y="72291"/>
                      <a:pt x="54635" y="71772"/>
                    </a:cubicBezTo>
                    <a:cubicBezTo>
                      <a:pt x="54635" y="70575"/>
                      <a:pt x="53552" y="69777"/>
                      <a:pt x="52697" y="68980"/>
                    </a:cubicBezTo>
                    <a:cubicBezTo>
                      <a:pt x="49813" y="65674"/>
                      <a:pt x="48195" y="61456"/>
                      <a:pt x="48138" y="57068"/>
                    </a:cubicBezTo>
                    <a:cubicBezTo>
                      <a:pt x="44490" y="58310"/>
                      <a:pt x="40455" y="57626"/>
                      <a:pt x="37423" y="55244"/>
                    </a:cubicBezTo>
                    <a:cubicBezTo>
                      <a:pt x="34442" y="52930"/>
                      <a:pt x="31233" y="50924"/>
                      <a:pt x="27848" y="49259"/>
                    </a:cubicBezTo>
                    <a:cubicBezTo>
                      <a:pt x="22216" y="48159"/>
                      <a:pt x="16477" y="47760"/>
                      <a:pt x="10749" y="48062"/>
                    </a:cubicBezTo>
                    <a:cubicBezTo>
                      <a:pt x="5050" y="47436"/>
                      <a:pt x="-1220" y="42819"/>
                      <a:pt x="205" y="37290"/>
                    </a:cubicBezTo>
                    <a:cubicBezTo>
                      <a:pt x="997" y="35079"/>
                      <a:pt x="2354" y="33118"/>
                      <a:pt x="4138" y="31591"/>
                    </a:cubicBezTo>
                    <a:lnTo>
                      <a:pt x="16562" y="19451"/>
                    </a:lnTo>
                    <a:cubicBezTo>
                      <a:pt x="18689" y="16869"/>
                      <a:pt x="21458" y="14903"/>
                      <a:pt x="24599" y="13752"/>
                    </a:cubicBezTo>
                    <a:cubicBezTo>
                      <a:pt x="32122" y="11871"/>
                      <a:pt x="38676" y="19451"/>
                      <a:pt x="46371" y="20591"/>
                    </a:cubicBezTo>
                    <a:cubicBezTo>
                      <a:pt x="54065" y="21731"/>
                      <a:pt x="60847" y="16601"/>
                      <a:pt x="66490" y="11472"/>
                    </a:cubicBezTo>
                    <a:cubicBezTo>
                      <a:pt x="72132" y="6342"/>
                      <a:pt x="78231" y="643"/>
                      <a:pt x="85811" y="73"/>
                    </a:cubicBezTo>
                    <a:cubicBezTo>
                      <a:pt x="89208" y="-360"/>
                      <a:pt x="92565" y="1162"/>
                      <a:pt x="94475" y="4005"/>
                    </a:cubicBezTo>
                    <a:cubicBezTo>
                      <a:pt x="95044" y="5145"/>
                      <a:pt x="95272" y="6399"/>
                      <a:pt x="95899" y="7482"/>
                    </a:cubicBezTo>
                    <a:cubicBezTo>
                      <a:pt x="97780" y="10560"/>
                      <a:pt x="102112" y="10674"/>
                      <a:pt x="105702" y="10503"/>
                    </a:cubicBezTo>
                    <a:cubicBezTo>
                      <a:pt x="129971" y="8998"/>
                      <a:pt x="154336" y="10742"/>
                      <a:pt x="178143" y="15690"/>
                    </a:cubicBezTo>
                    <a:cubicBezTo>
                      <a:pt x="188003" y="18596"/>
                      <a:pt x="198205" y="21845"/>
                      <a:pt x="204132" y="2953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6" name="Freihandform: Form 392">
                <a:extLst>
                  <a:ext uri="{FF2B5EF4-FFF2-40B4-BE49-F238E27FC236}">
                    <a16:creationId xmlns:a16="http://schemas.microsoft.com/office/drawing/2014/main" id="{E0CA69DC-BA31-876B-051A-0BC4BECB97DF}"/>
                  </a:ext>
                </a:extLst>
              </p:cNvPr>
              <p:cNvSpPr/>
              <p:nvPr/>
            </p:nvSpPr>
            <p:spPr>
              <a:xfrm>
                <a:off x="5241011" y="3234865"/>
                <a:ext cx="169349" cy="118678"/>
              </a:xfrm>
              <a:custGeom>
                <a:avLst/>
                <a:gdLst>
                  <a:gd name="connsiteX0" fmla="*/ 77513 w 169349"/>
                  <a:gd name="connsiteY0" fmla="*/ 4974 h 118678"/>
                  <a:gd name="connsiteX1" fmla="*/ 106523 w 169349"/>
                  <a:gd name="connsiteY1" fmla="*/ 11528 h 118678"/>
                  <a:gd name="connsiteX2" fmla="*/ 89880 w 169349"/>
                  <a:gd name="connsiteY2" fmla="*/ 13124 h 118678"/>
                  <a:gd name="connsiteX3" fmla="*/ 77456 w 169349"/>
                  <a:gd name="connsiteY3" fmla="*/ 13865 h 118678"/>
                  <a:gd name="connsiteX4" fmla="*/ 70388 w 169349"/>
                  <a:gd name="connsiteY4" fmla="*/ 23041 h 118678"/>
                  <a:gd name="connsiteX5" fmla="*/ 76487 w 169349"/>
                  <a:gd name="connsiteY5" fmla="*/ 31078 h 118678"/>
                  <a:gd name="connsiteX6" fmla="*/ 100824 w 169349"/>
                  <a:gd name="connsiteY6" fmla="*/ 37176 h 118678"/>
                  <a:gd name="connsiteX7" fmla="*/ 131772 w 169349"/>
                  <a:gd name="connsiteY7" fmla="*/ 31078 h 118678"/>
                  <a:gd name="connsiteX8" fmla="*/ 139637 w 169349"/>
                  <a:gd name="connsiteY8" fmla="*/ 31933 h 118678"/>
                  <a:gd name="connsiteX9" fmla="*/ 139637 w 169349"/>
                  <a:gd name="connsiteY9" fmla="*/ 45554 h 118678"/>
                  <a:gd name="connsiteX10" fmla="*/ 142829 w 169349"/>
                  <a:gd name="connsiteY10" fmla="*/ 56953 h 118678"/>
                  <a:gd name="connsiteX11" fmla="*/ 151378 w 169349"/>
                  <a:gd name="connsiteY11" fmla="*/ 61057 h 118678"/>
                  <a:gd name="connsiteX12" fmla="*/ 166368 w 169349"/>
                  <a:gd name="connsiteY12" fmla="*/ 77243 h 118678"/>
                  <a:gd name="connsiteX13" fmla="*/ 169331 w 169349"/>
                  <a:gd name="connsiteY13" fmla="*/ 84140 h 118678"/>
                  <a:gd name="connsiteX14" fmla="*/ 168134 w 169349"/>
                  <a:gd name="connsiteY14" fmla="*/ 91891 h 118678"/>
                  <a:gd name="connsiteX15" fmla="*/ 165912 w 169349"/>
                  <a:gd name="connsiteY15" fmla="*/ 102264 h 118678"/>
                  <a:gd name="connsiteX16" fmla="*/ 165456 w 169349"/>
                  <a:gd name="connsiteY16" fmla="*/ 102264 h 118678"/>
                  <a:gd name="connsiteX17" fmla="*/ 150352 w 169349"/>
                  <a:gd name="connsiteY17" fmla="*/ 101580 h 118678"/>
                  <a:gd name="connsiteX18" fmla="*/ 141233 w 169349"/>
                  <a:gd name="connsiteY18" fmla="*/ 91663 h 118678"/>
                  <a:gd name="connsiteX19" fmla="*/ 124134 w 169349"/>
                  <a:gd name="connsiteY19" fmla="*/ 106083 h 118678"/>
                  <a:gd name="connsiteX20" fmla="*/ 100140 w 169349"/>
                  <a:gd name="connsiteY20" fmla="*/ 115829 h 118678"/>
                  <a:gd name="connsiteX21" fmla="*/ 97005 w 169349"/>
                  <a:gd name="connsiteY21" fmla="*/ 118679 h 118678"/>
                  <a:gd name="connsiteX22" fmla="*/ 94668 w 169349"/>
                  <a:gd name="connsiteY22" fmla="*/ 105627 h 118678"/>
                  <a:gd name="connsiteX23" fmla="*/ 91305 w 169349"/>
                  <a:gd name="connsiteY23" fmla="*/ 83684 h 118678"/>
                  <a:gd name="connsiteX24" fmla="*/ 84922 w 169349"/>
                  <a:gd name="connsiteY24" fmla="*/ 82031 h 118678"/>
                  <a:gd name="connsiteX25" fmla="*/ 84523 w 169349"/>
                  <a:gd name="connsiteY25" fmla="*/ 74109 h 118678"/>
                  <a:gd name="connsiteX26" fmla="*/ 81046 w 169349"/>
                  <a:gd name="connsiteY26" fmla="*/ 67497 h 118678"/>
                  <a:gd name="connsiteX27" fmla="*/ 75347 w 169349"/>
                  <a:gd name="connsiteY27" fmla="*/ 70518 h 118678"/>
                  <a:gd name="connsiteX28" fmla="*/ 74321 w 169349"/>
                  <a:gd name="connsiteY28" fmla="*/ 77471 h 118678"/>
                  <a:gd name="connsiteX29" fmla="*/ 66627 w 169349"/>
                  <a:gd name="connsiteY29" fmla="*/ 79466 h 118678"/>
                  <a:gd name="connsiteX30" fmla="*/ 60927 w 169349"/>
                  <a:gd name="connsiteY30" fmla="*/ 86021 h 118678"/>
                  <a:gd name="connsiteX31" fmla="*/ 51694 w 169349"/>
                  <a:gd name="connsiteY31" fmla="*/ 90523 h 118678"/>
                  <a:gd name="connsiteX32" fmla="*/ 50440 w 169349"/>
                  <a:gd name="connsiteY32" fmla="*/ 94000 h 118678"/>
                  <a:gd name="connsiteX33" fmla="*/ 45083 w 169349"/>
                  <a:gd name="connsiteY33" fmla="*/ 98445 h 118678"/>
                  <a:gd name="connsiteX34" fmla="*/ 16585 w 169349"/>
                  <a:gd name="connsiteY34" fmla="*/ 110129 h 118678"/>
                  <a:gd name="connsiteX35" fmla="*/ 9347 w 169349"/>
                  <a:gd name="connsiteY35" fmla="*/ 98331 h 118678"/>
                  <a:gd name="connsiteX36" fmla="*/ 1368 w 169349"/>
                  <a:gd name="connsiteY36" fmla="*/ 99300 h 118678"/>
                  <a:gd name="connsiteX37" fmla="*/ 0 w 169349"/>
                  <a:gd name="connsiteY37" fmla="*/ 98388 h 118678"/>
                  <a:gd name="connsiteX38" fmla="*/ 11399 w 169349"/>
                  <a:gd name="connsiteY38" fmla="*/ 87274 h 118678"/>
                  <a:gd name="connsiteX39" fmla="*/ 18352 w 169349"/>
                  <a:gd name="connsiteY39" fmla="*/ 73767 h 118678"/>
                  <a:gd name="connsiteX40" fmla="*/ 14419 w 169349"/>
                  <a:gd name="connsiteY40" fmla="*/ 67212 h 118678"/>
                  <a:gd name="connsiteX41" fmla="*/ 10373 w 169349"/>
                  <a:gd name="connsiteY41" fmla="*/ 40995 h 118678"/>
                  <a:gd name="connsiteX42" fmla="*/ 33171 w 169349"/>
                  <a:gd name="connsiteY42" fmla="*/ 15119 h 118678"/>
                  <a:gd name="connsiteX43" fmla="*/ 45938 w 169349"/>
                  <a:gd name="connsiteY43" fmla="*/ 5373 h 118678"/>
                  <a:gd name="connsiteX44" fmla="*/ 52435 w 169349"/>
                  <a:gd name="connsiteY44" fmla="*/ 1269 h 118678"/>
                  <a:gd name="connsiteX45" fmla="*/ 77513 w 169349"/>
                  <a:gd name="connsiteY45" fmla="*/ 4974 h 1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9349" h="118678">
                    <a:moveTo>
                      <a:pt x="77513" y="4974"/>
                    </a:moveTo>
                    <a:cubicBezTo>
                      <a:pt x="86854" y="8422"/>
                      <a:pt x="96606" y="10628"/>
                      <a:pt x="106523" y="11528"/>
                    </a:cubicBezTo>
                    <a:cubicBezTo>
                      <a:pt x="101086" y="12879"/>
                      <a:pt x="95477" y="13421"/>
                      <a:pt x="89880" y="13124"/>
                    </a:cubicBezTo>
                    <a:cubicBezTo>
                      <a:pt x="85726" y="12628"/>
                      <a:pt x="81519" y="12879"/>
                      <a:pt x="77456" y="13865"/>
                    </a:cubicBezTo>
                    <a:cubicBezTo>
                      <a:pt x="73318" y="15005"/>
                      <a:pt x="70440" y="18750"/>
                      <a:pt x="70388" y="23041"/>
                    </a:cubicBezTo>
                    <a:cubicBezTo>
                      <a:pt x="71124" y="26495"/>
                      <a:pt x="73358" y="29442"/>
                      <a:pt x="76487" y="31078"/>
                    </a:cubicBezTo>
                    <a:cubicBezTo>
                      <a:pt x="83719" y="35706"/>
                      <a:pt x="92263" y="37849"/>
                      <a:pt x="100824" y="37176"/>
                    </a:cubicBezTo>
                    <a:cubicBezTo>
                      <a:pt x="111311" y="36207"/>
                      <a:pt x="121228" y="31021"/>
                      <a:pt x="131772" y="31078"/>
                    </a:cubicBezTo>
                    <a:cubicBezTo>
                      <a:pt x="134416" y="31106"/>
                      <a:pt x="137049" y="31391"/>
                      <a:pt x="139637" y="31933"/>
                    </a:cubicBezTo>
                    <a:lnTo>
                      <a:pt x="139637" y="45554"/>
                    </a:lnTo>
                    <a:cubicBezTo>
                      <a:pt x="139227" y="49618"/>
                      <a:pt x="140367" y="53687"/>
                      <a:pt x="142829" y="56953"/>
                    </a:cubicBezTo>
                    <a:cubicBezTo>
                      <a:pt x="145433" y="58783"/>
                      <a:pt x="148323" y="60168"/>
                      <a:pt x="151378" y="61057"/>
                    </a:cubicBezTo>
                    <a:cubicBezTo>
                      <a:pt x="157910" y="64796"/>
                      <a:pt x="163142" y="70444"/>
                      <a:pt x="166368" y="77243"/>
                    </a:cubicBezTo>
                    <a:cubicBezTo>
                      <a:pt x="167838" y="79301"/>
                      <a:pt x="168852" y="81655"/>
                      <a:pt x="169331" y="84140"/>
                    </a:cubicBezTo>
                    <a:cubicBezTo>
                      <a:pt x="169445" y="86779"/>
                      <a:pt x="169041" y="89412"/>
                      <a:pt x="168134" y="91891"/>
                    </a:cubicBezTo>
                    <a:cubicBezTo>
                      <a:pt x="167200" y="95305"/>
                      <a:pt x="166453" y="98765"/>
                      <a:pt x="165912" y="102264"/>
                    </a:cubicBezTo>
                    <a:lnTo>
                      <a:pt x="165456" y="102264"/>
                    </a:lnTo>
                    <a:cubicBezTo>
                      <a:pt x="160554" y="101067"/>
                      <a:pt x="155368" y="102264"/>
                      <a:pt x="150352" y="101580"/>
                    </a:cubicBezTo>
                    <a:cubicBezTo>
                      <a:pt x="145337" y="100896"/>
                      <a:pt x="139979" y="96565"/>
                      <a:pt x="141233" y="91663"/>
                    </a:cubicBezTo>
                    <a:cubicBezTo>
                      <a:pt x="133539" y="89212"/>
                      <a:pt x="129834" y="100611"/>
                      <a:pt x="124134" y="106083"/>
                    </a:cubicBezTo>
                    <a:cubicBezTo>
                      <a:pt x="118435" y="111554"/>
                      <a:pt x="107378" y="110927"/>
                      <a:pt x="100140" y="115829"/>
                    </a:cubicBezTo>
                    <a:cubicBezTo>
                      <a:pt x="98988" y="116655"/>
                      <a:pt x="97940" y="117613"/>
                      <a:pt x="97005" y="118679"/>
                    </a:cubicBezTo>
                    <a:cubicBezTo>
                      <a:pt x="95688" y="114444"/>
                      <a:pt x="94908" y="110055"/>
                      <a:pt x="94668" y="105627"/>
                    </a:cubicBezTo>
                    <a:cubicBezTo>
                      <a:pt x="94326" y="98103"/>
                      <a:pt x="95352" y="90010"/>
                      <a:pt x="91305" y="83684"/>
                    </a:cubicBezTo>
                    <a:cubicBezTo>
                      <a:pt x="89767" y="85907"/>
                      <a:pt x="86005" y="84482"/>
                      <a:pt x="84922" y="82031"/>
                    </a:cubicBezTo>
                    <a:cubicBezTo>
                      <a:pt x="84215" y="79449"/>
                      <a:pt x="84078" y="76747"/>
                      <a:pt x="84523" y="74109"/>
                    </a:cubicBezTo>
                    <a:cubicBezTo>
                      <a:pt x="84523" y="71430"/>
                      <a:pt x="83611" y="68409"/>
                      <a:pt x="81046" y="67497"/>
                    </a:cubicBezTo>
                    <a:cubicBezTo>
                      <a:pt x="78675" y="67058"/>
                      <a:pt x="76316" y="68307"/>
                      <a:pt x="75347" y="70518"/>
                    </a:cubicBezTo>
                    <a:cubicBezTo>
                      <a:pt x="74486" y="72729"/>
                      <a:pt x="74139" y="75106"/>
                      <a:pt x="74321" y="77471"/>
                    </a:cubicBezTo>
                    <a:cubicBezTo>
                      <a:pt x="71984" y="75648"/>
                      <a:pt x="68622" y="77471"/>
                      <a:pt x="66627" y="79466"/>
                    </a:cubicBezTo>
                    <a:cubicBezTo>
                      <a:pt x="64632" y="81461"/>
                      <a:pt x="63378" y="84539"/>
                      <a:pt x="60927" y="86021"/>
                    </a:cubicBezTo>
                    <a:cubicBezTo>
                      <a:pt x="58477" y="87503"/>
                      <a:pt x="53461" y="87445"/>
                      <a:pt x="51694" y="90523"/>
                    </a:cubicBezTo>
                    <a:cubicBezTo>
                      <a:pt x="51210" y="91657"/>
                      <a:pt x="50788" y="92820"/>
                      <a:pt x="50440" y="94000"/>
                    </a:cubicBezTo>
                    <a:cubicBezTo>
                      <a:pt x="49192" y="96029"/>
                      <a:pt x="47306" y="97591"/>
                      <a:pt x="45083" y="98445"/>
                    </a:cubicBezTo>
                    <a:cubicBezTo>
                      <a:pt x="36072" y="103438"/>
                      <a:pt x="26508" y="107359"/>
                      <a:pt x="16585" y="110129"/>
                    </a:cubicBezTo>
                    <a:cubicBezTo>
                      <a:pt x="16243" y="105057"/>
                      <a:pt x="14477" y="98445"/>
                      <a:pt x="9347" y="98331"/>
                    </a:cubicBezTo>
                    <a:cubicBezTo>
                      <a:pt x="6668" y="98331"/>
                      <a:pt x="3933" y="100269"/>
                      <a:pt x="1368" y="99300"/>
                    </a:cubicBezTo>
                    <a:cubicBezTo>
                      <a:pt x="872" y="99067"/>
                      <a:pt x="410" y="98759"/>
                      <a:pt x="0" y="98388"/>
                    </a:cubicBezTo>
                    <a:cubicBezTo>
                      <a:pt x="2690" y="93698"/>
                      <a:pt x="6640" y="89845"/>
                      <a:pt x="11399" y="87274"/>
                    </a:cubicBezTo>
                    <a:cubicBezTo>
                      <a:pt x="15674" y="83969"/>
                      <a:pt x="19777" y="78953"/>
                      <a:pt x="18352" y="73767"/>
                    </a:cubicBezTo>
                    <a:cubicBezTo>
                      <a:pt x="17457" y="71362"/>
                      <a:pt x="16124" y="69139"/>
                      <a:pt x="14419" y="67212"/>
                    </a:cubicBezTo>
                    <a:cubicBezTo>
                      <a:pt x="9005" y="59603"/>
                      <a:pt x="7506" y="49880"/>
                      <a:pt x="10373" y="40995"/>
                    </a:cubicBezTo>
                    <a:cubicBezTo>
                      <a:pt x="14020" y="29938"/>
                      <a:pt x="23824" y="22186"/>
                      <a:pt x="33171" y="15119"/>
                    </a:cubicBezTo>
                    <a:lnTo>
                      <a:pt x="45938" y="5373"/>
                    </a:lnTo>
                    <a:cubicBezTo>
                      <a:pt x="47932" y="3749"/>
                      <a:pt x="50110" y="2369"/>
                      <a:pt x="52435" y="1269"/>
                    </a:cubicBezTo>
                    <a:cubicBezTo>
                      <a:pt x="60243" y="-2093"/>
                      <a:pt x="69305" y="1953"/>
                      <a:pt x="77513" y="49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7" name="Freihandform: Form 393">
                <a:extLst>
                  <a:ext uri="{FF2B5EF4-FFF2-40B4-BE49-F238E27FC236}">
                    <a16:creationId xmlns:a16="http://schemas.microsoft.com/office/drawing/2014/main" id="{0E5D1DF7-B50A-60D0-680E-DAB39B67AC3A}"/>
                  </a:ext>
                </a:extLst>
              </p:cNvPr>
              <p:cNvSpPr/>
              <p:nvPr/>
            </p:nvSpPr>
            <p:spPr>
              <a:xfrm>
                <a:off x="4986680" y="3100658"/>
                <a:ext cx="377903" cy="232595"/>
              </a:xfrm>
              <a:custGeom>
                <a:avLst/>
                <a:gdLst>
                  <a:gd name="connsiteX0" fmla="*/ 323466 w 377903"/>
                  <a:gd name="connsiteY0" fmla="*/ 101793 h 232595"/>
                  <a:gd name="connsiteX1" fmla="*/ 334010 w 377903"/>
                  <a:gd name="connsiteY1" fmla="*/ 109829 h 232595"/>
                  <a:gd name="connsiteX2" fmla="*/ 351109 w 377903"/>
                  <a:gd name="connsiteY2" fmla="*/ 111026 h 232595"/>
                  <a:gd name="connsiteX3" fmla="*/ 360684 w 377903"/>
                  <a:gd name="connsiteY3" fmla="*/ 117010 h 232595"/>
                  <a:gd name="connsiteX4" fmla="*/ 371399 w 377903"/>
                  <a:gd name="connsiteY4" fmla="*/ 118834 h 232595"/>
                  <a:gd name="connsiteX5" fmla="*/ 375958 w 377903"/>
                  <a:gd name="connsiteY5" fmla="*/ 130746 h 232595"/>
                  <a:gd name="connsiteX6" fmla="*/ 377896 w 377903"/>
                  <a:gd name="connsiteY6" fmla="*/ 133539 h 232595"/>
                  <a:gd name="connsiteX7" fmla="*/ 377326 w 377903"/>
                  <a:gd name="connsiteY7" fmla="*/ 134964 h 232595"/>
                  <a:gd name="connsiteX8" fmla="*/ 360968 w 377903"/>
                  <a:gd name="connsiteY8" fmla="*/ 145736 h 232595"/>
                  <a:gd name="connsiteX9" fmla="*/ 331958 w 377903"/>
                  <a:gd name="connsiteY9" fmla="*/ 139181 h 232595"/>
                  <a:gd name="connsiteX10" fmla="*/ 306596 w 377903"/>
                  <a:gd name="connsiteY10" fmla="*/ 135477 h 232595"/>
                  <a:gd name="connsiteX11" fmla="*/ 300098 w 377903"/>
                  <a:gd name="connsiteY11" fmla="*/ 139580 h 232595"/>
                  <a:gd name="connsiteX12" fmla="*/ 287331 w 377903"/>
                  <a:gd name="connsiteY12" fmla="*/ 149326 h 232595"/>
                  <a:gd name="connsiteX13" fmla="*/ 264533 w 377903"/>
                  <a:gd name="connsiteY13" fmla="*/ 175202 h 232595"/>
                  <a:gd name="connsiteX14" fmla="*/ 268580 w 377903"/>
                  <a:gd name="connsiteY14" fmla="*/ 201419 h 232595"/>
                  <a:gd name="connsiteX15" fmla="*/ 272513 w 377903"/>
                  <a:gd name="connsiteY15" fmla="*/ 207974 h 232595"/>
                  <a:gd name="connsiteX16" fmla="*/ 265559 w 377903"/>
                  <a:gd name="connsiteY16" fmla="*/ 221482 h 232595"/>
                  <a:gd name="connsiteX17" fmla="*/ 254160 w 377903"/>
                  <a:gd name="connsiteY17" fmla="*/ 232595 h 232595"/>
                  <a:gd name="connsiteX18" fmla="*/ 251482 w 377903"/>
                  <a:gd name="connsiteY18" fmla="*/ 228378 h 232595"/>
                  <a:gd name="connsiteX19" fmla="*/ 238772 w 377903"/>
                  <a:gd name="connsiteY19" fmla="*/ 221767 h 232595"/>
                  <a:gd name="connsiteX20" fmla="*/ 234212 w 377903"/>
                  <a:gd name="connsiteY20" fmla="*/ 221767 h 232595"/>
                  <a:gd name="connsiteX21" fmla="*/ 234212 w 377903"/>
                  <a:gd name="connsiteY21" fmla="*/ 220798 h 232595"/>
                  <a:gd name="connsiteX22" fmla="*/ 212896 w 377903"/>
                  <a:gd name="connsiteY22" fmla="*/ 199311 h 232595"/>
                  <a:gd name="connsiteX23" fmla="*/ 184399 w 377903"/>
                  <a:gd name="connsiteY23" fmla="*/ 185974 h 232595"/>
                  <a:gd name="connsiteX24" fmla="*/ 167300 w 377903"/>
                  <a:gd name="connsiteY24" fmla="*/ 170357 h 232595"/>
                  <a:gd name="connsiteX25" fmla="*/ 145301 w 377903"/>
                  <a:gd name="connsiteY25" fmla="*/ 153772 h 232595"/>
                  <a:gd name="connsiteX26" fmla="*/ 140855 w 377903"/>
                  <a:gd name="connsiteY26" fmla="*/ 141518 h 232595"/>
                  <a:gd name="connsiteX27" fmla="*/ 132705 w 377903"/>
                  <a:gd name="connsiteY27" fmla="*/ 135819 h 232595"/>
                  <a:gd name="connsiteX28" fmla="*/ 123699 w 377903"/>
                  <a:gd name="connsiteY28" fmla="*/ 120772 h 232595"/>
                  <a:gd name="connsiteX29" fmla="*/ 97539 w 377903"/>
                  <a:gd name="connsiteY29" fmla="*/ 117352 h 232595"/>
                  <a:gd name="connsiteX30" fmla="*/ 86824 w 377903"/>
                  <a:gd name="connsiteY30" fmla="*/ 91534 h 232595"/>
                  <a:gd name="connsiteX31" fmla="*/ 61404 w 377903"/>
                  <a:gd name="connsiteY31" fmla="*/ 78938 h 232595"/>
                  <a:gd name="connsiteX32" fmla="*/ 43907 w 377903"/>
                  <a:gd name="connsiteY32" fmla="*/ 84124 h 232595"/>
                  <a:gd name="connsiteX33" fmla="*/ 16207 w 377903"/>
                  <a:gd name="connsiteY33" fmla="*/ 109373 h 232595"/>
                  <a:gd name="connsiteX34" fmla="*/ 6689 w 377903"/>
                  <a:gd name="connsiteY34" fmla="*/ 116212 h 232595"/>
                  <a:gd name="connsiteX35" fmla="*/ 21 w 377903"/>
                  <a:gd name="connsiteY35" fmla="*/ 108444 h 232595"/>
                  <a:gd name="connsiteX36" fmla="*/ 1332 w 377903"/>
                  <a:gd name="connsiteY36" fmla="*/ 104813 h 232595"/>
                  <a:gd name="connsiteX37" fmla="*/ 1674 w 377903"/>
                  <a:gd name="connsiteY37" fmla="*/ 15845 h 232595"/>
                  <a:gd name="connsiteX38" fmla="*/ 1674 w 377903"/>
                  <a:gd name="connsiteY38" fmla="*/ 13508 h 232595"/>
                  <a:gd name="connsiteX39" fmla="*/ 24472 w 377903"/>
                  <a:gd name="connsiteY39" fmla="*/ 570 h 232595"/>
                  <a:gd name="connsiteX40" fmla="*/ 27037 w 377903"/>
                  <a:gd name="connsiteY40" fmla="*/ 0 h 232595"/>
                  <a:gd name="connsiteX41" fmla="*/ 27891 w 377903"/>
                  <a:gd name="connsiteY41" fmla="*/ 3135 h 232595"/>
                  <a:gd name="connsiteX42" fmla="*/ 44192 w 377903"/>
                  <a:gd name="connsiteY42" fmla="*/ 6555 h 232595"/>
                  <a:gd name="connsiteX43" fmla="*/ 49036 w 377903"/>
                  <a:gd name="connsiteY43" fmla="*/ 16529 h 232595"/>
                  <a:gd name="connsiteX44" fmla="*/ 50917 w 377903"/>
                  <a:gd name="connsiteY44" fmla="*/ 28554 h 232595"/>
                  <a:gd name="connsiteX45" fmla="*/ 54850 w 377903"/>
                  <a:gd name="connsiteY45" fmla="*/ 17155 h 232595"/>
                  <a:gd name="connsiteX46" fmla="*/ 58042 w 377903"/>
                  <a:gd name="connsiteY46" fmla="*/ 5187 h 232595"/>
                  <a:gd name="connsiteX47" fmla="*/ 68010 w 377903"/>
                  <a:gd name="connsiteY47" fmla="*/ 3249 h 232595"/>
                  <a:gd name="connsiteX48" fmla="*/ 68813 w 377903"/>
                  <a:gd name="connsiteY48" fmla="*/ 3876 h 232595"/>
                  <a:gd name="connsiteX49" fmla="*/ 67674 w 377903"/>
                  <a:gd name="connsiteY49" fmla="*/ 23596 h 232595"/>
                  <a:gd name="connsiteX50" fmla="*/ 70409 w 377903"/>
                  <a:gd name="connsiteY50" fmla="*/ 42518 h 232595"/>
                  <a:gd name="connsiteX51" fmla="*/ 85382 w 377903"/>
                  <a:gd name="connsiteY51" fmla="*/ 40774 h 232595"/>
                  <a:gd name="connsiteX52" fmla="*/ 85855 w 377903"/>
                  <a:gd name="connsiteY52" fmla="*/ 40124 h 232595"/>
                  <a:gd name="connsiteX53" fmla="*/ 88420 w 377903"/>
                  <a:gd name="connsiteY53" fmla="*/ 36078 h 232595"/>
                  <a:gd name="connsiteX54" fmla="*/ 96228 w 377903"/>
                  <a:gd name="connsiteY54" fmla="*/ 34197 h 232595"/>
                  <a:gd name="connsiteX55" fmla="*/ 101928 w 377903"/>
                  <a:gd name="connsiteY55" fmla="*/ 28497 h 232595"/>
                  <a:gd name="connsiteX56" fmla="*/ 103010 w 377903"/>
                  <a:gd name="connsiteY56" fmla="*/ 26731 h 232595"/>
                  <a:gd name="connsiteX57" fmla="*/ 132192 w 377903"/>
                  <a:gd name="connsiteY57" fmla="*/ 49528 h 232595"/>
                  <a:gd name="connsiteX58" fmla="*/ 181264 w 377903"/>
                  <a:gd name="connsiteY58" fmla="*/ 51238 h 232595"/>
                  <a:gd name="connsiteX59" fmla="*/ 210388 w 377903"/>
                  <a:gd name="connsiteY59" fmla="*/ 59218 h 232595"/>
                  <a:gd name="connsiteX60" fmla="*/ 217912 w 377903"/>
                  <a:gd name="connsiteY60" fmla="*/ 74606 h 232595"/>
                  <a:gd name="connsiteX61" fmla="*/ 237347 w 377903"/>
                  <a:gd name="connsiteY61" fmla="*/ 110285 h 232595"/>
                  <a:gd name="connsiteX62" fmla="*/ 247036 w 377903"/>
                  <a:gd name="connsiteY62" fmla="*/ 120544 h 232595"/>
                  <a:gd name="connsiteX63" fmla="*/ 264134 w 377903"/>
                  <a:gd name="connsiteY63" fmla="*/ 125787 h 232595"/>
                  <a:gd name="connsiteX64" fmla="*/ 268751 w 377903"/>
                  <a:gd name="connsiteY64" fmla="*/ 130860 h 232595"/>
                  <a:gd name="connsiteX65" fmla="*/ 283684 w 377903"/>
                  <a:gd name="connsiteY65" fmla="*/ 124078 h 232595"/>
                  <a:gd name="connsiteX66" fmla="*/ 323466 w 377903"/>
                  <a:gd name="connsiteY66" fmla="*/ 101793 h 23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77903" h="232595">
                    <a:moveTo>
                      <a:pt x="323466" y="101793"/>
                    </a:moveTo>
                    <a:cubicBezTo>
                      <a:pt x="325056" y="106341"/>
                      <a:pt x="329205" y="109504"/>
                      <a:pt x="334010" y="109829"/>
                    </a:cubicBezTo>
                    <a:cubicBezTo>
                      <a:pt x="339738" y="109527"/>
                      <a:pt x="345478" y="109926"/>
                      <a:pt x="351109" y="111026"/>
                    </a:cubicBezTo>
                    <a:cubicBezTo>
                      <a:pt x="354494" y="112690"/>
                      <a:pt x="357703" y="114696"/>
                      <a:pt x="360684" y="117010"/>
                    </a:cubicBezTo>
                    <a:cubicBezTo>
                      <a:pt x="363716" y="119393"/>
                      <a:pt x="367751" y="120077"/>
                      <a:pt x="371399" y="118834"/>
                    </a:cubicBezTo>
                    <a:cubicBezTo>
                      <a:pt x="371456" y="123223"/>
                      <a:pt x="373074" y="127440"/>
                      <a:pt x="375958" y="130746"/>
                    </a:cubicBezTo>
                    <a:cubicBezTo>
                      <a:pt x="376813" y="131544"/>
                      <a:pt x="378010" y="132342"/>
                      <a:pt x="377896" y="133539"/>
                    </a:cubicBezTo>
                    <a:cubicBezTo>
                      <a:pt x="377845" y="134057"/>
                      <a:pt x="377645" y="134553"/>
                      <a:pt x="377326" y="134964"/>
                    </a:cubicBezTo>
                    <a:cubicBezTo>
                      <a:pt x="373439" y="140498"/>
                      <a:pt x="367592" y="144351"/>
                      <a:pt x="360968" y="145736"/>
                    </a:cubicBezTo>
                    <a:cubicBezTo>
                      <a:pt x="351051" y="144835"/>
                      <a:pt x="341300" y="142629"/>
                      <a:pt x="331958" y="139181"/>
                    </a:cubicBezTo>
                    <a:cubicBezTo>
                      <a:pt x="323751" y="136160"/>
                      <a:pt x="314860" y="132114"/>
                      <a:pt x="306596" y="135477"/>
                    </a:cubicBezTo>
                    <a:cubicBezTo>
                      <a:pt x="304270" y="136577"/>
                      <a:pt x="302093" y="137956"/>
                      <a:pt x="300098" y="139580"/>
                    </a:cubicBezTo>
                    <a:lnTo>
                      <a:pt x="287331" y="149326"/>
                    </a:lnTo>
                    <a:cubicBezTo>
                      <a:pt x="278041" y="156394"/>
                      <a:pt x="268238" y="164145"/>
                      <a:pt x="264533" y="175202"/>
                    </a:cubicBezTo>
                    <a:cubicBezTo>
                      <a:pt x="261667" y="184087"/>
                      <a:pt x="263166" y="193811"/>
                      <a:pt x="268580" y="201419"/>
                    </a:cubicBezTo>
                    <a:cubicBezTo>
                      <a:pt x="270284" y="203346"/>
                      <a:pt x="271618" y="205569"/>
                      <a:pt x="272513" y="207974"/>
                    </a:cubicBezTo>
                    <a:cubicBezTo>
                      <a:pt x="273938" y="213160"/>
                      <a:pt x="269834" y="218176"/>
                      <a:pt x="265559" y="221482"/>
                    </a:cubicBezTo>
                    <a:cubicBezTo>
                      <a:pt x="260801" y="224052"/>
                      <a:pt x="256850" y="227905"/>
                      <a:pt x="254160" y="232595"/>
                    </a:cubicBezTo>
                    <a:cubicBezTo>
                      <a:pt x="253106" y="231302"/>
                      <a:pt x="252205" y="229883"/>
                      <a:pt x="251482" y="228378"/>
                    </a:cubicBezTo>
                    <a:cubicBezTo>
                      <a:pt x="248541" y="224274"/>
                      <a:pt x="243822" y="221818"/>
                      <a:pt x="238772" y="221767"/>
                    </a:cubicBezTo>
                    <a:cubicBezTo>
                      <a:pt x="237256" y="221653"/>
                      <a:pt x="235728" y="221653"/>
                      <a:pt x="234212" y="221767"/>
                    </a:cubicBezTo>
                    <a:cubicBezTo>
                      <a:pt x="234212" y="221425"/>
                      <a:pt x="234212" y="221083"/>
                      <a:pt x="234212" y="220798"/>
                    </a:cubicBezTo>
                    <a:cubicBezTo>
                      <a:pt x="232103" y="210539"/>
                      <a:pt x="222813" y="203699"/>
                      <a:pt x="212896" y="199311"/>
                    </a:cubicBezTo>
                    <a:cubicBezTo>
                      <a:pt x="202979" y="194922"/>
                      <a:pt x="192777" y="192414"/>
                      <a:pt x="184399" y="185974"/>
                    </a:cubicBezTo>
                    <a:cubicBezTo>
                      <a:pt x="178300" y="181243"/>
                      <a:pt x="173741" y="174575"/>
                      <a:pt x="167300" y="170357"/>
                    </a:cubicBezTo>
                    <a:cubicBezTo>
                      <a:pt x="159606" y="165000"/>
                      <a:pt x="148891" y="162435"/>
                      <a:pt x="145301" y="153772"/>
                    </a:cubicBezTo>
                    <a:cubicBezTo>
                      <a:pt x="143591" y="149725"/>
                      <a:pt x="143762" y="144824"/>
                      <a:pt x="140855" y="141518"/>
                    </a:cubicBezTo>
                    <a:cubicBezTo>
                      <a:pt x="137948" y="138212"/>
                      <a:pt x="135155" y="138098"/>
                      <a:pt x="132705" y="135819"/>
                    </a:cubicBezTo>
                    <a:cubicBezTo>
                      <a:pt x="128373" y="131829"/>
                      <a:pt x="128202" y="124420"/>
                      <a:pt x="123699" y="120772"/>
                    </a:cubicBezTo>
                    <a:cubicBezTo>
                      <a:pt x="116860" y="115072"/>
                      <a:pt x="105746" y="120772"/>
                      <a:pt x="97539" y="117352"/>
                    </a:cubicBezTo>
                    <a:cubicBezTo>
                      <a:pt x="94005" y="108763"/>
                      <a:pt x="90432" y="100157"/>
                      <a:pt x="86824" y="91534"/>
                    </a:cubicBezTo>
                    <a:cubicBezTo>
                      <a:pt x="77591" y="95010"/>
                      <a:pt x="70923" y="81446"/>
                      <a:pt x="61404" y="78938"/>
                    </a:cubicBezTo>
                    <a:cubicBezTo>
                      <a:pt x="55101" y="78106"/>
                      <a:pt x="48740" y="79992"/>
                      <a:pt x="43907" y="84124"/>
                    </a:cubicBezTo>
                    <a:cubicBezTo>
                      <a:pt x="33460" y="91106"/>
                      <a:pt x="24124" y="99615"/>
                      <a:pt x="16207" y="109373"/>
                    </a:cubicBezTo>
                    <a:cubicBezTo>
                      <a:pt x="13643" y="112508"/>
                      <a:pt x="10508" y="116041"/>
                      <a:pt x="6689" y="116212"/>
                    </a:cubicBezTo>
                    <a:cubicBezTo>
                      <a:pt x="2705" y="115910"/>
                      <a:pt x="-281" y="112428"/>
                      <a:pt x="21" y="108444"/>
                    </a:cubicBezTo>
                    <a:cubicBezTo>
                      <a:pt x="124" y="107139"/>
                      <a:pt x="574" y="105885"/>
                      <a:pt x="1332" y="104813"/>
                    </a:cubicBezTo>
                    <a:lnTo>
                      <a:pt x="1674" y="15845"/>
                    </a:lnTo>
                    <a:lnTo>
                      <a:pt x="1674" y="13508"/>
                    </a:lnTo>
                    <a:cubicBezTo>
                      <a:pt x="8040" y="7318"/>
                      <a:pt x="15888" y="2861"/>
                      <a:pt x="24472" y="570"/>
                    </a:cubicBezTo>
                    <a:lnTo>
                      <a:pt x="27037" y="0"/>
                    </a:lnTo>
                    <a:cubicBezTo>
                      <a:pt x="26968" y="1111"/>
                      <a:pt x="27264" y="2211"/>
                      <a:pt x="27891" y="3135"/>
                    </a:cubicBezTo>
                    <a:cubicBezTo>
                      <a:pt x="31254" y="7751"/>
                      <a:pt x="39290" y="3705"/>
                      <a:pt x="44192" y="6555"/>
                    </a:cubicBezTo>
                    <a:cubicBezTo>
                      <a:pt x="47213" y="8988"/>
                      <a:pt x="48991" y="12647"/>
                      <a:pt x="49036" y="16529"/>
                    </a:cubicBezTo>
                    <a:lnTo>
                      <a:pt x="50917" y="28554"/>
                    </a:lnTo>
                    <a:cubicBezTo>
                      <a:pt x="53493" y="25317"/>
                      <a:pt x="54884" y="21293"/>
                      <a:pt x="54850" y="17155"/>
                    </a:cubicBezTo>
                    <a:cubicBezTo>
                      <a:pt x="54810" y="12949"/>
                      <a:pt x="55910" y="8812"/>
                      <a:pt x="58042" y="5187"/>
                    </a:cubicBezTo>
                    <a:cubicBezTo>
                      <a:pt x="60259" y="1898"/>
                      <a:pt x="64721" y="1032"/>
                      <a:pt x="68010" y="3249"/>
                    </a:cubicBezTo>
                    <a:cubicBezTo>
                      <a:pt x="68295" y="3437"/>
                      <a:pt x="68563" y="3648"/>
                      <a:pt x="68813" y="3876"/>
                    </a:cubicBezTo>
                    <a:cubicBezTo>
                      <a:pt x="71663" y="9974"/>
                      <a:pt x="69327" y="17042"/>
                      <a:pt x="67674" y="23596"/>
                    </a:cubicBezTo>
                    <a:cubicBezTo>
                      <a:pt x="66021" y="30150"/>
                      <a:pt x="65394" y="38016"/>
                      <a:pt x="70409" y="42518"/>
                    </a:cubicBezTo>
                    <a:cubicBezTo>
                      <a:pt x="75026" y="46172"/>
                      <a:pt x="81729" y="45391"/>
                      <a:pt x="85382" y="40774"/>
                    </a:cubicBezTo>
                    <a:cubicBezTo>
                      <a:pt x="85547" y="40563"/>
                      <a:pt x="85707" y="40347"/>
                      <a:pt x="85855" y="40124"/>
                    </a:cubicBezTo>
                    <a:cubicBezTo>
                      <a:pt x="86465" y="38631"/>
                      <a:pt x="87331" y="37263"/>
                      <a:pt x="88420" y="36078"/>
                    </a:cubicBezTo>
                    <a:cubicBezTo>
                      <a:pt x="90472" y="34368"/>
                      <a:pt x="93663" y="35052"/>
                      <a:pt x="96228" y="34197"/>
                    </a:cubicBezTo>
                    <a:cubicBezTo>
                      <a:pt x="98685" y="32954"/>
                      <a:pt x="100685" y="30954"/>
                      <a:pt x="101928" y="28497"/>
                    </a:cubicBezTo>
                    <a:cubicBezTo>
                      <a:pt x="102326" y="27928"/>
                      <a:pt x="102668" y="27301"/>
                      <a:pt x="103010" y="26731"/>
                    </a:cubicBezTo>
                    <a:cubicBezTo>
                      <a:pt x="110442" y="36881"/>
                      <a:pt x="120542" y="44775"/>
                      <a:pt x="132192" y="49528"/>
                    </a:cubicBezTo>
                    <a:cubicBezTo>
                      <a:pt x="147694" y="55228"/>
                      <a:pt x="164793" y="52207"/>
                      <a:pt x="181264" y="51238"/>
                    </a:cubicBezTo>
                    <a:cubicBezTo>
                      <a:pt x="191637" y="50668"/>
                      <a:pt x="203435" y="51238"/>
                      <a:pt x="210388" y="59218"/>
                    </a:cubicBezTo>
                    <a:cubicBezTo>
                      <a:pt x="213802" y="63851"/>
                      <a:pt x="216350" y="69066"/>
                      <a:pt x="217912" y="74606"/>
                    </a:cubicBezTo>
                    <a:cubicBezTo>
                      <a:pt x="223133" y="87145"/>
                      <a:pt x="229641" y="99102"/>
                      <a:pt x="237347" y="110285"/>
                    </a:cubicBezTo>
                    <a:cubicBezTo>
                      <a:pt x="239530" y="114559"/>
                      <a:pt x="242893" y="118122"/>
                      <a:pt x="247036" y="120544"/>
                    </a:cubicBezTo>
                    <a:cubicBezTo>
                      <a:pt x="252736" y="123052"/>
                      <a:pt x="259689" y="121627"/>
                      <a:pt x="264134" y="125787"/>
                    </a:cubicBezTo>
                    <a:cubicBezTo>
                      <a:pt x="265788" y="127383"/>
                      <a:pt x="266813" y="129606"/>
                      <a:pt x="268751" y="130860"/>
                    </a:cubicBezTo>
                    <a:cubicBezTo>
                      <a:pt x="273824" y="134109"/>
                      <a:pt x="279694" y="128580"/>
                      <a:pt x="283684" y="124078"/>
                    </a:cubicBezTo>
                    <a:cubicBezTo>
                      <a:pt x="294074" y="112405"/>
                      <a:pt x="308083" y="104557"/>
                      <a:pt x="323466" y="10179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8" name="Freihandform: Form 394">
                <a:extLst>
                  <a:ext uri="{FF2B5EF4-FFF2-40B4-BE49-F238E27FC236}">
                    <a16:creationId xmlns:a16="http://schemas.microsoft.com/office/drawing/2014/main" id="{0C0532AB-C015-628F-A7EF-37F3D7008A3D}"/>
                  </a:ext>
                </a:extLst>
              </p:cNvPr>
              <p:cNvSpPr/>
              <p:nvPr/>
            </p:nvSpPr>
            <p:spPr>
              <a:xfrm>
                <a:off x="4904343" y="3179631"/>
                <a:ext cx="316776" cy="211224"/>
              </a:xfrm>
              <a:custGeom>
                <a:avLst/>
                <a:gdLst>
                  <a:gd name="connsiteX0" fmla="*/ 81674 w 316776"/>
                  <a:gd name="connsiteY0" fmla="*/ 35187 h 211224"/>
                  <a:gd name="connsiteX1" fmla="*/ 84067 w 316776"/>
                  <a:gd name="connsiteY1" fmla="*/ 34732 h 211224"/>
                  <a:gd name="connsiteX2" fmla="*/ 89254 w 316776"/>
                  <a:gd name="connsiteY2" fmla="*/ 37467 h 211224"/>
                  <a:gd name="connsiteX3" fmla="*/ 98772 w 316776"/>
                  <a:gd name="connsiteY3" fmla="*/ 30628 h 211224"/>
                  <a:gd name="connsiteX4" fmla="*/ 126471 w 316776"/>
                  <a:gd name="connsiteY4" fmla="*/ 5379 h 211224"/>
                  <a:gd name="connsiteX5" fmla="*/ 143969 w 316776"/>
                  <a:gd name="connsiteY5" fmla="*/ 193 h 211224"/>
                  <a:gd name="connsiteX6" fmla="*/ 169388 w 316776"/>
                  <a:gd name="connsiteY6" fmla="*/ 12789 h 211224"/>
                  <a:gd name="connsiteX7" fmla="*/ 180103 w 316776"/>
                  <a:gd name="connsiteY7" fmla="*/ 38607 h 211224"/>
                  <a:gd name="connsiteX8" fmla="*/ 206264 w 316776"/>
                  <a:gd name="connsiteY8" fmla="*/ 42027 h 211224"/>
                  <a:gd name="connsiteX9" fmla="*/ 215269 w 316776"/>
                  <a:gd name="connsiteY9" fmla="*/ 57074 h 211224"/>
                  <a:gd name="connsiteX10" fmla="*/ 223419 w 316776"/>
                  <a:gd name="connsiteY10" fmla="*/ 62773 h 211224"/>
                  <a:gd name="connsiteX11" fmla="*/ 227865 w 316776"/>
                  <a:gd name="connsiteY11" fmla="*/ 75027 h 211224"/>
                  <a:gd name="connsiteX12" fmla="*/ 249865 w 316776"/>
                  <a:gd name="connsiteY12" fmla="*/ 91612 h 211224"/>
                  <a:gd name="connsiteX13" fmla="*/ 266963 w 316776"/>
                  <a:gd name="connsiteY13" fmla="*/ 107229 h 211224"/>
                  <a:gd name="connsiteX14" fmla="*/ 295461 w 316776"/>
                  <a:gd name="connsiteY14" fmla="*/ 120566 h 211224"/>
                  <a:gd name="connsiteX15" fmla="*/ 316777 w 316776"/>
                  <a:gd name="connsiteY15" fmla="*/ 142053 h 211224"/>
                  <a:gd name="connsiteX16" fmla="*/ 316777 w 316776"/>
                  <a:gd name="connsiteY16" fmla="*/ 143022 h 211224"/>
                  <a:gd name="connsiteX17" fmla="*/ 306689 w 316776"/>
                  <a:gd name="connsiteY17" fmla="*/ 145187 h 211224"/>
                  <a:gd name="connsiteX18" fmla="*/ 290616 w 316776"/>
                  <a:gd name="connsiteY18" fmla="*/ 149633 h 211224"/>
                  <a:gd name="connsiteX19" fmla="*/ 285202 w 316776"/>
                  <a:gd name="connsiteY19" fmla="*/ 152369 h 211224"/>
                  <a:gd name="connsiteX20" fmla="*/ 282352 w 316776"/>
                  <a:gd name="connsiteY20" fmla="*/ 158695 h 211224"/>
                  <a:gd name="connsiteX21" fmla="*/ 270269 w 316776"/>
                  <a:gd name="connsiteY21" fmla="*/ 167130 h 211224"/>
                  <a:gd name="connsiteX22" fmla="*/ 270269 w 316776"/>
                  <a:gd name="connsiteY22" fmla="*/ 172317 h 211224"/>
                  <a:gd name="connsiteX23" fmla="*/ 260876 w 316776"/>
                  <a:gd name="connsiteY23" fmla="*/ 181151 h 211224"/>
                  <a:gd name="connsiteX24" fmla="*/ 257673 w 316776"/>
                  <a:gd name="connsiteY24" fmla="*/ 180467 h 211224"/>
                  <a:gd name="connsiteX25" fmla="*/ 246787 w 316776"/>
                  <a:gd name="connsiteY25" fmla="*/ 189985 h 211224"/>
                  <a:gd name="connsiteX26" fmla="*/ 234248 w 316776"/>
                  <a:gd name="connsiteY26" fmla="*/ 198078 h 211224"/>
                  <a:gd name="connsiteX27" fmla="*/ 234248 w 316776"/>
                  <a:gd name="connsiteY27" fmla="*/ 205431 h 211224"/>
                  <a:gd name="connsiteX28" fmla="*/ 230829 w 316776"/>
                  <a:gd name="connsiteY28" fmla="*/ 211130 h 211224"/>
                  <a:gd name="connsiteX29" fmla="*/ 221025 w 316776"/>
                  <a:gd name="connsiteY29" fmla="*/ 205830 h 211224"/>
                  <a:gd name="connsiteX30" fmla="*/ 214357 w 316776"/>
                  <a:gd name="connsiteY30" fmla="*/ 205830 h 211224"/>
                  <a:gd name="connsiteX31" fmla="*/ 204326 w 316776"/>
                  <a:gd name="connsiteY31" fmla="*/ 197167 h 211224"/>
                  <a:gd name="connsiteX32" fmla="*/ 195492 w 316776"/>
                  <a:gd name="connsiteY32" fmla="*/ 197850 h 211224"/>
                  <a:gd name="connsiteX33" fmla="*/ 197829 w 316776"/>
                  <a:gd name="connsiteY33" fmla="*/ 174198 h 211224"/>
                  <a:gd name="connsiteX34" fmla="*/ 189621 w 316776"/>
                  <a:gd name="connsiteY34" fmla="*/ 173628 h 211224"/>
                  <a:gd name="connsiteX35" fmla="*/ 171839 w 316776"/>
                  <a:gd name="connsiteY35" fmla="*/ 158011 h 211224"/>
                  <a:gd name="connsiteX36" fmla="*/ 154171 w 316776"/>
                  <a:gd name="connsiteY36" fmla="*/ 146897 h 211224"/>
                  <a:gd name="connsiteX37" fmla="*/ 114730 w 316776"/>
                  <a:gd name="connsiteY37" fmla="*/ 130711 h 211224"/>
                  <a:gd name="connsiteX38" fmla="*/ 105839 w 316776"/>
                  <a:gd name="connsiteY38" fmla="*/ 124099 h 211224"/>
                  <a:gd name="connsiteX39" fmla="*/ 90279 w 316776"/>
                  <a:gd name="connsiteY39" fmla="*/ 127576 h 211224"/>
                  <a:gd name="connsiteX40" fmla="*/ 76829 w 316776"/>
                  <a:gd name="connsiteY40" fmla="*/ 128830 h 211224"/>
                  <a:gd name="connsiteX41" fmla="*/ 49471 w 316776"/>
                  <a:gd name="connsiteY41" fmla="*/ 145358 h 211224"/>
                  <a:gd name="connsiteX42" fmla="*/ 34026 w 316776"/>
                  <a:gd name="connsiteY42" fmla="*/ 149405 h 211224"/>
                  <a:gd name="connsiteX43" fmla="*/ 34425 w 316776"/>
                  <a:gd name="connsiteY43" fmla="*/ 145187 h 211224"/>
                  <a:gd name="connsiteX44" fmla="*/ 34425 w 316776"/>
                  <a:gd name="connsiteY44" fmla="*/ 144389 h 211224"/>
                  <a:gd name="connsiteX45" fmla="*/ 34425 w 316776"/>
                  <a:gd name="connsiteY45" fmla="*/ 140343 h 211224"/>
                  <a:gd name="connsiteX46" fmla="*/ 33570 w 316776"/>
                  <a:gd name="connsiteY46" fmla="*/ 110193 h 211224"/>
                  <a:gd name="connsiteX47" fmla="*/ 26788 w 316776"/>
                  <a:gd name="connsiteY47" fmla="*/ 96343 h 211224"/>
                  <a:gd name="connsiteX48" fmla="*/ 18580 w 316776"/>
                  <a:gd name="connsiteY48" fmla="*/ 96343 h 211224"/>
                  <a:gd name="connsiteX49" fmla="*/ 12989 w 316776"/>
                  <a:gd name="connsiteY49" fmla="*/ 87389 h 211224"/>
                  <a:gd name="connsiteX50" fmla="*/ 13394 w 316776"/>
                  <a:gd name="connsiteY50" fmla="*/ 86141 h 211224"/>
                  <a:gd name="connsiteX51" fmla="*/ 19720 w 316776"/>
                  <a:gd name="connsiteY51" fmla="*/ 79358 h 211224"/>
                  <a:gd name="connsiteX52" fmla="*/ 0 w 316776"/>
                  <a:gd name="connsiteY52" fmla="*/ 66820 h 211224"/>
                  <a:gd name="connsiteX53" fmla="*/ 14419 w 316776"/>
                  <a:gd name="connsiteY53" fmla="*/ 57871 h 211224"/>
                  <a:gd name="connsiteX54" fmla="*/ 22000 w 316776"/>
                  <a:gd name="connsiteY54" fmla="*/ 54224 h 211224"/>
                  <a:gd name="connsiteX55" fmla="*/ 28155 w 316776"/>
                  <a:gd name="connsiteY55" fmla="*/ 53939 h 211224"/>
                  <a:gd name="connsiteX56" fmla="*/ 54031 w 316776"/>
                  <a:gd name="connsiteY56" fmla="*/ 54680 h 211224"/>
                  <a:gd name="connsiteX57" fmla="*/ 46223 w 316776"/>
                  <a:gd name="connsiteY57" fmla="*/ 36441 h 211224"/>
                  <a:gd name="connsiteX58" fmla="*/ 31632 w 316776"/>
                  <a:gd name="connsiteY58" fmla="*/ 21110 h 211224"/>
                  <a:gd name="connsiteX59" fmla="*/ 30891 w 316776"/>
                  <a:gd name="connsiteY59" fmla="*/ 13814 h 211224"/>
                  <a:gd name="connsiteX60" fmla="*/ 33741 w 316776"/>
                  <a:gd name="connsiteY60" fmla="*/ 9084 h 211224"/>
                  <a:gd name="connsiteX61" fmla="*/ 36533 w 316776"/>
                  <a:gd name="connsiteY61" fmla="*/ 5607 h 211224"/>
                  <a:gd name="connsiteX62" fmla="*/ 43943 w 316776"/>
                  <a:gd name="connsiteY62" fmla="*/ 5607 h 211224"/>
                  <a:gd name="connsiteX63" fmla="*/ 49642 w 316776"/>
                  <a:gd name="connsiteY63" fmla="*/ 10566 h 211224"/>
                  <a:gd name="connsiteX64" fmla="*/ 63150 w 316776"/>
                  <a:gd name="connsiteY64" fmla="*/ 24815 h 211224"/>
                  <a:gd name="connsiteX65" fmla="*/ 81674 w 316776"/>
                  <a:gd name="connsiteY65" fmla="*/ 35187 h 2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6776" h="211224">
                    <a:moveTo>
                      <a:pt x="81674" y="35187"/>
                    </a:moveTo>
                    <a:cubicBezTo>
                      <a:pt x="82483" y="35119"/>
                      <a:pt x="83286" y="34965"/>
                      <a:pt x="84067" y="34732"/>
                    </a:cubicBezTo>
                    <a:cubicBezTo>
                      <a:pt x="85213" y="36470"/>
                      <a:pt x="87173" y="37501"/>
                      <a:pt x="89254" y="37467"/>
                    </a:cubicBezTo>
                    <a:cubicBezTo>
                      <a:pt x="93300" y="37467"/>
                      <a:pt x="96207" y="33763"/>
                      <a:pt x="98772" y="30628"/>
                    </a:cubicBezTo>
                    <a:cubicBezTo>
                      <a:pt x="106688" y="20870"/>
                      <a:pt x="116024" y="12361"/>
                      <a:pt x="126471" y="5379"/>
                    </a:cubicBezTo>
                    <a:cubicBezTo>
                      <a:pt x="131304" y="1247"/>
                      <a:pt x="137665" y="-639"/>
                      <a:pt x="143969" y="193"/>
                    </a:cubicBezTo>
                    <a:cubicBezTo>
                      <a:pt x="153487" y="2701"/>
                      <a:pt x="160155" y="16265"/>
                      <a:pt x="169388" y="12789"/>
                    </a:cubicBezTo>
                    <a:cubicBezTo>
                      <a:pt x="172996" y="21378"/>
                      <a:pt x="176570" y="29984"/>
                      <a:pt x="180103" y="38607"/>
                    </a:cubicBezTo>
                    <a:cubicBezTo>
                      <a:pt x="188310" y="42255"/>
                      <a:pt x="199425" y="36213"/>
                      <a:pt x="206264" y="42027"/>
                    </a:cubicBezTo>
                    <a:cubicBezTo>
                      <a:pt x="210766" y="45902"/>
                      <a:pt x="210938" y="53084"/>
                      <a:pt x="215269" y="57074"/>
                    </a:cubicBezTo>
                    <a:cubicBezTo>
                      <a:pt x="217720" y="59353"/>
                      <a:pt x="220968" y="60265"/>
                      <a:pt x="223419" y="62773"/>
                    </a:cubicBezTo>
                    <a:cubicBezTo>
                      <a:pt x="225870" y="65281"/>
                      <a:pt x="226155" y="70980"/>
                      <a:pt x="227865" y="75027"/>
                    </a:cubicBezTo>
                    <a:cubicBezTo>
                      <a:pt x="231456" y="83690"/>
                      <a:pt x="242171" y="86426"/>
                      <a:pt x="249865" y="91612"/>
                    </a:cubicBezTo>
                    <a:cubicBezTo>
                      <a:pt x="256248" y="95944"/>
                      <a:pt x="260808" y="102498"/>
                      <a:pt x="266963" y="107229"/>
                    </a:cubicBezTo>
                    <a:cubicBezTo>
                      <a:pt x="275227" y="113669"/>
                      <a:pt x="285772" y="116291"/>
                      <a:pt x="295461" y="120566"/>
                    </a:cubicBezTo>
                    <a:cubicBezTo>
                      <a:pt x="305150" y="124840"/>
                      <a:pt x="314668" y="131965"/>
                      <a:pt x="316777" y="142053"/>
                    </a:cubicBezTo>
                    <a:cubicBezTo>
                      <a:pt x="316777" y="142338"/>
                      <a:pt x="316777" y="142680"/>
                      <a:pt x="316777" y="143022"/>
                    </a:cubicBezTo>
                    <a:cubicBezTo>
                      <a:pt x="313363" y="143483"/>
                      <a:pt x="309989" y="144207"/>
                      <a:pt x="306689" y="145187"/>
                    </a:cubicBezTo>
                    <a:lnTo>
                      <a:pt x="290616" y="149633"/>
                    </a:lnTo>
                    <a:cubicBezTo>
                      <a:pt x="288581" y="150003"/>
                      <a:pt x="286701" y="150949"/>
                      <a:pt x="285202" y="152369"/>
                    </a:cubicBezTo>
                    <a:cubicBezTo>
                      <a:pt x="283777" y="154192"/>
                      <a:pt x="283720" y="156814"/>
                      <a:pt x="282352" y="158695"/>
                    </a:cubicBezTo>
                    <a:cubicBezTo>
                      <a:pt x="279388" y="162856"/>
                      <a:pt x="271523" y="162172"/>
                      <a:pt x="270269" y="167130"/>
                    </a:cubicBezTo>
                    <a:cubicBezTo>
                      <a:pt x="269990" y="168846"/>
                      <a:pt x="269990" y="170601"/>
                      <a:pt x="270269" y="172317"/>
                    </a:cubicBezTo>
                    <a:cubicBezTo>
                      <a:pt x="270115" y="177350"/>
                      <a:pt x="265909" y="181305"/>
                      <a:pt x="260876" y="181151"/>
                    </a:cubicBezTo>
                    <a:cubicBezTo>
                      <a:pt x="259776" y="181122"/>
                      <a:pt x="258693" y="180889"/>
                      <a:pt x="257673" y="180467"/>
                    </a:cubicBezTo>
                    <a:cubicBezTo>
                      <a:pt x="257673" y="185711"/>
                      <a:pt x="251974" y="188731"/>
                      <a:pt x="246787" y="189985"/>
                    </a:cubicBezTo>
                    <a:cubicBezTo>
                      <a:pt x="241601" y="191239"/>
                      <a:pt x="235388" y="193006"/>
                      <a:pt x="234248" y="198078"/>
                    </a:cubicBezTo>
                    <a:cubicBezTo>
                      <a:pt x="233935" y="200518"/>
                      <a:pt x="233935" y="202991"/>
                      <a:pt x="234248" y="205431"/>
                    </a:cubicBezTo>
                    <a:cubicBezTo>
                      <a:pt x="234248" y="207882"/>
                      <a:pt x="233222" y="210788"/>
                      <a:pt x="230829" y="211130"/>
                    </a:cubicBezTo>
                    <a:cubicBezTo>
                      <a:pt x="227067" y="211985"/>
                      <a:pt x="224787" y="206742"/>
                      <a:pt x="221025" y="205830"/>
                    </a:cubicBezTo>
                    <a:cubicBezTo>
                      <a:pt x="218860" y="205317"/>
                      <a:pt x="216580" y="206343"/>
                      <a:pt x="214357" y="205830"/>
                    </a:cubicBezTo>
                    <a:cubicBezTo>
                      <a:pt x="209968" y="205089"/>
                      <a:pt x="208316" y="199275"/>
                      <a:pt x="204326" y="197167"/>
                    </a:cubicBezTo>
                    <a:cubicBezTo>
                      <a:pt x="201459" y="195873"/>
                      <a:pt x="198125" y="196135"/>
                      <a:pt x="195492" y="197850"/>
                    </a:cubicBezTo>
                    <a:cubicBezTo>
                      <a:pt x="196290" y="189985"/>
                      <a:pt x="197031" y="182120"/>
                      <a:pt x="197829" y="174198"/>
                    </a:cubicBezTo>
                    <a:lnTo>
                      <a:pt x="189621" y="173628"/>
                    </a:lnTo>
                    <a:lnTo>
                      <a:pt x="171839" y="158011"/>
                    </a:lnTo>
                    <a:cubicBezTo>
                      <a:pt x="165171" y="161659"/>
                      <a:pt x="159528" y="152312"/>
                      <a:pt x="154171" y="146897"/>
                    </a:cubicBezTo>
                    <a:cubicBezTo>
                      <a:pt x="143969" y="136695"/>
                      <a:pt x="125673" y="139887"/>
                      <a:pt x="114730" y="130711"/>
                    </a:cubicBezTo>
                    <a:cubicBezTo>
                      <a:pt x="112245" y="127924"/>
                      <a:pt x="109219" y="125678"/>
                      <a:pt x="105839" y="124099"/>
                    </a:cubicBezTo>
                    <a:cubicBezTo>
                      <a:pt x="100653" y="122617"/>
                      <a:pt x="95523" y="126265"/>
                      <a:pt x="90279" y="127576"/>
                    </a:cubicBezTo>
                    <a:cubicBezTo>
                      <a:pt x="85036" y="128887"/>
                      <a:pt x="81275" y="128032"/>
                      <a:pt x="76829" y="128830"/>
                    </a:cubicBezTo>
                    <a:cubicBezTo>
                      <a:pt x="66285" y="130825"/>
                      <a:pt x="58989" y="140229"/>
                      <a:pt x="49471" y="145358"/>
                    </a:cubicBezTo>
                    <a:cubicBezTo>
                      <a:pt x="44673" y="147798"/>
                      <a:pt x="39406" y="149177"/>
                      <a:pt x="34026" y="149405"/>
                    </a:cubicBezTo>
                    <a:cubicBezTo>
                      <a:pt x="34026" y="147980"/>
                      <a:pt x="34026" y="146612"/>
                      <a:pt x="34425" y="145187"/>
                    </a:cubicBezTo>
                    <a:lnTo>
                      <a:pt x="34425" y="144389"/>
                    </a:lnTo>
                    <a:cubicBezTo>
                      <a:pt x="34425" y="143022"/>
                      <a:pt x="34425" y="141654"/>
                      <a:pt x="34425" y="140343"/>
                    </a:cubicBezTo>
                    <a:lnTo>
                      <a:pt x="33570" y="110193"/>
                    </a:lnTo>
                    <a:cubicBezTo>
                      <a:pt x="33570" y="104493"/>
                      <a:pt x="32202" y="97654"/>
                      <a:pt x="26788" y="96343"/>
                    </a:cubicBezTo>
                    <a:cubicBezTo>
                      <a:pt x="24109" y="95716"/>
                      <a:pt x="21088" y="96856"/>
                      <a:pt x="18580" y="96343"/>
                    </a:cubicBezTo>
                    <a:cubicBezTo>
                      <a:pt x="14562" y="95414"/>
                      <a:pt x="12060" y="91401"/>
                      <a:pt x="12989" y="87389"/>
                    </a:cubicBezTo>
                    <a:cubicBezTo>
                      <a:pt x="13086" y="86962"/>
                      <a:pt x="13223" y="86545"/>
                      <a:pt x="13394" y="86141"/>
                    </a:cubicBezTo>
                    <a:cubicBezTo>
                      <a:pt x="16802" y="85582"/>
                      <a:pt x="19401" y="82795"/>
                      <a:pt x="19720" y="79358"/>
                    </a:cubicBezTo>
                    <a:cubicBezTo>
                      <a:pt x="12191" y="76919"/>
                      <a:pt x="5403" y="72604"/>
                      <a:pt x="0" y="66820"/>
                    </a:cubicBezTo>
                    <a:lnTo>
                      <a:pt x="14419" y="57871"/>
                    </a:lnTo>
                    <a:cubicBezTo>
                      <a:pt x="16728" y="56253"/>
                      <a:pt x="19293" y="55016"/>
                      <a:pt x="22000" y="54224"/>
                    </a:cubicBezTo>
                    <a:cubicBezTo>
                      <a:pt x="24035" y="53899"/>
                      <a:pt x="26098" y="53808"/>
                      <a:pt x="28155" y="53939"/>
                    </a:cubicBezTo>
                    <a:lnTo>
                      <a:pt x="54031" y="54680"/>
                    </a:lnTo>
                    <a:cubicBezTo>
                      <a:pt x="57565" y="48353"/>
                      <a:pt x="52093" y="40716"/>
                      <a:pt x="46223" y="36441"/>
                    </a:cubicBezTo>
                    <a:cubicBezTo>
                      <a:pt x="40352" y="32167"/>
                      <a:pt x="33114" y="28177"/>
                      <a:pt x="31632" y="21110"/>
                    </a:cubicBezTo>
                    <a:cubicBezTo>
                      <a:pt x="31119" y="18716"/>
                      <a:pt x="31632" y="16208"/>
                      <a:pt x="30891" y="13814"/>
                    </a:cubicBezTo>
                    <a:cubicBezTo>
                      <a:pt x="31803" y="12219"/>
                      <a:pt x="32772" y="10623"/>
                      <a:pt x="33741" y="9084"/>
                    </a:cubicBezTo>
                    <a:cubicBezTo>
                      <a:pt x="34391" y="7727"/>
                      <a:pt x="35348" y="6536"/>
                      <a:pt x="36533" y="5607"/>
                    </a:cubicBezTo>
                    <a:cubicBezTo>
                      <a:pt x="38830" y="4296"/>
                      <a:pt x="41646" y="4296"/>
                      <a:pt x="43943" y="5607"/>
                    </a:cubicBezTo>
                    <a:cubicBezTo>
                      <a:pt x="46120" y="6912"/>
                      <a:pt x="48052" y="8588"/>
                      <a:pt x="49642" y="10566"/>
                    </a:cubicBezTo>
                    <a:lnTo>
                      <a:pt x="63150" y="24815"/>
                    </a:lnTo>
                    <a:cubicBezTo>
                      <a:pt x="68622" y="30172"/>
                      <a:pt x="74549" y="35757"/>
                      <a:pt x="81674" y="3518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79" name="Freihandform: Form 395">
                <a:extLst>
                  <a:ext uri="{FF2B5EF4-FFF2-40B4-BE49-F238E27FC236}">
                    <a16:creationId xmlns:a16="http://schemas.microsoft.com/office/drawing/2014/main" id="{8F16FC81-2EE8-AD05-DC86-9DC50513816D}"/>
                  </a:ext>
                </a:extLst>
              </p:cNvPr>
              <p:cNvSpPr/>
              <p:nvPr/>
            </p:nvSpPr>
            <p:spPr>
              <a:xfrm>
                <a:off x="4774509" y="2787650"/>
                <a:ext cx="893905" cy="444387"/>
              </a:xfrm>
              <a:custGeom>
                <a:avLst/>
                <a:gdLst>
                  <a:gd name="connsiteX0" fmla="*/ 879600 w 893905"/>
                  <a:gd name="connsiteY0" fmla="*/ 187505 h 444387"/>
                  <a:gd name="connsiteX1" fmla="*/ 850134 w 893905"/>
                  <a:gd name="connsiteY1" fmla="*/ 181350 h 444387"/>
                  <a:gd name="connsiteX2" fmla="*/ 845460 w 893905"/>
                  <a:gd name="connsiteY2" fmla="*/ 172174 h 444387"/>
                  <a:gd name="connsiteX3" fmla="*/ 835315 w 893905"/>
                  <a:gd name="connsiteY3" fmla="*/ 166474 h 444387"/>
                  <a:gd name="connsiteX4" fmla="*/ 819186 w 893905"/>
                  <a:gd name="connsiteY4" fmla="*/ 144531 h 444387"/>
                  <a:gd name="connsiteX5" fmla="*/ 797527 w 893905"/>
                  <a:gd name="connsiteY5" fmla="*/ 146982 h 444387"/>
                  <a:gd name="connsiteX6" fmla="*/ 777921 w 893905"/>
                  <a:gd name="connsiteY6" fmla="*/ 149775 h 444387"/>
                  <a:gd name="connsiteX7" fmla="*/ 767776 w 893905"/>
                  <a:gd name="connsiteY7" fmla="*/ 134842 h 444387"/>
                  <a:gd name="connsiteX8" fmla="*/ 756377 w 893905"/>
                  <a:gd name="connsiteY8" fmla="*/ 137635 h 444387"/>
                  <a:gd name="connsiteX9" fmla="*/ 747144 w 893905"/>
                  <a:gd name="connsiteY9" fmla="*/ 147780 h 444387"/>
                  <a:gd name="connsiteX10" fmla="*/ 734833 w 893905"/>
                  <a:gd name="connsiteY10" fmla="*/ 139003 h 444387"/>
                  <a:gd name="connsiteX11" fmla="*/ 714087 w 893905"/>
                  <a:gd name="connsiteY11" fmla="*/ 104806 h 444387"/>
                  <a:gd name="connsiteX12" fmla="*/ 709300 w 893905"/>
                  <a:gd name="connsiteY12" fmla="*/ 94490 h 444387"/>
                  <a:gd name="connsiteX13" fmla="*/ 707476 w 893905"/>
                  <a:gd name="connsiteY13" fmla="*/ 87252 h 444387"/>
                  <a:gd name="connsiteX14" fmla="*/ 698015 w 893905"/>
                  <a:gd name="connsiteY14" fmla="*/ 79386 h 444387"/>
                  <a:gd name="connsiteX15" fmla="*/ 692315 w 893905"/>
                  <a:gd name="connsiteY15" fmla="*/ 64169 h 444387"/>
                  <a:gd name="connsiteX16" fmla="*/ 673963 w 893905"/>
                  <a:gd name="connsiteY16" fmla="*/ 54594 h 444387"/>
                  <a:gd name="connsiteX17" fmla="*/ 670543 w 893905"/>
                  <a:gd name="connsiteY17" fmla="*/ 37495 h 444387"/>
                  <a:gd name="connsiteX18" fmla="*/ 658004 w 893905"/>
                  <a:gd name="connsiteY18" fmla="*/ 40573 h 444387"/>
                  <a:gd name="connsiteX19" fmla="*/ 609103 w 893905"/>
                  <a:gd name="connsiteY19" fmla="*/ 63371 h 444387"/>
                  <a:gd name="connsiteX20" fmla="*/ 605227 w 893905"/>
                  <a:gd name="connsiteY20" fmla="*/ 51630 h 444387"/>
                  <a:gd name="connsiteX21" fmla="*/ 583455 w 893905"/>
                  <a:gd name="connsiteY21" fmla="*/ 42454 h 444387"/>
                  <a:gd name="connsiteX22" fmla="*/ 559973 w 893905"/>
                  <a:gd name="connsiteY22" fmla="*/ 46329 h 444387"/>
                  <a:gd name="connsiteX23" fmla="*/ 556326 w 893905"/>
                  <a:gd name="connsiteY23" fmla="*/ 25811 h 444387"/>
                  <a:gd name="connsiteX24" fmla="*/ 542077 w 893905"/>
                  <a:gd name="connsiteY24" fmla="*/ 6205 h 444387"/>
                  <a:gd name="connsiteX25" fmla="*/ 517455 w 893905"/>
                  <a:gd name="connsiteY25" fmla="*/ 506 h 444387"/>
                  <a:gd name="connsiteX26" fmla="*/ 503777 w 893905"/>
                  <a:gd name="connsiteY26" fmla="*/ 1475 h 444387"/>
                  <a:gd name="connsiteX27" fmla="*/ 492720 w 893905"/>
                  <a:gd name="connsiteY27" fmla="*/ 11734 h 444387"/>
                  <a:gd name="connsiteX28" fmla="*/ 462056 w 893905"/>
                  <a:gd name="connsiteY28" fmla="*/ 22563 h 444387"/>
                  <a:gd name="connsiteX29" fmla="*/ 407113 w 893905"/>
                  <a:gd name="connsiteY29" fmla="*/ 32993 h 444387"/>
                  <a:gd name="connsiteX30" fmla="*/ 375880 w 893905"/>
                  <a:gd name="connsiteY30" fmla="*/ 43822 h 444387"/>
                  <a:gd name="connsiteX31" fmla="*/ 353082 w 893905"/>
                  <a:gd name="connsiteY31" fmla="*/ 45702 h 444387"/>
                  <a:gd name="connsiteX32" fmla="*/ 330798 w 893905"/>
                  <a:gd name="connsiteY32" fmla="*/ 49008 h 444387"/>
                  <a:gd name="connsiteX33" fmla="*/ 337865 w 893905"/>
                  <a:gd name="connsiteY33" fmla="*/ 64226 h 444387"/>
                  <a:gd name="connsiteX34" fmla="*/ 346585 w 893905"/>
                  <a:gd name="connsiteY34" fmla="*/ 78987 h 444387"/>
                  <a:gd name="connsiteX35" fmla="*/ 333875 w 893905"/>
                  <a:gd name="connsiteY35" fmla="*/ 75967 h 444387"/>
                  <a:gd name="connsiteX36" fmla="*/ 324471 w 893905"/>
                  <a:gd name="connsiteY36" fmla="*/ 83718 h 444387"/>
                  <a:gd name="connsiteX37" fmla="*/ 324471 w 893905"/>
                  <a:gd name="connsiteY37" fmla="*/ 90044 h 444387"/>
                  <a:gd name="connsiteX38" fmla="*/ 320824 w 893905"/>
                  <a:gd name="connsiteY38" fmla="*/ 95744 h 444387"/>
                  <a:gd name="connsiteX39" fmla="*/ 321051 w 893905"/>
                  <a:gd name="connsiteY39" fmla="*/ 107713 h 444387"/>
                  <a:gd name="connsiteX40" fmla="*/ 308455 w 893905"/>
                  <a:gd name="connsiteY40" fmla="*/ 113412 h 444387"/>
                  <a:gd name="connsiteX41" fmla="*/ 308455 w 893905"/>
                  <a:gd name="connsiteY41" fmla="*/ 121961 h 444387"/>
                  <a:gd name="connsiteX42" fmla="*/ 331253 w 893905"/>
                  <a:gd name="connsiteY42" fmla="*/ 133360 h 444387"/>
                  <a:gd name="connsiteX43" fmla="*/ 330604 w 893905"/>
                  <a:gd name="connsiteY43" fmla="*/ 155759 h 444387"/>
                  <a:gd name="connsiteX44" fmla="*/ 326979 w 893905"/>
                  <a:gd name="connsiteY44" fmla="*/ 158324 h 444387"/>
                  <a:gd name="connsiteX45" fmla="*/ 317119 w 893905"/>
                  <a:gd name="connsiteY45" fmla="*/ 149490 h 444387"/>
                  <a:gd name="connsiteX46" fmla="*/ 290958 w 893905"/>
                  <a:gd name="connsiteY46" fmla="*/ 158267 h 444387"/>
                  <a:gd name="connsiteX47" fmla="*/ 286456 w 893905"/>
                  <a:gd name="connsiteY47" fmla="*/ 146241 h 444387"/>
                  <a:gd name="connsiteX48" fmla="*/ 267305 w 893905"/>
                  <a:gd name="connsiteY48" fmla="*/ 138604 h 444387"/>
                  <a:gd name="connsiteX49" fmla="*/ 242342 w 893905"/>
                  <a:gd name="connsiteY49" fmla="*/ 145899 h 444387"/>
                  <a:gd name="connsiteX50" fmla="*/ 240005 w 893905"/>
                  <a:gd name="connsiteY50" fmla="*/ 139288 h 444387"/>
                  <a:gd name="connsiteX51" fmla="*/ 214300 w 893905"/>
                  <a:gd name="connsiteY51" fmla="*/ 147438 h 444387"/>
                  <a:gd name="connsiteX52" fmla="*/ 205523 w 893905"/>
                  <a:gd name="connsiteY52" fmla="*/ 155075 h 444387"/>
                  <a:gd name="connsiteX53" fmla="*/ 195891 w 893905"/>
                  <a:gd name="connsiteY53" fmla="*/ 151827 h 444387"/>
                  <a:gd name="connsiteX54" fmla="*/ 185119 w 893905"/>
                  <a:gd name="connsiteY54" fmla="*/ 153365 h 444387"/>
                  <a:gd name="connsiteX55" fmla="*/ 185119 w 893905"/>
                  <a:gd name="connsiteY55" fmla="*/ 141966 h 444387"/>
                  <a:gd name="connsiteX56" fmla="*/ 165285 w 893905"/>
                  <a:gd name="connsiteY56" fmla="*/ 133132 h 444387"/>
                  <a:gd name="connsiteX57" fmla="*/ 115244 w 893905"/>
                  <a:gd name="connsiteY57" fmla="*/ 123956 h 444387"/>
                  <a:gd name="connsiteX58" fmla="*/ 100710 w 893905"/>
                  <a:gd name="connsiteY58" fmla="*/ 129371 h 444387"/>
                  <a:gd name="connsiteX59" fmla="*/ 86404 w 893905"/>
                  <a:gd name="connsiteY59" fmla="*/ 130739 h 444387"/>
                  <a:gd name="connsiteX60" fmla="*/ 74720 w 893905"/>
                  <a:gd name="connsiteY60" fmla="*/ 145101 h 444387"/>
                  <a:gd name="connsiteX61" fmla="*/ 58648 w 893905"/>
                  <a:gd name="connsiteY61" fmla="*/ 147153 h 444387"/>
                  <a:gd name="connsiteX62" fmla="*/ 54259 w 893905"/>
                  <a:gd name="connsiteY62" fmla="*/ 158552 h 444387"/>
                  <a:gd name="connsiteX63" fmla="*/ 53746 w 893905"/>
                  <a:gd name="connsiteY63" fmla="*/ 171091 h 444387"/>
                  <a:gd name="connsiteX64" fmla="*/ 43772 w 893905"/>
                  <a:gd name="connsiteY64" fmla="*/ 175479 h 444387"/>
                  <a:gd name="connsiteX65" fmla="*/ 39783 w 893905"/>
                  <a:gd name="connsiteY65" fmla="*/ 165049 h 444387"/>
                  <a:gd name="connsiteX66" fmla="*/ 25363 w 893905"/>
                  <a:gd name="connsiteY66" fmla="*/ 159350 h 444387"/>
                  <a:gd name="connsiteX67" fmla="*/ 11456 w 893905"/>
                  <a:gd name="connsiteY67" fmla="*/ 168697 h 444387"/>
                  <a:gd name="connsiteX68" fmla="*/ 11456 w 893905"/>
                  <a:gd name="connsiteY68" fmla="*/ 186479 h 444387"/>
                  <a:gd name="connsiteX69" fmla="*/ 5300 w 893905"/>
                  <a:gd name="connsiteY69" fmla="*/ 194687 h 444387"/>
                  <a:gd name="connsiteX70" fmla="*/ 10259 w 893905"/>
                  <a:gd name="connsiteY70" fmla="*/ 204889 h 444387"/>
                  <a:gd name="connsiteX71" fmla="*/ 0 w 893905"/>
                  <a:gd name="connsiteY71" fmla="*/ 214179 h 444387"/>
                  <a:gd name="connsiteX72" fmla="*/ 13451 w 893905"/>
                  <a:gd name="connsiteY72" fmla="*/ 225578 h 444387"/>
                  <a:gd name="connsiteX73" fmla="*/ 24850 w 893905"/>
                  <a:gd name="connsiteY73" fmla="*/ 239997 h 444387"/>
                  <a:gd name="connsiteX74" fmla="*/ 33114 w 893905"/>
                  <a:gd name="connsiteY74" fmla="*/ 240567 h 444387"/>
                  <a:gd name="connsiteX75" fmla="*/ 42404 w 893905"/>
                  <a:gd name="connsiteY75" fmla="*/ 253220 h 444387"/>
                  <a:gd name="connsiteX76" fmla="*/ 53803 w 893905"/>
                  <a:gd name="connsiteY76" fmla="*/ 262339 h 444387"/>
                  <a:gd name="connsiteX77" fmla="*/ 51637 w 893905"/>
                  <a:gd name="connsiteY77" fmla="*/ 285878 h 444387"/>
                  <a:gd name="connsiteX78" fmla="*/ 54373 w 893905"/>
                  <a:gd name="connsiteY78" fmla="*/ 284909 h 444387"/>
                  <a:gd name="connsiteX79" fmla="*/ 65088 w 893905"/>
                  <a:gd name="connsiteY79" fmla="*/ 282173 h 444387"/>
                  <a:gd name="connsiteX80" fmla="*/ 85663 w 893905"/>
                  <a:gd name="connsiteY80" fmla="*/ 265816 h 444387"/>
                  <a:gd name="connsiteX81" fmla="*/ 91363 w 893905"/>
                  <a:gd name="connsiteY81" fmla="*/ 260857 h 444387"/>
                  <a:gd name="connsiteX82" fmla="*/ 99513 w 893905"/>
                  <a:gd name="connsiteY82" fmla="*/ 261541 h 444387"/>
                  <a:gd name="connsiteX83" fmla="*/ 137415 w 893905"/>
                  <a:gd name="connsiteY83" fmla="*/ 263536 h 444387"/>
                  <a:gd name="connsiteX84" fmla="*/ 141575 w 893905"/>
                  <a:gd name="connsiteY84" fmla="*/ 263992 h 444387"/>
                  <a:gd name="connsiteX85" fmla="*/ 143114 w 893905"/>
                  <a:gd name="connsiteY85" fmla="*/ 267070 h 444387"/>
                  <a:gd name="connsiteX86" fmla="*/ 153658 w 893905"/>
                  <a:gd name="connsiteY86" fmla="*/ 280008 h 444387"/>
                  <a:gd name="connsiteX87" fmla="*/ 157135 w 893905"/>
                  <a:gd name="connsiteY87" fmla="*/ 295168 h 444387"/>
                  <a:gd name="connsiteX88" fmla="*/ 148016 w 893905"/>
                  <a:gd name="connsiteY88" fmla="*/ 303661 h 444387"/>
                  <a:gd name="connsiteX89" fmla="*/ 146704 w 893905"/>
                  <a:gd name="connsiteY89" fmla="*/ 312837 h 444387"/>
                  <a:gd name="connsiteX90" fmla="*/ 133881 w 893905"/>
                  <a:gd name="connsiteY90" fmla="*/ 320018 h 444387"/>
                  <a:gd name="connsiteX91" fmla="*/ 104187 w 893905"/>
                  <a:gd name="connsiteY91" fmla="*/ 324635 h 444387"/>
                  <a:gd name="connsiteX92" fmla="*/ 102021 w 893905"/>
                  <a:gd name="connsiteY92" fmla="*/ 340764 h 444387"/>
                  <a:gd name="connsiteX93" fmla="*/ 83497 w 893905"/>
                  <a:gd name="connsiteY93" fmla="*/ 339054 h 444387"/>
                  <a:gd name="connsiteX94" fmla="*/ 92274 w 893905"/>
                  <a:gd name="connsiteY94" fmla="*/ 352961 h 444387"/>
                  <a:gd name="connsiteX95" fmla="*/ 104357 w 893905"/>
                  <a:gd name="connsiteY95" fmla="*/ 365158 h 444387"/>
                  <a:gd name="connsiteX96" fmla="*/ 106694 w 893905"/>
                  <a:gd name="connsiteY96" fmla="*/ 375759 h 444387"/>
                  <a:gd name="connsiteX97" fmla="*/ 115072 w 893905"/>
                  <a:gd name="connsiteY97" fmla="*/ 376443 h 444387"/>
                  <a:gd name="connsiteX98" fmla="*/ 115813 w 893905"/>
                  <a:gd name="connsiteY98" fmla="*/ 385733 h 444387"/>
                  <a:gd name="connsiteX99" fmla="*/ 137358 w 893905"/>
                  <a:gd name="connsiteY99" fmla="*/ 388184 h 444387"/>
                  <a:gd name="connsiteX100" fmla="*/ 140492 w 893905"/>
                  <a:gd name="connsiteY100" fmla="*/ 390121 h 444387"/>
                  <a:gd name="connsiteX101" fmla="*/ 140492 w 893905"/>
                  <a:gd name="connsiteY101" fmla="*/ 396220 h 444387"/>
                  <a:gd name="connsiteX102" fmla="*/ 133254 w 893905"/>
                  <a:gd name="connsiteY102" fmla="*/ 409101 h 444387"/>
                  <a:gd name="connsiteX103" fmla="*/ 140036 w 893905"/>
                  <a:gd name="connsiteY103" fmla="*/ 419132 h 444387"/>
                  <a:gd name="connsiteX104" fmla="*/ 144995 w 893905"/>
                  <a:gd name="connsiteY104" fmla="*/ 410355 h 444387"/>
                  <a:gd name="connsiteX105" fmla="*/ 146648 w 893905"/>
                  <a:gd name="connsiteY105" fmla="*/ 397588 h 444387"/>
                  <a:gd name="connsiteX106" fmla="*/ 149668 w 893905"/>
                  <a:gd name="connsiteY106" fmla="*/ 393427 h 444387"/>
                  <a:gd name="connsiteX107" fmla="*/ 151663 w 893905"/>
                  <a:gd name="connsiteY107" fmla="*/ 394396 h 444387"/>
                  <a:gd name="connsiteX108" fmla="*/ 160440 w 893905"/>
                  <a:gd name="connsiteY108" fmla="*/ 404997 h 444387"/>
                  <a:gd name="connsiteX109" fmla="*/ 160440 w 893905"/>
                  <a:gd name="connsiteY109" fmla="*/ 405738 h 444387"/>
                  <a:gd name="connsiteX110" fmla="*/ 163290 w 893905"/>
                  <a:gd name="connsiteY110" fmla="*/ 401008 h 444387"/>
                  <a:gd name="connsiteX111" fmla="*/ 166083 w 893905"/>
                  <a:gd name="connsiteY111" fmla="*/ 397531 h 444387"/>
                  <a:gd name="connsiteX112" fmla="*/ 173492 w 893905"/>
                  <a:gd name="connsiteY112" fmla="*/ 397531 h 444387"/>
                  <a:gd name="connsiteX113" fmla="*/ 179191 w 893905"/>
                  <a:gd name="connsiteY113" fmla="*/ 402489 h 444387"/>
                  <a:gd name="connsiteX114" fmla="*/ 192699 w 893905"/>
                  <a:gd name="connsiteY114" fmla="*/ 416738 h 444387"/>
                  <a:gd name="connsiteX115" fmla="*/ 210653 w 893905"/>
                  <a:gd name="connsiteY115" fmla="*/ 426940 h 444387"/>
                  <a:gd name="connsiteX116" fmla="*/ 213046 w 893905"/>
                  <a:gd name="connsiteY116" fmla="*/ 426484 h 444387"/>
                  <a:gd name="connsiteX117" fmla="*/ 213046 w 893905"/>
                  <a:gd name="connsiteY117" fmla="*/ 417764 h 444387"/>
                  <a:gd name="connsiteX118" fmla="*/ 213388 w 893905"/>
                  <a:gd name="connsiteY118" fmla="*/ 328795 h 444387"/>
                  <a:gd name="connsiteX119" fmla="*/ 213388 w 893905"/>
                  <a:gd name="connsiteY119" fmla="*/ 326458 h 444387"/>
                  <a:gd name="connsiteX120" fmla="*/ 236186 w 893905"/>
                  <a:gd name="connsiteY120" fmla="*/ 313521 h 444387"/>
                  <a:gd name="connsiteX121" fmla="*/ 238751 w 893905"/>
                  <a:gd name="connsiteY121" fmla="*/ 312951 h 444387"/>
                  <a:gd name="connsiteX122" fmla="*/ 240860 w 893905"/>
                  <a:gd name="connsiteY122" fmla="*/ 307878 h 444387"/>
                  <a:gd name="connsiteX123" fmla="*/ 248953 w 893905"/>
                  <a:gd name="connsiteY123" fmla="*/ 304003 h 444387"/>
                  <a:gd name="connsiteX124" fmla="*/ 266051 w 893905"/>
                  <a:gd name="connsiteY124" fmla="*/ 301153 h 444387"/>
                  <a:gd name="connsiteX125" fmla="*/ 273290 w 893905"/>
                  <a:gd name="connsiteY125" fmla="*/ 299614 h 444387"/>
                  <a:gd name="connsiteX126" fmla="*/ 278134 w 893905"/>
                  <a:gd name="connsiteY126" fmla="*/ 296023 h 444387"/>
                  <a:gd name="connsiteX127" fmla="*/ 290787 w 893905"/>
                  <a:gd name="connsiteY127" fmla="*/ 294769 h 444387"/>
                  <a:gd name="connsiteX128" fmla="*/ 299507 w 893905"/>
                  <a:gd name="connsiteY128" fmla="*/ 287474 h 444387"/>
                  <a:gd name="connsiteX129" fmla="*/ 297684 w 893905"/>
                  <a:gd name="connsiteY129" fmla="*/ 282687 h 444387"/>
                  <a:gd name="connsiteX130" fmla="*/ 309425 w 893905"/>
                  <a:gd name="connsiteY130" fmla="*/ 272883 h 444387"/>
                  <a:gd name="connsiteX131" fmla="*/ 335357 w 893905"/>
                  <a:gd name="connsiteY131" fmla="*/ 285308 h 444387"/>
                  <a:gd name="connsiteX132" fmla="*/ 317062 w 893905"/>
                  <a:gd name="connsiteY132" fmla="*/ 289982 h 444387"/>
                  <a:gd name="connsiteX133" fmla="*/ 307544 w 893905"/>
                  <a:gd name="connsiteY133" fmla="*/ 295111 h 444387"/>
                  <a:gd name="connsiteX134" fmla="*/ 304295 w 893905"/>
                  <a:gd name="connsiteY134" fmla="*/ 304971 h 444387"/>
                  <a:gd name="connsiteX135" fmla="*/ 317803 w 893905"/>
                  <a:gd name="connsiteY135" fmla="*/ 317624 h 444387"/>
                  <a:gd name="connsiteX136" fmla="*/ 315124 w 893905"/>
                  <a:gd name="connsiteY136" fmla="*/ 339282 h 444387"/>
                  <a:gd name="connsiteX137" fmla="*/ 344305 w 893905"/>
                  <a:gd name="connsiteY137" fmla="*/ 362080 h 444387"/>
                  <a:gd name="connsiteX138" fmla="*/ 393378 w 893905"/>
                  <a:gd name="connsiteY138" fmla="*/ 363790 h 444387"/>
                  <a:gd name="connsiteX139" fmla="*/ 422502 w 893905"/>
                  <a:gd name="connsiteY139" fmla="*/ 371769 h 444387"/>
                  <a:gd name="connsiteX140" fmla="*/ 430025 w 893905"/>
                  <a:gd name="connsiteY140" fmla="*/ 387158 h 444387"/>
                  <a:gd name="connsiteX141" fmla="*/ 449461 w 893905"/>
                  <a:gd name="connsiteY141" fmla="*/ 422837 h 444387"/>
                  <a:gd name="connsiteX142" fmla="*/ 459150 w 893905"/>
                  <a:gd name="connsiteY142" fmla="*/ 433096 h 444387"/>
                  <a:gd name="connsiteX143" fmla="*/ 476248 w 893905"/>
                  <a:gd name="connsiteY143" fmla="*/ 438339 h 444387"/>
                  <a:gd name="connsiteX144" fmla="*/ 480865 w 893905"/>
                  <a:gd name="connsiteY144" fmla="*/ 443412 h 444387"/>
                  <a:gd name="connsiteX145" fmla="*/ 495797 w 893905"/>
                  <a:gd name="connsiteY145" fmla="*/ 436629 h 444387"/>
                  <a:gd name="connsiteX146" fmla="*/ 534953 w 893905"/>
                  <a:gd name="connsiteY146" fmla="*/ 414800 h 444387"/>
                  <a:gd name="connsiteX147" fmla="*/ 534953 w 893905"/>
                  <a:gd name="connsiteY147" fmla="*/ 412065 h 444387"/>
                  <a:gd name="connsiteX148" fmla="*/ 538885 w 893905"/>
                  <a:gd name="connsiteY148" fmla="*/ 406365 h 444387"/>
                  <a:gd name="connsiteX149" fmla="*/ 551310 w 893905"/>
                  <a:gd name="connsiteY149" fmla="*/ 394225 h 444387"/>
                  <a:gd name="connsiteX150" fmla="*/ 559346 w 893905"/>
                  <a:gd name="connsiteY150" fmla="*/ 388526 h 444387"/>
                  <a:gd name="connsiteX151" fmla="*/ 581118 w 893905"/>
                  <a:gd name="connsiteY151" fmla="*/ 395365 h 444387"/>
                  <a:gd name="connsiteX152" fmla="*/ 601237 w 893905"/>
                  <a:gd name="connsiteY152" fmla="*/ 386246 h 444387"/>
                  <a:gd name="connsiteX153" fmla="*/ 620559 w 893905"/>
                  <a:gd name="connsiteY153" fmla="*/ 374847 h 444387"/>
                  <a:gd name="connsiteX154" fmla="*/ 629222 w 893905"/>
                  <a:gd name="connsiteY154" fmla="*/ 378780 h 444387"/>
                  <a:gd name="connsiteX155" fmla="*/ 630647 w 893905"/>
                  <a:gd name="connsiteY155" fmla="*/ 382256 h 444387"/>
                  <a:gd name="connsiteX156" fmla="*/ 640450 w 893905"/>
                  <a:gd name="connsiteY156" fmla="*/ 385277 h 444387"/>
                  <a:gd name="connsiteX157" fmla="*/ 712890 w 893905"/>
                  <a:gd name="connsiteY157" fmla="*/ 390463 h 444387"/>
                  <a:gd name="connsiteX158" fmla="*/ 738652 w 893905"/>
                  <a:gd name="connsiteY158" fmla="*/ 403800 h 444387"/>
                  <a:gd name="connsiteX159" fmla="*/ 741331 w 893905"/>
                  <a:gd name="connsiteY159" fmla="*/ 408189 h 444387"/>
                  <a:gd name="connsiteX160" fmla="*/ 742927 w 893905"/>
                  <a:gd name="connsiteY160" fmla="*/ 405453 h 444387"/>
                  <a:gd name="connsiteX161" fmla="*/ 754326 w 893905"/>
                  <a:gd name="connsiteY161" fmla="*/ 382199 h 444387"/>
                  <a:gd name="connsiteX162" fmla="*/ 759575 w 893905"/>
                  <a:gd name="connsiteY162" fmla="*/ 371399 h 444387"/>
                  <a:gd name="connsiteX163" fmla="*/ 759341 w 893905"/>
                  <a:gd name="connsiteY163" fmla="*/ 370800 h 444387"/>
                  <a:gd name="connsiteX164" fmla="*/ 751590 w 893905"/>
                  <a:gd name="connsiteY164" fmla="*/ 363049 h 444387"/>
                  <a:gd name="connsiteX165" fmla="*/ 748398 w 893905"/>
                  <a:gd name="connsiteY165" fmla="*/ 335977 h 444387"/>
                  <a:gd name="connsiteX166" fmla="*/ 747144 w 893905"/>
                  <a:gd name="connsiteY166" fmla="*/ 329878 h 444387"/>
                  <a:gd name="connsiteX167" fmla="*/ 752217 w 893905"/>
                  <a:gd name="connsiteY167" fmla="*/ 324179 h 444387"/>
                  <a:gd name="connsiteX168" fmla="*/ 780714 w 893905"/>
                  <a:gd name="connsiteY168" fmla="*/ 316199 h 444387"/>
                  <a:gd name="connsiteX169" fmla="*/ 796843 w 893905"/>
                  <a:gd name="connsiteY169" fmla="*/ 321158 h 444387"/>
                  <a:gd name="connsiteX170" fmla="*/ 798268 w 893905"/>
                  <a:gd name="connsiteY170" fmla="*/ 304060 h 444387"/>
                  <a:gd name="connsiteX171" fmla="*/ 799693 w 893905"/>
                  <a:gd name="connsiteY171" fmla="*/ 279894 h 444387"/>
                  <a:gd name="connsiteX172" fmla="*/ 808983 w 893905"/>
                  <a:gd name="connsiteY172" fmla="*/ 274194 h 444387"/>
                  <a:gd name="connsiteX173" fmla="*/ 811548 w 893905"/>
                  <a:gd name="connsiteY173" fmla="*/ 265075 h 444387"/>
                  <a:gd name="connsiteX174" fmla="*/ 822320 w 893905"/>
                  <a:gd name="connsiteY174" fmla="*/ 266500 h 444387"/>
                  <a:gd name="connsiteX175" fmla="*/ 845118 w 893905"/>
                  <a:gd name="connsiteY175" fmla="*/ 268780 h 444387"/>
                  <a:gd name="connsiteX176" fmla="*/ 856118 w 893905"/>
                  <a:gd name="connsiteY176" fmla="*/ 263935 h 444387"/>
                  <a:gd name="connsiteX177" fmla="*/ 857543 w 893905"/>
                  <a:gd name="connsiteY177" fmla="*/ 255557 h 444387"/>
                  <a:gd name="connsiteX178" fmla="*/ 861077 w 893905"/>
                  <a:gd name="connsiteY178" fmla="*/ 251453 h 444387"/>
                  <a:gd name="connsiteX179" fmla="*/ 862102 w 893905"/>
                  <a:gd name="connsiteY179" fmla="*/ 242163 h 444387"/>
                  <a:gd name="connsiteX180" fmla="*/ 877149 w 893905"/>
                  <a:gd name="connsiteY180" fmla="*/ 217428 h 444387"/>
                  <a:gd name="connsiteX181" fmla="*/ 882849 w 893905"/>
                  <a:gd name="connsiteY181" fmla="*/ 214350 h 444387"/>
                  <a:gd name="connsiteX182" fmla="*/ 887351 w 893905"/>
                  <a:gd name="connsiteY182" fmla="*/ 205174 h 444387"/>
                  <a:gd name="connsiteX183" fmla="*/ 893906 w 893905"/>
                  <a:gd name="connsiteY183" fmla="*/ 198733 h 444387"/>
                  <a:gd name="connsiteX184" fmla="*/ 879600 w 893905"/>
                  <a:gd name="connsiteY184" fmla="*/ 187505 h 444387"/>
                  <a:gd name="connsiteX185" fmla="*/ 714315 w 893905"/>
                  <a:gd name="connsiteY185" fmla="*/ 283484 h 444387"/>
                  <a:gd name="connsiteX186" fmla="*/ 712263 w 893905"/>
                  <a:gd name="connsiteY186" fmla="*/ 292547 h 444387"/>
                  <a:gd name="connsiteX187" fmla="*/ 686388 w 893905"/>
                  <a:gd name="connsiteY187" fmla="*/ 290780 h 444387"/>
                  <a:gd name="connsiteX188" fmla="*/ 662735 w 893905"/>
                  <a:gd name="connsiteY188" fmla="*/ 290039 h 444387"/>
                  <a:gd name="connsiteX189" fmla="*/ 627227 w 893905"/>
                  <a:gd name="connsiteY189" fmla="*/ 292205 h 444387"/>
                  <a:gd name="connsiteX190" fmla="*/ 625973 w 893905"/>
                  <a:gd name="connsiteY190" fmla="*/ 302863 h 444387"/>
                  <a:gd name="connsiteX191" fmla="*/ 622212 w 893905"/>
                  <a:gd name="connsiteY191" fmla="*/ 306909 h 444387"/>
                  <a:gd name="connsiteX192" fmla="*/ 619419 w 893905"/>
                  <a:gd name="connsiteY192" fmla="*/ 329707 h 444387"/>
                  <a:gd name="connsiteX193" fmla="*/ 604874 w 893905"/>
                  <a:gd name="connsiteY193" fmla="*/ 321050 h 444387"/>
                  <a:gd name="connsiteX194" fmla="*/ 604600 w 893905"/>
                  <a:gd name="connsiteY194" fmla="*/ 319619 h 444387"/>
                  <a:gd name="connsiteX195" fmla="*/ 606766 w 893905"/>
                  <a:gd name="connsiteY195" fmla="*/ 300298 h 444387"/>
                  <a:gd name="connsiteX196" fmla="*/ 600440 w 893905"/>
                  <a:gd name="connsiteY196" fmla="*/ 286961 h 444387"/>
                  <a:gd name="connsiteX197" fmla="*/ 612409 w 893905"/>
                  <a:gd name="connsiteY197" fmla="*/ 283541 h 444387"/>
                  <a:gd name="connsiteX198" fmla="*/ 622610 w 893905"/>
                  <a:gd name="connsiteY198" fmla="*/ 275619 h 444387"/>
                  <a:gd name="connsiteX199" fmla="*/ 634408 w 893905"/>
                  <a:gd name="connsiteY199" fmla="*/ 273852 h 444387"/>
                  <a:gd name="connsiteX200" fmla="*/ 699667 w 893905"/>
                  <a:gd name="connsiteY200" fmla="*/ 273225 h 444387"/>
                  <a:gd name="connsiteX201" fmla="*/ 723036 w 893905"/>
                  <a:gd name="connsiteY201" fmla="*/ 276816 h 444387"/>
                  <a:gd name="connsiteX202" fmla="*/ 714315 w 893905"/>
                  <a:gd name="connsiteY202" fmla="*/ 283712 h 44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893905" h="444387">
                    <a:moveTo>
                      <a:pt x="879600" y="187505"/>
                    </a:moveTo>
                    <a:cubicBezTo>
                      <a:pt x="869341" y="185738"/>
                      <a:pt x="856004" y="190013"/>
                      <a:pt x="850134" y="181350"/>
                    </a:cubicBezTo>
                    <a:cubicBezTo>
                      <a:pt x="848794" y="178187"/>
                      <a:pt x="847232" y="175120"/>
                      <a:pt x="845460" y="172174"/>
                    </a:cubicBezTo>
                    <a:cubicBezTo>
                      <a:pt x="842838" y="169267"/>
                      <a:pt x="838564" y="168583"/>
                      <a:pt x="835315" y="166474"/>
                    </a:cubicBezTo>
                    <a:cubicBezTo>
                      <a:pt x="827678" y="161345"/>
                      <a:pt x="827279" y="149034"/>
                      <a:pt x="819186" y="144531"/>
                    </a:cubicBezTo>
                    <a:cubicBezTo>
                      <a:pt x="812631" y="140827"/>
                      <a:pt x="804538" y="144531"/>
                      <a:pt x="797527" y="146982"/>
                    </a:cubicBezTo>
                    <a:cubicBezTo>
                      <a:pt x="791457" y="149974"/>
                      <a:pt x="784590" y="150955"/>
                      <a:pt x="777921" y="149775"/>
                    </a:cubicBezTo>
                    <a:cubicBezTo>
                      <a:pt x="771122" y="148264"/>
                      <a:pt x="766676" y="141721"/>
                      <a:pt x="767776" y="134842"/>
                    </a:cubicBezTo>
                    <a:cubicBezTo>
                      <a:pt x="765268" y="130796"/>
                      <a:pt x="758828" y="133702"/>
                      <a:pt x="756377" y="137635"/>
                    </a:cubicBezTo>
                    <a:cubicBezTo>
                      <a:pt x="753927" y="141568"/>
                      <a:pt x="751761" y="146811"/>
                      <a:pt x="747144" y="147780"/>
                    </a:cubicBezTo>
                    <a:cubicBezTo>
                      <a:pt x="742528" y="148749"/>
                      <a:pt x="737626" y="143619"/>
                      <a:pt x="734833" y="139003"/>
                    </a:cubicBezTo>
                    <a:lnTo>
                      <a:pt x="714087" y="104806"/>
                    </a:lnTo>
                    <a:cubicBezTo>
                      <a:pt x="711927" y="101660"/>
                      <a:pt x="710308" y="98172"/>
                      <a:pt x="709300" y="94490"/>
                    </a:cubicBezTo>
                    <a:cubicBezTo>
                      <a:pt x="709077" y="91994"/>
                      <a:pt x="708462" y="89554"/>
                      <a:pt x="707476" y="87252"/>
                    </a:cubicBezTo>
                    <a:cubicBezTo>
                      <a:pt x="705367" y="83718"/>
                      <a:pt x="700580" y="82635"/>
                      <a:pt x="698015" y="79386"/>
                    </a:cubicBezTo>
                    <a:cubicBezTo>
                      <a:pt x="694595" y="75112"/>
                      <a:pt x="695906" y="68329"/>
                      <a:pt x="692315" y="64169"/>
                    </a:cubicBezTo>
                    <a:cubicBezTo>
                      <a:pt x="687699" y="58811"/>
                      <a:pt x="677383" y="60806"/>
                      <a:pt x="673963" y="54594"/>
                    </a:cubicBezTo>
                    <a:cubicBezTo>
                      <a:pt x="671113" y="49350"/>
                      <a:pt x="675331" y="41143"/>
                      <a:pt x="670543" y="37495"/>
                    </a:cubicBezTo>
                    <a:cubicBezTo>
                      <a:pt x="666838" y="34702"/>
                      <a:pt x="661709" y="37780"/>
                      <a:pt x="658004" y="40573"/>
                    </a:cubicBezTo>
                    <a:cubicBezTo>
                      <a:pt x="643459" y="51482"/>
                      <a:pt x="626805" y="59244"/>
                      <a:pt x="609103" y="63371"/>
                    </a:cubicBezTo>
                    <a:cubicBezTo>
                      <a:pt x="607792" y="59438"/>
                      <a:pt x="606481" y="55563"/>
                      <a:pt x="605227" y="51630"/>
                    </a:cubicBezTo>
                    <a:cubicBezTo>
                      <a:pt x="596712" y="54126"/>
                      <a:pt x="587616" y="50291"/>
                      <a:pt x="583455" y="42454"/>
                    </a:cubicBezTo>
                    <a:cubicBezTo>
                      <a:pt x="576217" y="38521"/>
                      <a:pt x="567383" y="49977"/>
                      <a:pt x="559973" y="46329"/>
                    </a:cubicBezTo>
                    <a:cubicBezTo>
                      <a:pt x="552564" y="42682"/>
                      <a:pt x="556554" y="33221"/>
                      <a:pt x="556326" y="25811"/>
                    </a:cubicBezTo>
                    <a:cubicBezTo>
                      <a:pt x="555402" y="17205"/>
                      <a:pt x="549977" y="9744"/>
                      <a:pt x="542077" y="6205"/>
                    </a:cubicBezTo>
                    <a:cubicBezTo>
                      <a:pt x="534280" y="2842"/>
                      <a:pt x="525936" y="916"/>
                      <a:pt x="517455" y="506"/>
                    </a:cubicBezTo>
                    <a:cubicBezTo>
                      <a:pt x="512890" y="-412"/>
                      <a:pt x="508165" y="-76"/>
                      <a:pt x="503777" y="1475"/>
                    </a:cubicBezTo>
                    <a:cubicBezTo>
                      <a:pt x="499588" y="4307"/>
                      <a:pt x="495860" y="7767"/>
                      <a:pt x="492720" y="11734"/>
                    </a:cubicBezTo>
                    <a:cubicBezTo>
                      <a:pt x="484683" y="19257"/>
                      <a:pt x="472943" y="20910"/>
                      <a:pt x="462056" y="22563"/>
                    </a:cubicBezTo>
                    <a:cubicBezTo>
                      <a:pt x="443647" y="25355"/>
                      <a:pt x="425352" y="29174"/>
                      <a:pt x="407113" y="32993"/>
                    </a:cubicBezTo>
                    <a:cubicBezTo>
                      <a:pt x="397026" y="35101"/>
                      <a:pt x="385911" y="41713"/>
                      <a:pt x="375880" y="43822"/>
                    </a:cubicBezTo>
                    <a:cubicBezTo>
                      <a:pt x="370922" y="50262"/>
                      <a:pt x="360834" y="48210"/>
                      <a:pt x="353082" y="45702"/>
                    </a:cubicBezTo>
                    <a:cubicBezTo>
                      <a:pt x="345331" y="43195"/>
                      <a:pt x="334844" y="41884"/>
                      <a:pt x="330798" y="49008"/>
                    </a:cubicBezTo>
                    <a:cubicBezTo>
                      <a:pt x="327948" y="54366"/>
                      <a:pt x="333077" y="60407"/>
                      <a:pt x="337865" y="64226"/>
                    </a:cubicBezTo>
                    <a:cubicBezTo>
                      <a:pt x="342652" y="68044"/>
                      <a:pt x="348295" y="73117"/>
                      <a:pt x="346585" y="78987"/>
                    </a:cubicBezTo>
                    <a:cubicBezTo>
                      <a:pt x="342635" y="77021"/>
                      <a:pt x="338287" y="75989"/>
                      <a:pt x="333875" y="75967"/>
                    </a:cubicBezTo>
                    <a:cubicBezTo>
                      <a:pt x="329327" y="76069"/>
                      <a:pt x="325440" y="79272"/>
                      <a:pt x="324471" y="83718"/>
                    </a:cubicBezTo>
                    <a:cubicBezTo>
                      <a:pt x="324614" y="85827"/>
                      <a:pt x="324614" y="87936"/>
                      <a:pt x="324471" y="90044"/>
                    </a:cubicBezTo>
                    <a:cubicBezTo>
                      <a:pt x="323525" y="92102"/>
                      <a:pt x="322300" y="94023"/>
                      <a:pt x="320824" y="95744"/>
                    </a:cubicBezTo>
                    <a:cubicBezTo>
                      <a:pt x="318504" y="99420"/>
                      <a:pt x="318589" y="104128"/>
                      <a:pt x="321051" y="107713"/>
                    </a:cubicBezTo>
                    <a:lnTo>
                      <a:pt x="308455" y="113412"/>
                    </a:lnTo>
                    <a:lnTo>
                      <a:pt x="308455" y="121961"/>
                    </a:lnTo>
                    <a:cubicBezTo>
                      <a:pt x="314554" y="127946"/>
                      <a:pt x="324756" y="127661"/>
                      <a:pt x="331253" y="133360"/>
                    </a:cubicBezTo>
                    <a:cubicBezTo>
                      <a:pt x="337261" y="139727"/>
                      <a:pt x="336970" y="149752"/>
                      <a:pt x="330604" y="155759"/>
                    </a:cubicBezTo>
                    <a:cubicBezTo>
                      <a:pt x="329521" y="156779"/>
                      <a:pt x="328301" y="157646"/>
                      <a:pt x="326979" y="158324"/>
                    </a:cubicBezTo>
                    <a:cubicBezTo>
                      <a:pt x="321878" y="158432"/>
                      <a:pt x="317569" y="154574"/>
                      <a:pt x="317119" y="149490"/>
                    </a:cubicBezTo>
                    <a:lnTo>
                      <a:pt x="290958" y="158267"/>
                    </a:lnTo>
                    <a:cubicBezTo>
                      <a:pt x="288564" y="154654"/>
                      <a:pt x="287020" y="150539"/>
                      <a:pt x="286456" y="146241"/>
                    </a:cubicBezTo>
                    <a:cubicBezTo>
                      <a:pt x="279058" y="149382"/>
                      <a:pt x="270514" y="145973"/>
                      <a:pt x="267305" y="138604"/>
                    </a:cubicBezTo>
                    <a:lnTo>
                      <a:pt x="242342" y="145899"/>
                    </a:lnTo>
                    <a:cubicBezTo>
                      <a:pt x="241601" y="143733"/>
                      <a:pt x="240803" y="141511"/>
                      <a:pt x="240005" y="139288"/>
                    </a:cubicBezTo>
                    <a:cubicBezTo>
                      <a:pt x="230641" y="137897"/>
                      <a:pt x="221157" y="140906"/>
                      <a:pt x="214300" y="147438"/>
                    </a:cubicBezTo>
                    <a:cubicBezTo>
                      <a:pt x="211810" y="150447"/>
                      <a:pt x="208846" y="153023"/>
                      <a:pt x="205523" y="155075"/>
                    </a:cubicBezTo>
                    <a:cubicBezTo>
                      <a:pt x="201989" y="156728"/>
                      <a:pt x="196746" y="155588"/>
                      <a:pt x="195891" y="151827"/>
                    </a:cubicBezTo>
                    <a:cubicBezTo>
                      <a:pt x="192551" y="153468"/>
                      <a:pt x="188784" y="154004"/>
                      <a:pt x="185119" y="153365"/>
                    </a:cubicBezTo>
                    <a:lnTo>
                      <a:pt x="185119" y="141966"/>
                    </a:lnTo>
                    <a:cubicBezTo>
                      <a:pt x="177767" y="141966"/>
                      <a:pt x="171440" y="137179"/>
                      <a:pt x="165285" y="133132"/>
                    </a:cubicBezTo>
                    <a:cubicBezTo>
                      <a:pt x="150580" y="123386"/>
                      <a:pt x="131658" y="117459"/>
                      <a:pt x="115244" y="123956"/>
                    </a:cubicBezTo>
                    <a:cubicBezTo>
                      <a:pt x="110661" y="126401"/>
                      <a:pt x="105777" y="128219"/>
                      <a:pt x="100710" y="129371"/>
                    </a:cubicBezTo>
                    <a:cubicBezTo>
                      <a:pt x="95865" y="129884"/>
                      <a:pt x="90565" y="128288"/>
                      <a:pt x="86404" y="130739"/>
                    </a:cubicBezTo>
                    <a:cubicBezTo>
                      <a:pt x="80705" y="133987"/>
                      <a:pt x="80363" y="142137"/>
                      <a:pt x="74720" y="145101"/>
                    </a:cubicBezTo>
                    <a:cubicBezTo>
                      <a:pt x="69078" y="148065"/>
                      <a:pt x="63321" y="144303"/>
                      <a:pt x="58648" y="147153"/>
                    </a:cubicBezTo>
                    <a:cubicBezTo>
                      <a:pt x="55222" y="149872"/>
                      <a:pt x="53541" y="154237"/>
                      <a:pt x="54259" y="158552"/>
                    </a:cubicBezTo>
                    <a:cubicBezTo>
                      <a:pt x="54920" y="162724"/>
                      <a:pt x="54749" y="166987"/>
                      <a:pt x="53746" y="171091"/>
                    </a:cubicBezTo>
                    <a:cubicBezTo>
                      <a:pt x="52264" y="175023"/>
                      <a:pt x="47135" y="177987"/>
                      <a:pt x="43772" y="175479"/>
                    </a:cubicBezTo>
                    <a:cubicBezTo>
                      <a:pt x="40409" y="172972"/>
                      <a:pt x="41321" y="168526"/>
                      <a:pt x="39783" y="165049"/>
                    </a:cubicBezTo>
                    <a:cubicBezTo>
                      <a:pt x="36972" y="159926"/>
                      <a:pt x="30914" y="157532"/>
                      <a:pt x="25363" y="159350"/>
                    </a:cubicBezTo>
                    <a:cubicBezTo>
                      <a:pt x="20051" y="161316"/>
                      <a:pt x="15280" y="164519"/>
                      <a:pt x="11456" y="168697"/>
                    </a:cubicBezTo>
                    <a:cubicBezTo>
                      <a:pt x="11456" y="174397"/>
                      <a:pt x="11456" y="180552"/>
                      <a:pt x="11456" y="186479"/>
                    </a:cubicBezTo>
                    <a:cubicBezTo>
                      <a:pt x="7501" y="187066"/>
                      <a:pt x="4759" y="190726"/>
                      <a:pt x="5300" y="194687"/>
                    </a:cubicBezTo>
                    <a:cubicBezTo>
                      <a:pt x="5996" y="198477"/>
                      <a:pt x="7706" y="202005"/>
                      <a:pt x="10259" y="204889"/>
                    </a:cubicBezTo>
                    <a:cubicBezTo>
                      <a:pt x="5893" y="206747"/>
                      <a:pt x="2280" y="210018"/>
                      <a:pt x="0" y="214179"/>
                    </a:cubicBezTo>
                    <a:cubicBezTo>
                      <a:pt x="6270" y="212868"/>
                      <a:pt x="11399" y="219878"/>
                      <a:pt x="13451" y="225578"/>
                    </a:cubicBezTo>
                    <a:cubicBezTo>
                      <a:pt x="15503" y="231277"/>
                      <a:pt x="18580" y="238687"/>
                      <a:pt x="24850" y="239997"/>
                    </a:cubicBezTo>
                    <a:cubicBezTo>
                      <a:pt x="27586" y="240567"/>
                      <a:pt x="30549" y="239997"/>
                      <a:pt x="33114" y="240567"/>
                    </a:cubicBezTo>
                    <a:cubicBezTo>
                      <a:pt x="38358" y="242049"/>
                      <a:pt x="40409" y="248148"/>
                      <a:pt x="42404" y="253220"/>
                    </a:cubicBezTo>
                    <a:cubicBezTo>
                      <a:pt x="44399" y="258293"/>
                      <a:pt x="48845" y="263821"/>
                      <a:pt x="53803" y="262339"/>
                    </a:cubicBezTo>
                    <a:cubicBezTo>
                      <a:pt x="52088" y="270062"/>
                      <a:pt x="51358" y="277973"/>
                      <a:pt x="51637" y="285878"/>
                    </a:cubicBezTo>
                    <a:lnTo>
                      <a:pt x="54373" y="284909"/>
                    </a:lnTo>
                    <a:cubicBezTo>
                      <a:pt x="57964" y="283997"/>
                      <a:pt x="61611" y="283427"/>
                      <a:pt x="65088" y="282173"/>
                    </a:cubicBezTo>
                    <a:cubicBezTo>
                      <a:pt x="73295" y="278674"/>
                      <a:pt x="80402" y="273020"/>
                      <a:pt x="85663" y="265816"/>
                    </a:cubicBezTo>
                    <a:cubicBezTo>
                      <a:pt x="87082" y="263679"/>
                      <a:pt x="89049" y="261963"/>
                      <a:pt x="91363" y="260857"/>
                    </a:cubicBezTo>
                    <a:cubicBezTo>
                      <a:pt x="94087" y="260293"/>
                      <a:pt x="96920" y="260527"/>
                      <a:pt x="99513" y="261541"/>
                    </a:cubicBezTo>
                    <a:cubicBezTo>
                      <a:pt x="111875" y="264790"/>
                      <a:pt x="124779" y="265468"/>
                      <a:pt x="137415" y="263536"/>
                    </a:cubicBezTo>
                    <a:cubicBezTo>
                      <a:pt x="138805" y="263103"/>
                      <a:pt x="140310" y="263268"/>
                      <a:pt x="141575" y="263992"/>
                    </a:cubicBezTo>
                    <a:cubicBezTo>
                      <a:pt x="142350" y="264864"/>
                      <a:pt x="142886" y="265924"/>
                      <a:pt x="143114" y="267070"/>
                    </a:cubicBezTo>
                    <a:cubicBezTo>
                      <a:pt x="145679" y="272080"/>
                      <a:pt x="149269" y="276485"/>
                      <a:pt x="153658" y="280008"/>
                    </a:cubicBezTo>
                    <a:cubicBezTo>
                      <a:pt x="157476" y="284111"/>
                      <a:pt x="160326" y="290552"/>
                      <a:pt x="157135" y="295168"/>
                    </a:cubicBezTo>
                    <a:cubicBezTo>
                      <a:pt x="154798" y="298645"/>
                      <a:pt x="149725" y="299842"/>
                      <a:pt x="148016" y="303661"/>
                    </a:cubicBezTo>
                    <a:cubicBezTo>
                      <a:pt x="146704" y="306510"/>
                      <a:pt x="147674" y="309873"/>
                      <a:pt x="146704" y="312837"/>
                    </a:cubicBezTo>
                    <a:cubicBezTo>
                      <a:pt x="144995" y="317681"/>
                      <a:pt x="138953" y="319220"/>
                      <a:pt x="133881" y="320018"/>
                    </a:cubicBezTo>
                    <a:lnTo>
                      <a:pt x="104187" y="324635"/>
                    </a:lnTo>
                    <a:cubicBezTo>
                      <a:pt x="103503" y="329992"/>
                      <a:pt x="102762" y="335407"/>
                      <a:pt x="102021" y="340764"/>
                    </a:cubicBezTo>
                    <a:cubicBezTo>
                      <a:pt x="96242" y="338017"/>
                      <a:pt x="89681" y="337413"/>
                      <a:pt x="83497" y="339054"/>
                    </a:cubicBezTo>
                    <a:cubicBezTo>
                      <a:pt x="82130" y="344754"/>
                      <a:pt x="87316" y="349826"/>
                      <a:pt x="92274" y="352961"/>
                    </a:cubicBezTo>
                    <a:cubicBezTo>
                      <a:pt x="97233" y="356096"/>
                      <a:pt x="103161" y="359401"/>
                      <a:pt x="104357" y="365158"/>
                    </a:cubicBezTo>
                    <a:cubicBezTo>
                      <a:pt x="105098" y="368806"/>
                      <a:pt x="103902" y="373251"/>
                      <a:pt x="106694" y="375759"/>
                    </a:cubicBezTo>
                    <a:lnTo>
                      <a:pt x="115072" y="376443"/>
                    </a:lnTo>
                    <a:lnTo>
                      <a:pt x="115813" y="385733"/>
                    </a:lnTo>
                    <a:cubicBezTo>
                      <a:pt x="123086" y="384827"/>
                      <a:pt x="130473" y="385670"/>
                      <a:pt x="137358" y="388184"/>
                    </a:cubicBezTo>
                    <a:cubicBezTo>
                      <a:pt x="138554" y="388543"/>
                      <a:pt x="139637" y="389210"/>
                      <a:pt x="140492" y="390121"/>
                    </a:cubicBezTo>
                    <a:cubicBezTo>
                      <a:pt x="141581" y="392008"/>
                      <a:pt x="141581" y="394333"/>
                      <a:pt x="140492" y="396220"/>
                    </a:cubicBezTo>
                    <a:cubicBezTo>
                      <a:pt x="138668" y="400780"/>
                      <a:pt x="134793" y="404370"/>
                      <a:pt x="133254" y="409101"/>
                    </a:cubicBezTo>
                    <a:cubicBezTo>
                      <a:pt x="131715" y="413831"/>
                      <a:pt x="135249" y="420500"/>
                      <a:pt x="140036" y="419132"/>
                    </a:cubicBezTo>
                    <a:cubicBezTo>
                      <a:pt x="143456" y="418163"/>
                      <a:pt x="144482" y="413888"/>
                      <a:pt x="144995" y="410355"/>
                    </a:cubicBezTo>
                    <a:cubicBezTo>
                      <a:pt x="145508" y="406821"/>
                      <a:pt x="146078" y="401862"/>
                      <a:pt x="146648" y="397588"/>
                    </a:cubicBezTo>
                    <a:cubicBezTo>
                      <a:pt x="146648" y="395707"/>
                      <a:pt x="147787" y="393256"/>
                      <a:pt x="149668" y="393427"/>
                    </a:cubicBezTo>
                    <a:cubicBezTo>
                      <a:pt x="150415" y="393547"/>
                      <a:pt x="151105" y="393883"/>
                      <a:pt x="151663" y="394396"/>
                    </a:cubicBezTo>
                    <a:cubicBezTo>
                      <a:pt x="155676" y="396870"/>
                      <a:pt x="158759" y="400597"/>
                      <a:pt x="160440" y="404997"/>
                    </a:cubicBezTo>
                    <a:cubicBezTo>
                      <a:pt x="160440" y="404997"/>
                      <a:pt x="160440" y="405510"/>
                      <a:pt x="160440" y="405738"/>
                    </a:cubicBezTo>
                    <a:cubicBezTo>
                      <a:pt x="161352" y="404142"/>
                      <a:pt x="162321" y="402546"/>
                      <a:pt x="163290" y="401008"/>
                    </a:cubicBezTo>
                    <a:cubicBezTo>
                      <a:pt x="163940" y="399651"/>
                      <a:pt x="164897" y="398460"/>
                      <a:pt x="166083" y="397531"/>
                    </a:cubicBezTo>
                    <a:cubicBezTo>
                      <a:pt x="168380" y="396220"/>
                      <a:pt x="171195" y="396220"/>
                      <a:pt x="173492" y="397531"/>
                    </a:cubicBezTo>
                    <a:cubicBezTo>
                      <a:pt x="175669" y="398836"/>
                      <a:pt x="177601" y="400512"/>
                      <a:pt x="179191" y="402489"/>
                    </a:cubicBezTo>
                    <a:lnTo>
                      <a:pt x="192699" y="416738"/>
                    </a:lnTo>
                    <a:cubicBezTo>
                      <a:pt x="197601" y="421925"/>
                      <a:pt x="203528" y="427510"/>
                      <a:pt x="210653" y="426940"/>
                    </a:cubicBezTo>
                    <a:cubicBezTo>
                      <a:pt x="211462" y="426872"/>
                      <a:pt x="212266" y="426718"/>
                      <a:pt x="213046" y="426484"/>
                    </a:cubicBezTo>
                    <a:cubicBezTo>
                      <a:pt x="211017" y="423931"/>
                      <a:pt x="211017" y="420317"/>
                      <a:pt x="213046" y="417764"/>
                    </a:cubicBezTo>
                    <a:lnTo>
                      <a:pt x="213388" y="328795"/>
                    </a:lnTo>
                    <a:lnTo>
                      <a:pt x="213388" y="326458"/>
                    </a:lnTo>
                    <a:cubicBezTo>
                      <a:pt x="219755" y="320269"/>
                      <a:pt x="227603" y="315812"/>
                      <a:pt x="236186" y="313521"/>
                    </a:cubicBezTo>
                    <a:lnTo>
                      <a:pt x="238751" y="312951"/>
                    </a:lnTo>
                    <a:cubicBezTo>
                      <a:pt x="238808" y="311059"/>
                      <a:pt x="239555" y="309252"/>
                      <a:pt x="240860" y="307878"/>
                    </a:cubicBezTo>
                    <a:cubicBezTo>
                      <a:pt x="243174" y="305906"/>
                      <a:pt x="245967" y="304573"/>
                      <a:pt x="248953" y="304003"/>
                    </a:cubicBezTo>
                    <a:cubicBezTo>
                      <a:pt x="254561" y="302566"/>
                      <a:pt x="260284" y="301614"/>
                      <a:pt x="266051" y="301153"/>
                    </a:cubicBezTo>
                    <a:cubicBezTo>
                      <a:pt x="268548" y="301176"/>
                      <a:pt x="271016" y="300651"/>
                      <a:pt x="273290" y="299614"/>
                    </a:cubicBezTo>
                    <a:cubicBezTo>
                      <a:pt x="275057" y="298645"/>
                      <a:pt x="276367" y="297049"/>
                      <a:pt x="278134" y="296023"/>
                    </a:cubicBezTo>
                    <a:cubicBezTo>
                      <a:pt x="282198" y="294621"/>
                      <a:pt x="286530" y="294194"/>
                      <a:pt x="290787" y="294769"/>
                    </a:cubicBezTo>
                    <a:cubicBezTo>
                      <a:pt x="295062" y="294769"/>
                      <a:pt x="300192" y="291692"/>
                      <a:pt x="299507" y="287474"/>
                    </a:cubicBezTo>
                    <a:cubicBezTo>
                      <a:pt x="298983" y="285850"/>
                      <a:pt x="298373" y="284248"/>
                      <a:pt x="297684" y="282687"/>
                    </a:cubicBezTo>
                    <a:cubicBezTo>
                      <a:pt x="296145" y="276987"/>
                      <a:pt x="303383" y="272940"/>
                      <a:pt x="309425" y="272883"/>
                    </a:cubicBezTo>
                    <a:cubicBezTo>
                      <a:pt x="319524" y="272792"/>
                      <a:pt x="329099" y="277380"/>
                      <a:pt x="335357" y="285308"/>
                    </a:cubicBezTo>
                    <a:cubicBezTo>
                      <a:pt x="329133" y="286323"/>
                      <a:pt x="323012" y="287884"/>
                      <a:pt x="317062" y="289982"/>
                    </a:cubicBezTo>
                    <a:cubicBezTo>
                      <a:pt x="313562" y="290996"/>
                      <a:pt x="310319" y="292746"/>
                      <a:pt x="307544" y="295111"/>
                    </a:cubicBezTo>
                    <a:cubicBezTo>
                      <a:pt x="304757" y="297568"/>
                      <a:pt x="303514" y="301341"/>
                      <a:pt x="304295" y="304971"/>
                    </a:cubicBezTo>
                    <a:cubicBezTo>
                      <a:pt x="306062" y="311013"/>
                      <a:pt x="314041" y="312609"/>
                      <a:pt x="317803" y="317624"/>
                    </a:cubicBezTo>
                    <a:cubicBezTo>
                      <a:pt x="322476" y="323837"/>
                      <a:pt x="319228" y="332443"/>
                      <a:pt x="315124" y="339282"/>
                    </a:cubicBezTo>
                    <a:cubicBezTo>
                      <a:pt x="322556" y="349433"/>
                      <a:pt x="332656" y="357327"/>
                      <a:pt x="344305" y="362080"/>
                    </a:cubicBezTo>
                    <a:cubicBezTo>
                      <a:pt x="359808" y="367780"/>
                      <a:pt x="376906" y="364759"/>
                      <a:pt x="393378" y="363790"/>
                    </a:cubicBezTo>
                    <a:cubicBezTo>
                      <a:pt x="403751" y="363220"/>
                      <a:pt x="415549" y="363790"/>
                      <a:pt x="422502" y="371769"/>
                    </a:cubicBezTo>
                    <a:cubicBezTo>
                      <a:pt x="425916" y="376403"/>
                      <a:pt x="428464" y="381618"/>
                      <a:pt x="430025" y="387158"/>
                    </a:cubicBezTo>
                    <a:cubicBezTo>
                      <a:pt x="435246" y="399697"/>
                      <a:pt x="441755" y="411654"/>
                      <a:pt x="449461" y="422837"/>
                    </a:cubicBezTo>
                    <a:cubicBezTo>
                      <a:pt x="451644" y="427111"/>
                      <a:pt x="455006" y="430673"/>
                      <a:pt x="459150" y="433096"/>
                    </a:cubicBezTo>
                    <a:cubicBezTo>
                      <a:pt x="464849" y="435603"/>
                      <a:pt x="471803" y="434178"/>
                      <a:pt x="476248" y="438339"/>
                    </a:cubicBezTo>
                    <a:cubicBezTo>
                      <a:pt x="477901" y="439935"/>
                      <a:pt x="478927" y="442158"/>
                      <a:pt x="480865" y="443412"/>
                    </a:cubicBezTo>
                    <a:cubicBezTo>
                      <a:pt x="485937" y="446660"/>
                      <a:pt x="491808" y="441132"/>
                      <a:pt x="495797" y="436629"/>
                    </a:cubicBezTo>
                    <a:cubicBezTo>
                      <a:pt x="506096" y="425247"/>
                      <a:pt x="519855" y="417576"/>
                      <a:pt x="534953" y="414800"/>
                    </a:cubicBezTo>
                    <a:cubicBezTo>
                      <a:pt x="534753" y="413900"/>
                      <a:pt x="534753" y="412965"/>
                      <a:pt x="534953" y="412065"/>
                    </a:cubicBezTo>
                    <a:cubicBezTo>
                      <a:pt x="535745" y="409853"/>
                      <a:pt x="537101" y="407893"/>
                      <a:pt x="538885" y="406365"/>
                    </a:cubicBezTo>
                    <a:lnTo>
                      <a:pt x="551310" y="394225"/>
                    </a:lnTo>
                    <a:cubicBezTo>
                      <a:pt x="553436" y="391643"/>
                      <a:pt x="556212" y="389677"/>
                      <a:pt x="559346" y="388526"/>
                    </a:cubicBezTo>
                    <a:cubicBezTo>
                      <a:pt x="566870" y="386645"/>
                      <a:pt x="573424" y="394225"/>
                      <a:pt x="581118" y="395365"/>
                    </a:cubicBezTo>
                    <a:cubicBezTo>
                      <a:pt x="588813" y="396505"/>
                      <a:pt x="595595" y="391375"/>
                      <a:pt x="601237" y="386246"/>
                    </a:cubicBezTo>
                    <a:cubicBezTo>
                      <a:pt x="606880" y="381116"/>
                      <a:pt x="612978" y="375417"/>
                      <a:pt x="620559" y="374847"/>
                    </a:cubicBezTo>
                    <a:cubicBezTo>
                      <a:pt x="623956" y="374414"/>
                      <a:pt x="627307" y="375936"/>
                      <a:pt x="629222" y="378780"/>
                    </a:cubicBezTo>
                    <a:cubicBezTo>
                      <a:pt x="629792" y="379920"/>
                      <a:pt x="630020" y="381173"/>
                      <a:pt x="630647" y="382256"/>
                    </a:cubicBezTo>
                    <a:cubicBezTo>
                      <a:pt x="632528" y="385334"/>
                      <a:pt x="636859" y="385448"/>
                      <a:pt x="640450" y="385277"/>
                    </a:cubicBezTo>
                    <a:cubicBezTo>
                      <a:pt x="664718" y="383772"/>
                      <a:pt x="689084" y="385516"/>
                      <a:pt x="712890" y="390463"/>
                    </a:cubicBezTo>
                    <a:cubicBezTo>
                      <a:pt x="722522" y="392629"/>
                      <a:pt x="732724" y="395878"/>
                      <a:pt x="738652" y="403800"/>
                    </a:cubicBezTo>
                    <a:cubicBezTo>
                      <a:pt x="739666" y="405185"/>
                      <a:pt x="740561" y="406656"/>
                      <a:pt x="741331" y="408189"/>
                    </a:cubicBezTo>
                    <a:cubicBezTo>
                      <a:pt x="741963" y="407340"/>
                      <a:pt x="742499" y="406422"/>
                      <a:pt x="742927" y="405453"/>
                    </a:cubicBezTo>
                    <a:lnTo>
                      <a:pt x="754326" y="382199"/>
                    </a:lnTo>
                    <a:cubicBezTo>
                      <a:pt x="758759" y="380666"/>
                      <a:pt x="761108" y="375827"/>
                      <a:pt x="759575" y="371399"/>
                    </a:cubicBezTo>
                    <a:cubicBezTo>
                      <a:pt x="759500" y="371194"/>
                      <a:pt x="759426" y="370994"/>
                      <a:pt x="759341" y="370800"/>
                    </a:cubicBezTo>
                    <a:cubicBezTo>
                      <a:pt x="757631" y="367609"/>
                      <a:pt x="753642" y="365899"/>
                      <a:pt x="751590" y="363049"/>
                    </a:cubicBezTo>
                    <a:cubicBezTo>
                      <a:pt x="745890" y="355811"/>
                      <a:pt x="751020" y="344868"/>
                      <a:pt x="748398" y="335977"/>
                    </a:cubicBezTo>
                    <a:cubicBezTo>
                      <a:pt x="747537" y="334061"/>
                      <a:pt x="747110" y="331981"/>
                      <a:pt x="747144" y="329878"/>
                    </a:cubicBezTo>
                    <a:cubicBezTo>
                      <a:pt x="747988" y="327370"/>
                      <a:pt x="749823" y="325307"/>
                      <a:pt x="752217" y="324179"/>
                    </a:cubicBezTo>
                    <a:cubicBezTo>
                      <a:pt x="760766" y="318479"/>
                      <a:pt x="770911" y="312780"/>
                      <a:pt x="780714" y="316199"/>
                    </a:cubicBezTo>
                    <a:cubicBezTo>
                      <a:pt x="786414" y="317966"/>
                      <a:pt x="791315" y="322526"/>
                      <a:pt x="796843" y="321158"/>
                    </a:cubicBezTo>
                    <a:cubicBezTo>
                      <a:pt x="798137" y="315555"/>
                      <a:pt x="798616" y="309799"/>
                      <a:pt x="798268" y="304060"/>
                    </a:cubicBezTo>
                    <a:cubicBezTo>
                      <a:pt x="797813" y="296992"/>
                      <a:pt x="799693" y="286961"/>
                      <a:pt x="799693" y="279894"/>
                    </a:cubicBezTo>
                    <a:lnTo>
                      <a:pt x="808983" y="274194"/>
                    </a:lnTo>
                    <a:cubicBezTo>
                      <a:pt x="808014" y="270911"/>
                      <a:pt x="809012" y="267366"/>
                      <a:pt x="811548" y="265075"/>
                    </a:cubicBezTo>
                    <a:cubicBezTo>
                      <a:pt x="814740" y="263023"/>
                      <a:pt x="818787" y="265075"/>
                      <a:pt x="822320" y="266500"/>
                    </a:cubicBezTo>
                    <a:cubicBezTo>
                      <a:pt x="829684" y="268814"/>
                      <a:pt x="837441" y="269589"/>
                      <a:pt x="845118" y="268780"/>
                    </a:cubicBezTo>
                    <a:cubicBezTo>
                      <a:pt x="849336" y="268780"/>
                      <a:pt x="854465" y="267868"/>
                      <a:pt x="856118" y="263935"/>
                    </a:cubicBezTo>
                    <a:cubicBezTo>
                      <a:pt x="857201" y="261314"/>
                      <a:pt x="856118" y="258236"/>
                      <a:pt x="857543" y="255557"/>
                    </a:cubicBezTo>
                    <a:cubicBezTo>
                      <a:pt x="858455" y="253961"/>
                      <a:pt x="860108" y="252992"/>
                      <a:pt x="861077" y="251453"/>
                    </a:cubicBezTo>
                    <a:cubicBezTo>
                      <a:pt x="862370" y="248535"/>
                      <a:pt x="862729" y="245292"/>
                      <a:pt x="862102" y="242163"/>
                    </a:cubicBezTo>
                    <a:cubicBezTo>
                      <a:pt x="861789" y="231670"/>
                      <a:pt x="867688" y="221976"/>
                      <a:pt x="877149" y="217428"/>
                    </a:cubicBezTo>
                    <a:cubicBezTo>
                      <a:pt x="879178" y="216664"/>
                      <a:pt x="881093" y="215627"/>
                      <a:pt x="882849" y="214350"/>
                    </a:cubicBezTo>
                    <a:cubicBezTo>
                      <a:pt x="885049" y="211688"/>
                      <a:pt x="886593" y="208542"/>
                      <a:pt x="887351" y="205174"/>
                    </a:cubicBezTo>
                    <a:cubicBezTo>
                      <a:pt x="888491" y="202153"/>
                      <a:pt x="890771" y="199018"/>
                      <a:pt x="893906" y="198733"/>
                    </a:cubicBezTo>
                    <a:cubicBezTo>
                      <a:pt x="890959" y="193119"/>
                      <a:pt x="885749" y="189038"/>
                      <a:pt x="879600" y="187505"/>
                    </a:cubicBezTo>
                    <a:close/>
                    <a:moveTo>
                      <a:pt x="714315" y="283484"/>
                    </a:moveTo>
                    <a:cubicBezTo>
                      <a:pt x="711009" y="285422"/>
                      <a:pt x="708616" y="290951"/>
                      <a:pt x="712263" y="292547"/>
                    </a:cubicBezTo>
                    <a:lnTo>
                      <a:pt x="686388" y="290780"/>
                    </a:lnTo>
                    <a:cubicBezTo>
                      <a:pt x="678522" y="290079"/>
                      <a:pt x="670629" y="289828"/>
                      <a:pt x="662735" y="290039"/>
                    </a:cubicBezTo>
                    <a:cubicBezTo>
                      <a:pt x="650960" y="291526"/>
                      <a:pt x="639099" y="292250"/>
                      <a:pt x="627227" y="292205"/>
                    </a:cubicBezTo>
                    <a:cubicBezTo>
                      <a:pt x="628122" y="295790"/>
                      <a:pt x="627678" y="299580"/>
                      <a:pt x="625973" y="302863"/>
                    </a:cubicBezTo>
                    <a:cubicBezTo>
                      <a:pt x="624890" y="304345"/>
                      <a:pt x="623295" y="305427"/>
                      <a:pt x="622212" y="306909"/>
                    </a:cubicBezTo>
                    <a:cubicBezTo>
                      <a:pt x="617424" y="313008"/>
                      <a:pt x="622212" y="322355"/>
                      <a:pt x="619419" y="329707"/>
                    </a:cubicBezTo>
                    <a:cubicBezTo>
                      <a:pt x="613013" y="331331"/>
                      <a:pt x="606498" y="327462"/>
                      <a:pt x="604874" y="321050"/>
                    </a:cubicBezTo>
                    <a:cubicBezTo>
                      <a:pt x="604754" y="320582"/>
                      <a:pt x="604663" y="320104"/>
                      <a:pt x="604600" y="319619"/>
                    </a:cubicBezTo>
                    <a:cubicBezTo>
                      <a:pt x="604087" y="313065"/>
                      <a:pt x="609160" y="306453"/>
                      <a:pt x="606766" y="300298"/>
                    </a:cubicBezTo>
                    <a:cubicBezTo>
                      <a:pt x="604885" y="295567"/>
                      <a:pt x="598787" y="291806"/>
                      <a:pt x="600440" y="286961"/>
                    </a:cubicBezTo>
                    <a:cubicBezTo>
                      <a:pt x="604754" y="287976"/>
                      <a:pt x="609285" y="286682"/>
                      <a:pt x="612409" y="283541"/>
                    </a:cubicBezTo>
                    <a:cubicBezTo>
                      <a:pt x="615429" y="280447"/>
                      <a:pt x="618860" y="277779"/>
                      <a:pt x="622610" y="275619"/>
                    </a:cubicBezTo>
                    <a:cubicBezTo>
                      <a:pt x="626372" y="274206"/>
                      <a:pt x="630396" y="273601"/>
                      <a:pt x="634408" y="273852"/>
                    </a:cubicBezTo>
                    <a:lnTo>
                      <a:pt x="699667" y="273225"/>
                    </a:lnTo>
                    <a:cubicBezTo>
                      <a:pt x="707630" y="272530"/>
                      <a:pt x="715649" y="273761"/>
                      <a:pt x="723036" y="276816"/>
                    </a:cubicBezTo>
                    <a:cubicBezTo>
                      <a:pt x="721838" y="280578"/>
                      <a:pt x="717393" y="281832"/>
                      <a:pt x="714315" y="28371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0" name="Freihandform: Form 396">
                <a:extLst>
                  <a:ext uri="{FF2B5EF4-FFF2-40B4-BE49-F238E27FC236}">
                    <a16:creationId xmlns:a16="http://schemas.microsoft.com/office/drawing/2014/main" id="{88312B4A-C01D-12D8-F923-0B6F9F551E9B}"/>
                  </a:ext>
                </a:extLst>
              </p:cNvPr>
              <p:cNvSpPr/>
              <p:nvPr/>
            </p:nvSpPr>
            <p:spPr>
              <a:xfrm>
                <a:off x="4249985" y="2880582"/>
                <a:ext cx="385577" cy="243598"/>
              </a:xfrm>
              <a:custGeom>
                <a:avLst/>
                <a:gdLst>
                  <a:gd name="connsiteX0" fmla="*/ 381069 w 385577"/>
                  <a:gd name="connsiteY0" fmla="*/ 87620 h 243598"/>
                  <a:gd name="connsiteX1" fmla="*/ 358271 w 385577"/>
                  <a:gd name="connsiteY1" fmla="*/ 83858 h 243598"/>
                  <a:gd name="connsiteX2" fmla="*/ 355478 w 385577"/>
                  <a:gd name="connsiteY2" fmla="*/ 79184 h 243598"/>
                  <a:gd name="connsiteX3" fmla="*/ 345390 w 385577"/>
                  <a:gd name="connsiteY3" fmla="*/ 75366 h 243598"/>
                  <a:gd name="connsiteX4" fmla="*/ 334390 w 385577"/>
                  <a:gd name="connsiteY4" fmla="*/ 73827 h 243598"/>
                  <a:gd name="connsiteX5" fmla="*/ 331369 w 385577"/>
                  <a:gd name="connsiteY5" fmla="*/ 64594 h 243598"/>
                  <a:gd name="connsiteX6" fmla="*/ 309084 w 385577"/>
                  <a:gd name="connsiteY6" fmla="*/ 66418 h 243598"/>
                  <a:gd name="connsiteX7" fmla="*/ 289136 w 385577"/>
                  <a:gd name="connsiteY7" fmla="*/ 59179 h 243598"/>
                  <a:gd name="connsiteX8" fmla="*/ 286571 w 385577"/>
                  <a:gd name="connsiteY8" fmla="*/ 53480 h 243598"/>
                  <a:gd name="connsiteX9" fmla="*/ 257390 w 385577"/>
                  <a:gd name="connsiteY9" fmla="*/ 34387 h 243598"/>
                  <a:gd name="connsiteX10" fmla="*/ 247074 w 385577"/>
                  <a:gd name="connsiteY10" fmla="*/ 3096 h 243598"/>
                  <a:gd name="connsiteX11" fmla="*/ 221256 w 385577"/>
                  <a:gd name="connsiteY11" fmla="*/ 1957 h 243598"/>
                  <a:gd name="connsiteX12" fmla="*/ 174178 w 385577"/>
                  <a:gd name="connsiteY12" fmla="*/ 27661 h 243598"/>
                  <a:gd name="connsiteX13" fmla="*/ 170758 w 385577"/>
                  <a:gd name="connsiteY13" fmla="*/ 32563 h 243598"/>
                  <a:gd name="connsiteX14" fmla="*/ 161981 w 385577"/>
                  <a:gd name="connsiteY14" fmla="*/ 33703 h 243598"/>
                  <a:gd name="connsiteX15" fmla="*/ 102250 w 385577"/>
                  <a:gd name="connsiteY15" fmla="*/ 22931 h 243598"/>
                  <a:gd name="connsiteX16" fmla="*/ 70903 w 385577"/>
                  <a:gd name="connsiteY16" fmla="*/ 16547 h 243598"/>
                  <a:gd name="connsiteX17" fmla="*/ 40639 w 385577"/>
                  <a:gd name="connsiteY17" fmla="*/ 18257 h 243598"/>
                  <a:gd name="connsiteX18" fmla="*/ 29240 w 385577"/>
                  <a:gd name="connsiteY18" fmla="*/ 33247 h 243598"/>
                  <a:gd name="connsiteX19" fmla="*/ 28157 w 385577"/>
                  <a:gd name="connsiteY19" fmla="*/ 36609 h 243598"/>
                  <a:gd name="connsiteX20" fmla="*/ 40753 w 385577"/>
                  <a:gd name="connsiteY20" fmla="*/ 51770 h 243598"/>
                  <a:gd name="connsiteX21" fmla="*/ 32147 w 385577"/>
                  <a:gd name="connsiteY21" fmla="*/ 61630 h 243598"/>
                  <a:gd name="connsiteX22" fmla="*/ 18696 w 385577"/>
                  <a:gd name="connsiteY22" fmla="*/ 75822 h 243598"/>
                  <a:gd name="connsiteX23" fmla="*/ 5245 w 385577"/>
                  <a:gd name="connsiteY23" fmla="*/ 88418 h 243598"/>
                  <a:gd name="connsiteX24" fmla="*/ 3992 w 385577"/>
                  <a:gd name="connsiteY24" fmla="*/ 110133 h 243598"/>
                  <a:gd name="connsiteX25" fmla="*/ 59 w 385577"/>
                  <a:gd name="connsiteY25" fmla="*/ 118454 h 243598"/>
                  <a:gd name="connsiteX26" fmla="*/ 1427 w 385577"/>
                  <a:gd name="connsiteY26" fmla="*/ 121133 h 243598"/>
                  <a:gd name="connsiteX27" fmla="*/ 19266 w 385577"/>
                  <a:gd name="connsiteY27" fmla="*/ 133272 h 243598"/>
                  <a:gd name="connsiteX28" fmla="*/ 29924 w 385577"/>
                  <a:gd name="connsiteY28" fmla="*/ 135552 h 243598"/>
                  <a:gd name="connsiteX29" fmla="*/ 47023 w 385577"/>
                  <a:gd name="connsiteY29" fmla="*/ 143474 h 243598"/>
                  <a:gd name="connsiteX30" fmla="*/ 64748 w 385577"/>
                  <a:gd name="connsiteY30" fmla="*/ 140169 h 243598"/>
                  <a:gd name="connsiteX31" fmla="*/ 86292 w 385577"/>
                  <a:gd name="connsiteY31" fmla="*/ 130309 h 243598"/>
                  <a:gd name="connsiteX32" fmla="*/ 94100 w 385577"/>
                  <a:gd name="connsiteY32" fmla="*/ 125179 h 243598"/>
                  <a:gd name="connsiteX33" fmla="*/ 135592 w 385577"/>
                  <a:gd name="connsiteY33" fmla="*/ 130195 h 243598"/>
                  <a:gd name="connsiteX34" fmla="*/ 153603 w 385577"/>
                  <a:gd name="connsiteY34" fmla="*/ 149231 h 243598"/>
                  <a:gd name="connsiteX35" fmla="*/ 161411 w 385577"/>
                  <a:gd name="connsiteY35" fmla="*/ 154930 h 243598"/>
                  <a:gd name="connsiteX36" fmla="*/ 164888 w 385577"/>
                  <a:gd name="connsiteY36" fmla="*/ 164163 h 243598"/>
                  <a:gd name="connsiteX37" fmla="*/ 168421 w 385577"/>
                  <a:gd name="connsiteY37" fmla="*/ 169065 h 243598"/>
                  <a:gd name="connsiteX38" fmla="*/ 168421 w 385577"/>
                  <a:gd name="connsiteY38" fmla="*/ 169065 h 243598"/>
                  <a:gd name="connsiteX39" fmla="*/ 165914 w 385577"/>
                  <a:gd name="connsiteY39" fmla="*/ 176303 h 243598"/>
                  <a:gd name="connsiteX40" fmla="*/ 164774 w 385577"/>
                  <a:gd name="connsiteY40" fmla="*/ 182459 h 243598"/>
                  <a:gd name="connsiteX41" fmla="*/ 152748 w 385577"/>
                  <a:gd name="connsiteY41" fmla="*/ 189982 h 243598"/>
                  <a:gd name="connsiteX42" fmla="*/ 150126 w 385577"/>
                  <a:gd name="connsiteY42" fmla="*/ 193231 h 243598"/>
                  <a:gd name="connsiteX43" fmla="*/ 144426 w 385577"/>
                  <a:gd name="connsiteY43" fmla="*/ 196423 h 243598"/>
                  <a:gd name="connsiteX44" fmla="*/ 135478 w 385577"/>
                  <a:gd name="connsiteY44" fmla="*/ 204288 h 243598"/>
                  <a:gd name="connsiteX45" fmla="*/ 135478 w 385577"/>
                  <a:gd name="connsiteY45" fmla="*/ 212552 h 243598"/>
                  <a:gd name="connsiteX46" fmla="*/ 138556 w 385577"/>
                  <a:gd name="connsiteY46" fmla="*/ 213863 h 243598"/>
                  <a:gd name="connsiteX47" fmla="*/ 147960 w 385577"/>
                  <a:gd name="connsiteY47" fmla="*/ 216086 h 243598"/>
                  <a:gd name="connsiteX48" fmla="*/ 148359 w 385577"/>
                  <a:gd name="connsiteY48" fmla="*/ 213179 h 243598"/>
                  <a:gd name="connsiteX49" fmla="*/ 160220 w 385577"/>
                  <a:gd name="connsiteY49" fmla="*/ 206984 h 243598"/>
                  <a:gd name="connsiteX50" fmla="*/ 160556 w 385577"/>
                  <a:gd name="connsiteY50" fmla="*/ 205485 h 243598"/>
                  <a:gd name="connsiteX51" fmla="*/ 178623 w 385577"/>
                  <a:gd name="connsiteY51" fmla="*/ 187075 h 243598"/>
                  <a:gd name="connsiteX52" fmla="*/ 190478 w 385577"/>
                  <a:gd name="connsiteY52" fmla="*/ 173511 h 243598"/>
                  <a:gd name="connsiteX53" fmla="*/ 208545 w 385577"/>
                  <a:gd name="connsiteY53" fmla="*/ 174537 h 243598"/>
                  <a:gd name="connsiteX54" fmla="*/ 214245 w 385577"/>
                  <a:gd name="connsiteY54" fmla="*/ 178412 h 243598"/>
                  <a:gd name="connsiteX55" fmla="*/ 214872 w 385577"/>
                  <a:gd name="connsiteY55" fmla="*/ 184796 h 243598"/>
                  <a:gd name="connsiteX56" fmla="*/ 221084 w 385577"/>
                  <a:gd name="connsiteY56" fmla="*/ 189127 h 243598"/>
                  <a:gd name="connsiteX57" fmla="*/ 247701 w 385577"/>
                  <a:gd name="connsiteY57" fmla="*/ 189127 h 243598"/>
                  <a:gd name="connsiteX58" fmla="*/ 252716 w 385577"/>
                  <a:gd name="connsiteY58" fmla="*/ 200184 h 243598"/>
                  <a:gd name="connsiteX59" fmla="*/ 227354 w 385577"/>
                  <a:gd name="connsiteY59" fmla="*/ 208562 h 243598"/>
                  <a:gd name="connsiteX60" fmla="*/ 224219 w 385577"/>
                  <a:gd name="connsiteY60" fmla="*/ 212666 h 243598"/>
                  <a:gd name="connsiteX61" fmla="*/ 229064 w 385577"/>
                  <a:gd name="connsiteY61" fmla="*/ 219904 h 243598"/>
                  <a:gd name="connsiteX62" fmla="*/ 238525 w 385577"/>
                  <a:gd name="connsiteY62" fmla="*/ 219904 h 243598"/>
                  <a:gd name="connsiteX63" fmla="*/ 240576 w 385577"/>
                  <a:gd name="connsiteY63" fmla="*/ 242702 h 243598"/>
                  <a:gd name="connsiteX64" fmla="*/ 272722 w 385577"/>
                  <a:gd name="connsiteY64" fmla="*/ 231303 h 243598"/>
                  <a:gd name="connsiteX65" fmla="*/ 281670 w 385577"/>
                  <a:gd name="connsiteY65" fmla="*/ 226174 h 243598"/>
                  <a:gd name="connsiteX66" fmla="*/ 292328 w 385577"/>
                  <a:gd name="connsiteY66" fmla="*/ 228625 h 243598"/>
                  <a:gd name="connsiteX67" fmla="*/ 305152 w 385577"/>
                  <a:gd name="connsiteY67" fmla="*/ 225889 h 243598"/>
                  <a:gd name="connsiteX68" fmla="*/ 305152 w 385577"/>
                  <a:gd name="connsiteY68" fmla="*/ 213635 h 243598"/>
                  <a:gd name="connsiteX69" fmla="*/ 289706 w 385577"/>
                  <a:gd name="connsiteY69" fmla="*/ 214661 h 243598"/>
                  <a:gd name="connsiteX70" fmla="*/ 280302 w 385577"/>
                  <a:gd name="connsiteY70" fmla="*/ 203775 h 243598"/>
                  <a:gd name="connsiteX71" fmla="*/ 266965 w 385577"/>
                  <a:gd name="connsiteY71" fmla="*/ 197334 h 243598"/>
                  <a:gd name="connsiteX72" fmla="*/ 290105 w 385577"/>
                  <a:gd name="connsiteY72" fmla="*/ 178013 h 243598"/>
                  <a:gd name="connsiteX73" fmla="*/ 297742 w 385577"/>
                  <a:gd name="connsiteY73" fmla="*/ 178697 h 243598"/>
                  <a:gd name="connsiteX74" fmla="*/ 343338 w 385577"/>
                  <a:gd name="connsiteY74" fmla="*/ 156640 h 243598"/>
                  <a:gd name="connsiteX75" fmla="*/ 349949 w 385577"/>
                  <a:gd name="connsiteY75" fmla="*/ 149630 h 243598"/>
                  <a:gd name="connsiteX76" fmla="*/ 354680 w 385577"/>
                  <a:gd name="connsiteY76" fmla="*/ 147635 h 243598"/>
                  <a:gd name="connsiteX77" fmla="*/ 356390 w 385577"/>
                  <a:gd name="connsiteY77" fmla="*/ 143247 h 243598"/>
                  <a:gd name="connsiteX78" fmla="*/ 367162 w 385577"/>
                  <a:gd name="connsiteY78" fmla="*/ 140340 h 243598"/>
                  <a:gd name="connsiteX79" fmla="*/ 378561 w 385577"/>
                  <a:gd name="connsiteY79" fmla="*/ 136521 h 243598"/>
                  <a:gd name="connsiteX80" fmla="*/ 380841 w 385577"/>
                  <a:gd name="connsiteY80" fmla="*/ 125122 h 243598"/>
                  <a:gd name="connsiteX81" fmla="*/ 377592 w 385577"/>
                  <a:gd name="connsiteY81" fmla="*/ 120392 h 243598"/>
                  <a:gd name="connsiteX82" fmla="*/ 383292 w 385577"/>
                  <a:gd name="connsiteY82" fmla="*/ 105231 h 243598"/>
                  <a:gd name="connsiteX83" fmla="*/ 381069 w 385577"/>
                  <a:gd name="connsiteY83" fmla="*/ 87620 h 243598"/>
                  <a:gd name="connsiteX84" fmla="*/ 171727 w 385577"/>
                  <a:gd name="connsiteY84" fmla="*/ 172371 h 243598"/>
                  <a:gd name="connsiteX85" fmla="*/ 174235 w 385577"/>
                  <a:gd name="connsiteY85" fmla="*/ 175677 h 243598"/>
                  <a:gd name="connsiteX86" fmla="*/ 171727 w 385577"/>
                  <a:gd name="connsiteY86" fmla="*/ 172371 h 24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85577" h="243598">
                    <a:moveTo>
                      <a:pt x="381069" y="87620"/>
                    </a:moveTo>
                    <a:cubicBezTo>
                      <a:pt x="374172" y="83687"/>
                      <a:pt x="363400" y="90013"/>
                      <a:pt x="358271" y="83858"/>
                    </a:cubicBezTo>
                    <a:cubicBezTo>
                      <a:pt x="357131" y="82490"/>
                      <a:pt x="356561" y="80609"/>
                      <a:pt x="355478" y="79184"/>
                    </a:cubicBezTo>
                    <a:cubicBezTo>
                      <a:pt x="352839" y="76489"/>
                      <a:pt x="349152" y="75092"/>
                      <a:pt x="345390" y="75366"/>
                    </a:cubicBezTo>
                    <a:cubicBezTo>
                      <a:pt x="341657" y="75674"/>
                      <a:pt x="337895" y="75149"/>
                      <a:pt x="334390" y="73827"/>
                    </a:cubicBezTo>
                    <a:cubicBezTo>
                      <a:pt x="331084" y="72117"/>
                      <a:pt x="328690" y="67444"/>
                      <a:pt x="331369" y="64594"/>
                    </a:cubicBezTo>
                    <a:cubicBezTo>
                      <a:pt x="323892" y="64183"/>
                      <a:pt x="316397" y="64799"/>
                      <a:pt x="309084" y="66418"/>
                    </a:cubicBezTo>
                    <a:cubicBezTo>
                      <a:pt x="301618" y="67215"/>
                      <a:pt x="292898" y="65620"/>
                      <a:pt x="289136" y="59179"/>
                    </a:cubicBezTo>
                    <a:cubicBezTo>
                      <a:pt x="288053" y="57298"/>
                      <a:pt x="287483" y="55190"/>
                      <a:pt x="286571" y="53480"/>
                    </a:cubicBezTo>
                    <a:cubicBezTo>
                      <a:pt x="281727" y="42480"/>
                      <a:pt x="268903" y="37863"/>
                      <a:pt x="257390" y="34387"/>
                    </a:cubicBezTo>
                    <a:cubicBezTo>
                      <a:pt x="257390" y="22988"/>
                      <a:pt x="256763" y="9309"/>
                      <a:pt x="247074" y="3096"/>
                    </a:cubicBezTo>
                    <a:cubicBezTo>
                      <a:pt x="239608" y="-1691"/>
                      <a:pt x="229976" y="19"/>
                      <a:pt x="221256" y="1957"/>
                    </a:cubicBezTo>
                    <a:cubicBezTo>
                      <a:pt x="203188" y="5946"/>
                      <a:pt x="183012" y="11418"/>
                      <a:pt x="174178" y="27661"/>
                    </a:cubicBezTo>
                    <a:cubicBezTo>
                      <a:pt x="173397" y="29519"/>
                      <a:pt x="172228" y="31189"/>
                      <a:pt x="170758" y="32563"/>
                    </a:cubicBezTo>
                    <a:cubicBezTo>
                      <a:pt x="168091" y="34062"/>
                      <a:pt x="164945" y="34472"/>
                      <a:pt x="161981" y="33703"/>
                    </a:cubicBezTo>
                    <a:cubicBezTo>
                      <a:pt x="141919" y="30967"/>
                      <a:pt x="122085" y="26920"/>
                      <a:pt x="102250" y="22931"/>
                    </a:cubicBezTo>
                    <a:lnTo>
                      <a:pt x="70903" y="16547"/>
                    </a:lnTo>
                    <a:cubicBezTo>
                      <a:pt x="60758" y="14438"/>
                      <a:pt x="49359" y="12615"/>
                      <a:pt x="40639" y="18257"/>
                    </a:cubicBezTo>
                    <a:cubicBezTo>
                      <a:pt x="35550" y="22127"/>
                      <a:pt x="31605" y="27308"/>
                      <a:pt x="29240" y="33247"/>
                    </a:cubicBezTo>
                    <a:cubicBezTo>
                      <a:pt x="28659" y="34284"/>
                      <a:pt x="28294" y="35430"/>
                      <a:pt x="28157" y="36609"/>
                    </a:cubicBezTo>
                    <a:cubicBezTo>
                      <a:pt x="27644" y="43506"/>
                      <a:pt x="39556" y="44931"/>
                      <a:pt x="40753" y="51770"/>
                    </a:cubicBezTo>
                    <a:cubicBezTo>
                      <a:pt x="41380" y="56387"/>
                      <a:pt x="36422" y="59635"/>
                      <a:pt x="32147" y="61630"/>
                    </a:cubicBezTo>
                    <a:cubicBezTo>
                      <a:pt x="25592" y="64651"/>
                      <a:pt x="23655" y="70521"/>
                      <a:pt x="18696" y="75822"/>
                    </a:cubicBezTo>
                    <a:cubicBezTo>
                      <a:pt x="13737" y="81122"/>
                      <a:pt x="7639" y="82661"/>
                      <a:pt x="5245" y="88418"/>
                    </a:cubicBezTo>
                    <a:cubicBezTo>
                      <a:pt x="2453" y="95257"/>
                      <a:pt x="7468" y="103635"/>
                      <a:pt x="3992" y="110133"/>
                    </a:cubicBezTo>
                    <a:cubicBezTo>
                      <a:pt x="2510" y="112925"/>
                      <a:pt x="-454" y="115376"/>
                      <a:pt x="59" y="118454"/>
                    </a:cubicBezTo>
                    <a:cubicBezTo>
                      <a:pt x="315" y="119434"/>
                      <a:pt x="783" y="120346"/>
                      <a:pt x="1427" y="121133"/>
                    </a:cubicBezTo>
                    <a:cubicBezTo>
                      <a:pt x="5701" y="127214"/>
                      <a:pt x="12039" y="131528"/>
                      <a:pt x="19266" y="133272"/>
                    </a:cubicBezTo>
                    <a:cubicBezTo>
                      <a:pt x="22800" y="134127"/>
                      <a:pt x="26504" y="134355"/>
                      <a:pt x="29924" y="135552"/>
                    </a:cubicBezTo>
                    <a:cubicBezTo>
                      <a:pt x="35624" y="137547"/>
                      <a:pt x="40753" y="142220"/>
                      <a:pt x="47023" y="143474"/>
                    </a:cubicBezTo>
                    <a:cubicBezTo>
                      <a:pt x="53127" y="144056"/>
                      <a:pt x="59265" y="142910"/>
                      <a:pt x="64748" y="140169"/>
                    </a:cubicBezTo>
                    <a:cubicBezTo>
                      <a:pt x="72243" y="137621"/>
                      <a:pt x="79464" y="134315"/>
                      <a:pt x="86292" y="130309"/>
                    </a:cubicBezTo>
                    <a:cubicBezTo>
                      <a:pt x="88914" y="128656"/>
                      <a:pt x="91421" y="126718"/>
                      <a:pt x="94100" y="125179"/>
                    </a:cubicBezTo>
                    <a:cubicBezTo>
                      <a:pt x="107608" y="117941"/>
                      <a:pt x="124199" y="119947"/>
                      <a:pt x="135592" y="130195"/>
                    </a:cubicBezTo>
                    <a:cubicBezTo>
                      <a:pt x="141976" y="136179"/>
                      <a:pt x="146137" y="144557"/>
                      <a:pt x="153603" y="149231"/>
                    </a:cubicBezTo>
                    <a:cubicBezTo>
                      <a:pt x="156538" y="150627"/>
                      <a:pt x="159188" y="152559"/>
                      <a:pt x="161411" y="154930"/>
                    </a:cubicBezTo>
                    <a:cubicBezTo>
                      <a:pt x="162876" y="157883"/>
                      <a:pt x="164038" y="160978"/>
                      <a:pt x="164888" y="164163"/>
                    </a:cubicBezTo>
                    <a:cubicBezTo>
                      <a:pt x="165811" y="165970"/>
                      <a:pt x="167002" y="167623"/>
                      <a:pt x="168421" y="169065"/>
                    </a:cubicBezTo>
                    <a:lnTo>
                      <a:pt x="168421" y="169065"/>
                    </a:lnTo>
                    <a:cubicBezTo>
                      <a:pt x="167173" y="171316"/>
                      <a:pt x="166324" y="173767"/>
                      <a:pt x="165914" y="176303"/>
                    </a:cubicBezTo>
                    <a:cubicBezTo>
                      <a:pt x="165885" y="178407"/>
                      <a:pt x="165497" y="180487"/>
                      <a:pt x="164774" y="182459"/>
                    </a:cubicBezTo>
                    <a:cubicBezTo>
                      <a:pt x="162494" y="186676"/>
                      <a:pt x="156111" y="186563"/>
                      <a:pt x="152748" y="189982"/>
                    </a:cubicBezTo>
                    <a:cubicBezTo>
                      <a:pt x="151779" y="191008"/>
                      <a:pt x="151095" y="192262"/>
                      <a:pt x="150126" y="193231"/>
                    </a:cubicBezTo>
                    <a:cubicBezTo>
                      <a:pt x="148411" y="194593"/>
                      <a:pt x="146484" y="195670"/>
                      <a:pt x="144426" y="196423"/>
                    </a:cubicBezTo>
                    <a:cubicBezTo>
                      <a:pt x="140802" y="198207"/>
                      <a:pt x="137713" y="200919"/>
                      <a:pt x="135478" y="204288"/>
                    </a:cubicBezTo>
                    <a:cubicBezTo>
                      <a:pt x="133825" y="206796"/>
                      <a:pt x="132914" y="210557"/>
                      <a:pt x="135478" y="212552"/>
                    </a:cubicBezTo>
                    <a:cubicBezTo>
                      <a:pt x="136390" y="213219"/>
                      <a:pt x="137445" y="213669"/>
                      <a:pt x="138556" y="213863"/>
                    </a:cubicBezTo>
                    <a:lnTo>
                      <a:pt x="147960" y="216086"/>
                    </a:lnTo>
                    <a:cubicBezTo>
                      <a:pt x="147573" y="215117"/>
                      <a:pt x="147721" y="214011"/>
                      <a:pt x="148359" y="213179"/>
                    </a:cubicBezTo>
                    <a:cubicBezTo>
                      <a:pt x="153346" y="214741"/>
                      <a:pt x="158652" y="211965"/>
                      <a:pt x="160220" y="206984"/>
                    </a:cubicBezTo>
                    <a:cubicBezTo>
                      <a:pt x="160368" y="206493"/>
                      <a:pt x="160482" y="205992"/>
                      <a:pt x="160556" y="205485"/>
                    </a:cubicBezTo>
                    <a:cubicBezTo>
                      <a:pt x="166825" y="199785"/>
                      <a:pt x="172810" y="193459"/>
                      <a:pt x="178623" y="187075"/>
                    </a:cubicBezTo>
                    <a:cubicBezTo>
                      <a:pt x="182670" y="182630"/>
                      <a:pt x="186660" y="178184"/>
                      <a:pt x="190478" y="173511"/>
                    </a:cubicBezTo>
                    <a:cubicBezTo>
                      <a:pt x="196508" y="172593"/>
                      <a:pt x="202658" y="172946"/>
                      <a:pt x="208545" y="174537"/>
                    </a:cubicBezTo>
                    <a:cubicBezTo>
                      <a:pt x="210945" y="174867"/>
                      <a:pt x="213054" y="176298"/>
                      <a:pt x="214245" y="178412"/>
                    </a:cubicBezTo>
                    <a:cubicBezTo>
                      <a:pt x="215043" y="180407"/>
                      <a:pt x="214245" y="182744"/>
                      <a:pt x="214872" y="184796"/>
                    </a:cubicBezTo>
                    <a:cubicBezTo>
                      <a:pt x="216114" y="187167"/>
                      <a:pt x="218434" y="188780"/>
                      <a:pt x="221084" y="189127"/>
                    </a:cubicBezTo>
                    <a:cubicBezTo>
                      <a:pt x="229816" y="191378"/>
                      <a:pt x="238969" y="191378"/>
                      <a:pt x="247701" y="189127"/>
                    </a:cubicBezTo>
                    <a:cubicBezTo>
                      <a:pt x="249354" y="192775"/>
                      <a:pt x="251064" y="196480"/>
                      <a:pt x="252716" y="200184"/>
                    </a:cubicBezTo>
                    <a:cubicBezTo>
                      <a:pt x="243512" y="199717"/>
                      <a:pt x="234467" y="202703"/>
                      <a:pt x="227354" y="208562"/>
                    </a:cubicBezTo>
                    <a:cubicBezTo>
                      <a:pt x="225923" y="209583"/>
                      <a:pt x="224829" y="211013"/>
                      <a:pt x="224219" y="212666"/>
                    </a:cubicBezTo>
                    <a:cubicBezTo>
                      <a:pt x="223763" y="215960"/>
                      <a:pt x="225849" y="219066"/>
                      <a:pt x="229064" y="219904"/>
                    </a:cubicBezTo>
                    <a:cubicBezTo>
                      <a:pt x="232164" y="220702"/>
                      <a:pt x="235419" y="220702"/>
                      <a:pt x="238525" y="219904"/>
                    </a:cubicBezTo>
                    <a:cubicBezTo>
                      <a:pt x="243370" y="226539"/>
                      <a:pt x="244156" y="235310"/>
                      <a:pt x="240576" y="242702"/>
                    </a:cubicBezTo>
                    <a:cubicBezTo>
                      <a:pt x="251975" y="246179"/>
                      <a:pt x="263716" y="238941"/>
                      <a:pt x="272722" y="231303"/>
                    </a:cubicBezTo>
                    <a:cubicBezTo>
                      <a:pt x="275133" y="228750"/>
                      <a:pt x="278244" y="226966"/>
                      <a:pt x="281670" y="226174"/>
                    </a:cubicBezTo>
                    <a:cubicBezTo>
                      <a:pt x="285340" y="226328"/>
                      <a:pt x="288954" y="227160"/>
                      <a:pt x="292328" y="228625"/>
                    </a:cubicBezTo>
                    <a:cubicBezTo>
                      <a:pt x="296791" y="229964"/>
                      <a:pt x="301624" y="228932"/>
                      <a:pt x="305152" y="225889"/>
                    </a:cubicBezTo>
                    <a:cubicBezTo>
                      <a:pt x="308503" y="222492"/>
                      <a:pt x="308503" y="217032"/>
                      <a:pt x="305152" y="213635"/>
                    </a:cubicBezTo>
                    <a:cubicBezTo>
                      <a:pt x="300148" y="215151"/>
                      <a:pt x="294864" y="215504"/>
                      <a:pt x="289706" y="214661"/>
                    </a:cubicBezTo>
                    <a:cubicBezTo>
                      <a:pt x="284445" y="213624"/>
                      <a:pt x="280564" y="209132"/>
                      <a:pt x="280302" y="203775"/>
                    </a:cubicBezTo>
                    <a:cubicBezTo>
                      <a:pt x="275241" y="203256"/>
                      <a:pt x="270516" y="200976"/>
                      <a:pt x="266965" y="197334"/>
                    </a:cubicBezTo>
                    <a:cubicBezTo>
                      <a:pt x="272380" y="188329"/>
                      <a:pt x="279618" y="178241"/>
                      <a:pt x="290105" y="178013"/>
                    </a:cubicBezTo>
                    <a:cubicBezTo>
                      <a:pt x="292670" y="178013"/>
                      <a:pt x="295178" y="178583"/>
                      <a:pt x="297742" y="178697"/>
                    </a:cubicBezTo>
                    <a:cubicBezTo>
                      <a:pt x="314841" y="179609"/>
                      <a:pt x="327323" y="161941"/>
                      <a:pt x="343338" y="156640"/>
                    </a:cubicBezTo>
                    <a:cubicBezTo>
                      <a:pt x="344324" y="153397"/>
                      <a:pt x="346769" y="150804"/>
                      <a:pt x="349949" y="149630"/>
                    </a:cubicBezTo>
                    <a:cubicBezTo>
                      <a:pt x="351602" y="149060"/>
                      <a:pt x="353540" y="148946"/>
                      <a:pt x="354680" y="147635"/>
                    </a:cubicBezTo>
                    <a:cubicBezTo>
                      <a:pt x="355820" y="146324"/>
                      <a:pt x="355649" y="144614"/>
                      <a:pt x="356390" y="143247"/>
                    </a:cubicBezTo>
                    <a:cubicBezTo>
                      <a:pt x="358157" y="139713"/>
                      <a:pt x="363172" y="140226"/>
                      <a:pt x="367162" y="140340"/>
                    </a:cubicBezTo>
                    <a:cubicBezTo>
                      <a:pt x="371311" y="140591"/>
                      <a:pt x="375398" y="139223"/>
                      <a:pt x="378561" y="136521"/>
                    </a:cubicBezTo>
                    <a:cubicBezTo>
                      <a:pt x="381753" y="133643"/>
                      <a:pt x="382676" y="129009"/>
                      <a:pt x="380841" y="125122"/>
                    </a:cubicBezTo>
                    <a:cubicBezTo>
                      <a:pt x="379929" y="123469"/>
                      <a:pt x="378390" y="122158"/>
                      <a:pt x="377592" y="120392"/>
                    </a:cubicBezTo>
                    <a:cubicBezTo>
                      <a:pt x="375312" y="115262"/>
                      <a:pt x="380214" y="110019"/>
                      <a:pt x="383292" y="105231"/>
                    </a:cubicBezTo>
                    <a:cubicBezTo>
                      <a:pt x="386540" y="99645"/>
                      <a:pt x="386768" y="90925"/>
                      <a:pt x="381069" y="87620"/>
                    </a:cubicBezTo>
                    <a:close/>
                    <a:moveTo>
                      <a:pt x="171727" y="172371"/>
                    </a:moveTo>
                    <a:cubicBezTo>
                      <a:pt x="172656" y="173397"/>
                      <a:pt x="173494" y="174502"/>
                      <a:pt x="174235" y="175677"/>
                    </a:cubicBezTo>
                    <a:cubicBezTo>
                      <a:pt x="173494" y="174502"/>
                      <a:pt x="172656" y="173397"/>
                      <a:pt x="171727" y="172371"/>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1" name="Freihandform: Form 397">
                <a:extLst>
                  <a:ext uri="{FF2B5EF4-FFF2-40B4-BE49-F238E27FC236}">
                    <a16:creationId xmlns:a16="http://schemas.microsoft.com/office/drawing/2014/main" id="{8B7E80DE-79B4-C048-D517-0373DCCEA3F6}"/>
                  </a:ext>
                </a:extLst>
              </p:cNvPr>
              <p:cNvSpPr/>
              <p:nvPr/>
            </p:nvSpPr>
            <p:spPr>
              <a:xfrm>
                <a:off x="4343344" y="3001392"/>
                <a:ext cx="75119" cy="87834"/>
              </a:xfrm>
              <a:custGeom>
                <a:avLst/>
                <a:gdLst>
                  <a:gd name="connsiteX0" fmla="*/ 2337 w 75119"/>
                  <a:gd name="connsiteY0" fmla="*/ 6251 h 87834"/>
                  <a:gd name="connsiteX1" fmla="*/ 0 w 75119"/>
                  <a:gd name="connsiteY1" fmla="*/ 4883 h 87834"/>
                  <a:gd name="connsiteX2" fmla="*/ 798 w 75119"/>
                  <a:gd name="connsiteY2" fmla="*/ 4313 h 87834"/>
                  <a:gd name="connsiteX3" fmla="*/ 42290 w 75119"/>
                  <a:gd name="connsiteY3" fmla="*/ 9328 h 87834"/>
                  <a:gd name="connsiteX4" fmla="*/ 60300 w 75119"/>
                  <a:gd name="connsiteY4" fmla="*/ 28365 h 87834"/>
                  <a:gd name="connsiteX5" fmla="*/ 68108 w 75119"/>
                  <a:gd name="connsiteY5" fmla="*/ 34064 h 87834"/>
                  <a:gd name="connsiteX6" fmla="*/ 71585 w 75119"/>
                  <a:gd name="connsiteY6" fmla="*/ 43297 h 87834"/>
                  <a:gd name="connsiteX7" fmla="*/ 75119 w 75119"/>
                  <a:gd name="connsiteY7" fmla="*/ 48199 h 87834"/>
                  <a:gd name="connsiteX8" fmla="*/ 72611 w 75119"/>
                  <a:gd name="connsiteY8" fmla="*/ 55437 h 87834"/>
                  <a:gd name="connsiteX9" fmla="*/ 71471 w 75119"/>
                  <a:gd name="connsiteY9" fmla="*/ 61593 h 87834"/>
                  <a:gd name="connsiteX10" fmla="*/ 59445 w 75119"/>
                  <a:gd name="connsiteY10" fmla="*/ 69116 h 87834"/>
                  <a:gd name="connsiteX11" fmla="*/ 56824 w 75119"/>
                  <a:gd name="connsiteY11" fmla="*/ 72364 h 87834"/>
                  <a:gd name="connsiteX12" fmla="*/ 51124 w 75119"/>
                  <a:gd name="connsiteY12" fmla="*/ 75556 h 87834"/>
                  <a:gd name="connsiteX13" fmla="*/ 42176 w 75119"/>
                  <a:gd name="connsiteY13" fmla="*/ 83421 h 87834"/>
                  <a:gd name="connsiteX14" fmla="*/ 40580 w 75119"/>
                  <a:gd name="connsiteY14" fmla="*/ 87753 h 87834"/>
                  <a:gd name="connsiteX15" fmla="*/ 40580 w 75119"/>
                  <a:gd name="connsiteY15" fmla="*/ 87753 h 87834"/>
                  <a:gd name="connsiteX16" fmla="*/ 33798 w 75119"/>
                  <a:gd name="connsiteY16" fmla="*/ 86556 h 87834"/>
                  <a:gd name="connsiteX17" fmla="*/ 29922 w 75119"/>
                  <a:gd name="connsiteY17" fmla="*/ 75499 h 87834"/>
                  <a:gd name="connsiteX18" fmla="*/ 29922 w 75119"/>
                  <a:gd name="connsiteY18" fmla="*/ 50649 h 87834"/>
                  <a:gd name="connsiteX19" fmla="*/ 29238 w 75119"/>
                  <a:gd name="connsiteY19" fmla="*/ 45463 h 87834"/>
                  <a:gd name="connsiteX20" fmla="*/ 26673 w 75119"/>
                  <a:gd name="connsiteY20" fmla="*/ 41587 h 87834"/>
                  <a:gd name="connsiteX21" fmla="*/ 17155 w 75119"/>
                  <a:gd name="connsiteY21" fmla="*/ 30188 h 87834"/>
                  <a:gd name="connsiteX22" fmla="*/ 14704 w 75119"/>
                  <a:gd name="connsiteY22" fmla="*/ 26085 h 87834"/>
                  <a:gd name="connsiteX23" fmla="*/ 14704 w 75119"/>
                  <a:gd name="connsiteY23" fmla="*/ 21297 h 87834"/>
                  <a:gd name="connsiteX24" fmla="*/ 2337 w 75119"/>
                  <a:gd name="connsiteY24" fmla="*/ 6251 h 8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119" h="87834">
                    <a:moveTo>
                      <a:pt x="2337" y="6251"/>
                    </a:moveTo>
                    <a:lnTo>
                      <a:pt x="0" y="4883"/>
                    </a:lnTo>
                    <a:lnTo>
                      <a:pt x="798" y="4313"/>
                    </a:lnTo>
                    <a:cubicBezTo>
                      <a:pt x="14306" y="-2926"/>
                      <a:pt x="30897" y="-919"/>
                      <a:pt x="42290" y="9328"/>
                    </a:cubicBezTo>
                    <a:cubicBezTo>
                      <a:pt x="48673" y="15313"/>
                      <a:pt x="52834" y="23691"/>
                      <a:pt x="60300" y="28365"/>
                    </a:cubicBezTo>
                    <a:cubicBezTo>
                      <a:pt x="63235" y="29761"/>
                      <a:pt x="65886" y="31693"/>
                      <a:pt x="68108" y="34064"/>
                    </a:cubicBezTo>
                    <a:cubicBezTo>
                      <a:pt x="69573" y="37016"/>
                      <a:pt x="70736" y="40111"/>
                      <a:pt x="71585" y="43297"/>
                    </a:cubicBezTo>
                    <a:cubicBezTo>
                      <a:pt x="72509" y="45104"/>
                      <a:pt x="73700" y="46757"/>
                      <a:pt x="75119" y="48199"/>
                    </a:cubicBezTo>
                    <a:cubicBezTo>
                      <a:pt x="73871" y="50450"/>
                      <a:pt x="73021" y="52895"/>
                      <a:pt x="72611" y="55437"/>
                    </a:cubicBezTo>
                    <a:cubicBezTo>
                      <a:pt x="72577" y="57540"/>
                      <a:pt x="72195" y="59620"/>
                      <a:pt x="71471" y="61593"/>
                    </a:cubicBezTo>
                    <a:cubicBezTo>
                      <a:pt x="69191" y="65810"/>
                      <a:pt x="62808" y="65696"/>
                      <a:pt x="59445" y="69116"/>
                    </a:cubicBezTo>
                    <a:cubicBezTo>
                      <a:pt x="58477" y="70142"/>
                      <a:pt x="57792" y="71396"/>
                      <a:pt x="56824" y="72364"/>
                    </a:cubicBezTo>
                    <a:cubicBezTo>
                      <a:pt x="55108" y="73727"/>
                      <a:pt x="53182" y="74804"/>
                      <a:pt x="51124" y="75556"/>
                    </a:cubicBezTo>
                    <a:cubicBezTo>
                      <a:pt x="47499" y="77340"/>
                      <a:pt x="44410" y="80053"/>
                      <a:pt x="42176" y="83421"/>
                    </a:cubicBezTo>
                    <a:cubicBezTo>
                      <a:pt x="41310" y="84721"/>
                      <a:pt x="40768" y="86203"/>
                      <a:pt x="40580" y="87753"/>
                    </a:cubicBezTo>
                    <a:lnTo>
                      <a:pt x="40580" y="87753"/>
                    </a:lnTo>
                    <a:cubicBezTo>
                      <a:pt x="38249" y="88027"/>
                      <a:pt x="35895" y="87611"/>
                      <a:pt x="33798" y="86556"/>
                    </a:cubicBezTo>
                    <a:cubicBezTo>
                      <a:pt x="30321" y="84390"/>
                      <a:pt x="29922" y="79603"/>
                      <a:pt x="29922" y="75499"/>
                    </a:cubicBezTo>
                    <a:lnTo>
                      <a:pt x="29922" y="50649"/>
                    </a:lnTo>
                    <a:cubicBezTo>
                      <a:pt x="30042" y="48894"/>
                      <a:pt x="29808" y="47127"/>
                      <a:pt x="29238" y="45463"/>
                    </a:cubicBezTo>
                    <a:cubicBezTo>
                      <a:pt x="28594" y="44044"/>
                      <a:pt x="27728" y="42733"/>
                      <a:pt x="26673" y="41587"/>
                    </a:cubicBezTo>
                    <a:lnTo>
                      <a:pt x="17155" y="30188"/>
                    </a:lnTo>
                    <a:cubicBezTo>
                      <a:pt x="16021" y="29037"/>
                      <a:pt x="15183" y="27629"/>
                      <a:pt x="14704" y="26085"/>
                    </a:cubicBezTo>
                    <a:cubicBezTo>
                      <a:pt x="14539" y="24495"/>
                      <a:pt x="14539" y="22887"/>
                      <a:pt x="14704" y="21297"/>
                    </a:cubicBezTo>
                    <a:cubicBezTo>
                      <a:pt x="14990" y="14458"/>
                      <a:pt x="8264" y="9670"/>
                      <a:pt x="2337" y="625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2" name="Freihandform: Form 398">
                <a:extLst>
                  <a:ext uri="{FF2B5EF4-FFF2-40B4-BE49-F238E27FC236}">
                    <a16:creationId xmlns:a16="http://schemas.microsoft.com/office/drawing/2014/main" id="{FB245373-09AC-46CE-23F3-E8DCB54B0BFF}"/>
                  </a:ext>
                </a:extLst>
              </p:cNvPr>
              <p:cNvSpPr/>
              <p:nvPr/>
            </p:nvSpPr>
            <p:spPr>
              <a:xfrm>
                <a:off x="4216345" y="3006331"/>
                <a:ext cx="190284" cy="138434"/>
              </a:xfrm>
              <a:custGeom>
                <a:avLst/>
                <a:gdLst>
                  <a:gd name="connsiteX0" fmla="*/ 47606 w 190284"/>
                  <a:gd name="connsiteY0" fmla="*/ 5414 h 138434"/>
                  <a:gd name="connsiteX1" fmla="*/ 53020 w 190284"/>
                  <a:gd name="connsiteY1" fmla="*/ 7238 h 138434"/>
                  <a:gd name="connsiteX2" fmla="*/ 63678 w 190284"/>
                  <a:gd name="connsiteY2" fmla="*/ 9518 h 138434"/>
                  <a:gd name="connsiteX3" fmla="*/ 80776 w 190284"/>
                  <a:gd name="connsiteY3" fmla="*/ 17440 h 138434"/>
                  <a:gd name="connsiteX4" fmla="*/ 98388 w 190284"/>
                  <a:gd name="connsiteY4" fmla="*/ 14420 h 138434"/>
                  <a:gd name="connsiteX5" fmla="*/ 119932 w 190284"/>
                  <a:gd name="connsiteY5" fmla="*/ 4560 h 138434"/>
                  <a:gd name="connsiteX6" fmla="*/ 126942 w 190284"/>
                  <a:gd name="connsiteY6" fmla="*/ 0 h 138434"/>
                  <a:gd name="connsiteX7" fmla="*/ 129279 w 190284"/>
                  <a:gd name="connsiteY7" fmla="*/ 1368 h 138434"/>
                  <a:gd name="connsiteX8" fmla="*/ 141704 w 190284"/>
                  <a:gd name="connsiteY8" fmla="*/ 16415 h 138434"/>
                  <a:gd name="connsiteX9" fmla="*/ 141704 w 190284"/>
                  <a:gd name="connsiteY9" fmla="*/ 21202 h 138434"/>
                  <a:gd name="connsiteX10" fmla="*/ 144155 w 190284"/>
                  <a:gd name="connsiteY10" fmla="*/ 25306 h 138434"/>
                  <a:gd name="connsiteX11" fmla="*/ 153673 w 190284"/>
                  <a:gd name="connsiteY11" fmla="*/ 36705 h 138434"/>
                  <a:gd name="connsiteX12" fmla="*/ 156238 w 190284"/>
                  <a:gd name="connsiteY12" fmla="*/ 40580 h 138434"/>
                  <a:gd name="connsiteX13" fmla="*/ 156922 w 190284"/>
                  <a:gd name="connsiteY13" fmla="*/ 45767 h 138434"/>
                  <a:gd name="connsiteX14" fmla="*/ 156922 w 190284"/>
                  <a:gd name="connsiteY14" fmla="*/ 70616 h 138434"/>
                  <a:gd name="connsiteX15" fmla="*/ 160797 w 190284"/>
                  <a:gd name="connsiteY15" fmla="*/ 81673 h 138434"/>
                  <a:gd name="connsiteX16" fmla="*/ 167580 w 190284"/>
                  <a:gd name="connsiteY16" fmla="*/ 82870 h 138434"/>
                  <a:gd name="connsiteX17" fmla="*/ 167580 w 190284"/>
                  <a:gd name="connsiteY17" fmla="*/ 82870 h 138434"/>
                  <a:gd name="connsiteX18" fmla="*/ 168890 w 190284"/>
                  <a:gd name="connsiteY18" fmla="*/ 86803 h 138434"/>
                  <a:gd name="connsiteX19" fmla="*/ 171968 w 190284"/>
                  <a:gd name="connsiteY19" fmla="*/ 88114 h 138434"/>
                  <a:gd name="connsiteX20" fmla="*/ 181372 w 190284"/>
                  <a:gd name="connsiteY20" fmla="*/ 90337 h 138434"/>
                  <a:gd name="connsiteX21" fmla="*/ 184279 w 190284"/>
                  <a:gd name="connsiteY21" fmla="*/ 93756 h 138434"/>
                  <a:gd name="connsiteX22" fmla="*/ 189978 w 190284"/>
                  <a:gd name="connsiteY22" fmla="*/ 98487 h 138434"/>
                  <a:gd name="connsiteX23" fmla="*/ 183937 w 190284"/>
                  <a:gd name="connsiteY23" fmla="*/ 106751 h 138434"/>
                  <a:gd name="connsiteX24" fmla="*/ 173450 w 190284"/>
                  <a:gd name="connsiteY24" fmla="*/ 111026 h 138434"/>
                  <a:gd name="connsiteX25" fmla="*/ 170429 w 190284"/>
                  <a:gd name="connsiteY25" fmla="*/ 119575 h 138434"/>
                  <a:gd name="connsiteX26" fmla="*/ 165585 w 190284"/>
                  <a:gd name="connsiteY26" fmla="*/ 135305 h 138434"/>
                  <a:gd name="connsiteX27" fmla="*/ 144952 w 190284"/>
                  <a:gd name="connsiteY27" fmla="*/ 125787 h 138434"/>
                  <a:gd name="connsiteX28" fmla="*/ 138569 w 190284"/>
                  <a:gd name="connsiteY28" fmla="*/ 125103 h 138434"/>
                  <a:gd name="connsiteX29" fmla="*/ 136460 w 190284"/>
                  <a:gd name="connsiteY29" fmla="*/ 126756 h 138434"/>
                  <a:gd name="connsiteX30" fmla="*/ 132927 w 190284"/>
                  <a:gd name="connsiteY30" fmla="*/ 127326 h 138434"/>
                  <a:gd name="connsiteX31" fmla="*/ 122838 w 190284"/>
                  <a:gd name="connsiteY31" fmla="*/ 127326 h 138434"/>
                  <a:gd name="connsiteX32" fmla="*/ 118279 w 190284"/>
                  <a:gd name="connsiteY32" fmla="*/ 127782 h 138434"/>
                  <a:gd name="connsiteX33" fmla="*/ 112579 w 190284"/>
                  <a:gd name="connsiteY33" fmla="*/ 132456 h 138434"/>
                  <a:gd name="connsiteX34" fmla="*/ 92916 w 190284"/>
                  <a:gd name="connsiteY34" fmla="*/ 137585 h 138434"/>
                  <a:gd name="connsiteX35" fmla="*/ 67440 w 190284"/>
                  <a:gd name="connsiteY35" fmla="*/ 138326 h 138434"/>
                  <a:gd name="connsiteX36" fmla="*/ 57067 w 190284"/>
                  <a:gd name="connsiteY36" fmla="*/ 137072 h 138434"/>
                  <a:gd name="connsiteX37" fmla="*/ 51367 w 190284"/>
                  <a:gd name="connsiteY37" fmla="*/ 133767 h 138434"/>
                  <a:gd name="connsiteX38" fmla="*/ 42761 w 190284"/>
                  <a:gd name="connsiteY38" fmla="*/ 129720 h 138434"/>
                  <a:gd name="connsiteX39" fmla="*/ 37688 w 190284"/>
                  <a:gd name="connsiteY39" fmla="*/ 116440 h 138434"/>
                  <a:gd name="connsiteX40" fmla="*/ 15518 w 190284"/>
                  <a:gd name="connsiteY40" fmla="*/ 102420 h 138434"/>
                  <a:gd name="connsiteX41" fmla="*/ 13067 w 190284"/>
                  <a:gd name="connsiteY41" fmla="*/ 100254 h 138434"/>
                  <a:gd name="connsiteX42" fmla="*/ 13067 w 190284"/>
                  <a:gd name="connsiteY42" fmla="*/ 92844 h 138434"/>
                  <a:gd name="connsiteX43" fmla="*/ 8393 w 190284"/>
                  <a:gd name="connsiteY43" fmla="*/ 85606 h 138434"/>
                  <a:gd name="connsiteX44" fmla="*/ 984 w 190284"/>
                  <a:gd name="connsiteY44" fmla="*/ 75518 h 138434"/>
                  <a:gd name="connsiteX45" fmla="*/ 2580 w 190284"/>
                  <a:gd name="connsiteY45" fmla="*/ 63663 h 138434"/>
                  <a:gd name="connsiteX46" fmla="*/ 9077 w 190284"/>
                  <a:gd name="connsiteY46" fmla="*/ 58420 h 138434"/>
                  <a:gd name="connsiteX47" fmla="*/ 14777 w 190284"/>
                  <a:gd name="connsiteY47" fmla="*/ 45824 h 138434"/>
                  <a:gd name="connsiteX48" fmla="*/ 22414 w 190284"/>
                  <a:gd name="connsiteY48" fmla="*/ 39611 h 138434"/>
                  <a:gd name="connsiteX49" fmla="*/ 26233 w 190284"/>
                  <a:gd name="connsiteY49" fmla="*/ 32373 h 138434"/>
                  <a:gd name="connsiteX50" fmla="*/ 47606 w 190284"/>
                  <a:gd name="connsiteY50" fmla="*/ 5414 h 13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0284" h="138434">
                    <a:moveTo>
                      <a:pt x="47606" y="5414"/>
                    </a:moveTo>
                    <a:cubicBezTo>
                      <a:pt x="49350" y="6190"/>
                      <a:pt x="51162" y="6805"/>
                      <a:pt x="53020" y="7238"/>
                    </a:cubicBezTo>
                    <a:cubicBezTo>
                      <a:pt x="56554" y="8093"/>
                      <a:pt x="60258" y="8321"/>
                      <a:pt x="63678" y="9518"/>
                    </a:cubicBezTo>
                    <a:cubicBezTo>
                      <a:pt x="69377" y="11513"/>
                      <a:pt x="74507" y="16186"/>
                      <a:pt x="80776" y="17440"/>
                    </a:cubicBezTo>
                    <a:cubicBezTo>
                      <a:pt x="86812" y="18090"/>
                      <a:pt x="92911" y="17041"/>
                      <a:pt x="98388" y="14420"/>
                    </a:cubicBezTo>
                    <a:cubicBezTo>
                      <a:pt x="105883" y="11872"/>
                      <a:pt x="113104" y="8566"/>
                      <a:pt x="119932" y="4560"/>
                    </a:cubicBezTo>
                    <a:cubicBezTo>
                      <a:pt x="122269" y="3078"/>
                      <a:pt x="124549" y="1425"/>
                      <a:pt x="126942" y="0"/>
                    </a:cubicBezTo>
                    <a:lnTo>
                      <a:pt x="129279" y="1368"/>
                    </a:lnTo>
                    <a:cubicBezTo>
                      <a:pt x="134978" y="4788"/>
                      <a:pt x="141932" y="9575"/>
                      <a:pt x="141704" y="16415"/>
                    </a:cubicBezTo>
                    <a:cubicBezTo>
                      <a:pt x="141533" y="18005"/>
                      <a:pt x="141533" y="19612"/>
                      <a:pt x="141704" y="21202"/>
                    </a:cubicBezTo>
                    <a:cubicBezTo>
                      <a:pt x="142183" y="22747"/>
                      <a:pt x="143020" y="24154"/>
                      <a:pt x="144155" y="25306"/>
                    </a:cubicBezTo>
                    <a:lnTo>
                      <a:pt x="153673" y="36705"/>
                    </a:lnTo>
                    <a:cubicBezTo>
                      <a:pt x="154727" y="37850"/>
                      <a:pt x="155593" y="39161"/>
                      <a:pt x="156238" y="40580"/>
                    </a:cubicBezTo>
                    <a:cubicBezTo>
                      <a:pt x="156807" y="42244"/>
                      <a:pt x="157041" y="44011"/>
                      <a:pt x="156922" y="45767"/>
                    </a:cubicBezTo>
                    <a:lnTo>
                      <a:pt x="156922" y="70616"/>
                    </a:lnTo>
                    <a:cubicBezTo>
                      <a:pt x="156922" y="74720"/>
                      <a:pt x="157321" y="79508"/>
                      <a:pt x="160797" y="81673"/>
                    </a:cubicBezTo>
                    <a:cubicBezTo>
                      <a:pt x="162894" y="82728"/>
                      <a:pt x="165248" y="83144"/>
                      <a:pt x="167580" y="82870"/>
                    </a:cubicBezTo>
                    <a:lnTo>
                      <a:pt x="167580" y="82870"/>
                    </a:lnTo>
                    <a:cubicBezTo>
                      <a:pt x="167317" y="84318"/>
                      <a:pt x="167813" y="85800"/>
                      <a:pt x="168890" y="86803"/>
                    </a:cubicBezTo>
                    <a:cubicBezTo>
                      <a:pt x="169802" y="87470"/>
                      <a:pt x="170857" y="87920"/>
                      <a:pt x="171968" y="88114"/>
                    </a:cubicBezTo>
                    <a:lnTo>
                      <a:pt x="181372" y="90337"/>
                    </a:lnTo>
                    <a:cubicBezTo>
                      <a:pt x="181976" y="91744"/>
                      <a:pt x="182991" y="92936"/>
                      <a:pt x="184279" y="93756"/>
                    </a:cubicBezTo>
                    <a:cubicBezTo>
                      <a:pt x="186502" y="95067"/>
                      <a:pt x="189295" y="96093"/>
                      <a:pt x="189978" y="98487"/>
                    </a:cubicBezTo>
                    <a:cubicBezTo>
                      <a:pt x="191403" y="102078"/>
                      <a:pt x="187585" y="105554"/>
                      <a:pt x="183937" y="106751"/>
                    </a:cubicBezTo>
                    <a:cubicBezTo>
                      <a:pt x="180141" y="107293"/>
                      <a:pt x="176539" y="108757"/>
                      <a:pt x="173450" y="111026"/>
                    </a:cubicBezTo>
                    <a:cubicBezTo>
                      <a:pt x="171660" y="113539"/>
                      <a:pt x="170617" y="116497"/>
                      <a:pt x="170429" y="119575"/>
                    </a:cubicBezTo>
                    <a:cubicBezTo>
                      <a:pt x="169449" y="124995"/>
                      <a:pt x="167824" y="130273"/>
                      <a:pt x="165585" y="135305"/>
                    </a:cubicBezTo>
                    <a:lnTo>
                      <a:pt x="144952" y="125787"/>
                    </a:lnTo>
                    <a:cubicBezTo>
                      <a:pt x="143054" y="124562"/>
                      <a:pt x="140684" y="124305"/>
                      <a:pt x="138569" y="125103"/>
                    </a:cubicBezTo>
                    <a:cubicBezTo>
                      <a:pt x="137828" y="125559"/>
                      <a:pt x="137258" y="126300"/>
                      <a:pt x="136460" y="126756"/>
                    </a:cubicBezTo>
                    <a:cubicBezTo>
                      <a:pt x="135366" y="127286"/>
                      <a:pt x="134135" y="127486"/>
                      <a:pt x="132927" y="127326"/>
                    </a:cubicBezTo>
                    <a:lnTo>
                      <a:pt x="122838" y="127326"/>
                    </a:lnTo>
                    <a:cubicBezTo>
                      <a:pt x="121305" y="127189"/>
                      <a:pt x="119755" y="127343"/>
                      <a:pt x="118279" y="127782"/>
                    </a:cubicBezTo>
                    <a:cubicBezTo>
                      <a:pt x="116119" y="128996"/>
                      <a:pt x="114193" y="130575"/>
                      <a:pt x="112579" y="132456"/>
                    </a:cubicBezTo>
                    <a:cubicBezTo>
                      <a:pt x="106812" y="136383"/>
                      <a:pt x="99864" y="138195"/>
                      <a:pt x="92916" y="137585"/>
                    </a:cubicBezTo>
                    <a:lnTo>
                      <a:pt x="67440" y="138326"/>
                    </a:lnTo>
                    <a:cubicBezTo>
                      <a:pt x="63935" y="138657"/>
                      <a:pt x="60395" y="138229"/>
                      <a:pt x="57067" y="137072"/>
                    </a:cubicBezTo>
                    <a:cubicBezTo>
                      <a:pt x="55015" y="136217"/>
                      <a:pt x="53248" y="134793"/>
                      <a:pt x="51367" y="133767"/>
                    </a:cubicBezTo>
                    <a:cubicBezTo>
                      <a:pt x="48364" y="132729"/>
                      <a:pt x="45474" y="131373"/>
                      <a:pt x="42761" y="129720"/>
                    </a:cubicBezTo>
                    <a:cubicBezTo>
                      <a:pt x="39421" y="126112"/>
                      <a:pt x="37603" y="121353"/>
                      <a:pt x="37688" y="116440"/>
                    </a:cubicBezTo>
                    <a:lnTo>
                      <a:pt x="15518" y="102420"/>
                    </a:lnTo>
                    <a:cubicBezTo>
                      <a:pt x="14526" y="101918"/>
                      <a:pt x="13682" y="101177"/>
                      <a:pt x="13067" y="100254"/>
                    </a:cubicBezTo>
                    <a:cubicBezTo>
                      <a:pt x="11813" y="98088"/>
                      <a:pt x="13067" y="95352"/>
                      <a:pt x="13067" y="92844"/>
                    </a:cubicBezTo>
                    <a:cubicBezTo>
                      <a:pt x="12434" y="89949"/>
                      <a:pt x="10770" y="87379"/>
                      <a:pt x="8393" y="85606"/>
                    </a:cubicBezTo>
                    <a:cubicBezTo>
                      <a:pt x="5207" y="82836"/>
                      <a:pt x="2676" y="79388"/>
                      <a:pt x="984" y="75518"/>
                    </a:cubicBezTo>
                    <a:cubicBezTo>
                      <a:pt x="-766" y="71580"/>
                      <a:pt x="-150" y="66997"/>
                      <a:pt x="2580" y="63663"/>
                    </a:cubicBezTo>
                    <a:cubicBezTo>
                      <a:pt x="4461" y="61611"/>
                      <a:pt x="7196" y="60528"/>
                      <a:pt x="9077" y="58420"/>
                    </a:cubicBezTo>
                    <a:cubicBezTo>
                      <a:pt x="12155" y="54886"/>
                      <a:pt x="11984" y="49415"/>
                      <a:pt x="14777" y="45824"/>
                    </a:cubicBezTo>
                    <a:cubicBezTo>
                      <a:pt x="16885" y="43316"/>
                      <a:pt x="20476" y="42062"/>
                      <a:pt x="22414" y="39611"/>
                    </a:cubicBezTo>
                    <a:cubicBezTo>
                      <a:pt x="24095" y="37434"/>
                      <a:pt x="25389" y="34989"/>
                      <a:pt x="26233" y="32373"/>
                    </a:cubicBezTo>
                    <a:cubicBezTo>
                      <a:pt x="31362" y="21972"/>
                      <a:pt x="38646" y="12778"/>
                      <a:pt x="47606" y="541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3" name="Freihandform: Form 399">
                <a:extLst>
                  <a:ext uri="{FF2B5EF4-FFF2-40B4-BE49-F238E27FC236}">
                    <a16:creationId xmlns:a16="http://schemas.microsoft.com/office/drawing/2014/main" id="{467B81E4-9C19-CB11-09D3-074F4F3646E0}"/>
                  </a:ext>
                </a:extLst>
              </p:cNvPr>
              <p:cNvSpPr/>
              <p:nvPr/>
            </p:nvSpPr>
            <p:spPr>
              <a:xfrm>
                <a:off x="4140614" y="2971381"/>
                <a:ext cx="114733" cy="49220"/>
              </a:xfrm>
              <a:custGeom>
                <a:avLst/>
                <a:gdLst>
                  <a:gd name="connsiteX0" fmla="*/ 101508 w 114733"/>
                  <a:gd name="connsiteY0" fmla="*/ 9474 h 49220"/>
                  <a:gd name="connsiteX1" fmla="*/ 114730 w 114733"/>
                  <a:gd name="connsiteY1" fmla="*/ 13805 h 49220"/>
                  <a:gd name="connsiteX2" fmla="*/ 113476 w 114733"/>
                  <a:gd name="connsiteY2" fmla="*/ 19505 h 49220"/>
                  <a:gd name="connsiteX3" fmla="*/ 109544 w 114733"/>
                  <a:gd name="connsiteY3" fmla="*/ 27826 h 49220"/>
                  <a:gd name="connsiteX4" fmla="*/ 110171 w 114733"/>
                  <a:gd name="connsiteY4" fmla="*/ 29365 h 49220"/>
                  <a:gd name="connsiteX5" fmla="*/ 95067 w 114733"/>
                  <a:gd name="connsiteY5" fmla="*/ 27256 h 49220"/>
                  <a:gd name="connsiteX6" fmla="*/ 69248 w 114733"/>
                  <a:gd name="connsiteY6" fmla="*/ 30505 h 49220"/>
                  <a:gd name="connsiteX7" fmla="*/ 57565 w 114733"/>
                  <a:gd name="connsiteY7" fmla="*/ 38313 h 49220"/>
                  <a:gd name="connsiteX8" fmla="*/ 52948 w 114733"/>
                  <a:gd name="connsiteY8" fmla="*/ 38313 h 49220"/>
                  <a:gd name="connsiteX9" fmla="*/ 42290 w 114733"/>
                  <a:gd name="connsiteY9" fmla="*/ 42816 h 49220"/>
                  <a:gd name="connsiteX10" fmla="*/ 29808 w 114733"/>
                  <a:gd name="connsiteY10" fmla="*/ 47888 h 49220"/>
                  <a:gd name="connsiteX11" fmla="*/ 12710 w 114733"/>
                  <a:gd name="connsiteY11" fmla="*/ 47546 h 49220"/>
                  <a:gd name="connsiteX12" fmla="*/ 1824 w 114733"/>
                  <a:gd name="connsiteY12" fmla="*/ 36831 h 49220"/>
                  <a:gd name="connsiteX13" fmla="*/ 0 w 114733"/>
                  <a:gd name="connsiteY13" fmla="*/ 32101 h 49220"/>
                  <a:gd name="connsiteX14" fmla="*/ 627 w 114733"/>
                  <a:gd name="connsiteY14" fmla="*/ 30220 h 49220"/>
                  <a:gd name="connsiteX15" fmla="*/ 9176 w 114733"/>
                  <a:gd name="connsiteY15" fmla="*/ 17567 h 49220"/>
                  <a:gd name="connsiteX16" fmla="*/ 17098 w 114733"/>
                  <a:gd name="connsiteY16" fmla="*/ 13634 h 49220"/>
                  <a:gd name="connsiteX17" fmla="*/ 32601 w 114733"/>
                  <a:gd name="connsiteY17" fmla="*/ 3945 h 49220"/>
                  <a:gd name="connsiteX18" fmla="*/ 58420 w 114733"/>
                  <a:gd name="connsiteY18" fmla="*/ 525 h 49220"/>
                  <a:gd name="connsiteX19" fmla="*/ 84637 w 114733"/>
                  <a:gd name="connsiteY19" fmla="*/ 4059 h 49220"/>
                  <a:gd name="connsiteX20" fmla="*/ 101508 w 114733"/>
                  <a:gd name="connsiteY20" fmla="*/ 9474 h 4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733" h="49220">
                    <a:moveTo>
                      <a:pt x="101508" y="9474"/>
                    </a:moveTo>
                    <a:cubicBezTo>
                      <a:pt x="106084" y="10346"/>
                      <a:pt x="110524" y="11805"/>
                      <a:pt x="114730" y="13805"/>
                    </a:cubicBezTo>
                    <a:cubicBezTo>
                      <a:pt x="114776" y="15777"/>
                      <a:pt x="114348" y="17732"/>
                      <a:pt x="113476" y="19505"/>
                    </a:cubicBezTo>
                    <a:cubicBezTo>
                      <a:pt x="111994" y="22297"/>
                      <a:pt x="109031" y="24748"/>
                      <a:pt x="109544" y="27826"/>
                    </a:cubicBezTo>
                    <a:cubicBezTo>
                      <a:pt x="109675" y="28367"/>
                      <a:pt x="109886" y="28886"/>
                      <a:pt x="110171" y="29365"/>
                    </a:cubicBezTo>
                    <a:cubicBezTo>
                      <a:pt x="105155" y="29023"/>
                      <a:pt x="100083" y="28054"/>
                      <a:pt x="95067" y="27256"/>
                    </a:cubicBezTo>
                    <a:cubicBezTo>
                      <a:pt x="86364" y="24976"/>
                      <a:pt x="77114" y="26139"/>
                      <a:pt x="69248" y="30505"/>
                    </a:cubicBezTo>
                    <a:cubicBezTo>
                      <a:pt x="65373" y="33240"/>
                      <a:pt x="62238" y="37572"/>
                      <a:pt x="57565" y="38313"/>
                    </a:cubicBezTo>
                    <a:cubicBezTo>
                      <a:pt x="56026" y="38313"/>
                      <a:pt x="54487" y="38313"/>
                      <a:pt x="52948" y="38313"/>
                    </a:cubicBezTo>
                    <a:cubicBezTo>
                      <a:pt x="49129" y="39088"/>
                      <a:pt x="45505" y="40621"/>
                      <a:pt x="42290" y="42816"/>
                    </a:cubicBezTo>
                    <a:cubicBezTo>
                      <a:pt x="38340" y="44987"/>
                      <a:pt x="34151" y="46685"/>
                      <a:pt x="29808" y="47888"/>
                    </a:cubicBezTo>
                    <a:cubicBezTo>
                      <a:pt x="24245" y="49775"/>
                      <a:pt x="18193" y="49655"/>
                      <a:pt x="12710" y="47546"/>
                    </a:cubicBezTo>
                    <a:cubicBezTo>
                      <a:pt x="8270" y="44902"/>
                      <a:pt x="4537" y="41225"/>
                      <a:pt x="1824" y="36831"/>
                    </a:cubicBezTo>
                    <a:cubicBezTo>
                      <a:pt x="667" y="35526"/>
                      <a:pt x="17" y="33845"/>
                      <a:pt x="0" y="32101"/>
                    </a:cubicBezTo>
                    <a:cubicBezTo>
                      <a:pt x="103" y="31445"/>
                      <a:pt x="319" y="30807"/>
                      <a:pt x="627" y="30220"/>
                    </a:cubicBezTo>
                    <a:cubicBezTo>
                      <a:pt x="2274" y="25301"/>
                      <a:pt x="5226" y="20930"/>
                      <a:pt x="9176" y="17567"/>
                    </a:cubicBezTo>
                    <a:cubicBezTo>
                      <a:pt x="11712" y="16051"/>
                      <a:pt x="14357" y="14740"/>
                      <a:pt x="17098" y="13634"/>
                    </a:cubicBezTo>
                    <a:cubicBezTo>
                      <a:pt x="22798" y="10955"/>
                      <a:pt x="27130" y="6624"/>
                      <a:pt x="32601" y="3945"/>
                    </a:cubicBezTo>
                    <a:cubicBezTo>
                      <a:pt x="40711" y="389"/>
                      <a:pt x="49665" y="-797"/>
                      <a:pt x="58420" y="525"/>
                    </a:cubicBezTo>
                    <a:cubicBezTo>
                      <a:pt x="67197" y="1380"/>
                      <a:pt x="75803" y="3489"/>
                      <a:pt x="84637" y="4059"/>
                    </a:cubicBezTo>
                    <a:cubicBezTo>
                      <a:pt x="90565" y="4230"/>
                      <a:pt x="97632" y="4344"/>
                      <a:pt x="101508" y="94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4" name="Freihandform: Form 400">
                <a:extLst>
                  <a:ext uri="{FF2B5EF4-FFF2-40B4-BE49-F238E27FC236}">
                    <a16:creationId xmlns:a16="http://schemas.microsoft.com/office/drawing/2014/main" id="{B4FD1266-5720-C5BC-8782-45CA8ABE22EC}"/>
                  </a:ext>
                </a:extLst>
              </p:cNvPr>
              <p:cNvSpPr/>
              <p:nvPr/>
            </p:nvSpPr>
            <p:spPr>
              <a:xfrm>
                <a:off x="4126368" y="2997211"/>
                <a:ext cx="137354" cy="87050"/>
              </a:xfrm>
              <a:custGeom>
                <a:avLst/>
                <a:gdLst>
                  <a:gd name="connsiteX0" fmla="*/ 6324 w 137354"/>
                  <a:gd name="connsiteY0" fmla="*/ 32032 h 87050"/>
                  <a:gd name="connsiteX1" fmla="*/ 24220 w 137354"/>
                  <a:gd name="connsiteY1" fmla="*/ 19835 h 87050"/>
                  <a:gd name="connsiteX2" fmla="*/ 26728 w 137354"/>
                  <a:gd name="connsiteY2" fmla="*/ 21431 h 87050"/>
                  <a:gd name="connsiteX3" fmla="*/ 43826 w 137354"/>
                  <a:gd name="connsiteY3" fmla="*/ 21773 h 87050"/>
                  <a:gd name="connsiteX4" fmla="*/ 56308 w 137354"/>
                  <a:gd name="connsiteY4" fmla="*/ 16701 h 87050"/>
                  <a:gd name="connsiteX5" fmla="*/ 66966 w 137354"/>
                  <a:gd name="connsiteY5" fmla="*/ 12198 h 87050"/>
                  <a:gd name="connsiteX6" fmla="*/ 71583 w 137354"/>
                  <a:gd name="connsiteY6" fmla="*/ 12198 h 87050"/>
                  <a:gd name="connsiteX7" fmla="*/ 83267 w 137354"/>
                  <a:gd name="connsiteY7" fmla="*/ 4390 h 87050"/>
                  <a:gd name="connsiteX8" fmla="*/ 109085 w 137354"/>
                  <a:gd name="connsiteY8" fmla="*/ 1141 h 87050"/>
                  <a:gd name="connsiteX9" fmla="*/ 124189 w 137354"/>
                  <a:gd name="connsiteY9" fmla="*/ 3250 h 87050"/>
                  <a:gd name="connsiteX10" fmla="*/ 124930 w 137354"/>
                  <a:gd name="connsiteY10" fmla="*/ 4390 h 87050"/>
                  <a:gd name="connsiteX11" fmla="*/ 137355 w 137354"/>
                  <a:gd name="connsiteY11" fmla="*/ 14706 h 87050"/>
                  <a:gd name="connsiteX12" fmla="*/ 116266 w 137354"/>
                  <a:gd name="connsiteY12" fmla="*/ 41209 h 87050"/>
                  <a:gd name="connsiteX13" fmla="*/ 112448 w 137354"/>
                  <a:gd name="connsiteY13" fmla="*/ 48447 h 87050"/>
                  <a:gd name="connsiteX14" fmla="*/ 104811 w 137354"/>
                  <a:gd name="connsiteY14" fmla="*/ 54659 h 87050"/>
                  <a:gd name="connsiteX15" fmla="*/ 99111 w 137354"/>
                  <a:gd name="connsiteY15" fmla="*/ 67255 h 87050"/>
                  <a:gd name="connsiteX16" fmla="*/ 93013 w 137354"/>
                  <a:gd name="connsiteY16" fmla="*/ 72157 h 87050"/>
                  <a:gd name="connsiteX17" fmla="*/ 75287 w 137354"/>
                  <a:gd name="connsiteY17" fmla="*/ 72157 h 87050"/>
                  <a:gd name="connsiteX18" fmla="*/ 63261 w 137354"/>
                  <a:gd name="connsiteY18" fmla="*/ 74265 h 87050"/>
                  <a:gd name="connsiteX19" fmla="*/ 61210 w 137354"/>
                  <a:gd name="connsiteY19" fmla="*/ 76488 h 87050"/>
                  <a:gd name="connsiteX20" fmla="*/ 48044 w 137354"/>
                  <a:gd name="connsiteY20" fmla="*/ 79167 h 87050"/>
                  <a:gd name="connsiteX21" fmla="*/ 45422 w 137354"/>
                  <a:gd name="connsiteY21" fmla="*/ 80193 h 87050"/>
                  <a:gd name="connsiteX22" fmla="*/ 43598 w 137354"/>
                  <a:gd name="connsiteY22" fmla="*/ 82644 h 87050"/>
                  <a:gd name="connsiteX23" fmla="*/ 30319 w 137354"/>
                  <a:gd name="connsiteY23" fmla="*/ 86348 h 87050"/>
                  <a:gd name="connsiteX24" fmla="*/ 18920 w 137354"/>
                  <a:gd name="connsiteY24" fmla="*/ 77685 h 87050"/>
                  <a:gd name="connsiteX25" fmla="*/ 8888 w 137354"/>
                  <a:gd name="connsiteY25" fmla="*/ 66913 h 87050"/>
                  <a:gd name="connsiteX26" fmla="*/ 3702 w 137354"/>
                  <a:gd name="connsiteY26" fmla="*/ 61613 h 87050"/>
                  <a:gd name="connsiteX27" fmla="*/ 3189 w 137354"/>
                  <a:gd name="connsiteY27" fmla="*/ 55343 h 87050"/>
                  <a:gd name="connsiteX28" fmla="*/ 1479 w 137354"/>
                  <a:gd name="connsiteY28" fmla="*/ 36364 h 87050"/>
                  <a:gd name="connsiteX29" fmla="*/ 6324 w 137354"/>
                  <a:gd name="connsiteY29" fmla="*/ 32032 h 8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7354" h="87050">
                    <a:moveTo>
                      <a:pt x="6324" y="32032"/>
                    </a:moveTo>
                    <a:cubicBezTo>
                      <a:pt x="12565" y="28390"/>
                      <a:pt x="18549" y="24315"/>
                      <a:pt x="24220" y="19835"/>
                    </a:cubicBezTo>
                    <a:cubicBezTo>
                      <a:pt x="25001" y="20445"/>
                      <a:pt x="25844" y="20981"/>
                      <a:pt x="26728" y="21431"/>
                    </a:cubicBezTo>
                    <a:cubicBezTo>
                      <a:pt x="32211" y="23540"/>
                      <a:pt x="38264" y="23660"/>
                      <a:pt x="43826" y="21773"/>
                    </a:cubicBezTo>
                    <a:cubicBezTo>
                      <a:pt x="48169" y="20571"/>
                      <a:pt x="52358" y="18872"/>
                      <a:pt x="56308" y="16701"/>
                    </a:cubicBezTo>
                    <a:cubicBezTo>
                      <a:pt x="59528" y="14506"/>
                      <a:pt x="63148" y="12973"/>
                      <a:pt x="66966" y="12198"/>
                    </a:cubicBezTo>
                    <a:cubicBezTo>
                      <a:pt x="68505" y="12198"/>
                      <a:pt x="70044" y="12198"/>
                      <a:pt x="71583" y="12198"/>
                    </a:cubicBezTo>
                    <a:cubicBezTo>
                      <a:pt x="76256" y="11457"/>
                      <a:pt x="79391" y="7126"/>
                      <a:pt x="83267" y="4390"/>
                    </a:cubicBezTo>
                    <a:cubicBezTo>
                      <a:pt x="91132" y="24"/>
                      <a:pt x="100382" y="-1139"/>
                      <a:pt x="109085" y="1141"/>
                    </a:cubicBezTo>
                    <a:cubicBezTo>
                      <a:pt x="114101" y="1939"/>
                      <a:pt x="119173" y="2908"/>
                      <a:pt x="124189" y="3250"/>
                    </a:cubicBezTo>
                    <a:cubicBezTo>
                      <a:pt x="124400" y="3649"/>
                      <a:pt x="124650" y="4031"/>
                      <a:pt x="124930" y="4390"/>
                    </a:cubicBezTo>
                    <a:cubicBezTo>
                      <a:pt x="128081" y="8875"/>
                      <a:pt x="132367" y="12432"/>
                      <a:pt x="137355" y="14706"/>
                    </a:cubicBezTo>
                    <a:cubicBezTo>
                      <a:pt x="128549" y="21967"/>
                      <a:pt x="121368" y="30995"/>
                      <a:pt x="116266" y="41209"/>
                    </a:cubicBezTo>
                    <a:cubicBezTo>
                      <a:pt x="115423" y="43824"/>
                      <a:pt x="114129" y="46270"/>
                      <a:pt x="112448" y="48447"/>
                    </a:cubicBezTo>
                    <a:cubicBezTo>
                      <a:pt x="110225" y="50898"/>
                      <a:pt x="106748" y="52151"/>
                      <a:pt x="104811" y="54659"/>
                    </a:cubicBezTo>
                    <a:cubicBezTo>
                      <a:pt x="101847" y="58250"/>
                      <a:pt x="102018" y="63721"/>
                      <a:pt x="99111" y="67255"/>
                    </a:cubicBezTo>
                    <a:cubicBezTo>
                      <a:pt x="97344" y="69193"/>
                      <a:pt x="94837" y="70333"/>
                      <a:pt x="93013" y="72157"/>
                    </a:cubicBezTo>
                    <a:cubicBezTo>
                      <a:pt x="87114" y="72584"/>
                      <a:pt x="81186" y="72584"/>
                      <a:pt x="75287" y="72157"/>
                    </a:cubicBezTo>
                    <a:cubicBezTo>
                      <a:pt x="71161" y="71148"/>
                      <a:pt x="66801" y="71917"/>
                      <a:pt x="63261" y="74265"/>
                    </a:cubicBezTo>
                    <a:cubicBezTo>
                      <a:pt x="62520" y="74949"/>
                      <a:pt x="61951" y="75804"/>
                      <a:pt x="61210" y="76488"/>
                    </a:cubicBezTo>
                    <a:cubicBezTo>
                      <a:pt x="57847" y="79566"/>
                      <a:pt x="52546" y="78369"/>
                      <a:pt x="48044" y="79167"/>
                    </a:cubicBezTo>
                    <a:cubicBezTo>
                      <a:pt x="47092" y="79252"/>
                      <a:pt x="46180" y="79606"/>
                      <a:pt x="45422" y="80193"/>
                    </a:cubicBezTo>
                    <a:cubicBezTo>
                      <a:pt x="44692" y="80911"/>
                      <a:pt x="44077" y="81737"/>
                      <a:pt x="43598" y="82644"/>
                    </a:cubicBezTo>
                    <a:cubicBezTo>
                      <a:pt x="40406" y="86576"/>
                      <a:pt x="35083" y="88058"/>
                      <a:pt x="30319" y="86348"/>
                    </a:cubicBezTo>
                    <a:cubicBezTo>
                      <a:pt x="25816" y="84530"/>
                      <a:pt x="21878" y="81538"/>
                      <a:pt x="18920" y="77685"/>
                    </a:cubicBezTo>
                    <a:cubicBezTo>
                      <a:pt x="15905" y="73798"/>
                      <a:pt x="12547" y="70196"/>
                      <a:pt x="8888" y="66913"/>
                    </a:cubicBezTo>
                    <a:cubicBezTo>
                      <a:pt x="6717" y="65642"/>
                      <a:pt x="4922" y="63813"/>
                      <a:pt x="3702" y="61613"/>
                    </a:cubicBezTo>
                    <a:cubicBezTo>
                      <a:pt x="3183" y="59567"/>
                      <a:pt x="3012" y="57446"/>
                      <a:pt x="3189" y="55343"/>
                    </a:cubicBezTo>
                    <a:cubicBezTo>
                      <a:pt x="2790" y="48789"/>
                      <a:pt x="-2510" y="41779"/>
                      <a:pt x="1479" y="36364"/>
                    </a:cubicBezTo>
                    <a:cubicBezTo>
                      <a:pt x="2733" y="34563"/>
                      <a:pt x="4392" y="33081"/>
                      <a:pt x="6324" y="3203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5" name="Freihandform: Form 401">
                <a:extLst>
                  <a:ext uri="{FF2B5EF4-FFF2-40B4-BE49-F238E27FC236}">
                    <a16:creationId xmlns:a16="http://schemas.microsoft.com/office/drawing/2014/main" id="{9A60648F-48CE-9149-7BFE-2AAB11CE4749}"/>
                  </a:ext>
                </a:extLst>
              </p:cNvPr>
              <p:cNvSpPr/>
              <p:nvPr/>
            </p:nvSpPr>
            <p:spPr>
              <a:xfrm>
                <a:off x="4045825" y="2926676"/>
                <a:ext cx="129213" cy="72879"/>
              </a:xfrm>
              <a:custGeom>
                <a:avLst/>
                <a:gdLst>
                  <a:gd name="connsiteX0" fmla="*/ 129213 w 129213"/>
                  <a:gd name="connsiteY0" fmla="*/ 47453 h 72879"/>
                  <a:gd name="connsiteX1" fmla="*/ 127162 w 129213"/>
                  <a:gd name="connsiteY1" fmla="*/ 48365 h 72879"/>
                  <a:gd name="connsiteX2" fmla="*/ 111659 w 129213"/>
                  <a:gd name="connsiteY2" fmla="*/ 58054 h 72879"/>
                  <a:gd name="connsiteX3" fmla="*/ 103737 w 129213"/>
                  <a:gd name="connsiteY3" fmla="*/ 61987 h 72879"/>
                  <a:gd name="connsiteX4" fmla="*/ 96156 w 129213"/>
                  <a:gd name="connsiteY4" fmla="*/ 72417 h 72879"/>
                  <a:gd name="connsiteX5" fmla="*/ 68913 w 129213"/>
                  <a:gd name="connsiteY5" fmla="*/ 67800 h 72879"/>
                  <a:gd name="connsiteX6" fmla="*/ 62473 w 129213"/>
                  <a:gd name="connsiteY6" fmla="*/ 62557 h 72879"/>
                  <a:gd name="connsiteX7" fmla="*/ 54607 w 129213"/>
                  <a:gd name="connsiteY7" fmla="*/ 61588 h 72879"/>
                  <a:gd name="connsiteX8" fmla="*/ 50903 w 129213"/>
                  <a:gd name="connsiteY8" fmla="*/ 65407 h 72879"/>
                  <a:gd name="connsiteX9" fmla="*/ 24970 w 129213"/>
                  <a:gd name="connsiteY9" fmla="*/ 70650 h 72879"/>
                  <a:gd name="connsiteX10" fmla="*/ 12716 w 129213"/>
                  <a:gd name="connsiteY10" fmla="*/ 59251 h 72879"/>
                  <a:gd name="connsiteX11" fmla="*/ 9182 w 129213"/>
                  <a:gd name="connsiteY11" fmla="*/ 52982 h 72879"/>
                  <a:gd name="connsiteX12" fmla="*/ 9182 w 129213"/>
                  <a:gd name="connsiteY12" fmla="*/ 46826 h 72879"/>
                  <a:gd name="connsiteX13" fmla="*/ 1659 w 129213"/>
                  <a:gd name="connsiteY13" fmla="*/ 30868 h 72879"/>
                  <a:gd name="connsiteX14" fmla="*/ 6 w 129213"/>
                  <a:gd name="connsiteY14" fmla="*/ 25168 h 72879"/>
                  <a:gd name="connsiteX15" fmla="*/ 4395 w 129213"/>
                  <a:gd name="connsiteY15" fmla="*/ 19469 h 72879"/>
                  <a:gd name="connsiteX16" fmla="*/ 20353 w 129213"/>
                  <a:gd name="connsiteY16" fmla="*/ 10293 h 72879"/>
                  <a:gd name="connsiteX17" fmla="*/ 29245 w 129213"/>
                  <a:gd name="connsiteY17" fmla="*/ 9267 h 72879"/>
                  <a:gd name="connsiteX18" fmla="*/ 41726 w 129213"/>
                  <a:gd name="connsiteY18" fmla="*/ 4422 h 72879"/>
                  <a:gd name="connsiteX19" fmla="*/ 48281 w 129213"/>
                  <a:gd name="connsiteY19" fmla="*/ 376 h 72879"/>
                  <a:gd name="connsiteX20" fmla="*/ 63042 w 129213"/>
                  <a:gd name="connsiteY20" fmla="*/ 4023 h 72879"/>
                  <a:gd name="connsiteX21" fmla="*/ 88063 w 129213"/>
                  <a:gd name="connsiteY21" fmla="*/ 18785 h 72879"/>
                  <a:gd name="connsiteX22" fmla="*/ 94789 w 129213"/>
                  <a:gd name="connsiteY22" fmla="*/ 21008 h 72879"/>
                  <a:gd name="connsiteX23" fmla="*/ 97752 w 129213"/>
                  <a:gd name="connsiteY23" fmla="*/ 24655 h 72879"/>
                  <a:gd name="connsiteX24" fmla="*/ 120550 w 129213"/>
                  <a:gd name="connsiteY24" fmla="*/ 34458 h 72879"/>
                  <a:gd name="connsiteX25" fmla="*/ 129213 w 129213"/>
                  <a:gd name="connsiteY25" fmla="*/ 47453 h 7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9213" h="72879">
                    <a:moveTo>
                      <a:pt x="129213" y="47453"/>
                    </a:moveTo>
                    <a:lnTo>
                      <a:pt x="127162" y="48365"/>
                    </a:lnTo>
                    <a:cubicBezTo>
                      <a:pt x="121462" y="51044"/>
                      <a:pt x="117130" y="55376"/>
                      <a:pt x="111659" y="58054"/>
                    </a:cubicBezTo>
                    <a:cubicBezTo>
                      <a:pt x="108918" y="59160"/>
                      <a:pt x="106273" y="60471"/>
                      <a:pt x="103737" y="61987"/>
                    </a:cubicBezTo>
                    <a:cubicBezTo>
                      <a:pt x="100340" y="64740"/>
                      <a:pt x="97729" y="68336"/>
                      <a:pt x="96156" y="72417"/>
                    </a:cubicBezTo>
                    <a:cubicBezTo>
                      <a:pt x="86638" y="72018"/>
                      <a:pt x="76493" y="73215"/>
                      <a:pt x="68913" y="67800"/>
                    </a:cubicBezTo>
                    <a:cubicBezTo>
                      <a:pt x="66633" y="66205"/>
                      <a:pt x="64809" y="64039"/>
                      <a:pt x="62473" y="62557"/>
                    </a:cubicBezTo>
                    <a:cubicBezTo>
                      <a:pt x="60204" y="60876"/>
                      <a:pt x="57217" y="60505"/>
                      <a:pt x="54607" y="61588"/>
                    </a:cubicBezTo>
                    <a:cubicBezTo>
                      <a:pt x="53137" y="62608"/>
                      <a:pt x="51883" y="63908"/>
                      <a:pt x="50903" y="65407"/>
                    </a:cubicBezTo>
                    <a:cubicBezTo>
                      <a:pt x="44457" y="72844"/>
                      <a:pt x="33804" y="74999"/>
                      <a:pt x="24970" y="70650"/>
                    </a:cubicBezTo>
                    <a:cubicBezTo>
                      <a:pt x="20154" y="67726"/>
                      <a:pt x="15982" y="63845"/>
                      <a:pt x="12716" y="59251"/>
                    </a:cubicBezTo>
                    <a:cubicBezTo>
                      <a:pt x="11075" y="57456"/>
                      <a:pt x="9866" y="55313"/>
                      <a:pt x="9182" y="52982"/>
                    </a:cubicBezTo>
                    <a:cubicBezTo>
                      <a:pt x="9040" y="50930"/>
                      <a:pt x="9040" y="48878"/>
                      <a:pt x="9182" y="46826"/>
                    </a:cubicBezTo>
                    <a:cubicBezTo>
                      <a:pt x="8008" y="40973"/>
                      <a:pt x="5426" y="35496"/>
                      <a:pt x="1659" y="30868"/>
                    </a:cubicBezTo>
                    <a:cubicBezTo>
                      <a:pt x="513" y="29192"/>
                      <a:pt x="-68" y="27197"/>
                      <a:pt x="6" y="25168"/>
                    </a:cubicBezTo>
                    <a:cubicBezTo>
                      <a:pt x="753" y="22809"/>
                      <a:pt x="2303" y="20791"/>
                      <a:pt x="4395" y="19469"/>
                    </a:cubicBezTo>
                    <a:cubicBezTo>
                      <a:pt x="8972" y="15268"/>
                      <a:pt x="14420" y="12134"/>
                      <a:pt x="20353" y="10293"/>
                    </a:cubicBezTo>
                    <a:cubicBezTo>
                      <a:pt x="23260" y="9666"/>
                      <a:pt x="26053" y="9666"/>
                      <a:pt x="29245" y="9267"/>
                    </a:cubicBezTo>
                    <a:cubicBezTo>
                      <a:pt x="33713" y="8589"/>
                      <a:pt x="37971" y="6936"/>
                      <a:pt x="41726" y="4422"/>
                    </a:cubicBezTo>
                    <a:cubicBezTo>
                      <a:pt x="43716" y="2775"/>
                      <a:pt x="45921" y="1413"/>
                      <a:pt x="48281" y="376"/>
                    </a:cubicBezTo>
                    <a:cubicBezTo>
                      <a:pt x="53501" y="-724"/>
                      <a:pt x="58933" y="621"/>
                      <a:pt x="63042" y="4023"/>
                    </a:cubicBezTo>
                    <a:cubicBezTo>
                      <a:pt x="71193" y="9723"/>
                      <a:pt x="78545" y="16676"/>
                      <a:pt x="88063" y="18785"/>
                    </a:cubicBezTo>
                    <a:cubicBezTo>
                      <a:pt x="90445" y="19002"/>
                      <a:pt x="92748" y="19765"/>
                      <a:pt x="94789" y="21008"/>
                    </a:cubicBezTo>
                    <a:cubicBezTo>
                      <a:pt x="95866" y="22148"/>
                      <a:pt x="96857" y="23367"/>
                      <a:pt x="97752" y="24655"/>
                    </a:cubicBezTo>
                    <a:cubicBezTo>
                      <a:pt x="103110" y="31153"/>
                      <a:pt x="113825" y="29500"/>
                      <a:pt x="120550" y="34458"/>
                    </a:cubicBezTo>
                    <a:cubicBezTo>
                      <a:pt x="124363" y="38095"/>
                      <a:pt x="127321" y="42535"/>
                      <a:pt x="129213" y="4745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6" name="Freihandform: Form 402">
                <a:extLst>
                  <a:ext uri="{FF2B5EF4-FFF2-40B4-BE49-F238E27FC236}">
                    <a16:creationId xmlns:a16="http://schemas.microsoft.com/office/drawing/2014/main" id="{8119C3E4-8F62-4D38-CA77-35D71176E83A}"/>
                  </a:ext>
                </a:extLst>
              </p:cNvPr>
              <p:cNvSpPr/>
              <p:nvPr/>
            </p:nvSpPr>
            <p:spPr>
              <a:xfrm>
                <a:off x="4081545" y="2798836"/>
                <a:ext cx="209360" cy="185951"/>
              </a:xfrm>
              <a:custGeom>
                <a:avLst/>
                <a:gdLst>
                  <a:gd name="connsiteX0" fmla="*/ 200929 w 209360"/>
                  <a:gd name="connsiteY0" fmla="*/ 108895 h 185951"/>
                  <a:gd name="connsiteX1" fmla="*/ 197794 w 209360"/>
                  <a:gd name="connsiteY1" fmla="*/ 114594 h 185951"/>
                  <a:gd name="connsiteX2" fmla="*/ 196711 w 209360"/>
                  <a:gd name="connsiteY2" fmla="*/ 117957 h 185951"/>
                  <a:gd name="connsiteX3" fmla="*/ 209307 w 209360"/>
                  <a:gd name="connsiteY3" fmla="*/ 133117 h 185951"/>
                  <a:gd name="connsiteX4" fmla="*/ 200701 w 209360"/>
                  <a:gd name="connsiteY4" fmla="*/ 142977 h 185951"/>
                  <a:gd name="connsiteX5" fmla="*/ 187250 w 209360"/>
                  <a:gd name="connsiteY5" fmla="*/ 157169 h 185951"/>
                  <a:gd name="connsiteX6" fmla="*/ 173799 w 209360"/>
                  <a:gd name="connsiteY6" fmla="*/ 169765 h 185951"/>
                  <a:gd name="connsiteX7" fmla="*/ 173799 w 209360"/>
                  <a:gd name="connsiteY7" fmla="*/ 185952 h 185951"/>
                  <a:gd name="connsiteX8" fmla="*/ 160576 w 209360"/>
                  <a:gd name="connsiteY8" fmla="*/ 181620 h 185951"/>
                  <a:gd name="connsiteX9" fmla="*/ 143478 w 209360"/>
                  <a:gd name="connsiteY9" fmla="*/ 176205 h 185951"/>
                  <a:gd name="connsiteX10" fmla="*/ 117260 w 209360"/>
                  <a:gd name="connsiteY10" fmla="*/ 172672 h 185951"/>
                  <a:gd name="connsiteX11" fmla="*/ 93494 w 209360"/>
                  <a:gd name="connsiteY11" fmla="*/ 175180 h 185951"/>
                  <a:gd name="connsiteX12" fmla="*/ 84716 w 209360"/>
                  <a:gd name="connsiteY12" fmla="*/ 161786 h 185951"/>
                  <a:gd name="connsiteX13" fmla="*/ 61919 w 209360"/>
                  <a:gd name="connsiteY13" fmla="*/ 151983 h 185951"/>
                  <a:gd name="connsiteX14" fmla="*/ 58955 w 209360"/>
                  <a:gd name="connsiteY14" fmla="*/ 148335 h 185951"/>
                  <a:gd name="connsiteX15" fmla="*/ 52229 w 209360"/>
                  <a:gd name="connsiteY15" fmla="*/ 146112 h 185951"/>
                  <a:gd name="connsiteX16" fmla="*/ 27209 w 209360"/>
                  <a:gd name="connsiteY16" fmla="*/ 131351 h 185951"/>
                  <a:gd name="connsiteX17" fmla="*/ 14955 w 209360"/>
                  <a:gd name="connsiteY17" fmla="*/ 127190 h 185951"/>
                  <a:gd name="connsiteX18" fmla="*/ 13530 w 209360"/>
                  <a:gd name="connsiteY18" fmla="*/ 119325 h 185951"/>
                  <a:gd name="connsiteX19" fmla="*/ 9540 w 209360"/>
                  <a:gd name="connsiteY19" fmla="*/ 92309 h 185951"/>
                  <a:gd name="connsiteX20" fmla="*/ 6406 w 209360"/>
                  <a:gd name="connsiteY20" fmla="*/ 80112 h 185951"/>
                  <a:gd name="connsiteX21" fmla="*/ 1276 w 209360"/>
                  <a:gd name="connsiteY21" fmla="*/ 66491 h 185951"/>
                  <a:gd name="connsiteX22" fmla="*/ 2986 w 209360"/>
                  <a:gd name="connsiteY22" fmla="*/ 61475 h 185951"/>
                  <a:gd name="connsiteX23" fmla="*/ 649 w 209360"/>
                  <a:gd name="connsiteY23" fmla="*/ 52869 h 185951"/>
                  <a:gd name="connsiteX24" fmla="*/ 1732 w 209360"/>
                  <a:gd name="connsiteY24" fmla="*/ 38221 h 185951"/>
                  <a:gd name="connsiteX25" fmla="*/ 6520 w 209360"/>
                  <a:gd name="connsiteY25" fmla="*/ 37537 h 185951"/>
                  <a:gd name="connsiteX26" fmla="*/ 9027 w 209360"/>
                  <a:gd name="connsiteY26" fmla="*/ 29615 h 185951"/>
                  <a:gd name="connsiteX27" fmla="*/ 35644 w 209360"/>
                  <a:gd name="connsiteY27" fmla="*/ 25796 h 185951"/>
                  <a:gd name="connsiteX28" fmla="*/ 39406 w 209360"/>
                  <a:gd name="connsiteY28" fmla="*/ 20610 h 185951"/>
                  <a:gd name="connsiteX29" fmla="*/ 60665 w 209360"/>
                  <a:gd name="connsiteY29" fmla="*/ 8527 h 185951"/>
                  <a:gd name="connsiteX30" fmla="*/ 75597 w 209360"/>
                  <a:gd name="connsiteY30" fmla="*/ 7957 h 185951"/>
                  <a:gd name="connsiteX31" fmla="*/ 88193 w 209360"/>
                  <a:gd name="connsiteY31" fmla="*/ 5449 h 185951"/>
                  <a:gd name="connsiteX32" fmla="*/ 93437 w 209360"/>
                  <a:gd name="connsiteY32" fmla="*/ 13371 h 185951"/>
                  <a:gd name="connsiteX33" fmla="*/ 96628 w 209360"/>
                  <a:gd name="connsiteY33" fmla="*/ 22605 h 185951"/>
                  <a:gd name="connsiteX34" fmla="*/ 105121 w 209360"/>
                  <a:gd name="connsiteY34" fmla="*/ 23517 h 185951"/>
                  <a:gd name="connsiteX35" fmla="*/ 111276 w 209360"/>
                  <a:gd name="connsiteY35" fmla="*/ 5449 h 185951"/>
                  <a:gd name="connsiteX36" fmla="*/ 114240 w 209360"/>
                  <a:gd name="connsiteY36" fmla="*/ 1118 h 185951"/>
                  <a:gd name="connsiteX37" fmla="*/ 126208 w 209360"/>
                  <a:gd name="connsiteY37" fmla="*/ 3226 h 185951"/>
                  <a:gd name="connsiteX38" fmla="*/ 136183 w 209360"/>
                  <a:gd name="connsiteY38" fmla="*/ 11776 h 185951"/>
                  <a:gd name="connsiteX39" fmla="*/ 138063 w 209360"/>
                  <a:gd name="connsiteY39" fmla="*/ 12175 h 185951"/>
                  <a:gd name="connsiteX40" fmla="*/ 138348 w 209360"/>
                  <a:gd name="connsiteY40" fmla="*/ 12175 h 185951"/>
                  <a:gd name="connsiteX41" fmla="*/ 140343 w 209360"/>
                  <a:gd name="connsiteY41" fmla="*/ 14682 h 185951"/>
                  <a:gd name="connsiteX42" fmla="*/ 143193 w 209360"/>
                  <a:gd name="connsiteY42" fmla="*/ 17133 h 185951"/>
                  <a:gd name="connsiteX43" fmla="*/ 148437 w 209360"/>
                  <a:gd name="connsiteY43" fmla="*/ 18045 h 185951"/>
                  <a:gd name="connsiteX44" fmla="*/ 161545 w 209360"/>
                  <a:gd name="connsiteY44" fmla="*/ 18387 h 185951"/>
                  <a:gd name="connsiteX45" fmla="*/ 179727 w 209360"/>
                  <a:gd name="connsiteY45" fmla="*/ 22719 h 185951"/>
                  <a:gd name="connsiteX46" fmla="*/ 185996 w 209360"/>
                  <a:gd name="connsiteY46" fmla="*/ 27335 h 185951"/>
                  <a:gd name="connsiteX47" fmla="*/ 191695 w 209360"/>
                  <a:gd name="connsiteY47" fmla="*/ 28646 h 185951"/>
                  <a:gd name="connsiteX48" fmla="*/ 194488 w 209360"/>
                  <a:gd name="connsiteY48" fmla="*/ 40843 h 185951"/>
                  <a:gd name="connsiteX49" fmla="*/ 194488 w 209360"/>
                  <a:gd name="connsiteY49" fmla="*/ 43750 h 185951"/>
                  <a:gd name="connsiteX50" fmla="*/ 200188 w 209360"/>
                  <a:gd name="connsiteY50" fmla="*/ 49449 h 185951"/>
                  <a:gd name="connsiteX51" fmla="*/ 200188 w 209360"/>
                  <a:gd name="connsiteY51" fmla="*/ 60848 h 185951"/>
                  <a:gd name="connsiteX52" fmla="*/ 193120 w 209360"/>
                  <a:gd name="connsiteY52" fmla="*/ 67630 h 185951"/>
                  <a:gd name="connsiteX53" fmla="*/ 195742 w 209360"/>
                  <a:gd name="connsiteY53" fmla="*/ 73672 h 185951"/>
                  <a:gd name="connsiteX54" fmla="*/ 191809 w 209360"/>
                  <a:gd name="connsiteY54" fmla="*/ 93449 h 185951"/>
                  <a:gd name="connsiteX55" fmla="*/ 200929 w 209360"/>
                  <a:gd name="connsiteY55" fmla="*/ 108895 h 18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09360" h="185951">
                    <a:moveTo>
                      <a:pt x="200929" y="108895"/>
                    </a:moveTo>
                    <a:cubicBezTo>
                      <a:pt x="199777" y="110736"/>
                      <a:pt x="198729" y="112634"/>
                      <a:pt x="197794" y="114594"/>
                    </a:cubicBezTo>
                    <a:cubicBezTo>
                      <a:pt x="197213" y="115631"/>
                      <a:pt x="196848" y="116777"/>
                      <a:pt x="196711" y="117957"/>
                    </a:cubicBezTo>
                    <a:cubicBezTo>
                      <a:pt x="196198" y="124853"/>
                      <a:pt x="208110" y="126278"/>
                      <a:pt x="209307" y="133117"/>
                    </a:cubicBezTo>
                    <a:cubicBezTo>
                      <a:pt x="209934" y="137734"/>
                      <a:pt x="204975" y="140983"/>
                      <a:pt x="200701" y="142977"/>
                    </a:cubicBezTo>
                    <a:cubicBezTo>
                      <a:pt x="194146" y="145998"/>
                      <a:pt x="192208" y="151869"/>
                      <a:pt x="187250" y="157169"/>
                    </a:cubicBezTo>
                    <a:cubicBezTo>
                      <a:pt x="182291" y="162470"/>
                      <a:pt x="176193" y="164009"/>
                      <a:pt x="173799" y="169765"/>
                    </a:cubicBezTo>
                    <a:cubicBezTo>
                      <a:pt x="171405" y="175521"/>
                      <a:pt x="173799" y="180651"/>
                      <a:pt x="173799" y="185952"/>
                    </a:cubicBezTo>
                    <a:cubicBezTo>
                      <a:pt x="169593" y="183951"/>
                      <a:pt x="165153" y="182492"/>
                      <a:pt x="160576" y="181620"/>
                    </a:cubicBezTo>
                    <a:cubicBezTo>
                      <a:pt x="156701" y="176775"/>
                      <a:pt x="149634" y="176661"/>
                      <a:pt x="143478" y="176205"/>
                    </a:cubicBezTo>
                    <a:cubicBezTo>
                      <a:pt x="134644" y="175635"/>
                      <a:pt x="126038" y="173527"/>
                      <a:pt x="117260" y="172672"/>
                    </a:cubicBezTo>
                    <a:cubicBezTo>
                      <a:pt x="109253" y="171549"/>
                      <a:pt x="101091" y="172410"/>
                      <a:pt x="93494" y="175180"/>
                    </a:cubicBezTo>
                    <a:cubicBezTo>
                      <a:pt x="91624" y="170107"/>
                      <a:pt x="88621" y="165525"/>
                      <a:pt x="84716" y="161786"/>
                    </a:cubicBezTo>
                    <a:cubicBezTo>
                      <a:pt x="77991" y="156827"/>
                      <a:pt x="67276" y="158480"/>
                      <a:pt x="61919" y="151983"/>
                    </a:cubicBezTo>
                    <a:cubicBezTo>
                      <a:pt x="61024" y="150695"/>
                      <a:pt x="60032" y="149475"/>
                      <a:pt x="58955" y="148335"/>
                    </a:cubicBezTo>
                    <a:cubicBezTo>
                      <a:pt x="56915" y="147092"/>
                      <a:pt x="54612" y="146329"/>
                      <a:pt x="52229" y="146112"/>
                    </a:cubicBezTo>
                    <a:cubicBezTo>
                      <a:pt x="42711" y="144003"/>
                      <a:pt x="35131" y="136765"/>
                      <a:pt x="27209" y="131351"/>
                    </a:cubicBezTo>
                    <a:cubicBezTo>
                      <a:pt x="23675" y="128683"/>
                      <a:pt x="19378" y="127224"/>
                      <a:pt x="14955" y="127190"/>
                    </a:cubicBezTo>
                    <a:cubicBezTo>
                      <a:pt x="14385" y="124568"/>
                      <a:pt x="13929" y="121946"/>
                      <a:pt x="13530" y="119325"/>
                    </a:cubicBezTo>
                    <a:cubicBezTo>
                      <a:pt x="12219" y="110319"/>
                      <a:pt x="10908" y="101314"/>
                      <a:pt x="9540" y="92309"/>
                    </a:cubicBezTo>
                    <a:cubicBezTo>
                      <a:pt x="9136" y="88103"/>
                      <a:pt x="8081" y="83988"/>
                      <a:pt x="6406" y="80112"/>
                    </a:cubicBezTo>
                    <a:cubicBezTo>
                      <a:pt x="4183" y="75667"/>
                      <a:pt x="136" y="71335"/>
                      <a:pt x="1276" y="66491"/>
                    </a:cubicBezTo>
                    <a:cubicBezTo>
                      <a:pt x="1675" y="64781"/>
                      <a:pt x="2701" y="63242"/>
                      <a:pt x="2986" y="61475"/>
                    </a:cubicBezTo>
                    <a:cubicBezTo>
                      <a:pt x="2895" y="58460"/>
                      <a:pt x="2097" y="55513"/>
                      <a:pt x="649" y="52869"/>
                    </a:cubicBezTo>
                    <a:cubicBezTo>
                      <a:pt x="-496" y="47990"/>
                      <a:pt x="-120" y="42878"/>
                      <a:pt x="1732" y="38221"/>
                    </a:cubicBezTo>
                    <a:cubicBezTo>
                      <a:pt x="3356" y="38603"/>
                      <a:pt x="5066" y="38358"/>
                      <a:pt x="6520" y="37537"/>
                    </a:cubicBezTo>
                    <a:cubicBezTo>
                      <a:pt x="9136" y="35833"/>
                      <a:pt x="10184" y="32516"/>
                      <a:pt x="9027" y="29615"/>
                    </a:cubicBezTo>
                    <a:cubicBezTo>
                      <a:pt x="17748" y="26651"/>
                      <a:pt x="29033" y="32123"/>
                      <a:pt x="35644" y="25796"/>
                    </a:cubicBezTo>
                    <a:cubicBezTo>
                      <a:pt x="37075" y="24200"/>
                      <a:pt x="38334" y="22462"/>
                      <a:pt x="39406" y="20610"/>
                    </a:cubicBezTo>
                    <a:cubicBezTo>
                      <a:pt x="44261" y="13537"/>
                      <a:pt x="52098" y="9080"/>
                      <a:pt x="60665" y="8527"/>
                    </a:cubicBezTo>
                    <a:cubicBezTo>
                      <a:pt x="65646" y="8880"/>
                      <a:pt x="70656" y="8692"/>
                      <a:pt x="75597" y="7957"/>
                    </a:cubicBezTo>
                    <a:cubicBezTo>
                      <a:pt x="79815" y="6760"/>
                      <a:pt x="84146" y="3739"/>
                      <a:pt x="88193" y="5449"/>
                    </a:cubicBezTo>
                    <a:cubicBezTo>
                      <a:pt x="91111" y="7096"/>
                      <a:pt x="93060" y="10043"/>
                      <a:pt x="93437" y="13371"/>
                    </a:cubicBezTo>
                    <a:cubicBezTo>
                      <a:pt x="93807" y="16649"/>
                      <a:pt x="94896" y="19800"/>
                      <a:pt x="96628" y="22605"/>
                    </a:cubicBezTo>
                    <a:cubicBezTo>
                      <a:pt x="98680" y="25169"/>
                      <a:pt x="103183" y="26138"/>
                      <a:pt x="105121" y="23517"/>
                    </a:cubicBezTo>
                    <a:cubicBezTo>
                      <a:pt x="106546" y="17298"/>
                      <a:pt x="108609" y="11246"/>
                      <a:pt x="111276" y="5449"/>
                    </a:cubicBezTo>
                    <a:cubicBezTo>
                      <a:pt x="111914" y="3796"/>
                      <a:pt x="112929" y="2309"/>
                      <a:pt x="114240" y="1118"/>
                    </a:cubicBezTo>
                    <a:cubicBezTo>
                      <a:pt x="118252" y="-951"/>
                      <a:pt x="123148" y="-91"/>
                      <a:pt x="126208" y="3226"/>
                    </a:cubicBezTo>
                    <a:cubicBezTo>
                      <a:pt x="129075" y="6572"/>
                      <a:pt x="132438" y="9456"/>
                      <a:pt x="136183" y="11776"/>
                    </a:cubicBezTo>
                    <a:cubicBezTo>
                      <a:pt x="136753" y="12106"/>
                      <a:pt x="137408" y="12249"/>
                      <a:pt x="138063" y="12175"/>
                    </a:cubicBezTo>
                    <a:cubicBezTo>
                      <a:pt x="138063" y="12175"/>
                      <a:pt x="138063" y="12175"/>
                      <a:pt x="138348" y="12175"/>
                    </a:cubicBezTo>
                    <a:cubicBezTo>
                      <a:pt x="139032" y="13030"/>
                      <a:pt x="139602" y="13884"/>
                      <a:pt x="140343" y="14682"/>
                    </a:cubicBezTo>
                    <a:cubicBezTo>
                      <a:pt x="141158" y="15646"/>
                      <a:pt x="142116" y="16472"/>
                      <a:pt x="143193" y="17133"/>
                    </a:cubicBezTo>
                    <a:cubicBezTo>
                      <a:pt x="144857" y="17811"/>
                      <a:pt x="146641" y="18125"/>
                      <a:pt x="148437" y="18045"/>
                    </a:cubicBezTo>
                    <a:lnTo>
                      <a:pt x="161545" y="18387"/>
                    </a:lnTo>
                    <a:cubicBezTo>
                      <a:pt x="167912" y="17863"/>
                      <a:pt x="174278" y="19384"/>
                      <a:pt x="179727" y="22719"/>
                    </a:cubicBezTo>
                    <a:cubicBezTo>
                      <a:pt x="181545" y="24594"/>
                      <a:pt x="183665" y="26155"/>
                      <a:pt x="185996" y="27335"/>
                    </a:cubicBezTo>
                    <a:cubicBezTo>
                      <a:pt x="187922" y="27649"/>
                      <a:pt x="189826" y="28082"/>
                      <a:pt x="191695" y="28646"/>
                    </a:cubicBezTo>
                    <a:cubicBezTo>
                      <a:pt x="195742" y="30698"/>
                      <a:pt x="195286" y="36397"/>
                      <a:pt x="194488" y="40843"/>
                    </a:cubicBezTo>
                    <a:cubicBezTo>
                      <a:pt x="194289" y="41800"/>
                      <a:pt x="194289" y="42792"/>
                      <a:pt x="194488" y="43750"/>
                    </a:cubicBezTo>
                    <a:cubicBezTo>
                      <a:pt x="195115" y="46371"/>
                      <a:pt x="198250" y="47340"/>
                      <a:pt x="200188" y="49449"/>
                    </a:cubicBezTo>
                    <a:cubicBezTo>
                      <a:pt x="203317" y="52607"/>
                      <a:pt x="203317" y="57691"/>
                      <a:pt x="200188" y="60848"/>
                    </a:cubicBezTo>
                    <a:cubicBezTo>
                      <a:pt x="197680" y="63128"/>
                      <a:pt x="193348" y="64268"/>
                      <a:pt x="193120" y="67630"/>
                    </a:cubicBezTo>
                    <a:cubicBezTo>
                      <a:pt x="193120" y="69853"/>
                      <a:pt x="194830" y="71677"/>
                      <a:pt x="195742" y="73672"/>
                    </a:cubicBezTo>
                    <a:cubicBezTo>
                      <a:pt x="198592" y="79941"/>
                      <a:pt x="192266" y="86610"/>
                      <a:pt x="191809" y="93449"/>
                    </a:cubicBezTo>
                    <a:cubicBezTo>
                      <a:pt x="192157" y="99776"/>
                      <a:pt x="195560" y="105532"/>
                      <a:pt x="200929" y="1088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87" name="Freihandform: Form 403">
                <a:extLst>
                  <a:ext uri="{FF2B5EF4-FFF2-40B4-BE49-F238E27FC236}">
                    <a16:creationId xmlns:a16="http://schemas.microsoft.com/office/drawing/2014/main" id="{1811A59D-8325-5E2F-0FFE-F3F795978DD9}"/>
                  </a:ext>
                </a:extLst>
              </p:cNvPr>
              <p:cNvSpPr/>
              <p:nvPr/>
            </p:nvSpPr>
            <p:spPr>
              <a:xfrm>
                <a:off x="4273240" y="2756808"/>
                <a:ext cx="200948" cy="157571"/>
              </a:xfrm>
              <a:custGeom>
                <a:avLst/>
                <a:gdLst>
                  <a:gd name="connsiteX0" fmla="*/ 176456 w 200948"/>
                  <a:gd name="connsiteY0" fmla="*/ 115073 h 157571"/>
                  <a:gd name="connsiteX1" fmla="*/ 178109 w 200948"/>
                  <a:gd name="connsiteY1" fmla="*/ 130861 h 157571"/>
                  <a:gd name="connsiteX2" fmla="*/ 151036 w 200948"/>
                  <a:gd name="connsiteY2" fmla="*/ 151151 h 157571"/>
                  <a:gd name="connsiteX3" fmla="*/ 147617 w 200948"/>
                  <a:gd name="connsiteY3" fmla="*/ 156052 h 157571"/>
                  <a:gd name="connsiteX4" fmla="*/ 138839 w 200948"/>
                  <a:gd name="connsiteY4" fmla="*/ 157192 h 157571"/>
                  <a:gd name="connsiteX5" fmla="*/ 79109 w 200948"/>
                  <a:gd name="connsiteY5" fmla="*/ 146420 h 157571"/>
                  <a:gd name="connsiteX6" fmla="*/ 47762 w 200948"/>
                  <a:gd name="connsiteY6" fmla="*/ 140037 h 157571"/>
                  <a:gd name="connsiteX7" fmla="*/ 17497 w 200948"/>
                  <a:gd name="connsiteY7" fmla="*/ 141747 h 157571"/>
                  <a:gd name="connsiteX8" fmla="*/ 9233 w 200948"/>
                  <a:gd name="connsiteY8" fmla="*/ 150923 h 157571"/>
                  <a:gd name="connsiteX9" fmla="*/ 0 w 200948"/>
                  <a:gd name="connsiteY9" fmla="*/ 135249 h 157571"/>
                  <a:gd name="connsiteX10" fmla="*/ 3933 w 200948"/>
                  <a:gd name="connsiteY10" fmla="*/ 115472 h 157571"/>
                  <a:gd name="connsiteX11" fmla="*/ 1311 w 200948"/>
                  <a:gd name="connsiteY11" fmla="*/ 109431 h 157571"/>
                  <a:gd name="connsiteX12" fmla="*/ 8378 w 200948"/>
                  <a:gd name="connsiteY12" fmla="*/ 102648 h 157571"/>
                  <a:gd name="connsiteX13" fmla="*/ 8378 w 200948"/>
                  <a:gd name="connsiteY13" fmla="*/ 91249 h 157571"/>
                  <a:gd name="connsiteX14" fmla="*/ 2679 w 200948"/>
                  <a:gd name="connsiteY14" fmla="*/ 85550 h 157571"/>
                  <a:gd name="connsiteX15" fmla="*/ 2679 w 200948"/>
                  <a:gd name="connsiteY15" fmla="*/ 82643 h 157571"/>
                  <a:gd name="connsiteX16" fmla="*/ 3078 w 200948"/>
                  <a:gd name="connsiteY16" fmla="*/ 75918 h 157571"/>
                  <a:gd name="connsiteX17" fmla="*/ 13337 w 200948"/>
                  <a:gd name="connsiteY17" fmla="*/ 75006 h 157571"/>
                  <a:gd name="connsiteX18" fmla="*/ 24736 w 200948"/>
                  <a:gd name="connsiteY18" fmla="*/ 76887 h 157571"/>
                  <a:gd name="connsiteX19" fmla="*/ 31119 w 200948"/>
                  <a:gd name="connsiteY19" fmla="*/ 67825 h 157571"/>
                  <a:gd name="connsiteX20" fmla="*/ 41606 w 200948"/>
                  <a:gd name="connsiteY20" fmla="*/ 65887 h 157571"/>
                  <a:gd name="connsiteX21" fmla="*/ 42233 w 200948"/>
                  <a:gd name="connsiteY21" fmla="*/ 60871 h 157571"/>
                  <a:gd name="connsiteX22" fmla="*/ 47933 w 200948"/>
                  <a:gd name="connsiteY22" fmla="*/ 57622 h 157571"/>
                  <a:gd name="connsiteX23" fmla="*/ 49984 w 200948"/>
                  <a:gd name="connsiteY23" fmla="*/ 49187 h 157571"/>
                  <a:gd name="connsiteX24" fmla="*/ 69135 w 200948"/>
                  <a:gd name="connsiteY24" fmla="*/ 31405 h 157571"/>
                  <a:gd name="connsiteX25" fmla="*/ 69534 w 200948"/>
                  <a:gd name="connsiteY25" fmla="*/ 17384 h 157571"/>
                  <a:gd name="connsiteX26" fmla="*/ 80021 w 200948"/>
                  <a:gd name="connsiteY26" fmla="*/ 9576 h 157571"/>
                  <a:gd name="connsiteX27" fmla="*/ 93414 w 200948"/>
                  <a:gd name="connsiteY27" fmla="*/ 7011 h 157571"/>
                  <a:gd name="connsiteX28" fmla="*/ 96663 w 200948"/>
                  <a:gd name="connsiteY28" fmla="*/ 5130 h 157571"/>
                  <a:gd name="connsiteX29" fmla="*/ 100881 w 200948"/>
                  <a:gd name="connsiteY29" fmla="*/ 571 h 157571"/>
                  <a:gd name="connsiteX30" fmla="*/ 111881 w 200948"/>
                  <a:gd name="connsiteY30" fmla="*/ 3022 h 157571"/>
                  <a:gd name="connsiteX31" fmla="*/ 127498 w 200948"/>
                  <a:gd name="connsiteY31" fmla="*/ 6840 h 157571"/>
                  <a:gd name="connsiteX32" fmla="*/ 131658 w 200948"/>
                  <a:gd name="connsiteY32" fmla="*/ 12540 h 157571"/>
                  <a:gd name="connsiteX33" fmla="*/ 142259 w 200948"/>
                  <a:gd name="connsiteY33" fmla="*/ 12540 h 157571"/>
                  <a:gd name="connsiteX34" fmla="*/ 152860 w 200948"/>
                  <a:gd name="connsiteY34" fmla="*/ 9120 h 157571"/>
                  <a:gd name="connsiteX35" fmla="*/ 164886 w 200948"/>
                  <a:gd name="connsiteY35" fmla="*/ 22856 h 157571"/>
                  <a:gd name="connsiteX36" fmla="*/ 164886 w 200948"/>
                  <a:gd name="connsiteY36" fmla="*/ 42747 h 157571"/>
                  <a:gd name="connsiteX37" fmla="*/ 179648 w 200948"/>
                  <a:gd name="connsiteY37" fmla="*/ 67084 h 157571"/>
                  <a:gd name="connsiteX38" fmla="*/ 192186 w 200948"/>
                  <a:gd name="connsiteY38" fmla="*/ 75234 h 157571"/>
                  <a:gd name="connsiteX39" fmla="*/ 200679 w 200948"/>
                  <a:gd name="connsiteY39" fmla="*/ 87032 h 157571"/>
                  <a:gd name="connsiteX40" fmla="*/ 194466 w 200948"/>
                  <a:gd name="connsiteY40" fmla="*/ 99172 h 157571"/>
                  <a:gd name="connsiteX41" fmla="*/ 179648 w 200948"/>
                  <a:gd name="connsiteY41" fmla="*/ 100369 h 157571"/>
                  <a:gd name="connsiteX42" fmla="*/ 176456 w 200948"/>
                  <a:gd name="connsiteY42" fmla="*/ 115073 h 15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0948" h="157571">
                    <a:moveTo>
                      <a:pt x="176456" y="115073"/>
                    </a:moveTo>
                    <a:cubicBezTo>
                      <a:pt x="177254" y="120317"/>
                      <a:pt x="177767" y="125617"/>
                      <a:pt x="178109" y="130861"/>
                    </a:cubicBezTo>
                    <a:cubicBezTo>
                      <a:pt x="166881" y="134030"/>
                      <a:pt x="157232" y="141262"/>
                      <a:pt x="151036" y="151151"/>
                    </a:cubicBezTo>
                    <a:cubicBezTo>
                      <a:pt x="150255" y="153009"/>
                      <a:pt x="149087" y="154679"/>
                      <a:pt x="147617" y="156052"/>
                    </a:cubicBezTo>
                    <a:cubicBezTo>
                      <a:pt x="144949" y="157551"/>
                      <a:pt x="141803" y="157962"/>
                      <a:pt x="138839" y="157192"/>
                    </a:cubicBezTo>
                    <a:cubicBezTo>
                      <a:pt x="118777" y="154456"/>
                      <a:pt x="98943" y="150410"/>
                      <a:pt x="79109" y="146420"/>
                    </a:cubicBezTo>
                    <a:lnTo>
                      <a:pt x="47762" y="140037"/>
                    </a:lnTo>
                    <a:cubicBezTo>
                      <a:pt x="37617" y="137928"/>
                      <a:pt x="26218" y="136104"/>
                      <a:pt x="17497" y="141747"/>
                    </a:cubicBezTo>
                    <a:cubicBezTo>
                      <a:pt x="14089" y="144146"/>
                      <a:pt x="11268" y="147281"/>
                      <a:pt x="9233" y="150923"/>
                    </a:cubicBezTo>
                    <a:cubicBezTo>
                      <a:pt x="3756" y="147543"/>
                      <a:pt x="302" y="141678"/>
                      <a:pt x="0" y="135249"/>
                    </a:cubicBezTo>
                    <a:cubicBezTo>
                      <a:pt x="456" y="128410"/>
                      <a:pt x="6782" y="121742"/>
                      <a:pt x="3933" y="115472"/>
                    </a:cubicBezTo>
                    <a:cubicBezTo>
                      <a:pt x="3021" y="113477"/>
                      <a:pt x="1197" y="111653"/>
                      <a:pt x="1311" y="109431"/>
                    </a:cubicBezTo>
                    <a:cubicBezTo>
                      <a:pt x="1311" y="106068"/>
                      <a:pt x="5871" y="104928"/>
                      <a:pt x="8378" y="102648"/>
                    </a:cubicBezTo>
                    <a:cubicBezTo>
                      <a:pt x="11507" y="99491"/>
                      <a:pt x="11507" y="94407"/>
                      <a:pt x="8378" y="91249"/>
                    </a:cubicBezTo>
                    <a:cubicBezTo>
                      <a:pt x="6327" y="89426"/>
                      <a:pt x="3192" y="88457"/>
                      <a:pt x="2679" y="85550"/>
                    </a:cubicBezTo>
                    <a:cubicBezTo>
                      <a:pt x="2480" y="84592"/>
                      <a:pt x="2480" y="83601"/>
                      <a:pt x="2679" y="82643"/>
                    </a:cubicBezTo>
                    <a:cubicBezTo>
                      <a:pt x="3152" y="80437"/>
                      <a:pt x="3289" y="78169"/>
                      <a:pt x="3078" y="75918"/>
                    </a:cubicBezTo>
                    <a:cubicBezTo>
                      <a:pt x="6281" y="74402"/>
                      <a:pt x="9917" y="74077"/>
                      <a:pt x="13337" y="75006"/>
                    </a:cubicBezTo>
                    <a:cubicBezTo>
                      <a:pt x="17155" y="76146"/>
                      <a:pt x="21373" y="79110"/>
                      <a:pt x="24736" y="76887"/>
                    </a:cubicBezTo>
                    <a:cubicBezTo>
                      <a:pt x="28099" y="74664"/>
                      <a:pt x="27643" y="69363"/>
                      <a:pt x="31119" y="67825"/>
                    </a:cubicBezTo>
                    <a:cubicBezTo>
                      <a:pt x="34596" y="66286"/>
                      <a:pt x="40067" y="69363"/>
                      <a:pt x="41606" y="65887"/>
                    </a:cubicBezTo>
                    <a:cubicBezTo>
                      <a:pt x="42347" y="64348"/>
                      <a:pt x="41606" y="62410"/>
                      <a:pt x="42233" y="60871"/>
                    </a:cubicBezTo>
                    <a:cubicBezTo>
                      <a:pt x="42860" y="59332"/>
                      <a:pt x="46052" y="59047"/>
                      <a:pt x="47933" y="57622"/>
                    </a:cubicBezTo>
                    <a:cubicBezTo>
                      <a:pt x="49814" y="56198"/>
                      <a:pt x="49358" y="51923"/>
                      <a:pt x="49984" y="49187"/>
                    </a:cubicBezTo>
                    <a:cubicBezTo>
                      <a:pt x="51865" y="40410"/>
                      <a:pt x="66342" y="39954"/>
                      <a:pt x="69135" y="31405"/>
                    </a:cubicBezTo>
                    <a:cubicBezTo>
                      <a:pt x="70617" y="26902"/>
                      <a:pt x="68109" y="21887"/>
                      <a:pt x="69534" y="17384"/>
                    </a:cubicBezTo>
                    <a:cubicBezTo>
                      <a:pt x="71455" y="13149"/>
                      <a:pt x="75416" y="10203"/>
                      <a:pt x="80021" y="9576"/>
                    </a:cubicBezTo>
                    <a:cubicBezTo>
                      <a:pt x="84540" y="9040"/>
                      <a:pt x="89015" y="8185"/>
                      <a:pt x="93414" y="7011"/>
                    </a:cubicBezTo>
                    <a:cubicBezTo>
                      <a:pt x="94606" y="6589"/>
                      <a:pt x="95706" y="5951"/>
                      <a:pt x="96663" y="5130"/>
                    </a:cubicBezTo>
                    <a:cubicBezTo>
                      <a:pt x="98202" y="3762"/>
                      <a:pt x="99057" y="1597"/>
                      <a:pt x="100881" y="571"/>
                    </a:cubicBezTo>
                    <a:cubicBezTo>
                      <a:pt x="104301" y="-1253"/>
                      <a:pt x="108176" y="1768"/>
                      <a:pt x="111881" y="3022"/>
                    </a:cubicBezTo>
                    <a:cubicBezTo>
                      <a:pt x="117067" y="4731"/>
                      <a:pt x="123622" y="3022"/>
                      <a:pt x="127498" y="6840"/>
                    </a:cubicBezTo>
                    <a:cubicBezTo>
                      <a:pt x="129093" y="8436"/>
                      <a:pt x="129891" y="10830"/>
                      <a:pt x="131658" y="12540"/>
                    </a:cubicBezTo>
                    <a:cubicBezTo>
                      <a:pt x="134924" y="14483"/>
                      <a:pt x="138993" y="14483"/>
                      <a:pt x="142259" y="12540"/>
                    </a:cubicBezTo>
                    <a:cubicBezTo>
                      <a:pt x="145525" y="10699"/>
                      <a:pt x="149133" y="9536"/>
                      <a:pt x="152860" y="9120"/>
                    </a:cubicBezTo>
                    <a:cubicBezTo>
                      <a:pt x="159472" y="9120"/>
                      <a:pt x="164259" y="16301"/>
                      <a:pt x="164886" y="22856"/>
                    </a:cubicBezTo>
                    <a:cubicBezTo>
                      <a:pt x="165513" y="29410"/>
                      <a:pt x="164316" y="36135"/>
                      <a:pt x="164886" y="42747"/>
                    </a:cubicBezTo>
                    <a:cubicBezTo>
                      <a:pt x="166214" y="52556"/>
                      <a:pt x="171560" y="61373"/>
                      <a:pt x="179648" y="67084"/>
                    </a:cubicBezTo>
                    <a:cubicBezTo>
                      <a:pt x="183694" y="69990"/>
                      <a:pt x="188197" y="72213"/>
                      <a:pt x="192186" y="75234"/>
                    </a:cubicBezTo>
                    <a:cubicBezTo>
                      <a:pt x="196364" y="77998"/>
                      <a:pt x="199385" y="82193"/>
                      <a:pt x="200679" y="87032"/>
                    </a:cubicBezTo>
                    <a:cubicBezTo>
                      <a:pt x="201830" y="92047"/>
                      <a:pt x="199208" y="97171"/>
                      <a:pt x="194466" y="99172"/>
                    </a:cubicBezTo>
                    <a:cubicBezTo>
                      <a:pt x="189679" y="100710"/>
                      <a:pt x="183922" y="97747"/>
                      <a:pt x="179648" y="100369"/>
                    </a:cubicBezTo>
                    <a:cubicBezTo>
                      <a:pt x="175373" y="102990"/>
                      <a:pt x="175601" y="110058"/>
                      <a:pt x="176456" y="115073"/>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8" name="Freihandform: Form 404">
                <a:extLst>
                  <a:ext uri="{FF2B5EF4-FFF2-40B4-BE49-F238E27FC236}">
                    <a16:creationId xmlns:a16="http://schemas.microsoft.com/office/drawing/2014/main" id="{6C44BE18-9F95-C384-8454-1FFE4AAC696E}"/>
                  </a:ext>
                </a:extLst>
              </p:cNvPr>
              <p:cNvSpPr/>
              <p:nvPr/>
            </p:nvSpPr>
            <p:spPr>
              <a:xfrm>
                <a:off x="4218233" y="2748658"/>
                <a:ext cx="124341" cy="85939"/>
              </a:xfrm>
              <a:custGeom>
                <a:avLst/>
                <a:gdLst>
                  <a:gd name="connsiteX0" fmla="*/ 123914 w 124341"/>
                  <a:gd name="connsiteY0" fmla="*/ 30093 h 85939"/>
                  <a:gd name="connsiteX1" fmla="*/ 123914 w 124341"/>
                  <a:gd name="connsiteY1" fmla="*/ 39725 h 85939"/>
                  <a:gd name="connsiteX2" fmla="*/ 104764 w 124341"/>
                  <a:gd name="connsiteY2" fmla="*/ 57508 h 85939"/>
                  <a:gd name="connsiteX3" fmla="*/ 102712 w 124341"/>
                  <a:gd name="connsiteY3" fmla="*/ 65943 h 85939"/>
                  <a:gd name="connsiteX4" fmla="*/ 97012 w 124341"/>
                  <a:gd name="connsiteY4" fmla="*/ 69192 h 85939"/>
                  <a:gd name="connsiteX5" fmla="*/ 96385 w 124341"/>
                  <a:gd name="connsiteY5" fmla="*/ 74207 h 85939"/>
                  <a:gd name="connsiteX6" fmla="*/ 85898 w 124341"/>
                  <a:gd name="connsiteY6" fmla="*/ 76145 h 85939"/>
                  <a:gd name="connsiteX7" fmla="*/ 79515 w 124341"/>
                  <a:gd name="connsiteY7" fmla="*/ 85207 h 85939"/>
                  <a:gd name="connsiteX8" fmla="*/ 68116 w 124341"/>
                  <a:gd name="connsiteY8" fmla="*/ 83326 h 85939"/>
                  <a:gd name="connsiteX9" fmla="*/ 57857 w 124341"/>
                  <a:gd name="connsiteY9" fmla="*/ 84238 h 85939"/>
                  <a:gd name="connsiteX10" fmla="*/ 54665 w 124341"/>
                  <a:gd name="connsiteY10" fmla="*/ 78539 h 85939"/>
                  <a:gd name="connsiteX11" fmla="*/ 48966 w 124341"/>
                  <a:gd name="connsiteY11" fmla="*/ 77228 h 85939"/>
                  <a:gd name="connsiteX12" fmla="*/ 48966 w 124341"/>
                  <a:gd name="connsiteY12" fmla="*/ 77228 h 85939"/>
                  <a:gd name="connsiteX13" fmla="*/ 48168 w 124341"/>
                  <a:gd name="connsiteY13" fmla="*/ 71984 h 85939"/>
                  <a:gd name="connsiteX14" fmla="*/ 48168 w 124341"/>
                  <a:gd name="connsiteY14" fmla="*/ 64917 h 85939"/>
                  <a:gd name="connsiteX15" fmla="*/ 46629 w 124341"/>
                  <a:gd name="connsiteY15" fmla="*/ 58591 h 85939"/>
                  <a:gd name="connsiteX16" fmla="*/ 39619 w 124341"/>
                  <a:gd name="connsiteY16" fmla="*/ 46109 h 85939"/>
                  <a:gd name="connsiteX17" fmla="*/ 17618 w 124341"/>
                  <a:gd name="connsiteY17" fmla="*/ 37844 h 85939"/>
                  <a:gd name="connsiteX18" fmla="*/ 13002 w 124341"/>
                  <a:gd name="connsiteY18" fmla="*/ 30663 h 85939"/>
                  <a:gd name="connsiteX19" fmla="*/ 7873 w 124341"/>
                  <a:gd name="connsiteY19" fmla="*/ 27472 h 85939"/>
                  <a:gd name="connsiteX20" fmla="*/ 9013 w 124341"/>
                  <a:gd name="connsiteY20" fmla="*/ 25021 h 85939"/>
                  <a:gd name="connsiteX21" fmla="*/ 7359 w 124341"/>
                  <a:gd name="connsiteY21" fmla="*/ 11855 h 85939"/>
                  <a:gd name="connsiteX22" fmla="*/ 235 w 124341"/>
                  <a:gd name="connsiteY22" fmla="*/ 4446 h 85939"/>
                  <a:gd name="connsiteX23" fmla="*/ 577 w 124341"/>
                  <a:gd name="connsiteY23" fmla="*/ 0 h 85939"/>
                  <a:gd name="connsiteX24" fmla="*/ 32323 w 124341"/>
                  <a:gd name="connsiteY24" fmla="*/ 2451 h 85939"/>
                  <a:gd name="connsiteX25" fmla="*/ 53240 w 124341"/>
                  <a:gd name="connsiteY25" fmla="*/ 342 h 85939"/>
                  <a:gd name="connsiteX26" fmla="*/ 92339 w 124341"/>
                  <a:gd name="connsiteY26" fmla="*/ 3648 h 85939"/>
                  <a:gd name="connsiteX27" fmla="*/ 101515 w 124341"/>
                  <a:gd name="connsiteY27" fmla="*/ 9632 h 85939"/>
                  <a:gd name="connsiteX28" fmla="*/ 112914 w 124341"/>
                  <a:gd name="connsiteY28" fmla="*/ 11855 h 85939"/>
                  <a:gd name="connsiteX29" fmla="*/ 116732 w 124341"/>
                  <a:gd name="connsiteY29" fmla="*/ 20518 h 85939"/>
                  <a:gd name="connsiteX30" fmla="*/ 123914 w 124341"/>
                  <a:gd name="connsiteY30" fmla="*/ 30093 h 8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4341" h="85939">
                    <a:moveTo>
                      <a:pt x="123914" y="30093"/>
                    </a:moveTo>
                    <a:cubicBezTo>
                      <a:pt x="124484" y="33279"/>
                      <a:pt x="124484" y="36539"/>
                      <a:pt x="123914" y="39725"/>
                    </a:cubicBezTo>
                    <a:cubicBezTo>
                      <a:pt x="121121" y="48275"/>
                      <a:pt x="106815" y="48731"/>
                      <a:pt x="104764" y="57508"/>
                    </a:cubicBezTo>
                    <a:cubicBezTo>
                      <a:pt x="104137" y="60414"/>
                      <a:pt x="104764" y="64005"/>
                      <a:pt x="102712" y="65943"/>
                    </a:cubicBezTo>
                    <a:cubicBezTo>
                      <a:pt x="100660" y="67881"/>
                      <a:pt x="98209" y="67254"/>
                      <a:pt x="97012" y="69192"/>
                    </a:cubicBezTo>
                    <a:cubicBezTo>
                      <a:pt x="95815" y="71129"/>
                      <a:pt x="97012" y="72668"/>
                      <a:pt x="96385" y="74207"/>
                    </a:cubicBezTo>
                    <a:cubicBezTo>
                      <a:pt x="94847" y="77684"/>
                      <a:pt x="89318" y="74606"/>
                      <a:pt x="85898" y="76145"/>
                    </a:cubicBezTo>
                    <a:cubicBezTo>
                      <a:pt x="82479" y="77684"/>
                      <a:pt x="82650" y="83155"/>
                      <a:pt x="79515" y="85207"/>
                    </a:cubicBezTo>
                    <a:cubicBezTo>
                      <a:pt x="76380" y="87259"/>
                      <a:pt x="71935" y="84466"/>
                      <a:pt x="68116" y="83326"/>
                    </a:cubicBezTo>
                    <a:cubicBezTo>
                      <a:pt x="64696" y="82397"/>
                      <a:pt x="61060" y="82722"/>
                      <a:pt x="57857" y="84238"/>
                    </a:cubicBezTo>
                    <a:cubicBezTo>
                      <a:pt x="57931" y="81896"/>
                      <a:pt x="56706" y="79701"/>
                      <a:pt x="54665" y="78539"/>
                    </a:cubicBezTo>
                    <a:cubicBezTo>
                      <a:pt x="52796" y="77974"/>
                      <a:pt x="50892" y="77541"/>
                      <a:pt x="48966" y="77228"/>
                    </a:cubicBezTo>
                    <a:lnTo>
                      <a:pt x="48966" y="77228"/>
                    </a:lnTo>
                    <a:cubicBezTo>
                      <a:pt x="48504" y="75518"/>
                      <a:pt x="48236" y="73757"/>
                      <a:pt x="48168" y="71984"/>
                    </a:cubicBezTo>
                    <a:cubicBezTo>
                      <a:pt x="48168" y="69591"/>
                      <a:pt x="48168" y="67254"/>
                      <a:pt x="48168" y="64917"/>
                    </a:cubicBezTo>
                    <a:cubicBezTo>
                      <a:pt x="47860" y="62763"/>
                      <a:pt x="47341" y="60648"/>
                      <a:pt x="46629" y="58591"/>
                    </a:cubicBezTo>
                    <a:cubicBezTo>
                      <a:pt x="45694" y="53786"/>
                      <a:pt x="43232" y="49409"/>
                      <a:pt x="39619" y="46109"/>
                    </a:cubicBezTo>
                    <a:cubicBezTo>
                      <a:pt x="33235" y="41378"/>
                      <a:pt x="22862" y="43829"/>
                      <a:pt x="17618" y="37844"/>
                    </a:cubicBezTo>
                    <a:cubicBezTo>
                      <a:pt x="15738" y="35679"/>
                      <a:pt x="14883" y="32829"/>
                      <a:pt x="13002" y="30663"/>
                    </a:cubicBezTo>
                    <a:cubicBezTo>
                      <a:pt x="11623" y="29141"/>
                      <a:pt x="9845" y="28041"/>
                      <a:pt x="7873" y="27472"/>
                    </a:cubicBezTo>
                    <a:cubicBezTo>
                      <a:pt x="8272" y="26674"/>
                      <a:pt x="8671" y="25876"/>
                      <a:pt x="9013" y="25021"/>
                    </a:cubicBezTo>
                    <a:cubicBezTo>
                      <a:pt x="10865" y="20655"/>
                      <a:pt x="10232" y="15628"/>
                      <a:pt x="7359" y="11855"/>
                    </a:cubicBezTo>
                    <a:cubicBezTo>
                      <a:pt x="5080" y="9233"/>
                      <a:pt x="1318" y="7694"/>
                      <a:pt x="235" y="4446"/>
                    </a:cubicBezTo>
                    <a:cubicBezTo>
                      <a:pt x="-169" y="2969"/>
                      <a:pt x="-50" y="1396"/>
                      <a:pt x="577" y="0"/>
                    </a:cubicBezTo>
                    <a:cubicBezTo>
                      <a:pt x="10990" y="2325"/>
                      <a:pt x="21677" y="3152"/>
                      <a:pt x="32323" y="2451"/>
                    </a:cubicBezTo>
                    <a:cubicBezTo>
                      <a:pt x="39333" y="1995"/>
                      <a:pt x="46230" y="855"/>
                      <a:pt x="53240" y="342"/>
                    </a:cubicBezTo>
                    <a:cubicBezTo>
                      <a:pt x="66366" y="-616"/>
                      <a:pt x="79561" y="502"/>
                      <a:pt x="92339" y="3648"/>
                    </a:cubicBezTo>
                    <a:cubicBezTo>
                      <a:pt x="92339" y="7694"/>
                      <a:pt x="97468" y="9632"/>
                      <a:pt x="101515" y="9632"/>
                    </a:cubicBezTo>
                    <a:cubicBezTo>
                      <a:pt x="105562" y="9632"/>
                      <a:pt x="110235" y="9119"/>
                      <a:pt x="112914" y="11855"/>
                    </a:cubicBezTo>
                    <a:cubicBezTo>
                      <a:pt x="114874" y="14385"/>
                      <a:pt x="116185" y="17361"/>
                      <a:pt x="116732" y="20518"/>
                    </a:cubicBezTo>
                    <a:cubicBezTo>
                      <a:pt x="118118" y="24354"/>
                      <a:pt x="120619" y="27688"/>
                      <a:pt x="123914" y="30093"/>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89" name="Freihandform: Form 405">
                <a:extLst>
                  <a:ext uri="{FF2B5EF4-FFF2-40B4-BE49-F238E27FC236}">
                    <a16:creationId xmlns:a16="http://schemas.microsoft.com/office/drawing/2014/main" id="{04F7AABD-934B-10A2-4458-D7EB39FC5451}"/>
                  </a:ext>
                </a:extLst>
              </p:cNvPr>
              <p:cNvSpPr/>
              <p:nvPr/>
            </p:nvSpPr>
            <p:spPr>
              <a:xfrm>
                <a:off x="4219039" y="2696088"/>
                <a:ext cx="159630" cy="82549"/>
              </a:xfrm>
              <a:custGeom>
                <a:avLst/>
                <a:gdLst>
                  <a:gd name="connsiteX0" fmla="*/ 159585 w 159630"/>
                  <a:gd name="connsiteY0" fmla="*/ 61347 h 82549"/>
                  <a:gd name="connsiteX1" fmla="*/ 154855 w 159630"/>
                  <a:gd name="connsiteY1" fmla="*/ 61347 h 82549"/>
                  <a:gd name="connsiteX2" fmla="*/ 150637 w 159630"/>
                  <a:gd name="connsiteY2" fmla="*/ 65907 h 82549"/>
                  <a:gd name="connsiteX3" fmla="*/ 147388 w 159630"/>
                  <a:gd name="connsiteY3" fmla="*/ 67787 h 82549"/>
                  <a:gd name="connsiteX4" fmla="*/ 133994 w 159630"/>
                  <a:gd name="connsiteY4" fmla="*/ 70352 h 82549"/>
                  <a:gd name="connsiteX5" fmla="*/ 123507 w 159630"/>
                  <a:gd name="connsiteY5" fmla="*/ 78160 h 82549"/>
                  <a:gd name="connsiteX6" fmla="*/ 123108 w 159630"/>
                  <a:gd name="connsiteY6" fmla="*/ 82549 h 82549"/>
                  <a:gd name="connsiteX7" fmla="*/ 116155 w 159630"/>
                  <a:gd name="connsiteY7" fmla="*/ 73088 h 82549"/>
                  <a:gd name="connsiteX8" fmla="*/ 112336 w 159630"/>
                  <a:gd name="connsiteY8" fmla="*/ 64425 h 82549"/>
                  <a:gd name="connsiteX9" fmla="*/ 100937 w 159630"/>
                  <a:gd name="connsiteY9" fmla="*/ 62202 h 82549"/>
                  <a:gd name="connsiteX10" fmla="*/ 91761 w 159630"/>
                  <a:gd name="connsiteY10" fmla="*/ 56217 h 82549"/>
                  <a:gd name="connsiteX11" fmla="*/ 52663 w 159630"/>
                  <a:gd name="connsiteY11" fmla="*/ 52912 h 82549"/>
                  <a:gd name="connsiteX12" fmla="*/ 31746 w 159630"/>
                  <a:gd name="connsiteY12" fmla="*/ 55021 h 82549"/>
                  <a:gd name="connsiteX13" fmla="*/ 0 w 159630"/>
                  <a:gd name="connsiteY13" fmla="*/ 52570 h 82549"/>
                  <a:gd name="connsiteX14" fmla="*/ 6041 w 159630"/>
                  <a:gd name="connsiteY14" fmla="*/ 40886 h 82549"/>
                  <a:gd name="connsiteX15" fmla="*/ 6440 w 159630"/>
                  <a:gd name="connsiteY15" fmla="*/ 31824 h 82549"/>
                  <a:gd name="connsiteX16" fmla="*/ 14362 w 159630"/>
                  <a:gd name="connsiteY16" fmla="*/ 26523 h 82549"/>
                  <a:gd name="connsiteX17" fmla="*/ 17782 w 159630"/>
                  <a:gd name="connsiteY17" fmla="*/ 16264 h 82549"/>
                  <a:gd name="connsiteX18" fmla="*/ 31917 w 159630"/>
                  <a:gd name="connsiteY18" fmla="*/ 9197 h 82549"/>
                  <a:gd name="connsiteX19" fmla="*/ 47363 w 159630"/>
                  <a:gd name="connsiteY19" fmla="*/ 16093 h 82549"/>
                  <a:gd name="connsiteX20" fmla="*/ 52549 w 159630"/>
                  <a:gd name="connsiteY20" fmla="*/ 29487 h 82549"/>
                  <a:gd name="connsiteX21" fmla="*/ 65943 w 159630"/>
                  <a:gd name="connsiteY21" fmla="*/ 30912 h 82549"/>
                  <a:gd name="connsiteX22" fmla="*/ 78026 w 159630"/>
                  <a:gd name="connsiteY22" fmla="*/ 19969 h 82549"/>
                  <a:gd name="connsiteX23" fmla="*/ 75176 w 159630"/>
                  <a:gd name="connsiteY23" fmla="*/ 14269 h 82549"/>
                  <a:gd name="connsiteX24" fmla="*/ 77114 w 159630"/>
                  <a:gd name="connsiteY24" fmla="*/ 1673 h 82549"/>
                  <a:gd name="connsiteX25" fmla="*/ 92388 w 159630"/>
                  <a:gd name="connsiteY25" fmla="*/ 78 h 82549"/>
                  <a:gd name="connsiteX26" fmla="*/ 98088 w 159630"/>
                  <a:gd name="connsiteY26" fmla="*/ 933 h 82549"/>
                  <a:gd name="connsiteX27" fmla="*/ 105155 w 159630"/>
                  <a:gd name="connsiteY27" fmla="*/ 6290 h 82549"/>
                  <a:gd name="connsiteX28" fmla="*/ 112166 w 159630"/>
                  <a:gd name="connsiteY28" fmla="*/ 6917 h 82549"/>
                  <a:gd name="connsiteX29" fmla="*/ 115870 w 159630"/>
                  <a:gd name="connsiteY29" fmla="*/ 10793 h 82549"/>
                  <a:gd name="connsiteX30" fmla="*/ 147730 w 159630"/>
                  <a:gd name="connsiteY30" fmla="*/ 18772 h 82549"/>
                  <a:gd name="connsiteX31" fmla="*/ 150466 w 159630"/>
                  <a:gd name="connsiteY31" fmla="*/ 43679 h 82549"/>
                  <a:gd name="connsiteX32" fmla="*/ 159414 w 159630"/>
                  <a:gd name="connsiteY32" fmla="*/ 55419 h 82549"/>
                  <a:gd name="connsiteX33" fmla="*/ 159585 w 159630"/>
                  <a:gd name="connsiteY33" fmla="*/ 61347 h 8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9630" h="82549">
                    <a:moveTo>
                      <a:pt x="159585" y="61347"/>
                    </a:moveTo>
                    <a:cubicBezTo>
                      <a:pt x="158080" y="60663"/>
                      <a:pt x="156359" y="60663"/>
                      <a:pt x="154855" y="61347"/>
                    </a:cubicBezTo>
                    <a:cubicBezTo>
                      <a:pt x="153031" y="62373"/>
                      <a:pt x="152176" y="64539"/>
                      <a:pt x="150637" y="65907"/>
                    </a:cubicBezTo>
                    <a:cubicBezTo>
                      <a:pt x="149679" y="66727"/>
                      <a:pt x="148579" y="67366"/>
                      <a:pt x="147388" y="67787"/>
                    </a:cubicBezTo>
                    <a:cubicBezTo>
                      <a:pt x="142988" y="68961"/>
                      <a:pt x="138514" y="69816"/>
                      <a:pt x="133994" y="70352"/>
                    </a:cubicBezTo>
                    <a:cubicBezTo>
                      <a:pt x="129389" y="70979"/>
                      <a:pt x="125428" y="73926"/>
                      <a:pt x="123507" y="78160"/>
                    </a:cubicBezTo>
                    <a:cubicBezTo>
                      <a:pt x="123091" y="79585"/>
                      <a:pt x="122955" y="81073"/>
                      <a:pt x="123108" y="82549"/>
                    </a:cubicBezTo>
                    <a:cubicBezTo>
                      <a:pt x="119917" y="80144"/>
                      <a:pt x="117500" y="76855"/>
                      <a:pt x="116155" y="73088"/>
                    </a:cubicBezTo>
                    <a:cubicBezTo>
                      <a:pt x="115608" y="69930"/>
                      <a:pt x="114297" y="66955"/>
                      <a:pt x="112336" y="64425"/>
                    </a:cubicBezTo>
                    <a:cubicBezTo>
                      <a:pt x="109373" y="61689"/>
                      <a:pt x="104756" y="62259"/>
                      <a:pt x="100937" y="62202"/>
                    </a:cubicBezTo>
                    <a:cubicBezTo>
                      <a:pt x="97119" y="62145"/>
                      <a:pt x="91875" y="60264"/>
                      <a:pt x="91761" y="56217"/>
                    </a:cubicBezTo>
                    <a:cubicBezTo>
                      <a:pt x="78983" y="53071"/>
                      <a:pt x="65789" y="51954"/>
                      <a:pt x="52663" y="52912"/>
                    </a:cubicBezTo>
                    <a:cubicBezTo>
                      <a:pt x="45652" y="53425"/>
                      <a:pt x="38756" y="54565"/>
                      <a:pt x="31746" y="55021"/>
                    </a:cubicBezTo>
                    <a:cubicBezTo>
                      <a:pt x="21099" y="55722"/>
                      <a:pt x="10413" y="54895"/>
                      <a:pt x="0" y="52570"/>
                    </a:cubicBezTo>
                    <a:cubicBezTo>
                      <a:pt x="1482" y="48808"/>
                      <a:pt x="5699" y="45217"/>
                      <a:pt x="6041" y="40886"/>
                    </a:cubicBezTo>
                    <a:cubicBezTo>
                      <a:pt x="6383" y="37865"/>
                      <a:pt x="4844" y="34445"/>
                      <a:pt x="6440" y="31824"/>
                    </a:cubicBezTo>
                    <a:cubicBezTo>
                      <a:pt x="8036" y="29202"/>
                      <a:pt x="12140" y="28803"/>
                      <a:pt x="14362" y="26523"/>
                    </a:cubicBezTo>
                    <a:cubicBezTo>
                      <a:pt x="16585" y="24243"/>
                      <a:pt x="16415" y="19627"/>
                      <a:pt x="17782" y="16264"/>
                    </a:cubicBezTo>
                    <a:cubicBezTo>
                      <a:pt x="20427" y="11055"/>
                      <a:pt x="26166" y="8188"/>
                      <a:pt x="31917" y="9197"/>
                    </a:cubicBezTo>
                    <a:cubicBezTo>
                      <a:pt x="37508" y="10337"/>
                      <a:pt x="42780" y="12691"/>
                      <a:pt x="47363" y="16093"/>
                    </a:cubicBezTo>
                    <a:cubicBezTo>
                      <a:pt x="47334" y="21052"/>
                      <a:pt x="49186" y="25839"/>
                      <a:pt x="52549" y="29487"/>
                    </a:cubicBezTo>
                    <a:cubicBezTo>
                      <a:pt x="56089" y="33123"/>
                      <a:pt x="61719" y="33722"/>
                      <a:pt x="65943" y="30912"/>
                    </a:cubicBezTo>
                    <a:cubicBezTo>
                      <a:pt x="65373" y="25212"/>
                      <a:pt x="77798" y="25839"/>
                      <a:pt x="78026" y="19969"/>
                    </a:cubicBezTo>
                    <a:cubicBezTo>
                      <a:pt x="78026" y="17860"/>
                      <a:pt x="76316" y="16207"/>
                      <a:pt x="75176" y="14269"/>
                    </a:cubicBezTo>
                    <a:cubicBezTo>
                      <a:pt x="72982" y="10103"/>
                      <a:pt x="73768" y="4991"/>
                      <a:pt x="77114" y="1673"/>
                    </a:cubicBezTo>
                    <a:cubicBezTo>
                      <a:pt x="82072" y="1673"/>
                      <a:pt x="87373" y="363"/>
                      <a:pt x="92388" y="78"/>
                    </a:cubicBezTo>
                    <a:cubicBezTo>
                      <a:pt x="94332" y="-156"/>
                      <a:pt x="96298" y="140"/>
                      <a:pt x="98088" y="933"/>
                    </a:cubicBezTo>
                    <a:cubicBezTo>
                      <a:pt x="100710" y="2300"/>
                      <a:pt x="102305" y="5492"/>
                      <a:pt x="105155" y="6290"/>
                    </a:cubicBezTo>
                    <a:cubicBezTo>
                      <a:pt x="108005" y="7088"/>
                      <a:pt x="110057" y="5891"/>
                      <a:pt x="112166" y="6917"/>
                    </a:cubicBezTo>
                    <a:cubicBezTo>
                      <a:pt x="114274" y="7943"/>
                      <a:pt x="114673" y="9425"/>
                      <a:pt x="115870" y="10793"/>
                    </a:cubicBezTo>
                    <a:cubicBezTo>
                      <a:pt x="123393" y="19285"/>
                      <a:pt x="140207" y="10280"/>
                      <a:pt x="147730" y="18772"/>
                    </a:cubicBezTo>
                    <a:cubicBezTo>
                      <a:pt x="153430" y="25155"/>
                      <a:pt x="148528" y="35357"/>
                      <a:pt x="150466" y="43679"/>
                    </a:cubicBezTo>
                    <a:cubicBezTo>
                      <a:pt x="155880" y="43679"/>
                      <a:pt x="158730" y="50062"/>
                      <a:pt x="159414" y="55419"/>
                    </a:cubicBezTo>
                    <a:cubicBezTo>
                      <a:pt x="159625" y="57386"/>
                      <a:pt x="159682" y="59369"/>
                      <a:pt x="159585" y="6134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0" name="Freihandform: Form 406">
                <a:extLst>
                  <a:ext uri="{FF2B5EF4-FFF2-40B4-BE49-F238E27FC236}">
                    <a16:creationId xmlns:a16="http://schemas.microsoft.com/office/drawing/2014/main" id="{27E4113B-A74C-3935-E4C4-46F6FB558C94}"/>
                  </a:ext>
                </a:extLst>
              </p:cNvPr>
              <p:cNvSpPr/>
              <p:nvPr/>
            </p:nvSpPr>
            <p:spPr>
              <a:xfrm>
                <a:off x="4239840" y="2642078"/>
                <a:ext cx="136047" cy="69818"/>
              </a:xfrm>
              <a:custGeom>
                <a:avLst/>
                <a:gdLst>
                  <a:gd name="connsiteX0" fmla="*/ 17898 w 136047"/>
                  <a:gd name="connsiteY0" fmla="*/ 19606 h 69818"/>
                  <a:gd name="connsiteX1" fmla="*/ 21431 w 136047"/>
                  <a:gd name="connsiteY1" fmla="*/ 20233 h 69818"/>
                  <a:gd name="connsiteX2" fmla="*/ 24281 w 136047"/>
                  <a:gd name="connsiteY2" fmla="*/ 22798 h 69818"/>
                  <a:gd name="connsiteX3" fmla="*/ 26162 w 136047"/>
                  <a:gd name="connsiteY3" fmla="*/ 24964 h 69818"/>
                  <a:gd name="connsiteX4" fmla="*/ 26162 w 136047"/>
                  <a:gd name="connsiteY4" fmla="*/ 26788 h 69818"/>
                  <a:gd name="connsiteX5" fmla="*/ 27986 w 136047"/>
                  <a:gd name="connsiteY5" fmla="*/ 36534 h 69818"/>
                  <a:gd name="connsiteX6" fmla="*/ 28499 w 136047"/>
                  <a:gd name="connsiteY6" fmla="*/ 38129 h 69818"/>
                  <a:gd name="connsiteX7" fmla="*/ 23711 w 136047"/>
                  <a:gd name="connsiteY7" fmla="*/ 41777 h 69818"/>
                  <a:gd name="connsiteX8" fmla="*/ 22115 w 136047"/>
                  <a:gd name="connsiteY8" fmla="*/ 42347 h 69818"/>
                  <a:gd name="connsiteX9" fmla="*/ 21545 w 136047"/>
                  <a:gd name="connsiteY9" fmla="*/ 43544 h 69818"/>
                  <a:gd name="connsiteX10" fmla="*/ 19722 w 136047"/>
                  <a:gd name="connsiteY10" fmla="*/ 47819 h 69818"/>
                  <a:gd name="connsiteX11" fmla="*/ 14877 w 136047"/>
                  <a:gd name="connsiteY11" fmla="*/ 51694 h 69818"/>
                  <a:gd name="connsiteX12" fmla="*/ 5245 w 136047"/>
                  <a:gd name="connsiteY12" fmla="*/ 52093 h 69818"/>
                  <a:gd name="connsiteX13" fmla="*/ 970 w 136047"/>
                  <a:gd name="connsiteY13" fmla="*/ 49414 h 69818"/>
                  <a:gd name="connsiteX14" fmla="*/ 514 w 136047"/>
                  <a:gd name="connsiteY14" fmla="*/ 44570 h 69818"/>
                  <a:gd name="connsiteX15" fmla="*/ 8437 w 136047"/>
                  <a:gd name="connsiteY15" fmla="*/ 42347 h 69818"/>
                  <a:gd name="connsiteX16" fmla="*/ 11799 w 136047"/>
                  <a:gd name="connsiteY16" fmla="*/ 41378 h 69818"/>
                  <a:gd name="connsiteX17" fmla="*/ 13167 w 136047"/>
                  <a:gd name="connsiteY17" fmla="*/ 38244 h 69818"/>
                  <a:gd name="connsiteX18" fmla="*/ 11970 w 136047"/>
                  <a:gd name="connsiteY18" fmla="*/ 35964 h 69818"/>
                  <a:gd name="connsiteX19" fmla="*/ 11970 w 136047"/>
                  <a:gd name="connsiteY19" fmla="*/ 33513 h 69818"/>
                  <a:gd name="connsiteX20" fmla="*/ 13224 w 136047"/>
                  <a:gd name="connsiteY20" fmla="*/ 32886 h 69818"/>
                  <a:gd name="connsiteX21" fmla="*/ 16701 w 136047"/>
                  <a:gd name="connsiteY21" fmla="*/ 31974 h 69818"/>
                  <a:gd name="connsiteX22" fmla="*/ 19664 w 136047"/>
                  <a:gd name="connsiteY22" fmla="*/ 30378 h 69818"/>
                  <a:gd name="connsiteX23" fmla="*/ 18981 w 136047"/>
                  <a:gd name="connsiteY23" fmla="*/ 24679 h 69818"/>
                  <a:gd name="connsiteX24" fmla="*/ 17898 w 136047"/>
                  <a:gd name="connsiteY24" fmla="*/ 19606 h 69818"/>
                  <a:gd name="connsiteX25" fmla="*/ 127897 w 136047"/>
                  <a:gd name="connsiteY25" fmla="*/ 49129 h 69818"/>
                  <a:gd name="connsiteX26" fmla="*/ 122198 w 136047"/>
                  <a:gd name="connsiteY26" fmla="*/ 29865 h 69818"/>
                  <a:gd name="connsiteX27" fmla="*/ 130006 w 136047"/>
                  <a:gd name="connsiteY27" fmla="*/ 15959 h 69818"/>
                  <a:gd name="connsiteX28" fmla="*/ 136048 w 136047"/>
                  <a:gd name="connsiteY28" fmla="*/ 3762 h 69818"/>
                  <a:gd name="connsiteX29" fmla="*/ 128239 w 136047"/>
                  <a:gd name="connsiteY29" fmla="*/ 5244 h 69818"/>
                  <a:gd name="connsiteX30" fmla="*/ 104530 w 136047"/>
                  <a:gd name="connsiteY30" fmla="*/ 1767 h 69818"/>
                  <a:gd name="connsiteX31" fmla="*/ 94499 w 136047"/>
                  <a:gd name="connsiteY31" fmla="*/ 0 h 69818"/>
                  <a:gd name="connsiteX32" fmla="*/ 85151 w 136047"/>
                  <a:gd name="connsiteY32" fmla="*/ 1368 h 69818"/>
                  <a:gd name="connsiteX33" fmla="*/ 57680 w 136047"/>
                  <a:gd name="connsiteY33" fmla="*/ 2508 h 69818"/>
                  <a:gd name="connsiteX34" fmla="*/ 39727 w 136047"/>
                  <a:gd name="connsiteY34" fmla="*/ 7124 h 69818"/>
                  <a:gd name="connsiteX35" fmla="*/ 39727 w 136047"/>
                  <a:gd name="connsiteY35" fmla="*/ 15788 h 69818"/>
                  <a:gd name="connsiteX36" fmla="*/ 33731 w 136047"/>
                  <a:gd name="connsiteY36" fmla="*/ 25539 h 69818"/>
                  <a:gd name="connsiteX37" fmla="*/ 36478 w 136047"/>
                  <a:gd name="connsiteY37" fmla="*/ 29922 h 69818"/>
                  <a:gd name="connsiteX38" fmla="*/ 40297 w 136047"/>
                  <a:gd name="connsiteY38" fmla="*/ 32601 h 69818"/>
                  <a:gd name="connsiteX39" fmla="*/ 40753 w 136047"/>
                  <a:gd name="connsiteY39" fmla="*/ 37560 h 69818"/>
                  <a:gd name="connsiteX40" fmla="*/ 48447 w 136047"/>
                  <a:gd name="connsiteY40" fmla="*/ 43259 h 69818"/>
                  <a:gd name="connsiteX41" fmla="*/ 58649 w 136047"/>
                  <a:gd name="connsiteY41" fmla="*/ 44741 h 69818"/>
                  <a:gd name="connsiteX42" fmla="*/ 61727 w 136047"/>
                  <a:gd name="connsiteY42" fmla="*/ 53062 h 69818"/>
                  <a:gd name="connsiteX43" fmla="*/ 55628 w 136047"/>
                  <a:gd name="connsiteY43" fmla="*/ 56197 h 69818"/>
                  <a:gd name="connsiteX44" fmla="*/ 70903 w 136047"/>
                  <a:gd name="connsiteY44" fmla="*/ 54601 h 69818"/>
                  <a:gd name="connsiteX45" fmla="*/ 76602 w 136047"/>
                  <a:gd name="connsiteY45" fmla="*/ 55456 h 69818"/>
                  <a:gd name="connsiteX46" fmla="*/ 83669 w 136047"/>
                  <a:gd name="connsiteY46" fmla="*/ 60813 h 69818"/>
                  <a:gd name="connsiteX47" fmla="*/ 90680 w 136047"/>
                  <a:gd name="connsiteY47" fmla="*/ 61440 h 69818"/>
                  <a:gd name="connsiteX48" fmla="*/ 94384 w 136047"/>
                  <a:gd name="connsiteY48" fmla="*/ 65316 h 69818"/>
                  <a:gd name="connsiteX49" fmla="*/ 119804 w 136047"/>
                  <a:gd name="connsiteY49" fmla="*/ 69819 h 69818"/>
                  <a:gd name="connsiteX50" fmla="*/ 124763 w 136047"/>
                  <a:gd name="connsiteY50" fmla="*/ 60072 h 69818"/>
                  <a:gd name="connsiteX51" fmla="*/ 128012 w 136047"/>
                  <a:gd name="connsiteY51" fmla="*/ 48845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6047" h="69818">
                    <a:moveTo>
                      <a:pt x="17898" y="19606"/>
                    </a:moveTo>
                    <a:cubicBezTo>
                      <a:pt x="19106" y="19213"/>
                      <a:pt x="20434" y="19447"/>
                      <a:pt x="21431" y="20233"/>
                    </a:cubicBezTo>
                    <a:cubicBezTo>
                      <a:pt x="22435" y="21025"/>
                      <a:pt x="23386" y="21886"/>
                      <a:pt x="24281" y="22798"/>
                    </a:cubicBezTo>
                    <a:cubicBezTo>
                      <a:pt x="25096" y="23334"/>
                      <a:pt x="25746" y="24080"/>
                      <a:pt x="26162" y="24964"/>
                    </a:cubicBezTo>
                    <a:cubicBezTo>
                      <a:pt x="26276" y="25568"/>
                      <a:pt x="26276" y="26183"/>
                      <a:pt x="26162" y="26788"/>
                    </a:cubicBezTo>
                    <a:cubicBezTo>
                      <a:pt x="26048" y="30133"/>
                      <a:pt x="26669" y="33456"/>
                      <a:pt x="27986" y="36534"/>
                    </a:cubicBezTo>
                    <a:cubicBezTo>
                      <a:pt x="28242" y="37035"/>
                      <a:pt x="28413" y="37571"/>
                      <a:pt x="28499" y="38129"/>
                    </a:cubicBezTo>
                    <a:cubicBezTo>
                      <a:pt x="28499" y="40352"/>
                      <a:pt x="25877" y="41435"/>
                      <a:pt x="23711" y="41777"/>
                    </a:cubicBezTo>
                    <a:cubicBezTo>
                      <a:pt x="23130" y="41783"/>
                      <a:pt x="22565" y="41982"/>
                      <a:pt x="22115" y="42347"/>
                    </a:cubicBezTo>
                    <a:cubicBezTo>
                      <a:pt x="21870" y="42718"/>
                      <a:pt x="21677" y="43122"/>
                      <a:pt x="21545" y="43544"/>
                    </a:cubicBezTo>
                    <a:cubicBezTo>
                      <a:pt x="21163" y="45054"/>
                      <a:pt x="20548" y="46496"/>
                      <a:pt x="19722" y="47819"/>
                    </a:cubicBezTo>
                    <a:cubicBezTo>
                      <a:pt x="18496" y="49534"/>
                      <a:pt x="16820" y="50873"/>
                      <a:pt x="14877" y="51694"/>
                    </a:cubicBezTo>
                    <a:cubicBezTo>
                      <a:pt x="11811" y="52931"/>
                      <a:pt x="8408" y="53073"/>
                      <a:pt x="5245" y="52093"/>
                    </a:cubicBezTo>
                    <a:cubicBezTo>
                      <a:pt x="3580" y="51660"/>
                      <a:pt x="2087" y="50725"/>
                      <a:pt x="970" y="49414"/>
                    </a:cubicBezTo>
                    <a:cubicBezTo>
                      <a:pt x="-130" y="48035"/>
                      <a:pt x="-312" y="46132"/>
                      <a:pt x="514" y="44570"/>
                    </a:cubicBezTo>
                    <a:cubicBezTo>
                      <a:pt x="2053" y="42119"/>
                      <a:pt x="5587" y="42518"/>
                      <a:pt x="8437" y="42347"/>
                    </a:cubicBezTo>
                    <a:cubicBezTo>
                      <a:pt x="9628" y="42347"/>
                      <a:pt x="10790" y="42017"/>
                      <a:pt x="11799" y="41378"/>
                    </a:cubicBezTo>
                    <a:cubicBezTo>
                      <a:pt x="12825" y="40689"/>
                      <a:pt x="13355" y="39463"/>
                      <a:pt x="13167" y="38244"/>
                    </a:cubicBezTo>
                    <a:cubicBezTo>
                      <a:pt x="12882" y="37428"/>
                      <a:pt x="12478" y="36659"/>
                      <a:pt x="11970" y="35964"/>
                    </a:cubicBezTo>
                    <a:cubicBezTo>
                      <a:pt x="11429" y="35234"/>
                      <a:pt x="11429" y="34242"/>
                      <a:pt x="11970" y="33513"/>
                    </a:cubicBezTo>
                    <a:cubicBezTo>
                      <a:pt x="12335" y="33217"/>
                      <a:pt x="12768" y="33000"/>
                      <a:pt x="13224" y="32886"/>
                    </a:cubicBezTo>
                    <a:lnTo>
                      <a:pt x="16701" y="31974"/>
                    </a:lnTo>
                    <a:cubicBezTo>
                      <a:pt x="17835" y="31780"/>
                      <a:pt x="18878" y="31222"/>
                      <a:pt x="19664" y="30378"/>
                    </a:cubicBezTo>
                    <a:cubicBezTo>
                      <a:pt x="20804" y="28782"/>
                      <a:pt x="19664" y="26617"/>
                      <a:pt x="18981" y="24679"/>
                    </a:cubicBezTo>
                    <a:cubicBezTo>
                      <a:pt x="18297" y="22741"/>
                      <a:pt x="17100" y="21031"/>
                      <a:pt x="17898" y="19606"/>
                    </a:cubicBezTo>
                    <a:close/>
                    <a:moveTo>
                      <a:pt x="127897" y="49129"/>
                    </a:moveTo>
                    <a:cubicBezTo>
                      <a:pt x="127613" y="42404"/>
                      <a:pt x="122198" y="36591"/>
                      <a:pt x="122198" y="29865"/>
                    </a:cubicBezTo>
                    <a:cubicBezTo>
                      <a:pt x="123230" y="24508"/>
                      <a:pt x="125971" y="19629"/>
                      <a:pt x="130006" y="15959"/>
                    </a:cubicBezTo>
                    <a:cubicBezTo>
                      <a:pt x="133272" y="12641"/>
                      <a:pt x="135387" y="8367"/>
                      <a:pt x="136048" y="3762"/>
                    </a:cubicBezTo>
                    <a:cubicBezTo>
                      <a:pt x="133665" y="5073"/>
                      <a:pt x="130935" y="5591"/>
                      <a:pt x="128239" y="5244"/>
                    </a:cubicBezTo>
                    <a:cubicBezTo>
                      <a:pt x="120243" y="4827"/>
                      <a:pt x="112309" y="3665"/>
                      <a:pt x="104530" y="1767"/>
                    </a:cubicBezTo>
                    <a:cubicBezTo>
                      <a:pt x="101264" y="809"/>
                      <a:pt x="97896" y="217"/>
                      <a:pt x="94499" y="0"/>
                    </a:cubicBezTo>
                    <a:cubicBezTo>
                      <a:pt x="91347" y="143"/>
                      <a:pt x="88212" y="604"/>
                      <a:pt x="85151" y="1368"/>
                    </a:cubicBezTo>
                    <a:cubicBezTo>
                      <a:pt x="76146" y="3078"/>
                      <a:pt x="66514" y="228"/>
                      <a:pt x="57680" y="2508"/>
                    </a:cubicBezTo>
                    <a:lnTo>
                      <a:pt x="39727" y="7124"/>
                    </a:lnTo>
                    <a:lnTo>
                      <a:pt x="39727" y="15788"/>
                    </a:lnTo>
                    <a:cubicBezTo>
                      <a:pt x="35378" y="16825"/>
                      <a:pt x="32694" y="21191"/>
                      <a:pt x="33731" y="25539"/>
                    </a:cubicBezTo>
                    <a:cubicBezTo>
                      <a:pt x="34141" y="27261"/>
                      <a:pt x="35110" y="28799"/>
                      <a:pt x="36478" y="29922"/>
                    </a:cubicBezTo>
                    <a:cubicBezTo>
                      <a:pt x="37846" y="30777"/>
                      <a:pt x="39499" y="31233"/>
                      <a:pt x="40297" y="32601"/>
                    </a:cubicBezTo>
                    <a:cubicBezTo>
                      <a:pt x="41095" y="33969"/>
                      <a:pt x="40297" y="35907"/>
                      <a:pt x="40753" y="37560"/>
                    </a:cubicBezTo>
                    <a:cubicBezTo>
                      <a:pt x="41265" y="40979"/>
                      <a:pt x="45027" y="42860"/>
                      <a:pt x="48447" y="43259"/>
                    </a:cubicBezTo>
                    <a:cubicBezTo>
                      <a:pt x="51901" y="43253"/>
                      <a:pt x="55337" y="43749"/>
                      <a:pt x="58649" y="44741"/>
                    </a:cubicBezTo>
                    <a:cubicBezTo>
                      <a:pt x="61841" y="46166"/>
                      <a:pt x="64007" y="50440"/>
                      <a:pt x="61727" y="53062"/>
                    </a:cubicBezTo>
                    <a:cubicBezTo>
                      <a:pt x="59367" y="53284"/>
                      <a:pt x="57184" y="54407"/>
                      <a:pt x="55628" y="56197"/>
                    </a:cubicBezTo>
                    <a:cubicBezTo>
                      <a:pt x="60587" y="56197"/>
                      <a:pt x="65887" y="54886"/>
                      <a:pt x="70903" y="54601"/>
                    </a:cubicBezTo>
                    <a:cubicBezTo>
                      <a:pt x="72846" y="54367"/>
                      <a:pt x="74813" y="54664"/>
                      <a:pt x="76602" y="55456"/>
                    </a:cubicBezTo>
                    <a:cubicBezTo>
                      <a:pt x="79224" y="56824"/>
                      <a:pt x="80820" y="60015"/>
                      <a:pt x="83669" y="60813"/>
                    </a:cubicBezTo>
                    <a:cubicBezTo>
                      <a:pt x="86519" y="61611"/>
                      <a:pt x="88571" y="60414"/>
                      <a:pt x="90680" y="61440"/>
                    </a:cubicBezTo>
                    <a:cubicBezTo>
                      <a:pt x="92789" y="62466"/>
                      <a:pt x="93188" y="63948"/>
                      <a:pt x="94384" y="65316"/>
                    </a:cubicBezTo>
                    <a:cubicBezTo>
                      <a:pt x="100084" y="71870"/>
                      <a:pt x="111483" y="68052"/>
                      <a:pt x="119804" y="69819"/>
                    </a:cubicBezTo>
                    <a:cubicBezTo>
                      <a:pt x="121759" y="66735"/>
                      <a:pt x="123418" y="63469"/>
                      <a:pt x="124763" y="60072"/>
                    </a:cubicBezTo>
                    <a:cubicBezTo>
                      <a:pt x="126712" y="56636"/>
                      <a:pt x="127823" y="52789"/>
                      <a:pt x="128012" y="4884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1" name="Freihandform: Form 407">
                <a:extLst>
                  <a:ext uri="{FF2B5EF4-FFF2-40B4-BE49-F238E27FC236}">
                    <a16:creationId xmlns:a16="http://schemas.microsoft.com/office/drawing/2014/main" id="{FB6E3D1B-5518-70D2-F833-350B85FDDE69}"/>
                  </a:ext>
                </a:extLst>
              </p:cNvPr>
              <p:cNvSpPr/>
              <p:nvPr/>
            </p:nvSpPr>
            <p:spPr>
              <a:xfrm>
                <a:off x="4221490" y="2237814"/>
                <a:ext cx="227832" cy="386976"/>
              </a:xfrm>
              <a:custGeom>
                <a:avLst/>
                <a:gdLst>
                  <a:gd name="connsiteX0" fmla="*/ 157362 w 227832"/>
                  <a:gd name="connsiteY0" fmla="*/ 359523 h 386976"/>
                  <a:gd name="connsiteX1" fmla="*/ 150466 w 227832"/>
                  <a:gd name="connsiteY1" fmla="*/ 361803 h 386976"/>
                  <a:gd name="connsiteX2" fmla="*/ 144539 w 227832"/>
                  <a:gd name="connsiteY2" fmla="*/ 366876 h 386976"/>
                  <a:gd name="connsiteX3" fmla="*/ 136559 w 227832"/>
                  <a:gd name="connsiteY3" fmla="*/ 368130 h 386976"/>
                  <a:gd name="connsiteX4" fmla="*/ 116554 w 227832"/>
                  <a:gd name="connsiteY4" fmla="*/ 368130 h 386976"/>
                  <a:gd name="connsiteX5" fmla="*/ 112850 w 227832"/>
                  <a:gd name="connsiteY5" fmla="*/ 368814 h 386976"/>
                  <a:gd name="connsiteX6" fmla="*/ 108974 w 227832"/>
                  <a:gd name="connsiteY6" fmla="*/ 374513 h 386976"/>
                  <a:gd name="connsiteX7" fmla="*/ 99057 w 227832"/>
                  <a:gd name="connsiteY7" fmla="*/ 376850 h 386976"/>
                  <a:gd name="connsiteX8" fmla="*/ 82699 w 227832"/>
                  <a:gd name="connsiteY8" fmla="*/ 379757 h 386976"/>
                  <a:gd name="connsiteX9" fmla="*/ 79621 w 227832"/>
                  <a:gd name="connsiteY9" fmla="*/ 381751 h 386976"/>
                  <a:gd name="connsiteX10" fmla="*/ 78140 w 227832"/>
                  <a:gd name="connsiteY10" fmla="*/ 384772 h 386976"/>
                  <a:gd name="connsiteX11" fmla="*/ 69477 w 227832"/>
                  <a:gd name="connsiteY11" fmla="*/ 386653 h 386976"/>
                  <a:gd name="connsiteX12" fmla="*/ 53803 w 227832"/>
                  <a:gd name="connsiteY12" fmla="*/ 383917 h 386976"/>
                  <a:gd name="connsiteX13" fmla="*/ 43202 w 227832"/>
                  <a:gd name="connsiteY13" fmla="*/ 376337 h 386976"/>
                  <a:gd name="connsiteX14" fmla="*/ 28155 w 227832"/>
                  <a:gd name="connsiteY14" fmla="*/ 367104 h 386976"/>
                  <a:gd name="connsiteX15" fmla="*/ 12482 w 227832"/>
                  <a:gd name="connsiteY15" fmla="*/ 364482 h 386976"/>
                  <a:gd name="connsiteX16" fmla="*/ 10350 w 227832"/>
                  <a:gd name="connsiteY16" fmla="*/ 350376 h 386976"/>
                  <a:gd name="connsiteX17" fmla="*/ 10544 w 227832"/>
                  <a:gd name="connsiteY17" fmla="*/ 350119 h 386976"/>
                  <a:gd name="connsiteX18" fmla="*/ 13679 w 227832"/>
                  <a:gd name="connsiteY18" fmla="*/ 347156 h 386976"/>
                  <a:gd name="connsiteX19" fmla="*/ 11741 w 227832"/>
                  <a:gd name="connsiteY19" fmla="*/ 336669 h 386976"/>
                  <a:gd name="connsiteX20" fmla="*/ 16642 w 227832"/>
                  <a:gd name="connsiteY20" fmla="*/ 314783 h 386976"/>
                  <a:gd name="connsiteX21" fmla="*/ 3648 w 227832"/>
                  <a:gd name="connsiteY21" fmla="*/ 298539 h 386976"/>
                  <a:gd name="connsiteX22" fmla="*/ 0 w 227832"/>
                  <a:gd name="connsiteY22" fmla="*/ 289192 h 386976"/>
                  <a:gd name="connsiteX23" fmla="*/ 11399 w 227832"/>
                  <a:gd name="connsiteY23" fmla="*/ 282353 h 386976"/>
                  <a:gd name="connsiteX24" fmla="*/ 15445 w 227832"/>
                  <a:gd name="connsiteY24" fmla="*/ 272607 h 386976"/>
                  <a:gd name="connsiteX25" fmla="*/ 24166 w 227832"/>
                  <a:gd name="connsiteY25" fmla="*/ 270384 h 386976"/>
                  <a:gd name="connsiteX26" fmla="*/ 30891 w 227832"/>
                  <a:gd name="connsiteY26" fmla="*/ 265311 h 386976"/>
                  <a:gd name="connsiteX27" fmla="*/ 29637 w 227832"/>
                  <a:gd name="connsiteY27" fmla="*/ 259156 h 386976"/>
                  <a:gd name="connsiteX28" fmla="*/ 38072 w 227832"/>
                  <a:gd name="connsiteY28" fmla="*/ 255508 h 386976"/>
                  <a:gd name="connsiteX29" fmla="*/ 45938 w 227832"/>
                  <a:gd name="connsiteY29" fmla="*/ 251176 h 386976"/>
                  <a:gd name="connsiteX30" fmla="*/ 50383 w 227832"/>
                  <a:gd name="connsiteY30" fmla="*/ 243140 h 386976"/>
                  <a:gd name="connsiteX31" fmla="*/ 59104 w 227832"/>
                  <a:gd name="connsiteY31" fmla="*/ 240290 h 386976"/>
                  <a:gd name="connsiteX32" fmla="*/ 63036 w 227832"/>
                  <a:gd name="connsiteY32" fmla="*/ 234933 h 386976"/>
                  <a:gd name="connsiteX33" fmla="*/ 77342 w 227832"/>
                  <a:gd name="connsiteY33" fmla="*/ 228607 h 386976"/>
                  <a:gd name="connsiteX34" fmla="*/ 76601 w 227832"/>
                  <a:gd name="connsiteY34" fmla="*/ 221254 h 386976"/>
                  <a:gd name="connsiteX35" fmla="*/ 81445 w 227832"/>
                  <a:gd name="connsiteY35" fmla="*/ 204156 h 386976"/>
                  <a:gd name="connsiteX36" fmla="*/ 95409 w 227832"/>
                  <a:gd name="connsiteY36" fmla="*/ 205638 h 386976"/>
                  <a:gd name="connsiteX37" fmla="*/ 98544 w 227832"/>
                  <a:gd name="connsiteY37" fmla="*/ 182213 h 386976"/>
                  <a:gd name="connsiteX38" fmla="*/ 85264 w 227832"/>
                  <a:gd name="connsiteY38" fmla="*/ 172524 h 386976"/>
                  <a:gd name="connsiteX39" fmla="*/ 68963 w 227832"/>
                  <a:gd name="connsiteY39" fmla="*/ 164145 h 386976"/>
                  <a:gd name="connsiteX40" fmla="*/ 65886 w 227832"/>
                  <a:gd name="connsiteY40" fmla="*/ 158446 h 386976"/>
                  <a:gd name="connsiteX41" fmla="*/ 64176 w 227832"/>
                  <a:gd name="connsiteY41" fmla="*/ 158446 h 386976"/>
                  <a:gd name="connsiteX42" fmla="*/ 64176 w 227832"/>
                  <a:gd name="connsiteY42" fmla="*/ 139068 h 386976"/>
                  <a:gd name="connsiteX43" fmla="*/ 64176 w 227832"/>
                  <a:gd name="connsiteY43" fmla="*/ 132855 h 386976"/>
                  <a:gd name="connsiteX44" fmla="*/ 64803 w 227832"/>
                  <a:gd name="connsiteY44" fmla="*/ 128182 h 386976"/>
                  <a:gd name="connsiteX45" fmla="*/ 54031 w 227832"/>
                  <a:gd name="connsiteY45" fmla="*/ 111710 h 386976"/>
                  <a:gd name="connsiteX46" fmla="*/ 58762 w 227832"/>
                  <a:gd name="connsiteY46" fmla="*/ 92389 h 386976"/>
                  <a:gd name="connsiteX47" fmla="*/ 54544 w 227832"/>
                  <a:gd name="connsiteY47" fmla="*/ 85607 h 386976"/>
                  <a:gd name="connsiteX48" fmla="*/ 30663 w 227832"/>
                  <a:gd name="connsiteY48" fmla="*/ 66172 h 386976"/>
                  <a:gd name="connsiteX49" fmla="*/ 26844 w 227832"/>
                  <a:gd name="connsiteY49" fmla="*/ 64120 h 386976"/>
                  <a:gd name="connsiteX50" fmla="*/ 22684 w 227832"/>
                  <a:gd name="connsiteY50" fmla="*/ 63493 h 386976"/>
                  <a:gd name="connsiteX51" fmla="*/ 19606 w 227832"/>
                  <a:gd name="connsiteY51" fmla="*/ 60415 h 386976"/>
                  <a:gd name="connsiteX52" fmla="*/ 1653 w 227832"/>
                  <a:gd name="connsiteY52" fmla="*/ 34539 h 386976"/>
                  <a:gd name="connsiteX53" fmla="*/ 24907 w 227832"/>
                  <a:gd name="connsiteY53" fmla="*/ 40809 h 386976"/>
                  <a:gd name="connsiteX54" fmla="*/ 40409 w 227832"/>
                  <a:gd name="connsiteY54" fmla="*/ 53063 h 386976"/>
                  <a:gd name="connsiteX55" fmla="*/ 59503 w 227832"/>
                  <a:gd name="connsiteY55" fmla="*/ 55514 h 386976"/>
                  <a:gd name="connsiteX56" fmla="*/ 80876 w 227832"/>
                  <a:gd name="connsiteY56" fmla="*/ 54830 h 386976"/>
                  <a:gd name="connsiteX57" fmla="*/ 95067 w 227832"/>
                  <a:gd name="connsiteY57" fmla="*/ 48788 h 386976"/>
                  <a:gd name="connsiteX58" fmla="*/ 96720 w 227832"/>
                  <a:gd name="connsiteY58" fmla="*/ 43659 h 386976"/>
                  <a:gd name="connsiteX59" fmla="*/ 102818 w 227832"/>
                  <a:gd name="connsiteY59" fmla="*/ 37959 h 386976"/>
                  <a:gd name="connsiteX60" fmla="*/ 110114 w 227832"/>
                  <a:gd name="connsiteY60" fmla="*/ 24394 h 386976"/>
                  <a:gd name="connsiteX61" fmla="*/ 110627 w 227832"/>
                  <a:gd name="connsiteY61" fmla="*/ 15617 h 386976"/>
                  <a:gd name="connsiteX62" fmla="*/ 120715 w 227832"/>
                  <a:gd name="connsiteY62" fmla="*/ 4218 h 386976"/>
                  <a:gd name="connsiteX63" fmla="*/ 135875 w 227832"/>
                  <a:gd name="connsiteY63" fmla="*/ 913 h 386976"/>
                  <a:gd name="connsiteX64" fmla="*/ 173150 w 227832"/>
                  <a:gd name="connsiteY64" fmla="*/ 7410 h 386976"/>
                  <a:gd name="connsiteX65" fmla="*/ 175658 w 227832"/>
                  <a:gd name="connsiteY65" fmla="*/ 37446 h 386976"/>
                  <a:gd name="connsiteX66" fmla="*/ 170528 w 227832"/>
                  <a:gd name="connsiteY66" fmla="*/ 52151 h 386976"/>
                  <a:gd name="connsiteX67" fmla="*/ 168020 w 227832"/>
                  <a:gd name="connsiteY67" fmla="*/ 54260 h 386976"/>
                  <a:gd name="connsiteX68" fmla="*/ 166083 w 227832"/>
                  <a:gd name="connsiteY68" fmla="*/ 67026 h 386976"/>
                  <a:gd name="connsiteX69" fmla="*/ 174689 w 227832"/>
                  <a:gd name="connsiteY69" fmla="*/ 77684 h 386976"/>
                  <a:gd name="connsiteX70" fmla="*/ 192357 w 227832"/>
                  <a:gd name="connsiteY70" fmla="*/ 94213 h 386976"/>
                  <a:gd name="connsiteX71" fmla="*/ 196575 w 227832"/>
                  <a:gd name="connsiteY71" fmla="*/ 103446 h 386976"/>
                  <a:gd name="connsiteX72" fmla="*/ 183238 w 227832"/>
                  <a:gd name="connsiteY72" fmla="*/ 113591 h 386976"/>
                  <a:gd name="connsiteX73" fmla="*/ 183865 w 227832"/>
                  <a:gd name="connsiteY73" fmla="*/ 118094 h 386976"/>
                  <a:gd name="connsiteX74" fmla="*/ 179191 w 227832"/>
                  <a:gd name="connsiteY74" fmla="*/ 127213 h 386976"/>
                  <a:gd name="connsiteX75" fmla="*/ 179191 w 227832"/>
                  <a:gd name="connsiteY75" fmla="*/ 134451 h 386976"/>
                  <a:gd name="connsiteX76" fmla="*/ 188824 w 227832"/>
                  <a:gd name="connsiteY76" fmla="*/ 150638 h 386976"/>
                  <a:gd name="connsiteX77" fmla="*/ 196632 w 227832"/>
                  <a:gd name="connsiteY77" fmla="*/ 158389 h 386976"/>
                  <a:gd name="connsiteX78" fmla="*/ 196632 w 227832"/>
                  <a:gd name="connsiteY78" fmla="*/ 168591 h 386976"/>
                  <a:gd name="connsiteX79" fmla="*/ 191559 w 227832"/>
                  <a:gd name="connsiteY79" fmla="*/ 173436 h 386976"/>
                  <a:gd name="connsiteX80" fmla="*/ 195435 w 227832"/>
                  <a:gd name="connsiteY80" fmla="*/ 184493 h 386976"/>
                  <a:gd name="connsiteX81" fmla="*/ 188824 w 227832"/>
                  <a:gd name="connsiteY81" fmla="*/ 198570 h 386976"/>
                  <a:gd name="connsiteX82" fmla="*/ 195264 w 227832"/>
                  <a:gd name="connsiteY82" fmla="*/ 203529 h 386976"/>
                  <a:gd name="connsiteX83" fmla="*/ 192984 w 227832"/>
                  <a:gd name="connsiteY83" fmla="*/ 222622 h 386976"/>
                  <a:gd name="connsiteX84" fmla="*/ 209057 w 227832"/>
                  <a:gd name="connsiteY84" fmla="*/ 237099 h 386976"/>
                  <a:gd name="connsiteX85" fmla="*/ 197658 w 227832"/>
                  <a:gd name="connsiteY85" fmla="*/ 244907 h 386976"/>
                  <a:gd name="connsiteX86" fmla="*/ 201134 w 227832"/>
                  <a:gd name="connsiteY86" fmla="*/ 252316 h 386976"/>
                  <a:gd name="connsiteX87" fmla="*/ 217492 w 227832"/>
                  <a:gd name="connsiteY87" fmla="*/ 268275 h 386976"/>
                  <a:gd name="connsiteX88" fmla="*/ 226725 w 227832"/>
                  <a:gd name="connsiteY88" fmla="*/ 280244 h 386976"/>
                  <a:gd name="connsiteX89" fmla="*/ 224103 w 227832"/>
                  <a:gd name="connsiteY89" fmla="*/ 294207 h 386976"/>
                  <a:gd name="connsiteX90" fmla="*/ 218974 w 227832"/>
                  <a:gd name="connsiteY90" fmla="*/ 297399 h 386976"/>
                  <a:gd name="connsiteX91" fmla="*/ 212476 w 227832"/>
                  <a:gd name="connsiteY91" fmla="*/ 307145 h 386976"/>
                  <a:gd name="connsiteX92" fmla="*/ 202502 w 227832"/>
                  <a:gd name="connsiteY92" fmla="*/ 310337 h 386976"/>
                  <a:gd name="connsiteX93" fmla="*/ 193041 w 227832"/>
                  <a:gd name="connsiteY93" fmla="*/ 324016 h 386976"/>
                  <a:gd name="connsiteX94" fmla="*/ 187342 w 227832"/>
                  <a:gd name="connsiteY94" fmla="*/ 326068 h 386976"/>
                  <a:gd name="connsiteX95" fmla="*/ 181642 w 227832"/>
                  <a:gd name="connsiteY95" fmla="*/ 337466 h 386976"/>
                  <a:gd name="connsiteX96" fmla="*/ 171839 w 227832"/>
                  <a:gd name="connsiteY96" fmla="*/ 342710 h 386976"/>
                  <a:gd name="connsiteX97" fmla="*/ 164886 w 227832"/>
                  <a:gd name="connsiteY97" fmla="*/ 350404 h 386976"/>
                  <a:gd name="connsiteX98" fmla="*/ 157362 w 227832"/>
                  <a:gd name="connsiteY98" fmla="*/ 359523 h 386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27832" h="386976">
                    <a:moveTo>
                      <a:pt x="157362" y="359523"/>
                    </a:moveTo>
                    <a:cubicBezTo>
                      <a:pt x="154826" y="359050"/>
                      <a:pt x="152222" y="359911"/>
                      <a:pt x="150466" y="361803"/>
                    </a:cubicBezTo>
                    <a:cubicBezTo>
                      <a:pt x="148711" y="363735"/>
                      <a:pt x="146721" y="365439"/>
                      <a:pt x="144539" y="366876"/>
                    </a:cubicBezTo>
                    <a:cubicBezTo>
                      <a:pt x="142019" y="367924"/>
                      <a:pt x="139284" y="368358"/>
                      <a:pt x="136559" y="368130"/>
                    </a:cubicBezTo>
                    <a:lnTo>
                      <a:pt x="116554" y="368130"/>
                    </a:lnTo>
                    <a:cubicBezTo>
                      <a:pt x="115278" y="368004"/>
                      <a:pt x="113995" y="368244"/>
                      <a:pt x="112850" y="368814"/>
                    </a:cubicBezTo>
                    <a:cubicBezTo>
                      <a:pt x="110855" y="369953"/>
                      <a:pt x="110456" y="372575"/>
                      <a:pt x="108974" y="374513"/>
                    </a:cubicBezTo>
                    <a:cubicBezTo>
                      <a:pt x="106694" y="377135"/>
                      <a:pt x="102591" y="376907"/>
                      <a:pt x="99057" y="376850"/>
                    </a:cubicBezTo>
                    <a:cubicBezTo>
                      <a:pt x="93466" y="376753"/>
                      <a:pt x="87914" y="377739"/>
                      <a:pt x="82699" y="379757"/>
                    </a:cubicBezTo>
                    <a:cubicBezTo>
                      <a:pt x="81514" y="380138"/>
                      <a:pt x="80454" y="380828"/>
                      <a:pt x="79621" y="381751"/>
                    </a:cubicBezTo>
                    <a:cubicBezTo>
                      <a:pt x="78995" y="382663"/>
                      <a:pt x="78767" y="383860"/>
                      <a:pt x="78140" y="384772"/>
                    </a:cubicBezTo>
                    <a:cubicBezTo>
                      <a:pt x="76430" y="387394"/>
                      <a:pt x="72440" y="387166"/>
                      <a:pt x="69477" y="386653"/>
                    </a:cubicBezTo>
                    <a:lnTo>
                      <a:pt x="53803" y="383917"/>
                    </a:lnTo>
                    <a:cubicBezTo>
                      <a:pt x="49129" y="383119"/>
                      <a:pt x="43316" y="381067"/>
                      <a:pt x="43202" y="376337"/>
                    </a:cubicBezTo>
                    <a:cubicBezTo>
                      <a:pt x="36556" y="377602"/>
                      <a:pt x="30036" y="373601"/>
                      <a:pt x="28155" y="367104"/>
                    </a:cubicBezTo>
                    <a:cubicBezTo>
                      <a:pt x="22798" y="368494"/>
                      <a:pt x="17098" y="367543"/>
                      <a:pt x="12482" y="364482"/>
                    </a:cubicBezTo>
                    <a:cubicBezTo>
                      <a:pt x="7996" y="361176"/>
                      <a:pt x="7044" y="354861"/>
                      <a:pt x="10350" y="350376"/>
                    </a:cubicBezTo>
                    <a:cubicBezTo>
                      <a:pt x="10413" y="350290"/>
                      <a:pt x="10476" y="350205"/>
                      <a:pt x="10544" y="350119"/>
                    </a:cubicBezTo>
                    <a:cubicBezTo>
                      <a:pt x="11712" y="349270"/>
                      <a:pt x="12761" y="348273"/>
                      <a:pt x="13679" y="347156"/>
                    </a:cubicBezTo>
                    <a:cubicBezTo>
                      <a:pt x="15617" y="343964"/>
                      <a:pt x="12710" y="340202"/>
                      <a:pt x="11741" y="336669"/>
                    </a:cubicBezTo>
                    <a:cubicBezTo>
                      <a:pt x="9803" y="329316"/>
                      <a:pt x="16472" y="322363"/>
                      <a:pt x="16642" y="314783"/>
                    </a:cubicBezTo>
                    <a:cubicBezTo>
                      <a:pt x="9746" y="312731"/>
                      <a:pt x="6269" y="305264"/>
                      <a:pt x="3648" y="298539"/>
                    </a:cubicBezTo>
                    <a:lnTo>
                      <a:pt x="0" y="289192"/>
                    </a:lnTo>
                    <a:cubicBezTo>
                      <a:pt x="4873" y="289591"/>
                      <a:pt x="9461" y="286844"/>
                      <a:pt x="11399" y="282353"/>
                    </a:cubicBezTo>
                    <a:cubicBezTo>
                      <a:pt x="12767" y="279047"/>
                      <a:pt x="12710" y="274943"/>
                      <a:pt x="15445" y="272607"/>
                    </a:cubicBezTo>
                    <a:cubicBezTo>
                      <a:pt x="18056" y="270988"/>
                      <a:pt x="21099" y="270213"/>
                      <a:pt x="24166" y="270384"/>
                    </a:cubicBezTo>
                    <a:cubicBezTo>
                      <a:pt x="27243" y="270042"/>
                      <a:pt x="30777" y="268389"/>
                      <a:pt x="30891" y="265311"/>
                    </a:cubicBezTo>
                    <a:cubicBezTo>
                      <a:pt x="30891" y="263202"/>
                      <a:pt x="29352" y="261265"/>
                      <a:pt x="29637" y="259156"/>
                    </a:cubicBezTo>
                    <a:cubicBezTo>
                      <a:pt x="30207" y="255850"/>
                      <a:pt x="34710" y="255337"/>
                      <a:pt x="38072" y="255508"/>
                    </a:cubicBezTo>
                    <a:cubicBezTo>
                      <a:pt x="41435" y="255679"/>
                      <a:pt x="46051" y="254539"/>
                      <a:pt x="45938" y="251176"/>
                    </a:cubicBezTo>
                    <a:cubicBezTo>
                      <a:pt x="43658" y="249125"/>
                      <a:pt x="47420" y="244109"/>
                      <a:pt x="50383" y="243140"/>
                    </a:cubicBezTo>
                    <a:cubicBezTo>
                      <a:pt x="53347" y="242171"/>
                      <a:pt x="56824" y="242399"/>
                      <a:pt x="59104" y="240290"/>
                    </a:cubicBezTo>
                    <a:cubicBezTo>
                      <a:pt x="61383" y="238182"/>
                      <a:pt x="61383" y="236415"/>
                      <a:pt x="63036" y="234933"/>
                    </a:cubicBezTo>
                    <a:cubicBezTo>
                      <a:pt x="66969" y="231228"/>
                      <a:pt x="75347" y="233622"/>
                      <a:pt x="77342" y="228607"/>
                    </a:cubicBezTo>
                    <a:cubicBezTo>
                      <a:pt x="77826" y="226139"/>
                      <a:pt x="77570" y="223580"/>
                      <a:pt x="76601" y="221254"/>
                    </a:cubicBezTo>
                    <a:cubicBezTo>
                      <a:pt x="76150" y="215161"/>
                      <a:pt x="77866" y="209109"/>
                      <a:pt x="81445" y="204156"/>
                    </a:cubicBezTo>
                    <a:lnTo>
                      <a:pt x="95409" y="205638"/>
                    </a:lnTo>
                    <a:cubicBezTo>
                      <a:pt x="96492" y="197829"/>
                      <a:pt x="97518" y="190021"/>
                      <a:pt x="98544" y="182213"/>
                    </a:cubicBezTo>
                    <a:cubicBezTo>
                      <a:pt x="92554" y="182008"/>
                      <a:pt x="87293" y="178166"/>
                      <a:pt x="85264" y="172524"/>
                    </a:cubicBezTo>
                    <a:cubicBezTo>
                      <a:pt x="78823" y="171840"/>
                      <a:pt x="71129" y="170244"/>
                      <a:pt x="68963" y="164145"/>
                    </a:cubicBezTo>
                    <a:cubicBezTo>
                      <a:pt x="68280" y="162037"/>
                      <a:pt x="67995" y="159244"/>
                      <a:pt x="65886" y="158446"/>
                    </a:cubicBezTo>
                    <a:cubicBezTo>
                      <a:pt x="65333" y="158247"/>
                      <a:pt x="64729" y="158247"/>
                      <a:pt x="64176" y="158446"/>
                    </a:cubicBezTo>
                    <a:cubicBezTo>
                      <a:pt x="64176" y="152006"/>
                      <a:pt x="64176" y="145508"/>
                      <a:pt x="64176" y="139068"/>
                    </a:cubicBezTo>
                    <a:cubicBezTo>
                      <a:pt x="63976" y="137005"/>
                      <a:pt x="63976" y="134919"/>
                      <a:pt x="64176" y="132855"/>
                    </a:cubicBezTo>
                    <a:cubicBezTo>
                      <a:pt x="64547" y="131322"/>
                      <a:pt x="64757" y="129755"/>
                      <a:pt x="64803" y="128182"/>
                    </a:cubicBezTo>
                    <a:cubicBezTo>
                      <a:pt x="64803" y="121456"/>
                      <a:pt x="55342" y="118265"/>
                      <a:pt x="54031" y="111710"/>
                    </a:cubicBezTo>
                    <a:cubicBezTo>
                      <a:pt x="52720" y="105156"/>
                      <a:pt x="60072" y="99001"/>
                      <a:pt x="58762" y="92389"/>
                    </a:cubicBezTo>
                    <a:cubicBezTo>
                      <a:pt x="58032" y="89773"/>
                      <a:pt x="56567" y="87419"/>
                      <a:pt x="54544" y="85607"/>
                    </a:cubicBezTo>
                    <a:cubicBezTo>
                      <a:pt x="47186" y="78420"/>
                      <a:pt x="39195" y="71917"/>
                      <a:pt x="30663" y="66172"/>
                    </a:cubicBezTo>
                    <a:cubicBezTo>
                      <a:pt x="29512" y="65277"/>
                      <a:pt x="28224" y="64587"/>
                      <a:pt x="26844" y="64120"/>
                    </a:cubicBezTo>
                    <a:cubicBezTo>
                      <a:pt x="25442" y="64029"/>
                      <a:pt x="24052" y="63818"/>
                      <a:pt x="22684" y="63493"/>
                    </a:cubicBezTo>
                    <a:cubicBezTo>
                      <a:pt x="21390" y="62775"/>
                      <a:pt x="20330" y="61709"/>
                      <a:pt x="19606" y="60415"/>
                    </a:cubicBezTo>
                    <a:lnTo>
                      <a:pt x="1653" y="34539"/>
                    </a:lnTo>
                    <a:cubicBezTo>
                      <a:pt x="9911" y="33707"/>
                      <a:pt x="18187" y="35942"/>
                      <a:pt x="24907" y="40809"/>
                    </a:cubicBezTo>
                    <a:cubicBezTo>
                      <a:pt x="29677" y="45368"/>
                      <a:pt x="34869" y="49472"/>
                      <a:pt x="40409" y="53063"/>
                    </a:cubicBezTo>
                    <a:cubicBezTo>
                      <a:pt x="46496" y="55365"/>
                      <a:pt x="53034" y="56203"/>
                      <a:pt x="59503" y="55514"/>
                    </a:cubicBezTo>
                    <a:lnTo>
                      <a:pt x="80876" y="54830"/>
                    </a:lnTo>
                    <a:cubicBezTo>
                      <a:pt x="86290" y="54830"/>
                      <a:pt x="92844" y="53804"/>
                      <a:pt x="95067" y="48788"/>
                    </a:cubicBezTo>
                    <a:cubicBezTo>
                      <a:pt x="95808" y="47135"/>
                      <a:pt x="95922" y="45254"/>
                      <a:pt x="96720" y="43659"/>
                    </a:cubicBezTo>
                    <a:cubicBezTo>
                      <a:pt x="98316" y="41339"/>
                      <a:pt x="100396" y="39395"/>
                      <a:pt x="102818" y="37959"/>
                    </a:cubicBezTo>
                    <a:cubicBezTo>
                      <a:pt x="107007" y="34631"/>
                      <a:pt x="109646" y="29723"/>
                      <a:pt x="110114" y="24394"/>
                    </a:cubicBezTo>
                    <a:cubicBezTo>
                      <a:pt x="110114" y="21459"/>
                      <a:pt x="110285" y="18530"/>
                      <a:pt x="110627" y="15617"/>
                    </a:cubicBezTo>
                    <a:cubicBezTo>
                      <a:pt x="112017" y="10448"/>
                      <a:pt x="115750" y="6230"/>
                      <a:pt x="120715" y="4218"/>
                    </a:cubicBezTo>
                    <a:cubicBezTo>
                      <a:pt x="125559" y="2320"/>
                      <a:pt x="130677" y="1203"/>
                      <a:pt x="135875" y="913"/>
                    </a:cubicBezTo>
                    <a:cubicBezTo>
                      <a:pt x="148870" y="-512"/>
                      <a:pt x="163575" y="-1424"/>
                      <a:pt x="173150" y="7410"/>
                    </a:cubicBezTo>
                    <a:cubicBezTo>
                      <a:pt x="181300" y="14933"/>
                      <a:pt x="186430" y="34881"/>
                      <a:pt x="175658" y="37446"/>
                    </a:cubicBezTo>
                    <a:cubicBezTo>
                      <a:pt x="170300" y="38700"/>
                      <a:pt x="174119" y="47933"/>
                      <a:pt x="170528" y="52151"/>
                    </a:cubicBezTo>
                    <a:cubicBezTo>
                      <a:pt x="169747" y="52915"/>
                      <a:pt x="168910" y="53621"/>
                      <a:pt x="168020" y="54260"/>
                    </a:cubicBezTo>
                    <a:cubicBezTo>
                      <a:pt x="164795" y="57702"/>
                      <a:pt x="164025" y="62780"/>
                      <a:pt x="166083" y="67026"/>
                    </a:cubicBezTo>
                    <a:cubicBezTo>
                      <a:pt x="168174" y="71141"/>
                      <a:pt x="171109" y="74772"/>
                      <a:pt x="174689" y="77684"/>
                    </a:cubicBezTo>
                    <a:lnTo>
                      <a:pt x="192357" y="94213"/>
                    </a:lnTo>
                    <a:cubicBezTo>
                      <a:pt x="194979" y="96721"/>
                      <a:pt x="198057" y="99912"/>
                      <a:pt x="196575" y="103446"/>
                    </a:cubicBezTo>
                    <a:cubicBezTo>
                      <a:pt x="194466" y="109146"/>
                      <a:pt x="183751" y="107721"/>
                      <a:pt x="183238" y="113591"/>
                    </a:cubicBezTo>
                    <a:cubicBezTo>
                      <a:pt x="183238" y="115130"/>
                      <a:pt x="183865" y="116555"/>
                      <a:pt x="183865" y="118094"/>
                    </a:cubicBezTo>
                    <a:cubicBezTo>
                      <a:pt x="183865" y="121570"/>
                      <a:pt x="180388" y="123793"/>
                      <a:pt x="179191" y="127213"/>
                    </a:cubicBezTo>
                    <a:cubicBezTo>
                      <a:pt x="178451" y="129567"/>
                      <a:pt x="178451" y="132097"/>
                      <a:pt x="179191" y="134451"/>
                    </a:cubicBezTo>
                    <a:cubicBezTo>
                      <a:pt x="180861" y="140629"/>
                      <a:pt x="184190" y="146226"/>
                      <a:pt x="188824" y="150638"/>
                    </a:cubicBezTo>
                    <a:cubicBezTo>
                      <a:pt x="191713" y="152912"/>
                      <a:pt x="194335" y="155511"/>
                      <a:pt x="196632" y="158389"/>
                    </a:cubicBezTo>
                    <a:cubicBezTo>
                      <a:pt x="198849" y="161427"/>
                      <a:pt x="198849" y="165553"/>
                      <a:pt x="196632" y="168591"/>
                    </a:cubicBezTo>
                    <a:cubicBezTo>
                      <a:pt x="195036" y="170358"/>
                      <a:pt x="192414" y="171213"/>
                      <a:pt x="191559" y="173436"/>
                    </a:cubicBezTo>
                    <a:cubicBezTo>
                      <a:pt x="190191" y="177197"/>
                      <a:pt x="195321" y="180446"/>
                      <a:pt x="195435" y="184493"/>
                    </a:cubicBezTo>
                    <a:cubicBezTo>
                      <a:pt x="195435" y="190192"/>
                      <a:pt x="186829" y="193498"/>
                      <a:pt x="188824" y="198570"/>
                    </a:cubicBezTo>
                    <a:cubicBezTo>
                      <a:pt x="189849" y="201135"/>
                      <a:pt x="193098" y="201819"/>
                      <a:pt x="195264" y="203529"/>
                    </a:cubicBezTo>
                    <a:cubicBezTo>
                      <a:pt x="200963" y="208031"/>
                      <a:pt x="197715" y="217208"/>
                      <a:pt x="192984" y="222622"/>
                    </a:cubicBezTo>
                    <a:cubicBezTo>
                      <a:pt x="198866" y="226834"/>
                      <a:pt x="204258" y="231690"/>
                      <a:pt x="209057" y="237099"/>
                    </a:cubicBezTo>
                    <a:cubicBezTo>
                      <a:pt x="206549" y="241202"/>
                      <a:pt x="198741" y="240233"/>
                      <a:pt x="197658" y="244907"/>
                    </a:cubicBezTo>
                    <a:cubicBezTo>
                      <a:pt x="196860" y="247643"/>
                      <a:pt x="199083" y="250607"/>
                      <a:pt x="201134" y="252316"/>
                    </a:cubicBezTo>
                    <a:cubicBezTo>
                      <a:pt x="206834" y="257617"/>
                      <a:pt x="212077" y="262917"/>
                      <a:pt x="217492" y="268275"/>
                    </a:cubicBezTo>
                    <a:cubicBezTo>
                      <a:pt x="221396" y="271552"/>
                      <a:pt x="224542" y="275639"/>
                      <a:pt x="226725" y="280244"/>
                    </a:cubicBezTo>
                    <a:cubicBezTo>
                      <a:pt x="228879" y="284986"/>
                      <a:pt x="227831" y="290571"/>
                      <a:pt x="224103" y="294207"/>
                    </a:cubicBezTo>
                    <a:cubicBezTo>
                      <a:pt x="222507" y="295461"/>
                      <a:pt x="220570" y="296145"/>
                      <a:pt x="218974" y="297399"/>
                    </a:cubicBezTo>
                    <a:cubicBezTo>
                      <a:pt x="216341" y="300312"/>
                      <a:pt x="214152" y="303595"/>
                      <a:pt x="212476" y="307145"/>
                    </a:cubicBezTo>
                    <a:cubicBezTo>
                      <a:pt x="210197" y="310394"/>
                      <a:pt x="205523" y="312845"/>
                      <a:pt x="202502" y="310337"/>
                    </a:cubicBezTo>
                    <a:cubicBezTo>
                      <a:pt x="202480" y="316413"/>
                      <a:pt x="198718" y="321850"/>
                      <a:pt x="193041" y="324016"/>
                    </a:cubicBezTo>
                    <a:cubicBezTo>
                      <a:pt x="191069" y="324477"/>
                      <a:pt x="189154" y="325167"/>
                      <a:pt x="187342" y="326068"/>
                    </a:cubicBezTo>
                    <a:cubicBezTo>
                      <a:pt x="183637" y="328461"/>
                      <a:pt x="183238" y="333534"/>
                      <a:pt x="181642" y="337466"/>
                    </a:cubicBezTo>
                    <a:cubicBezTo>
                      <a:pt x="180046" y="341399"/>
                      <a:pt x="175145" y="345617"/>
                      <a:pt x="171839" y="342710"/>
                    </a:cubicBezTo>
                    <a:cubicBezTo>
                      <a:pt x="170203" y="345822"/>
                      <a:pt x="167815" y="348466"/>
                      <a:pt x="164886" y="350404"/>
                    </a:cubicBezTo>
                    <a:cubicBezTo>
                      <a:pt x="162053" y="353157"/>
                      <a:pt x="159528" y="356218"/>
                      <a:pt x="157362" y="35952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2" name="Freihandform: Form 408">
                <a:extLst>
                  <a:ext uri="{FF2B5EF4-FFF2-40B4-BE49-F238E27FC236}">
                    <a16:creationId xmlns:a16="http://schemas.microsoft.com/office/drawing/2014/main" id="{F1A7D25E-CF0A-3438-DADF-B01BA378211D}"/>
                  </a:ext>
                </a:extLst>
              </p:cNvPr>
              <p:cNvSpPr/>
              <p:nvPr/>
            </p:nvSpPr>
            <p:spPr>
              <a:xfrm>
                <a:off x="4016650" y="2280845"/>
                <a:ext cx="268445" cy="505237"/>
              </a:xfrm>
              <a:custGeom>
                <a:avLst/>
                <a:gdLst>
                  <a:gd name="connsiteX0" fmla="*/ 142544 w 268445"/>
                  <a:gd name="connsiteY0" fmla="*/ 449232 h 505237"/>
                  <a:gd name="connsiteX1" fmla="*/ 142544 w 268445"/>
                  <a:gd name="connsiteY1" fmla="*/ 443932 h 505237"/>
                  <a:gd name="connsiteX2" fmla="*/ 146704 w 268445"/>
                  <a:gd name="connsiteY2" fmla="*/ 439999 h 505237"/>
                  <a:gd name="connsiteX3" fmla="*/ 148528 w 268445"/>
                  <a:gd name="connsiteY3" fmla="*/ 434927 h 505237"/>
                  <a:gd name="connsiteX4" fmla="*/ 147616 w 268445"/>
                  <a:gd name="connsiteY4" fmla="*/ 432761 h 505237"/>
                  <a:gd name="connsiteX5" fmla="*/ 148927 w 268445"/>
                  <a:gd name="connsiteY5" fmla="*/ 428771 h 505237"/>
                  <a:gd name="connsiteX6" fmla="*/ 154627 w 268445"/>
                  <a:gd name="connsiteY6" fmla="*/ 427005 h 505237"/>
                  <a:gd name="connsiteX7" fmla="*/ 156052 w 268445"/>
                  <a:gd name="connsiteY7" fmla="*/ 422103 h 505237"/>
                  <a:gd name="connsiteX8" fmla="*/ 162093 w 268445"/>
                  <a:gd name="connsiteY8" fmla="*/ 419139 h 505237"/>
                  <a:gd name="connsiteX9" fmla="*/ 163689 w 268445"/>
                  <a:gd name="connsiteY9" fmla="*/ 419139 h 505237"/>
                  <a:gd name="connsiteX10" fmla="*/ 165570 w 268445"/>
                  <a:gd name="connsiteY10" fmla="*/ 422160 h 505237"/>
                  <a:gd name="connsiteX11" fmla="*/ 166197 w 268445"/>
                  <a:gd name="connsiteY11" fmla="*/ 431678 h 505237"/>
                  <a:gd name="connsiteX12" fmla="*/ 160497 w 268445"/>
                  <a:gd name="connsiteY12" fmla="*/ 433502 h 505237"/>
                  <a:gd name="connsiteX13" fmla="*/ 159243 w 268445"/>
                  <a:gd name="connsiteY13" fmla="*/ 434129 h 505237"/>
                  <a:gd name="connsiteX14" fmla="*/ 158673 w 268445"/>
                  <a:gd name="connsiteY14" fmla="*/ 437890 h 505237"/>
                  <a:gd name="connsiteX15" fmla="*/ 158673 w 268445"/>
                  <a:gd name="connsiteY15" fmla="*/ 443590 h 505237"/>
                  <a:gd name="connsiteX16" fmla="*/ 154228 w 268445"/>
                  <a:gd name="connsiteY16" fmla="*/ 448207 h 505237"/>
                  <a:gd name="connsiteX17" fmla="*/ 147901 w 268445"/>
                  <a:gd name="connsiteY17" fmla="*/ 450030 h 505237"/>
                  <a:gd name="connsiteX18" fmla="*/ 142544 w 268445"/>
                  <a:gd name="connsiteY18" fmla="*/ 449232 h 505237"/>
                  <a:gd name="connsiteX19" fmla="*/ 187627 w 268445"/>
                  <a:gd name="connsiteY19" fmla="*/ 6668 h 505237"/>
                  <a:gd name="connsiteX20" fmla="*/ 187627 w 268445"/>
                  <a:gd name="connsiteY20" fmla="*/ 9461 h 505237"/>
                  <a:gd name="connsiteX21" fmla="*/ 190191 w 268445"/>
                  <a:gd name="connsiteY21" fmla="*/ 18295 h 505237"/>
                  <a:gd name="connsiteX22" fmla="*/ 189735 w 268445"/>
                  <a:gd name="connsiteY22" fmla="*/ 27244 h 505237"/>
                  <a:gd name="connsiteX23" fmla="*/ 181922 w 268445"/>
                  <a:gd name="connsiteY23" fmla="*/ 29210 h 505237"/>
                  <a:gd name="connsiteX24" fmla="*/ 181870 w 268445"/>
                  <a:gd name="connsiteY24" fmla="*/ 29181 h 505237"/>
                  <a:gd name="connsiteX25" fmla="*/ 176570 w 268445"/>
                  <a:gd name="connsiteY25" fmla="*/ 23824 h 505237"/>
                  <a:gd name="connsiteX26" fmla="*/ 169046 w 268445"/>
                  <a:gd name="connsiteY26" fmla="*/ 21202 h 505237"/>
                  <a:gd name="connsiteX27" fmla="*/ 164373 w 268445"/>
                  <a:gd name="connsiteY27" fmla="*/ 17155 h 505237"/>
                  <a:gd name="connsiteX28" fmla="*/ 152774 w 268445"/>
                  <a:gd name="connsiteY28" fmla="*/ 21578 h 505237"/>
                  <a:gd name="connsiteX29" fmla="*/ 152233 w 268445"/>
                  <a:gd name="connsiteY29" fmla="*/ 23197 h 505237"/>
                  <a:gd name="connsiteX30" fmla="*/ 150922 w 268445"/>
                  <a:gd name="connsiteY30" fmla="*/ 34026 h 505237"/>
                  <a:gd name="connsiteX31" fmla="*/ 140207 w 268445"/>
                  <a:gd name="connsiteY31" fmla="*/ 39725 h 505237"/>
                  <a:gd name="connsiteX32" fmla="*/ 127497 w 268445"/>
                  <a:gd name="connsiteY32" fmla="*/ 39725 h 505237"/>
                  <a:gd name="connsiteX33" fmla="*/ 119062 w 268445"/>
                  <a:gd name="connsiteY33" fmla="*/ 47933 h 505237"/>
                  <a:gd name="connsiteX34" fmla="*/ 119062 w 268445"/>
                  <a:gd name="connsiteY34" fmla="*/ 51865 h 505237"/>
                  <a:gd name="connsiteX35" fmla="*/ 114958 w 268445"/>
                  <a:gd name="connsiteY35" fmla="*/ 55969 h 505237"/>
                  <a:gd name="connsiteX36" fmla="*/ 111596 w 268445"/>
                  <a:gd name="connsiteY36" fmla="*/ 68736 h 505237"/>
                  <a:gd name="connsiteX37" fmla="*/ 102419 w 268445"/>
                  <a:gd name="connsiteY37" fmla="*/ 85834 h 505237"/>
                  <a:gd name="connsiteX38" fmla="*/ 91875 w 268445"/>
                  <a:gd name="connsiteY38" fmla="*/ 104642 h 505237"/>
                  <a:gd name="connsiteX39" fmla="*/ 86176 w 268445"/>
                  <a:gd name="connsiteY39" fmla="*/ 108746 h 505237"/>
                  <a:gd name="connsiteX40" fmla="*/ 84637 w 268445"/>
                  <a:gd name="connsiteY40" fmla="*/ 113818 h 505237"/>
                  <a:gd name="connsiteX41" fmla="*/ 68507 w 268445"/>
                  <a:gd name="connsiteY41" fmla="*/ 122482 h 505237"/>
                  <a:gd name="connsiteX42" fmla="*/ 66684 w 268445"/>
                  <a:gd name="connsiteY42" fmla="*/ 150238 h 505237"/>
                  <a:gd name="connsiteX43" fmla="*/ 65145 w 268445"/>
                  <a:gd name="connsiteY43" fmla="*/ 158103 h 505237"/>
                  <a:gd name="connsiteX44" fmla="*/ 57849 w 268445"/>
                  <a:gd name="connsiteY44" fmla="*/ 166482 h 505237"/>
                  <a:gd name="connsiteX45" fmla="*/ 55114 w 268445"/>
                  <a:gd name="connsiteY45" fmla="*/ 176570 h 505237"/>
                  <a:gd name="connsiteX46" fmla="*/ 61725 w 268445"/>
                  <a:gd name="connsiteY46" fmla="*/ 182269 h 505237"/>
                  <a:gd name="connsiteX47" fmla="*/ 64233 w 268445"/>
                  <a:gd name="connsiteY47" fmla="*/ 195606 h 505237"/>
                  <a:gd name="connsiteX48" fmla="*/ 58533 w 268445"/>
                  <a:gd name="connsiteY48" fmla="*/ 197259 h 505237"/>
                  <a:gd name="connsiteX49" fmla="*/ 54088 w 268445"/>
                  <a:gd name="connsiteY49" fmla="*/ 201647 h 505237"/>
                  <a:gd name="connsiteX50" fmla="*/ 42689 w 268445"/>
                  <a:gd name="connsiteY50" fmla="*/ 200963 h 505237"/>
                  <a:gd name="connsiteX51" fmla="*/ 31290 w 268445"/>
                  <a:gd name="connsiteY51" fmla="*/ 206663 h 505237"/>
                  <a:gd name="connsiteX52" fmla="*/ 25591 w 268445"/>
                  <a:gd name="connsiteY52" fmla="*/ 218518 h 505237"/>
                  <a:gd name="connsiteX53" fmla="*/ 23482 w 268445"/>
                  <a:gd name="connsiteY53" fmla="*/ 272834 h 505237"/>
                  <a:gd name="connsiteX54" fmla="*/ 25990 w 268445"/>
                  <a:gd name="connsiteY54" fmla="*/ 282922 h 505237"/>
                  <a:gd name="connsiteX55" fmla="*/ 36420 w 268445"/>
                  <a:gd name="connsiteY55" fmla="*/ 296259 h 505237"/>
                  <a:gd name="connsiteX56" fmla="*/ 28440 w 268445"/>
                  <a:gd name="connsiteY56" fmla="*/ 305948 h 505237"/>
                  <a:gd name="connsiteX57" fmla="*/ 25476 w 268445"/>
                  <a:gd name="connsiteY57" fmla="*/ 316891 h 505237"/>
                  <a:gd name="connsiteX58" fmla="*/ 29295 w 268445"/>
                  <a:gd name="connsiteY58" fmla="*/ 319113 h 505237"/>
                  <a:gd name="connsiteX59" fmla="*/ 32430 w 268445"/>
                  <a:gd name="connsiteY59" fmla="*/ 327264 h 505237"/>
                  <a:gd name="connsiteX60" fmla="*/ 28155 w 268445"/>
                  <a:gd name="connsiteY60" fmla="*/ 343279 h 505237"/>
                  <a:gd name="connsiteX61" fmla="*/ 18865 w 268445"/>
                  <a:gd name="connsiteY61" fmla="*/ 347839 h 505237"/>
                  <a:gd name="connsiteX62" fmla="*/ 16357 w 268445"/>
                  <a:gd name="connsiteY62" fmla="*/ 358725 h 505237"/>
                  <a:gd name="connsiteX63" fmla="*/ 14135 w 268445"/>
                  <a:gd name="connsiteY63" fmla="*/ 375823 h 505237"/>
                  <a:gd name="connsiteX64" fmla="*/ 13052 w 268445"/>
                  <a:gd name="connsiteY64" fmla="*/ 378445 h 505237"/>
                  <a:gd name="connsiteX65" fmla="*/ 10704 w 268445"/>
                  <a:gd name="connsiteY65" fmla="*/ 386156 h 505237"/>
                  <a:gd name="connsiteX66" fmla="*/ 10259 w 268445"/>
                  <a:gd name="connsiteY66" fmla="*/ 386367 h 505237"/>
                  <a:gd name="connsiteX67" fmla="*/ 0 w 268445"/>
                  <a:gd name="connsiteY67" fmla="*/ 385911 h 505237"/>
                  <a:gd name="connsiteX68" fmla="*/ 6383 w 268445"/>
                  <a:gd name="connsiteY68" fmla="*/ 405347 h 505237"/>
                  <a:gd name="connsiteX69" fmla="*/ 14419 w 268445"/>
                  <a:gd name="connsiteY69" fmla="*/ 413440 h 505237"/>
                  <a:gd name="connsiteX70" fmla="*/ 14876 w 268445"/>
                  <a:gd name="connsiteY70" fmla="*/ 418683 h 505237"/>
                  <a:gd name="connsiteX71" fmla="*/ 18865 w 268445"/>
                  <a:gd name="connsiteY71" fmla="*/ 423756 h 505237"/>
                  <a:gd name="connsiteX72" fmla="*/ 21373 w 268445"/>
                  <a:gd name="connsiteY72" fmla="*/ 439657 h 505237"/>
                  <a:gd name="connsiteX73" fmla="*/ 27585 w 268445"/>
                  <a:gd name="connsiteY73" fmla="*/ 443476 h 505237"/>
                  <a:gd name="connsiteX74" fmla="*/ 27585 w 268445"/>
                  <a:gd name="connsiteY74" fmla="*/ 454875 h 505237"/>
                  <a:gd name="connsiteX75" fmla="*/ 35508 w 268445"/>
                  <a:gd name="connsiteY75" fmla="*/ 461315 h 505237"/>
                  <a:gd name="connsiteX76" fmla="*/ 36875 w 268445"/>
                  <a:gd name="connsiteY76" fmla="*/ 478072 h 505237"/>
                  <a:gd name="connsiteX77" fmla="*/ 42575 w 268445"/>
                  <a:gd name="connsiteY77" fmla="*/ 482688 h 505237"/>
                  <a:gd name="connsiteX78" fmla="*/ 46964 w 268445"/>
                  <a:gd name="connsiteY78" fmla="*/ 502921 h 505237"/>
                  <a:gd name="connsiteX79" fmla="*/ 60625 w 268445"/>
                  <a:gd name="connsiteY79" fmla="*/ 501833 h 505237"/>
                  <a:gd name="connsiteX80" fmla="*/ 61383 w 268445"/>
                  <a:gd name="connsiteY80" fmla="*/ 500813 h 505237"/>
                  <a:gd name="connsiteX81" fmla="*/ 65031 w 268445"/>
                  <a:gd name="connsiteY81" fmla="*/ 484683 h 505237"/>
                  <a:gd name="connsiteX82" fmla="*/ 73694 w 268445"/>
                  <a:gd name="connsiteY82" fmla="*/ 481833 h 505237"/>
                  <a:gd name="connsiteX83" fmla="*/ 77627 w 268445"/>
                  <a:gd name="connsiteY83" fmla="*/ 472942 h 505237"/>
                  <a:gd name="connsiteX84" fmla="*/ 88513 w 268445"/>
                  <a:gd name="connsiteY84" fmla="*/ 478642 h 505237"/>
                  <a:gd name="connsiteX85" fmla="*/ 99114 w 268445"/>
                  <a:gd name="connsiteY85" fmla="*/ 474139 h 505237"/>
                  <a:gd name="connsiteX86" fmla="*/ 100710 w 268445"/>
                  <a:gd name="connsiteY86" fmla="*/ 469124 h 505237"/>
                  <a:gd name="connsiteX87" fmla="*/ 109943 w 268445"/>
                  <a:gd name="connsiteY87" fmla="*/ 463424 h 505237"/>
                  <a:gd name="connsiteX88" fmla="*/ 120430 w 268445"/>
                  <a:gd name="connsiteY88" fmla="*/ 459777 h 505237"/>
                  <a:gd name="connsiteX89" fmla="*/ 120943 w 268445"/>
                  <a:gd name="connsiteY89" fmla="*/ 450201 h 505237"/>
                  <a:gd name="connsiteX90" fmla="*/ 108746 w 268445"/>
                  <a:gd name="connsiteY90" fmla="*/ 446782 h 505237"/>
                  <a:gd name="connsiteX91" fmla="*/ 108746 w 268445"/>
                  <a:gd name="connsiteY91" fmla="*/ 444274 h 505237"/>
                  <a:gd name="connsiteX92" fmla="*/ 119233 w 268445"/>
                  <a:gd name="connsiteY92" fmla="*/ 394631 h 505237"/>
                  <a:gd name="connsiteX93" fmla="*/ 121513 w 268445"/>
                  <a:gd name="connsiteY93" fmla="*/ 389730 h 505237"/>
                  <a:gd name="connsiteX94" fmla="*/ 126585 w 268445"/>
                  <a:gd name="connsiteY94" fmla="*/ 388362 h 505237"/>
                  <a:gd name="connsiteX95" fmla="*/ 148186 w 268445"/>
                  <a:gd name="connsiteY95" fmla="*/ 364253 h 505237"/>
                  <a:gd name="connsiteX96" fmla="*/ 156507 w 268445"/>
                  <a:gd name="connsiteY96" fmla="*/ 354735 h 505237"/>
                  <a:gd name="connsiteX97" fmla="*/ 156507 w 268445"/>
                  <a:gd name="connsiteY97" fmla="*/ 341512 h 505237"/>
                  <a:gd name="connsiteX98" fmla="*/ 155424 w 268445"/>
                  <a:gd name="connsiteY98" fmla="*/ 337751 h 505237"/>
                  <a:gd name="connsiteX99" fmla="*/ 150523 w 268445"/>
                  <a:gd name="connsiteY99" fmla="*/ 334901 h 505237"/>
                  <a:gd name="connsiteX100" fmla="*/ 145564 w 268445"/>
                  <a:gd name="connsiteY100" fmla="*/ 323502 h 505237"/>
                  <a:gd name="connsiteX101" fmla="*/ 129093 w 268445"/>
                  <a:gd name="connsiteY101" fmla="*/ 321735 h 505237"/>
                  <a:gd name="connsiteX102" fmla="*/ 125160 w 268445"/>
                  <a:gd name="connsiteY102" fmla="*/ 320481 h 505237"/>
                  <a:gd name="connsiteX103" fmla="*/ 123622 w 268445"/>
                  <a:gd name="connsiteY103" fmla="*/ 315352 h 505237"/>
                  <a:gd name="connsiteX104" fmla="*/ 128238 w 268445"/>
                  <a:gd name="connsiteY104" fmla="*/ 259668 h 505237"/>
                  <a:gd name="connsiteX105" fmla="*/ 129150 w 268445"/>
                  <a:gd name="connsiteY105" fmla="*/ 250207 h 505237"/>
                  <a:gd name="connsiteX106" fmla="*/ 128409 w 268445"/>
                  <a:gd name="connsiteY106" fmla="*/ 248269 h 505237"/>
                  <a:gd name="connsiteX107" fmla="*/ 132342 w 268445"/>
                  <a:gd name="connsiteY107" fmla="*/ 243880 h 505237"/>
                  <a:gd name="connsiteX108" fmla="*/ 155767 w 268445"/>
                  <a:gd name="connsiteY108" fmla="*/ 226782 h 505237"/>
                  <a:gd name="connsiteX109" fmla="*/ 160440 w 268445"/>
                  <a:gd name="connsiteY109" fmla="*/ 223020 h 505237"/>
                  <a:gd name="connsiteX110" fmla="*/ 165114 w 268445"/>
                  <a:gd name="connsiteY110" fmla="*/ 222165 h 505237"/>
                  <a:gd name="connsiteX111" fmla="*/ 169958 w 268445"/>
                  <a:gd name="connsiteY111" fmla="*/ 212704 h 505237"/>
                  <a:gd name="connsiteX112" fmla="*/ 172637 w 268445"/>
                  <a:gd name="connsiteY112" fmla="*/ 202046 h 505237"/>
                  <a:gd name="connsiteX113" fmla="*/ 177538 w 268445"/>
                  <a:gd name="connsiteY113" fmla="*/ 199197 h 505237"/>
                  <a:gd name="connsiteX114" fmla="*/ 192357 w 268445"/>
                  <a:gd name="connsiteY114" fmla="*/ 193497 h 505237"/>
                  <a:gd name="connsiteX115" fmla="*/ 197145 w 268445"/>
                  <a:gd name="connsiteY115" fmla="*/ 189849 h 505237"/>
                  <a:gd name="connsiteX116" fmla="*/ 197658 w 268445"/>
                  <a:gd name="connsiteY116" fmla="*/ 186658 h 505237"/>
                  <a:gd name="connsiteX117" fmla="*/ 205409 w 268445"/>
                  <a:gd name="connsiteY117" fmla="*/ 175259 h 505237"/>
                  <a:gd name="connsiteX118" fmla="*/ 205751 w 268445"/>
                  <a:gd name="connsiteY118" fmla="*/ 167906 h 505237"/>
                  <a:gd name="connsiteX119" fmla="*/ 211051 w 268445"/>
                  <a:gd name="connsiteY119" fmla="*/ 165741 h 505237"/>
                  <a:gd name="connsiteX120" fmla="*/ 215098 w 268445"/>
                  <a:gd name="connsiteY120" fmla="*/ 161409 h 505237"/>
                  <a:gd name="connsiteX121" fmla="*/ 221938 w 268445"/>
                  <a:gd name="connsiteY121" fmla="*/ 137642 h 505237"/>
                  <a:gd name="connsiteX122" fmla="*/ 233336 w 268445"/>
                  <a:gd name="connsiteY122" fmla="*/ 132912 h 505237"/>
                  <a:gd name="connsiteX123" fmla="*/ 236243 w 268445"/>
                  <a:gd name="connsiteY123" fmla="*/ 124875 h 505237"/>
                  <a:gd name="connsiteX124" fmla="*/ 262974 w 268445"/>
                  <a:gd name="connsiteY124" fmla="*/ 119575 h 505237"/>
                  <a:gd name="connsiteX125" fmla="*/ 267818 w 268445"/>
                  <a:gd name="connsiteY125" fmla="*/ 115528 h 505237"/>
                  <a:gd name="connsiteX126" fmla="*/ 267818 w 268445"/>
                  <a:gd name="connsiteY126" fmla="*/ 96150 h 505237"/>
                  <a:gd name="connsiteX127" fmla="*/ 267818 w 268445"/>
                  <a:gd name="connsiteY127" fmla="*/ 89938 h 505237"/>
                  <a:gd name="connsiteX128" fmla="*/ 268445 w 268445"/>
                  <a:gd name="connsiteY128" fmla="*/ 85264 h 505237"/>
                  <a:gd name="connsiteX129" fmla="*/ 257673 w 268445"/>
                  <a:gd name="connsiteY129" fmla="*/ 68793 h 505237"/>
                  <a:gd name="connsiteX130" fmla="*/ 262404 w 268445"/>
                  <a:gd name="connsiteY130" fmla="*/ 49471 h 505237"/>
                  <a:gd name="connsiteX131" fmla="*/ 258186 w 268445"/>
                  <a:gd name="connsiteY131" fmla="*/ 42689 h 505237"/>
                  <a:gd name="connsiteX132" fmla="*/ 234305 w 268445"/>
                  <a:gd name="connsiteY132" fmla="*/ 23254 h 505237"/>
                  <a:gd name="connsiteX133" fmla="*/ 230487 w 268445"/>
                  <a:gd name="connsiteY133" fmla="*/ 21202 h 505237"/>
                  <a:gd name="connsiteX134" fmla="*/ 226326 w 268445"/>
                  <a:gd name="connsiteY134" fmla="*/ 20575 h 505237"/>
                  <a:gd name="connsiteX135" fmla="*/ 223248 w 268445"/>
                  <a:gd name="connsiteY135" fmla="*/ 17497 h 505237"/>
                  <a:gd name="connsiteX136" fmla="*/ 211108 w 268445"/>
                  <a:gd name="connsiteY136" fmla="*/ 0 h 505237"/>
                  <a:gd name="connsiteX137" fmla="*/ 191787 w 268445"/>
                  <a:gd name="connsiteY137" fmla="*/ 3648 h 505237"/>
                  <a:gd name="connsiteX138" fmla="*/ 187627 w 268445"/>
                  <a:gd name="connsiteY138" fmla="*/ 6554 h 50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68445" h="505237">
                    <a:moveTo>
                      <a:pt x="142544" y="449232"/>
                    </a:moveTo>
                    <a:cubicBezTo>
                      <a:pt x="141358" y="447665"/>
                      <a:pt x="141358" y="445499"/>
                      <a:pt x="142544" y="443932"/>
                    </a:cubicBezTo>
                    <a:cubicBezTo>
                      <a:pt x="143832" y="442519"/>
                      <a:pt x="145222" y="441208"/>
                      <a:pt x="146704" y="439999"/>
                    </a:cubicBezTo>
                    <a:cubicBezTo>
                      <a:pt x="148180" y="438762"/>
                      <a:pt x="148876" y="436825"/>
                      <a:pt x="148528" y="434927"/>
                    </a:cubicBezTo>
                    <a:cubicBezTo>
                      <a:pt x="148528" y="434129"/>
                      <a:pt x="147844" y="433502"/>
                      <a:pt x="147616" y="432761"/>
                    </a:cubicBezTo>
                    <a:cubicBezTo>
                      <a:pt x="147183" y="431291"/>
                      <a:pt x="147708" y="429700"/>
                      <a:pt x="148927" y="428771"/>
                    </a:cubicBezTo>
                    <a:cubicBezTo>
                      <a:pt x="150523" y="427688"/>
                      <a:pt x="152803" y="428030"/>
                      <a:pt x="154627" y="427005"/>
                    </a:cubicBezTo>
                    <a:cubicBezTo>
                      <a:pt x="156239" y="425944"/>
                      <a:pt x="156844" y="423864"/>
                      <a:pt x="156052" y="422103"/>
                    </a:cubicBezTo>
                    <a:cubicBezTo>
                      <a:pt x="157556" y="420302"/>
                      <a:pt x="159751" y="419225"/>
                      <a:pt x="162093" y="419139"/>
                    </a:cubicBezTo>
                    <a:cubicBezTo>
                      <a:pt x="162617" y="419025"/>
                      <a:pt x="163164" y="419025"/>
                      <a:pt x="163689" y="419139"/>
                    </a:cubicBezTo>
                    <a:cubicBezTo>
                      <a:pt x="164886" y="419481"/>
                      <a:pt x="165342" y="420906"/>
                      <a:pt x="165570" y="422160"/>
                    </a:cubicBezTo>
                    <a:cubicBezTo>
                      <a:pt x="166151" y="425295"/>
                      <a:pt x="166356" y="428492"/>
                      <a:pt x="166197" y="431678"/>
                    </a:cubicBezTo>
                    <a:lnTo>
                      <a:pt x="160497" y="433502"/>
                    </a:lnTo>
                    <a:cubicBezTo>
                      <a:pt x="160041" y="433616"/>
                      <a:pt x="159608" y="433832"/>
                      <a:pt x="159243" y="434129"/>
                    </a:cubicBezTo>
                    <a:cubicBezTo>
                      <a:pt x="158217" y="434984"/>
                      <a:pt x="158445" y="436580"/>
                      <a:pt x="158673" y="437890"/>
                    </a:cubicBezTo>
                    <a:cubicBezTo>
                      <a:pt x="159186" y="439754"/>
                      <a:pt x="159186" y="441726"/>
                      <a:pt x="158673" y="443590"/>
                    </a:cubicBezTo>
                    <a:cubicBezTo>
                      <a:pt x="157841" y="445642"/>
                      <a:pt x="156251" y="447295"/>
                      <a:pt x="154228" y="448207"/>
                    </a:cubicBezTo>
                    <a:cubicBezTo>
                      <a:pt x="152210" y="449096"/>
                      <a:pt x="150084" y="449711"/>
                      <a:pt x="147901" y="450030"/>
                    </a:cubicBezTo>
                    <a:cubicBezTo>
                      <a:pt x="146095" y="450686"/>
                      <a:pt x="144083" y="450384"/>
                      <a:pt x="142544" y="449232"/>
                    </a:cubicBezTo>
                    <a:close/>
                    <a:moveTo>
                      <a:pt x="187627" y="6668"/>
                    </a:moveTo>
                    <a:cubicBezTo>
                      <a:pt x="187370" y="7580"/>
                      <a:pt x="187370" y="8549"/>
                      <a:pt x="187627" y="9461"/>
                    </a:cubicBezTo>
                    <a:cubicBezTo>
                      <a:pt x="188265" y="12465"/>
                      <a:pt x="189120" y="15417"/>
                      <a:pt x="190191" y="18295"/>
                    </a:cubicBezTo>
                    <a:cubicBezTo>
                      <a:pt x="191223" y="21225"/>
                      <a:pt x="191058" y="24439"/>
                      <a:pt x="189735" y="27244"/>
                    </a:cubicBezTo>
                    <a:cubicBezTo>
                      <a:pt x="188122" y="29945"/>
                      <a:pt x="184623" y="30828"/>
                      <a:pt x="181922" y="29210"/>
                    </a:cubicBezTo>
                    <a:cubicBezTo>
                      <a:pt x="181904" y="29198"/>
                      <a:pt x="181887" y="29193"/>
                      <a:pt x="181870" y="29181"/>
                    </a:cubicBezTo>
                    <a:cubicBezTo>
                      <a:pt x="181870" y="26503"/>
                      <a:pt x="179134" y="24622"/>
                      <a:pt x="176570" y="23824"/>
                    </a:cubicBezTo>
                    <a:cubicBezTo>
                      <a:pt x="173954" y="23305"/>
                      <a:pt x="171417" y="22422"/>
                      <a:pt x="169046" y="21202"/>
                    </a:cubicBezTo>
                    <a:cubicBezTo>
                      <a:pt x="167336" y="20062"/>
                      <a:pt x="166139" y="18238"/>
                      <a:pt x="164373" y="17155"/>
                    </a:cubicBezTo>
                    <a:cubicBezTo>
                      <a:pt x="159950" y="15172"/>
                      <a:pt x="154758" y="17155"/>
                      <a:pt x="152774" y="21578"/>
                    </a:cubicBezTo>
                    <a:cubicBezTo>
                      <a:pt x="152541" y="22103"/>
                      <a:pt x="152358" y="22644"/>
                      <a:pt x="152233" y="23197"/>
                    </a:cubicBezTo>
                    <a:cubicBezTo>
                      <a:pt x="151435" y="26788"/>
                      <a:pt x="152233" y="30720"/>
                      <a:pt x="150922" y="34026"/>
                    </a:cubicBezTo>
                    <a:cubicBezTo>
                      <a:pt x="148665" y="37748"/>
                      <a:pt x="144556" y="39936"/>
                      <a:pt x="140207" y="39725"/>
                    </a:cubicBezTo>
                    <a:cubicBezTo>
                      <a:pt x="135978" y="39412"/>
                      <a:pt x="131726" y="39412"/>
                      <a:pt x="127497" y="39725"/>
                    </a:cubicBezTo>
                    <a:cubicBezTo>
                      <a:pt x="123137" y="40204"/>
                      <a:pt x="119660" y="43590"/>
                      <a:pt x="119062" y="47933"/>
                    </a:cubicBezTo>
                    <a:cubicBezTo>
                      <a:pt x="119261" y="49238"/>
                      <a:pt x="119261" y="50560"/>
                      <a:pt x="119062" y="51865"/>
                    </a:cubicBezTo>
                    <a:cubicBezTo>
                      <a:pt x="118435" y="53746"/>
                      <a:pt x="116383" y="54601"/>
                      <a:pt x="114958" y="55969"/>
                    </a:cubicBezTo>
                    <a:cubicBezTo>
                      <a:pt x="111767" y="59104"/>
                      <a:pt x="112508" y="64347"/>
                      <a:pt x="111596" y="68736"/>
                    </a:cubicBezTo>
                    <a:cubicBezTo>
                      <a:pt x="110285" y="75119"/>
                      <a:pt x="105326" y="80135"/>
                      <a:pt x="102419" y="85834"/>
                    </a:cubicBezTo>
                    <a:cubicBezTo>
                      <a:pt x="99513" y="91534"/>
                      <a:pt x="98088" y="100767"/>
                      <a:pt x="91875" y="104642"/>
                    </a:cubicBezTo>
                    <a:cubicBezTo>
                      <a:pt x="89880" y="105896"/>
                      <a:pt x="87430" y="106694"/>
                      <a:pt x="86176" y="108746"/>
                    </a:cubicBezTo>
                    <a:cubicBezTo>
                      <a:pt x="84922" y="110798"/>
                      <a:pt x="85492" y="112280"/>
                      <a:pt x="84637" y="113818"/>
                    </a:cubicBezTo>
                    <a:cubicBezTo>
                      <a:pt x="81901" y="118948"/>
                      <a:pt x="68850" y="116725"/>
                      <a:pt x="68507" y="122482"/>
                    </a:cubicBezTo>
                    <a:cubicBezTo>
                      <a:pt x="67881" y="131715"/>
                      <a:pt x="67254" y="141005"/>
                      <a:pt x="66684" y="150238"/>
                    </a:cubicBezTo>
                    <a:cubicBezTo>
                      <a:pt x="66638" y="152928"/>
                      <a:pt x="66120" y="155596"/>
                      <a:pt x="65145" y="158103"/>
                    </a:cubicBezTo>
                    <a:cubicBezTo>
                      <a:pt x="63139" y="161244"/>
                      <a:pt x="60682" y="164065"/>
                      <a:pt x="57849" y="166482"/>
                    </a:cubicBezTo>
                    <a:cubicBezTo>
                      <a:pt x="54994" y="168989"/>
                      <a:pt x="53917" y="172962"/>
                      <a:pt x="55114" y="176570"/>
                    </a:cubicBezTo>
                    <a:cubicBezTo>
                      <a:pt x="56425" y="179248"/>
                      <a:pt x="59503" y="180445"/>
                      <a:pt x="61725" y="182269"/>
                    </a:cubicBezTo>
                    <a:cubicBezTo>
                      <a:pt x="65407" y="185677"/>
                      <a:pt x="66422" y="191092"/>
                      <a:pt x="64233" y="195606"/>
                    </a:cubicBezTo>
                    <a:cubicBezTo>
                      <a:pt x="62181" y="194774"/>
                      <a:pt x="59822" y="195452"/>
                      <a:pt x="58533" y="197259"/>
                    </a:cubicBezTo>
                    <a:cubicBezTo>
                      <a:pt x="57052" y="198741"/>
                      <a:pt x="55969" y="200678"/>
                      <a:pt x="54088" y="201647"/>
                    </a:cubicBezTo>
                    <a:cubicBezTo>
                      <a:pt x="50668" y="203471"/>
                      <a:pt x="46622" y="201248"/>
                      <a:pt x="42689" y="200963"/>
                    </a:cubicBezTo>
                    <a:cubicBezTo>
                      <a:pt x="38204" y="200952"/>
                      <a:pt x="33975" y="203067"/>
                      <a:pt x="31290" y="206663"/>
                    </a:cubicBezTo>
                    <a:cubicBezTo>
                      <a:pt x="28566" y="210162"/>
                      <a:pt x="26622" y="214203"/>
                      <a:pt x="25591" y="218518"/>
                    </a:cubicBezTo>
                    <a:cubicBezTo>
                      <a:pt x="20803" y="236072"/>
                      <a:pt x="22114" y="254652"/>
                      <a:pt x="23482" y="272834"/>
                    </a:cubicBezTo>
                    <a:cubicBezTo>
                      <a:pt x="23487" y="276350"/>
                      <a:pt x="24348" y="279810"/>
                      <a:pt x="25990" y="282922"/>
                    </a:cubicBezTo>
                    <a:cubicBezTo>
                      <a:pt x="29238" y="287766"/>
                      <a:pt x="36591" y="290445"/>
                      <a:pt x="36420" y="296259"/>
                    </a:cubicBezTo>
                    <a:cubicBezTo>
                      <a:pt x="36420" y="300590"/>
                      <a:pt x="31860" y="303269"/>
                      <a:pt x="28440" y="305948"/>
                    </a:cubicBezTo>
                    <a:cubicBezTo>
                      <a:pt x="25021" y="308626"/>
                      <a:pt x="22285" y="314041"/>
                      <a:pt x="25476" y="316891"/>
                    </a:cubicBezTo>
                    <a:cubicBezTo>
                      <a:pt x="26708" y="317700"/>
                      <a:pt x="27984" y="318441"/>
                      <a:pt x="29295" y="319113"/>
                    </a:cubicBezTo>
                    <a:cubicBezTo>
                      <a:pt x="31427" y="321279"/>
                      <a:pt x="32561" y="324232"/>
                      <a:pt x="32430" y="327264"/>
                    </a:cubicBezTo>
                    <a:cubicBezTo>
                      <a:pt x="32886" y="332963"/>
                      <a:pt x="32886" y="339974"/>
                      <a:pt x="28155" y="343279"/>
                    </a:cubicBezTo>
                    <a:cubicBezTo>
                      <a:pt x="25306" y="345274"/>
                      <a:pt x="21373" y="345388"/>
                      <a:pt x="18865" y="347839"/>
                    </a:cubicBezTo>
                    <a:cubicBezTo>
                      <a:pt x="16631" y="350996"/>
                      <a:pt x="15731" y="354906"/>
                      <a:pt x="16357" y="358725"/>
                    </a:cubicBezTo>
                    <a:cubicBezTo>
                      <a:pt x="16352" y="364498"/>
                      <a:pt x="15605" y="370243"/>
                      <a:pt x="14135" y="375823"/>
                    </a:cubicBezTo>
                    <a:cubicBezTo>
                      <a:pt x="13918" y="376752"/>
                      <a:pt x="13553" y="377636"/>
                      <a:pt x="13052" y="378445"/>
                    </a:cubicBezTo>
                    <a:cubicBezTo>
                      <a:pt x="14534" y="381221"/>
                      <a:pt x="13479" y="384675"/>
                      <a:pt x="10704" y="386156"/>
                    </a:cubicBezTo>
                    <a:cubicBezTo>
                      <a:pt x="10555" y="386230"/>
                      <a:pt x="10407" y="386305"/>
                      <a:pt x="10259" y="386367"/>
                    </a:cubicBezTo>
                    <a:cubicBezTo>
                      <a:pt x="6885" y="387353"/>
                      <a:pt x="3277" y="387194"/>
                      <a:pt x="0" y="385911"/>
                    </a:cubicBezTo>
                    <a:cubicBezTo>
                      <a:pt x="399" y="392922"/>
                      <a:pt x="1140" y="400730"/>
                      <a:pt x="6383" y="405347"/>
                    </a:cubicBezTo>
                    <a:cubicBezTo>
                      <a:pt x="9290" y="407968"/>
                      <a:pt x="13622" y="409678"/>
                      <a:pt x="14419" y="413440"/>
                    </a:cubicBezTo>
                    <a:cubicBezTo>
                      <a:pt x="14454" y="415195"/>
                      <a:pt x="14608" y="416945"/>
                      <a:pt x="14876" y="418683"/>
                    </a:cubicBezTo>
                    <a:cubicBezTo>
                      <a:pt x="15617" y="420735"/>
                      <a:pt x="17782" y="421875"/>
                      <a:pt x="18865" y="423756"/>
                    </a:cubicBezTo>
                    <a:cubicBezTo>
                      <a:pt x="21772" y="428486"/>
                      <a:pt x="17269" y="435953"/>
                      <a:pt x="21373" y="439657"/>
                    </a:cubicBezTo>
                    <a:cubicBezTo>
                      <a:pt x="23197" y="441310"/>
                      <a:pt x="26160" y="441481"/>
                      <a:pt x="27585" y="443476"/>
                    </a:cubicBezTo>
                    <a:cubicBezTo>
                      <a:pt x="29808" y="446668"/>
                      <a:pt x="26104" y="451284"/>
                      <a:pt x="27585" y="454875"/>
                    </a:cubicBezTo>
                    <a:cubicBezTo>
                      <a:pt x="29067" y="458466"/>
                      <a:pt x="33285" y="458523"/>
                      <a:pt x="35508" y="461315"/>
                    </a:cubicBezTo>
                    <a:cubicBezTo>
                      <a:pt x="38928" y="465932"/>
                      <a:pt x="33513" y="473341"/>
                      <a:pt x="36875" y="478072"/>
                    </a:cubicBezTo>
                    <a:cubicBezTo>
                      <a:pt x="38357" y="480124"/>
                      <a:pt x="41036" y="480865"/>
                      <a:pt x="42575" y="482688"/>
                    </a:cubicBezTo>
                    <a:cubicBezTo>
                      <a:pt x="47477" y="487818"/>
                      <a:pt x="42575" y="497564"/>
                      <a:pt x="46964" y="502921"/>
                    </a:cubicBezTo>
                    <a:cubicBezTo>
                      <a:pt x="51033" y="506393"/>
                      <a:pt x="57148" y="505908"/>
                      <a:pt x="60625" y="501833"/>
                    </a:cubicBezTo>
                    <a:cubicBezTo>
                      <a:pt x="60899" y="501508"/>
                      <a:pt x="61150" y="501172"/>
                      <a:pt x="61383" y="500813"/>
                    </a:cubicBezTo>
                    <a:cubicBezTo>
                      <a:pt x="64199" y="495928"/>
                      <a:pt x="65470" y="490303"/>
                      <a:pt x="65031" y="484683"/>
                    </a:cubicBezTo>
                    <a:cubicBezTo>
                      <a:pt x="68228" y="485624"/>
                      <a:pt x="71677" y="484489"/>
                      <a:pt x="73694" y="481833"/>
                    </a:cubicBezTo>
                    <a:cubicBezTo>
                      <a:pt x="75609" y="479177"/>
                      <a:pt x="76948" y="476145"/>
                      <a:pt x="77627" y="472942"/>
                    </a:cubicBezTo>
                    <a:cubicBezTo>
                      <a:pt x="80790" y="475627"/>
                      <a:pt x="84506" y="477576"/>
                      <a:pt x="88513" y="478642"/>
                    </a:cubicBezTo>
                    <a:cubicBezTo>
                      <a:pt x="92656" y="479690"/>
                      <a:pt x="96994" y="477849"/>
                      <a:pt x="99114" y="474139"/>
                    </a:cubicBezTo>
                    <a:cubicBezTo>
                      <a:pt x="99855" y="472543"/>
                      <a:pt x="99969" y="470719"/>
                      <a:pt x="100710" y="469124"/>
                    </a:cubicBezTo>
                    <a:cubicBezTo>
                      <a:pt x="102756" y="465915"/>
                      <a:pt x="106158" y="463817"/>
                      <a:pt x="109943" y="463424"/>
                    </a:cubicBezTo>
                    <a:cubicBezTo>
                      <a:pt x="113687" y="463094"/>
                      <a:pt x="117289" y="461840"/>
                      <a:pt x="120430" y="459777"/>
                    </a:cubicBezTo>
                    <a:cubicBezTo>
                      <a:pt x="123337" y="457383"/>
                      <a:pt x="124134" y="452139"/>
                      <a:pt x="120943" y="450201"/>
                    </a:cubicBezTo>
                    <a:cubicBezTo>
                      <a:pt x="117751" y="448264"/>
                      <a:pt x="109544" y="451227"/>
                      <a:pt x="108746" y="446782"/>
                    </a:cubicBezTo>
                    <a:cubicBezTo>
                      <a:pt x="108546" y="445955"/>
                      <a:pt x="108546" y="445100"/>
                      <a:pt x="108746" y="444274"/>
                    </a:cubicBezTo>
                    <a:cubicBezTo>
                      <a:pt x="112223" y="427745"/>
                      <a:pt x="115699" y="411160"/>
                      <a:pt x="119233" y="394631"/>
                    </a:cubicBezTo>
                    <a:cubicBezTo>
                      <a:pt x="119393" y="392779"/>
                      <a:pt x="120202" y="391047"/>
                      <a:pt x="121513" y="389730"/>
                    </a:cubicBezTo>
                    <a:cubicBezTo>
                      <a:pt x="123057" y="388841"/>
                      <a:pt x="124801" y="388368"/>
                      <a:pt x="126585" y="388362"/>
                    </a:cubicBezTo>
                    <a:cubicBezTo>
                      <a:pt x="138851" y="386949"/>
                      <a:pt x="148124" y="376598"/>
                      <a:pt x="148186" y="364253"/>
                    </a:cubicBezTo>
                    <a:cubicBezTo>
                      <a:pt x="152449" y="362771"/>
                      <a:pt x="155613" y="359152"/>
                      <a:pt x="156507" y="354735"/>
                    </a:cubicBezTo>
                    <a:cubicBezTo>
                      <a:pt x="157305" y="350364"/>
                      <a:pt x="157305" y="345884"/>
                      <a:pt x="156507" y="341512"/>
                    </a:cubicBezTo>
                    <a:cubicBezTo>
                      <a:pt x="156502" y="340184"/>
                      <a:pt x="156126" y="338879"/>
                      <a:pt x="155424" y="337751"/>
                    </a:cubicBezTo>
                    <a:cubicBezTo>
                      <a:pt x="154034" y="336434"/>
                      <a:pt x="152358" y="335460"/>
                      <a:pt x="150523" y="334901"/>
                    </a:cubicBezTo>
                    <a:cubicBezTo>
                      <a:pt x="146448" y="332690"/>
                      <a:pt x="144402" y="327988"/>
                      <a:pt x="145564" y="323502"/>
                    </a:cubicBezTo>
                    <a:lnTo>
                      <a:pt x="129093" y="321735"/>
                    </a:lnTo>
                    <a:cubicBezTo>
                      <a:pt x="127685" y="321730"/>
                      <a:pt x="126312" y="321296"/>
                      <a:pt x="125160" y="320481"/>
                    </a:cubicBezTo>
                    <a:cubicBezTo>
                      <a:pt x="123947" y="319068"/>
                      <a:pt x="123388" y="317204"/>
                      <a:pt x="123622" y="315352"/>
                    </a:cubicBezTo>
                    <a:cubicBezTo>
                      <a:pt x="123051" y="296658"/>
                      <a:pt x="122596" y="277507"/>
                      <a:pt x="128238" y="259668"/>
                    </a:cubicBezTo>
                    <a:cubicBezTo>
                      <a:pt x="129600" y="256710"/>
                      <a:pt x="129925" y="253376"/>
                      <a:pt x="129150" y="250207"/>
                    </a:cubicBezTo>
                    <a:cubicBezTo>
                      <a:pt x="128796" y="249608"/>
                      <a:pt x="128546" y="248953"/>
                      <a:pt x="128409" y="248269"/>
                    </a:cubicBezTo>
                    <a:cubicBezTo>
                      <a:pt x="128124" y="246160"/>
                      <a:pt x="130461" y="244735"/>
                      <a:pt x="132342" y="243880"/>
                    </a:cubicBezTo>
                    <a:cubicBezTo>
                      <a:pt x="141193" y="239771"/>
                      <a:pt x="149155" y="233963"/>
                      <a:pt x="155767" y="226782"/>
                    </a:cubicBezTo>
                    <a:cubicBezTo>
                      <a:pt x="156992" y="225163"/>
                      <a:pt x="158599" y="223875"/>
                      <a:pt x="160440" y="223020"/>
                    </a:cubicBezTo>
                    <a:cubicBezTo>
                      <a:pt x="161922" y="222507"/>
                      <a:pt x="163632" y="222678"/>
                      <a:pt x="165114" y="222165"/>
                    </a:cubicBezTo>
                    <a:cubicBezTo>
                      <a:pt x="168647" y="220912"/>
                      <a:pt x="169787" y="216466"/>
                      <a:pt x="169958" y="212704"/>
                    </a:cubicBezTo>
                    <a:cubicBezTo>
                      <a:pt x="169542" y="208943"/>
                      <a:pt x="170494" y="205164"/>
                      <a:pt x="172637" y="202046"/>
                    </a:cubicBezTo>
                    <a:cubicBezTo>
                      <a:pt x="174062" y="200775"/>
                      <a:pt x="175726" y="199801"/>
                      <a:pt x="177538" y="199197"/>
                    </a:cubicBezTo>
                    <a:lnTo>
                      <a:pt x="192357" y="193497"/>
                    </a:lnTo>
                    <a:cubicBezTo>
                      <a:pt x="194392" y="193001"/>
                      <a:pt x="196125" y="191679"/>
                      <a:pt x="197145" y="189849"/>
                    </a:cubicBezTo>
                    <a:cubicBezTo>
                      <a:pt x="197378" y="188795"/>
                      <a:pt x="197550" y="187729"/>
                      <a:pt x="197658" y="186658"/>
                    </a:cubicBezTo>
                    <a:cubicBezTo>
                      <a:pt x="198684" y="182098"/>
                      <a:pt x="204953" y="179989"/>
                      <a:pt x="205409" y="175259"/>
                    </a:cubicBezTo>
                    <a:cubicBezTo>
                      <a:pt x="205409" y="172751"/>
                      <a:pt x="204155" y="169901"/>
                      <a:pt x="205751" y="167906"/>
                    </a:cubicBezTo>
                    <a:cubicBezTo>
                      <a:pt x="207347" y="165912"/>
                      <a:pt x="209227" y="166539"/>
                      <a:pt x="211051" y="165741"/>
                    </a:cubicBezTo>
                    <a:cubicBezTo>
                      <a:pt x="212824" y="164760"/>
                      <a:pt x="214237" y="163244"/>
                      <a:pt x="215098" y="161409"/>
                    </a:cubicBezTo>
                    <a:cubicBezTo>
                      <a:pt x="219282" y="154165"/>
                      <a:pt x="221630" y="146003"/>
                      <a:pt x="221938" y="137642"/>
                    </a:cubicBezTo>
                    <a:cubicBezTo>
                      <a:pt x="226383" y="139027"/>
                      <a:pt x="231176" y="137038"/>
                      <a:pt x="233336" y="132912"/>
                    </a:cubicBezTo>
                    <a:cubicBezTo>
                      <a:pt x="234089" y="130159"/>
                      <a:pt x="235063" y="127474"/>
                      <a:pt x="236243" y="124875"/>
                    </a:cubicBezTo>
                    <a:cubicBezTo>
                      <a:pt x="241601" y="117067"/>
                      <a:pt x="255849" y="125844"/>
                      <a:pt x="262974" y="119575"/>
                    </a:cubicBezTo>
                    <a:cubicBezTo>
                      <a:pt x="264569" y="118207"/>
                      <a:pt x="266051" y="116098"/>
                      <a:pt x="267818" y="115528"/>
                    </a:cubicBezTo>
                    <a:cubicBezTo>
                      <a:pt x="267818" y="109088"/>
                      <a:pt x="267818" y="102590"/>
                      <a:pt x="267818" y="96150"/>
                    </a:cubicBezTo>
                    <a:cubicBezTo>
                      <a:pt x="267619" y="94087"/>
                      <a:pt x="267619" y="92001"/>
                      <a:pt x="267818" y="89938"/>
                    </a:cubicBezTo>
                    <a:cubicBezTo>
                      <a:pt x="268189" y="88404"/>
                      <a:pt x="268400" y="86837"/>
                      <a:pt x="268445" y="85264"/>
                    </a:cubicBezTo>
                    <a:cubicBezTo>
                      <a:pt x="268445" y="78539"/>
                      <a:pt x="258984" y="75347"/>
                      <a:pt x="257673" y="68793"/>
                    </a:cubicBezTo>
                    <a:cubicBezTo>
                      <a:pt x="256362" y="62238"/>
                      <a:pt x="263714" y="56083"/>
                      <a:pt x="262404" y="49471"/>
                    </a:cubicBezTo>
                    <a:cubicBezTo>
                      <a:pt x="261674" y="46855"/>
                      <a:pt x="260209" y="44502"/>
                      <a:pt x="258186" y="42689"/>
                    </a:cubicBezTo>
                    <a:cubicBezTo>
                      <a:pt x="250828" y="35502"/>
                      <a:pt x="242837" y="28999"/>
                      <a:pt x="234305" y="23254"/>
                    </a:cubicBezTo>
                    <a:cubicBezTo>
                      <a:pt x="233154" y="22359"/>
                      <a:pt x="231866" y="21669"/>
                      <a:pt x="230487" y="21202"/>
                    </a:cubicBezTo>
                    <a:cubicBezTo>
                      <a:pt x="229084" y="21111"/>
                      <a:pt x="227694" y="20900"/>
                      <a:pt x="226326" y="20575"/>
                    </a:cubicBezTo>
                    <a:cubicBezTo>
                      <a:pt x="225032" y="19857"/>
                      <a:pt x="223972" y="18791"/>
                      <a:pt x="223248" y="17497"/>
                    </a:cubicBezTo>
                    <a:lnTo>
                      <a:pt x="211108" y="0"/>
                    </a:lnTo>
                    <a:lnTo>
                      <a:pt x="191787" y="3648"/>
                    </a:lnTo>
                    <a:cubicBezTo>
                      <a:pt x="190818" y="3990"/>
                      <a:pt x="188425" y="4674"/>
                      <a:pt x="187627" y="6554"/>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3" name="Freihandform: Form 409">
                <a:extLst>
                  <a:ext uri="{FF2B5EF4-FFF2-40B4-BE49-F238E27FC236}">
                    <a16:creationId xmlns:a16="http://schemas.microsoft.com/office/drawing/2014/main" id="{FA921000-9056-C108-1F02-FBCCF53E11D4}"/>
                  </a:ext>
                </a:extLst>
              </p:cNvPr>
              <p:cNvSpPr/>
              <p:nvPr/>
            </p:nvSpPr>
            <p:spPr>
              <a:xfrm>
                <a:off x="3880781" y="2188920"/>
                <a:ext cx="561106" cy="508288"/>
              </a:xfrm>
              <a:custGeom>
                <a:avLst/>
                <a:gdLst>
                  <a:gd name="connsiteX0" fmla="*/ 532781 w 561106"/>
                  <a:gd name="connsiteY0" fmla="*/ 78589 h 508288"/>
                  <a:gd name="connsiteX1" fmla="*/ 522408 w 561106"/>
                  <a:gd name="connsiteY1" fmla="*/ 77734 h 508288"/>
                  <a:gd name="connsiteX2" fmla="*/ 513744 w 561106"/>
                  <a:gd name="connsiteY2" fmla="*/ 56703 h 508288"/>
                  <a:gd name="connsiteX3" fmla="*/ 476470 w 561106"/>
                  <a:gd name="connsiteY3" fmla="*/ 50206 h 508288"/>
                  <a:gd name="connsiteX4" fmla="*/ 461309 w 561106"/>
                  <a:gd name="connsiteY4" fmla="*/ 53511 h 508288"/>
                  <a:gd name="connsiteX5" fmla="*/ 451221 w 561106"/>
                  <a:gd name="connsiteY5" fmla="*/ 64910 h 508288"/>
                  <a:gd name="connsiteX6" fmla="*/ 450708 w 561106"/>
                  <a:gd name="connsiteY6" fmla="*/ 73688 h 508288"/>
                  <a:gd name="connsiteX7" fmla="*/ 443413 w 561106"/>
                  <a:gd name="connsiteY7" fmla="*/ 87252 h 508288"/>
                  <a:gd name="connsiteX8" fmla="*/ 437315 w 561106"/>
                  <a:gd name="connsiteY8" fmla="*/ 92952 h 508288"/>
                  <a:gd name="connsiteX9" fmla="*/ 435661 w 561106"/>
                  <a:gd name="connsiteY9" fmla="*/ 98081 h 508288"/>
                  <a:gd name="connsiteX10" fmla="*/ 421470 w 561106"/>
                  <a:gd name="connsiteY10" fmla="*/ 104123 h 508288"/>
                  <a:gd name="connsiteX11" fmla="*/ 400097 w 561106"/>
                  <a:gd name="connsiteY11" fmla="*/ 104807 h 508288"/>
                  <a:gd name="connsiteX12" fmla="*/ 381004 w 561106"/>
                  <a:gd name="connsiteY12" fmla="*/ 102356 h 508288"/>
                  <a:gd name="connsiteX13" fmla="*/ 365558 w 561106"/>
                  <a:gd name="connsiteY13" fmla="*/ 89760 h 508288"/>
                  <a:gd name="connsiteX14" fmla="*/ 342304 w 561106"/>
                  <a:gd name="connsiteY14" fmla="*/ 83491 h 508288"/>
                  <a:gd name="connsiteX15" fmla="*/ 348004 w 561106"/>
                  <a:gd name="connsiteY15" fmla="*/ 91869 h 508288"/>
                  <a:gd name="connsiteX16" fmla="*/ 328683 w 561106"/>
                  <a:gd name="connsiteY16" fmla="*/ 95517 h 508288"/>
                  <a:gd name="connsiteX17" fmla="*/ 323382 w 561106"/>
                  <a:gd name="connsiteY17" fmla="*/ 98480 h 508288"/>
                  <a:gd name="connsiteX18" fmla="*/ 323382 w 561106"/>
                  <a:gd name="connsiteY18" fmla="*/ 101273 h 508288"/>
                  <a:gd name="connsiteX19" fmla="*/ 325947 w 561106"/>
                  <a:gd name="connsiteY19" fmla="*/ 110107 h 508288"/>
                  <a:gd name="connsiteX20" fmla="*/ 325491 w 561106"/>
                  <a:gd name="connsiteY20" fmla="*/ 119055 h 508288"/>
                  <a:gd name="connsiteX21" fmla="*/ 317677 w 561106"/>
                  <a:gd name="connsiteY21" fmla="*/ 121022 h 508288"/>
                  <a:gd name="connsiteX22" fmla="*/ 317626 w 561106"/>
                  <a:gd name="connsiteY22" fmla="*/ 120993 h 508288"/>
                  <a:gd name="connsiteX23" fmla="*/ 312325 w 561106"/>
                  <a:gd name="connsiteY23" fmla="*/ 115636 h 508288"/>
                  <a:gd name="connsiteX24" fmla="*/ 304802 w 561106"/>
                  <a:gd name="connsiteY24" fmla="*/ 113014 h 508288"/>
                  <a:gd name="connsiteX25" fmla="*/ 300128 w 561106"/>
                  <a:gd name="connsiteY25" fmla="*/ 108967 h 508288"/>
                  <a:gd name="connsiteX26" fmla="*/ 288530 w 561106"/>
                  <a:gd name="connsiteY26" fmla="*/ 113390 h 508288"/>
                  <a:gd name="connsiteX27" fmla="*/ 287988 w 561106"/>
                  <a:gd name="connsiteY27" fmla="*/ 115009 h 508288"/>
                  <a:gd name="connsiteX28" fmla="*/ 286677 w 561106"/>
                  <a:gd name="connsiteY28" fmla="*/ 125838 h 508288"/>
                  <a:gd name="connsiteX29" fmla="*/ 275962 w 561106"/>
                  <a:gd name="connsiteY29" fmla="*/ 131537 h 508288"/>
                  <a:gd name="connsiteX30" fmla="*/ 263252 w 561106"/>
                  <a:gd name="connsiteY30" fmla="*/ 131537 h 508288"/>
                  <a:gd name="connsiteX31" fmla="*/ 254817 w 561106"/>
                  <a:gd name="connsiteY31" fmla="*/ 139744 h 508288"/>
                  <a:gd name="connsiteX32" fmla="*/ 254817 w 561106"/>
                  <a:gd name="connsiteY32" fmla="*/ 143677 h 508288"/>
                  <a:gd name="connsiteX33" fmla="*/ 250713 w 561106"/>
                  <a:gd name="connsiteY33" fmla="*/ 147781 h 508288"/>
                  <a:gd name="connsiteX34" fmla="*/ 247351 w 561106"/>
                  <a:gd name="connsiteY34" fmla="*/ 160548 h 508288"/>
                  <a:gd name="connsiteX35" fmla="*/ 238175 w 561106"/>
                  <a:gd name="connsiteY35" fmla="*/ 177646 h 508288"/>
                  <a:gd name="connsiteX36" fmla="*/ 227631 w 561106"/>
                  <a:gd name="connsiteY36" fmla="*/ 196454 h 508288"/>
                  <a:gd name="connsiteX37" fmla="*/ 221931 w 561106"/>
                  <a:gd name="connsiteY37" fmla="*/ 200558 h 508288"/>
                  <a:gd name="connsiteX38" fmla="*/ 220393 w 561106"/>
                  <a:gd name="connsiteY38" fmla="*/ 205630 h 508288"/>
                  <a:gd name="connsiteX39" fmla="*/ 204263 w 561106"/>
                  <a:gd name="connsiteY39" fmla="*/ 214294 h 508288"/>
                  <a:gd name="connsiteX40" fmla="*/ 202439 w 561106"/>
                  <a:gd name="connsiteY40" fmla="*/ 242050 h 508288"/>
                  <a:gd name="connsiteX41" fmla="*/ 200900 w 561106"/>
                  <a:gd name="connsiteY41" fmla="*/ 249915 h 508288"/>
                  <a:gd name="connsiteX42" fmla="*/ 193605 w 561106"/>
                  <a:gd name="connsiteY42" fmla="*/ 258293 h 508288"/>
                  <a:gd name="connsiteX43" fmla="*/ 190869 w 561106"/>
                  <a:gd name="connsiteY43" fmla="*/ 268382 h 508288"/>
                  <a:gd name="connsiteX44" fmla="*/ 197481 w 561106"/>
                  <a:gd name="connsiteY44" fmla="*/ 274081 h 508288"/>
                  <a:gd name="connsiteX45" fmla="*/ 199988 w 561106"/>
                  <a:gd name="connsiteY45" fmla="*/ 287418 h 508288"/>
                  <a:gd name="connsiteX46" fmla="*/ 194289 w 561106"/>
                  <a:gd name="connsiteY46" fmla="*/ 289071 h 508288"/>
                  <a:gd name="connsiteX47" fmla="*/ 189843 w 561106"/>
                  <a:gd name="connsiteY47" fmla="*/ 293459 h 508288"/>
                  <a:gd name="connsiteX48" fmla="*/ 178444 w 561106"/>
                  <a:gd name="connsiteY48" fmla="*/ 292775 h 508288"/>
                  <a:gd name="connsiteX49" fmla="*/ 167045 w 561106"/>
                  <a:gd name="connsiteY49" fmla="*/ 298475 h 508288"/>
                  <a:gd name="connsiteX50" fmla="*/ 161346 w 561106"/>
                  <a:gd name="connsiteY50" fmla="*/ 310330 h 508288"/>
                  <a:gd name="connsiteX51" fmla="*/ 159237 w 561106"/>
                  <a:gd name="connsiteY51" fmla="*/ 364646 h 508288"/>
                  <a:gd name="connsiteX52" fmla="*/ 161745 w 561106"/>
                  <a:gd name="connsiteY52" fmla="*/ 374734 h 508288"/>
                  <a:gd name="connsiteX53" fmla="*/ 172175 w 561106"/>
                  <a:gd name="connsiteY53" fmla="*/ 388070 h 508288"/>
                  <a:gd name="connsiteX54" fmla="*/ 164195 w 561106"/>
                  <a:gd name="connsiteY54" fmla="*/ 397760 h 508288"/>
                  <a:gd name="connsiteX55" fmla="*/ 161232 w 561106"/>
                  <a:gd name="connsiteY55" fmla="*/ 408703 h 508288"/>
                  <a:gd name="connsiteX56" fmla="*/ 165051 w 561106"/>
                  <a:gd name="connsiteY56" fmla="*/ 410925 h 508288"/>
                  <a:gd name="connsiteX57" fmla="*/ 168185 w 561106"/>
                  <a:gd name="connsiteY57" fmla="*/ 419076 h 508288"/>
                  <a:gd name="connsiteX58" fmla="*/ 163911 w 561106"/>
                  <a:gd name="connsiteY58" fmla="*/ 435091 h 508288"/>
                  <a:gd name="connsiteX59" fmla="*/ 154620 w 561106"/>
                  <a:gd name="connsiteY59" fmla="*/ 439651 h 508288"/>
                  <a:gd name="connsiteX60" fmla="*/ 152113 w 561106"/>
                  <a:gd name="connsiteY60" fmla="*/ 450537 h 508288"/>
                  <a:gd name="connsiteX61" fmla="*/ 149890 w 561106"/>
                  <a:gd name="connsiteY61" fmla="*/ 467635 h 508288"/>
                  <a:gd name="connsiteX62" fmla="*/ 148807 w 561106"/>
                  <a:gd name="connsiteY62" fmla="*/ 470257 h 508288"/>
                  <a:gd name="connsiteX63" fmla="*/ 148351 w 561106"/>
                  <a:gd name="connsiteY63" fmla="*/ 469744 h 508288"/>
                  <a:gd name="connsiteX64" fmla="*/ 137864 w 561106"/>
                  <a:gd name="connsiteY64" fmla="*/ 468433 h 508288"/>
                  <a:gd name="connsiteX65" fmla="*/ 133077 w 561106"/>
                  <a:gd name="connsiteY65" fmla="*/ 458060 h 508288"/>
                  <a:gd name="connsiteX66" fmla="*/ 126921 w 561106"/>
                  <a:gd name="connsiteY66" fmla="*/ 448827 h 508288"/>
                  <a:gd name="connsiteX67" fmla="*/ 120139 w 561106"/>
                  <a:gd name="connsiteY67" fmla="*/ 457490 h 508288"/>
                  <a:gd name="connsiteX68" fmla="*/ 116377 w 561106"/>
                  <a:gd name="connsiteY68" fmla="*/ 468604 h 508288"/>
                  <a:gd name="connsiteX69" fmla="*/ 95637 w 561106"/>
                  <a:gd name="connsiteY69" fmla="*/ 478287 h 508288"/>
                  <a:gd name="connsiteX70" fmla="*/ 95118 w 561106"/>
                  <a:gd name="connsiteY70" fmla="*/ 480003 h 508288"/>
                  <a:gd name="connsiteX71" fmla="*/ 91185 w 561106"/>
                  <a:gd name="connsiteY71" fmla="*/ 480972 h 508288"/>
                  <a:gd name="connsiteX72" fmla="*/ 88450 w 561106"/>
                  <a:gd name="connsiteY72" fmla="*/ 488096 h 508288"/>
                  <a:gd name="connsiteX73" fmla="*/ 67589 w 561106"/>
                  <a:gd name="connsiteY73" fmla="*/ 502345 h 508288"/>
                  <a:gd name="connsiteX74" fmla="*/ 66563 w 561106"/>
                  <a:gd name="connsiteY74" fmla="*/ 506164 h 508288"/>
                  <a:gd name="connsiteX75" fmla="*/ 63258 w 561106"/>
                  <a:gd name="connsiteY75" fmla="*/ 508044 h 508288"/>
                  <a:gd name="connsiteX76" fmla="*/ 48439 w 561106"/>
                  <a:gd name="connsiteY76" fmla="*/ 500692 h 508288"/>
                  <a:gd name="connsiteX77" fmla="*/ 45761 w 561106"/>
                  <a:gd name="connsiteY77" fmla="*/ 496075 h 508288"/>
                  <a:gd name="connsiteX78" fmla="*/ 36926 w 561106"/>
                  <a:gd name="connsiteY78" fmla="*/ 494480 h 508288"/>
                  <a:gd name="connsiteX79" fmla="*/ 27693 w 561106"/>
                  <a:gd name="connsiteY79" fmla="*/ 485361 h 508288"/>
                  <a:gd name="connsiteX80" fmla="*/ 19486 w 561106"/>
                  <a:gd name="connsiteY80" fmla="*/ 481542 h 508288"/>
                  <a:gd name="connsiteX81" fmla="*/ 16978 w 561106"/>
                  <a:gd name="connsiteY81" fmla="*/ 473962 h 508288"/>
                  <a:gd name="connsiteX82" fmla="*/ 27864 w 561106"/>
                  <a:gd name="connsiteY82" fmla="*/ 471739 h 508288"/>
                  <a:gd name="connsiteX83" fmla="*/ 29169 w 561106"/>
                  <a:gd name="connsiteY83" fmla="*/ 463133 h 508288"/>
                  <a:gd name="connsiteX84" fmla="*/ 28149 w 561106"/>
                  <a:gd name="connsiteY84" fmla="*/ 462050 h 508288"/>
                  <a:gd name="connsiteX85" fmla="*/ 33940 w 561106"/>
                  <a:gd name="connsiteY85" fmla="*/ 455769 h 508288"/>
                  <a:gd name="connsiteX86" fmla="*/ 33849 w 561106"/>
                  <a:gd name="connsiteY86" fmla="*/ 454925 h 508288"/>
                  <a:gd name="connsiteX87" fmla="*/ 11051 w 561106"/>
                  <a:gd name="connsiteY87" fmla="*/ 461594 h 508288"/>
                  <a:gd name="connsiteX88" fmla="*/ 4496 w 561106"/>
                  <a:gd name="connsiteY88" fmla="*/ 461594 h 508288"/>
                  <a:gd name="connsiteX89" fmla="*/ 4496 w 561106"/>
                  <a:gd name="connsiteY89" fmla="*/ 442500 h 508288"/>
                  <a:gd name="connsiteX90" fmla="*/ 19999 w 561106"/>
                  <a:gd name="connsiteY90" fmla="*/ 442101 h 508288"/>
                  <a:gd name="connsiteX91" fmla="*/ 25014 w 561106"/>
                  <a:gd name="connsiteY91" fmla="*/ 441418 h 508288"/>
                  <a:gd name="connsiteX92" fmla="*/ 32538 w 561106"/>
                  <a:gd name="connsiteY92" fmla="*/ 438796 h 508288"/>
                  <a:gd name="connsiteX93" fmla="*/ 32925 w 561106"/>
                  <a:gd name="connsiteY93" fmla="*/ 432116 h 508288"/>
                  <a:gd name="connsiteX94" fmla="*/ 32538 w 561106"/>
                  <a:gd name="connsiteY94" fmla="*/ 431728 h 508288"/>
                  <a:gd name="connsiteX95" fmla="*/ 39326 w 561106"/>
                  <a:gd name="connsiteY95" fmla="*/ 427385 h 508288"/>
                  <a:gd name="connsiteX96" fmla="*/ 34983 w 561106"/>
                  <a:gd name="connsiteY96" fmla="*/ 420597 h 508288"/>
                  <a:gd name="connsiteX97" fmla="*/ 30885 w 561106"/>
                  <a:gd name="connsiteY97" fmla="*/ 421241 h 508288"/>
                  <a:gd name="connsiteX98" fmla="*/ 27750 w 561106"/>
                  <a:gd name="connsiteY98" fmla="*/ 424376 h 508288"/>
                  <a:gd name="connsiteX99" fmla="*/ 6263 w 561106"/>
                  <a:gd name="connsiteY99" fmla="*/ 428309 h 508288"/>
                  <a:gd name="connsiteX100" fmla="*/ 51 w 561106"/>
                  <a:gd name="connsiteY100" fmla="*/ 423635 h 508288"/>
                  <a:gd name="connsiteX101" fmla="*/ 10253 w 561106"/>
                  <a:gd name="connsiteY101" fmla="*/ 415827 h 508288"/>
                  <a:gd name="connsiteX102" fmla="*/ 19258 w 561106"/>
                  <a:gd name="connsiteY102" fmla="*/ 399298 h 508288"/>
                  <a:gd name="connsiteX103" fmla="*/ 19942 w 561106"/>
                  <a:gd name="connsiteY103" fmla="*/ 379521 h 508288"/>
                  <a:gd name="connsiteX104" fmla="*/ 32709 w 561106"/>
                  <a:gd name="connsiteY104" fmla="*/ 366412 h 508288"/>
                  <a:gd name="connsiteX105" fmla="*/ 41315 w 561106"/>
                  <a:gd name="connsiteY105" fmla="*/ 364817 h 508288"/>
                  <a:gd name="connsiteX106" fmla="*/ 42170 w 561106"/>
                  <a:gd name="connsiteY106" fmla="*/ 359117 h 508288"/>
                  <a:gd name="connsiteX107" fmla="*/ 48382 w 561106"/>
                  <a:gd name="connsiteY107" fmla="*/ 354900 h 508288"/>
                  <a:gd name="connsiteX108" fmla="*/ 50206 w 561106"/>
                  <a:gd name="connsiteY108" fmla="*/ 348915 h 508288"/>
                  <a:gd name="connsiteX109" fmla="*/ 58185 w 561106"/>
                  <a:gd name="connsiteY109" fmla="*/ 345780 h 508288"/>
                  <a:gd name="connsiteX110" fmla="*/ 54538 w 561106"/>
                  <a:gd name="connsiteY110" fmla="*/ 338086 h 508288"/>
                  <a:gd name="connsiteX111" fmla="*/ 52372 w 561106"/>
                  <a:gd name="connsiteY111" fmla="*/ 330221 h 508288"/>
                  <a:gd name="connsiteX112" fmla="*/ 55678 w 561106"/>
                  <a:gd name="connsiteY112" fmla="*/ 329195 h 508288"/>
                  <a:gd name="connsiteX113" fmla="*/ 85771 w 561106"/>
                  <a:gd name="connsiteY113" fmla="*/ 328625 h 508288"/>
                  <a:gd name="connsiteX114" fmla="*/ 92895 w 561106"/>
                  <a:gd name="connsiteY114" fmla="*/ 319392 h 508288"/>
                  <a:gd name="connsiteX115" fmla="*/ 97683 w 561106"/>
                  <a:gd name="connsiteY115" fmla="*/ 318879 h 508288"/>
                  <a:gd name="connsiteX116" fmla="*/ 105833 w 561106"/>
                  <a:gd name="connsiteY116" fmla="*/ 309817 h 508288"/>
                  <a:gd name="connsiteX117" fmla="*/ 117232 w 561106"/>
                  <a:gd name="connsiteY117" fmla="*/ 303490 h 508288"/>
                  <a:gd name="connsiteX118" fmla="*/ 118771 w 561106"/>
                  <a:gd name="connsiteY118" fmla="*/ 296822 h 508288"/>
                  <a:gd name="connsiteX119" fmla="*/ 129828 w 561106"/>
                  <a:gd name="connsiteY119" fmla="*/ 292205 h 508288"/>
                  <a:gd name="connsiteX120" fmla="*/ 130797 w 561106"/>
                  <a:gd name="connsiteY120" fmla="*/ 285708 h 508288"/>
                  <a:gd name="connsiteX121" fmla="*/ 135242 w 561106"/>
                  <a:gd name="connsiteY121" fmla="*/ 282402 h 508288"/>
                  <a:gd name="connsiteX122" fmla="*/ 135242 w 561106"/>
                  <a:gd name="connsiteY122" fmla="*/ 275164 h 508288"/>
                  <a:gd name="connsiteX123" fmla="*/ 140942 w 561106"/>
                  <a:gd name="connsiteY123" fmla="*/ 272086 h 508288"/>
                  <a:gd name="connsiteX124" fmla="*/ 141968 w 561106"/>
                  <a:gd name="connsiteY124" fmla="*/ 277786 h 508288"/>
                  <a:gd name="connsiteX125" fmla="*/ 146926 w 561106"/>
                  <a:gd name="connsiteY125" fmla="*/ 279837 h 508288"/>
                  <a:gd name="connsiteX126" fmla="*/ 148636 w 561106"/>
                  <a:gd name="connsiteY126" fmla="*/ 272827 h 508288"/>
                  <a:gd name="connsiteX127" fmla="*/ 146527 w 561106"/>
                  <a:gd name="connsiteY127" fmla="*/ 267812 h 508288"/>
                  <a:gd name="connsiteX128" fmla="*/ 135128 w 561106"/>
                  <a:gd name="connsiteY128" fmla="*/ 261428 h 508288"/>
                  <a:gd name="connsiteX129" fmla="*/ 142025 w 561106"/>
                  <a:gd name="connsiteY129" fmla="*/ 254874 h 508288"/>
                  <a:gd name="connsiteX130" fmla="*/ 153424 w 561106"/>
                  <a:gd name="connsiteY130" fmla="*/ 251739 h 508288"/>
                  <a:gd name="connsiteX131" fmla="*/ 157641 w 561106"/>
                  <a:gd name="connsiteY131" fmla="*/ 250257 h 508288"/>
                  <a:gd name="connsiteX132" fmla="*/ 163341 w 561106"/>
                  <a:gd name="connsiteY132" fmla="*/ 237604 h 508288"/>
                  <a:gd name="connsiteX133" fmla="*/ 162600 w 561106"/>
                  <a:gd name="connsiteY133" fmla="*/ 222957 h 508288"/>
                  <a:gd name="connsiteX134" fmla="*/ 169895 w 561106"/>
                  <a:gd name="connsiteY134" fmla="*/ 211273 h 508288"/>
                  <a:gd name="connsiteX135" fmla="*/ 176564 w 561106"/>
                  <a:gd name="connsiteY135" fmla="*/ 209506 h 508288"/>
                  <a:gd name="connsiteX136" fmla="*/ 181237 w 561106"/>
                  <a:gd name="connsiteY136" fmla="*/ 202667 h 508288"/>
                  <a:gd name="connsiteX137" fmla="*/ 186196 w 561106"/>
                  <a:gd name="connsiteY137" fmla="*/ 189843 h 508288"/>
                  <a:gd name="connsiteX138" fmla="*/ 188703 w 561106"/>
                  <a:gd name="connsiteY138" fmla="*/ 188019 h 508288"/>
                  <a:gd name="connsiteX139" fmla="*/ 190715 w 561106"/>
                  <a:gd name="connsiteY139" fmla="*/ 184622 h 508288"/>
                  <a:gd name="connsiteX140" fmla="*/ 191211 w 561106"/>
                  <a:gd name="connsiteY140" fmla="*/ 184542 h 508288"/>
                  <a:gd name="connsiteX141" fmla="*/ 196170 w 561106"/>
                  <a:gd name="connsiteY141" fmla="*/ 182491 h 508288"/>
                  <a:gd name="connsiteX142" fmla="*/ 196910 w 561106"/>
                  <a:gd name="connsiteY142" fmla="*/ 175651 h 508288"/>
                  <a:gd name="connsiteX143" fmla="*/ 202610 w 561106"/>
                  <a:gd name="connsiteY143" fmla="*/ 171775 h 508288"/>
                  <a:gd name="connsiteX144" fmla="*/ 207967 w 561106"/>
                  <a:gd name="connsiteY144" fmla="*/ 160377 h 508288"/>
                  <a:gd name="connsiteX145" fmla="*/ 207967 w 561106"/>
                  <a:gd name="connsiteY145" fmla="*/ 156615 h 508288"/>
                  <a:gd name="connsiteX146" fmla="*/ 210361 w 561106"/>
                  <a:gd name="connsiteY146" fmla="*/ 155532 h 508288"/>
                  <a:gd name="connsiteX147" fmla="*/ 215434 w 561106"/>
                  <a:gd name="connsiteY147" fmla="*/ 149832 h 508288"/>
                  <a:gd name="connsiteX148" fmla="*/ 217372 w 561106"/>
                  <a:gd name="connsiteY148" fmla="*/ 142195 h 508288"/>
                  <a:gd name="connsiteX149" fmla="*/ 218968 w 561106"/>
                  <a:gd name="connsiteY149" fmla="*/ 138206 h 508288"/>
                  <a:gd name="connsiteX150" fmla="*/ 225921 w 561106"/>
                  <a:gd name="connsiteY150" fmla="*/ 134045 h 508288"/>
                  <a:gd name="connsiteX151" fmla="*/ 227802 w 561106"/>
                  <a:gd name="connsiteY151" fmla="*/ 131252 h 508288"/>
                  <a:gd name="connsiteX152" fmla="*/ 240227 w 561106"/>
                  <a:gd name="connsiteY152" fmla="*/ 121677 h 508288"/>
                  <a:gd name="connsiteX153" fmla="*/ 242050 w 561106"/>
                  <a:gd name="connsiteY153" fmla="*/ 121164 h 508288"/>
                  <a:gd name="connsiteX154" fmla="*/ 244102 w 561106"/>
                  <a:gd name="connsiteY154" fmla="*/ 123444 h 508288"/>
                  <a:gd name="connsiteX155" fmla="*/ 253392 w 561106"/>
                  <a:gd name="connsiteY155" fmla="*/ 130511 h 508288"/>
                  <a:gd name="connsiteX156" fmla="*/ 255387 w 561106"/>
                  <a:gd name="connsiteY156" fmla="*/ 129257 h 508288"/>
                  <a:gd name="connsiteX157" fmla="*/ 255387 w 561106"/>
                  <a:gd name="connsiteY157" fmla="*/ 127377 h 508288"/>
                  <a:gd name="connsiteX158" fmla="*/ 253791 w 561106"/>
                  <a:gd name="connsiteY158" fmla="*/ 115978 h 508288"/>
                  <a:gd name="connsiteX159" fmla="*/ 253221 w 561106"/>
                  <a:gd name="connsiteY159" fmla="*/ 113698 h 508288"/>
                  <a:gd name="connsiteX160" fmla="*/ 250942 w 561106"/>
                  <a:gd name="connsiteY160" fmla="*/ 111475 h 508288"/>
                  <a:gd name="connsiteX161" fmla="*/ 233216 w 561106"/>
                  <a:gd name="connsiteY161" fmla="*/ 114781 h 508288"/>
                  <a:gd name="connsiteX162" fmla="*/ 229911 w 561106"/>
                  <a:gd name="connsiteY162" fmla="*/ 118428 h 508288"/>
                  <a:gd name="connsiteX163" fmla="*/ 225636 w 561106"/>
                  <a:gd name="connsiteY163" fmla="*/ 119397 h 508288"/>
                  <a:gd name="connsiteX164" fmla="*/ 215947 w 561106"/>
                  <a:gd name="connsiteY164" fmla="*/ 120081 h 508288"/>
                  <a:gd name="connsiteX165" fmla="*/ 203864 w 561106"/>
                  <a:gd name="connsiteY165" fmla="*/ 117289 h 508288"/>
                  <a:gd name="connsiteX166" fmla="*/ 202667 w 561106"/>
                  <a:gd name="connsiteY166" fmla="*/ 112615 h 508288"/>
                  <a:gd name="connsiteX167" fmla="*/ 214066 w 561106"/>
                  <a:gd name="connsiteY167" fmla="*/ 106517 h 508288"/>
                  <a:gd name="connsiteX168" fmla="*/ 214351 w 561106"/>
                  <a:gd name="connsiteY168" fmla="*/ 101216 h 508288"/>
                  <a:gd name="connsiteX169" fmla="*/ 224667 w 561106"/>
                  <a:gd name="connsiteY169" fmla="*/ 95517 h 508288"/>
                  <a:gd name="connsiteX170" fmla="*/ 225693 w 561106"/>
                  <a:gd name="connsiteY170" fmla="*/ 92895 h 508288"/>
                  <a:gd name="connsiteX171" fmla="*/ 232133 w 561106"/>
                  <a:gd name="connsiteY171" fmla="*/ 81496 h 508288"/>
                  <a:gd name="connsiteX172" fmla="*/ 238539 w 561106"/>
                  <a:gd name="connsiteY172" fmla="*/ 82761 h 508288"/>
                  <a:gd name="connsiteX173" fmla="*/ 239030 w 561106"/>
                  <a:gd name="connsiteY173" fmla="*/ 83719 h 508288"/>
                  <a:gd name="connsiteX174" fmla="*/ 239030 w 561106"/>
                  <a:gd name="connsiteY174" fmla="*/ 88335 h 508288"/>
                  <a:gd name="connsiteX175" fmla="*/ 239372 w 561106"/>
                  <a:gd name="connsiteY175" fmla="*/ 92895 h 508288"/>
                  <a:gd name="connsiteX176" fmla="*/ 242911 w 561106"/>
                  <a:gd name="connsiteY176" fmla="*/ 94000 h 508288"/>
                  <a:gd name="connsiteX177" fmla="*/ 243304 w 561106"/>
                  <a:gd name="connsiteY177" fmla="*/ 93750 h 508288"/>
                  <a:gd name="connsiteX178" fmla="*/ 254703 w 561106"/>
                  <a:gd name="connsiteY178" fmla="*/ 100304 h 508288"/>
                  <a:gd name="connsiteX179" fmla="*/ 255330 w 561106"/>
                  <a:gd name="connsiteY179" fmla="*/ 103667 h 508288"/>
                  <a:gd name="connsiteX180" fmla="*/ 258123 w 561106"/>
                  <a:gd name="connsiteY180" fmla="*/ 104522 h 508288"/>
                  <a:gd name="connsiteX181" fmla="*/ 264552 w 561106"/>
                  <a:gd name="connsiteY181" fmla="*/ 95346 h 508288"/>
                  <a:gd name="connsiteX182" fmla="*/ 266216 w 561106"/>
                  <a:gd name="connsiteY182" fmla="*/ 95232 h 508288"/>
                  <a:gd name="connsiteX183" fmla="*/ 273283 w 561106"/>
                  <a:gd name="connsiteY183" fmla="*/ 102869 h 508288"/>
                  <a:gd name="connsiteX184" fmla="*/ 273283 w 561106"/>
                  <a:gd name="connsiteY184" fmla="*/ 92553 h 508288"/>
                  <a:gd name="connsiteX185" fmla="*/ 260175 w 561106"/>
                  <a:gd name="connsiteY185" fmla="*/ 90615 h 508288"/>
                  <a:gd name="connsiteX186" fmla="*/ 250942 w 561106"/>
                  <a:gd name="connsiteY186" fmla="*/ 82921 h 508288"/>
                  <a:gd name="connsiteX187" fmla="*/ 260745 w 561106"/>
                  <a:gd name="connsiteY187" fmla="*/ 78817 h 508288"/>
                  <a:gd name="connsiteX188" fmla="*/ 264506 w 561106"/>
                  <a:gd name="connsiteY188" fmla="*/ 67988 h 508288"/>
                  <a:gd name="connsiteX189" fmla="*/ 270719 w 561106"/>
                  <a:gd name="connsiteY189" fmla="*/ 62916 h 508288"/>
                  <a:gd name="connsiteX190" fmla="*/ 275848 w 561106"/>
                  <a:gd name="connsiteY190" fmla="*/ 74599 h 508288"/>
                  <a:gd name="connsiteX191" fmla="*/ 278527 w 561106"/>
                  <a:gd name="connsiteY191" fmla="*/ 75454 h 508288"/>
                  <a:gd name="connsiteX192" fmla="*/ 290838 w 561106"/>
                  <a:gd name="connsiteY192" fmla="*/ 71351 h 508288"/>
                  <a:gd name="connsiteX193" fmla="*/ 291294 w 561106"/>
                  <a:gd name="connsiteY193" fmla="*/ 67304 h 508288"/>
                  <a:gd name="connsiteX194" fmla="*/ 303206 w 561106"/>
                  <a:gd name="connsiteY194" fmla="*/ 62118 h 508288"/>
                  <a:gd name="connsiteX195" fmla="*/ 300185 w 561106"/>
                  <a:gd name="connsiteY195" fmla="*/ 50719 h 508288"/>
                  <a:gd name="connsiteX196" fmla="*/ 315174 w 561106"/>
                  <a:gd name="connsiteY196" fmla="*/ 38921 h 508288"/>
                  <a:gd name="connsiteX197" fmla="*/ 316257 w 561106"/>
                  <a:gd name="connsiteY197" fmla="*/ 55335 h 508288"/>
                  <a:gd name="connsiteX198" fmla="*/ 317055 w 561106"/>
                  <a:gd name="connsiteY198" fmla="*/ 57900 h 508288"/>
                  <a:gd name="connsiteX199" fmla="*/ 320247 w 561106"/>
                  <a:gd name="connsiteY199" fmla="*/ 58470 h 508288"/>
                  <a:gd name="connsiteX200" fmla="*/ 330734 w 561106"/>
                  <a:gd name="connsiteY200" fmla="*/ 57216 h 508288"/>
                  <a:gd name="connsiteX201" fmla="*/ 333926 w 561106"/>
                  <a:gd name="connsiteY201" fmla="*/ 68615 h 508288"/>
                  <a:gd name="connsiteX202" fmla="*/ 340195 w 561106"/>
                  <a:gd name="connsiteY202" fmla="*/ 66290 h 508288"/>
                  <a:gd name="connsiteX203" fmla="*/ 340252 w 561106"/>
                  <a:gd name="connsiteY203" fmla="*/ 66164 h 508288"/>
                  <a:gd name="connsiteX204" fmla="*/ 340252 w 561106"/>
                  <a:gd name="connsiteY204" fmla="*/ 58698 h 508288"/>
                  <a:gd name="connsiteX205" fmla="*/ 333470 w 561106"/>
                  <a:gd name="connsiteY205" fmla="*/ 42625 h 508288"/>
                  <a:gd name="connsiteX206" fmla="*/ 341563 w 561106"/>
                  <a:gd name="connsiteY206" fmla="*/ 42625 h 508288"/>
                  <a:gd name="connsiteX207" fmla="*/ 349485 w 561106"/>
                  <a:gd name="connsiteY207" fmla="*/ 46273 h 508288"/>
                  <a:gd name="connsiteX208" fmla="*/ 353418 w 561106"/>
                  <a:gd name="connsiteY208" fmla="*/ 45874 h 508288"/>
                  <a:gd name="connsiteX209" fmla="*/ 357750 w 561106"/>
                  <a:gd name="connsiteY209" fmla="*/ 51118 h 508288"/>
                  <a:gd name="connsiteX210" fmla="*/ 362651 w 561106"/>
                  <a:gd name="connsiteY210" fmla="*/ 50605 h 508288"/>
                  <a:gd name="connsiteX211" fmla="*/ 359003 w 561106"/>
                  <a:gd name="connsiteY211" fmla="*/ 35786 h 508288"/>
                  <a:gd name="connsiteX212" fmla="*/ 361910 w 561106"/>
                  <a:gd name="connsiteY212" fmla="*/ 30828 h 508288"/>
                  <a:gd name="connsiteX213" fmla="*/ 364190 w 561106"/>
                  <a:gd name="connsiteY213" fmla="*/ 24444 h 508288"/>
                  <a:gd name="connsiteX214" fmla="*/ 379807 w 561106"/>
                  <a:gd name="connsiteY214" fmla="*/ 17548 h 508288"/>
                  <a:gd name="connsiteX215" fmla="*/ 384594 w 561106"/>
                  <a:gd name="connsiteY215" fmla="*/ 18175 h 508288"/>
                  <a:gd name="connsiteX216" fmla="*/ 381801 w 561106"/>
                  <a:gd name="connsiteY216" fmla="*/ 27579 h 508288"/>
                  <a:gd name="connsiteX217" fmla="*/ 370402 w 561106"/>
                  <a:gd name="connsiteY217" fmla="*/ 30429 h 508288"/>
                  <a:gd name="connsiteX218" fmla="*/ 364703 w 561106"/>
                  <a:gd name="connsiteY218" fmla="*/ 41827 h 508288"/>
                  <a:gd name="connsiteX219" fmla="*/ 387501 w 561106"/>
                  <a:gd name="connsiteY219" fmla="*/ 39320 h 508288"/>
                  <a:gd name="connsiteX220" fmla="*/ 388812 w 561106"/>
                  <a:gd name="connsiteY220" fmla="*/ 47698 h 508288"/>
                  <a:gd name="connsiteX221" fmla="*/ 396050 w 561106"/>
                  <a:gd name="connsiteY221" fmla="*/ 48154 h 508288"/>
                  <a:gd name="connsiteX222" fmla="*/ 396449 w 561106"/>
                  <a:gd name="connsiteY222" fmla="*/ 45589 h 508288"/>
                  <a:gd name="connsiteX223" fmla="*/ 395138 w 561106"/>
                  <a:gd name="connsiteY223" fmla="*/ 27864 h 508288"/>
                  <a:gd name="connsiteX224" fmla="*/ 404029 w 561106"/>
                  <a:gd name="connsiteY224" fmla="*/ 21822 h 508288"/>
                  <a:gd name="connsiteX225" fmla="*/ 405454 w 561106"/>
                  <a:gd name="connsiteY225" fmla="*/ 17776 h 508288"/>
                  <a:gd name="connsiteX226" fmla="*/ 413035 w 561106"/>
                  <a:gd name="connsiteY226" fmla="*/ 20625 h 508288"/>
                  <a:gd name="connsiteX227" fmla="*/ 419760 w 561106"/>
                  <a:gd name="connsiteY227" fmla="*/ 26325 h 508288"/>
                  <a:gd name="connsiteX228" fmla="*/ 421812 w 561106"/>
                  <a:gd name="connsiteY228" fmla="*/ 13501 h 508288"/>
                  <a:gd name="connsiteX229" fmla="*/ 438221 w 561106"/>
                  <a:gd name="connsiteY229" fmla="*/ 3105 h 508288"/>
                  <a:gd name="connsiteX230" fmla="*/ 438454 w 561106"/>
                  <a:gd name="connsiteY230" fmla="*/ 1760 h 508288"/>
                  <a:gd name="connsiteX231" fmla="*/ 450936 w 561106"/>
                  <a:gd name="connsiteY231" fmla="*/ 50 h 508288"/>
                  <a:gd name="connsiteX232" fmla="*/ 446775 w 561106"/>
                  <a:gd name="connsiteY232" fmla="*/ 14071 h 508288"/>
                  <a:gd name="connsiteX233" fmla="*/ 442273 w 561106"/>
                  <a:gd name="connsiteY233" fmla="*/ 16408 h 508288"/>
                  <a:gd name="connsiteX234" fmla="*/ 442273 w 561106"/>
                  <a:gd name="connsiteY234" fmla="*/ 19429 h 508288"/>
                  <a:gd name="connsiteX235" fmla="*/ 428765 w 561106"/>
                  <a:gd name="connsiteY235" fmla="*/ 32309 h 508288"/>
                  <a:gd name="connsiteX236" fmla="*/ 430304 w 561106"/>
                  <a:gd name="connsiteY236" fmla="*/ 43708 h 508288"/>
                  <a:gd name="connsiteX237" fmla="*/ 439024 w 561106"/>
                  <a:gd name="connsiteY237" fmla="*/ 40916 h 508288"/>
                  <a:gd name="connsiteX238" fmla="*/ 444268 w 561106"/>
                  <a:gd name="connsiteY238" fmla="*/ 31454 h 508288"/>
                  <a:gd name="connsiteX239" fmla="*/ 448257 w 561106"/>
                  <a:gd name="connsiteY239" fmla="*/ 28776 h 508288"/>
                  <a:gd name="connsiteX240" fmla="*/ 450423 w 561106"/>
                  <a:gd name="connsiteY240" fmla="*/ 23076 h 508288"/>
                  <a:gd name="connsiteX241" fmla="*/ 465846 w 561106"/>
                  <a:gd name="connsiteY241" fmla="*/ 15912 h 508288"/>
                  <a:gd name="connsiteX242" fmla="*/ 467009 w 561106"/>
                  <a:gd name="connsiteY242" fmla="*/ 16408 h 508288"/>
                  <a:gd name="connsiteX243" fmla="*/ 464045 w 561106"/>
                  <a:gd name="connsiteY243" fmla="*/ 30030 h 508288"/>
                  <a:gd name="connsiteX244" fmla="*/ 482283 w 561106"/>
                  <a:gd name="connsiteY244" fmla="*/ 20853 h 508288"/>
                  <a:gd name="connsiteX245" fmla="*/ 482283 w 561106"/>
                  <a:gd name="connsiteY245" fmla="*/ 13843 h 508288"/>
                  <a:gd name="connsiteX246" fmla="*/ 498498 w 561106"/>
                  <a:gd name="connsiteY246" fmla="*/ 12960 h 508288"/>
                  <a:gd name="connsiteX247" fmla="*/ 499382 w 561106"/>
                  <a:gd name="connsiteY247" fmla="*/ 29175 h 508288"/>
                  <a:gd name="connsiteX248" fmla="*/ 506392 w 561106"/>
                  <a:gd name="connsiteY248" fmla="*/ 30315 h 508288"/>
                  <a:gd name="connsiteX249" fmla="*/ 505537 w 561106"/>
                  <a:gd name="connsiteY249" fmla="*/ 15610 h 508288"/>
                  <a:gd name="connsiteX250" fmla="*/ 515739 w 561106"/>
                  <a:gd name="connsiteY250" fmla="*/ 12361 h 508288"/>
                  <a:gd name="connsiteX251" fmla="*/ 518532 w 561106"/>
                  <a:gd name="connsiteY251" fmla="*/ 10252 h 508288"/>
                  <a:gd name="connsiteX252" fmla="*/ 524231 w 561106"/>
                  <a:gd name="connsiteY252" fmla="*/ 12133 h 508288"/>
                  <a:gd name="connsiteX253" fmla="*/ 539791 w 561106"/>
                  <a:gd name="connsiteY253" fmla="*/ 13843 h 508288"/>
                  <a:gd name="connsiteX254" fmla="*/ 548739 w 561106"/>
                  <a:gd name="connsiteY254" fmla="*/ 24045 h 508288"/>
                  <a:gd name="connsiteX255" fmla="*/ 561107 w 561106"/>
                  <a:gd name="connsiteY255" fmla="*/ 36926 h 508288"/>
                  <a:gd name="connsiteX256" fmla="*/ 547713 w 561106"/>
                  <a:gd name="connsiteY256" fmla="*/ 40688 h 508288"/>
                  <a:gd name="connsiteX257" fmla="*/ 543097 w 561106"/>
                  <a:gd name="connsiteY257" fmla="*/ 44905 h 508288"/>
                  <a:gd name="connsiteX258" fmla="*/ 517962 w 561106"/>
                  <a:gd name="connsiteY258" fmla="*/ 41770 h 508288"/>
                  <a:gd name="connsiteX259" fmla="*/ 522179 w 561106"/>
                  <a:gd name="connsiteY259" fmla="*/ 46330 h 508288"/>
                  <a:gd name="connsiteX260" fmla="*/ 528620 w 561106"/>
                  <a:gd name="connsiteY260" fmla="*/ 48268 h 508288"/>
                  <a:gd name="connsiteX261" fmla="*/ 534319 w 561106"/>
                  <a:gd name="connsiteY261" fmla="*/ 60864 h 508288"/>
                  <a:gd name="connsiteX262" fmla="*/ 542811 w 561106"/>
                  <a:gd name="connsiteY262" fmla="*/ 62745 h 508288"/>
                  <a:gd name="connsiteX263" fmla="*/ 543210 w 561106"/>
                  <a:gd name="connsiteY263" fmla="*/ 62745 h 508288"/>
                  <a:gd name="connsiteX264" fmla="*/ 532781 w 561106"/>
                  <a:gd name="connsiteY264" fmla="*/ 78589 h 50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561106" h="508288">
                    <a:moveTo>
                      <a:pt x="532781" y="78589"/>
                    </a:moveTo>
                    <a:cubicBezTo>
                      <a:pt x="529361" y="78190"/>
                      <a:pt x="525884" y="77848"/>
                      <a:pt x="522408" y="77734"/>
                    </a:cubicBezTo>
                    <a:cubicBezTo>
                      <a:pt x="522339" y="69869"/>
                      <a:pt x="519239" y="62334"/>
                      <a:pt x="513744" y="56703"/>
                    </a:cubicBezTo>
                    <a:cubicBezTo>
                      <a:pt x="504169" y="47869"/>
                      <a:pt x="489464" y="48781"/>
                      <a:pt x="476470" y="50206"/>
                    </a:cubicBezTo>
                    <a:cubicBezTo>
                      <a:pt x="471272" y="50496"/>
                      <a:pt x="466154" y="51614"/>
                      <a:pt x="461309" y="53511"/>
                    </a:cubicBezTo>
                    <a:cubicBezTo>
                      <a:pt x="456345" y="55523"/>
                      <a:pt x="452612" y="59741"/>
                      <a:pt x="451221" y="64910"/>
                    </a:cubicBezTo>
                    <a:cubicBezTo>
                      <a:pt x="450879" y="67823"/>
                      <a:pt x="450708" y="70752"/>
                      <a:pt x="450708" y="73688"/>
                    </a:cubicBezTo>
                    <a:cubicBezTo>
                      <a:pt x="450241" y="79017"/>
                      <a:pt x="447602" y="83924"/>
                      <a:pt x="443413" y="87252"/>
                    </a:cubicBezTo>
                    <a:cubicBezTo>
                      <a:pt x="440990" y="88689"/>
                      <a:pt x="438910" y="90632"/>
                      <a:pt x="437315" y="92952"/>
                    </a:cubicBezTo>
                    <a:cubicBezTo>
                      <a:pt x="436516" y="94548"/>
                      <a:pt x="436402" y="96428"/>
                      <a:pt x="435661" y="98081"/>
                    </a:cubicBezTo>
                    <a:cubicBezTo>
                      <a:pt x="433439" y="103097"/>
                      <a:pt x="426884" y="103781"/>
                      <a:pt x="421470" y="104123"/>
                    </a:cubicBezTo>
                    <a:lnTo>
                      <a:pt x="400097" y="104807"/>
                    </a:lnTo>
                    <a:cubicBezTo>
                      <a:pt x="393628" y="105496"/>
                      <a:pt x="387091" y="104658"/>
                      <a:pt x="381004" y="102356"/>
                    </a:cubicBezTo>
                    <a:cubicBezTo>
                      <a:pt x="375469" y="98657"/>
                      <a:pt x="370294" y="94439"/>
                      <a:pt x="365558" y="89760"/>
                    </a:cubicBezTo>
                    <a:cubicBezTo>
                      <a:pt x="358838" y="84893"/>
                      <a:pt x="350563" y="82659"/>
                      <a:pt x="342304" y="83491"/>
                    </a:cubicBezTo>
                    <a:lnTo>
                      <a:pt x="348004" y="91869"/>
                    </a:lnTo>
                    <a:lnTo>
                      <a:pt x="328683" y="95517"/>
                    </a:lnTo>
                    <a:cubicBezTo>
                      <a:pt x="326573" y="95915"/>
                      <a:pt x="324180" y="96542"/>
                      <a:pt x="323382" y="98480"/>
                    </a:cubicBezTo>
                    <a:cubicBezTo>
                      <a:pt x="323125" y="99392"/>
                      <a:pt x="323125" y="100361"/>
                      <a:pt x="323382" y="101273"/>
                    </a:cubicBezTo>
                    <a:cubicBezTo>
                      <a:pt x="324020" y="104277"/>
                      <a:pt x="324875" y="107229"/>
                      <a:pt x="325947" y="110107"/>
                    </a:cubicBezTo>
                    <a:cubicBezTo>
                      <a:pt x="326978" y="113031"/>
                      <a:pt x="326813" y="116251"/>
                      <a:pt x="325491" y="119055"/>
                    </a:cubicBezTo>
                    <a:cubicBezTo>
                      <a:pt x="323878" y="121757"/>
                      <a:pt x="320378" y="122640"/>
                      <a:pt x="317677" y="121022"/>
                    </a:cubicBezTo>
                    <a:cubicBezTo>
                      <a:pt x="317660" y="121010"/>
                      <a:pt x="317643" y="121005"/>
                      <a:pt x="317626" y="120993"/>
                    </a:cubicBezTo>
                    <a:cubicBezTo>
                      <a:pt x="317626" y="118314"/>
                      <a:pt x="314890" y="116434"/>
                      <a:pt x="312325" y="115636"/>
                    </a:cubicBezTo>
                    <a:cubicBezTo>
                      <a:pt x="309709" y="115117"/>
                      <a:pt x="307172" y="114234"/>
                      <a:pt x="304802" y="113014"/>
                    </a:cubicBezTo>
                    <a:cubicBezTo>
                      <a:pt x="303092" y="111874"/>
                      <a:pt x="301895" y="110050"/>
                      <a:pt x="300128" y="108967"/>
                    </a:cubicBezTo>
                    <a:cubicBezTo>
                      <a:pt x="295705" y="106984"/>
                      <a:pt x="290513" y="108967"/>
                      <a:pt x="288530" y="113390"/>
                    </a:cubicBezTo>
                    <a:cubicBezTo>
                      <a:pt x="288296" y="113914"/>
                      <a:pt x="288113" y="114456"/>
                      <a:pt x="287988" y="115009"/>
                    </a:cubicBezTo>
                    <a:cubicBezTo>
                      <a:pt x="287190" y="118599"/>
                      <a:pt x="287988" y="122532"/>
                      <a:pt x="286677" y="125838"/>
                    </a:cubicBezTo>
                    <a:cubicBezTo>
                      <a:pt x="284420" y="129560"/>
                      <a:pt x="280311" y="131748"/>
                      <a:pt x="275962" y="131537"/>
                    </a:cubicBezTo>
                    <a:cubicBezTo>
                      <a:pt x="271733" y="131224"/>
                      <a:pt x="267481" y="131224"/>
                      <a:pt x="263252" y="131537"/>
                    </a:cubicBezTo>
                    <a:cubicBezTo>
                      <a:pt x="258892" y="132016"/>
                      <a:pt x="255416" y="135401"/>
                      <a:pt x="254817" y="139744"/>
                    </a:cubicBezTo>
                    <a:cubicBezTo>
                      <a:pt x="255017" y="141050"/>
                      <a:pt x="255017" y="142372"/>
                      <a:pt x="254817" y="143677"/>
                    </a:cubicBezTo>
                    <a:cubicBezTo>
                      <a:pt x="254190" y="145558"/>
                      <a:pt x="252138" y="146413"/>
                      <a:pt x="250713" y="147781"/>
                    </a:cubicBezTo>
                    <a:cubicBezTo>
                      <a:pt x="247522" y="150915"/>
                      <a:pt x="248263" y="156159"/>
                      <a:pt x="247351" y="160548"/>
                    </a:cubicBezTo>
                    <a:cubicBezTo>
                      <a:pt x="246040" y="166931"/>
                      <a:pt x="241081" y="171946"/>
                      <a:pt x="238175" y="177646"/>
                    </a:cubicBezTo>
                    <a:cubicBezTo>
                      <a:pt x="235268" y="183345"/>
                      <a:pt x="233843" y="192579"/>
                      <a:pt x="227631" y="196454"/>
                    </a:cubicBezTo>
                    <a:cubicBezTo>
                      <a:pt x="225636" y="197708"/>
                      <a:pt x="223185" y="198506"/>
                      <a:pt x="221931" y="200558"/>
                    </a:cubicBezTo>
                    <a:cubicBezTo>
                      <a:pt x="220677" y="202610"/>
                      <a:pt x="221247" y="204091"/>
                      <a:pt x="220393" y="205630"/>
                    </a:cubicBezTo>
                    <a:cubicBezTo>
                      <a:pt x="217657" y="210760"/>
                      <a:pt x="204605" y="208537"/>
                      <a:pt x="204263" y="214294"/>
                    </a:cubicBezTo>
                    <a:cubicBezTo>
                      <a:pt x="203636" y="223527"/>
                      <a:pt x="203009" y="232817"/>
                      <a:pt x="202439" y="242050"/>
                    </a:cubicBezTo>
                    <a:cubicBezTo>
                      <a:pt x="202393" y="244740"/>
                      <a:pt x="201875" y="247408"/>
                      <a:pt x="200900" y="249915"/>
                    </a:cubicBezTo>
                    <a:cubicBezTo>
                      <a:pt x="198894" y="253056"/>
                      <a:pt x="196438" y="255877"/>
                      <a:pt x="193605" y="258293"/>
                    </a:cubicBezTo>
                    <a:cubicBezTo>
                      <a:pt x="190749" y="260801"/>
                      <a:pt x="189672" y="264774"/>
                      <a:pt x="190869" y="268382"/>
                    </a:cubicBezTo>
                    <a:cubicBezTo>
                      <a:pt x="192180" y="271060"/>
                      <a:pt x="195258" y="272257"/>
                      <a:pt x="197481" y="274081"/>
                    </a:cubicBezTo>
                    <a:cubicBezTo>
                      <a:pt x="201162" y="277489"/>
                      <a:pt x="202177" y="282904"/>
                      <a:pt x="199988" y="287418"/>
                    </a:cubicBezTo>
                    <a:cubicBezTo>
                      <a:pt x="197937" y="286586"/>
                      <a:pt x="195577" y="287264"/>
                      <a:pt x="194289" y="289071"/>
                    </a:cubicBezTo>
                    <a:cubicBezTo>
                      <a:pt x="192807" y="290552"/>
                      <a:pt x="191724" y="292490"/>
                      <a:pt x="189843" y="293459"/>
                    </a:cubicBezTo>
                    <a:cubicBezTo>
                      <a:pt x="186424" y="295283"/>
                      <a:pt x="182377" y="293060"/>
                      <a:pt x="178444" y="292775"/>
                    </a:cubicBezTo>
                    <a:cubicBezTo>
                      <a:pt x="173959" y="292764"/>
                      <a:pt x="169730" y="294878"/>
                      <a:pt x="167045" y="298475"/>
                    </a:cubicBezTo>
                    <a:cubicBezTo>
                      <a:pt x="164321" y="301974"/>
                      <a:pt x="162378" y="306015"/>
                      <a:pt x="161346" y="310330"/>
                    </a:cubicBezTo>
                    <a:cubicBezTo>
                      <a:pt x="156558" y="327884"/>
                      <a:pt x="157869" y="346464"/>
                      <a:pt x="159237" y="364646"/>
                    </a:cubicBezTo>
                    <a:cubicBezTo>
                      <a:pt x="159243" y="368162"/>
                      <a:pt x="160104" y="371622"/>
                      <a:pt x="161745" y="374734"/>
                    </a:cubicBezTo>
                    <a:cubicBezTo>
                      <a:pt x="164993" y="379578"/>
                      <a:pt x="172346" y="382257"/>
                      <a:pt x="172175" y="388070"/>
                    </a:cubicBezTo>
                    <a:cubicBezTo>
                      <a:pt x="172175" y="392402"/>
                      <a:pt x="167615" y="395081"/>
                      <a:pt x="164195" y="397760"/>
                    </a:cubicBezTo>
                    <a:cubicBezTo>
                      <a:pt x="160776" y="400438"/>
                      <a:pt x="158040" y="405853"/>
                      <a:pt x="161232" y="408703"/>
                    </a:cubicBezTo>
                    <a:cubicBezTo>
                      <a:pt x="162463" y="409512"/>
                      <a:pt x="163740" y="410253"/>
                      <a:pt x="165051" y="410925"/>
                    </a:cubicBezTo>
                    <a:cubicBezTo>
                      <a:pt x="167182" y="413091"/>
                      <a:pt x="168316" y="416044"/>
                      <a:pt x="168185" y="419076"/>
                    </a:cubicBezTo>
                    <a:cubicBezTo>
                      <a:pt x="168641" y="424775"/>
                      <a:pt x="168641" y="431785"/>
                      <a:pt x="163911" y="435091"/>
                    </a:cubicBezTo>
                    <a:cubicBezTo>
                      <a:pt x="161061" y="437086"/>
                      <a:pt x="157128" y="437200"/>
                      <a:pt x="154620" y="439651"/>
                    </a:cubicBezTo>
                    <a:cubicBezTo>
                      <a:pt x="152386" y="442808"/>
                      <a:pt x="151486" y="446718"/>
                      <a:pt x="152113" y="450537"/>
                    </a:cubicBezTo>
                    <a:cubicBezTo>
                      <a:pt x="152107" y="456310"/>
                      <a:pt x="151361" y="462055"/>
                      <a:pt x="149890" y="467635"/>
                    </a:cubicBezTo>
                    <a:cubicBezTo>
                      <a:pt x="149673" y="468564"/>
                      <a:pt x="149308" y="469448"/>
                      <a:pt x="148807" y="470257"/>
                    </a:cubicBezTo>
                    <a:lnTo>
                      <a:pt x="148351" y="469744"/>
                    </a:lnTo>
                    <a:cubicBezTo>
                      <a:pt x="145615" y="467407"/>
                      <a:pt x="141227" y="469744"/>
                      <a:pt x="137864" y="468433"/>
                    </a:cubicBezTo>
                    <a:cubicBezTo>
                      <a:pt x="134501" y="467122"/>
                      <a:pt x="133419" y="462050"/>
                      <a:pt x="133077" y="458060"/>
                    </a:cubicBezTo>
                    <a:cubicBezTo>
                      <a:pt x="132735" y="454070"/>
                      <a:pt x="130968" y="449055"/>
                      <a:pt x="126921" y="448827"/>
                    </a:cubicBezTo>
                    <a:cubicBezTo>
                      <a:pt x="122874" y="448599"/>
                      <a:pt x="120595" y="453443"/>
                      <a:pt x="120139" y="457490"/>
                    </a:cubicBezTo>
                    <a:cubicBezTo>
                      <a:pt x="119683" y="461537"/>
                      <a:pt x="119626" y="466210"/>
                      <a:pt x="116377" y="468604"/>
                    </a:cubicBezTo>
                    <a:cubicBezTo>
                      <a:pt x="107976" y="465549"/>
                      <a:pt x="98692" y="469886"/>
                      <a:pt x="95637" y="478287"/>
                    </a:cubicBezTo>
                    <a:cubicBezTo>
                      <a:pt x="95431" y="478852"/>
                      <a:pt x="95261" y="479422"/>
                      <a:pt x="95118" y="480003"/>
                    </a:cubicBezTo>
                    <a:cubicBezTo>
                      <a:pt x="93756" y="480054"/>
                      <a:pt x="92416" y="480385"/>
                      <a:pt x="91185" y="480972"/>
                    </a:cubicBezTo>
                    <a:cubicBezTo>
                      <a:pt x="89019" y="482454"/>
                      <a:pt x="89361" y="485645"/>
                      <a:pt x="88450" y="488096"/>
                    </a:cubicBezTo>
                    <a:cubicBezTo>
                      <a:pt x="85372" y="496360"/>
                      <a:pt x="69869" y="493796"/>
                      <a:pt x="67589" y="502345"/>
                    </a:cubicBezTo>
                    <a:cubicBezTo>
                      <a:pt x="67464" y="503667"/>
                      <a:pt x="67117" y="504955"/>
                      <a:pt x="66563" y="506164"/>
                    </a:cubicBezTo>
                    <a:cubicBezTo>
                      <a:pt x="65737" y="507184"/>
                      <a:pt x="64557" y="507851"/>
                      <a:pt x="63258" y="508044"/>
                    </a:cubicBezTo>
                    <a:cubicBezTo>
                      <a:pt x="57228" y="509196"/>
                      <a:pt x="51169" y="506192"/>
                      <a:pt x="48439" y="500692"/>
                    </a:cubicBezTo>
                    <a:cubicBezTo>
                      <a:pt x="47938" y="498959"/>
                      <a:pt x="47020" y="497369"/>
                      <a:pt x="45761" y="496075"/>
                    </a:cubicBezTo>
                    <a:cubicBezTo>
                      <a:pt x="43424" y="494138"/>
                      <a:pt x="40061" y="495392"/>
                      <a:pt x="36926" y="494480"/>
                    </a:cubicBezTo>
                    <a:cubicBezTo>
                      <a:pt x="32709" y="493169"/>
                      <a:pt x="31227" y="488039"/>
                      <a:pt x="27693" y="485361"/>
                    </a:cubicBezTo>
                    <a:cubicBezTo>
                      <a:pt x="25026" y="483947"/>
                      <a:pt x="22284" y="482676"/>
                      <a:pt x="19486" y="481542"/>
                    </a:cubicBezTo>
                    <a:cubicBezTo>
                      <a:pt x="16864" y="480003"/>
                      <a:pt x="14983" y="476241"/>
                      <a:pt x="16978" y="473962"/>
                    </a:cubicBezTo>
                    <a:cubicBezTo>
                      <a:pt x="20757" y="474657"/>
                      <a:pt x="24661" y="473859"/>
                      <a:pt x="27864" y="471739"/>
                    </a:cubicBezTo>
                    <a:cubicBezTo>
                      <a:pt x="30600" y="469721"/>
                      <a:pt x="31187" y="465868"/>
                      <a:pt x="29169" y="463133"/>
                    </a:cubicBezTo>
                    <a:cubicBezTo>
                      <a:pt x="28873" y="462734"/>
                      <a:pt x="28531" y="462369"/>
                      <a:pt x="28149" y="462050"/>
                    </a:cubicBezTo>
                    <a:cubicBezTo>
                      <a:pt x="31483" y="461913"/>
                      <a:pt x="34077" y="459103"/>
                      <a:pt x="33940" y="455769"/>
                    </a:cubicBezTo>
                    <a:cubicBezTo>
                      <a:pt x="33929" y="455484"/>
                      <a:pt x="33900" y="455205"/>
                      <a:pt x="33849" y="454925"/>
                    </a:cubicBezTo>
                    <a:lnTo>
                      <a:pt x="11051" y="461594"/>
                    </a:lnTo>
                    <a:cubicBezTo>
                      <a:pt x="8982" y="462597"/>
                      <a:pt x="6565" y="462597"/>
                      <a:pt x="4496" y="461594"/>
                    </a:cubicBezTo>
                    <a:cubicBezTo>
                      <a:pt x="-1203" y="457547"/>
                      <a:pt x="10196" y="446832"/>
                      <a:pt x="4496" y="442500"/>
                    </a:cubicBezTo>
                    <a:cubicBezTo>
                      <a:pt x="9649" y="443253"/>
                      <a:pt x="14892" y="443116"/>
                      <a:pt x="19999" y="442101"/>
                    </a:cubicBezTo>
                    <a:lnTo>
                      <a:pt x="25014" y="441418"/>
                    </a:lnTo>
                    <a:cubicBezTo>
                      <a:pt x="27733" y="441332"/>
                      <a:pt x="30355" y="440414"/>
                      <a:pt x="32538" y="438796"/>
                    </a:cubicBezTo>
                    <a:cubicBezTo>
                      <a:pt x="34487" y="437057"/>
                      <a:pt x="34664" y="434071"/>
                      <a:pt x="32925" y="432116"/>
                    </a:cubicBezTo>
                    <a:cubicBezTo>
                      <a:pt x="32806" y="431979"/>
                      <a:pt x="32674" y="431848"/>
                      <a:pt x="32538" y="431728"/>
                    </a:cubicBezTo>
                    <a:cubicBezTo>
                      <a:pt x="35610" y="432407"/>
                      <a:pt x="38653" y="430457"/>
                      <a:pt x="39326" y="427385"/>
                    </a:cubicBezTo>
                    <a:cubicBezTo>
                      <a:pt x="40004" y="424313"/>
                      <a:pt x="38061" y="421270"/>
                      <a:pt x="34983" y="420597"/>
                    </a:cubicBezTo>
                    <a:cubicBezTo>
                      <a:pt x="33587" y="420290"/>
                      <a:pt x="32122" y="420518"/>
                      <a:pt x="30885" y="421241"/>
                    </a:cubicBezTo>
                    <a:cubicBezTo>
                      <a:pt x="29745" y="422182"/>
                      <a:pt x="28691" y="423236"/>
                      <a:pt x="27750" y="424376"/>
                    </a:cubicBezTo>
                    <a:cubicBezTo>
                      <a:pt x="21749" y="429318"/>
                      <a:pt x="13621" y="430805"/>
                      <a:pt x="6263" y="428309"/>
                    </a:cubicBezTo>
                    <a:cubicBezTo>
                      <a:pt x="3584" y="427682"/>
                      <a:pt x="564" y="426371"/>
                      <a:pt x="51" y="423635"/>
                    </a:cubicBezTo>
                    <a:cubicBezTo>
                      <a:pt x="-633" y="419019"/>
                      <a:pt x="5750" y="417936"/>
                      <a:pt x="10253" y="415827"/>
                    </a:cubicBezTo>
                    <a:cubicBezTo>
                      <a:pt x="15987" y="412316"/>
                      <a:pt x="19418" y="406018"/>
                      <a:pt x="19258" y="399298"/>
                    </a:cubicBezTo>
                    <a:cubicBezTo>
                      <a:pt x="19059" y="392698"/>
                      <a:pt x="19286" y="386093"/>
                      <a:pt x="19942" y="379521"/>
                    </a:cubicBezTo>
                    <a:cubicBezTo>
                      <a:pt x="20763" y="372779"/>
                      <a:pt x="25989" y="367416"/>
                      <a:pt x="32709" y="366412"/>
                    </a:cubicBezTo>
                    <a:cubicBezTo>
                      <a:pt x="35615" y="366412"/>
                      <a:pt x="38408" y="364988"/>
                      <a:pt x="41315" y="364817"/>
                    </a:cubicBezTo>
                    <a:cubicBezTo>
                      <a:pt x="42341" y="363107"/>
                      <a:pt x="41315" y="360770"/>
                      <a:pt x="42170" y="359117"/>
                    </a:cubicBezTo>
                    <a:cubicBezTo>
                      <a:pt x="43025" y="357464"/>
                      <a:pt x="46103" y="356096"/>
                      <a:pt x="48382" y="354900"/>
                    </a:cubicBezTo>
                    <a:cubicBezTo>
                      <a:pt x="50662" y="353703"/>
                      <a:pt x="52372" y="350226"/>
                      <a:pt x="50206" y="348915"/>
                    </a:cubicBezTo>
                    <a:cubicBezTo>
                      <a:pt x="52999" y="348243"/>
                      <a:pt x="55683" y="347188"/>
                      <a:pt x="58185" y="345780"/>
                    </a:cubicBezTo>
                    <a:cubicBezTo>
                      <a:pt x="59667" y="343045"/>
                      <a:pt x="56875" y="340081"/>
                      <a:pt x="54538" y="338086"/>
                    </a:cubicBezTo>
                    <a:cubicBezTo>
                      <a:pt x="52201" y="336091"/>
                      <a:pt x="50035" y="332387"/>
                      <a:pt x="52372" y="330221"/>
                    </a:cubicBezTo>
                    <a:cubicBezTo>
                      <a:pt x="53341" y="329543"/>
                      <a:pt x="54498" y="329184"/>
                      <a:pt x="55678" y="329195"/>
                    </a:cubicBezTo>
                    <a:cubicBezTo>
                      <a:pt x="65680" y="328294"/>
                      <a:pt x="75740" y="328101"/>
                      <a:pt x="85771" y="328625"/>
                    </a:cubicBezTo>
                    <a:cubicBezTo>
                      <a:pt x="85355" y="324157"/>
                      <a:pt x="88467" y="320121"/>
                      <a:pt x="92895" y="319392"/>
                    </a:cubicBezTo>
                    <a:cubicBezTo>
                      <a:pt x="94503" y="319369"/>
                      <a:pt x="96104" y="319198"/>
                      <a:pt x="97683" y="318879"/>
                    </a:cubicBezTo>
                    <a:cubicBezTo>
                      <a:pt x="101615" y="317682"/>
                      <a:pt x="102584" y="312381"/>
                      <a:pt x="105833" y="309817"/>
                    </a:cubicBezTo>
                    <a:cubicBezTo>
                      <a:pt x="109082" y="307252"/>
                      <a:pt x="115294" y="307537"/>
                      <a:pt x="117232" y="303490"/>
                    </a:cubicBezTo>
                    <a:cubicBezTo>
                      <a:pt x="118144" y="301381"/>
                      <a:pt x="117232" y="298760"/>
                      <a:pt x="118771" y="296822"/>
                    </a:cubicBezTo>
                    <a:cubicBezTo>
                      <a:pt x="121107" y="293459"/>
                      <a:pt x="127434" y="295568"/>
                      <a:pt x="129828" y="292205"/>
                    </a:cubicBezTo>
                    <a:cubicBezTo>
                      <a:pt x="131139" y="290382"/>
                      <a:pt x="130569" y="287931"/>
                      <a:pt x="130797" y="285708"/>
                    </a:cubicBezTo>
                    <a:cubicBezTo>
                      <a:pt x="131024" y="283485"/>
                      <a:pt x="133476" y="281034"/>
                      <a:pt x="135242" y="282402"/>
                    </a:cubicBezTo>
                    <a:cubicBezTo>
                      <a:pt x="134587" y="280031"/>
                      <a:pt x="134587" y="277535"/>
                      <a:pt x="135242" y="275164"/>
                    </a:cubicBezTo>
                    <a:cubicBezTo>
                      <a:pt x="135983" y="272753"/>
                      <a:pt x="138519" y="271385"/>
                      <a:pt x="140942" y="272086"/>
                    </a:cubicBezTo>
                    <a:cubicBezTo>
                      <a:pt x="140822" y="274041"/>
                      <a:pt x="141175" y="275996"/>
                      <a:pt x="141968" y="277786"/>
                    </a:cubicBezTo>
                    <a:cubicBezTo>
                      <a:pt x="142879" y="279604"/>
                      <a:pt x="144994" y="280482"/>
                      <a:pt x="146926" y="279837"/>
                    </a:cubicBezTo>
                    <a:cubicBezTo>
                      <a:pt x="149263" y="278698"/>
                      <a:pt x="149092" y="275392"/>
                      <a:pt x="148636" y="272827"/>
                    </a:cubicBezTo>
                    <a:cubicBezTo>
                      <a:pt x="148425" y="270986"/>
                      <a:pt x="147696" y="269248"/>
                      <a:pt x="146527" y="267812"/>
                    </a:cubicBezTo>
                    <a:cubicBezTo>
                      <a:pt x="143450" y="264563"/>
                      <a:pt x="136325" y="265817"/>
                      <a:pt x="135128" y="261428"/>
                    </a:cubicBezTo>
                    <a:cubicBezTo>
                      <a:pt x="134387" y="258009"/>
                      <a:pt x="138605" y="255729"/>
                      <a:pt x="142025" y="254874"/>
                    </a:cubicBezTo>
                    <a:lnTo>
                      <a:pt x="153424" y="251739"/>
                    </a:lnTo>
                    <a:cubicBezTo>
                      <a:pt x="154877" y="251391"/>
                      <a:pt x="156291" y="250896"/>
                      <a:pt x="157641" y="250257"/>
                    </a:cubicBezTo>
                    <a:cubicBezTo>
                      <a:pt x="161580" y="247294"/>
                      <a:pt x="163728" y="242517"/>
                      <a:pt x="163341" y="237604"/>
                    </a:cubicBezTo>
                    <a:cubicBezTo>
                      <a:pt x="163341" y="232703"/>
                      <a:pt x="162258" y="227858"/>
                      <a:pt x="162600" y="222957"/>
                    </a:cubicBezTo>
                    <a:cubicBezTo>
                      <a:pt x="162554" y="217975"/>
                      <a:pt x="165398" y="213421"/>
                      <a:pt x="169895" y="211273"/>
                    </a:cubicBezTo>
                    <a:cubicBezTo>
                      <a:pt x="172163" y="210874"/>
                      <a:pt x="174392" y="210281"/>
                      <a:pt x="176564" y="209506"/>
                    </a:cubicBezTo>
                    <a:cubicBezTo>
                      <a:pt x="178923" y="207893"/>
                      <a:pt x="180593" y="205454"/>
                      <a:pt x="181237" y="202667"/>
                    </a:cubicBezTo>
                    <a:lnTo>
                      <a:pt x="186196" y="189843"/>
                    </a:lnTo>
                    <a:lnTo>
                      <a:pt x="188703" y="188019"/>
                    </a:lnTo>
                    <a:cubicBezTo>
                      <a:pt x="188322" y="186526"/>
                      <a:pt x="189222" y="185004"/>
                      <a:pt x="190715" y="184622"/>
                    </a:cubicBezTo>
                    <a:cubicBezTo>
                      <a:pt x="190880" y="184582"/>
                      <a:pt x="191046" y="184554"/>
                      <a:pt x="191211" y="184542"/>
                    </a:cubicBezTo>
                    <a:cubicBezTo>
                      <a:pt x="193035" y="184143"/>
                      <a:pt x="195144" y="184029"/>
                      <a:pt x="196170" y="182491"/>
                    </a:cubicBezTo>
                    <a:cubicBezTo>
                      <a:pt x="197196" y="180952"/>
                      <a:pt x="196170" y="177817"/>
                      <a:pt x="196910" y="175651"/>
                    </a:cubicBezTo>
                    <a:cubicBezTo>
                      <a:pt x="197651" y="173485"/>
                      <a:pt x="200387" y="172858"/>
                      <a:pt x="202610" y="171775"/>
                    </a:cubicBezTo>
                    <a:cubicBezTo>
                      <a:pt x="206651" y="169513"/>
                      <a:pt x="208799" y="164930"/>
                      <a:pt x="207967" y="160377"/>
                    </a:cubicBezTo>
                    <a:cubicBezTo>
                      <a:pt x="207967" y="159123"/>
                      <a:pt x="207283" y="157641"/>
                      <a:pt x="207967" y="156615"/>
                    </a:cubicBezTo>
                    <a:cubicBezTo>
                      <a:pt x="208651" y="156039"/>
                      <a:pt x="209478" y="155663"/>
                      <a:pt x="210361" y="155532"/>
                    </a:cubicBezTo>
                    <a:cubicBezTo>
                      <a:pt x="212801" y="154466"/>
                      <a:pt x="214659" y="152380"/>
                      <a:pt x="215434" y="149832"/>
                    </a:cubicBezTo>
                    <a:cubicBezTo>
                      <a:pt x="216272" y="147342"/>
                      <a:pt x="216922" y="144788"/>
                      <a:pt x="217372" y="142195"/>
                    </a:cubicBezTo>
                    <a:cubicBezTo>
                      <a:pt x="217548" y="140748"/>
                      <a:pt x="218101" y="139374"/>
                      <a:pt x="218968" y="138206"/>
                    </a:cubicBezTo>
                    <a:cubicBezTo>
                      <a:pt x="220735" y="136154"/>
                      <a:pt x="223983" y="135926"/>
                      <a:pt x="225921" y="134045"/>
                    </a:cubicBezTo>
                    <a:cubicBezTo>
                      <a:pt x="226628" y="133167"/>
                      <a:pt x="227255" y="132233"/>
                      <a:pt x="227802" y="131252"/>
                    </a:cubicBezTo>
                    <a:cubicBezTo>
                      <a:pt x="231011" y="127006"/>
                      <a:pt x="235302" y="123700"/>
                      <a:pt x="240227" y="121677"/>
                    </a:cubicBezTo>
                    <a:cubicBezTo>
                      <a:pt x="240768" y="121318"/>
                      <a:pt x="241406" y="121141"/>
                      <a:pt x="242050" y="121164"/>
                    </a:cubicBezTo>
                    <a:cubicBezTo>
                      <a:pt x="243076" y="121164"/>
                      <a:pt x="243646" y="122475"/>
                      <a:pt x="244102" y="123444"/>
                    </a:cubicBezTo>
                    <a:cubicBezTo>
                      <a:pt x="245812" y="127263"/>
                      <a:pt x="249232" y="131138"/>
                      <a:pt x="253392" y="130511"/>
                    </a:cubicBezTo>
                    <a:cubicBezTo>
                      <a:pt x="254213" y="130426"/>
                      <a:pt x="254954" y="129958"/>
                      <a:pt x="255387" y="129257"/>
                    </a:cubicBezTo>
                    <a:cubicBezTo>
                      <a:pt x="255587" y="128648"/>
                      <a:pt x="255587" y="127986"/>
                      <a:pt x="255387" y="127377"/>
                    </a:cubicBezTo>
                    <a:cubicBezTo>
                      <a:pt x="254874" y="123672"/>
                      <a:pt x="254361" y="119910"/>
                      <a:pt x="253791" y="115978"/>
                    </a:cubicBezTo>
                    <a:cubicBezTo>
                      <a:pt x="253723" y="115191"/>
                      <a:pt x="253529" y="114422"/>
                      <a:pt x="253221" y="113698"/>
                    </a:cubicBezTo>
                    <a:cubicBezTo>
                      <a:pt x="252686" y="112757"/>
                      <a:pt x="251899" y="111982"/>
                      <a:pt x="250942" y="111475"/>
                    </a:cubicBezTo>
                    <a:cubicBezTo>
                      <a:pt x="245008" y="108152"/>
                      <a:pt x="237554" y="109543"/>
                      <a:pt x="233216" y="114781"/>
                    </a:cubicBezTo>
                    <a:cubicBezTo>
                      <a:pt x="232333" y="116177"/>
                      <a:pt x="231216" y="117408"/>
                      <a:pt x="229911" y="118428"/>
                    </a:cubicBezTo>
                    <a:cubicBezTo>
                      <a:pt x="228594" y="119124"/>
                      <a:pt x="227123" y="119454"/>
                      <a:pt x="225636" y="119397"/>
                    </a:cubicBezTo>
                    <a:lnTo>
                      <a:pt x="215947" y="120081"/>
                    </a:lnTo>
                    <a:cubicBezTo>
                      <a:pt x="211706" y="120970"/>
                      <a:pt x="207283" y="119950"/>
                      <a:pt x="203864" y="117289"/>
                    </a:cubicBezTo>
                    <a:cubicBezTo>
                      <a:pt x="202604" y="116086"/>
                      <a:pt x="202143" y="114273"/>
                      <a:pt x="202667" y="112615"/>
                    </a:cubicBezTo>
                    <a:cubicBezTo>
                      <a:pt x="204377" y="108454"/>
                      <a:pt x="212413" y="110734"/>
                      <a:pt x="214066" y="106517"/>
                    </a:cubicBezTo>
                    <a:cubicBezTo>
                      <a:pt x="214693" y="104864"/>
                      <a:pt x="214066" y="102926"/>
                      <a:pt x="214351" y="101216"/>
                    </a:cubicBezTo>
                    <a:cubicBezTo>
                      <a:pt x="215719" y="97340"/>
                      <a:pt x="222387" y="98822"/>
                      <a:pt x="224667" y="95517"/>
                    </a:cubicBezTo>
                    <a:cubicBezTo>
                      <a:pt x="225100" y="94684"/>
                      <a:pt x="225448" y="93801"/>
                      <a:pt x="225693" y="92895"/>
                    </a:cubicBezTo>
                    <a:cubicBezTo>
                      <a:pt x="227346" y="88734"/>
                      <a:pt x="232190" y="85884"/>
                      <a:pt x="232133" y="81496"/>
                    </a:cubicBezTo>
                    <a:cubicBezTo>
                      <a:pt x="234253" y="80077"/>
                      <a:pt x="237120" y="80641"/>
                      <a:pt x="238539" y="82761"/>
                    </a:cubicBezTo>
                    <a:cubicBezTo>
                      <a:pt x="238739" y="83057"/>
                      <a:pt x="238904" y="83382"/>
                      <a:pt x="239030" y="83719"/>
                    </a:cubicBezTo>
                    <a:cubicBezTo>
                      <a:pt x="239400" y="85235"/>
                      <a:pt x="239400" y="86819"/>
                      <a:pt x="239030" y="88335"/>
                    </a:cubicBezTo>
                    <a:cubicBezTo>
                      <a:pt x="238591" y="89846"/>
                      <a:pt x="238716" y="91464"/>
                      <a:pt x="239372" y="92895"/>
                    </a:cubicBezTo>
                    <a:cubicBezTo>
                      <a:pt x="240044" y="94177"/>
                      <a:pt x="241629" y="94673"/>
                      <a:pt x="242911" y="94000"/>
                    </a:cubicBezTo>
                    <a:cubicBezTo>
                      <a:pt x="243048" y="93932"/>
                      <a:pt x="243179" y="93847"/>
                      <a:pt x="243304" y="93750"/>
                    </a:cubicBezTo>
                    <a:cubicBezTo>
                      <a:pt x="246382" y="90330"/>
                      <a:pt x="254361" y="95745"/>
                      <a:pt x="254703" y="100304"/>
                    </a:cubicBezTo>
                    <a:cubicBezTo>
                      <a:pt x="254709" y="101455"/>
                      <a:pt x="254920" y="102595"/>
                      <a:pt x="255330" y="103667"/>
                    </a:cubicBezTo>
                    <a:cubicBezTo>
                      <a:pt x="255843" y="104693"/>
                      <a:pt x="257325" y="105377"/>
                      <a:pt x="258123" y="104522"/>
                    </a:cubicBezTo>
                    <a:cubicBezTo>
                      <a:pt x="257365" y="100213"/>
                      <a:pt x="260243" y="96104"/>
                      <a:pt x="264552" y="95346"/>
                    </a:cubicBezTo>
                    <a:cubicBezTo>
                      <a:pt x="265099" y="95249"/>
                      <a:pt x="265658" y="95209"/>
                      <a:pt x="266216" y="95232"/>
                    </a:cubicBezTo>
                    <a:cubicBezTo>
                      <a:pt x="266284" y="99204"/>
                      <a:pt x="269328" y="102493"/>
                      <a:pt x="273283" y="102869"/>
                    </a:cubicBezTo>
                    <a:cubicBezTo>
                      <a:pt x="277672" y="102014"/>
                      <a:pt x="276988" y="94776"/>
                      <a:pt x="273283" y="92553"/>
                    </a:cubicBezTo>
                    <a:cubicBezTo>
                      <a:pt x="269100" y="90980"/>
                      <a:pt x="264632" y="90319"/>
                      <a:pt x="260175" y="90615"/>
                    </a:cubicBezTo>
                    <a:cubicBezTo>
                      <a:pt x="255729" y="90216"/>
                      <a:pt x="250600" y="87366"/>
                      <a:pt x="250942" y="82921"/>
                    </a:cubicBezTo>
                    <a:lnTo>
                      <a:pt x="260745" y="78817"/>
                    </a:lnTo>
                    <a:cubicBezTo>
                      <a:pt x="257610" y="75796"/>
                      <a:pt x="261144" y="70724"/>
                      <a:pt x="264506" y="67988"/>
                    </a:cubicBezTo>
                    <a:lnTo>
                      <a:pt x="270719" y="62916"/>
                    </a:lnTo>
                    <a:cubicBezTo>
                      <a:pt x="275164" y="63827"/>
                      <a:pt x="272086" y="72035"/>
                      <a:pt x="275848" y="74599"/>
                    </a:cubicBezTo>
                    <a:cubicBezTo>
                      <a:pt x="276680" y="75055"/>
                      <a:pt x="277587" y="75346"/>
                      <a:pt x="278527" y="75454"/>
                    </a:cubicBezTo>
                    <a:cubicBezTo>
                      <a:pt x="283258" y="76195"/>
                      <a:pt x="289584" y="75910"/>
                      <a:pt x="290838" y="71351"/>
                    </a:cubicBezTo>
                    <a:cubicBezTo>
                      <a:pt x="291180" y="70040"/>
                      <a:pt x="290838" y="68615"/>
                      <a:pt x="291294" y="67304"/>
                    </a:cubicBezTo>
                    <a:cubicBezTo>
                      <a:pt x="292434" y="62745"/>
                      <a:pt x="298475" y="61947"/>
                      <a:pt x="303206" y="62118"/>
                    </a:cubicBezTo>
                    <a:cubicBezTo>
                      <a:pt x="300977" y="58749"/>
                      <a:pt x="299917" y="54748"/>
                      <a:pt x="300185" y="50719"/>
                    </a:cubicBezTo>
                    <a:cubicBezTo>
                      <a:pt x="301382" y="44107"/>
                      <a:pt x="308791" y="40973"/>
                      <a:pt x="315174" y="38921"/>
                    </a:cubicBezTo>
                    <a:cubicBezTo>
                      <a:pt x="315516" y="44620"/>
                      <a:pt x="315915" y="49864"/>
                      <a:pt x="316257" y="55335"/>
                    </a:cubicBezTo>
                    <a:cubicBezTo>
                      <a:pt x="316212" y="56259"/>
                      <a:pt x="316497" y="57165"/>
                      <a:pt x="317055" y="57900"/>
                    </a:cubicBezTo>
                    <a:cubicBezTo>
                      <a:pt x="317973" y="58573"/>
                      <a:pt x="319153" y="58778"/>
                      <a:pt x="320247" y="58470"/>
                    </a:cubicBezTo>
                    <a:lnTo>
                      <a:pt x="330734" y="57216"/>
                    </a:lnTo>
                    <a:cubicBezTo>
                      <a:pt x="331817" y="61149"/>
                      <a:pt x="332843" y="65024"/>
                      <a:pt x="333926" y="68615"/>
                    </a:cubicBezTo>
                    <a:cubicBezTo>
                      <a:pt x="336303" y="69704"/>
                      <a:pt x="339107" y="68661"/>
                      <a:pt x="340195" y="66290"/>
                    </a:cubicBezTo>
                    <a:cubicBezTo>
                      <a:pt x="340218" y="66244"/>
                      <a:pt x="340235" y="66204"/>
                      <a:pt x="340252" y="66164"/>
                    </a:cubicBezTo>
                    <a:cubicBezTo>
                      <a:pt x="341090" y="63748"/>
                      <a:pt x="341090" y="61115"/>
                      <a:pt x="340252" y="58698"/>
                    </a:cubicBezTo>
                    <a:cubicBezTo>
                      <a:pt x="339021" y="52964"/>
                      <a:pt x="336719" y="47510"/>
                      <a:pt x="333470" y="42625"/>
                    </a:cubicBezTo>
                    <a:cubicBezTo>
                      <a:pt x="335294" y="40232"/>
                      <a:pt x="339169" y="41144"/>
                      <a:pt x="341563" y="42625"/>
                    </a:cubicBezTo>
                    <a:cubicBezTo>
                      <a:pt x="343957" y="44107"/>
                      <a:pt x="346522" y="46501"/>
                      <a:pt x="349485" y="46273"/>
                    </a:cubicBezTo>
                    <a:cubicBezTo>
                      <a:pt x="350768" y="45948"/>
                      <a:pt x="352096" y="45811"/>
                      <a:pt x="353418" y="45874"/>
                    </a:cubicBezTo>
                    <a:cubicBezTo>
                      <a:pt x="355698" y="46444"/>
                      <a:pt x="356382" y="49237"/>
                      <a:pt x="357750" y="51118"/>
                    </a:cubicBezTo>
                    <a:cubicBezTo>
                      <a:pt x="359118" y="52998"/>
                      <a:pt x="363449" y="52827"/>
                      <a:pt x="362651" y="50605"/>
                    </a:cubicBezTo>
                    <a:cubicBezTo>
                      <a:pt x="358092" y="47145"/>
                      <a:pt x="356576" y="40967"/>
                      <a:pt x="359003" y="35786"/>
                    </a:cubicBezTo>
                    <a:cubicBezTo>
                      <a:pt x="359859" y="34076"/>
                      <a:pt x="361112" y="32594"/>
                      <a:pt x="361910" y="30828"/>
                    </a:cubicBezTo>
                    <a:cubicBezTo>
                      <a:pt x="362708" y="29061"/>
                      <a:pt x="363107" y="26439"/>
                      <a:pt x="364190" y="24444"/>
                    </a:cubicBezTo>
                    <a:cubicBezTo>
                      <a:pt x="366926" y="19144"/>
                      <a:pt x="373879" y="18004"/>
                      <a:pt x="379807" y="17548"/>
                    </a:cubicBezTo>
                    <a:cubicBezTo>
                      <a:pt x="381425" y="17200"/>
                      <a:pt x="383118" y="17417"/>
                      <a:pt x="384594" y="18175"/>
                    </a:cubicBezTo>
                    <a:cubicBezTo>
                      <a:pt x="387957" y="20397"/>
                      <a:pt x="385449" y="25983"/>
                      <a:pt x="381801" y="27579"/>
                    </a:cubicBezTo>
                    <a:cubicBezTo>
                      <a:pt x="378154" y="29175"/>
                      <a:pt x="373765" y="28719"/>
                      <a:pt x="370402" y="30429"/>
                    </a:cubicBezTo>
                    <a:cubicBezTo>
                      <a:pt x="366219" y="32577"/>
                      <a:pt x="363911" y="37188"/>
                      <a:pt x="364703" y="41827"/>
                    </a:cubicBezTo>
                    <a:cubicBezTo>
                      <a:pt x="372386" y="42095"/>
                      <a:pt x="380063" y="41252"/>
                      <a:pt x="387501" y="39320"/>
                    </a:cubicBezTo>
                    <a:cubicBezTo>
                      <a:pt x="386971" y="42181"/>
                      <a:pt x="387433" y="45139"/>
                      <a:pt x="388812" y="47698"/>
                    </a:cubicBezTo>
                    <a:cubicBezTo>
                      <a:pt x="390465" y="50092"/>
                      <a:pt x="394511" y="50719"/>
                      <a:pt x="396050" y="48154"/>
                    </a:cubicBezTo>
                    <a:cubicBezTo>
                      <a:pt x="396409" y="47350"/>
                      <a:pt x="396552" y="46467"/>
                      <a:pt x="396449" y="45589"/>
                    </a:cubicBezTo>
                    <a:cubicBezTo>
                      <a:pt x="396449" y="39434"/>
                      <a:pt x="390750" y="32423"/>
                      <a:pt x="395138" y="27864"/>
                    </a:cubicBezTo>
                    <a:cubicBezTo>
                      <a:pt x="397646" y="25242"/>
                      <a:pt x="402548" y="25185"/>
                      <a:pt x="404029" y="21822"/>
                    </a:cubicBezTo>
                    <a:cubicBezTo>
                      <a:pt x="404599" y="20511"/>
                      <a:pt x="404543" y="18916"/>
                      <a:pt x="405454" y="17776"/>
                    </a:cubicBezTo>
                    <a:cubicBezTo>
                      <a:pt x="407449" y="15325"/>
                      <a:pt x="411154" y="17776"/>
                      <a:pt x="413035" y="20625"/>
                    </a:cubicBezTo>
                    <a:cubicBezTo>
                      <a:pt x="414915" y="23475"/>
                      <a:pt x="416625" y="26895"/>
                      <a:pt x="419760" y="26325"/>
                    </a:cubicBezTo>
                    <a:cubicBezTo>
                      <a:pt x="419464" y="21948"/>
                      <a:pt x="420165" y="17565"/>
                      <a:pt x="421812" y="13501"/>
                    </a:cubicBezTo>
                    <a:cubicBezTo>
                      <a:pt x="429215" y="15160"/>
                      <a:pt x="436562" y="10509"/>
                      <a:pt x="438221" y="3105"/>
                    </a:cubicBezTo>
                    <a:cubicBezTo>
                      <a:pt x="438323" y="2661"/>
                      <a:pt x="438397" y="2210"/>
                      <a:pt x="438454" y="1760"/>
                    </a:cubicBezTo>
                    <a:cubicBezTo>
                      <a:pt x="442467" y="398"/>
                      <a:pt x="446701" y="-183"/>
                      <a:pt x="450936" y="50"/>
                    </a:cubicBezTo>
                    <a:cubicBezTo>
                      <a:pt x="451734" y="5294"/>
                      <a:pt x="451677" y="12133"/>
                      <a:pt x="446775" y="14071"/>
                    </a:cubicBezTo>
                    <a:cubicBezTo>
                      <a:pt x="445179" y="14755"/>
                      <a:pt x="443071" y="14869"/>
                      <a:pt x="442273" y="16408"/>
                    </a:cubicBezTo>
                    <a:cubicBezTo>
                      <a:pt x="441999" y="17394"/>
                      <a:pt x="441999" y="18443"/>
                      <a:pt x="442273" y="19429"/>
                    </a:cubicBezTo>
                    <a:cubicBezTo>
                      <a:pt x="442273" y="26097"/>
                      <a:pt x="435035" y="30030"/>
                      <a:pt x="428765" y="32309"/>
                    </a:cubicBezTo>
                    <a:lnTo>
                      <a:pt x="430304" y="43708"/>
                    </a:lnTo>
                    <a:cubicBezTo>
                      <a:pt x="432584" y="46558"/>
                      <a:pt x="437315" y="44107"/>
                      <a:pt x="439024" y="40916"/>
                    </a:cubicBezTo>
                    <a:cubicBezTo>
                      <a:pt x="440734" y="37724"/>
                      <a:pt x="441361" y="33677"/>
                      <a:pt x="444268" y="31454"/>
                    </a:cubicBezTo>
                    <a:cubicBezTo>
                      <a:pt x="445676" y="30679"/>
                      <a:pt x="447009" y="29785"/>
                      <a:pt x="448257" y="28776"/>
                    </a:cubicBezTo>
                    <a:cubicBezTo>
                      <a:pt x="449369" y="27049"/>
                      <a:pt x="450110" y="25105"/>
                      <a:pt x="450423" y="23076"/>
                    </a:cubicBezTo>
                    <a:cubicBezTo>
                      <a:pt x="452703" y="16841"/>
                      <a:pt x="459611" y="13632"/>
                      <a:pt x="465846" y="15912"/>
                    </a:cubicBezTo>
                    <a:cubicBezTo>
                      <a:pt x="466245" y="16060"/>
                      <a:pt x="466632" y="16225"/>
                      <a:pt x="467009" y="16408"/>
                    </a:cubicBezTo>
                    <a:lnTo>
                      <a:pt x="464045" y="30030"/>
                    </a:lnTo>
                    <a:cubicBezTo>
                      <a:pt x="471272" y="30189"/>
                      <a:pt x="478106" y="26752"/>
                      <a:pt x="482283" y="20853"/>
                    </a:cubicBezTo>
                    <a:cubicBezTo>
                      <a:pt x="483993" y="18745"/>
                      <a:pt x="485133" y="15154"/>
                      <a:pt x="482283" y="13843"/>
                    </a:cubicBezTo>
                    <a:cubicBezTo>
                      <a:pt x="486518" y="9124"/>
                      <a:pt x="493779" y="8725"/>
                      <a:pt x="498498" y="12960"/>
                    </a:cubicBezTo>
                    <a:cubicBezTo>
                      <a:pt x="503217" y="17194"/>
                      <a:pt x="503616" y="24456"/>
                      <a:pt x="499382" y="29175"/>
                    </a:cubicBezTo>
                    <a:cubicBezTo>
                      <a:pt x="501582" y="30149"/>
                      <a:pt x="503998" y="30543"/>
                      <a:pt x="506392" y="30315"/>
                    </a:cubicBezTo>
                    <a:cubicBezTo>
                      <a:pt x="509162" y="25704"/>
                      <a:pt x="508826" y="19867"/>
                      <a:pt x="505537" y="15610"/>
                    </a:cubicBezTo>
                    <a:cubicBezTo>
                      <a:pt x="509242" y="15997"/>
                      <a:pt x="512941" y="14823"/>
                      <a:pt x="515739" y="12361"/>
                    </a:cubicBezTo>
                    <a:cubicBezTo>
                      <a:pt x="516497" y="11455"/>
                      <a:pt x="517449" y="10731"/>
                      <a:pt x="518532" y="10252"/>
                    </a:cubicBezTo>
                    <a:cubicBezTo>
                      <a:pt x="520527" y="9682"/>
                      <a:pt x="522465" y="11164"/>
                      <a:pt x="524231" y="12133"/>
                    </a:cubicBezTo>
                    <a:cubicBezTo>
                      <a:pt x="529287" y="13570"/>
                      <a:pt x="534548" y="14151"/>
                      <a:pt x="539791" y="13843"/>
                    </a:cubicBezTo>
                    <a:cubicBezTo>
                      <a:pt x="544977" y="14470"/>
                      <a:pt x="550734" y="19201"/>
                      <a:pt x="548739" y="24045"/>
                    </a:cubicBezTo>
                    <a:cubicBezTo>
                      <a:pt x="555316" y="25020"/>
                      <a:pt x="560400" y="30315"/>
                      <a:pt x="561107" y="36926"/>
                    </a:cubicBezTo>
                    <a:cubicBezTo>
                      <a:pt x="557801" y="40346"/>
                      <a:pt x="551703" y="38123"/>
                      <a:pt x="547713" y="40688"/>
                    </a:cubicBezTo>
                    <a:cubicBezTo>
                      <a:pt x="545946" y="41770"/>
                      <a:pt x="544807" y="43708"/>
                      <a:pt x="543097" y="44905"/>
                    </a:cubicBezTo>
                    <a:cubicBezTo>
                      <a:pt x="535915" y="49921"/>
                      <a:pt x="526397" y="39206"/>
                      <a:pt x="517962" y="41770"/>
                    </a:cubicBezTo>
                    <a:cubicBezTo>
                      <a:pt x="517563" y="43993"/>
                      <a:pt x="519957" y="45760"/>
                      <a:pt x="522179" y="46330"/>
                    </a:cubicBezTo>
                    <a:cubicBezTo>
                      <a:pt x="524431" y="46541"/>
                      <a:pt x="526625" y="47202"/>
                      <a:pt x="528620" y="48268"/>
                    </a:cubicBezTo>
                    <a:cubicBezTo>
                      <a:pt x="532382" y="51118"/>
                      <a:pt x="530900" y="57615"/>
                      <a:pt x="534319" y="60864"/>
                    </a:cubicBezTo>
                    <a:cubicBezTo>
                      <a:pt x="536793" y="62591"/>
                      <a:pt x="539842" y="63263"/>
                      <a:pt x="542811" y="62745"/>
                    </a:cubicBezTo>
                    <a:lnTo>
                      <a:pt x="543210" y="62745"/>
                    </a:lnTo>
                    <a:cubicBezTo>
                      <a:pt x="538959" y="67475"/>
                      <a:pt x="535442" y="72816"/>
                      <a:pt x="532781" y="7858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4" name="Freihandform: Form 410">
                <a:extLst>
                  <a:ext uri="{FF2B5EF4-FFF2-40B4-BE49-F238E27FC236}">
                    <a16:creationId xmlns:a16="http://schemas.microsoft.com/office/drawing/2014/main" id="{8BA48A92-39F6-2002-282C-08BA4D9D316C}"/>
                  </a:ext>
                </a:extLst>
              </p:cNvPr>
              <p:cNvSpPr/>
              <p:nvPr/>
            </p:nvSpPr>
            <p:spPr>
              <a:xfrm>
                <a:off x="3953438" y="2710301"/>
                <a:ext cx="89088" cy="100463"/>
              </a:xfrm>
              <a:custGeom>
                <a:avLst/>
                <a:gdLst>
                  <a:gd name="connsiteX0" fmla="*/ 67943 w 89088"/>
                  <a:gd name="connsiteY0" fmla="*/ 79850 h 100463"/>
                  <a:gd name="connsiteX1" fmla="*/ 66632 w 89088"/>
                  <a:gd name="connsiteY1" fmla="*/ 67824 h 100463"/>
                  <a:gd name="connsiteX2" fmla="*/ 70507 w 89088"/>
                  <a:gd name="connsiteY2" fmla="*/ 60813 h 100463"/>
                  <a:gd name="connsiteX3" fmla="*/ 76549 w 89088"/>
                  <a:gd name="connsiteY3" fmla="*/ 60813 h 100463"/>
                  <a:gd name="connsiteX4" fmla="*/ 84984 w 89088"/>
                  <a:gd name="connsiteY4" fmla="*/ 59104 h 100463"/>
                  <a:gd name="connsiteX5" fmla="*/ 88347 w 89088"/>
                  <a:gd name="connsiteY5" fmla="*/ 72212 h 100463"/>
                  <a:gd name="connsiteX6" fmla="*/ 89087 w 89088"/>
                  <a:gd name="connsiteY6" fmla="*/ 76202 h 100463"/>
                  <a:gd name="connsiteX7" fmla="*/ 87948 w 89088"/>
                  <a:gd name="connsiteY7" fmla="*/ 83212 h 100463"/>
                  <a:gd name="connsiteX8" fmla="*/ 86181 w 89088"/>
                  <a:gd name="connsiteY8" fmla="*/ 89539 h 100463"/>
                  <a:gd name="connsiteX9" fmla="*/ 74315 w 89088"/>
                  <a:gd name="connsiteY9" fmla="*/ 100453 h 100463"/>
                  <a:gd name="connsiteX10" fmla="*/ 72103 w 89088"/>
                  <a:gd name="connsiteY10" fmla="*/ 100140 h 100463"/>
                  <a:gd name="connsiteX11" fmla="*/ 65492 w 89088"/>
                  <a:gd name="connsiteY11" fmla="*/ 100140 h 100463"/>
                  <a:gd name="connsiteX12" fmla="*/ 65150 w 89088"/>
                  <a:gd name="connsiteY12" fmla="*/ 93300 h 100463"/>
                  <a:gd name="connsiteX13" fmla="*/ 65150 w 89088"/>
                  <a:gd name="connsiteY13" fmla="*/ 92160 h 100463"/>
                  <a:gd name="connsiteX14" fmla="*/ 66860 w 89088"/>
                  <a:gd name="connsiteY14" fmla="*/ 91363 h 100463"/>
                  <a:gd name="connsiteX15" fmla="*/ 73585 w 89088"/>
                  <a:gd name="connsiteY15" fmla="*/ 90337 h 100463"/>
                  <a:gd name="connsiteX16" fmla="*/ 74611 w 89088"/>
                  <a:gd name="connsiteY16" fmla="*/ 86689 h 100463"/>
                  <a:gd name="connsiteX17" fmla="*/ 74269 w 89088"/>
                  <a:gd name="connsiteY17" fmla="*/ 83098 h 100463"/>
                  <a:gd name="connsiteX18" fmla="*/ 71704 w 89088"/>
                  <a:gd name="connsiteY18" fmla="*/ 80819 h 100463"/>
                  <a:gd name="connsiteX19" fmla="*/ 68911 w 89088"/>
                  <a:gd name="connsiteY19" fmla="*/ 80819 h 100463"/>
                  <a:gd name="connsiteX20" fmla="*/ 67943 w 89088"/>
                  <a:gd name="connsiteY20" fmla="*/ 79850 h 100463"/>
                  <a:gd name="connsiteX21" fmla="*/ 36766 w 89088"/>
                  <a:gd name="connsiteY21" fmla="*/ 96948 h 100463"/>
                  <a:gd name="connsiteX22" fmla="*/ 29186 w 89088"/>
                  <a:gd name="connsiteY22" fmla="*/ 92104 h 100463"/>
                  <a:gd name="connsiteX23" fmla="*/ 29186 w 89088"/>
                  <a:gd name="connsiteY23" fmla="*/ 77513 h 100463"/>
                  <a:gd name="connsiteX24" fmla="*/ 42808 w 89088"/>
                  <a:gd name="connsiteY24" fmla="*/ 82186 h 100463"/>
                  <a:gd name="connsiteX25" fmla="*/ 48507 w 89088"/>
                  <a:gd name="connsiteY25" fmla="*/ 83098 h 100463"/>
                  <a:gd name="connsiteX26" fmla="*/ 50445 w 89088"/>
                  <a:gd name="connsiteY26" fmla="*/ 69420 h 100463"/>
                  <a:gd name="connsiteX27" fmla="*/ 33917 w 89088"/>
                  <a:gd name="connsiteY27" fmla="*/ 65943 h 100463"/>
                  <a:gd name="connsiteX28" fmla="*/ 46968 w 89088"/>
                  <a:gd name="connsiteY28" fmla="*/ 48389 h 100463"/>
                  <a:gd name="connsiteX29" fmla="*/ 52668 w 89088"/>
                  <a:gd name="connsiteY29" fmla="*/ 43772 h 100463"/>
                  <a:gd name="connsiteX30" fmla="*/ 43435 w 89088"/>
                  <a:gd name="connsiteY30" fmla="*/ 32088 h 100463"/>
                  <a:gd name="connsiteX31" fmla="*/ 44119 w 89088"/>
                  <a:gd name="connsiteY31" fmla="*/ 17041 h 100463"/>
                  <a:gd name="connsiteX32" fmla="*/ 49305 w 89088"/>
                  <a:gd name="connsiteY32" fmla="*/ 2280 h 100463"/>
                  <a:gd name="connsiteX33" fmla="*/ 35513 w 89088"/>
                  <a:gd name="connsiteY33" fmla="*/ 0 h 100463"/>
                  <a:gd name="connsiteX34" fmla="*/ 29813 w 89088"/>
                  <a:gd name="connsiteY34" fmla="*/ 13508 h 100463"/>
                  <a:gd name="connsiteX35" fmla="*/ 25482 w 89088"/>
                  <a:gd name="connsiteY35" fmla="*/ 16357 h 100463"/>
                  <a:gd name="connsiteX36" fmla="*/ 20637 w 89088"/>
                  <a:gd name="connsiteY36" fmla="*/ 26275 h 100463"/>
                  <a:gd name="connsiteX37" fmla="*/ 11803 w 89088"/>
                  <a:gd name="connsiteY37" fmla="*/ 28098 h 100463"/>
                  <a:gd name="connsiteX38" fmla="*/ 7927 w 89088"/>
                  <a:gd name="connsiteY38" fmla="*/ 22399 h 100463"/>
                  <a:gd name="connsiteX39" fmla="*/ 347 w 89088"/>
                  <a:gd name="connsiteY39" fmla="*/ 22399 h 100463"/>
                  <a:gd name="connsiteX40" fmla="*/ 3310 w 89088"/>
                  <a:gd name="connsiteY40" fmla="*/ 49072 h 100463"/>
                  <a:gd name="connsiteX41" fmla="*/ 4849 w 89088"/>
                  <a:gd name="connsiteY41" fmla="*/ 69477 h 100463"/>
                  <a:gd name="connsiteX42" fmla="*/ 6331 w 89088"/>
                  <a:gd name="connsiteY42" fmla="*/ 73124 h 100463"/>
                  <a:gd name="connsiteX43" fmla="*/ 3767 w 89088"/>
                  <a:gd name="connsiteY43" fmla="*/ 83269 h 100463"/>
                  <a:gd name="connsiteX44" fmla="*/ 6559 w 89088"/>
                  <a:gd name="connsiteY44" fmla="*/ 92274 h 100463"/>
                  <a:gd name="connsiteX45" fmla="*/ 11176 w 89088"/>
                  <a:gd name="connsiteY45" fmla="*/ 92274 h 100463"/>
                  <a:gd name="connsiteX46" fmla="*/ 15906 w 89088"/>
                  <a:gd name="connsiteY46" fmla="*/ 93813 h 100463"/>
                  <a:gd name="connsiteX47" fmla="*/ 16761 w 89088"/>
                  <a:gd name="connsiteY47" fmla="*/ 94896 h 100463"/>
                  <a:gd name="connsiteX48" fmla="*/ 16305 w 89088"/>
                  <a:gd name="connsiteY48" fmla="*/ 96321 h 100463"/>
                  <a:gd name="connsiteX49" fmla="*/ 36766 w 89088"/>
                  <a:gd name="connsiteY49" fmla="*/ 96948 h 10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9088" h="100463">
                    <a:moveTo>
                      <a:pt x="67943" y="79850"/>
                    </a:moveTo>
                    <a:cubicBezTo>
                      <a:pt x="66130" y="76111"/>
                      <a:pt x="65668" y="71865"/>
                      <a:pt x="66632" y="67824"/>
                    </a:cubicBezTo>
                    <a:cubicBezTo>
                      <a:pt x="67031" y="65031"/>
                      <a:pt x="67829" y="61725"/>
                      <a:pt x="70507" y="60813"/>
                    </a:cubicBezTo>
                    <a:cubicBezTo>
                      <a:pt x="73186" y="59901"/>
                      <a:pt x="74554" y="61098"/>
                      <a:pt x="76549" y="60813"/>
                    </a:cubicBezTo>
                    <a:cubicBezTo>
                      <a:pt x="79455" y="60813"/>
                      <a:pt x="82248" y="58420"/>
                      <a:pt x="84984" y="59104"/>
                    </a:cubicBezTo>
                    <a:cubicBezTo>
                      <a:pt x="86124" y="63492"/>
                      <a:pt x="87207" y="67881"/>
                      <a:pt x="88347" y="72212"/>
                    </a:cubicBezTo>
                    <a:cubicBezTo>
                      <a:pt x="88734" y="73512"/>
                      <a:pt x="88985" y="74851"/>
                      <a:pt x="89087" y="76202"/>
                    </a:cubicBezTo>
                    <a:cubicBezTo>
                      <a:pt x="89110" y="78584"/>
                      <a:pt x="88723" y="80955"/>
                      <a:pt x="87948" y="83212"/>
                    </a:cubicBezTo>
                    <a:lnTo>
                      <a:pt x="86181" y="89539"/>
                    </a:lnTo>
                    <a:cubicBezTo>
                      <a:pt x="85919" y="95831"/>
                      <a:pt x="80607" y="100715"/>
                      <a:pt x="74315" y="100453"/>
                    </a:cubicBezTo>
                    <a:cubicBezTo>
                      <a:pt x="73568" y="100419"/>
                      <a:pt x="72827" y="100316"/>
                      <a:pt x="72103" y="100140"/>
                    </a:cubicBezTo>
                    <a:lnTo>
                      <a:pt x="65492" y="100140"/>
                    </a:lnTo>
                    <a:cubicBezTo>
                      <a:pt x="65207" y="97871"/>
                      <a:pt x="65093" y="95586"/>
                      <a:pt x="65150" y="93300"/>
                    </a:cubicBezTo>
                    <a:cubicBezTo>
                      <a:pt x="65036" y="92930"/>
                      <a:pt x="65036" y="92531"/>
                      <a:pt x="65150" y="92160"/>
                    </a:cubicBezTo>
                    <a:cubicBezTo>
                      <a:pt x="65560" y="91642"/>
                      <a:pt x="66198" y="91345"/>
                      <a:pt x="66860" y="91363"/>
                    </a:cubicBezTo>
                    <a:cubicBezTo>
                      <a:pt x="69196" y="91363"/>
                      <a:pt x="72046" y="92104"/>
                      <a:pt x="73585" y="90337"/>
                    </a:cubicBezTo>
                    <a:cubicBezTo>
                      <a:pt x="74332" y="89271"/>
                      <a:pt x="74697" y="87988"/>
                      <a:pt x="74611" y="86689"/>
                    </a:cubicBezTo>
                    <a:cubicBezTo>
                      <a:pt x="74725" y="85481"/>
                      <a:pt x="74611" y="84261"/>
                      <a:pt x="74269" y="83098"/>
                    </a:cubicBezTo>
                    <a:cubicBezTo>
                      <a:pt x="73916" y="81913"/>
                      <a:pt x="72924" y="81029"/>
                      <a:pt x="71704" y="80819"/>
                    </a:cubicBezTo>
                    <a:cubicBezTo>
                      <a:pt x="70792" y="80819"/>
                      <a:pt x="69766" y="81161"/>
                      <a:pt x="68911" y="80819"/>
                    </a:cubicBezTo>
                    <a:cubicBezTo>
                      <a:pt x="68518" y="80579"/>
                      <a:pt x="68182" y="80243"/>
                      <a:pt x="67943" y="79850"/>
                    </a:cubicBezTo>
                    <a:close/>
                    <a:moveTo>
                      <a:pt x="36766" y="96948"/>
                    </a:moveTo>
                    <a:cubicBezTo>
                      <a:pt x="35324" y="94064"/>
                      <a:pt x="32412" y="92200"/>
                      <a:pt x="29186" y="92104"/>
                    </a:cubicBezTo>
                    <a:lnTo>
                      <a:pt x="29186" y="77513"/>
                    </a:lnTo>
                    <a:lnTo>
                      <a:pt x="42808" y="82186"/>
                    </a:lnTo>
                    <a:cubicBezTo>
                      <a:pt x="44603" y="82950"/>
                      <a:pt x="46564" y="83264"/>
                      <a:pt x="48507" y="83098"/>
                    </a:cubicBezTo>
                    <a:cubicBezTo>
                      <a:pt x="54207" y="82186"/>
                      <a:pt x="54777" y="73181"/>
                      <a:pt x="50445" y="69420"/>
                    </a:cubicBezTo>
                    <a:cubicBezTo>
                      <a:pt x="45566" y="66222"/>
                      <a:pt x="39667" y="64985"/>
                      <a:pt x="33917" y="65943"/>
                    </a:cubicBezTo>
                    <a:cubicBezTo>
                      <a:pt x="35262" y="58363"/>
                      <a:pt x="40095" y="51859"/>
                      <a:pt x="46968" y="48389"/>
                    </a:cubicBezTo>
                    <a:cubicBezTo>
                      <a:pt x="49305" y="47249"/>
                      <a:pt x="52041" y="46223"/>
                      <a:pt x="52668" y="43772"/>
                    </a:cubicBezTo>
                    <a:cubicBezTo>
                      <a:pt x="54378" y="38699"/>
                      <a:pt x="46683" y="36249"/>
                      <a:pt x="43435" y="32088"/>
                    </a:cubicBezTo>
                    <a:cubicBezTo>
                      <a:pt x="40842" y="27335"/>
                      <a:pt x="41109" y="21538"/>
                      <a:pt x="44119" y="17041"/>
                    </a:cubicBezTo>
                    <a:cubicBezTo>
                      <a:pt x="47151" y="12681"/>
                      <a:pt x="48940" y="7580"/>
                      <a:pt x="49305" y="2280"/>
                    </a:cubicBezTo>
                    <a:lnTo>
                      <a:pt x="35513" y="0"/>
                    </a:lnTo>
                    <a:cubicBezTo>
                      <a:pt x="35404" y="5067"/>
                      <a:pt x="33364" y="9894"/>
                      <a:pt x="29813" y="13508"/>
                    </a:cubicBezTo>
                    <a:cubicBezTo>
                      <a:pt x="28445" y="14534"/>
                      <a:pt x="26792" y="15218"/>
                      <a:pt x="25482" y="16357"/>
                    </a:cubicBezTo>
                    <a:cubicBezTo>
                      <a:pt x="22746" y="18865"/>
                      <a:pt x="22404" y="23026"/>
                      <a:pt x="20637" y="26275"/>
                    </a:cubicBezTo>
                    <a:cubicBezTo>
                      <a:pt x="18870" y="29523"/>
                      <a:pt x="13455" y="31404"/>
                      <a:pt x="11803" y="28098"/>
                    </a:cubicBezTo>
                    <a:cubicBezTo>
                      <a:pt x="11934" y="25545"/>
                      <a:pt x="10349" y="23214"/>
                      <a:pt x="7927" y="22399"/>
                    </a:cubicBezTo>
                    <a:cubicBezTo>
                      <a:pt x="5436" y="21800"/>
                      <a:pt x="2837" y="21800"/>
                      <a:pt x="347" y="22399"/>
                    </a:cubicBezTo>
                    <a:cubicBezTo>
                      <a:pt x="-605" y="31398"/>
                      <a:pt x="410" y="40500"/>
                      <a:pt x="3310" y="49072"/>
                    </a:cubicBezTo>
                    <a:cubicBezTo>
                      <a:pt x="1384" y="55843"/>
                      <a:pt x="1931" y="63076"/>
                      <a:pt x="4849" y="69477"/>
                    </a:cubicBezTo>
                    <a:cubicBezTo>
                      <a:pt x="5482" y="70634"/>
                      <a:pt x="5978" y="71853"/>
                      <a:pt x="6331" y="73124"/>
                    </a:cubicBezTo>
                    <a:cubicBezTo>
                      <a:pt x="6388" y="76675"/>
                      <a:pt x="5505" y="80174"/>
                      <a:pt x="3767" y="83269"/>
                    </a:cubicBezTo>
                    <a:cubicBezTo>
                      <a:pt x="2627" y="86632"/>
                      <a:pt x="3139" y="91363"/>
                      <a:pt x="6559" y="92274"/>
                    </a:cubicBezTo>
                    <a:cubicBezTo>
                      <a:pt x="8092" y="92474"/>
                      <a:pt x="9643" y="92474"/>
                      <a:pt x="11176" y="92274"/>
                    </a:cubicBezTo>
                    <a:cubicBezTo>
                      <a:pt x="12880" y="92229"/>
                      <a:pt x="14550" y="92776"/>
                      <a:pt x="15906" y="93813"/>
                    </a:cubicBezTo>
                    <a:cubicBezTo>
                      <a:pt x="16294" y="94075"/>
                      <a:pt x="16596" y="94457"/>
                      <a:pt x="16761" y="94896"/>
                    </a:cubicBezTo>
                    <a:cubicBezTo>
                      <a:pt x="16807" y="95415"/>
                      <a:pt x="16641" y="95928"/>
                      <a:pt x="16305" y="96321"/>
                    </a:cubicBezTo>
                    <a:cubicBezTo>
                      <a:pt x="23145" y="96492"/>
                      <a:pt x="30326" y="98886"/>
                      <a:pt x="36766" y="96948"/>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5" name="Freihandform: Form 411">
                <a:extLst>
                  <a:ext uri="{FF2B5EF4-FFF2-40B4-BE49-F238E27FC236}">
                    <a16:creationId xmlns:a16="http://schemas.microsoft.com/office/drawing/2014/main" id="{E8DA5ADF-A4C7-9F3C-DDFA-2C16EC081F0E}"/>
                  </a:ext>
                </a:extLst>
              </p:cNvPr>
              <p:cNvSpPr/>
              <p:nvPr/>
            </p:nvSpPr>
            <p:spPr>
              <a:xfrm>
                <a:off x="3906936" y="2806337"/>
                <a:ext cx="189620" cy="223821"/>
              </a:xfrm>
              <a:custGeom>
                <a:avLst/>
                <a:gdLst>
                  <a:gd name="connsiteX0" fmla="*/ 22113 w 189620"/>
                  <a:gd name="connsiteY0" fmla="*/ 46223 h 223821"/>
                  <a:gd name="connsiteX1" fmla="*/ 23766 w 189620"/>
                  <a:gd name="connsiteY1" fmla="*/ 48047 h 223821"/>
                  <a:gd name="connsiteX2" fmla="*/ 25590 w 189620"/>
                  <a:gd name="connsiteY2" fmla="*/ 38186 h 223821"/>
                  <a:gd name="connsiteX3" fmla="*/ 26559 w 189620"/>
                  <a:gd name="connsiteY3" fmla="*/ 35622 h 223821"/>
                  <a:gd name="connsiteX4" fmla="*/ 31062 w 189620"/>
                  <a:gd name="connsiteY4" fmla="*/ 34881 h 223821"/>
                  <a:gd name="connsiteX5" fmla="*/ 39953 w 189620"/>
                  <a:gd name="connsiteY5" fmla="*/ 36192 h 223821"/>
                  <a:gd name="connsiteX6" fmla="*/ 41948 w 189620"/>
                  <a:gd name="connsiteY6" fmla="*/ 36990 h 223821"/>
                  <a:gd name="connsiteX7" fmla="*/ 42574 w 189620"/>
                  <a:gd name="connsiteY7" fmla="*/ 40523 h 223821"/>
                  <a:gd name="connsiteX8" fmla="*/ 49574 w 189620"/>
                  <a:gd name="connsiteY8" fmla="*/ 47773 h 223821"/>
                  <a:gd name="connsiteX9" fmla="*/ 56823 w 189620"/>
                  <a:gd name="connsiteY9" fmla="*/ 40774 h 223821"/>
                  <a:gd name="connsiteX10" fmla="*/ 55740 w 189620"/>
                  <a:gd name="connsiteY10" fmla="*/ 36876 h 223821"/>
                  <a:gd name="connsiteX11" fmla="*/ 64917 w 189620"/>
                  <a:gd name="connsiteY11" fmla="*/ 32886 h 223821"/>
                  <a:gd name="connsiteX12" fmla="*/ 63663 w 189620"/>
                  <a:gd name="connsiteY12" fmla="*/ 23539 h 223821"/>
                  <a:gd name="connsiteX13" fmla="*/ 58590 w 189620"/>
                  <a:gd name="connsiteY13" fmla="*/ 20347 h 223821"/>
                  <a:gd name="connsiteX14" fmla="*/ 57963 w 189620"/>
                  <a:gd name="connsiteY14" fmla="*/ 15901 h 223821"/>
                  <a:gd name="connsiteX15" fmla="*/ 62238 w 189620"/>
                  <a:gd name="connsiteY15" fmla="*/ 570 h 223821"/>
                  <a:gd name="connsiteX16" fmla="*/ 62637 w 189620"/>
                  <a:gd name="connsiteY16" fmla="*/ 0 h 223821"/>
                  <a:gd name="connsiteX17" fmla="*/ 83269 w 189620"/>
                  <a:gd name="connsiteY17" fmla="*/ 912 h 223821"/>
                  <a:gd name="connsiteX18" fmla="*/ 84067 w 189620"/>
                  <a:gd name="connsiteY18" fmla="*/ 3477 h 223821"/>
                  <a:gd name="connsiteX19" fmla="*/ 87030 w 189620"/>
                  <a:gd name="connsiteY19" fmla="*/ 11798 h 223821"/>
                  <a:gd name="connsiteX20" fmla="*/ 90564 w 189620"/>
                  <a:gd name="connsiteY20" fmla="*/ 11114 h 223821"/>
                  <a:gd name="connsiteX21" fmla="*/ 103274 w 189620"/>
                  <a:gd name="connsiteY21" fmla="*/ 14591 h 223821"/>
                  <a:gd name="connsiteX22" fmla="*/ 109885 w 189620"/>
                  <a:gd name="connsiteY22" fmla="*/ 26503 h 223821"/>
                  <a:gd name="connsiteX23" fmla="*/ 121284 w 189620"/>
                  <a:gd name="connsiteY23" fmla="*/ 27756 h 223821"/>
                  <a:gd name="connsiteX24" fmla="*/ 126015 w 189620"/>
                  <a:gd name="connsiteY24" fmla="*/ 20233 h 223821"/>
                  <a:gd name="connsiteX25" fmla="*/ 136217 w 189620"/>
                  <a:gd name="connsiteY25" fmla="*/ 17497 h 223821"/>
                  <a:gd name="connsiteX26" fmla="*/ 139523 w 189620"/>
                  <a:gd name="connsiteY26" fmla="*/ 13736 h 223821"/>
                  <a:gd name="connsiteX27" fmla="*/ 150921 w 189620"/>
                  <a:gd name="connsiteY27" fmla="*/ 12710 h 223821"/>
                  <a:gd name="connsiteX28" fmla="*/ 153657 w 189620"/>
                  <a:gd name="connsiteY28" fmla="*/ 7979 h 223821"/>
                  <a:gd name="connsiteX29" fmla="*/ 158046 w 189620"/>
                  <a:gd name="connsiteY29" fmla="*/ 5870 h 223821"/>
                  <a:gd name="connsiteX30" fmla="*/ 161409 w 189620"/>
                  <a:gd name="connsiteY30" fmla="*/ 16927 h 223821"/>
                  <a:gd name="connsiteX31" fmla="*/ 171725 w 189620"/>
                  <a:gd name="connsiteY31" fmla="*/ 20119 h 223821"/>
                  <a:gd name="connsiteX32" fmla="*/ 172978 w 189620"/>
                  <a:gd name="connsiteY32" fmla="*/ 28896 h 223821"/>
                  <a:gd name="connsiteX33" fmla="*/ 176398 w 189620"/>
                  <a:gd name="connsiteY33" fmla="*/ 30834 h 223821"/>
                  <a:gd name="connsiteX34" fmla="*/ 175315 w 189620"/>
                  <a:gd name="connsiteY34" fmla="*/ 45482 h 223821"/>
                  <a:gd name="connsiteX35" fmla="*/ 177652 w 189620"/>
                  <a:gd name="connsiteY35" fmla="*/ 54088 h 223821"/>
                  <a:gd name="connsiteX36" fmla="*/ 175942 w 189620"/>
                  <a:gd name="connsiteY36" fmla="*/ 59104 h 223821"/>
                  <a:gd name="connsiteX37" fmla="*/ 181072 w 189620"/>
                  <a:gd name="connsiteY37" fmla="*/ 72725 h 223821"/>
                  <a:gd name="connsiteX38" fmla="*/ 184207 w 189620"/>
                  <a:gd name="connsiteY38" fmla="*/ 84922 h 223821"/>
                  <a:gd name="connsiteX39" fmla="*/ 188196 w 189620"/>
                  <a:gd name="connsiteY39" fmla="*/ 111938 h 223821"/>
                  <a:gd name="connsiteX40" fmla="*/ 189621 w 189620"/>
                  <a:gd name="connsiteY40" fmla="*/ 119803 h 223821"/>
                  <a:gd name="connsiteX41" fmla="*/ 187113 w 189620"/>
                  <a:gd name="connsiteY41" fmla="*/ 120316 h 223821"/>
                  <a:gd name="connsiteX42" fmla="*/ 180559 w 189620"/>
                  <a:gd name="connsiteY42" fmla="*/ 124362 h 223821"/>
                  <a:gd name="connsiteX43" fmla="*/ 168077 w 189620"/>
                  <a:gd name="connsiteY43" fmla="*/ 129207 h 223821"/>
                  <a:gd name="connsiteX44" fmla="*/ 159186 w 189620"/>
                  <a:gd name="connsiteY44" fmla="*/ 130233 h 223821"/>
                  <a:gd name="connsiteX45" fmla="*/ 143227 w 189620"/>
                  <a:gd name="connsiteY45" fmla="*/ 139409 h 223821"/>
                  <a:gd name="connsiteX46" fmla="*/ 138839 w 189620"/>
                  <a:gd name="connsiteY46" fmla="*/ 145109 h 223821"/>
                  <a:gd name="connsiteX47" fmla="*/ 140491 w 189620"/>
                  <a:gd name="connsiteY47" fmla="*/ 150808 h 223821"/>
                  <a:gd name="connsiteX48" fmla="*/ 148015 w 189620"/>
                  <a:gd name="connsiteY48" fmla="*/ 166767 h 223821"/>
                  <a:gd name="connsiteX49" fmla="*/ 148015 w 189620"/>
                  <a:gd name="connsiteY49" fmla="*/ 172922 h 223821"/>
                  <a:gd name="connsiteX50" fmla="*/ 151548 w 189620"/>
                  <a:gd name="connsiteY50" fmla="*/ 179191 h 223821"/>
                  <a:gd name="connsiteX51" fmla="*/ 161123 w 189620"/>
                  <a:gd name="connsiteY51" fmla="*/ 188994 h 223821"/>
                  <a:gd name="connsiteX52" fmla="*/ 157476 w 189620"/>
                  <a:gd name="connsiteY52" fmla="*/ 193098 h 223821"/>
                  <a:gd name="connsiteX53" fmla="*/ 149839 w 189620"/>
                  <a:gd name="connsiteY53" fmla="*/ 204497 h 223821"/>
                  <a:gd name="connsiteX54" fmla="*/ 149839 w 189620"/>
                  <a:gd name="connsiteY54" fmla="*/ 213217 h 223821"/>
                  <a:gd name="connsiteX55" fmla="*/ 144378 w 189620"/>
                  <a:gd name="connsiteY55" fmla="*/ 221875 h 223821"/>
                  <a:gd name="connsiteX56" fmla="*/ 142600 w 189620"/>
                  <a:gd name="connsiteY56" fmla="*/ 222051 h 223821"/>
                  <a:gd name="connsiteX57" fmla="*/ 121056 w 189620"/>
                  <a:gd name="connsiteY57" fmla="*/ 220684 h 223821"/>
                  <a:gd name="connsiteX58" fmla="*/ 108005 w 189620"/>
                  <a:gd name="connsiteY58" fmla="*/ 222564 h 223821"/>
                  <a:gd name="connsiteX59" fmla="*/ 93870 w 189620"/>
                  <a:gd name="connsiteY59" fmla="*/ 220171 h 223821"/>
                  <a:gd name="connsiteX60" fmla="*/ 79735 w 189620"/>
                  <a:gd name="connsiteY60" fmla="*/ 223419 h 223821"/>
                  <a:gd name="connsiteX61" fmla="*/ 56937 w 189620"/>
                  <a:gd name="connsiteY61" fmla="*/ 221197 h 223821"/>
                  <a:gd name="connsiteX62" fmla="*/ 49471 w 189620"/>
                  <a:gd name="connsiteY62" fmla="*/ 218917 h 223821"/>
                  <a:gd name="connsiteX63" fmla="*/ 41434 w 189620"/>
                  <a:gd name="connsiteY63" fmla="*/ 222564 h 223821"/>
                  <a:gd name="connsiteX64" fmla="*/ 33398 w 189620"/>
                  <a:gd name="connsiteY64" fmla="*/ 221652 h 223821"/>
                  <a:gd name="connsiteX65" fmla="*/ 32657 w 189620"/>
                  <a:gd name="connsiteY65" fmla="*/ 217948 h 223821"/>
                  <a:gd name="connsiteX66" fmla="*/ 37046 w 189620"/>
                  <a:gd name="connsiteY66" fmla="*/ 196347 h 223821"/>
                  <a:gd name="connsiteX67" fmla="*/ 41833 w 189620"/>
                  <a:gd name="connsiteY67" fmla="*/ 189678 h 223821"/>
                  <a:gd name="connsiteX68" fmla="*/ 39839 w 189620"/>
                  <a:gd name="connsiteY68" fmla="*/ 182554 h 223821"/>
                  <a:gd name="connsiteX69" fmla="*/ 35165 w 189620"/>
                  <a:gd name="connsiteY69" fmla="*/ 182155 h 223821"/>
                  <a:gd name="connsiteX70" fmla="*/ 30378 w 189620"/>
                  <a:gd name="connsiteY70" fmla="*/ 179419 h 223821"/>
                  <a:gd name="connsiteX71" fmla="*/ 4901 w 189620"/>
                  <a:gd name="connsiteY71" fmla="*/ 174176 h 223821"/>
                  <a:gd name="connsiteX72" fmla="*/ 6041 w 189620"/>
                  <a:gd name="connsiteY72" fmla="*/ 141233 h 223821"/>
                  <a:gd name="connsiteX73" fmla="*/ 3134 w 189620"/>
                  <a:gd name="connsiteY73" fmla="*/ 134622 h 223821"/>
                  <a:gd name="connsiteX74" fmla="*/ 4502 w 189620"/>
                  <a:gd name="connsiteY74" fmla="*/ 105212 h 223821"/>
                  <a:gd name="connsiteX75" fmla="*/ 7295 w 189620"/>
                  <a:gd name="connsiteY75" fmla="*/ 99057 h 223821"/>
                  <a:gd name="connsiteX76" fmla="*/ 7295 w 189620"/>
                  <a:gd name="connsiteY76" fmla="*/ 96378 h 223821"/>
                  <a:gd name="connsiteX77" fmla="*/ 14590 w 189620"/>
                  <a:gd name="connsiteY77" fmla="*/ 89767 h 223821"/>
                  <a:gd name="connsiteX78" fmla="*/ 21031 w 189620"/>
                  <a:gd name="connsiteY78" fmla="*/ 82585 h 223821"/>
                  <a:gd name="connsiteX79" fmla="*/ 16756 w 189620"/>
                  <a:gd name="connsiteY79" fmla="*/ 74435 h 223821"/>
                  <a:gd name="connsiteX80" fmla="*/ 23253 w 189620"/>
                  <a:gd name="connsiteY80" fmla="*/ 64917 h 223821"/>
                  <a:gd name="connsiteX81" fmla="*/ 23253 w 189620"/>
                  <a:gd name="connsiteY81" fmla="*/ 52720 h 223821"/>
                  <a:gd name="connsiteX82" fmla="*/ 22113 w 189620"/>
                  <a:gd name="connsiteY82" fmla="*/ 46223 h 22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89620" h="223821">
                    <a:moveTo>
                      <a:pt x="22113" y="46223"/>
                    </a:moveTo>
                    <a:cubicBezTo>
                      <a:pt x="22683" y="46793"/>
                      <a:pt x="23253" y="47420"/>
                      <a:pt x="23766" y="48047"/>
                    </a:cubicBezTo>
                    <a:cubicBezTo>
                      <a:pt x="24393" y="44741"/>
                      <a:pt x="24963" y="41435"/>
                      <a:pt x="25590" y="38186"/>
                    </a:cubicBezTo>
                    <a:cubicBezTo>
                      <a:pt x="25670" y="37257"/>
                      <a:pt x="26006" y="36368"/>
                      <a:pt x="26559" y="35622"/>
                    </a:cubicBezTo>
                    <a:cubicBezTo>
                      <a:pt x="27853" y="34658"/>
                      <a:pt x="29528" y="34379"/>
                      <a:pt x="31062" y="34881"/>
                    </a:cubicBezTo>
                    <a:lnTo>
                      <a:pt x="39953" y="36192"/>
                    </a:lnTo>
                    <a:cubicBezTo>
                      <a:pt x="40682" y="36249"/>
                      <a:pt x="41378" y="36528"/>
                      <a:pt x="41948" y="36990"/>
                    </a:cubicBezTo>
                    <a:cubicBezTo>
                      <a:pt x="42859" y="37844"/>
                      <a:pt x="42574" y="39326"/>
                      <a:pt x="42574" y="40523"/>
                    </a:cubicBezTo>
                    <a:cubicBezTo>
                      <a:pt x="42506" y="44456"/>
                      <a:pt x="45635" y="47705"/>
                      <a:pt x="49574" y="47773"/>
                    </a:cubicBezTo>
                    <a:cubicBezTo>
                      <a:pt x="53506" y="47841"/>
                      <a:pt x="56749" y="44712"/>
                      <a:pt x="56823" y="40774"/>
                    </a:cubicBezTo>
                    <a:cubicBezTo>
                      <a:pt x="56846" y="39400"/>
                      <a:pt x="56470" y="38044"/>
                      <a:pt x="55740" y="36876"/>
                    </a:cubicBezTo>
                    <a:cubicBezTo>
                      <a:pt x="59285" y="37229"/>
                      <a:pt x="62756" y="35719"/>
                      <a:pt x="64917" y="32886"/>
                    </a:cubicBezTo>
                    <a:cubicBezTo>
                      <a:pt x="66968" y="29911"/>
                      <a:pt x="66427" y="25864"/>
                      <a:pt x="63663" y="23539"/>
                    </a:cubicBezTo>
                    <a:cubicBezTo>
                      <a:pt x="62010" y="22399"/>
                      <a:pt x="59730" y="22057"/>
                      <a:pt x="58590" y="20347"/>
                    </a:cubicBezTo>
                    <a:cubicBezTo>
                      <a:pt x="57889" y="18979"/>
                      <a:pt x="57672" y="17412"/>
                      <a:pt x="57963" y="15901"/>
                    </a:cubicBezTo>
                    <a:cubicBezTo>
                      <a:pt x="57923" y="10493"/>
                      <a:pt x="59405" y="5181"/>
                      <a:pt x="62238" y="570"/>
                    </a:cubicBezTo>
                    <a:cubicBezTo>
                      <a:pt x="62391" y="393"/>
                      <a:pt x="62523" y="205"/>
                      <a:pt x="62637" y="0"/>
                    </a:cubicBezTo>
                    <a:cubicBezTo>
                      <a:pt x="69647" y="456"/>
                      <a:pt x="76828" y="2850"/>
                      <a:pt x="83269" y="912"/>
                    </a:cubicBezTo>
                    <a:cubicBezTo>
                      <a:pt x="83679" y="1716"/>
                      <a:pt x="83947" y="2582"/>
                      <a:pt x="84067" y="3477"/>
                    </a:cubicBezTo>
                    <a:cubicBezTo>
                      <a:pt x="84466" y="6611"/>
                      <a:pt x="84067" y="11114"/>
                      <a:pt x="87030" y="11798"/>
                    </a:cubicBezTo>
                    <a:cubicBezTo>
                      <a:pt x="88250" y="11906"/>
                      <a:pt x="89475" y="11667"/>
                      <a:pt x="90564" y="11114"/>
                    </a:cubicBezTo>
                    <a:cubicBezTo>
                      <a:pt x="95118" y="9729"/>
                      <a:pt x="100059" y="11085"/>
                      <a:pt x="103274" y="14591"/>
                    </a:cubicBezTo>
                    <a:cubicBezTo>
                      <a:pt x="106294" y="18010"/>
                      <a:pt x="107150" y="22855"/>
                      <a:pt x="109885" y="26503"/>
                    </a:cubicBezTo>
                    <a:cubicBezTo>
                      <a:pt x="112621" y="30150"/>
                      <a:pt x="119118" y="31803"/>
                      <a:pt x="121284" y="27756"/>
                    </a:cubicBezTo>
                    <a:cubicBezTo>
                      <a:pt x="118890" y="25078"/>
                      <a:pt x="122481" y="20974"/>
                      <a:pt x="126015" y="20233"/>
                    </a:cubicBezTo>
                    <a:cubicBezTo>
                      <a:pt x="129548" y="19492"/>
                      <a:pt x="133652" y="20233"/>
                      <a:pt x="136217" y="17497"/>
                    </a:cubicBezTo>
                    <a:cubicBezTo>
                      <a:pt x="137414" y="16357"/>
                      <a:pt x="138098" y="14648"/>
                      <a:pt x="139523" y="13736"/>
                    </a:cubicBezTo>
                    <a:cubicBezTo>
                      <a:pt x="142828" y="11627"/>
                      <a:pt x="147844" y="15104"/>
                      <a:pt x="150921" y="12710"/>
                    </a:cubicBezTo>
                    <a:cubicBezTo>
                      <a:pt x="152170" y="11353"/>
                      <a:pt x="153104" y="9735"/>
                      <a:pt x="153657" y="7979"/>
                    </a:cubicBezTo>
                    <a:cubicBezTo>
                      <a:pt x="154512" y="6326"/>
                      <a:pt x="156507" y="4844"/>
                      <a:pt x="158046" y="5870"/>
                    </a:cubicBezTo>
                    <a:cubicBezTo>
                      <a:pt x="158131" y="9797"/>
                      <a:pt x="159294" y="13622"/>
                      <a:pt x="161409" y="16927"/>
                    </a:cubicBezTo>
                    <a:cubicBezTo>
                      <a:pt x="163683" y="20267"/>
                      <a:pt x="167963" y="21590"/>
                      <a:pt x="171725" y="20119"/>
                    </a:cubicBezTo>
                    <a:cubicBezTo>
                      <a:pt x="172124" y="23083"/>
                      <a:pt x="172579" y="25819"/>
                      <a:pt x="172978" y="28896"/>
                    </a:cubicBezTo>
                    <a:cubicBezTo>
                      <a:pt x="173873" y="29899"/>
                      <a:pt x="175076" y="30583"/>
                      <a:pt x="176398" y="30834"/>
                    </a:cubicBezTo>
                    <a:cubicBezTo>
                      <a:pt x="174546" y="35491"/>
                      <a:pt x="174170" y="40603"/>
                      <a:pt x="175315" y="45482"/>
                    </a:cubicBezTo>
                    <a:cubicBezTo>
                      <a:pt x="176763" y="48126"/>
                      <a:pt x="177561" y="51073"/>
                      <a:pt x="177652" y="54088"/>
                    </a:cubicBezTo>
                    <a:cubicBezTo>
                      <a:pt x="177367" y="55855"/>
                      <a:pt x="176341" y="57394"/>
                      <a:pt x="175942" y="59104"/>
                    </a:cubicBezTo>
                    <a:cubicBezTo>
                      <a:pt x="174802" y="63948"/>
                      <a:pt x="178849" y="68280"/>
                      <a:pt x="181072" y="72725"/>
                    </a:cubicBezTo>
                    <a:cubicBezTo>
                      <a:pt x="182747" y="76601"/>
                      <a:pt x="183802" y="80716"/>
                      <a:pt x="184207" y="84922"/>
                    </a:cubicBezTo>
                    <a:cubicBezTo>
                      <a:pt x="185574" y="93927"/>
                      <a:pt x="186885" y="102932"/>
                      <a:pt x="188196" y="111938"/>
                    </a:cubicBezTo>
                    <a:cubicBezTo>
                      <a:pt x="188595" y="114559"/>
                      <a:pt x="189051" y="117181"/>
                      <a:pt x="189621" y="119803"/>
                    </a:cubicBezTo>
                    <a:cubicBezTo>
                      <a:pt x="188772" y="119894"/>
                      <a:pt x="187928" y="120065"/>
                      <a:pt x="187113" y="120316"/>
                    </a:cubicBezTo>
                    <a:cubicBezTo>
                      <a:pt x="184754" y="121353"/>
                      <a:pt x="182548" y="122715"/>
                      <a:pt x="180559" y="124362"/>
                    </a:cubicBezTo>
                    <a:cubicBezTo>
                      <a:pt x="176803" y="126876"/>
                      <a:pt x="172545" y="128529"/>
                      <a:pt x="168077" y="129207"/>
                    </a:cubicBezTo>
                    <a:cubicBezTo>
                      <a:pt x="165170" y="129606"/>
                      <a:pt x="162377" y="129606"/>
                      <a:pt x="159186" y="130233"/>
                    </a:cubicBezTo>
                    <a:cubicBezTo>
                      <a:pt x="153253" y="132074"/>
                      <a:pt x="147804" y="135209"/>
                      <a:pt x="143227" y="139409"/>
                    </a:cubicBezTo>
                    <a:cubicBezTo>
                      <a:pt x="141141" y="140731"/>
                      <a:pt x="139585" y="142749"/>
                      <a:pt x="138839" y="145109"/>
                    </a:cubicBezTo>
                    <a:cubicBezTo>
                      <a:pt x="138765" y="147138"/>
                      <a:pt x="139346" y="149132"/>
                      <a:pt x="140491" y="150808"/>
                    </a:cubicBezTo>
                    <a:cubicBezTo>
                      <a:pt x="144259" y="155436"/>
                      <a:pt x="146841" y="160913"/>
                      <a:pt x="148015" y="166767"/>
                    </a:cubicBezTo>
                    <a:cubicBezTo>
                      <a:pt x="147872" y="168818"/>
                      <a:pt x="147872" y="170870"/>
                      <a:pt x="148015" y="172922"/>
                    </a:cubicBezTo>
                    <a:cubicBezTo>
                      <a:pt x="148699" y="175253"/>
                      <a:pt x="149907" y="177396"/>
                      <a:pt x="151548" y="179191"/>
                    </a:cubicBezTo>
                    <a:cubicBezTo>
                      <a:pt x="154324" y="182839"/>
                      <a:pt x="157539" y="186133"/>
                      <a:pt x="161123" y="188994"/>
                    </a:cubicBezTo>
                    <a:cubicBezTo>
                      <a:pt x="159984" y="190362"/>
                      <a:pt x="158730" y="191787"/>
                      <a:pt x="157476" y="193098"/>
                    </a:cubicBezTo>
                    <a:cubicBezTo>
                      <a:pt x="153885" y="196085"/>
                      <a:pt x="151235" y="200040"/>
                      <a:pt x="149839" y="204497"/>
                    </a:cubicBezTo>
                    <a:cubicBezTo>
                      <a:pt x="149554" y="207398"/>
                      <a:pt x="149554" y="210316"/>
                      <a:pt x="149839" y="213217"/>
                    </a:cubicBezTo>
                    <a:cubicBezTo>
                      <a:pt x="150722" y="217116"/>
                      <a:pt x="148277" y="220991"/>
                      <a:pt x="144378" y="221875"/>
                    </a:cubicBezTo>
                    <a:cubicBezTo>
                      <a:pt x="143797" y="222006"/>
                      <a:pt x="143199" y="222068"/>
                      <a:pt x="142600" y="222051"/>
                    </a:cubicBezTo>
                    <a:cubicBezTo>
                      <a:pt x="135419" y="222678"/>
                      <a:pt x="128238" y="220114"/>
                      <a:pt x="121056" y="220684"/>
                    </a:cubicBezTo>
                    <a:cubicBezTo>
                      <a:pt x="116668" y="221026"/>
                      <a:pt x="112393" y="222507"/>
                      <a:pt x="108005" y="222564"/>
                    </a:cubicBezTo>
                    <a:cubicBezTo>
                      <a:pt x="103222" y="222274"/>
                      <a:pt x="98481" y="221470"/>
                      <a:pt x="93870" y="220171"/>
                    </a:cubicBezTo>
                    <a:cubicBezTo>
                      <a:pt x="88917" y="219390"/>
                      <a:pt x="83850" y="220552"/>
                      <a:pt x="79735" y="223419"/>
                    </a:cubicBezTo>
                    <a:cubicBezTo>
                      <a:pt x="72064" y="224377"/>
                      <a:pt x="64278" y="223619"/>
                      <a:pt x="56937" y="221197"/>
                    </a:cubicBezTo>
                    <a:cubicBezTo>
                      <a:pt x="54646" y="219891"/>
                      <a:pt x="52098" y="219116"/>
                      <a:pt x="49471" y="218917"/>
                    </a:cubicBezTo>
                    <a:cubicBezTo>
                      <a:pt x="46576" y="219584"/>
                      <a:pt x="43846" y="220826"/>
                      <a:pt x="41434" y="222564"/>
                    </a:cubicBezTo>
                    <a:cubicBezTo>
                      <a:pt x="38756" y="223932"/>
                      <a:pt x="34880" y="224217"/>
                      <a:pt x="33398" y="221652"/>
                    </a:cubicBezTo>
                    <a:cubicBezTo>
                      <a:pt x="32811" y="220513"/>
                      <a:pt x="32555" y="219230"/>
                      <a:pt x="32657" y="217948"/>
                    </a:cubicBezTo>
                    <a:cubicBezTo>
                      <a:pt x="31814" y="210464"/>
                      <a:pt x="33353" y="202907"/>
                      <a:pt x="37046" y="196347"/>
                    </a:cubicBezTo>
                    <a:cubicBezTo>
                      <a:pt x="38887" y="194312"/>
                      <a:pt x="40494" y="192072"/>
                      <a:pt x="41833" y="189678"/>
                    </a:cubicBezTo>
                    <a:cubicBezTo>
                      <a:pt x="43008" y="187136"/>
                      <a:pt x="42164" y="184116"/>
                      <a:pt x="39839" y="182554"/>
                    </a:cubicBezTo>
                    <a:cubicBezTo>
                      <a:pt x="38294" y="182303"/>
                      <a:pt x="36733" y="182172"/>
                      <a:pt x="35165" y="182155"/>
                    </a:cubicBezTo>
                    <a:cubicBezTo>
                      <a:pt x="33387" y="181608"/>
                      <a:pt x="31751" y="180673"/>
                      <a:pt x="30378" y="179419"/>
                    </a:cubicBezTo>
                    <a:cubicBezTo>
                      <a:pt x="22615" y="175122"/>
                      <a:pt x="13730" y="173292"/>
                      <a:pt x="4901" y="174176"/>
                    </a:cubicBezTo>
                    <a:cubicBezTo>
                      <a:pt x="-798" y="164373"/>
                      <a:pt x="9518" y="151891"/>
                      <a:pt x="6041" y="141233"/>
                    </a:cubicBezTo>
                    <a:cubicBezTo>
                      <a:pt x="5231" y="138964"/>
                      <a:pt x="4263" y="136753"/>
                      <a:pt x="3134" y="134622"/>
                    </a:cubicBezTo>
                    <a:cubicBezTo>
                      <a:pt x="-1488" y="125234"/>
                      <a:pt x="-969" y="114132"/>
                      <a:pt x="4502" y="105212"/>
                    </a:cubicBezTo>
                    <a:cubicBezTo>
                      <a:pt x="5933" y="103423"/>
                      <a:pt x="6890" y="101308"/>
                      <a:pt x="7295" y="99057"/>
                    </a:cubicBezTo>
                    <a:cubicBezTo>
                      <a:pt x="7295" y="98145"/>
                      <a:pt x="7295" y="97290"/>
                      <a:pt x="7295" y="96378"/>
                    </a:cubicBezTo>
                    <a:cubicBezTo>
                      <a:pt x="7637" y="92958"/>
                      <a:pt x="11398" y="91135"/>
                      <a:pt x="14590" y="89767"/>
                    </a:cubicBezTo>
                    <a:cubicBezTo>
                      <a:pt x="17782" y="88399"/>
                      <a:pt x="21486" y="86005"/>
                      <a:pt x="21031" y="82585"/>
                    </a:cubicBezTo>
                    <a:cubicBezTo>
                      <a:pt x="20575" y="79166"/>
                      <a:pt x="17041" y="77513"/>
                      <a:pt x="16756" y="74435"/>
                    </a:cubicBezTo>
                    <a:cubicBezTo>
                      <a:pt x="16357" y="70445"/>
                      <a:pt x="21315" y="68337"/>
                      <a:pt x="23253" y="64917"/>
                    </a:cubicBezTo>
                    <a:cubicBezTo>
                      <a:pt x="24707" y="60979"/>
                      <a:pt x="24707" y="56658"/>
                      <a:pt x="23253" y="52720"/>
                    </a:cubicBezTo>
                    <a:cubicBezTo>
                      <a:pt x="22700" y="50588"/>
                      <a:pt x="22324" y="48417"/>
                      <a:pt x="22113" y="46223"/>
                    </a:cubicBez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696" name="Freihandform: Form 412">
                <a:extLst>
                  <a:ext uri="{FF2B5EF4-FFF2-40B4-BE49-F238E27FC236}">
                    <a16:creationId xmlns:a16="http://schemas.microsoft.com/office/drawing/2014/main" id="{0AFD85D4-738D-0911-3BA0-8C72EF2046E0}"/>
                  </a:ext>
                </a:extLst>
              </p:cNvPr>
              <p:cNvSpPr/>
              <p:nvPr/>
            </p:nvSpPr>
            <p:spPr>
              <a:xfrm>
                <a:off x="3856381" y="2849946"/>
                <a:ext cx="74442" cy="79841"/>
              </a:xfrm>
              <a:custGeom>
                <a:avLst/>
                <a:gdLst>
                  <a:gd name="connsiteX0" fmla="*/ 0 w 74442"/>
                  <a:gd name="connsiteY0" fmla="*/ 58696 h 79841"/>
                  <a:gd name="connsiteX1" fmla="*/ 8093 w 74442"/>
                  <a:gd name="connsiteY1" fmla="*/ 56815 h 79841"/>
                  <a:gd name="connsiteX2" fmla="*/ 8093 w 74442"/>
                  <a:gd name="connsiteY2" fmla="*/ 48608 h 79841"/>
                  <a:gd name="connsiteX3" fmla="*/ 15474 w 74442"/>
                  <a:gd name="connsiteY3" fmla="*/ 44305 h 79841"/>
                  <a:gd name="connsiteX4" fmla="*/ 15674 w 74442"/>
                  <a:gd name="connsiteY4" fmla="*/ 42909 h 79841"/>
                  <a:gd name="connsiteX5" fmla="*/ 15046 w 74442"/>
                  <a:gd name="connsiteY5" fmla="*/ 37779 h 79841"/>
                  <a:gd name="connsiteX6" fmla="*/ 24223 w 74442"/>
                  <a:gd name="connsiteY6" fmla="*/ 33391 h 79841"/>
                  <a:gd name="connsiteX7" fmla="*/ 22513 w 74442"/>
                  <a:gd name="connsiteY7" fmla="*/ 24271 h 79841"/>
                  <a:gd name="connsiteX8" fmla="*/ 31632 w 74442"/>
                  <a:gd name="connsiteY8" fmla="*/ 22391 h 79841"/>
                  <a:gd name="connsiteX9" fmla="*/ 34425 w 74442"/>
                  <a:gd name="connsiteY9" fmla="*/ 22391 h 79841"/>
                  <a:gd name="connsiteX10" fmla="*/ 37274 w 74442"/>
                  <a:gd name="connsiteY10" fmla="*/ 10080 h 79841"/>
                  <a:gd name="connsiteX11" fmla="*/ 40124 w 74442"/>
                  <a:gd name="connsiteY11" fmla="*/ 8541 h 79841"/>
                  <a:gd name="connsiteX12" fmla="*/ 61953 w 74442"/>
                  <a:gd name="connsiteY12" fmla="*/ 3810 h 79841"/>
                  <a:gd name="connsiteX13" fmla="*/ 66342 w 74442"/>
                  <a:gd name="connsiteY13" fmla="*/ 106 h 79841"/>
                  <a:gd name="connsiteX14" fmla="*/ 72668 w 74442"/>
                  <a:gd name="connsiteY14" fmla="*/ 2499 h 79841"/>
                  <a:gd name="connsiteX15" fmla="*/ 73352 w 74442"/>
                  <a:gd name="connsiteY15" fmla="*/ 8997 h 79841"/>
                  <a:gd name="connsiteX16" fmla="*/ 73352 w 74442"/>
                  <a:gd name="connsiteY16" fmla="*/ 21194 h 79841"/>
                  <a:gd name="connsiteX17" fmla="*/ 66855 w 74442"/>
                  <a:gd name="connsiteY17" fmla="*/ 30712 h 79841"/>
                  <a:gd name="connsiteX18" fmla="*/ 71129 w 74442"/>
                  <a:gd name="connsiteY18" fmla="*/ 38862 h 79841"/>
                  <a:gd name="connsiteX19" fmla="*/ 64689 w 74442"/>
                  <a:gd name="connsiteY19" fmla="*/ 46043 h 79841"/>
                  <a:gd name="connsiteX20" fmla="*/ 57394 w 74442"/>
                  <a:gd name="connsiteY20" fmla="*/ 52655 h 79841"/>
                  <a:gd name="connsiteX21" fmla="*/ 57394 w 74442"/>
                  <a:gd name="connsiteY21" fmla="*/ 55334 h 79841"/>
                  <a:gd name="connsiteX22" fmla="*/ 54601 w 74442"/>
                  <a:gd name="connsiteY22" fmla="*/ 61489 h 79841"/>
                  <a:gd name="connsiteX23" fmla="*/ 50212 w 74442"/>
                  <a:gd name="connsiteY23" fmla="*/ 79841 h 79841"/>
                  <a:gd name="connsiteX24" fmla="*/ 46565 w 74442"/>
                  <a:gd name="connsiteY24" fmla="*/ 77847 h 79841"/>
                  <a:gd name="connsiteX25" fmla="*/ 39611 w 74442"/>
                  <a:gd name="connsiteY25" fmla="*/ 73743 h 79841"/>
                  <a:gd name="connsiteX26" fmla="*/ 29808 w 74442"/>
                  <a:gd name="connsiteY26" fmla="*/ 67075 h 79841"/>
                  <a:gd name="connsiteX27" fmla="*/ 22969 w 74442"/>
                  <a:gd name="connsiteY27" fmla="*/ 62173 h 79841"/>
                  <a:gd name="connsiteX28" fmla="*/ 20176 w 74442"/>
                  <a:gd name="connsiteY28" fmla="*/ 61717 h 79841"/>
                  <a:gd name="connsiteX29" fmla="*/ 12482 w 74442"/>
                  <a:gd name="connsiteY29" fmla="*/ 58297 h 79841"/>
                  <a:gd name="connsiteX30" fmla="*/ 0 w 74442"/>
                  <a:gd name="connsiteY30" fmla="*/ 58696 h 7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4442" h="79841">
                    <a:moveTo>
                      <a:pt x="0" y="58696"/>
                    </a:moveTo>
                    <a:cubicBezTo>
                      <a:pt x="2183" y="56690"/>
                      <a:pt x="5255" y="55978"/>
                      <a:pt x="8093" y="56815"/>
                    </a:cubicBezTo>
                    <a:cubicBezTo>
                      <a:pt x="8093" y="54080"/>
                      <a:pt x="8093" y="51116"/>
                      <a:pt x="8093" y="48608"/>
                    </a:cubicBezTo>
                    <a:cubicBezTo>
                      <a:pt x="11319" y="49457"/>
                      <a:pt x="14625" y="47531"/>
                      <a:pt x="15474" y="44305"/>
                    </a:cubicBezTo>
                    <a:cubicBezTo>
                      <a:pt x="15594" y="43849"/>
                      <a:pt x="15662" y="43382"/>
                      <a:pt x="15674" y="42909"/>
                    </a:cubicBezTo>
                    <a:cubicBezTo>
                      <a:pt x="15297" y="41222"/>
                      <a:pt x="15092" y="39506"/>
                      <a:pt x="15046" y="37779"/>
                    </a:cubicBezTo>
                    <a:cubicBezTo>
                      <a:pt x="15674" y="34132"/>
                      <a:pt x="20746" y="33334"/>
                      <a:pt x="24223" y="33391"/>
                    </a:cubicBezTo>
                    <a:lnTo>
                      <a:pt x="22513" y="24271"/>
                    </a:lnTo>
                    <a:cubicBezTo>
                      <a:pt x="25328" y="22830"/>
                      <a:pt x="28480" y="22180"/>
                      <a:pt x="31632" y="22391"/>
                    </a:cubicBezTo>
                    <a:cubicBezTo>
                      <a:pt x="32550" y="22590"/>
                      <a:pt x="33507" y="22590"/>
                      <a:pt x="34425" y="22391"/>
                    </a:cubicBezTo>
                    <a:cubicBezTo>
                      <a:pt x="38642" y="20852"/>
                      <a:pt x="34425" y="13499"/>
                      <a:pt x="37274" y="10080"/>
                    </a:cubicBezTo>
                    <a:cubicBezTo>
                      <a:pt x="38072" y="9327"/>
                      <a:pt x="39058" y="8797"/>
                      <a:pt x="40124" y="8541"/>
                    </a:cubicBezTo>
                    <a:cubicBezTo>
                      <a:pt x="47363" y="6432"/>
                      <a:pt x="56368" y="8997"/>
                      <a:pt x="61953" y="3810"/>
                    </a:cubicBezTo>
                    <a:cubicBezTo>
                      <a:pt x="63378" y="2499"/>
                      <a:pt x="64518" y="733"/>
                      <a:pt x="66342" y="106"/>
                    </a:cubicBezTo>
                    <a:cubicBezTo>
                      <a:pt x="68730" y="-327"/>
                      <a:pt x="71163" y="590"/>
                      <a:pt x="72668" y="2499"/>
                    </a:cubicBezTo>
                    <a:cubicBezTo>
                      <a:pt x="72725" y="4682"/>
                      <a:pt x="72953" y="6854"/>
                      <a:pt x="73352" y="8997"/>
                    </a:cubicBezTo>
                    <a:cubicBezTo>
                      <a:pt x="74806" y="12935"/>
                      <a:pt x="74806" y="17255"/>
                      <a:pt x="73352" y="21194"/>
                    </a:cubicBezTo>
                    <a:cubicBezTo>
                      <a:pt x="71414" y="24613"/>
                      <a:pt x="66456" y="26893"/>
                      <a:pt x="66855" y="30712"/>
                    </a:cubicBezTo>
                    <a:cubicBezTo>
                      <a:pt x="66855" y="33790"/>
                      <a:pt x="70787" y="35784"/>
                      <a:pt x="71129" y="38862"/>
                    </a:cubicBezTo>
                    <a:cubicBezTo>
                      <a:pt x="71471" y="41940"/>
                      <a:pt x="67881" y="44562"/>
                      <a:pt x="64689" y="46043"/>
                    </a:cubicBezTo>
                    <a:cubicBezTo>
                      <a:pt x="61497" y="47525"/>
                      <a:pt x="57736" y="49235"/>
                      <a:pt x="57394" y="52655"/>
                    </a:cubicBezTo>
                    <a:cubicBezTo>
                      <a:pt x="57394" y="53567"/>
                      <a:pt x="57394" y="54422"/>
                      <a:pt x="57394" y="55334"/>
                    </a:cubicBezTo>
                    <a:cubicBezTo>
                      <a:pt x="56989" y="57585"/>
                      <a:pt x="56031" y="59699"/>
                      <a:pt x="54601" y="61489"/>
                    </a:cubicBezTo>
                    <a:cubicBezTo>
                      <a:pt x="51204" y="66978"/>
                      <a:pt x="49665" y="73412"/>
                      <a:pt x="50212" y="79841"/>
                    </a:cubicBezTo>
                    <a:cubicBezTo>
                      <a:pt x="48958" y="79214"/>
                      <a:pt x="47762" y="78530"/>
                      <a:pt x="46565" y="77847"/>
                    </a:cubicBezTo>
                    <a:lnTo>
                      <a:pt x="39611" y="73743"/>
                    </a:lnTo>
                    <a:cubicBezTo>
                      <a:pt x="36112" y="71879"/>
                      <a:pt x="32829" y="69645"/>
                      <a:pt x="29808" y="67075"/>
                    </a:cubicBezTo>
                    <a:cubicBezTo>
                      <a:pt x="27984" y="64886"/>
                      <a:pt x="25631" y="63199"/>
                      <a:pt x="22969" y="62173"/>
                    </a:cubicBezTo>
                    <a:cubicBezTo>
                      <a:pt x="22057" y="62173"/>
                      <a:pt x="21088" y="61888"/>
                      <a:pt x="20176" y="61717"/>
                    </a:cubicBezTo>
                    <a:cubicBezTo>
                      <a:pt x="17520" y="60799"/>
                      <a:pt x="14944" y="59659"/>
                      <a:pt x="12482" y="58297"/>
                    </a:cubicBezTo>
                    <a:cubicBezTo>
                      <a:pt x="8367" y="57266"/>
                      <a:pt x="4041" y="57402"/>
                      <a:pt x="0" y="586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7" name="Freihandform: Form 413">
                <a:extLst>
                  <a:ext uri="{FF2B5EF4-FFF2-40B4-BE49-F238E27FC236}">
                    <a16:creationId xmlns:a16="http://schemas.microsoft.com/office/drawing/2014/main" id="{96E8146F-BD6A-FF04-0D86-324D390049C4}"/>
                  </a:ext>
                </a:extLst>
              </p:cNvPr>
              <p:cNvSpPr/>
              <p:nvPr/>
            </p:nvSpPr>
            <p:spPr>
              <a:xfrm>
                <a:off x="3832443" y="2907419"/>
                <a:ext cx="81697" cy="69217"/>
              </a:xfrm>
              <a:custGeom>
                <a:avLst/>
                <a:gdLst>
                  <a:gd name="connsiteX0" fmla="*/ 61953 w 81697"/>
                  <a:gd name="connsiteY0" fmla="*/ 69218 h 69217"/>
                  <a:gd name="connsiteX1" fmla="*/ 57565 w 81697"/>
                  <a:gd name="connsiteY1" fmla="*/ 66254 h 69217"/>
                  <a:gd name="connsiteX2" fmla="*/ 44627 w 81697"/>
                  <a:gd name="connsiteY2" fmla="*/ 61011 h 69217"/>
                  <a:gd name="connsiteX3" fmla="*/ 38928 w 81697"/>
                  <a:gd name="connsiteY3" fmla="*/ 54456 h 69217"/>
                  <a:gd name="connsiteX4" fmla="*/ 25648 w 81697"/>
                  <a:gd name="connsiteY4" fmla="*/ 47674 h 69217"/>
                  <a:gd name="connsiteX5" fmla="*/ 19606 w 81697"/>
                  <a:gd name="connsiteY5" fmla="*/ 39524 h 69217"/>
                  <a:gd name="connsiteX6" fmla="*/ 4161 w 81697"/>
                  <a:gd name="connsiteY6" fmla="*/ 31089 h 69217"/>
                  <a:gd name="connsiteX7" fmla="*/ 627 w 81697"/>
                  <a:gd name="connsiteY7" fmla="*/ 21969 h 69217"/>
                  <a:gd name="connsiteX8" fmla="*/ 0 w 81697"/>
                  <a:gd name="connsiteY8" fmla="*/ 21171 h 69217"/>
                  <a:gd name="connsiteX9" fmla="*/ 4674 w 81697"/>
                  <a:gd name="connsiteY9" fmla="*/ 21171 h 69217"/>
                  <a:gd name="connsiteX10" fmla="*/ 7238 w 81697"/>
                  <a:gd name="connsiteY10" fmla="*/ 13591 h 69217"/>
                  <a:gd name="connsiteX11" fmla="*/ 17098 w 81697"/>
                  <a:gd name="connsiteY11" fmla="*/ 13249 h 69217"/>
                  <a:gd name="connsiteX12" fmla="*/ 19549 w 81697"/>
                  <a:gd name="connsiteY12" fmla="*/ 12451 h 69217"/>
                  <a:gd name="connsiteX13" fmla="*/ 20860 w 81697"/>
                  <a:gd name="connsiteY13" fmla="*/ 6752 h 69217"/>
                  <a:gd name="connsiteX14" fmla="*/ 24052 w 81697"/>
                  <a:gd name="connsiteY14" fmla="*/ 1052 h 69217"/>
                  <a:gd name="connsiteX15" fmla="*/ 36762 w 81697"/>
                  <a:gd name="connsiteY15" fmla="*/ 767 h 69217"/>
                  <a:gd name="connsiteX16" fmla="*/ 44456 w 81697"/>
                  <a:gd name="connsiteY16" fmla="*/ 4187 h 69217"/>
                  <a:gd name="connsiteX17" fmla="*/ 47249 w 81697"/>
                  <a:gd name="connsiteY17" fmla="*/ 4643 h 69217"/>
                  <a:gd name="connsiteX18" fmla="*/ 54088 w 81697"/>
                  <a:gd name="connsiteY18" fmla="*/ 9544 h 69217"/>
                  <a:gd name="connsiteX19" fmla="*/ 63891 w 81697"/>
                  <a:gd name="connsiteY19" fmla="*/ 16213 h 69217"/>
                  <a:gd name="connsiteX20" fmla="*/ 70844 w 81697"/>
                  <a:gd name="connsiteY20" fmla="*/ 20316 h 69217"/>
                  <a:gd name="connsiteX21" fmla="*/ 74492 w 81697"/>
                  <a:gd name="connsiteY21" fmla="*/ 22311 h 69217"/>
                  <a:gd name="connsiteX22" fmla="*/ 77627 w 81697"/>
                  <a:gd name="connsiteY22" fmla="*/ 33539 h 69217"/>
                  <a:gd name="connsiteX23" fmla="*/ 80990 w 81697"/>
                  <a:gd name="connsiteY23" fmla="*/ 40322 h 69217"/>
                  <a:gd name="connsiteX24" fmla="*/ 81445 w 81697"/>
                  <a:gd name="connsiteY24" fmla="*/ 48586 h 69217"/>
                  <a:gd name="connsiteX25" fmla="*/ 71813 w 81697"/>
                  <a:gd name="connsiteY25" fmla="*/ 50353 h 69217"/>
                  <a:gd name="connsiteX26" fmla="*/ 61953 w 81697"/>
                  <a:gd name="connsiteY26" fmla="*/ 69218 h 6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697" h="69217">
                    <a:moveTo>
                      <a:pt x="61953" y="69218"/>
                    </a:moveTo>
                    <a:cubicBezTo>
                      <a:pt x="60471" y="68306"/>
                      <a:pt x="59104" y="67109"/>
                      <a:pt x="57565" y="66254"/>
                    </a:cubicBezTo>
                    <a:cubicBezTo>
                      <a:pt x="53518" y="63917"/>
                      <a:pt x="48274" y="63974"/>
                      <a:pt x="44627" y="61011"/>
                    </a:cubicBezTo>
                    <a:cubicBezTo>
                      <a:pt x="42404" y="59187"/>
                      <a:pt x="41036" y="56394"/>
                      <a:pt x="38928" y="54456"/>
                    </a:cubicBezTo>
                    <a:cubicBezTo>
                      <a:pt x="35109" y="51208"/>
                      <a:pt x="29295" y="51094"/>
                      <a:pt x="25648" y="47674"/>
                    </a:cubicBezTo>
                    <a:cubicBezTo>
                      <a:pt x="23140" y="45337"/>
                      <a:pt x="22114" y="41974"/>
                      <a:pt x="19606" y="39524"/>
                    </a:cubicBezTo>
                    <a:cubicBezTo>
                      <a:pt x="15275" y="35477"/>
                      <a:pt x="7580" y="35933"/>
                      <a:pt x="4161" y="31089"/>
                    </a:cubicBezTo>
                    <a:cubicBezTo>
                      <a:pt x="2223" y="28410"/>
                      <a:pt x="2223" y="24819"/>
                      <a:pt x="627" y="21969"/>
                    </a:cubicBezTo>
                    <a:cubicBezTo>
                      <a:pt x="627" y="21684"/>
                      <a:pt x="171" y="21456"/>
                      <a:pt x="0" y="21171"/>
                    </a:cubicBezTo>
                    <a:lnTo>
                      <a:pt x="4674" y="21171"/>
                    </a:lnTo>
                    <a:cubicBezTo>
                      <a:pt x="1995" y="19234"/>
                      <a:pt x="4047" y="14560"/>
                      <a:pt x="7238" y="13591"/>
                    </a:cubicBezTo>
                    <a:cubicBezTo>
                      <a:pt x="10504" y="13107"/>
                      <a:pt x="13810" y="12987"/>
                      <a:pt x="17098" y="13249"/>
                    </a:cubicBezTo>
                    <a:cubicBezTo>
                      <a:pt x="17976" y="13226"/>
                      <a:pt x="18825" y="12953"/>
                      <a:pt x="19549" y="12451"/>
                    </a:cubicBezTo>
                    <a:cubicBezTo>
                      <a:pt x="21088" y="11140"/>
                      <a:pt x="20689" y="8746"/>
                      <a:pt x="20860" y="6752"/>
                    </a:cubicBezTo>
                    <a:cubicBezTo>
                      <a:pt x="21082" y="4489"/>
                      <a:pt x="22239" y="2426"/>
                      <a:pt x="24052" y="1052"/>
                    </a:cubicBezTo>
                    <a:cubicBezTo>
                      <a:pt x="28178" y="-247"/>
                      <a:pt x="32584" y="-344"/>
                      <a:pt x="36762" y="767"/>
                    </a:cubicBezTo>
                    <a:cubicBezTo>
                      <a:pt x="39224" y="2129"/>
                      <a:pt x="41800" y="3269"/>
                      <a:pt x="44456" y="4187"/>
                    </a:cubicBezTo>
                    <a:cubicBezTo>
                      <a:pt x="45368" y="4187"/>
                      <a:pt x="46337" y="4187"/>
                      <a:pt x="47249" y="4643"/>
                    </a:cubicBezTo>
                    <a:cubicBezTo>
                      <a:pt x="49910" y="5669"/>
                      <a:pt x="52264" y="7356"/>
                      <a:pt x="54088" y="9544"/>
                    </a:cubicBezTo>
                    <a:cubicBezTo>
                      <a:pt x="57103" y="12115"/>
                      <a:pt x="60392" y="14349"/>
                      <a:pt x="63891" y="16213"/>
                    </a:cubicBezTo>
                    <a:lnTo>
                      <a:pt x="70844" y="20316"/>
                    </a:lnTo>
                    <a:cubicBezTo>
                      <a:pt x="72041" y="21000"/>
                      <a:pt x="73238" y="21684"/>
                      <a:pt x="74492" y="22311"/>
                    </a:cubicBezTo>
                    <a:cubicBezTo>
                      <a:pt x="74772" y="26227"/>
                      <a:pt x="75837" y="30045"/>
                      <a:pt x="77627" y="33539"/>
                    </a:cubicBezTo>
                    <a:cubicBezTo>
                      <a:pt x="78915" y="35711"/>
                      <a:pt x="80043" y="37979"/>
                      <a:pt x="80990" y="40322"/>
                    </a:cubicBezTo>
                    <a:cubicBezTo>
                      <a:pt x="81742" y="43012"/>
                      <a:pt x="81896" y="45833"/>
                      <a:pt x="81445" y="48586"/>
                    </a:cubicBezTo>
                    <a:cubicBezTo>
                      <a:pt x="78140" y="48421"/>
                      <a:pt x="74846" y="49025"/>
                      <a:pt x="71813" y="50353"/>
                    </a:cubicBezTo>
                    <a:cubicBezTo>
                      <a:pt x="64712" y="53761"/>
                      <a:pt x="60700" y="61438"/>
                      <a:pt x="61953" y="692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8" name="Freihandform: Form 414">
                <a:extLst>
                  <a:ext uri="{FF2B5EF4-FFF2-40B4-BE49-F238E27FC236}">
                    <a16:creationId xmlns:a16="http://schemas.microsoft.com/office/drawing/2014/main" id="{3DCC8382-C15D-C45A-E912-51915272EE05}"/>
                  </a:ext>
                </a:extLst>
              </p:cNvPr>
              <p:cNvSpPr/>
              <p:nvPr/>
            </p:nvSpPr>
            <p:spPr>
              <a:xfrm>
                <a:off x="3894151" y="2955964"/>
                <a:ext cx="19509" cy="22418"/>
              </a:xfrm>
              <a:custGeom>
                <a:avLst/>
                <a:gdLst>
                  <a:gd name="connsiteX0" fmla="*/ 19510 w 19509"/>
                  <a:gd name="connsiteY0" fmla="*/ 41 h 22418"/>
                  <a:gd name="connsiteX1" fmla="*/ 16318 w 19509"/>
                  <a:gd name="connsiteY1" fmla="*/ 19419 h 22418"/>
                  <a:gd name="connsiteX2" fmla="*/ 13183 w 19509"/>
                  <a:gd name="connsiteY2" fmla="*/ 21072 h 22418"/>
                  <a:gd name="connsiteX3" fmla="*/ 1043 w 19509"/>
                  <a:gd name="connsiteY3" fmla="*/ 21072 h 22418"/>
                  <a:gd name="connsiteX4" fmla="*/ 245 w 19509"/>
                  <a:gd name="connsiteY4" fmla="*/ 20559 h 22418"/>
                  <a:gd name="connsiteX5" fmla="*/ 9878 w 19509"/>
                  <a:gd name="connsiteY5" fmla="*/ 1694 h 22418"/>
                  <a:gd name="connsiteX6" fmla="*/ 19510 w 19509"/>
                  <a:gd name="connsiteY6" fmla="*/ 41 h 2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9" h="22418">
                    <a:moveTo>
                      <a:pt x="19510" y="41"/>
                    </a:moveTo>
                    <a:cubicBezTo>
                      <a:pt x="17794" y="6373"/>
                      <a:pt x="16723" y="12870"/>
                      <a:pt x="16318" y="19419"/>
                    </a:cubicBezTo>
                    <a:cubicBezTo>
                      <a:pt x="15321" y="20057"/>
                      <a:pt x="14272" y="20610"/>
                      <a:pt x="13183" y="21072"/>
                    </a:cubicBezTo>
                    <a:cubicBezTo>
                      <a:pt x="9336" y="22867"/>
                      <a:pt x="4891" y="22867"/>
                      <a:pt x="1043" y="21072"/>
                    </a:cubicBezTo>
                    <a:cubicBezTo>
                      <a:pt x="764" y="20924"/>
                      <a:pt x="496" y="20747"/>
                      <a:pt x="245" y="20559"/>
                    </a:cubicBezTo>
                    <a:cubicBezTo>
                      <a:pt x="-1048" y="12836"/>
                      <a:pt x="2861" y="5176"/>
                      <a:pt x="9878" y="1694"/>
                    </a:cubicBezTo>
                    <a:cubicBezTo>
                      <a:pt x="12915" y="406"/>
                      <a:pt x="16215" y="-164"/>
                      <a:pt x="19510" y="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699" name="Freihandform: Form 415">
                <a:extLst>
                  <a:ext uri="{FF2B5EF4-FFF2-40B4-BE49-F238E27FC236}">
                    <a16:creationId xmlns:a16="http://schemas.microsoft.com/office/drawing/2014/main" id="{7584910B-4562-7D7F-701C-0613B69ABE97}"/>
                  </a:ext>
                </a:extLst>
              </p:cNvPr>
              <p:cNvSpPr/>
              <p:nvPr/>
            </p:nvSpPr>
            <p:spPr>
              <a:xfrm>
                <a:off x="3668462" y="2928377"/>
                <a:ext cx="315271" cy="284421"/>
              </a:xfrm>
              <a:custGeom>
                <a:avLst/>
                <a:gdLst>
                  <a:gd name="connsiteX0" fmla="*/ 311199 w 315271"/>
                  <a:gd name="connsiteY0" fmla="*/ 281026 h 284421"/>
                  <a:gd name="connsiteX1" fmla="*/ 305841 w 315271"/>
                  <a:gd name="connsiteY1" fmla="*/ 283762 h 284421"/>
                  <a:gd name="connsiteX2" fmla="*/ 294248 w 315271"/>
                  <a:gd name="connsiteY2" fmla="*/ 278889 h 284421"/>
                  <a:gd name="connsiteX3" fmla="*/ 294442 w 315271"/>
                  <a:gd name="connsiteY3" fmla="*/ 271736 h 284421"/>
                  <a:gd name="connsiteX4" fmla="*/ 289654 w 315271"/>
                  <a:gd name="connsiteY4" fmla="*/ 265068 h 284421"/>
                  <a:gd name="connsiteX5" fmla="*/ 291649 w 315271"/>
                  <a:gd name="connsiteY5" fmla="*/ 257487 h 284421"/>
                  <a:gd name="connsiteX6" fmla="*/ 295753 w 315271"/>
                  <a:gd name="connsiteY6" fmla="*/ 255264 h 284421"/>
                  <a:gd name="connsiteX7" fmla="*/ 297748 w 315271"/>
                  <a:gd name="connsiteY7" fmla="*/ 249565 h 284421"/>
                  <a:gd name="connsiteX8" fmla="*/ 305955 w 315271"/>
                  <a:gd name="connsiteY8" fmla="*/ 246658 h 284421"/>
                  <a:gd name="connsiteX9" fmla="*/ 311654 w 315271"/>
                  <a:gd name="connsiteY9" fmla="*/ 240617 h 284421"/>
                  <a:gd name="connsiteX10" fmla="*/ 314162 w 315271"/>
                  <a:gd name="connsiteY10" fmla="*/ 242441 h 284421"/>
                  <a:gd name="connsiteX11" fmla="*/ 312908 w 315271"/>
                  <a:gd name="connsiteY11" fmla="*/ 262845 h 284421"/>
                  <a:gd name="connsiteX12" fmla="*/ 312167 w 315271"/>
                  <a:gd name="connsiteY12" fmla="*/ 274985 h 284421"/>
                  <a:gd name="connsiteX13" fmla="*/ 311199 w 315271"/>
                  <a:gd name="connsiteY13" fmla="*/ 277493 h 284421"/>
                  <a:gd name="connsiteX14" fmla="*/ 311199 w 315271"/>
                  <a:gd name="connsiteY14" fmla="*/ 281026 h 284421"/>
                  <a:gd name="connsiteX15" fmla="*/ 254147 w 315271"/>
                  <a:gd name="connsiteY15" fmla="*/ 194964 h 284421"/>
                  <a:gd name="connsiteX16" fmla="*/ 262696 w 315271"/>
                  <a:gd name="connsiteY16" fmla="*/ 166467 h 284421"/>
                  <a:gd name="connsiteX17" fmla="*/ 252437 w 315271"/>
                  <a:gd name="connsiteY17" fmla="*/ 145379 h 284421"/>
                  <a:gd name="connsiteX18" fmla="*/ 249131 w 315271"/>
                  <a:gd name="connsiteY18" fmla="*/ 142301 h 284421"/>
                  <a:gd name="connsiteX19" fmla="*/ 241893 w 315271"/>
                  <a:gd name="connsiteY19" fmla="*/ 139280 h 284421"/>
                  <a:gd name="connsiteX20" fmla="*/ 245997 w 315271"/>
                  <a:gd name="connsiteY20" fmla="*/ 127881 h 284421"/>
                  <a:gd name="connsiteX21" fmla="*/ 256483 w 315271"/>
                  <a:gd name="connsiteY21" fmla="*/ 119332 h 284421"/>
                  <a:gd name="connsiteX22" fmla="*/ 257566 w 315271"/>
                  <a:gd name="connsiteY22" fmla="*/ 112322 h 284421"/>
                  <a:gd name="connsiteX23" fmla="*/ 264406 w 315271"/>
                  <a:gd name="connsiteY23" fmla="*/ 105710 h 284421"/>
                  <a:gd name="connsiteX24" fmla="*/ 272385 w 315271"/>
                  <a:gd name="connsiteY24" fmla="*/ 100011 h 284421"/>
                  <a:gd name="connsiteX25" fmla="*/ 272385 w 315271"/>
                  <a:gd name="connsiteY25" fmla="*/ 99726 h 284421"/>
                  <a:gd name="connsiteX26" fmla="*/ 271644 w 315271"/>
                  <a:gd name="connsiteY26" fmla="*/ 96021 h 284421"/>
                  <a:gd name="connsiteX27" fmla="*/ 276033 w 315271"/>
                  <a:gd name="connsiteY27" fmla="*/ 74420 h 284421"/>
                  <a:gd name="connsiteX28" fmla="*/ 280820 w 315271"/>
                  <a:gd name="connsiteY28" fmla="*/ 67752 h 284421"/>
                  <a:gd name="connsiteX29" fmla="*/ 278826 w 315271"/>
                  <a:gd name="connsiteY29" fmla="*/ 60628 h 284421"/>
                  <a:gd name="connsiteX30" fmla="*/ 274152 w 315271"/>
                  <a:gd name="connsiteY30" fmla="*/ 60229 h 284421"/>
                  <a:gd name="connsiteX31" fmla="*/ 269364 w 315271"/>
                  <a:gd name="connsiteY31" fmla="*/ 57493 h 284421"/>
                  <a:gd name="connsiteX32" fmla="*/ 243888 w 315271"/>
                  <a:gd name="connsiteY32" fmla="*/ 52249 h 284421"/>
                  <a:gd name="connsiteX33" fmla="*/ 242292 w 315271"/>
                  <a:gd name="connsiteY33" fmla="*/ 46949 h 284421"/>
                  <a:gd name="connsiteX34" fmla="*/ 239157 w 315271"/>
                  <a:gd name="connsiteY34" fmla="*/ 48602 h 284421"/>
                  <a:gd name="connsiteX35" fmla="*/ 227017 w 315271"/>
                  <a:gd name="connsiteY35" fmla="*/ 48602 h 284421"/>
                  <a:gd name="connsiteX36" fmla="*/ 221831 w 315271"/>
                  <a:gd name="connsiteY36" fmla="*/ 45125 h 284421"/>
                  <a:gd name="connsiteX37" fmla="*/ 208893 w 315271"/>
                  <a:gd name="connsiteY37" fmla="*/ 39881 h 284421"/>
                  <a:gd name="connsiteX38" fmla="*/ 203194 w 315271"/>
                  <a:gd name="connsiteY38" fmla="*/ 33327 h 284421"/>
                  <a:gd name="connsiteX39" fmla="*/ 189914 w 315271"/>
                  <a:gd name="connsiteY39" fmla="*/ 26545 h 284421"/>
                  <a:gd name="connsiteX40" fmla="*/ 183872 w 315271"/>
                  <a:gd name="connsiteY40" fmla="*/ 18394 h 284421"/>
                  <a:gd name="connsiteX41" fmla="*/ 168427 w 315271"/>
                  <a:gd name="connsiteY41" fmla="*/ 9959 h 284421"/>
                  <a:gd name="connsiteX42" fmla="*/ 164893 w 315271"/>
                  <a:gd name="connsiteY42" fmla="*/ 840 h 284421"/>
                  <a:gd name="connsiteX43" fmla="*/ 164266 w 315271"/>
                  <a:gd name="connsiteY43" fmla="*/ 42 h 284421"/>
                  <a:gd name="connsiteX44" fmla="*/ 151898 w 315271"/>
                  <a:gd name="connsiteY44" fmla="*/ 42 h 284421"/>
                  <a:gd name="connsiteX45" fmla="*/ 147395 w 315271"/>
                  <a:gd name="connsiteY45" fmla="*/ 1125 h 284421"/>
                  <a:gd name="connsiteX46" fmla="*/ 145572 w 315271"/>
                  <a:gd name="connsiteY46" fmla="*/ 5001 h 284421"/>
                  <a:gd name="connsiteX47" fmla="*/ 140214 w 315271"/>
                  <a:gd name="connsiteY47" fmla="*/ 27799 h 284421"/>
                  <a:gd name="connsiteX48" fmla="*/ 118670 w 315271"/>
                  <a:gd name="connsiteY48" fmla="*/ 40565 h 284421"/>
                  <a:gd name="connsiteX49" fmla="*/ 110235 w 315271"/>
                  <a:gd name="connsiteY49" fmla="*/ 43073 h 284421"/>
                  <a:gd name="connsiteX50" fmla="*/ 108240 w 315271"/>
                  <a:gd name="connsiteY50" fmla="*/ 51166 h 284421"/>
                  <a:gd name="connsiteX51" fmla="*/ 102541 w 315271"/>
                  <a:gd name="connsiteY51" fmla="*/ 53674 h 284421"/>
                  <a:gd name="connsiteX52" fmla="*/ 75525 w 315271"/>
                  <a:gd name="connsiteY52" fmla="*/ 43586 h 284421"/>
                  <a:gd name="connsiteX53" fmla="*/ 62701 w 315271"/>
                  <a:gd name="connsiteY53" fmla="*/ 39254 h 284421"/>
                  <a:gd name="connsiteX54" fmla="*/ 72675 w 315271"/>
                  <a:gd name="connsiteY54" fmla="*/ 74705 h 284421"/>
                  <a:gd name="connsiteX55" fmla="*/ 14142 w 315271"/>
                  <a:gd name="connsiteY55" fmla="*/ 70944 h 284421"/>
                  <a:gd name="connsiteX56" fmla="*/ 7 w 315271"/>
                  <a:gd name="connsiteY56" fmla="*/ 78923 h 284421"/>
                  <a:gd name="connsiteX57" fmla="*/ 3940 w 315271"/>
                  <a:gd name="connsiteY57" fmla="*/ 86674 h 284421"/>
                  <a:gd name="connsiteX58" fmla="*/ 2515 w 315271"/>
                  <a:gd name="connsiteY58" fmla="*/ 94197 h 284421"/>
                  <a:gd name="connsiteX59" fmla="*/ 32950 w 315271"/>
                  <a:gd name="connsiteY59" fmla="*/ 103032 h 284421"/>
                  <a:gd name="connsiteX60" fmla="*/ 60650 w 315271"/>
                  <a:gd name="connsiteY60" fmla="*/ 116539 h 284421"/>
                  <a:gd name="connsiteX61" fmla="*/ 66691 w 315271"/>
                  <a:gd name="connsiteY61" fmla="*/ 133980 h 284421"/>
                  <a:gd name="connsiteX62" fmla="*/ 78432 w 315271"/>
                  <a:gd name="connsiteY62" fmla="*/ 140705 h 284421"/>
                  <a:gd name="connsiteX63" fmla="*/ 80142 w 315271"/>
                  <a:gd name="connsiteY63" fmla="*/ 159000 h 284421"/>
                  <a:gd name="connsiteX64" fmla="*/ 90116 w 315271"/>
                  <a:gd name="connsiteY64" fmla="*/ 187897 h 284421"/>
                  <a:gd name="connsiteX65" fmla="*/ 84416 w 315271"/>
                  <a:gd name="connsiteY65" fmla="*/ 194850 h 284421"/>
                  <a:gd name="connsiteX66" fmla="*/ 72333 w 315271"/>
                  <a:gd name="connsiteY66" fmla="*/ 227793 h 284421"/>
                  <a:gd name="connsiteX67" fmla="*/ 71593 w 315271"/>
                  <a:gd name="connsiteY67" fmla="*/ 232011 h 284421"/>
                  <a:gd name="connsiteX68" fmla="*/ 72391 w 315271"/>
                  <a:gd name="connsiteY68" fmla="*/ 233720 h 284421"/>
                  <a:gd name="connsiteX69" fmla="*/ 76836 w 315271"/>
                  <a:gd name="connsiteY69" fmla="*/ 238736 h 284421"/>
                  <a:gd name="connsiteX70" fmla="*/ 81567 w 315271"/>
                  <a:gd name="connsiteY70" fmla="*/ 239078 h 284421"/>
                  <a:gd name="connsiteX71" fmla="*/ 89204 w 315271"/>
                  <a:gd name="connsiteY71" fmla="*/ 245689 h 284421"/>
                  <a:gd name="connsiteX72" fmla="*/ 95929 w 315271"/>
                  <a:gd name="connsiteY72" fmla="*/ 247570 h 284421"/>
                  <a:gd name="connsiteX73" fmla="*/ 114225 w 315271"/>
                  <a:gd name="connsiteY73" fmla="*/ 245347 h 284421"/>
                  <a:gd name="connsiteX74" fmla="*/ 124655 w 315271"/>
                  <a:gd name="connsiteY74" fmla="*/ 240617 h 284421"/>
                  <a:gd name="connsiteX75" fmla="*/ 130354 w 315271"/>
                  <a:gd name="connsiteY75" fmla="*/ 253156 h 284421"/>
                  <a:gd name="connsiteX76" fmla="*/ 142266 w 315271"/>
                  <a:gd name="connsiteY76" fmla="*/ 257430 h 284421"/>
                  <a:gd name="connsiteX77" fmla="*/ 155318 w 315271"/>
                  <a:gd name="connsiteY77" fmla="*/ 254296 h 284421"/>
                  <a:gd name="connsiteX78" fmla="*/ 169054 w 315271"/>
                  <a:gd name="connsiteY78" fmla="*/ 254296 h 284421"/>
                  <a:gd name="connsiteX79" fmla="*/ 170307 w 315271"/>
                  <a:gd name="connsiteY79" fmla="*/ 254296 h 284421"/>
                  <a:gd name="connsiteX80" fmla="*/ 168655 w 315271"/>
                  <a:gd name="connsiteY80" fmla="*/ 247969 h 284421"/>
                  <a:gd name="connsiteX81" fmla="*/ 175608 w 315271"/>
                  <a:gd name="connsiteY81" fmla="*/ 228135 h 284421"/>
                  <a:gd name="connsiteX82" fmla="*/ 192706 w 315271"/>
                  <a:gd name="connsiteY82" fmla="*/ 220213 h 284421"/>
                  <a:gd name="connsiteX83" fmla="*/ 213168 w 315271"/>
                  <a:gd name="connsiteY83" fmla="*/ 225912 h 284421"/>
                  <a:gd name="connsiteX84" fmla="*/ 217556 w 315271"/>
                  <a:gd name="connsiteY84" fmla="*/ 232239 h 284421"/>
                  <a:gd name="connsiteX85" fmla="*/ 226561 w 315271"/>
                  <a:gd name="connsiteY85" fmla="*/ 233778 h 284421"/>
                  <a:gd name="connsiteX86" fmla="*/ 229639 w 315271"/>
                  <a:gd name="connsiteY86" fmla="*/ 237596 h 284421"/>
                  <a:gd name="connsiteX87" fmla="*/ 245655 w 315271"/>
                  <a:gd name="connsiteY87" fmla="*/ 238280 h 284421"/>
                  <a:gd name="connsiteX88" fmla="*/ 257396 w 315271"/>
                  <a:gd name="connsiteY88" fmla="*/ 225114 h 284421"/>
                  <a:gd name="connsiteX89" fmla="*/ 269877 w 315271"/>
                  <a:gd name="connsiteY89" fmla="*/ 213715 h 284421"/>
                  <a:gd name="connsiteX90" fmla="*/ 259732 w 315271"/>
                  <a:gd name="connsiteY90" fmla="*/ 202317 h 284421"/>
                  <a:gd name="connsiteX91" fmla="*/ 254147 w 315271"/>
                  <a:gd name="connsiteY91" fmla="*/ 194964 h 2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15271" h="284421">
                    <a:moveTo>
                      <a:pt x="311199" y="281026"/>
                    </a:moveTo>
                    <a:cubicBezTo>
                      <a:pt x="310571" y="283078"/>
                      <a:pt x="307950" y="283591"/>
                      <a:pt x="305841" y="283762"/>
                    </a:cubicBezTo>
                    <a:cubicBezTo>
                      <a:pt x="301293" y="285614"/>
                      <a:pt x="296106" y="283431"/>
                      <a:pt x="294248" y="278889"/>
                    </a:cubicBezTo>
                    <a:cubicBezTo>
                      <a:pt x="293314" y="276581"/>
                      <a:pt x="293382" y="273987"/>
                      <a:pt x="294442" y="271736"/>
                    </a:cubicBezTo>
                    <a:cubicBezTo>
                      <a:pt x="292259" y="269998"/>
                      <a:pt x="290606" y="267689"/>
                      <a:pt x="289654" y="265068"/>
                    </a:cubicBezTo>
                    <a:cubicBezTo>
                      <a:pt x="288714" y="262372"/>
                      <a:pt x="289501" y="259374"/>
                      <a:pt x="291649" y="257487"/>
                    </a:cubicBezTo>
                    <a:cubicBezTo>
                      <a:pt x="292903" y="256575"/>
                      <a:pt x="294499" y="256176"/>
                      <a:pt x="295753" y="255264"/>
                    </a:cubicBezTo>
                    <a:cubicBezTo>
                      <a:pt x="297451" y="253902"/>
                      <a:pt x="298227" y="251691"/>
                      <a:pt x="297748" y="249565"/>
                    </a:cubicBezTo>
                    <a:cubicBezTo>
                      <a:pt x="300392" y="248357"/>
                      <a:pt x="303140" y="247388"/>
                      <a:pt x="305955" y="246658"/>
                    </a:cubicBezTo>
                    <a:cubicBezTo>
                      <a:pt x="308816" y="245838"/>
                      <a:pt x="310999" y="243518"/>
                      <a:pt x="311654" y="240617"/>
                    </a:cubicBezTo>
                    <a:cubicBezTo>
                      <a:pt x="312737" y="240617"/>
                      <a:pt x="313649" y="241472"/>
                      <a:pt x="314162" y="242441"/>
                    </a:cubicBezTo>
                    <a:cubicBezTo>
                      <a:pt x="317126" y="248710"/>
                      <a:pt x="313250" y="255949"/>
                      <a:pt x="312908" y="262845"/>
                    </a:cubicBezTo>
                    <a:cubicBezTo>
                      <a:pt x="313387" y="266903"/>
                      <a:pt x="313136" y="271012"/>
                      <a:pt x="312167" y="274985"/>
                    </a:cubicBezTo>
                    <a:cubicBezTo>
                      <a:pt x="311740" y="275777"/>
                      <a:pt x="311409" y="276620"/>
                      <a:pt x="311199" y="277493"/>
                    </a:cubicBezTo>
                    <a:cubicBezTo>
                      <a:pt x="311301" y="278667"/>
                      <a:pt x="311301" y="279852"/>
                      <a:pt x="311199" y="281026"/>
                    </a:cubicBezTo>
                    <a:close/>
                    <a:moveTo>
                      <a:pt x="254147" y="194964"/>
                    </a:moveTo>
                    <a:cubicBezTo>
                      <a:pt x="251240" y="185275"/>
                      <a:pt x="261841" y="176612"/>
                      <a:pt x="262696" y="166467"/>
                    </a:cubicBezTo>
                    <a:cubicBezTo>
                      <a:pt x="263323" y="158488"/>
                      <a:pt x="257738" y="151420"/>
                      <a:pt x="252437" y="145379"/>
                    </a:cubicBezTo>
                    <a:cubicBezTo>
                      <a:pt x="251525" y="144171"/>
                      <a:pt x="250402" y="143127"/>
                      <a:pt x="249131" y="142301"/>
                    </a:cubicBezTo>
                    <a:cubicBezTo>
                      <a:pt x="246794" y="141047"/>
                      <a:pt x="243774" y="141161"/>
                      <a:pt x="241893" y="139280"/>
                    </a:cubicBezTo>
                    <a:cubicBezTo>
                      <a:pt x="238644" y="136032"/>
                      <a:pt x="241893" y="130389"/>
                      <a:pt x="245997" y="127881"/>
                    </a:cubicBezTo>
                    <a:cubicBezTo>
                      <a:pt x="250100" y="125374"/>
                      <a:pt x="255059" y="123721"/>
                      <a:pt x="256483" y="119332"/>
                    </a:cubicBezTo>
                    <a:cubicBezTo>
                      <a:pt x="257224" y="117052"/>
                      <a:pt x="256483" y="114545"/>
                      <a:pt x="257566" y="112322"/>
                    </a:cubicBezTo>
                    <a:cubicBezTo>
                      <a:pt x="259043" y="109415"/>
                      <a:pt x="261448" y="107084"/>
                      <a:pt x="264406" y="105710"/>
                    </a:cubicBezTo>
                    <a:cubicBezTo>
                      <a:pt x="267170" y="103961"/>
                      <a:pt x="269837" y="102057"/>
                      <a:pt x="272385" y="100011"/>
                    </a:cubicBezTo>
                    <a:cubicBezTo>
                      <a:pt x="272385" y="100011"/>
                      <a:pt x="272385" y="100011"/>
                      <a:pt x="272385" y="99726"/>
                    </a:cubicBezTo>
                    <a:cubicBezTo>
                      <a:pt x="271798" y="98586"/>
                      <a:pt x="271542" y="97304"/>
                      <a:pt x="271644" y="96021"/>
                    </a:cubicBezTo>
                    <a:cubicBezTo>
                      <a:pt x="270801" y="88538"/>
                      <a:pt x="272340" y="80980"/>
                      <a:pt x="276033" y="74420"/>
                    </a:cubicBezTo>
                    <a:cubicBezTo>
                      <a:pt x="277874" y="72386"/>
                      <a:pt x="279481" y="70146"/>
                      <a:pt x="280820" y="67752"/>
                    </a:cubicBezTo>
                    <a:cubicBezTo>
                      <a:pt x="281994" y="65210"/>
                      <a:pt x="281151" y="62189"/>
                      <a:pt x="278826" y="60628"/>
                    </a:cubicBezTo>
                    <a:cubicBezTo>
                      <a:pt x="277281" y="60377"/>
                      <a:pt x="275719" y="60246"/>
                      <a:pt x="274152" y="60229"/>
                    </a:cubicBezTo>
                    <a:cubicBezTo>
                      <a:pt x="272374" y="59681"/>
                      <a:pt x="270738" y="58747"/>
                      <a:pt x="269364" y="57493"/>
                    </a:cubicBezTo>
                    <a:cubicBezTo>
                      <a:pt x="261602" y="53195"/>
                      <a:pt x="252716" y="51366"/>
                      <a:pt x="243888" y="52249"/>
                    </a:cubicBezTo>
                    <a:cubicBezTo>
                      <a:pt x="242982" y="50619"/>
                      <a:pt x="242434" y="48813"/>
                      <a:pt x="242292" y="46949"/>
                    </a:cubicBezTo>
                    <a:cubicBezTo>
                      <a:pt x="241294" y="47587"/>
                      <a:pt x="240246" y="48140"/>
                      <a:pt x="239157" y="48602"/>
                    </a:cubicBezTo>
                    <a:cubicBezTo>
                      <a:pt x="235310" y="50397"/>
                      <a:pt x="230864" y="50397"/>
                      <a:pt x="227017" y="48602"/>
                    </a:cubicBezTo>
                    <a:cubicBezTo>
                      <a:pt x="225136" y="47633"/>
                      <a:pt x="223598" y="46151"/>
                      <a:pt x="221831" y="45125"/>
                    </a:cubicBezTo>
                    <a:cubicBezTo>
                      <a:pt x="217784" y="42788"/>
                      <a:pt x="212541" y="42845"/>
                      <a:pt x="208893" y="39881"/>
                    </a:cubicBezTo>
                    <a:cubicBezTo>
                      <a:pt x="206670" y="38058"/>
                      <a:pt x="205302" y="35265"/>
                      <a:pt x="203194" y="33327"/>
                    </a:cubicBezTo>
                    <a:cubicBezTo>
                      <a:pt x="199375" y="30078"/>
                      <a:pt x="193561" y="29964"/>
                      <a:pt x="189914" y="26545"/>
                    </a:cubicBezTo>
                    <a:cubicBezTo>
                      <a:pt x="187406" y="24208"/>
                      <a:pt x="186380" y="20845"/>
                      <a:pt x="183872" y="18394"/>
                    </a:cubicBezTo>
                    <a:cubicBezTo>
                      <a:pt x="179541" y="14348"/>
                      <a:pt x="171846" y="14804"/>
                      <a:pt x="168427" y="9959"/>
                    </a:cubicBezTo>
                    <a:cubicBezTo>
                      <a:pt x="166489" y="7281"/>
                      <a:pt x="166489" y="3690"/>
                      <a:pt x="164893" y="840"/>
                    </a:cubicBezTo>
                    <a:cubicBezTo>
                      <a:pt x="164893" y="555"/>
                      <a:pt x="164437" y="327"/>
                      <a:pt x="164266" y="42"/>
                    </a:cubicBezTo>
                    <a:lnTo>
                      <a:pt x="151898" y="42"/>
                    </a:lnTo>
                    <a:cubicBezTo>
                      <a:pt x="150319" y="-135"/>
                      <a:pt x="148724" y="247"/>
                      <a:pt x="147395" y="1125"/>
                    </a:cubicBezTo>
                    <a:cubicBezTo>
                      <a:pt x="146370" y="2174"/>
                      <a:pt x="145726" y="3542"/>
                      <a:pt x="145572" y="5001"/>
                    </a:cubicBezTo>
                    <a:cubicBezTo>
                      <a:pt x="143805" y="12638"/>
                      <a:pt x="141981" y="20275"/>
                      <a:pt x="140214" y="27799"/>
                    </a:cubicBezTo>
                    <a:cubicBezTo>
                      <a:pt x="135632" y="35402"/>
                      <a:pt x="127539" y="40195"/>
                      <a:pt x="118670" y="40565"/>
                    </a:cubicBezTo>
                    <a:cubicBezTo>
                      <a:pt x="115593" y="40565"/>
                      <a:pt x="111945" y="40565"/>
                      <a:pt x="110235" y="43073"/>
                    </a:cubicBezTo>
                    <a:cubicBezTo>
                      <a:pt x="108525" y="45581"/>
                      <a:pt x="109836" y="48773"/>
                      <a:pt x="108240" y="51166"/>
                    </a:cubicBezTo>
                    <a:cubicBezTo>
                      <a:pt x="106793" y="52785"/>
                      <a:pt x="104712" y="53703"/>
                      <a:pt x="102541" y="53674"/>
                    </a:cubicBezTo>
                    <a:cubicBezTo>
                      <a:pt x="92521" y="54221"/>
                      <a:pt x="82735" y="50562"/>
                      <a:pt x="75525" y="43586"/>
                    </a:cubicBezTo>
                    <a:cubicBezTo>
                      <a:pt x="71877" y="40053"/>
                      <a:pt x="66178" y="35550"/>
                      <a:pt x="62701" y="39254"/>
                    </a:cubicBezTo>
                    <a:cubicBezTo>
                      <a:pt x="62246" y="52021"/>
                      <a:pt x="79116" y="63648"/>
                      <a:pt x="72675" y="74705"/>
                    </a:cubicBezTo>
                    <a:cubicBezTo>
                      <a:pt x="53240" y="72710"/>
                      <a:pt x="33691" y="71457"/>
                      <a:pt x="14142" y="70944"/>
                    </a:cubicBezTo>
                    <a:cubicBezTo>
                      <a:pt x="8044" y="70944"/>
                      <a:pt x="-278" y="72824"/>
                      <a:pt x="7" y="78923"/>
                    </a:cubicBezTo>
                    <a:cubicBezTo>
                      <a:pt x="7" y="81830"/>
                      <a:pt x="2515" y="84109"/>
                      <a:pt x="3940" y="86674"/>
                    </a:cubicBezTo>
                    <a:cubicBezTo>
                      <a:pt x="5365" y="89239"/>
                      <a:pt x="5308" y="93343"/>
                      <a:pt x="2515" y="94197"/>
                    </a:cubicBezTo>
                    <a:cubicBezTo>
                      <a:pt x="9696" y="102348"/>
                      <a:pt x="22064" y="102519"/>
                      <a:pt x="32950" y="103032"/>
                    </a:cubicBezTo>
                    <a:cubicBezTo>
                      <a:pt x="43836" y="103545"/>
                      <a:pt x="56603" y="106451"/>
                      <a:pt x="60650" y="116539"/>
                    </a:cubicBezTo>
                    <a:cubicBezTo>
                      <a:pt x="62986" y="122239"/>
                      <a:pt x="62017" y="129819"/>
                      <a:pt x="66691" y="133980"/>
                    </a:cubicBezTo>
                    <a:cubicBezTo>
                      <a:pt x="70054" y="137000"/>
                      <a:pt x="75468" y="137228"/>
                      <a:pt x="78432" y="140705"/>
                    </a:cubicBezTo>
                    <a:cubicBezTo>
                      <a:pt x="82479" y="145493"/>
                      <a:pt x="79344" y="152788"/>
                      <a:pt x="80142" y="159000"/>
                    </a:cubicBezTo>
                    <a:cubicBezTo>
                      <a:pt x="81453" y="169430"/>
                      <a:pt x="94105" y="178151"/>
                      <a:pt x="90116" y="187897"/>
                    </a:cubicBezTo>
                    <a:cubicBezTo>
                      <a:pt x="88680" y="190558"/>
                      <a:pt x="86742" y="192918"/>
                      <a:pt x="84416" y="194850"/>
                    </a:cubicBezTo>
                    <a:cubicBezTo>
                      <a:pt x="76158" y="203781"/>
                      <a:pt x="71803" y="215642"/>
                      <a:pt x="72333" y="227793"/>
                    </a:cubicBezTo>
                    <a:cubicBezTo>
                      <a:pt x="72539" y="229241"/>
                      <a:pt x="72276" y="230717"/>
                      <a:pt x="71593" y="232011"/>
                    </a:cubicBezTo>
                    <a:cubicBezTo>
                      <a:pt x="71593" y="232581"/>
                      <a:pt x="72163" y="233151"/>
                      <a:pt x="72391" y="233720"/>
                    </a:cubicBezTo>
                    <a:cubicBezTo>
                      <a:pt x="73416" y="235772"/>
                      <a:pt x="74613" y="238052"/>
                      <a:pt x="76836" y="238736"/>
                    </a:cubicBezTo>
                    <a:cubicBezTo>
                      <a:pt x="79059" y="239420"/>
                      <a:pt x="80028" y="238736"/>
                      <a:pt x="81567" y="239078"/>
                    </a:cubicBezTo>
                    <a:cubicBezTo>
                      <a:pt x="84872" y="239819"/>
                      <a:pt x="86354" y="243752"/>
                      <a:pt x="89204" y="245689"/>
                    </a:cubicBezTo>
                    <a:cubicBezTo>
                      <a:pt x="91244" y="246886"/>
                      <a:pt x="93564" y="247530"/>
                      <a:pt x="95929" y="247570"/>
                    </a:cubicBezTo>
                    <a:cubicBezTo>
                      <a:pt x="102102" y="248989"/>
                      <a:pt x="108571" y="248203"/>
                      <a:pt x="114225" y="245347"/>
                    </a:cubicBezTo>
                    <a:cubicBezTo>
                      <a:pt x="117530" y="243182"/>
                      <a:pt x="120893" y="239249"/>
                      <a:pt x="124655" y="240617"/>
                    </a:cubicBezTo>
                    <a:cubicBezTo>
                      <a:pt x="128416" y="241985"/>
                      <a:pt x="128074" y="249052"/>
                      <a:pt x="130354" y="253156"/>
                    </a:cubicBezTo>
                    <a:cubicBezTo>
                      <a:pt x="133096" y="256855"/>
                      <a:pt x="137798" y="258542"/>
                      <a:pt x="142266" y="257430"/>
                    </a:cubicBezTo>
                    <a:cubicBezTo>
                      <a:pt x="146712" y="256803"/>
                      <a:pt x="150872" y="254866"/>
                      <a:pt x="155318" y="254296"/>
                    </a:cubicBezTo>
                    <a:cubicBezTo>
                      <a:pt x="159895" y="254039"/>
                      <a:pt x="164477" y="254039"/>
                      <a:pt x="169054" y="254296"/>
                    </a:cubicBezTo>
                    <a:lnTo>
                      <a:pt x="170307" y="254296"/>
                    </a:lnTo>
                    <a:cubicBezTo>
                      <a:pt x="169521" y="252255"/>
                      <a:pt x="168963" y="250135"/>
                      <a:pt x="168655" y="247969"/>
                    </a:cubicBezTo>
                    <a:cubicBezTo>
                      <a:pt x="168734" y="240776"/>
                      <a:pt x="171180" y="233806"/>
                      <a:pt x="175608" y="228135"/>
                    </a:cubicBezTo>
                    <a:cubicBezTo>
                      <a:pt x="181307" y="231156"/>
                      <a:pt x="187007" y="223632"/>
                      <a:pt x="192706" y="220213"/>
                    </a:cubicBezTo>
                    <a:cubicBezTo>
                      <a:pt x="199945" y="216286"/>
                      <a:pt x="209001" y="218805"/>
                      <a:pt x="213168" y="225912"/>
                    </a:cubicBezTo>
                    <a:cubicBezTo>
                      <a:pt x="214421" y="228192"/>
                      <a:pt x="215219" y="231042"/>
                      <a:pt x="217556" y="232239"/>
                    </a:cubicBezTo>
                    <a:cubicBezTo>
                      <a:pt x="219893" y="233436"/>
                      <a:pt x="223996" y="232239"/>
                      <a:pt x="226561" y="233778"/>
                    </a:cubicBezTo>
                    <a:cubicBezTo>
                      <a:pt x="227770" y="234895"/>
                      <a:pt x="228807" y="236177"/>
                      <a:pt x="229639" y="237596"/>
                    </a:cubicBezTo>
                    <a:cubicBezTo>
                      <a:pt x="234045" y="241820"/>
                      <a:pt x="240901" y="242110"/>
                      <a:pt x="245655" y="238280"/>
                    </a:cubicBezTo>
                    <a:cubicBezTo>
                      <a:pt x="250163" y="234461"/>
                      <a:pt x="254118" y="230027"/>
                      <a:pt x="257396" y="225114"/>
                    </a:cubicBezTo>
                    <a:cubicBezTo>
                      <a:pt x="261157" y="220902"/>
                      <a:pt x="265341" y="217078"/>
                      <a:pt x="269877" y="213715"/>
                    </a:cubicBezTo>
                    <a:lnTo>
                      <a:pt x="259732" y="202317"/>
                    </a:lnTo>
                    <a:cubicBezTo>
                      <a:pt x="257384" y="200282"/>
                      <a:pt x="255481" y="197774"/>
                      <a:pt x="254147" y="1949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0" name="Freihandform: Form 416">
                <a:extLst>
                  <a:ext uri="{FF2B5EF4-FFF2-40B4-BE49-F238E27FC236}">
                    <a16:creationId xmlns:a16="http://schemas.microsoft.com/office/drawing/2014/main" id="{E3BB74BC-0E92-50E7-5AF8-DA8BA3090E58}"/>
                  </a:ext>
                </a:extLst>
              </p:cNvPr>
              <p:cNvSpPr/>
              <p:nvPr/>
            </p:nvSpPr>
            <p:spPr>
              <a:xfrm>
                <a:off x="3909030" y="3025197"/>
                <a:ext cx="91864" cy="64574"/>
              </a:xfrm>
              <a:custGeom>
                <a:avLst/>
                <a:gdLst>
                  <a:gd name="connsiteX0" fmla="*/ 24351 w 91864"/>
                  <a:gd name="connsiteY0" fmla="*/ 63435 h 64574"/>
                  <a:gd name="connsiteX1" fmla="*/ 21672 w 91864"/>
                  <a:gd name="connsiteY1" fmla="*/ 64575 h 64574"/>
                  <a:gd name="connsiteX2" fmla="*/ 11869 w 91864"/>
                  <a:gd name="connsiteY2" fmla="*/ 48388 h 64574"/>
                  <a:gd name="connsiteX3" fmla="*/ 8563 w 91864"/>
                  <a:gd name="connsiteY3" fmla="*/ 45311 h 64574"/>
                  <a:gd name="connsiteX4" fmla="*/ 1325 w 91864"/>
                  <a:gd name="connsiteY4" fmla="*/ 42290 h 64574"/>
                  <a:gd name="connsiteX5" fmla="*/ 5429 w 91864"/>
                  <a:gd name="connsiteY5" fmla="*/ 30891 h 64574"/>
                  <a:gd name="connsiteX6" fmla="*/ 15916 w 91864"/>
                  <a:gd name="connsiteY6" fmla="*/ 22342 h 64574"/>
                  <a:gd name="connsiteX7" fmla="*/ 16999 w 91864"/>
                  <a:gd name="connsiteY7" fmla="*/ 15332 h 64574"/>
                  <a:gd name="connsiteX8" fmla="*/ 23838 w 91864"/>
                  <a:gd name="connsiteY8" fmla="*/ 8720 h 64574"/>
                  <a:gd name="connsiteX9" fmla="*/ 31817 w 91864"/>
                  <a:gd name="connsiteY9" fmla="*/ 3021 h 64574"/>
                  <a:gd name="connsiteX10" fmla="*/ 39569 w 91864"/>
                  <a:gd name="connsiteY10" fmla="*/ 3648 h 64574"/>
                  <a:gd name="connsiteX11" fmla="*/ 47605 w 91864"/>
                  <a:gd name="connsiteY11" fmla="*/ 0 h 64574"/>
                  <a:gd name="connsiteX12" fmla="*/ 55071 w 91864"/>
                  <a:gd name="connsiteY12" fmla="*/ 2280 h 64574"/>
                  <a:gd name="connsiteX13" fmla="*/ 77869 w 91864"/>
                  <a:gd name="connsiteY13" fmla="*/ 4503 h 64574"/>
                  <a:gd name="connsiteX14" fmla="*/ 79294 w 91864"/>
                  <a:gd name="connsiteY14" fmla="*/ 3705 h 64574"/>
                  <a:gd name="connsiteX15" fmla="*/ 79294 w 91864"/>
                  <a:gd name="connsiteY15" fmla="*/ 4218 h 64574"/>
                  <a:gd name="connsiteX16" fmla="*/ 84366 w 91864"/>
                  <a:gd name="connsiteY16" fmla="*/ 22399 h 64574"/>
                  <a:gd name="connsiteX17" fmla="*/ 89781 w 91864"/>
                  <a:gd name="connsiteY17" fmla="*/ 25876 h 64574"/>
                  <a:gd name="connsiteX18" fmla="*/ 91548 w 91864"/>
                  <a:gd name="connsiteY18" fmla="*/ 31575 h 64574"/>
                  <a:gd name="connsiteX19" fmla="*/ 86589 w 91864"/>
                  <a:gd name="connsiteY19" fmla="*/ 35850 h 64574"/>
                  <a:gd name="connsiteX20" fmla="*/ 84879 w 91864"/>
                  <a:gd name="connsiteY20" fmla="*/ 42803 h 64574"/>
                  <a:gd name="connsiteX21" fmla="*/ 82771 w 91864"/>
                  <a:gd name="connsiteY21" fmla="*/ 43316 h 64574"/>
                  <a:gd name="connsiteX22" fmla="*/ 68123 w 91864"/>
                  <a:gd name="connsiteY22" fmla="*/ 44513 h 64574"/>
                  <a:gd name="connsiteX23" fmla="*/ 67496 w 91864"/>
                  <a:gd name="connsiteY23" fmla="*/ 53689 h 64574"/>
                  <a:gd name="connsiteX24" fmla="*/ 58548 w 91864"/>
                  <a:gd name="connsiteY24" fmla="*/ 52777 h 64574"/>
                  <a:gd name="connsiteX25" fmla="*/ 56667 w 91864"/>
                  <a:gd name="connsiteY25" fmla="*/ 50155 h 64574"/>
                  <a:gd name="connsiteX26" fmla="*/ 48802 w 91864"/>
                  <a:gd name="connsiteY26" fmla="*/ 42917 h 64574"/>
                  <a:gd name="connsiteX27" fmla="*/ 47548 w 91864"/>
                  <a:gd name="connsiteY27" fmla="*/ 42461 h 64574"/>
                  <a:gd name="connsiteX28" fmla="*/ 44698 w 91864"/>
                  <a:gd name="connsiteY28" fmla="*/ 44000 h 64574"/>
                  <a:gd name="connsiteX29" fmla="*/ 30051 w 91864"/>
                  <a:gd name="connsiteY29" fmla="*/ 58705 h 64574"/>
                  <a:gd name="connsiteX30" fmla="*/ 24351 w 91864"/>
                  <a:gd name="connsiteY30" fmla="*/ 63435 h 6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864" h="64574">
                    <a:moveTo>
                      <a:pt x="24351" y="63435"/>
                    </a:moveTo>
                    <a:cubicBezTo>
                      <a:pt x="23485" y="63874"/>
                      <a:pt x="22590" y="64256"/>
                      <a:pt x="21672" y="64575"/>
                    </a:cubicBezTo>
                    <a:cubicBezTo>
                      <a:pt x="19774" y="58459"/>
                      <a:pt x="16412" y="52903"/>
                      <a:pt x="11869" y="48388"/>
                    </a:cubicBezTo>
                    <a:cubicBezTo>
                      <a:pt x="10957" y="47180"/>
                      <a:pt x="9835" y="46137"/>
                      <a:pt x="8563" y="45311"/>
                    </a:cubicBezTo>
                    <a:cubicBezTo>
                      <a:pt x="6226" y="44057"/>
                      <a:pt x="3206" y="44171"/>
                      <a:pt x="1325" y="42290"/>
                    </a:cubicBezTo>
                    <a:cubicBezTo>
                      <a:pt x="-1924" y="39041"/>
                      <a:pt x="1325" y="33399"/>
                      <a:pt x="5429" y="30891"/>
                    </a:cubicBezTo>
                    <a:cubicBezTo>
                      <a:pt x="9532" y="28383"/>
                      <a:pt x="14491" y="26731"/>
                      <a:pt x="15916" y="22342"/>
                    </a:cubicBezTo>
                    <a:cubicBezTo>
                      <a:pt x="16657" y="20062"/>
                      <a:pt x="15916" y="17554"/>
                      <a:pt x="16999" y="15332"/>
                    </a:cubicBezTo>
                    <a:cubicBezTo>
                      <a:pt x="18475" y="12425"/>
                      <a:pt x="20880" y="10094"/>
                      <a:pt x="23838" y="8720"/>
                    </a:cubicBezTo>
                    <a:cubicBezTo>
                      <a:pt x="26602" y="6970"/>
                      <a:pt x="29270" y="5067"/>
                      <a:pt x="31817" y="3021"/>
                    </a:cubicBezTo>
                    <a:cubicBezTo>
                      <a:pt x="33955" y="4981"/>
                      <a:pt x="37146" y="5238"/>
                      <a:pt x="39569" y="3648"/>
                    </a:cubicBezTo>
                    <a:cubicBezTo>
                      <a:pt x="41974" y="1909"/>
                      <a:pt x="44709" y="667"/>
                      <a:pt x="47605" y="0"/>
                    </a:cubicBezTo>
                    <a:cubicBezTo>
                      <a:pt x="50232" y="200"/>
                      <a:pt x="52780" y="975"/>
                      <a:pt x="55071" y="2280"/>
                    </a:cubicBezTo>
                    <a:cubicBezTo>
                      <a:pt x="62412" y="4702"/>
                      <a:pt x="70197" y="5460"/>
                      <a:pt x="77869" y="4503"/>
                    </a:cubicBezTo>
                    <a:cubicBezTo>
                      <a:pt x="78331" y="4212"/>
                      <a:pt x="78804" y="3944"/>
                      <a:pt x="79294" y="3705"/>
                    </a:cubicBezTo>
                    <a:lnTo>
                      <a:pt x="79294" y="4218"/>
                    </a:lnTo>
                    <a:cubicBezTo>
                      <a:pt x="79294" y="10772"/>
                      <a:pt x="79294" y="18352"/>
                      <a:pt x="84366" y="22399"/>
                    </a:cubicBezTo>
                    <a:cubicBezTo>
                      <a:pt x="86076" y="23710"/>
                      <a:pt x="88185" y="24451"/>
                      <a:pt x="89781" y="25876"/>
                    </a:cubicBezTo>
                    <a:cubicBezTo>
                      <a:pt x="91610" y="27147"/>
                      <a:pt x="92340" y="29495"/>
                      <a:pt x="91548" y="31575"/>
                    </a:cubicBezTo>
                    <a:cubicBezTo>
                      <a:pt x="90408" y="33513"/>
                      <a:pt x="87615" y="33912"/>
                      <a:pt x="86589" y="35850"/>
                    </a:cubicBezTo>
                    <a:cubicBezTo>
                      <a:pt x="85563" y="37788"/>
                      <a:pt x="86931" y="41549"/>
                      <a:pt x="84879" y="42803"/>
                    </a:cubicBezTo>
                    <a:cubicBezTo>
                      <a:pt x="84230" y="43145"/>
                      <a:pt x="83506" y="43322"/>
                      <a:pt x="82771" y="43316"/>
                    </a:cubicBezTo>
                    <a:lnTo>
                      <a:pt x="68123" y="44513"/>
                    </a:lnTo>
                    <a:cubicBezTo>
                      <a:pt x="68488" y="47585"/>
                      <a:pt x="68277" y="50697"/>
                      <a:pt x="67496" y="53689"/>
                    </a:cubicBezTo>
                    <a:cubicBezTo>
                      <a:pt x="64544" y="54852"/>
                      <a:pt x="61209" y="54510"/>
                      <a:pt x="58548" y="52777"/>
                    </a:cubicBezTo>
                    <a:cubicBezTo>
                      <a:pt x="57807" y="51991"/>
                      <a:pt x="57174" y="51107"/>
                      <a:pt x="56667" y="50155"/>
                    </a:cubicBezTo>
                    <a:cubicBezTo>
                      <a:pt x="54746" y="47078"/>
                      <a:pt x="52028" y="44576"/>
                      <a:pt x="48802" y="42917"/>
                    </a:cubicBezTo>
                    <a:cubicBezTo>
                      <a:pt x="48420" y="42683"/>
                      <a:pt x="47992" y="42524"/>
                      <a:pt x="47548" y="42461"/>
                    </a:cubicBezTo>
                    <a:cubicBezTo>
                      <a:pt x="46414" y="42512"/>
                      <a:pt x="45359" y="43077"/>
                      <a:pt x="44698" y="44000"/>
                    </a:cubicBezTo>
                    <a:lnTo>
                      <a:pt x="30051" y="58705"/>
                    </a:lnTo>
                    <a:cubicBezTo>
                      <a:pt x="28398" y="60557"/>
                      <a:pt x="26477" y="62153"/>
                      <a:pt x="24351" y="634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1" name="Freihandform: Form 417">
                <a:extLst>
                  <a:ext uri="{FF2B5EF4-FFF2-40B4-BE49-F238E27FC236}">
                    <a16:creationId xmlns:a16="http://schemas.microsoft.com/office/drawing/2014/main" id="{63D73234-6C8D-970F-32BA-B67C958E4AC4}"/>
                  </a:ext>
                </a:extLst>
              </p:cNvPr>
              <p:cNvSpPr/>
              <p:nvPr/>
            </p:nvSpPr>
            <p:spPr>
              <a:xfrm>
                <a:off x="3991630" y="3044969"/>
                <a:ext cx="14693" cy="12144"/>
              </a:xfrm>
              <a:custGeom>
                <a:avLst/>
                <a:gdLst>
                  <a:gd name="connsiteX0" fmla="*/ 13280 w 14693"/>
                  <a:gd name="connsiteY0" fmla="*/ 11403 h 12144"/>
                  <a:gd name="connsiteX1" fmla="*/ 9404 w 14693"/>
                  <a:gd name="connsiteY1" fmla="*/ 12144 h 12144"/>
                  <a:gd name="connsiteX2" fmla="*/ 8492 w 14693"/>
                  <a:gd name="connsiteY2" fmla="*/ 12144 h 12144"/>
                  <a:gd name="connsiteX3" fmla="*/ 8777 w 14693"/>
                  <a:gd name="connsiteY3" fmla="*/ 11802 h 12144"/>
                  <a:gd name="connsiteX4" fmla="*/ 7010 w 14693"/>
                  <a:gd name="connsiteY4" fmla="*/ 6103 h 12144"/>
                  <a:gd name="connsiteX5" fmla="*/ 1596 w 14693"/>
                  <a:gd name="connsiteY5" fmla="*/ 2626 h 12144"/>
                  <a:gd name="connsiteX6" fmla="*/ 0 w 14693"/>
                  <a:gd name="connsiteY6" fmla="*/ 1030 h 12144"/>
                  <a:gd name="connsiteX7" fmla="*/ 6725 w 14693"/>
                  <a:gd name="connsiteY7" fmla="*/ 4 h 12144"/>
                  <a:gd name="connsiteX8" fmla="*/ 9860 w 14693"/>
                  <a:gd name="connsiteY8" fmla="*/ 346 h 12144"/>
                  <a:gd name="connsiteX9" fmla="*/ 14534 w 14693"/>
                  <a:gd name="connsiteY9" fmla="*/ 5647 h 12144"/>
                  <a:gd name="connsiteX10" fmla="*/ 13280 w 14693"/>
                  <a:gd name="connsiteY10" fmla="*/ 11403 h 1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93" h="12144">
                    <a:moveTo>
                      <a:pt x="13280" y="11403"/>
                    </a:moveTo>
                    <a:lnTo>
                      <a:pt x="9404" y="12144"/>
                    </a:lnTo>
                    <a:lnTo>
                      <a:pt x="8492" y="12144"/>
                    </a:lnTo>
                    <a:lnTo>
                      <a:pt x="8777" y="11802"/>
                    </a:lnTo>
                    <a:cubicBezTo>
                      <a:pt x="9570" y="9722"/>
                      <a:pt x="8840" y="7374"/>
                      <a:pt x="7010" y="6103"/>
                    </a:cubicBezTo>
                    <a:cubicBezTo>
                      <a:pt x="5415" y="4678"/>
                      <a:pt x="3306" y="3937"/>
                      <a:pt x="1596" y="2626"/>
                    </a:cubicBezTo>
                    <a:cubicBezTo>
                      <a:pt x="1009" y="2153"/>
                      <a:pt x="473" y="1617"/>
                      <a:pt x="0" y="1030"/>
                    </a:cubicBezTo>
                    <a:cubicBezTo>
                      <a:pt x="2183" y="375"/>
                      <a:pt x="4446" y="27"/>
                      <a:pt x="6725" y="4"/>
                    </a:cubicBezTo>
                    <a:cubicBezTo>
                      <a:pt x="7780" y="-24"/>
                      <a:pt x="8834" y="90"/>
                      <a:pt x="9860" y="346"/>
                    </a:cubicBezTo>
                    <a:cubicBezTo>
                      <a:pt x="12260" y="1139"/>
                      <a:pt x="14043" y="3167"/>
                      <a:pt x="14534" y="5647"/>
                    </a:cubicBezTo>
                    <a:cubicBezTo>
                      <a:pt x="14967" y="7659"/>
                      <a:pt x="14511" y="9756"/>
                      <a:pt x="13280" y="114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2" name="Freihandform: Form 418">
                <a:extLst>
                  <a:ext uri="{FF2B5EF4-FFF2-40B4-BE49-F238E27FC236}">
                    <a16:creationId xmlns:a16="http://schemas.microsoft.com/office/drawing/2014/main" id="{86C73084-1090-1F5B-CD6E-3D708C717D11}"/>
                  </a:ext>
                </a:extLst>
              </p:cNvPr>
              <p:cNvSpPr/>
              <p:nvPr/>
            </p:nvSpPr>
            <p:spPr>
              <a:xfrm>
                <a:off x="3988211" y="2987366"/>
                <a:ext cx="162661" cy="77513"/>
              </a:xfrm>
              <a:custGeom>
                <a:avLst/>
                <a:gdLst>
                  <a:gd name="connsiteX0" fmla="*/ 139408 w 162661"/>
                  <a:gd name="connsiteY0" fmla="*/ 45924 h 77513"/>
                  <a:gd name="connsiteX1" fmla="*/ 140833 w 162661"/>
                  <a:gd name="connsiteY1" fmla="*/ 62680 h 77513"/>
                  <a:gd name="connsiteX2" fmla="*/ 131315 w 162661"/>
                  <a:gd name="connsiteY2" fmla="*/ 65701 h 77513"/>
                  <a:gd name="connsiteX3" fmla="*/ 126356 w 162661"/>
                  <a:gd name="connsiteY3" fmla="*/ 64561 h 77513"/>
                  <a:gd name="connsiteX4" fmla="*/ 117351 w 162661"/>
                  <a:gd name="connsiteY4" fmla="*/ 68037 h 77513"/>
                  <a:gd name="connsiteX5" fmla="*/ 111651 w 162661"/>
                  <a:gd name="connsiteY5" fmla="*/ 68607 h 77513"/>
                  <a:gd name="connsiteX6" fmla="*/ 102475 w 162661"/>
                  <a:gd name="connsiteY6" fmla="*/ 75390 h 77513"/>
                  <a:gd name="connsiteX7" fmla="*/ 80190 w 162661"/>
                  <a:gd name="connsiteY7" fmla="*/ 75960 h 77513"/>
                  <a:gd name="connsiteX8" fmla="*/ 67595 w 162661"/>
                  <a:gd name="connsiteY8" fmla="*/ 77442 h 77513"/>
                  <a:gd name="connsiteX9" fmla="*/ 56652 w 162661"/>
                  <a:gd name="connsiteY9" fmla="*/ 72426 h 77513"/>
                  <a:gd name="connsiteX10" fmla="*/ 54714 w 162661"/>
                  <a:gd name="connsiteY10" fmla="*/ 63478 h 77513"/>
                  <a:gd name="connsiteX11" fmla="*/ 53745 w 162661"/>
                  <a:gd name="connsiteY11" fmla="*/ 61540 h 77513"/>
                  <a:gd name="connsiteX12" fmla="*/ 50553 w 162661"/>
                  <a:gd name="connsiteY12" fmla="*/ 60628 h 77513"/>
                  <a:gd name="connsiteX13" fmla="*/ 27755 w 162661"/>
                  <a:gd name="connsiteY13" fmla="*/ 63763 h 77513"/>
                  <a:gd name="connsiteX14" fmla="*/ 19947 w 162661"/>
                  <a:gd name="connsiteY14" fmla="*/ 68094 h 77513"/>
                  <a:gd name="connsiteX15" fmla="*/ 16983 w 162661"/>
                  <a:gd name="connsiteY15" fmla="*/ 69006 h 77513"/>
                  <a:gd name="connsiteX16" fmla="*/ 18237 w 162661"/>
                  <a:gd name="connsiteY16" fmla="*/ 63307 h 77513"/>
                  <a:gd name="connsiteX17" fmla="*/ 13564 w 162661"/>
                  <a:gd name="connsiteY17" fmla="*/ 58006 h 77513"/>
                  <a:gd name="connsiteX18" fmla="*/ 10429 w 162661"/>
                  <a:gd name="connsiteY18" fmla="*/ 57665 h 77513"/>
                  <a:gd name="connsiteX19" fmla="*/ 3703 w 162661"/>
                  <a:gd name="connsiteY19" fmla="*/ 58690 h 77513"/>
                  <a:gd name="connsiteX20" fmla="*/ 227 w 162661"/>
                  <a:gd name="connsiteY20" fmla="*/ 42105 h 77513"/>
                  <a:gd name="connsiteX21" fmla="*/ 227 w 162661"/>
                  <a:gd name="connsiteY21" fmla="*/ 41592 h 77513"/>
                  <a:gd name="connsiteX22" fmla="*/ 12936 w 162661"/>
                  <a:gd name="connsiteY22" fmla="*/ 39141 h 77513"/>
                  <a:gd name="connsiteX23" fmla="*/ 27071 w 162661"/>
                  <a:gd name="connsiteY23" fmla="*/ 41535 h 77513"/>
                  <a:gd name="connsiteX24" fmla="*/ 40123 w 162661"/>
                  <a:gd name="connsiteY24" fmla="*/ 39654 h 77513"/>
                  <a:gd name="connsiteX25" fmla="*/ 61667 w 162661"/>
                  <a:gd name="connsiteY25" fmla="*/ 41022 h 77513"/>
                  <a:gd name="connsiteX26" fmla="*/ 69082 w 162661"/>
                  <a:gd name="connsiteY26" fmla="*/ 33966 h 77513"/>
                  <a:gd name="connsiteX27" fmla="*/ 68905 w 162661"/>
                  <a:gd name="connsiteY27" fmla="*/ 32188 h 77513"/>
                  <a:gd name="connsiteX28" fmla="*/ 68905 w 162661"/>
                  <a:gd name="connsiteY28" fmla="*/ 23468 h 77513"/>
                  <a:gd name="connsiteX29" fmla="*/ 76543 w 162661"/>
                  <a:gd name="connsiteY29" fmla="*/ 12069 h 77513"/>
                  <a:gd name="connsiteX30" fmla="*/ 80190 w 162661"/>
                  <a:gd name="connsiteY30" fmla="*/ 7965 h 77513"/>
                  <a:gd name="connsiteX31" fmla="*/ 82869 w 162661"/>
                  <a:gd name="connsiteY31" fmla="*/ 9675 h 77513"/>
                  <a:gd name="connsiteX32" fmla="*/ 108802 w 162661"/>
                  <a:gd name="connsiteY32" fmla="*/ 4431 h 77513"/>
                  <a:gd name="connsiteX33" fmla="*/ 112506 w 162661"/>
                  <a:gd name="connsiteY33" fmla="*/ 613 h 77513"/>
                  <a:gd name="connsiteX34" fmla="*/ 120372 w 162661"/>
                  <a:gd name="connsiteY34" fmla="*/ 1582 h 77513"/>
                  <a:gd name="connsiteX35" fmla="*/ 126812 w 162661"/>
                  <a:gd name="connsiteY35" fmla="*/ 6825 h 77513"/>
                  <a:gd name="connsiteX36" fmla="*/ 154055 w 162661"/>
                  <a:gd name="connsiteY36" fmla="*/ 11442 h 77513"/>
                  <a:gd name="connsiteX37" fmla="*/ 153087 w 162661"/>
                  <a:gd name="connsiteY37" fmla="*/ 13664 h 77513"/>
                  <a:gd name="connsiteX38" fmla="*/ 152460 w 162661"/>
                  <a:gd name="connsiteY38" fmla="*/ 15545 h 77513"/>
                  <a:gd name="connsiteX39" fmla="*/ 154284 w 162661"/>
                  <a:gd name="connsiteY39" fmla="*/ 20276 h 77513"/>
                  <a:gd name="connsiteX40" fmla="*/ 162662 w 162661"/>
                  <a:gd name="connsiteY40" fmla="*/ 29395 h 77513"/>
                  <a:gd name="connsiteX41" fmla="*/ 144765 w 162661"/>
                  <a:gd name="connsiteY41" fmla="*/ 41592 h 77513"/>
                  <a:gd name="connsiteX42" fmla="*/ 139408 w 162661"/>
                  <a:gd name="connsiteY42" fmla="*/ 45924 h 7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2661" h="77513">
                    <a:moveTo>
                      <a:pt x="139408" y="45924"/>
                    </a:moveTo>
                    <a:cubicBezTo>
                      <a:pt x="136102" y="50711"/>
                      <a:pt x="139693" y="56809"/>
                      <a:pt x="140833" y="62680"/>
                    </a:cubicBezTo>
                    <a:cubicBezTo>
                      <a:pt x="138137" y="64817"/>
                      <a:pt x="134752" y="65889"/>
                      <a:pt x="131315" y="65701"/>
                    </a:cubicBezTo>
                    <a:cubicBezTo>
                      <a:pt x="129696" y="65188"/>
                      <a:pt x="128037" y="64806"/>
                      <a:pt x="126356" y="64561"/>
                    </a:cubicBezTo>
                    <a:cubicBezTo>
                      <a:pt x="123107" y="64561"/>
                      <a:pt x="120657" y="67297"/>
                      <a:pt x="117351" y="68037"/>
                    </a:cubicBezTo>
                    <a:cubicBezTo>
                      <a:pt x="115413" y="68493"/>
                      <a:pt x="113304" y="68037"/>
                      <a:pt x="111651" y="68607"/>
                    </a:cubicBezTo>
                    <a:cubicBezTo>
                      <a:pt x="107947" y="69576"/>
                      <a:pt x="105952" y="73338"/>
                      <a:pt x="102475" y="75390"/>
                    </a:cubicBezTo>
                    <a:cubicBezTo>
                      <a:pt x="96035" y="79436"/>
                      <a:pt x="87771" y="75846"/>
                      <a:pt x="80190" y="75960"/>
                    </a:cubicBezTo>
                    <a:cubicBezTo>
                      <a:pt x="75973" y="75960"/>
                      <a:pt x="71812" y="77328"/>
                      <a:pt x="67595" y="77442"/>
                    </a:cubicBezTo>
                    <a:cubicBezTo>
                      <a:pt x="63303" y="77920"/>
                      <a:pt x="59091" y="75994"/>
                      <a:pt x="56652" y="72426"/>
                    </a:cubicBezTo>
                    <a:cubicBezTo>
                      <a:pt x="55625" y="69536"/>
                      <a:pt x="54976" y="66533"/>
                      <a:pt x="54714" y="63478"/>
                    </a:cubicBezTo>
                    <a:cubicBezTo>
                      <a:pt x="54577" y="62754"/>
                      <a:pt x="54241" y="62082"/>
                      <a:pt x="53745" y="61540"/>
                    </a:cubicBezTo>
                    <a:cubicBezTo>
                      <a:pt x="52827" y="60862"/>
                      <a:pt x="51693" y="60537"/>
                      <a:pt x="50553" y="60628"/>
                    </a:cubicBezTo>
                    <a:cubicBezTo>
                      <a:pt x="42813" y="59779"/>
                      <a:pt x="34982" y="60856"/>
                      <a:pt x="27755" y="63763"/>
                    </a:cubicBezTo>
                    <a:cubicBezTo>
                      <a:pt x="25076" y="65131"/>
                      <a:pt x="22683" y="66955"/>
                      <a:pt x="19947" y="68094"/>
                    </a:cubicBezTo>
                    <a:cubicBezTo>
                      <a:pt x="18989" y="68482"/>
                      <a:pt x="17998" y="68790"/>
                      <a:pt x="16983" y="69006"/>
                    </a:cubicBezTo>
                    <a:cubicBezTo>
                      <a:pt x="18197" y="67371"/>
                      <a:pt x="18653" y="65296"/>
                      <a:pt x="18237" y="63307"/>
                    </a:cubicBezTo>
                    <a:cubicBezTo>
                      <a:pt x="17747" y="60828"/>
                      <a:pt x="15963" y="58799"/>
                      <a:pt x="13564" y="58006"/>
                    </a:cubicBezTo>
                    <a:cubicBezTo>
                      <a:pt x="12537" y="57750"/>
                      <a:pt x="11483" y="57636"/>
                      <a:pt x="10429" y="57665"/>
                    </a:cubicBezTo>
                    <a:cubicBezTo>
                      <a:pt x="8149" y="57687"/>
                      <a:pt x="5886" y="58035"/>
                      <a:pt x="3703" y="58690"/>
                    </a:cubicBezTo>
                    <a:cubicBezTo>
                      <a:pt x="677" y="53726"/>
                      <a:pt x="-548" y="47867"/>
                      <a:pt x="227" y="42105"/>
                    </a:cubicBezTo>
                    <a:lnTo>
                      <a:pt x="227" y="41592"/>
                    </a:lnTo>
                    <a:cubicBezTo>
                      <a:pt x="4062" y="39358"/>
                      <a:pt x="8542" y="38497"/>
                      <a:pt x="12936" y="39141"/>
                    </a:cubicBezTo>
                    <a:cubicBezTo>
                      <a:pt x="17547" y="40441"/>
                      <a:pt x="22289" y="41244"/>
                      <a:pt x="27071" y="41535"/>
                    </a:cubicBezTo>
                    <a:cubicBezTo>
                      <a:pt x="31460" y="41535"/>
                      <a:pt x="35734" y="39996"/>
                      <a:pt x="40123" y="39654"/>
                    </a:cubicBezTo>
                    <a:cubicBezTo>
                      <a:pt x="47304" y="39084"/>
                      <a:pt x="54486" y="41649"/>
                      <a:pt x="61667" y="41022"/>
                    </a:cubicBezTo>
                    <a:cubicBezTo>
                      <a:pt x="65662" y="41119"/>
                      <a:pt x="68985" y="37961"/>
                      <a:pt x="69082" y="33966"/>
                    </a:cubicBezTo>
                    <a:cubicBezTo>
                      <a:pt x="69099" y="33368"/>
                      <a:pt x="69036" y="32769"/>
                      <a:pt x="68905" y="32188"/>
                    </a:cubicBezTo>
                    <a:cubicBezTo>
                      <a:pt x="68620" y="29287"/>
                      <a:pt x="68620" y="26369"/>
                      <a:pt x="68905" y="23468"/>
                    </a:cubicBezTo>
                    <a:cubicBezTo>
                      <a:pt x="70302" y="19011"/>
                      <a:pt x="72952" y="15055"/>
                      <a:pt x="76543" y="12069"/>
                    </a:cubicBezTo>
                    <a:cubicBezTo>
                      <a:pt x="77796" y="10758"/>
                      <a:pt x="79051" y="9333"/>
                      <a:pt x="80190" y="7965"/>
                    </a:cubicBezTo>
                    <a:cubicBezTo>
                      <a:pt x="81102" y="8592"/>
                      <a:pt x="81957" y="9162"/>
                      <a:pt x="82869" y="9675"/>
                    </a:cubicBezTo>
                    <a:cubicBezTo>
                      <a:pt x="91698" y="14024"/>
                      <a:pt x="102356" y="11869"/>
                      <a:pt x="108802" y="4431"/>
                    </a:cubicBezTo>
                    <a:cubicBezTo>
                      <a:pt x="109776" y="2932"/>
                      <a:pt x="111036" y="1633"/>
                      <a:pt x="112506" y="613"/>
                    </a:cubicBezTo>
                    <a:cubicBezTo>
                      <a:pt x="115117" y="-470"/>
                      <a:pt x="118103" y="-100"/>
                      <a:pt x="120372" y="1582"/>
                    </a:cubicBezTo>
                    <a:cubicBezTo>
                      <a:pt x="122708" y="3063"/>
                      <a:pt x="124532" y="5229"/>
                      <a:pt x="126812" y="6825"/>
                    </a:cubicBezTo>
                    <a:cubicBezTo>
                      <a:pt x="134392" y="12525"/>
                      <a:pt x="144537" y="11043"/>
                      <a:pt x="154055" y="11442"/>
                    </a:cubicBezTo>
                    <a:cubicBezTo>
                      <a:pt x="153713" y="12183"/>
                      <a:pt x="153372" y="12924"/>
                      <a:pt x="153087" y="13664"/>
                    </a:cubicBezTo>
                    <a:cubicBezTo>
                      <a:pt x="152779" y="14252"/>
                      <a:pt x="152562" y="14890"/>
                      <a:pt x="152460" y="15545"/>
                    </a:cubicBezTo>
                    <a:cubicBezTo>
                      <a:pt x="152477" y="17289"/>
                      <a:pt x="153127" y="18971"/>
                      <a:pt x="154284" y="20276"/>
                    </a:cubicBezTo>
                    <a:cubicBezTo>
                      <a:pt x="156569" y="23741"/>
                      <a:pt x="159401" y="26825"/>
                      <a:pt x="162662" y="29395"/>
                    </a:cubicBezTo>
                    <a:cubicBezTo>
                      <a:pt x="156991" y="33875"/>
                      <a:pt x="151006" y="37950"/>
                      <a:pt x="144765" y="41592"/>
                    </a:cubicBezTo>
                    <a:cubicBezTo>
                      <a:pt x="142651" y="42572"/>
                      <a:pt x="140810" y="44060"/>
                      <a:pt x="139408" y="459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3" name="Freihandform: Form 419">
                <a:extLst>
                  <a:ext uri="{FF2B5EF4-FFF2-40B4-BE49-F238E27FC236}">
                    <a16:creationId xmlns:a16="http://schemas.microsoft.com/office/drawing/2014/main" id="{B6A8A48A-E42E-2B92-1D69-AEC69182601B}"/>
                  </a:ext>
                </a:extLst>
              </p:cNvPr>
              <p:cNvSpPr/>
              <p:nvPr/>
            </p:nvSpPr>
            <p:spPr>
              <a:xfrm>
                <a:off x="3922122" y="3047713"/>
                <a:ext cx="246849" cy="295354"/>
              </a:xfrm>
              <a:custGeom>
                <a:avLst/>
                <a:gdLst>
                  <a:gd name="connsiteX0" fmla="*/ 24938 w 246849"/>
                  <a:gd name="connsiteY0" fmla="*/ 185458 h 295354"/>
                  <a:gd name="connsiteX1" fmla="*/ 31036 w 246849"/>
                  <a:gd name="connsiteY1" fmla="*/ 180784 h 295354"/>
                  <a:gd name="connsiteX2" fmla="*/ 33943 w 246849"/>
                  <a:gd name="connsiteY2" fmla="*/ 177136 h 295354"/>
                  <a:gd name="connsiteX3" fmla="*/ 41580 w 246849"/>
                  <a:gd name="connsiteY3" fmla="*/ 177136 h 295354"/>
                  <a:gd name="connsiteX4" fmla="*/ 52010 w 246849"/>
                  <a:gd name="connsiteY4" fmla="*/ 172577 h 295354"/>
                  <a:gd name="connsiteX5" fmla="*/ 59363 w 246849"/>
                  <a:gd name="connsiteY5" fmla="*/ 176453 h 295354"/>
                  <a:gd name="connsiteX6" fmla="*/ 62042 w 246849"/>
                  <a:gd name="connsiteY6" fmla="*/ 184774 h 295354"/>
                  <a:gd name="connsiteX7" fmla="*/ 61358 w 246849"/>
                  <a:gd name="connsiteY7" fmla="*/ 214696 h 295354"/>
                  <a:gd name="connsiteX8" fmla="*/ 58850 w 246849"/>
                  <a:gd name="connsiteY8" fmla="*/ 223131 h 295354"/>
                  <a:gd name="connsiteX9" fmla="*/ 52124 w 246849"/>
                  <a:gd name="connsiteY9" fmla="*/ 227577 h 295354"/>
                  <a:gd name="connsiteX10" fmla="*/ 50802 w 246849"/>
                  <a:gd name="connsiteY10" fmla="*/ 233806 h 295354"/>
                  <a:gd name="connsiteX11" fmla="*/ 48192 w 246849"/>
                  <a:gd name="connsiteY11" fmla="*/ 234530 h 295354"/>
                  <a:gd name="connsiteX12" fmla="*/ 46710 w 246849"/>
                  <a:gd name="connsiteY12" fmla="*/ 236582 h 295354"/>
                  <a:gd name="connsiteX13" fmla="*/ 41010 w 246849"/>
                  <a:gd name="connsiteY13" fmla="*/ 240458 h 295354"/>
                  <a:gd name="connsiteX14" fmla="*/ 34741 w 246849"/>
                  <a:gd name="connsiteY14" fmla="*/ 239090 h 295354"/>
                  <a:gd name="connsiteX15" fmla="*/ 33373 w 246849"/>
                  <a:gd name="connsiteY15" fmla="*/ 235100 h 295354"/>
                  <a:gd name="connsiteX16" fmla="*/ 35311 w 246849"/>
                  <a:gd name="connsiteY16" fmla="*/ 216292 h 295354"/>
                  <a:gd name="connsiteX17" fmla="*/ 35653 w 246849"/>
                  <a:gd name="connsiteY17" fmla="*/ 211219 h 295354"/>
                  <a:gd name="connsiteX18" fmla="*/ 34114 w 246849"/>
                  <a:gd name="connsiteY18" fmla="*/ 209338 h 295354"/>
                  <a:gd name="connsiteX19" fmla="*/ 36052 w 246849"/>
                  <a:gd name="connsiteY19" fmla="*/ 203240 h 295354"/>
                  <a:gd name="connsiteX20" fmla="*/ 37306 w 246849"/>
                  <a:gd name="connsiteY20" fmla="*/ 197085 h 295354"/>
                  <a:gd name="connsiteX21" fmla="*/ 30922 w 246849"/>
                  <a:gd name="connsiteY21" fmla="*/ 195945 h 295354"/>
                  <a:gd name="connsiteX22" fmla="*/ 25565 w 246849"/>
                  <a:gd name="connsiteY22" fmla="*/ 189789 h 295354"/>
                  <a:gd name="connsiteX23" fmla="*/ 24938 w 246849"/>
                  <a:gd name="connsiteY23" fmla="*/ 185458 h 295354"/>
                  <a:gd name="connsiteX24" fmla="*/ 133228 w 246849"/>
                  <a:gd name="connsiteY24" fmla="*/ 17095 h 295354"/>
                  <a:gd name="connsiteX25" fmla="*/ 122627 w 246849"/>
                  <a:gd name="connsiteY25" fmla="*/ 12080 h 295354"/>
                  <a:gd name="connsiteX26" fmla="*/ 120689 w 246849"/>
                  <a:gd name="connsiteY26" fmla="*/ 3132 h 295354"/>
                  <a:gd name="connsiteX27" fmla="*/ 119720 w 246849"/>
                  <a:gd name="connsiteY27" fmla="*/ 1194 h 295354"/>
                  <a:gd name="connsiteX28" fmla="*/ 116528 w 246849"/>
                  <a:gd name="connsiteY28" fmla="*/ 282 h 295354"/>
                  <a:gd name="connsiteX29" fmla="*/ 93731 w 246849"/>
                  <a:gd name="connsiteY29" fmla="*/ 3416 h 295354"/>
                  <a:gd name="connsiteX30" fmla="*/ 85922 w 246849"/>
                  <a:gd name="connsiteY30" fmla="*/ 7748 h 295354"/>
                  <a:gd name="connsiteX31" fmla="*/ 79083 w 246849"/>
                  <a:gd name="connsiteY31" fmla="*/ 9401 h 295354"/>
                  <a:gd name="connsiteX32" fmla="*/ 78171 w 246849"/>
                  <a:gd name="connsiteY32" fmla="*/ 9401 h 295354"/>
                  <a:gd name="connsiteX33" fmla="*/ 73498 w 246849"/>
                  <a:gd name="connsiteY33" fmla="*/ 13334 h 295354"/>
                  <a:gd name="connsiteX34" fmla="*/ 71788 w 246849"/>
                  <a:gd name="connsiteY34" fmla="*/ 20287 h 295354"/>
                  <a:gd name="connsiteX35" fmla="*/ 69679 w 246849"/>
                  <a:gd name="connsiteY35" fmla="*/ 20800 h 295354"/>
                  <a:gd name="connsiteX36" fmla="*/ 55031 w 246849"/>
                  <a:gd name="connsiteY36" fmla="*/ 21997 h 295354"/>
                  <a:gd name="connsiteX37" fmla="*/ 54404 w 246849"/>
                  <a:gd name="connsiteY37" fmla="*/ 31173 h 295354"/>
                  <a:gd name="connsiteX38" fmla="*/ 45456 w 246849"/>
                  <a:gd name="connsiteY38" fmla="*/ 30261 h 295354"/>
                  <a:gd name="connsiteX39" fmla="*/ 43575 w 246849"/>
                  <a:gd name="connsiteY39" fmla="*/ 27639 h 295354"/>
                  <a:gd name="connsiteX40" fmla="*/ 35710 w 246849"/>
                  <a:gd name="connsiteY40" fmla="*/ 20401 h 295354"/>
                  <a:gd name="connsiteX41" fmla="*/ 34456 w 246849"/>
                  <a:gd name="connsiteY41" fmla="*/ 19945 h 295354"/>
                  <a:gd name="connsiteX42" fmla="*/ 31606 w 246849"/>
                  <a:gd name="connsiteY42" fmla="*/ 21484 h 295354"/>
                  <a:gd name="connsiteX43" fmla="*/ 16959 w 246849"/>
                  <a:gd name="connsiteY43" fmla="*/ 36188 h 295354"/>
                  <a:gd name="connsiteX44" fmla="*/ 11259 w 246849"/>
                  <a:gd name="connsiteY44" fmla="*/ 40748 h 295354"/>
                  <a:gd name="connsiteX45" fmla="*/ 8580 w 246849"/>
                  <a:gd name="connsiteY45" fmla="*/ 41888 h 295354"/>
                  <a:gd name="connsiteX46" fmla="*/ 9036 w 246849"/>
                  <a:gd name="connsiteY46" fmla="*/ 46790 h 295354"/>
                  <a:gd name="connsiteX47" fmla="*/ 487 w 246849"/>
                  <a:gd name="connsiteY47" fmla="*/ 75287 h 295354"/>
                  <a:gd name="connsiteX48" fmla="*/ 5674 w 246849"/>
                  <a:gd name="connsiteY48" fmla="*/ 83209 h 295354"/>
                  <a:gd name="connsiteX49" fmla="*/ 15819 w 246849"/>
                  <a:gd name="connsiteY49" fmla="*/ 94608 h 295354"/>
                  <a:gd name="connsiteX50" fmla="*/ 22259 w 246849"/>
                  <a:gd name="connsiteY50" fmla="*/ 89820 h 295354"/>
                  <a:gd name="connsiteX51" fmla="*/ 52523 w 246849"/>
                  <a:gd name="connsiteY51" fmla="*/ 77852 h 295354"/>
                  <a:gd name="connsiteX52" fmla="*/ 74352 w 246849"/>
                  <a:gd name="connsiteY52" fmla="*/ 94950 h 295354"/>
                  <a:gd name="connsiteX53" fmla="*/ 88145 w 246849"/>
                  <a:gd name="connsiteY53" fmla="*/ 119971 h 295354"/>
                  <a:gd name="connsiteX54" fmla="*/ 94586 w 246849"/>
                  <a:gd name="connsiteY54" fmla="*/ 128064 h 295354"/>
                  <a:gd name="connsiteX55" fmla="*/ 102280 w 246849"/>
                  <a:gd name="connsiteY55" fmla="*/ 137126 h 295354"/>
                  <a:gd name="connsiteX56" fmla="*/ 118751 w 246849"/>
                  <a:gd name="connsiteY56" fmla="*/ 154680 h 295354"/>
                  <a:gd name="connsiteX57" fmla="*/ 141093 w 246849"/>
                  <a:gd name="connsiteY57" fmla="*/ 169955 h 295354"/>
                  <a:gd name="connsiteX58" fmla="*/ 156425 w 246849"/>
                  <a:gd name="connsiteY58" fmla="*/ 179188 h 295354"/>
                  <a:gd name="connsiteX59" fmla="*/ 162922 w 246849"/>
                  <a:gd name="connsiteY59" fmla="*/ 183976 h 295354"/>
                  <a:gd name="connsiteX60" fmla="*/ 172611 w 246849"/>
                  <a:gd name="connsiteY60" fmla="*/ 194976 h 295354"/>
                  <a:gd name="connsiteX61" fmla="*/ 184751 w 246849"/>
                  <a:gd name="connsiteY61" fmla="*/ 199022 h 295354"/>
                  <a:gd name="connsiteX62" fmla="*/ 187544 w 246849"/>
                  <a:gd name="connsiteY62" fmla="*/ 204323 h 295354"/>
                  <a:gd name="connsiteX63" fmla="*/ 194611 w 246849"/>
                  <a:gd name="connsiteY63" fmla="*/ 225867 h 295354"/>
                  <a:gd name="connsiteX64" fmla="*/ 194098 w 246849"/>
                  <a:gd name="connsiteY64" fmla="*/ 238862 h 295354"/>
                  <a:gd name="connsiteX65" fmla="*/ 186974 w 246849"/>
                  <a:gd name="connsiteY65" fmla="*/ 244561 h 295354"/>
                  <a:gd name="connsiteX66" fmla="*/ 185720 w 246849"/>
                  <a:gd name="connsiteY66" fmla="*/ 253338 h 295354"/>
                  <a:gd name="connsiteX67" fmla="*/ 180533 w 246849"/>
                  <a:gd name="connsiteY67" fmla="*/ 255675 h 295354"/>
                  <a:gd name="connsiteX68" fmla="*/ 139440 w 246849"/>
                  <a:gd name="connsiteY68" fmla="*/ 258411 h 295354"/>
                  <a:gd name="connsiteX69" fmla="*/ 126674 w 246849"/>
                  <a:gd name="connsiteY69" fmla="*/ 258981 h 295354"/>
                  <a:gd name="connsiteX70" fmla="*/ 124622 w 246849"/>
                  <a:gd name="connsiteY70" fmla="*/ 269525 h 295354"/>
                  <a:gd name="connsiteX71" fmla="*/ 127471 w 246849"/>
                  <a:gd name="connsiteY71" fmla="*/ 270551 h 295354"/>
                  <a:gd name="connsiteX72" fmla="*/ 151409 w 246849"/>
                  <a:gd name="connsiteY72" fmla="*/ 276250 h 295354"/>
                  <a:gd name="connsiteX73" fmla="*/ 152663 w 246849"/>
                  <a:gd name="connsiteY73" fmla="*/ 282976 h 295354"/>
                  <a:gd name="connsiteX74" fmla="*/ 165772 w 246849"/>
                  <a:gd name="connsiteY74" fmla="*/ 289359 h 295354"/>
                  <a:gd name="connsiteX75" fmla="*/ 179109 w 246849"/>
                  <a:gd name="connsiteY75" fmla="*/ 294204 h 295354"/>
                  <a:gd name="connsiteX76" fmla="*/ 174492 w 246849"/>
                  <a:gd name="connsiteY76" fmla="*/ 272033 h 295354"/>
                  <a:gd name="connsiteX77" fmla="*/ 181730 w 246849"/>
                  <a:gd name="connsiteY77" fmla="*/ 269411 h 295354"/>
                  <a:gd name="connsiteX78" fmla="*/ 185207 w 246849"/>
                  <a:gd name="connsiteY78" fmla="*/ 260577 h 295354"/>
                  <a:gd name="connsiteX79" fmla="*/ 195295 w 246849"/>
                  <a:gd name="connsiteY79" fmla="*/ 256929 h 295354"/>
                  <a:gd name="connsiteX80" fmla="*/ 206694 w 246849"/>
                  <a:gd name="connsiteY80" fmla="*/ 243421 h 295354"/>
                  <a:gd name="connsiteX81" fmla="*/ 215699 w 246849"/>
                  <a:gd name="connsiteY81" fmla="*/ 226323 h 295354"/>
                  <a:gd name="connsiteX82" fmla="*/ 217523 w 246849"/>
                  <a:gd name="connsiteY82" fmla="*/ 219940 h 295354"/>
                  <a:gd name="connsiteX83" fmla="*/ 215870 w 246849"/>
                  <a:gd name="connsiteY83" fmla="*/ 216064 h 295354"/>
                  <a:gd name="connsiteX84" fmla="*/ 202420 w 246849"/>
                  <a:gd name="connsiteY84" fmla="*/ 205862 h 295354"/>
                  <a:gd name="connsiteX85" fmla="*/ 208860 w 246849"/>
                  <a:gd name="connsiteY85" fmla="*/ 193095 h 295354"/>
                  <a:gd name="connsiteX86" fmla="*/ 233254 w 246849"/>
                  <a:gd name="connsiteY86" fmla="*/ 196458 h 295354"/>
                  <a:gd name="connsiteX87" fmla="*/ 236428 w 246849"/>
                  <a:gd name="connsiteY87" fmla="*/ 206021 h 295354"/>
                  <a:gd name="connsiteX88" fmla="*/ 245280 w 246849"/>
                  <a:gd name="connsiteY88" fmla="*/ 203981 h 295354"/>
                  <a:gd name="connsiteX89" fmla="*/ 244710 w 246849"/>
                  <a:gd name="connsiteY89" fmla="*/ 192582 h 295354"/>
                  <a:gd name="connsiteX90" fmla="*/ 235648 w 246849"/>
                  <a:gd name="connsiteY90" fmla="*/ 185059 h 295354"/>
                  <a:gd name="connsiteX91" fmla="*/ 204528 w 246849"/>
                  <a:gd name="connsiteY91" fmla="*/ 166478 h 295354"/>
                  <a:gd name="connsiteX92" fmla="*/ 199570 w 246849"/>
                  <a:gd name="connsiteY92" fmla="*/ 163401 h 295354"/>
                  <a:gd name="connsiteX93" fmla="*/ 179792 w 246849"/>
                  <a:gd name="connsiteY93" fmla="*/ 154281 h 295354"/>
                  <a:gd name="connsiteX94" fmla="*/ 172953 w 246849"/>
                  <a:gd name="connsiteY94" fmla="*/ 147385 h 295354"/>
                  <a:gd name="connsiteX95" fmla="*/ 158933 w 246849"/>
                  <a:gd name="connsiteY95" fmla="*/ 144022 h 295354"/>
                  <a:gd name="connsiteX96" fmla="*/ 156995 w 246849"/>
                  <a:gd name="connsiteY96" fmla="*/ 135017 h 295354"/>
                  <a:gd name="connsiteX97" fmla="*/ 153290 w 246849"/>
                  <a:gd name="connsiteY97" fmla="*/ 126126 h 295354"/>
                  <a:gd name="connsiteX98" fmla="*/ 156482 w 246849"/>
                  <a:gd name="connsiteY98" fmla="*/ 122137 h 295354"/>
                  <a:gd name="connsiteX99" fmla="*/ 150782 w 246849"/>
                  <a:gd name="connsiteY99" fmla="*/ 114841 h 295354"/>
                  <a:gd name="connsiteX100" fmla="*/ 149243 w 246849"/>
                  <a:gd name="connsiteY100" fmla="*/ 105323 h 295354"/>
                  <a:gd name="connsiteX101" fmla="*/ 142518 w 246849"/>
                  <a:gd name="connsiteY101" fmla="*/ 101561 h 295354"/>
                  <a:gd name="connsiteX102" fmla="*/ 133171 w 246849"/>
                  <a:gd name="connsiteY102" fmla="*/ 91131 h 295354"/>
                  <a:gd name="connsiteX103" fmla="*/ 119663 w 246849"/>
                  <a:gd name="connsiteY103" fmla="*/ 81556 h 295354"/>
                  <a:gd name="connsiteX104" fmla="*/ 116586 w 246849"/>
                  <a:gd name="connsiteY104" fmla="*/ 54313 h 295354"/>
                  <a:gd name="connsiteX105" fmla="*/ 126388 w 246849"/>
                  <a:gd name="connsiteY105" fmla="*/ 51634 h 295354"/>
                  <a:gd name="connsiteX106" fmla="*/ 130435 w 246849"/>
                  <a:gd name="connsiteY106" fmla="*/ 40691 h 295354"/>
                  <a:gd name="connsiteX107" fmla="*/ 136135 w 246849"/>
                  <a:gd name="connsiteY107" fmla="*/ 35448 h 295354"/>
                  <a:gd name="connsiteX108" fmla="*/ 133114 w 246849"/>
                  <a:gd name="connsiteY108" fmla="*/ 18349 h 295354"/>
                  <a:gd name="connsiteX109" fmla="*/ 133057 w 246849"/>
                  <a:gd name="connsiteY109" fmla="*/ 17095 h 29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46849" h="295354">
                    <a:moveTo>
                      <a:pt x="24938" y="185458"/>
                    </a:moveTo>
                    <a:cubicBezTo>
                      <a:pt x="25736" y="183007"/>
                      <a:pt x="29155" y="182665"/>
                      <a:pt x="31036" y="180784"/>
                    </a:cubicBezTo>
                    <a:cubicBezTo>
                      <a:pt x="32917" y="178903"/>
                      <a:pt x="32632" y="178048"/>
                      <a:pt x="33943" y="177136"/>
                    </a:cubicBezTo>
                    <a:cubicBezTo>
                      <a:pt x="35254" y="176224"/>
                      <a:pt x="38959" y="177136"/>
                      <a:pt x="41580" y="177136"/>
                    </a:cubicBezTo>
                    <a:cubicBezTo>
                      <a:pt x="45399" y="177136"/>
                      <a:pt x="48192" y="173033"/>
                      <a:pt x="52010" y="172577"/>
                    </a:cubicBezTo>
                    <a:cubicBezTo>
                      <a:pt x="54986" y="172429"/>
                      <a:pt x="57807" y="173916"/>
                      <a:pt x="59363" y="176453"/>
                    </a:cubicBezTo>
                    <a:cubicBezTo>
                      <a:pt x="60879" y="178989"/>
                      <a:pt x="61796" y="181833"/>
                      <a:pt x="62042" y="184774"/>
                    </a:cubicBezTo>
                    <a:cubicBezTo>
                      <a:pt x="63010" y="194736"/>
                      <a:pt x="62777" y="204785"/>
                      <a:pt x="61358" y="214696"/>
                    </a:cubicBezTo>
                    <a:cubicBezTo>
                      <a:pt x="61306" y="217683"/>
                      <a:pt x="60440" y="220601"/>
                      <a:pt x="58850" y="223131"/>
                    </a:cubicBezTo>
                    <a:cubicBezTo>
                      <a:pt x="56992" y="225126"/>
                      <a:pt x="54689" y="226653"/>
                      <a:pt x="52124" y="227577"/>
                    </a:cubicBezTo>
                    <a:cubicBezTo>
                      <a:pt x="53481" y="229663"/>
                      <a:pt x="52888" y="232450"/>
                      <a:pt x="50802" y="233806"/>
                    </a:cubicBezTo>
                    <a:cubicBezTo>
                      <a:pt x="50027" y="234308"/>
                      <a:pt x="49115" y="234564"/>
                      <a:pt x="48192" y="234530"/>
                    </a:cubicBezTo>
                    <a:cubicBezTo>
                      <a:pt x="47924" y="235351"/>
                      <a:pt x="47405" y="236069"/>
                      <a:pt x="46710" y="236582"/>
                    </a:cubicBezTo>
                    <a:cubicBezTo>
                      <a:pt x="45091" y="238246"/>
                      <a:pt x="43153" y="239569"/>
                      <a:pt x="41010" y="240458"/>
                    </a:cubicBezTo>
                    <a:cubicBezTo>
                      <a:pt x="38839" y="241335"/>
                      <a:pt x="36348" y="240788"/>
                      <a:pt x="34741" y="239090"/>
                    </a:cubicBezTo>
                    <a:cubicBezTo>
                      <a:pt x="33909" y="237921"/>
                      <a:pt x="33436" y="236536"/>
                      <a:pt x="33373" y="235100"/>
                    </a:cubicBezTo>
                    <a:cubicBezTo>
                      <a:pt x="32586" y="228762"/>
                      <a:pt x="33253" y="222333"/>
                      <a:pt x="35311" y="216292"/>
                    </a:cubicBezTo>
                    <a:cubicBezTo>
                      <a:pt x="36149" y="214730"/>
                      <a:pt x="36274" y="212878"/>
                      <a:pt x="35653" y="211219"/>
                    </a:cubicBezTo>
                    <a:cubicBezTo>
                      <a:pt x="35254" y="210535"/>
                      <a:pt x="34513" y="210022"/>
                      <a:pt x="34114" y="209338"/>
                    </a:cubicBezTo>
                    <a:cubicBezTo>
                      <a:pt x="32974" y="207344"/>
                      <a:pt x="34627" y="205007"/>
                      <a:pt x="36052" y="203240"/>
                    </a:cubicBezTo>
                    <a:cubicBezTo>
                      <a:pt x="37477" y="201473"/>
                      <a:pt x="38845" y="198794"/>
                      <a:pt x="37306" y="197085"/>
                    </a:cubicBezTo>
                    <a:cubicBezTo>
                      <a:pt x="35767" y="195375"/>
                      <a:pt x="33088" y="196458"/>
                      <a:pt x="30922" y="195945"/>
                    </a:cubicBezTo>
                    <a:cubicBezTo>
                      <a:pt x="28756" y="195432"/>
                      <a:pt x="26648" y="192411"/>
                      <a:pt x="25565" y="189789"/>
                    </a:cubicBezTo>
                    <a:cubicBezTo>
                      <a:pt x="24818" y="188478"/>
                      <a:pt x="24590" y="186928"/>
                      <a:pt x="24938" y="185458"/>
                    </a:cubicBezTo>
                    <a:close/>
                    <a:moveTo>
                      <a:pt x="133228" y="17095"/>
                    </a:moveTo>
                    <a:cubicBezTo>
                      <a:pt x="129039" y="17511"/>
                      <a:pt x="124964" y="15579"/>
                      <a:pt x="122627" y="12080"/>
                    </a:cubicBezTo>
                    <a:cubicBezTo>
                      <a:pt x="121601" y="9190"/>
                      <a:pt x="120951" y="6186"/>
                      <a:pt x="120689" y="3132"/>
                    </a:cubicBezTo>
                    <a:cubicBezTo>
                      <a:pt x="120552" y="2408"/>
                      <a:pt x="120216" y="1735"/>
                      <a:pt x="119720" y="1194"/>
                    </a:cubicBezTo>
                    <a:cubicBezTo>
                      <a:pt x="118802" y="516"/>
                      <a:pt x="117668" y="191"/>
                      <a:pt x="116528" y="282"/>
                    </a:cubicBezTo>
                    <a:cubicBezTo>
                      <a:pt x="108789" y="-567"/>
                      <a:pt x="100958" y="510"/>
                      <a:pt x="93731" y="3416"/>
                    </a:cubicBezTo>
                    <a:cubicBezTo>
                      <a:pt x="91052" y="4784"/>
                      <a:pt x="88658" y="6608"/>
                      <a:pt x="85922" y="7748"/>
                    </a:cubicBezTo>
                    <a:cubicBezTo>
                      <a:pt x="83705" y="8535"/>
                      <a:pt x="81414" y="9088"/>
                      <a:pt x="79083" y="9401"/>
                    </a:cubicBezTo>
                    <a:lnTo>
                      <a:pt x="78171" y="9401"/>
                    </a:lnTo>
                    <a:cubicBezTo>
                      <a:pt x="76917" y="10997"/>
                      <a:pt x="74466" y="11510"/>
                      <a:pt x="73498" y="13334"/>
                    </a:cubicBezTo>
                    <a:cubicBezTo>
                      <a:pt x="72529" y="15157"/>
                      <a:pt x="73839" y="19033"/>
                      <a:pt x="71788" y="20287"/>
                    </a:cubicBezTo>
                    <a:cubicBezTo>
                      <a:pt x="71138" y="20629"/>
                      <a:pt x="70414" y="20806"/>
                      <a:pt x="69679" y="20800"/>
                    </a:cubicBezTo>
                    <a:lnTo>
                      <a:pt x="55031" y="21997"/>
                    </a:lnTo>
                    <a:cubicBezTo>
                      <a:pt x="55396" y="25069"/>
                      <a:pt x="55185" y="28181"/>
                      <a:pt x="54404" y="31173"/>
                    </a:cubicBezTo>
                    <a:cubicBezTo>
                      <a:pt x="51452" y="32336"/>
                      <a:pt x="48118" y="31994"/>
                      <a:pt x="45456" y="30261"/>
                    </a:cubicBezTo>
                    <a:cubicBezTo>
                      <a:pt x="44715" y="29475"/>
                      <a:pt x="44082" y="28591"/>
                      <a:pt x="43575" y="27639"/>
                    </a:cubicBezTo>
                    <a:cubicBezTo>
                      <a:pt x="41654" y="24562"/>
                      <a:pt x="38936" y="22060"/>
                      <a:pt x="35710" y="20401"/>
                    </a:cubicBezTo>
                    <a:cubicBezTo>
                      <a:pt x="35328" y="20167"/>
                      <a:pt x="34900" y="20008"/>
                      <a:pt x="34456" y="19945"/>
                    </a:cubicBezTo>
                    <a:cubicBezTo>
                      <a:pt x="33322" y="19996"/>
                      <a:pt x="32267" y="20561"/>
                      <a:pt x="31606" y="21484"/>
                    </a:cubicBezTo>
                    <a:lnTo>
                      <a:pt x="16959" y="36188"/>
                    </a:lnTo>
                    <a:cubicBezTo>
                      <a:pt x="15294" y="37984"/>
                      <a:pt x="13374" y="39517"/>
                      <a:pt x="11259" y="40748"/>
                    </a:cubicBezTo>
                    <a:cubicBezTo>
                      <a:pt x="10393" y="41187"/>
                      <a:pt x="9498" y="41569"/>
                      <a:pt x="8580" y="41888"/>
                    </a:cubicBezTo>
                    <a:cubicBezTo>
                      <a:pt x="8991" y="43489"/>
                      <a:pt x="9145" y="45142"/>
                      <a:pt x="9036" y="46790"/>
                    </a:cubicBezTo>
                    <a:cubicBezTo>
                      <a:pt x="8181" y="56878"/>
                      <a:pt x="-2362" y="65541"/>
                      <a:pt x="487" y="75287"/>
                    </a:cubicBezTo>
                    <a:cubicBezTo>
                      <a:pt x="1633" y="78268"/>
                      <a:pt x="3400" y="80969"/>
                      <a:pt x="5674" y="83209"/>
                    </a:cubicBezTo>
                    <a:lnTo>
                      <a:pt x="15819" y="94608"/>
                    </a:lnTo>
                    <a:cubicBezTo>
                      <a:pt x="17985" y="93012"/>
                      <a:pt x="20093" y="91359"/>
                      <a:pt x="22259" y="89820"/>
                    </a:cubicBezTo>
                    <a:cubicBezTo>
                      <a:pt x="31208" y="83209"/>
                      <a:pt x="41466" y="76199"/>
                      <a:pt x="52523" y="77852"/>
                    </a:cubicBezTo>
                    <a:cubicBezTo>
                      <a:pt x="61939" y="80103"/>
                      <a:pt x="69907" y="86350"/>
                      <a:pt x="74352" y="94950"/>
                    </a:cubicBezTo>
                    <a:cubicBezTo>
                      <a:pt x="79368" y="103100"/>
                      <a:pt x="82731" y="112049"/>
                      <a:pt x="88145" y="119971"/>
                    </a:cubicBezTo>
                    <a:cubicBezTo>
                      <a:pt x="90140" y="122820"/>
                      <a:pt x="92363" y="125670"/>
                      <a:pt x="94586" y="128064"/>
                    </a:cubicBezTo>
                    <a:lnTo>
                      <a:pt x="102280" y="137126"/>
                    </a:lnTo>
                    <a:cubicBezTo>
                      <a:pt x="107335" y="143367"/>
                      <a:pt x="112841" y="149238"/>
                      <a:pt x="118751" y="154680"/>
                    </a:cubicBezTo>
                    <a:cubicBezTo>
                      <a:pt x="125750" y="160403"/>
                      <a:pt x="133222" y="165515"/>
                      <a:pt x="141093" y="169955"/>
                    </a:cubicBezTo>
                    <a:lnTo>
                      <a:pt x="156425" y="179188"/>
                    </a:lnTo>
                    <a:cubicBezTo>
                      <a:pt x="158773" y="180516"/>
                      <a:pt x="160956" y="182123"/>
                      <a:pt x="162922" y="183976"/>
                    </a:cubicBezTo>
                    <a:cubicBezTo>
                      <a:pt x="166342" y="187510"/>
                      <a:pt x="168166" y="192753"/>
                      <a:pt x="172611" y="194976"/>
                    </a:cubicBezTo>
                    <a:cubicBezTo>
                      <a:pt x="177057" y="197199"/>
                      <a:pt x="181673" y="196002"/>
                      <a:pt x="184751" y="199022"/>
                    </a:cubicBezTo>
                    <a:cubicBezTo>
                      <a:pt x="186096" y="200538"/>
                      <a:pt x="187059" y="202357"/>
                      <a:pt x="187544" y="204323"/>
                    </a:cubicBezTo>
                    <a:cubicBezTo>
                      <a:pt x="189881" y="211504"/>
                      <a:pt x="192274" y="218686"/>
                      <a:pt x="194611" y="225867"/>
                    </a:cubicBezTo>
                    <a:cubicBezTo>
                      <a:pt x="196036" y="230198"/>
                      <a:pt x="197290" y="235556"/>
                      <a:pt x="194098" y="238862"/>
                    </a:cubicBezTo>
                    <a:cubicBezTo>
                      <a:pt x="191989" y="241085"/>
                      <a:pt x="188399" y="241768"/>
                      <a:pt x="186974" y="244561"/>
                    </a:cubicBezTo>
                    <a:cubicBezTo>
                      <a:pt x="185549" y="247354"/>
                      <a:pt x="187430" y="250888"/>
                      <a:pt x="185720" y="253338"/>
                    </a:cubicBezTo>
                    <a:cubicBezTo>
                      <a:pt x="184358" y="254763"/>
                      <a:pt x="182500" y="255601"/>
                      <a:pt x="180533" y="255675"/>
                    </a:cubicBezTo>
                    <a:cubicBezTo>
                      <a:pt x="167026" y="258457"/>
                      <a:pt x="153199" y="259380"/>
                      <a:pt x="139440" y="258411"/>
                    </a:cubicBezTo>
                    <a:cubicBezTo>
                      <a:pt x="135217" y="257379"/>
                      <a:pt x="130789" y="257579"/>
                      <a:pt x="126674" y="258981"/>
                    </a:cubicBezTo>
                    <a:cubicBezTo>
                      <a:pt x="122798" y="260919"/>
                      <a:pt x="120974" y="267131"/>
                      <a:pt x="124622" y="269525"/>
                    </a:cubicBezTo>
                    <a:cubicBezTo>
                      <a:pt x="125505" y="270032"/>
                      <a:pt x="126468" y="270380"/>
                      <a:pt x="127471" y="270551"/>
                    </a:cubicBezTo>
                    <a:lnTo>
                      <a:pt x="151409" y="276250"/>
                    </a:lnTo>
                    <a:cubicBezTo>
                      <a:pt x="151808" y="278473"/>
                      <a:pt x="152264" y="280753"/>
                      <a:pt x="152663" y="282976"/>
                    </a:cubicBezTo>
                    <a:cubicBezTo>
                      <a:pt x="157394" y="280753"/>
                      <a:pt x="162352" y="285369"/>
                      <a:pt x="165772" y="289359"/>
                    </a:cubicBezTo>
                    <a:cubicBezTo>
                      <a:pt x="169192" y="293349"/>
                      <a:pt x="174948" y="297395"/>
                      <a:pt x="179109" y="294204"/>
                    </a:cubicBezTo>
                    <a:lnTo>
                      <a:pt x="174492" y="272033"/>
                    </a:lnTo>
                    <a:lnTo>
                      <a:pt x="181730" y="269411"/>
                    </a:lnTo>
                    <a:cubicBezTo>
                      <a:pt x="179679" y="266447"/>
                      <a:pt x="182072" y="262287"/>
                      <a:pt x="185207" y="260577"/>
                    </a:cubicBezTo>
                    <a:cubicBezTo>
                      <a:pt x="188342" y="258867"/>
                      <a:pt x="192104" y="258468"/>
                      <a:pt x="195295" y="256929"/>
                    </a:cubicBezTo>
                    <a:cubicBezTo>
                      <a:pt x="200413" y="253732"/>
                      <a:pt x="204403" y="249007"/>
                      <a:pt x="206694" y="243421"/>
                    </a:cubicBezTo>
                    <a:lnTo>
                      <a:pt x="215699" y="226323"/>
                    </a:lnTo>
                    <a:cubicBezTo>
                      <a:pt x="216925" y="224425"/>
                      <a:pt x="217563" y="222202"/>
                      <a:pt x="217523" y="219940"/>
                    </a:cubicBezTo>
                    <a:cubicBezTo>
                      <a:pt x="217295" y="218532"/>
                      <a:pt x="216731" y="217204"/>
                      <a:pt x="215870" y="216064"/>
                    </a:cubicBezTo>
                    <a:cubicBezTo>
                      <a:pt x="212684" y="211225"/>
                      <a:pt x="207937" y="207623"/>
                      <a:pt x="202420" y="205862"/>
                    </a:cubicBezTo>
                    <a:cubicBezTo>
                      <a:pt x="206033" y="202522"/>
                      <a:pt x="208318" y="197985"/>
                      <a:pt x="208860" y="193095"/>
                    </a:cubicBezTo>
                    <a:lnTo>
                      <a:pt x="233254" y="196458"/>
                    </a:lnTo>
                    <a:cubicBezTo>
                      <a:pt x="231493" y="199974"/>
                      <a:pt x="232912" y="204254"/>
                      <a:pt x="236428" y="206021"/>
                    </a:cubicBezTo>
                    <a:cubicBezTo>
                      <a:pt x="239489" y="207549"/>
                      <a:pt x="243199" y="206694"/>
                      <a:pt x="245280" y="203981"/>
                    </a:cubicBezTo>
                    <a:cubicBezTo>
                      <a:pt x="247565" y="200459"/>
                      <a:pt x="247337" y="195859"/>
                      <a:pt x="244710" y="192582"/>
                    </a:cubicBezTo>
                    <a:cubicBezTo>
                      <a:pt x="242230" y="189482"/>
                      <a:pt x="239147" y="186922"/>
                      <a:pt x="235648" y="185059"/>
                    </a:cubicBezTo>
                    <a:lnTo>
                      <a:pt x="204528" y="166478"/>
                    </a:lnTo>
                    <a:lnTo>
                      <a:pt x="199570" y="163401"/>
                    </a:lnTo>
                    <a:cubicBezTo>
                      <a:pt x="193568" y="159212"/>
                      <a:pt x="186871" y="156128"/>
                      <a:pt x="179792" y="154281"/>
                    </a:cubicBezTo>
                    <a:cubicBezTo>
                      <a:pt x="175860" y="153541"/>
                      <a:pt x="170389" y="150406"/>
                      <a:pt x="172953" y="147385"/>
                    </a:cubicBezTo>
                    <a:lnTo>
                      <a:pt x="158933" y="144022"/>
                    </a:lnTo>
                    <a:cubicBezTo>
                      <a:pt x="161668" y="141914"/>
                      <a:pt x="159502" y="137468"/>
                      <a:pt x="156995" y="135017"/>
                    </a:cubicBezTo>
                    <a:cubicBezTo>
                      <a:pt x="154487" y="132567"/>
                      <a:pt x="151295" y="129318"/>
                      <a:pt x="153290" y="126126"/>
                    </a:cubicBezTo>
                    <a:cubicBezTo>
                      <a:pt x="154145" y="124644"/>
                      <a:pt x="156026" y="123789"/>
                      <a:pt x="156482" y="122137"/>
                    </a:cubicBezTo>
                    <a:cubicBezTo>
                      <a:pt x="157280" y="119059"/>
                      <a:pt x="152948" y="117406"/>
                      <a:pt x="150782" y="114841"/>
                    </a:cubicBezTo>
                    <a:cubicBezTo>
                      <a:pt x="148617" y="112276"/>
                      <a:pt x="149756" y="108572"/>
                      <a:pt x="149243" y="105323"/>
                    </a:cubicBezTo>
                    <a:cubicBezTo>
                      <a:pt x="148731" y="102074"/>
                      <a:pt x="144570" y="99054"/>
                      <a:pt x="142518" y="101561"/>
                    </a:cubicBezTo>
                    <a:lnTo>
                      <a:pt x="133171" y="91131"/>
                    </a:lnTo>
                    <a:cubicBezTo>
                      <a:pt x="129882" y="86503"/>
                      <a:pt x="125118" y="83129"/>
                      <a:pt x="119663" y="81556"/>
                    </a:cubicBezTo>
                    <a:cubicBezTo>
                      <a:pt x="119720" y="72386"/>
                      <a:pt x="118689" y="63238"/>
                      <a:pt x="116586" y="54313"/>
                    </a:cubicBezTo>
                    <a:cubicBezTo>
                      <a:pt x="119378" y="57048"/>
                      <a:pt x="124337" y="54940"/>
                      <a:pt x="126388" y="51634"/>
                    </a:cubicBezTo>
                    <a:cubicBezTo>
                      <a:pt x="127984" y="48083"/>
                      <a:pt x="129335" y="44424"/>
                      <a:pt x="130435" y="40691"/>
                    </a:cubicBezTo>
                    <a:cubicBezTo>
                      <a:pt x="131575" y="38263"/>
                      <a:pt x="133621" y="36382"/>
                      <a:pt x="136135" y="35448"/>
                    </a:cubicBezTo>
                    <a:cubicBezTo>
                      <a:pt x="135508" y="29748"/>
                      <a:pt x="134083" y="24049"/>
                      <a:pt x="133114" y="18349"/>
                    </a:cubicBezTo>
                    <a:cubicBezTo>
                      <a:pt x="133034" y="17939"/>
                      <a:pt x="133017" y="17511"/>
                      <a:pt x="133057" y="170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4" name="Freihandform: Form 420">
                <a:extLst>
                  <a:ext uri="{FF2B5EF4-FFF2-40B4-BE49-F238E27FC236}">
                    <a16:creationId xmlns:a16="http://schemas.microsoft.com/office/drawing/2014/main" id="{60F51F94-2F60-0888-3741-843CF0D8BE18}"/>
                  </a:ext>
                </a:extLst>
              </p:cNvPr>
              <p:cNvSpPr/>
              <p:nvPr/>
            </p:nvSpPr>
            <p:spPr>
              <a:xfrm>
                <a:off x="4055271" y="3050217"/>
                <a:ext cx="74741" cy="54828"/>
              </a:xfrm>
              <a:custGeom>
                <a:avLst/>
                <a:gdLst>
                  <a:gd name="connsiteX0" fmla="*/ 21965 w 74741"/>
                  <a:gd name="connsiteY0" fmla="*/ 52492 h 54828"/>
                  <a:gd name="connsiteX1" fmla="*/ 20597 w 74741"/>
                  <a:gd name="connsiteY1" fmla="*/ 54829 h 54828"/>
                  <a:gd name="connsiteX2" fmla="*/ 18659 w 74741"/>
                  <a:gd name="connsiteY2" fmla="*/ 51010 h 54828"/>
                  <a:gd name="connsiteX3" fmla="*/ 17063 w 74741"/>
                  <a:gd name="connsiteY3" fmla="*/ 45311 h 54828"/>
                  <a:gd name="connsiteX4" fmla="*/ 9711 w 74741"/>
                  <a:gd name="connsiteY4" fmla="*/ 40181 h 54828"/>
                  <a:gd name="connsiteX5" fmla="*/ 6747 w 74741"/>
                  <a:gd name="connsiteY5" fmla="*/ 32715 h 54828"/>
                  <a:gd name="connsiteX6" fmla="*/ 3042 w 74741"/>
                  <a:gd name="connsiteY6" fmla="*/ 32715 h 54828"/>
                  <a:gd name="connsiteX7" fmla="*/ 21 w 74741"/>
                  <a:gd name="connsiteY7" fmla="*/ 15616 h 54828"/>
                  <a:gd name="connsiteX8" fmla="*/ 21 w 74741"/>
                  <a:gd name="connsiteY8" fmla="*/ 14762 h 54828"/>
                  <a:gd name="connsiteX9" fmla="*/ 363 w 74741"/>
                  <a:gd name="connsiteY9" fmla="*/ 14762 h 54828"/>
                  <a:gd name="connsiteX10" fmla="*/ 12959 w 74741"/>
                  <a:gd name="connsiteY10" fmla="*/ 13280 h 54828"/>
                  <a:gd name="connsiteX11" fmla="*/ 35244 w 74741"/>
                  <a:gd name="connsiteY11" fmla="*/ 12710 h 54828"/>
                  <a:gd name="connsiteX12" fmla="*/ 44421 w 74741"/>
                  <a:gd name="connsiteY12" fmla="*/ 5927 h 54828"/>
                  <a:gd name="connsiteX13" fmla="*/ 50120 w 74741"/>
                  <a:gd name="connsiteY13" fmla="*/ 5357 h 54828"/>
                  <a:gd name="connsiteX14" fmla="*/ 59125 w 74741"/>
                  <a:gd name="connsiteY14" fmla="*/ 1881 h 54828"/>
                  <a:gd name="connsiteX15" fmla="*/ 64083 w 74741"/>
                  <a:gd name="connsiteY15" fmla="*/ 3021 h 54828"/>
                  <a:gd name="connsiteX16" fmla="*/ 73602 w 74741"/>
                  <a:gd name="connsiteY16" fmla="*/ 0 h 54828"/>
                  <a:gd name="connsiteX17" fmla="*/ 73887 w 74741"/>
                  <a:gd name="connsiteY17" fmla="*/ 2223 h 54828"/>
                  <a:gd name="connsiteX18" fmla="*/ 74400 w 74741"/>
                  <a:gd name="connsiteY18" fmla="*/ 8492 h 54828"/>
                  <a:gd name="connsiteX19" fmla="*/ 74742 w 74741"/>
                  <a:gd name="connsiteY19" fmla="*/ 9062 h 54828"/>
                  <a:gd name="connsiteX20" fmla="*/ 61291 w 74741"/>
                  <a:gd name="connsiteY20" fmla="*/ 18010 h 54828"/>
                  <a:gd name="connsiteX21" fmla="*/ 57586 w 74741"/>
                  <a:gd name="connsiteY21" fmla="*/ 26388 h 54828"/>
                  <a:gd name="connsiteX22" fmla="*/ 49607 w 74741"/>
                  <a:gd name="connsiteY22" fmla="*/ 32544 h 54828"/>
                  <a:gd name="connsiteX23" fmla="*/ 48581 w 74741"/>
                  <a:gd name="connsiteY23" fmla="*/ 35622 h 54828"/>
                  <a:gd name="connsiteX24" fmla="*/ 44820 w 74741"/>
                  <a:gd name="connsiteY24" fmla="*/ 39725 h 54828"/>
                  <a:gd name="connsiteX25" fmla="*/ 41343 w 74741"/>
                  <a:gd name="connsiteY25" fmla="*/ 45425 h 54828"/>
                  <a:gd name="connsiteX26" fmla="*/ 25042 w 74741"/>
                  <a:gd name="connsiteY26" fmla="*/ 49186 h 54828"/>
                  <a:gd name="connsiteX27" fmla="*/ 21965 w 74741"/>
                  <a:gd name="connsiteY27" fmla="*/ 52492 h 5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741" h="54828">
                    <a:moveTo>
                      <a:pt x="21965" y="52492"/>
                    </a:moveTo>
                    <a:cubicBezTo>
                      <a:pt x="21451" y="53233"/>
                      <a:pt x="21052" y="54031"/>
                      <a:pt x="20597" y="54829"/>
                    </a:cubicBezTo>
                    <a:cubicBezTo>
                      <a:pt x="19730" y="53683"/>
                      <a:pt x="19075" y="52389"/>
                      <a:pt x="18659" y="51010"/>
                    </a:cubicBezTo>
                    <a:cubicBezTo>
                      <a:pt x="18408" y="49044"/>
                      <a:pt x="17872" y="47123"/>
                      <a:pt x="17063" y="45311"/>
                    </a:cubicBezTo>
                    <a:cubicBezTo>
                      <a:pt x="15524" y="42689"/>
                      <a:pt x="12332" y="41720"/>
                      <a:pt x="9711" y="40181"/>
                    </a:cubicBezTo>
                    <a:cubicBezTo>
                      <a:pt x="7089" y="38642"/>
                      <a:pt x="4923" y="35109"/>
                      <a:pt x="6747" y="32715"/>
                    </a:cubicBezTo>
                    <a:cubicBezTo>
                      <a:pt x="5556" y="32259"/>
                      <a:pt x="4233" y="32259"/>
                      <a:pt x="3042" y="32715"/>
                    </a:cubicBezTo>
                    <a:cubicBezTo>
                      <a:pt x="2415" y="27015"/>
                      <a:pt x="991" y="21316"/>
                      <a:pt x="21" y="15616"/>
                    </a:cubicBezTo>
                    <a:cubicBezTo>
                      <a:pt x="-7" y="15331"/>
                      <a:pt x="-7" y="15047"/>
                      <a:pt x="21" y="14762"/>
                    </a:cubicBezTo>
                    <a:lnTo>
                      <a:pt x="363" y="14762"/>
                    </a:lnTo>
                    <a:cubicBezTo>
                      <a:pt x="4581" y="14762"/>
                      <a:pt x="8742" y="13394"/>
                      <a:pt x="12959" y="13280"/>
                    </a:cubicBezTo>
                    <a:cubicBezTo>
                      <a:pt x="20540" y="13280"/>
                      <a:pt x="28804" y="16756"/>
                      <a:pt x="35244" y="12710"/>
                    </a:cubicBezTo>
                    <a:cubicBezTo>
                      <a:pt x="38493" y="10658"/>
                      <a:pt x="40944" y="7010"/>
                      <a:pt x="44421" y="5927"/>
                    </a:cubicBezTo>
                    <a:cubicBezTo>
                      <a:pt x="46358" y="5414"/>
                      <a:pt x="48467" y="5927"/>
                      <a:pt x="50120" y="5357"/>
                    </a:cubicBezTo>
                    <a:cubicBezTo>
                      <a:pt x="53255" y="4617"/>
                      <a:pt x="55819" y="1767"/>
                      <a:pt x="59125" y="1881"/>
                    </a:cubicBezTo>
                    <a:cubicBezTo>
                      <a:pt x="60807" y="2126"/>
                      <a:pt x="62465" y="2508"/>
                      <a:pt x="64083" y="3021"/>
                    </a:cubicBezTo>
                    <a:cubicBezTo>
                      <a:pt x="67520" y="3209"/>
                      <a:pt x="70906" y="2137"/>
                      <a:pt x="73602" y="0"/>
                    </a:cubicBezTo>
                    <a:cubicBezTo>
                      <a:pt x="73602" y="741"/>
                      <a:pt x="73602" y="1482"/>
                      <a:pt x="73887" y="2223"/>
                    </a:cubicBezTo>
                    <a:cubicBezTo>
                      <a:pt x="73710" y="4326"/>
                      <a:pt x="73881" y="6446"/>
                      <a:pt x="74400" y="8492"/>
                    </a:cubicBezTo>
                    <a:cubicBezTo>
                      <a:pt x="74400" y="8492"/>
                      <a:pt x="74400" y="8834"/>
                      <a:pt x="74742" y="9062"/>
                    </a:cubicBezTo>
                    <a:cubicBezTo>
                      <a:pt x="71117" y="13171"/>
                      <a:pt x="66483" y="16255"/>
                      <a:pt x="61291" y="18010"/>
                    </a:cubicBezTo>
                    <a:cubicBezTo>
                      <a:pt x="63286" y="20860"/>
                      <a:pt x="60550" y="24622"/>
                      <a:pt x="57586" y="26388"/>
                    </a:cubicBezTo>
                    <a:cubicBezTo>
                      <a:pt x="54622" y="28155"/>
                      <a:pt x="50918" y="29352"/>
                      <a:pt x="49607" y="32544"/>
                    </a:cubicBezTo>
                    <a:cubicBezTo>
                      <a:pt x="49208" y="33570"/>
                      <a:pt x="49037" y="34653"/>
                      <a:pt x="48581" y="35622"/>
                    </a:cubicBezTo>
                    <a:cubicBezTo>
                      <a:pt x="47595" y="37212"/>
                      <a:pt x="46318" y="38602"/>
                      <a:pt x="44820" y="39725"/>
                    </a:cubicBezTo>
                    <a:cubicBezTo>
                      <a:pt x="43189" y="41293"/>
                      <a:pt x="41992" y="43259"/>
                      <a:pt x="41343" y="45425"/>
                    </a:cubicBezTo>
                    <a:cubicBezTo>
                      <a:pt x="37752" y="49984"/>
                      <a:pt x="29944" y="46166"/>
                      <a:pt x="25042" y="49186"/>
                    </a:cubicBezTo>
                    <a:cubicBezTo>
                      <a:pt x="23811" y="50081"/>
                      <a:pt x="22768" y="51204"/>
                      <a:pt x="21965" y="5249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5" name="Freihandform: Form 421">
                <a:extLst>
                  <a:ext uri="{FF2B5EF4-FFF2-40B4-BE49-F238E27FC236}">
                    <a16:creationId xmlns:a16="http://schemas.microsoft.com/office/drawing/2014/main" id="{A764CCE7-C017-4AAD-2157-A4B9BBF0F920}"/>
                  </a:ext>
                </a:extLst>
              </p:cNvPr>
              <p:cNvSpPr/>
              <p:nvPr/>
            </p:nvSpPr>
            <p:spPr>
              <a:xfrm>
                <a:off x="4075868" y="3059222"/>
                <a:ext cx="106812" cy="106444"/>
              </a:xfrm>
              <a:custGeom>
                <a:avLst/>
                <a:gdLst>
                  <a:gd name="connsiteX0" fmla="*/ 66342 w 106812"/>
                  <a:gd name="connsiteY0" fmla="*/ 106181 h 106444"/>
                  <a:gd name="connsiteX1" fmla="*/ 58078 w 106812"/>
                  <a:gd name="connsiteY1" fmla="*/ 105212 h 106444"/>
                  <a:gd name="connsiteX2" fmla="*/ 55627 w 106812"/>
                  <a:gd name="connsiteY2" fmla="*/ 101337 h 106444"/>
                  <a:gd name="connsiteX3" fmla="*/ 48388 w 106812"/>
                  <a:gd name="connsiteY3" fmla="*/ 98715 h 106444"/>
                  <a:gd name="connsiteX4" fmla="*/ 41549 w 106812"/>
                  <a:gd name="connsiteY4" fmla="*/ 88570 h 106444"/>
                  <a:gd name="connsiteX5" fmla="*/ 32430 w 106812"/>
                  <a:gd name="connsiteY5" fmla="*/ 87202 h 106444"/>
                  <a:gd name="connsiteX6" fmla="*/ 31062 w 106812"/>
                  <a:gd name="connsiteY6" fmla="*/ 81502 h 106444"/>
                  <a:gd name="connsiteX7" fmla="*/ 24279 w 106812"/>
                  <a:gd name="connsiteY7" fmla="*/ 78425 h 106444"/>
                  <a:gd name="connsiteX8" fmla="*/ 20689 w 106812"/>
                  <a:gd name="connsiteY8" fmla="*/ 72725 h 106444"/>
                  <a:gd name="connsiteX9" fmla="*/ 13451 w 106812"/>
                  <a:gd name="connsiteY9" fmla="*/ 50896 h 106444"/>
                  <a:gd name="connsiteX10" fmla="*/ 0 w 106812"/>
                  <a:gd name="connsiteY10" fmla="*/ 45938 h 106444"/>
                  <a:gd name="connsiteX11" fmla="*/ 1368 w 106812"/>
                  <a:gd name="connsiteY11" fmla="*/ 43601 h 106444"/>
                  <a:gd name="connsiteX12" fmla="*/ 4617 w 106812"/>
                  <a:gd name="connsiteY12" fmla="*/ 40124 h 106444"/>
                  <a:gd name="connsiteX13" fmla="*/ 20917 w 106812"/>
                  <a:gd name="connsiteY13" fmla="*/ 36363 h 106444"/>
                  <a:gd name="connsiteX14" fmla="*/ 24394 w 106812"/>
                  <a:gd name="connsiteY14" fmla="*/ 30663 h 106444"/>
                  <a:gd name="connsiteX15" fmla="*/ 28155 w 106812"/>
                  <a:gd name="connsiteY15" fmla="*/ 26560 h 106444"/>
                  <a:gd name="connsiteX16" fmla="*/ 29181 w 106812"/>
                  <a:gd name="connsiteY16" fmla="*/ 23482 h 106444"/>
                  <a:gd name="connsiteX17" fmla="*/ 37160 w 106812"/>
                  <a:gd name="connsiteY17" fmla="*/ 17326 h 106444"/>
                  <a:gd name="connsiteX18" fmla="*/ 40865 w 106812"/>
                  <a:gd name="connsiteY18" fmla="*/ 8948 h 106444"/>
                  <a:gd name="connsiteX19" fmla="*/ 54316 w 106812"/>
                  <a:gd name="connsiteY19" fmla="*/ 0 h 106444"/>
                  <a:gd name="connsiteX20" fmla="*/ 59160 w 106812"/>
                  <a:gd name="connsiteY20" fmla="*/ 4730 h 106444"/>
                  <a:gd name="connsiteX21" fmla="*/ 69191 w 106812"/>
                  <a:gd name="connsiteY21" fmla="*/ 15503 h 106444"/>
                  <a:gd name="connsiteX22" fmla="*/ 80590 w 106812"/>
                  <a:gd name="connsiteY22" fmla="*/ 24166 h 106444"/>
                  <a:gd name="connsiteX23" fmla="*/ 93870 w 106812"/>
                  <a:gd name="connsiteY23" fmla="*/ 20461 h 106444"/>
                  <a:gd name="connsiteX24" fmla="*/ 94497 w 106812"/>
                  <a:gd name="connsiteY24" fmla="*/ 19492 h 106444"/>
                  <a:gd name="connsiteX25" fmla="*/ 95124 w 106812"/>
                  <a:gd name="connsiteY25" fmla="*/ 20917 h 106444"/>
                  <a:gd name="connsiteX26" fmla="*/ 97176 w 106812"/>
                  <a:gd name="connsiteY26" fmla="*/ 27699 h 106444"/>
                  <a:gd name="connsiteX27" fmla="*/ 104129 w 106812"/>
                  <a:gd name="connsiteY27" fmla="*/ 39098 h 106444"/>
                  <a:gd name="connsiteX28" fmla="*/ 106124 w 106812"/>
                  <a:gd name="connsiteY28" fmla="*/ 51637 h 106444"/>
                  <a:gd name="connsiteX29" fmla="*/ 103274 w 106812"/>
                  <a:gd name="connsiteY29" fmla="*/ 54373 h 106444"/>
                  <a:gd name="connsiteX30" fmla="*/ 98430 w 106812"/>
                  <a:gd name="connsiteY30" fmla="*/ 52378 h 106444"/>
                  <a:gd name="connsiteX31" fmla="*/ 70901 w 106812"/>
                  <a:gd name="connsiteY31" fmla="*/ 43031 h 106444"/>
                  <a:gd name="connsiteX32" fmla="*/ 41492 w 106812"/>
                  <a:gd name="connsiteY32" fmla="*/ 44741 h 106444"/>
                  <a:gd name="connsiteX33" fmla="*/ 36818 w 106812"/>
                  <a:gd name="connsiteY33" fmla="*/ 45938 h 106444"/>
                  <a:gd name="connsiteX34" fmla="*/ 34482 w 106812"/>
                  <a:gd name="connsiteY34" fmla="*/ 56368 h 106444"/>
                  <a:gd name="connsiteX35" fmla="*/ 42119 w 106812"/>
                  <a:gd name="connsiteY35" fmla="*/ 65145 h 106444"/>
                  <a:gd name="connsiteX36" fmla="*/ 48844 w 106812"/>
                  <a:gd name="connsiteY36" fmla="*/ 74492 h 106444"/>
                  <a:gd name="connsiteX37" fmla="*/ 50098 w 106812"/>
                  <a:gd name="connsiteY37" fmla="*/ 79280 h 106444"/>
                  <a:gd name="connsiteX38" fmla="*/ 52093 w 106812"/>
                  <a:gd name="connsiteY38" fmla="*/ 81388 h 106444"/>
                  <a:gd name="connsiteX39" fmla="*/ 66057 w 106812"/>
                  <a:gd name="connsiteY39" fmla="*/ 92787 h 106444"/>
                  <a:gd name="connsiteX40" fmla="*/ 66342 w 106812"/>
                  <a:gd name="connsiteY40" fmla="*/ 106181 h 1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6812" h="106444">
                    <a:moveTo>
                      <a:pt x="66342" y="106181"/>
                    </a:moveTo>
                    <a:cubicBezTo>
                      <a:pt x="63321" y="106181"/>
                      <a:pt x="60186" y="107207"/>
                      <a:pt x="58078" y="105212"/>
                    </a:cubicBezTo>
                    <a:cubicBezTo>
                      <a:pt x="57131" y="104010"/>
                      <a:pt x="56310" y="102710"/>
                      <a:pt x="55627" y="101337"/>
                    </a:cubicBezTo>
                    <a:cubicBezTo>
                      <a:pt x="54025" y="99006"/>
                      <a:pt x="51113" y="97951"/>
                      <a:pt x="48388" y="98715"/>
                    </a:cubicBezTo>
                    <a:cubicBezTo>
                      <a:pt x="50782" y="94782"/>
                      <a:pt x="46109" y="88969"/>
                      <a:pt x="41549" y="88570"/>
                    </a:cubicBezTo>
                    <a:cubicBezTo>
                      <a:pt x="38357" y="88285"/>
                      <a:pt x="34197" y="89938"/>
                      <a:pt x="32430" y="87202"/>
                    </a:cubicBezTo>
                    <a:cubicBezTo>
                      <a:pt x="31347" y="85492"/>
                      <a:pt x="32430" y="83041"/>
                      <a:pt x="31062" y="81502"/>
                    </a:cubicBezTo>
                    <a:cubicBezTo>
                      <a:pt x="29694" y="79964"/>
                      <a:pt x="26445" y="79736"/>
                      <a:pt x="24279" y="78425"/>
                    </a:cubicBezTo>
                    <a:cubicBezTo>
                      <a:pt x="22433" y="77023"/>
                      <a:pt x="21156" y="74999"/>
                      <a:pt x="20689" y="72725"/>
                    </a:cubicBezTo>
                    <a:cubicBezTo>
                      <a:pt x="18295" y="65430"/>
                      <a:pt x="15844" y="58135"/>
                      <a:pt x="13451" y="50896"/>
                    </a:cubicBezTo>
                    <a:cubicBezTo>
                      <a:pt x="8378" y="52105"/>
                      <a:pt x="3072" y="50150"/>
                      <a:pt x="0" y="45938"/>
                    </a:cubicBezTo>
                    <a:cubicBezTo>
                      <a:pt x="456" y="45140"/>
                      <a:pt x="855" y="44342"/>
                      <a:pt x="1368" y="43601"/>
                    </a:cubicBezTo>
                    <a:cubicBezTo>
                      <a:pt x="2205" y="42233"/>
                      <a:pt x="3311" y="41053"/>
                      <a:pt x="4617" y="40124"/>
                    </a:cubicBezTo>
                    <a:cubicBezTo>
                      <a:pt x="9461" y="37104"/>
                      <a:pt x="17326" y="40922"/>
                      <a:pt x="20917" y="36363"/>
                    </a:cubicBezTo>
                    <a:cubicBezTo>
                      <a:pt x="21567" y="34197"/>
                      <a:pt x="22763" y="32231"/>
                      <a:pt x="24394" y="30663"/>
                    </a:cubicBezTo>
                    <a:cubicBezTo>
                      <a:pt x="25893" y="29540"/>
                      <a:pt x="27169" y="28150"/>
                      <a:pt x="28155" y="26560"/>
                    </a:cubicBezTo>
                    <a:cubicBezTo>
                      <a:pt x="28611" y="25591"/>
                      <a:pt x="28782" y="24508"/>
                      <a:pt x="29181" y="23482"/>
                    </a:cubicBezTo>
                    <a:cubicBezTo>
                      <a:pt x="30492" y="20290"/>
                      <a:pt x="34197" y="19036"/>
                      <a:pt x="37160" y="17326"/>
                    </a:cubicBezTo>
                    <a:cubicBezTo>
                      <a:pt x="40124" y="15616"/>
                      <a:pt x="42860" y="11627"/>
                      <a:pt x="40865" y="8948"/>
                    </a:cubicBezTo>
                    <a:cubicBezTo>
                      <a:pt x="46057" y="7193"/>
                      <a:pt x="50691" y="4109"/>
                      <a:pt x="54316" y="0"/>
                    </a:cubicBezTo>
                    <a:cubicBezTo>
                      <a:pt x="55592" y="1892"/>
                      <a:pt x="57240" y="3500"/>
                      <a:pt x="59160" y="4730"/>
                    </a:cubicBezTo>
                    <a:cubicBezTo>
                      <a:pt x="62819" y="8013"/>
                      <a:pt x="66176" y="11615"/>
                      <a:pt x="69191" y="15503"/>
                    </a:cubicBezTo>
                    <a:cubicBezTo>
                      <a:pt x="72150" y="19355"/>
                      <a:pt x="76088" y="22348"/>
                      <a:pt x="80590" y="24166"/>
                    </a:cubicBezTo>
                    <a:cubicBezTo>
                      <a:pt x="85355" y="25876"/>
                      <a:pt x="90678" y="24394"/>
                      <a:pt x="93870" y="20461"/>
                    </a:cubicBezTo>
                    <a:cubicBezTo>
                      <a:pt x="93870" y="20176"/>
                      <a:pt x="94269" y="19834"/>
                      <a:pt x="94497" y="19492"/>
                    </a:cubicBezTo>
                    <a:cubicBezTo>
                      <a:pt x="94497" y="20005"/>
                      <a:pt x="94953" y="20404"/>
                      <a:pt x="95124" y="20917"/>
                    </a:cubicBezTo>
                    <a:cubicBezTo>
                      <a:pt x="95865" y="23140"/>
                      <a:pt x="96264" y="25534"/>
                      <a:pt x="97176" y="27699"/>
                    </a:cubicBezTo>
                    <a:cubicBezTo>
                      <a:pt x="99159" y="31695"/>
                      <a:pt x="101485" y="35508"/>
                      <a:pt x="104129" y="39098"/>
                    </a:cubicBezTo>
                    <a:cubicBezTo>
                      <a:pt x="106774" y="42712"/>
                      <a:pt x="107515" y="47380"/>
                      <a:pt x="106124" y="51637"/>
                    </a:cubicBezTo>
                    <a:cubicBezTo>
                      <a:pt x="105645" y="52937"/>
                      <a:pt x="104597" y="53951"/>
                      <a:pt x="103274" y="54373"/>
                    </a:cubicBezTo>
                    <a:cubicBezTo>
                      <a:pt x="101456" y="54402"/>
                      <a:pt x="99701" y="53683"/>
                      <a:pt x="98430" y="52378"/>
                    </a:cubicBezTo>
                    <a:cubicBezTo>
                      <a:pt x="90348" y="46673"/>
                      <a:pt x="80784" y="43424"/>
                      <a:pt x="70901" y="43031"/>
                    </a:cubicBezTo>
                    <a:cubicBezTo>
                      <a:pt x="61064" y="42632"/>
                      <a:pt x="51215" y="43202"/>
                      <a:pt x="41492" y="44741"/>
                    </a:cubicBezTo>
                    <a:cubicBezTo>
                      <a:pt x="39868" y="44821"/>
                      <a:pt x="38278" y="45231"/>
                      <a:pt x="36818" y="45938"/>
                    </a:cubicBezTo>
                    <a:cubicBezTo>
                      <a:pt x="33615" y="48388"/>
                      <a:pt x="32629" y="52783"/>
                      <a:pt x="34482" y="56368"/>
                    </a:cubicBezTo>
                    <a:cubicBezTo>
                      <a:pt x="36385" y="59793"/>
                      <a:pt x="38990" y="62785"/>
                      <a:pt x="42119" y="65145"/>
                    </a:cubicBezTo>
                    <a:cubicBezTo>
                      <a:pt x="45236" y="67522"/>
                      <a:pt x="47579" y="70776"/>
                      <a:pt x="48844" y="74492"/>
                    </a:cubicBezTo>
                    <a:cubicBezTo>
                      <a:pt x="48964" y="76151"/>
                      <a:pt x="49391" y="77775"/>
                      <a:pt x="50098" y="79280"/>
                    </a:cubicBezTo>
                    <a:cubicBezTo>
                      <a:pt x="50628" y="80100"/>
                      <a:pt x="51301" y="80818"/>
                      <a:pt x="52093" y="81388"/>
                    </a:cubicBezTo>
                    <a:lnTo>
                      <a:pt x="66057" y="92787"/>
                    </a:lnTo>
                    <a:cubicBezTo>
                      <a:pt x="65840" y="97256"/>
                      <a:pt x="65937" y="101730"/>
                      <a:pt x="66342" y="10618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6" name="Freihandform: Form 422">
                <a:extLst>
                  <a:ext uri="{FF2B5EF4-FFF2-40B4-BE49-F238E27FC236}">
                    <a16:creationId xmlns:a16="http://schemas.microsoft.com/office/drawing/2014/main" id="{43148ACD-F620-8C9E-875C-C7AC37EB8697}"/>
                  </a:ext>
                </a:extLst>
              </p:cNvPr>
              <p:cNvSpPr/>
              <p:nvPr/>
            </p:nvSpPr>
            <p:spPr>
              <a:xfrm>
                <a:off x="4109705" y="3102415"/>
                <a:ext cx="80747" cy="75527"/>
              </a:xfrm>
              <a:custGeom>
                <a:avLst/>
                <a:gdLst>
                  <a:gd name="connsiteX0" fmla="*/ 69608 w 80747"/>
                  <a:gd name="connsiteY0" fmla="*/ 48854 h 75527"/>
                  <a:gd name="connsiteX1" fmla="*/ 56955 w 80747"/>
                  <a:gd name="connsiteY1" fmla="*/ 75527 h 75527"/>
                  <a:gd name="connsiteX2" fmla="*/ 55074 w 80747"/>
                  <a:gd name="connsiteY2" fmla="*/ 73817 h 75527"/>
                  <a:gd name="connsiteX3" fmla="*/ 48292 w 80747"/>
                  <a:gd name="connsiteY3" fmla="*/ 73817 h 75527"/>
                  <a:gd name="connsiteX4" fmla="*/ 35126 w 80747"/>
                  <a:gd name="connsiteY4" fmla="*/ 63330 h 75527"/>
                  <a:gd name="connsiteX5" fmla="*/ 32504 w 80747"/>
                  <a:gd name="connsiteY5" fmla="*/ 63330 h 75527"/>
                  <a:gd name="connsiteX6" fmla="*/ 32504 w 80747"/>
                  <a:gd name="connsiteY6" fmla="*/ 49880 h 75527"/>
                  <a:gd name="connsiteX7" fmla="*/ 18541 w 80747"/>
                  <a:gd name="connsiteY7" fmla="*/ 38481 h 75527"/>
                  <a:gd name="connsiteX8" fmla="*/ 16546 w 80747"/>
                  <a:gd name="connsiteY8" fmla="*/ 36372 h 75527"/>
                  <a:gd name="connsiteX9" fmla="*/ 15292 w 80747"/>
                  <a:gd name="connsiteY9" fmla="*/ 31584 h 75527"/>
                  <a:gd name="connsiteX10" fmla="*/ 8567 w 80747"/>
                  <a:gd name="connsiteY10" fmla="*/ 22237 h 75527"/>
                  <a:gd name="connsiteX11" fmla="*/ 929 w 80747"/>
                  <a:gd name="connsiteY11" fmla="*/ 13460 h 75527"/>
                  <a:gd name="connsiteX12" fmla="*/ 3266 w 80747"/>
                  <a:gd name="connsiteY12" fmla="*/ 3030 h 75527"/>
                  <a:gd name="connsiteX13" fmla="*/ 7940 w 80747"/>
                  <a:gd name="connsiteY13" fmla="*/ 1833 h 75527"/>
                  <a:gd name="connsiteX14" fmla="*/ 37349 w 80747"/>
                  <a:gd name="connsiteY14" fmla="*/ 123 h 75527"/>
                  <a:gd name="connsiteX15" fmla="*/ 64877 w 80747"/>
                  <a:gd name="connsiteY15" fmla="*/ 9470 h 75527"/>
                  <a:gd name="connsiteX16" fmla="*/ 69722 w 80747"/>
                  <a:gd name="connsiteY16" fmla="*/ 11465 h 75527"/>
                  <a:gd name="connsiteX17" fmla="*/ 72572 w 80747"/>
                  <a:gd name="connsiteY17" fmla="*/ 8729 h 75527"/>
                  <a:gd name="connsiteX18" fmla="*/ 73199 w 80747"/>
                  <a:gd name="connsiteY18" fmla="*/ 3030 h 75527"/>
                  <a:gd name="connsiteX19" fmla="*/ 80722 w 80747"/>
                  <a:gd name="connsiteY19" fmla="*/ 23890 h 75527"/>
                  <a:gd name="connsiteX20" fmla="*/ 79696 w 80747"/>
                  <a:gd name="connsiteY20" fmla="*/ 30900 h 75527"/>
                  <a:gd name="connsiteX21" fmla="*/ 71090 w 80747"/>
                  <a:gd name="connsiteY21" fmla="*/ 43439 h 75527"/>
                  <a:gd name="connsiteX22" fmla="*/ 69608 w 80747"/>
                  <a:gd name="connsiteY22" fmla="*/ 48854 h 7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747" h="75527">
                    <a:moveTo>
                      <a:pt x="69608" y="48854"/>
                    </a:moveTo>
                    <a:cubicBezTo>
                      <a:pt x="67135" y="58474"/>
                      <a:pt x="62843" y="67525"/>
                      <a:pt x="56955" y="75527"/>
                    </a:cubicBezTo>
                    <a:cubicBezTo>
                      <a:pt x="56505" y="74792"/>
                      <a:pt x="55850" y="74199"/>
                      <a:pt x="55074" y="73817"/>
                    </a:cubicBezTo>
                    <a:cubicBezTo>
                      <a:pt x="52966" y="72905"/>
                      <a:pt x="50572" y="73817"/>
                      <a:pt x="48292" y="73817"/>
                    </a:cubicBezTo>
                    <a:cubicBezTo>
                      <a:pt x="42593" y="73020"/>
                      <a:pt x="40712" y="64698"/>
                      <a:pt x="35126" y="63330"/>
                    </a:cubicBezTo>
                    <a:cubicBezTo>
                      <a:pt x="34254" y="63216"/>
                      <a:pt x="33377" y="63216"/>
                      <a:pt x="32504" y="63330"/>
                    </a:cubicBezTo>
                    <a:cubicBezTo>
                      <a:pt x="32191" y="58851"/>
                      <a:pt x="32191" y="54359"/>
                      <a:pt x="32504" y="49880"/>
                    </a:cubicBezTo>
                    <a:lnTo>
                      <a:pt x="18541" y="38481"/>
                    </a:lnTo>
                    <a:cubicBezTo>
                      <a:pt x="17749" y="37911"/>
                      <a:pt x="17076" y="37193"/>
                      <a:pt x="16546" y="36372"/>
                    </a:cubicBezTo>
                    <a:cubicBezTo>
                      <a:pt x="15839" y="34867"/>
                      <a:pt x="15412" y="33243"/>
                      <a:pt x="15292" y="31584"/>
                    </a:cubicBezTo>
                    <a:cubicBezTo>
                      <a:pt x="14027" y="27868"/>
                      <a:pt x="11685" y="24620"/>
                      <a:pt x="8567" y="22237"/>
                    </a:cubicBezTo>
                    <a:cubicBezTo>
                      <a:pt x="5438" y="19878"/>
                      <a:pt x="2833" y="16885"/>
                      <a:pt x="929" y="13460"/>
                    </a:cubicBezTo>
                    <a:cubicBezTo>
                      <a:pt x="-923" y="9875"/>
                      <a:pt x="63" y="5481"/>
                      <a:pt x="3266" y="3030"/>
                    </a:cubicBezTo>
                    <a:cubicBezTo>
                      <a:pt x="4725" y="2323"/>
                      <a:pt x="6316" y="1913"/>
                      <a:pt x="7940" y="1833"/>
                    </a:cubicBezTo>
                    <a:cubicBezTo>
                      <a:pt x="17663" y="294"/>
                      <a:pt x="27512" y="-276"/>
                      <a:pt x="37349" y="123"/>
                    </a:cubicBezTo>
                    <a:cubicBezTo>
                      <a:pt x="47238" y="516"/>
                      <a:pt x="56796" y="3765"/>
                      <a:pt x="64877" y="9470"/>
                    </a:cubicBezTo>
                    <a:cubicBezTo>
                      <a:pt x="66149" y="10775"/>
                      <a:pt x="67904" y="11494"/>
                      <a:pt x="69722" y="11465"/>
                    </a:cubicBezTo>
                    <a:cubicBezTo>
                      <a:pt x="71044" y="11043"/>
                      <a:pt x="72093" y="10035"/>
                      <a:pt x="72572" y="8729"/>
                    </a:cubicBezTo>
                    <a:cubicBezTo>
                      <a:pt x="73335" y="6934"/>
                      <a:pt x="73552" y="4951"/>
                      <a:pt x="73199" y="3030"/>
                    </a:cubicBezTo>
                    <a:cubicBezTo>
                      <a:pt x="77867" y="9003"/>
                      <a:pt x="80500" y="16315"/>
                      <a:pt x="80722" y="23890"/>
                    </a:cubicBezTo>
                    <a:cubicBezTo>
                      <a:pt x="80847" y="26272"/>
                      <a:pt x="80500" y="28655"/>
                      <a:pt x="79696" y="30900"/>
                    </a:cubicBezTo>
                    <a:cubicBezTo>
                      <a:pt x="77758" y="35631"/>
                      <a:pt x="73028" y="38766"/>
                      <a:pt x="71090" y="43439"/>
                    </a:cubicBezTo>
                    <a:cubicBezTo>
                      <a:pt x="70435" y="45195"/>
                      <a:pt x="69939" y="47007"/>
                      <a:pt x="69608" y="4885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7" name="Freihandform: Form 423">
                <a:extLst>
                  <a:ext uri="{FF2B5EF4-FFF2-40B4-BE49-F238E27FC236}">
                    <a16:creationId xmlns:a16="http://schemas.microsoft.com/office/drawing/2014/main" id="{020D8D7C-7AD0-66B0-950C-C8D5918AB04B}"/>
                  </a:ext>
                </a:extLst>
              </p:cNvPr>
              <p:cNvSpPr/>
              <p:nvPr/>
            </p:nvSpPr>
            <p:spPr>
              <a:xfrm>
                <a:off x="4170821" y="3068478"/>
                <a:ext cx="87949" cy="120197"/>
              </a:xfrm>
              <a:custGeom>
                <a:avLst/>
                <a:gdLst>
                  <a:gd name="connsiteX0" fmla="*/ 14078 w 87949"/>
                  <a:gd name="connsiteY0" fmla="*/ 73102 h 120197"/>
                  <a:gd name="connsiteX1" fmla="*/ 14078 w 87949"/>
                  <a:gd name="connsiteY1" fmla="*/ 70993 h 120197"/>
                  <a:gd name="connsiteX2" fmla="*/ 18751 w 87949"/>
                  <a:gd name="connsiteY2" fmla="*/ 64211 h 120197"/>
                  <a:gd name="connsiteX3" fmla="*/ 19777 w 87949"/>
                  <a:gd name="connsiteY3" fmla="*/ 57201 h 120197"/>
                  <a:gd name="connsiteX4" fmla="*/ 12254 w 87949"/>
                  <a:gd name="connsiteY4" fmla="*/ 36341 h 120197"/>
                  <a:gd name="connsiteX5" fmla="*/ 9632 w 87949"/>
                  <a:gd name="connsiteY5" fmla="*/ 29558 h 120197"/>
                  <a:gd name="connsiteX6" fmla="*/ 2679 w 87949"/>
                  <a:gd name="connsiteY6" fmla="*/ 18159 h 120197"/>
                  <a:gd name="connsiteX7" fmla="*/ 627 w 87949"/>
                  <a:gd name="connsiteY7" fmla="*/ 11377 h 120197"/>
                  <a:gd name="connsiteX8" fmla="*/ 0 w 87949"/>
                  <a:gd name="connsiteY8" fmla="*/ 9952 h 120197"/>
                  <a:gd name="connsiteX9" fmla="*/ 1197 w 87949"/>
                  <a:gd name="connsiteY9" fmla="*/ 8470 h 120197"/>
                  <a:gd name="connsiteX10" fmla="*/ 3819 w 87949"/>
                  <a:gd name="connsiteY10" fmla="*/ 7444 h 120197"/>
                  <a:gd name="connsiteX11" fmla="*/ 16984 w 87949"/>
                  <a:gd name="connsiteY11" fmla="*/ 4765 h 120197"/>
                  <a:gd name="connsiteX12" fmla="*/ 19036 w 87949"/>
                  <a:gd name="connsiteY12" fmla="*/ 2543 h 120197"/>
                  <a:gd name="connsiteX13" fmla="*/ 31062 w 87949"/>
                  <a:gd name="connsiteY13" fmla="*/ 434 h 120197"/>
                  <a:gd name="connsiteX14" fmla="*/ 48787 w 87949"/>
                  <a:gd name="connsiteY14" fmla="*/ 434 h 120197"/>
                  <a:gd name="connsiteX15" fmla="*/ 48388 w 87949"/>
                  <a:gd name="connsiteY15" fmla="*/ 776 h 120197"/>
                  <a:gd name="connsiteX16" fmla="*/ 46793 w 87949"/>
                  <a:gd name="connsiteY16" fmla="*/ 12631 h 120197"/>
                  <a:gd name="connsiteX17" fmla="*/ 54202 w 87949"/>
                  <a:gd name="connsiteY17" fmla="*/ 22719 h 120197"/>
                  <a:gd name="connsiteX18" fmla="*/ 58876 w 87949"/>
                  <a:gd name="connsiteY18" fmla="*/ 29957 h 120197"/>
                  <a:gd name="connsiteX19" fmla="*/ 58876 w 87949"/>
                  <a:gd name="connsiteY19" fmla="*/ 37366 h 120197"/>
                  <a:gd name="connsiteX20" fmla="*/ 61326 w 87949"/>
                  <a:gd name="connsiteY20" fmla="*/ 39532 h 120197"/>
                  <a:gd name="connsiteX21" fmla="*/ 83497 w 87949"/>
                  <a:gd name="connsiteY21" fmla="*/ 53553 h 120197"/>
                  <a:gd name="connsiteX22" fmla="*/ 87373 w 87949"/>
                  <a:gd name="connsiteY22" fmla="*/ 65465 h 120197"/>
                  <a:gd name="connsiteX23" fmla="*/ 87031 w 87949"/>
                  <a:gd name="connsiteY23" fmla="*/ 66092 h 120197"/>
                  <a:gd name="connsiteX24" fmla="*/ 79907 w 87949"/>
                  <a:gd name="connsiteY24" fmla="*/ 84387 h 120197"/>
                  <a:gd name="connsiteX25" fmla="*/ 85606 w 87949"/>
                  <a:gd name="connsiteY25" fmla="*/ 92765 h 120197"/>
                  <a:gd name="connsiteX26" fmla="*/ 87145 w 87949"/>
                  <a:gd name="connsiteY26" fmla="*/ 102226 h 120197"/>
                  <a:gd name="connsiteX27" fmla="*/ 77969 w 87949"/>
                  <a:gd name="connsiteY27" fmla="*/ 104848 h 120197"/>
                  <a:gd name="connsiteX28" fmla="*/ 73694 w 87949"/>
                  <a:gd name="connsiteY28" fmla="*/ 108781 h 120197"/>
                  <a:gd name="connsiteX29" fmla="*/ 62694 w 87949"/>
                  <a:gd name="connsiteY29" fmla="*/ 108781 h 120197"/>
                  <a:gd name="connsiteX30" fmla="*/ 52606 w 87949"/>
                  <a:gd name="connsiteY30" fmla="*/ 111403 h 120197"/>
                  <a:gd name="connsiteX31" fmla="*/ 51238 w 87949"/>
                  <a:gd name="connsiteY31" fmla="*/ 117615 h 120197"/>
                  <a:gd name="connsiteX32" fmla="*/ 42746 w 87949"/>
                  <a:gd name="connsiteY32" fmla="*/ 119211 h 120197"/>
                  <a:gd name="connsiteX33" fmla="*/ 35280 w 87949"/>
                  <a:gd name="connsiteY33" fmla="*/ 113169 h 120197"/>
                  <a:gd name="connsiteX34" fmla="*/ 17497 w 87949"/>
                  <a:gd name="connsiteY34" fmla="*/ 100802 h 120197"/>
                  <a:gd name="connsiteX35" fmla="*/ 15617 w 87949"/>
                  <a:gd name="connsiteY35" fmla="*/ 92480 h 12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949" h="120197">
                    <a:moveTo>
                      <a:pt x="14078" y="73102"/>
                    </a:moveTo>
                    <a:lnTo>
                      <a:pt x="14078" y="70993"/>
                    </a:lnTo>
                    <a:cubicBezTo>
                      <a:pt x="15964" y="68981"/>
                      <a:pt x="17543" y="66690"/>
                      <a:pt x="18751" y="64211"/>
                    </a:cubicBezTo>
                    <a:cubicBezTo>
                      <a:pt x="19555" y="61965"/>
                      <a:pt x="19903" y="59583"/>
                      <a:pt x="19777" y="57201"/>
                    </a:cubicBezTo>
                    <a:cubicBezTo>
                      <a:pt x="19555" y="49620"/>
                      <a:pt x="16922" y="42314"/>
                      <a:pt x="12254" y="36341"/>
                    </a:cubicBezTo>
                    <a:cubicBezTo>
                      <a:pt x="11815" y="33935"/>
                      <a:pt x="10926" y="31633"/>
                      <a:pt x="9632" y="29558"/>
                    </a:cubicBezTo>
                    <a:cubicBezTo>
                      <a:pt x="6988" y="25967"/>
                      <a:pt x="4662" y="22154"/>
                      <a:pt x="2679" y="18159"/>
                    </a:cubicBezTo>
                    <a:cubicBezTo>
                      <a:pt x="1767" y="15993"/>
                      <a:pt x="1368" y="13600"/>
                      <a:pt x="627" y="11377"/>
                    </a:cubicBezTo>
                    <a:cubicBezTo>
                      <a:pt x="627" y="10864"/>
                      <a:pt x="171" y="10465"/>
                      <a:pt x="0" y="9952"/>
                    </a:cubicBezTo>
                    <a:cubicBezTo>
                      <a:pt x="302" y="9388"/>
                      <a:pt x="707" y="8886"/>
                      <a:pt x="1197" y="8470"/>
                    </a:cubicBezTo>
                    <a:cubicBezTo>
                      <a:pt x="1955" y="7883"/>
                      <a:pt x="2867" y="7530"/>
                      <a:pt x="3819" y="7444"/>
                    </a:cubicBezTo>
                    <a:cubicBezTo>
                      <a:pt x="8321" y="6646"/>
                      <a:pt x="13622" y="7843"/>
                      <a:pt x="16984" y="4765"/>
                    </a:cubicBezTo>
                    <a:cubicBezTo>
                      <a:pt x="17725" y="4081"/>
                      <a:pt x="18295" y="3227"/>
                      <a:pt x="19036" y="2543"/>
                    </a:cubicBezTo>
                    <a:cubicBezTo>
                      <a:pt x="22576" y="194"/>
                      <a:pt x="26936" y="-575"/>
                      <a:pt x="31062" y="434"/>
                    </a:cubicBezTo>
                    <a:cubicBezTo>
                      <a:pt x="36961" y="861"/>
                      <a:pt x="42889" y="861"/>
                      <a:pt x="48787" y="434"/>
                    </a:cubicBezTo>
                    <a:lnTo>
                      <a:pt x="48388" y="776"/>
                    </a:lnTo>
                    <a:cubicBezTo>
                      <a:pt x="45658" y="4110"/>
                      <a:pt x="45043" y="8692"/>
                      <a:pt x="46793" y="12631"/>
                    </a:cubicBezTo>
                    <a:cubicBezTo>
                      <a:pt x="48486" y="16501"/>
                      <a:pt x="51016" y="19949"/>
                      <a:pt x="54202" y="22719"/>
                    </a:cubicBezTo>
                    <a:cubicBezTo>
                      <a:pt x="56579" y="24491"/>
                      <a:pt x="58243" y="27062"/>
                      <a:pt x="58876" y="29957"/>
                    </a:cubicBezTo>
                    <a:cubicBezTo>
                      <a:pt x="58876" y="32465"/>
                      <a:pt x="57736" y="35201"/>
                      <a:pt x="58876" y="37366"/>
                    </a:cubicBezTo>
                    <a:cubicBezTo>
                      <a:pt x="59491" y="38290"/>
                      <a:pt x="60335" y="39031"/>
                      <a:pt x="61326" y="39532"/>
                    </a:cubicBezTo>
                    <a:lnTo>
                      <a:pt x="83497" y="53553"/>
                    </a:lnTo>
                    <a:cubicBezTo>
                      <a:pt x="83600" y="57816"/>
                      <a:pt x="84945" y="61960"/>
                      <a:pt x="87373" y="65465"/>
                    </a:cubicBezTo>
                    <a:cubicBezTo>
                      <a:pt x="87373" y="65465"/>
                      <a:pt x="87373" y="65864"/>
                      <a:pt x="87031" y="66092"/>
                    </a:cubicBezTo>
                    <a:cubicBezTo>
                      <a:pt x="83383" y="71791"/>
                      <a:pt x="77912" y="77890"/>
                      <a:pt x="79907" y="84387"/>
                    </a:cubicBezTo>
                    <a:cubicBezTo>
                      <a:pt x="81320" y="87482"/>
                      <a:pt x="83247" y="90315"/>
                      <a:pt x="85606" y="92765"/>
                    </a:cubicBezTo>
                    <a:cubicBezTo>
                      <a:pt x="88022" y="95302"/>
                      <a:pt x="88633" y="99058"/>
                      <a:pt x="87145" y="102226"/>
                    </a:cubicBezTo>
                    <a:cubicBezTo>
                      <a:pt x="85891" y="105361"/>
                      <a:pt x="80990" y="103423"/>
                      <a:pt x="77969" y="104848"/>
                    </a:cubicBezTo>
                    <a:cubicBezTo>
                      <a:pt x="76202" y="105703"/>
                      <a:pt x="75233" y="107584"/>
                      <a:pt x="73694" y="108781"/>
                    </a:cubicBezTo>
                    <a:cubicBezTo>
                      <a:pt x="70674" y="111004"/>
                      <a:pt x="66399" y="109693"/>
                      <a:pt x="62694" y="108781"/>
                    </a:cubicBezTo>
                    <a:cubicBezTo>
                      <a:pt x="58989" y="107869"/>
                      <a:pt x="54145" y="107926"/>
                      <a:pt x="52606" y="111403"/>
                    </a:cubicBezTo>
                    <a:cubicBezTo>
                      <a:pt x="51694" y="113340"/>
                      <a:pt x="52207" y="115677"/>
                      <a:pt x="51238" y="117615"/>
                    </a:cubicBezTo>
                    <a:cubicBezTo>
                      <a:pt x="49266" y="120299"/>
                      <a:pt x="45556" y="120995"/>
                      <a:pt x="42746" y="119211"/>
                    </a:cubicBezTo>
                    <a:cubicBezTo>
                      <a:pt x="40085" y="117421"/>
                      <a:pt x="37582" y="115398"/>
                      <a:pt x="35280" y="113169"/>
                    </a:cubicBezTo>
                    <a:cubicBezTo>
                      <a:pt x="29580" y="108667"/>
                      <a:pt x="20860" y="107470"/>
                      <a:pt x="17497" y="100802"/>
                    </a:cubicBezTo>
                    <a:cubicBezTo>
                      <a:pt x="16329" y="98180"/>
                      <a:pt x="15691" y="95353"/>
                      <a:pt x="15617" y="9248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8" name="Freihandform: Form 424">
                <a:extLst>
                  <a:ext uri="{FF2B5EF4-FFF2-40B4-BE49-F238E27FC236}">
                    <a16:creationId xmlns:a16="http://schemas.microsoft.com/office/drawing/2014/main" id="{AA5BFD79-55BF-6E64-598A-9EFFB5F8F002}"/>
                  </a:ext>
                </a:extLst>
              </p:cNvPr>
              <p:cNvSpPr/>
              <p:nvPr/>
            </p:nvSpPr>
            <p:spPr>
              <a:xfrm>
                <a:off x="4166661" y="3139528"/>
                <a:ext cx="42005" cy="62295"/>
              </a:xfrm>
              <a:custGeom>
                <a:avLst/>
                <a:gdLst>
                  <a:gd name="connsiteX0" fmla="*/ 33570 w 42005"/>
                  <a:gd name="connsiteY0" fmla="*/ 59274 h 62295"/>
                  <a:gd name="connsiteX1" fmla="*/ 27186 w 42005"/>
                  <a:gd name="connsiteY1" fmla="*/ 62295 h 62295"/>
                  <a:gd name="connsiteX2" fmla="*/ 27585 w 42005"/>
                  <a:gd name="connsiteY2" fmla="*/ 60130 h 62295"/>
                  <a:gd name="connsiteX3" fmla="*/ 20233 w 42005"/>
                  <a:gd name="connsiteY3" fmla="*/ 52834 h 62295"/>
                  <a:gd name="connsiteX4" fmla="*/ 4046 w 42005"/>
                  <a:gd name="connsiteY4" fmla="*/ 48332 h 62295"/>
                  <a:gd name="connsiteX5" fmla="*/ 0 w 42005"/>
                  <a:gd name="connsiteY5" fmla="*/ 38414 h 62295"/>
                  <a:gd name="connsiteX6" fmla="*/ 12653 w 42005"/>
                  <a:gd name="connsiteY6" fmla="*/ 11741 h 62295"/>
                  <a:gd name="connsiteX7" fmla="*/ 14135 w 42005"/>
                  <a:gd name="connsiteY7" fmla="*/ 5699 h 62295"/>
                  <a:gd name="connsiteX8" fmla="*/ 18067 w 42005"/>
                  <a:gd name="connsiteY8" fmla="*/ 0 h 62295"/>
                  <a:gd name="connsiteX9" fmla="*/ 18067 w 42005"/>
                  <a:gd name="connsiteY9" fmla="*/ 2109 h 62295"/>
                  <a:gd name="connsiteX10" fmla="*/ 19777 w 42005"/>
                  <a:gd name="connsiteY10" fmla="*/ 21772 h 62295"/>
                  <a:gd name="connsiteX11" fmla="*/ 21658 w 42005"/>
                  <a:gd name="connsiteY11" fmla="*/ 30093 h 62295"/>
                  <a:gd name="connsiteX12" fmla="*/ 39440 w 42005"/>
                  <a:gd name="connsiteY12" fmla="*/ 42461 h 62295"/>
                  <a:gd name="connsiteX13" fmla="*/ 42005 w 42005"/>
                  <a:gd name="connsiteY13" fmla="*/ 44684 h 62295"/>
                  <a:gd name="connsiteX14" fmla="*/ 37788 w 42005"/>
                  <a:gd name="connsiteY14" fmla="*/ 52207 h 62295"/>
                  <a:gd name="connsiteX15" fmla="*/ 33570 w 42005"/>
                  <a:gd name="connsiteY15" fmla="*/ 59274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005" h="62295">
                    <a:moveTo>
                      <a:pt x="33570" y="59274"/>
                    </a:moveTo>
                    <a:cubicBezTo>
                      <a:pt x="31723" y="60796"/>
                      <a:pt x="29529" y="61834"/>
                      <a:pt x="27186" y="62295"/>
                    </a:cubicBezTo>
                    <a:cubicBezTo>
                      <a:pt x="27186" y="61554"/>
                      <a:pt x="27528" y="60870"/>
                      <a:pt x="27585" y="60130"/>
                    </a:cubicBezTo>
                    <a:cubicBezTo>
                      <a:pt x="23693" y="59787"/>
                      <a:pt x="20604" y="56721"/>
                      <a:pt x="20233" y="52834"/>
                    </a:cubicBezTo>
                    <a:cubicBezTo>
                      <a:pt x="17554" y="47591"/>
                      <a:pt x="8321" y="52378"/>
                      <a:pt x="4046" y="48332"/>
                    </a:cubicBezTo>
                    <a:cubicBezTo>
                      <a:pt x="1482" y="45881"/>
                      <a:pt x="1824" y="41150"/>
                      <a:pt x="0" y="38414"/>
                    </a:cubicBezTo>
                    <a:cubicBezTo>
                      <a:pt x="5887" y="30412"/>
                      <a:pt x="10179" y="21362"/>
                      <a:pt x="12653" y="11741"/>
                    </a:cubicBezTo>
                    <a:cubicBezTo>
                      <a:pt x="12943" y="9683"/>
                      <a:pt x="13439" y="7660"/>
                      <a:pt x="14135" y="5699"/>
                    </a:cubicBezTo>
                    <a:cubicBezTo>
                      <a:pt x="15149" y="3608"/>
                      <a:pt x="16471" y="1687"/>
                      <a:pt x="18067" y="0"/>
                    </a:cubicBezTo>
                    <a:lnTo>
                      <a:pt x="18067" y="2109"/>
                    </a:lnTo>
                    <a:lnTo>
                      <a:pt x="19777" y="21772"/>
                    </a:lnTo>
                    <a:cubicBezTo>
                      <a:pt x="19851" y="24645"/>
                      <a:pt x="20489" y="27472"/>
                      <a:pt x="21658" y="30093"/>
                    </a:cubicBezTo>
                    <a:cubicBezTo>
                      <a:pt x="25020" y="36591"/>
                      <a:pt x="33627" y="37959"/>
                      <a:pt x="39440" y="42461"/>
                    </a:cubicBezTo>
                    <a:lnTo>
                      <a:pt x="42005" y="44684"/>
                    </a:lnTo>
                    <a:cubicBezTo>
                      <a:pt x="40432" y="47095"/>
                      <a:pt x="39024" y="49608"/>
                      <a:pt x="37788" y="52207"/>
                    </a:cubicBezTo>
                    <a:cubicBezTo>
                      <a:pt x="36870" y="54823"/>
                      <a:pt x="35434" y="57223"/>
                      <a:pt x="33570" y="592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09" name="Freihandform: Form 425">
                <a:extLst>
                  <a:ext uri="{FF2B5EF4-FFF2-40B4-BE49-F238E27FC236}">
                    <a16:creationId xmlns:a16="http://schemas.microsoft.com/office/drawing/2014/main" id="{D99C2E9F-3AB4-14F2-A81D-F70BE6491FF9}"/>
                  </a:ext>
                </a:extLst>
              </p:cNvPr>
              <p:cNvSpPr/>
              <p:nvPr/>
            </p:nvSpPr>
            <p:spPr>
              <a:xfrm>
                <a:off x="4180230" y="3187233"/>
                <a:ext cx="43355" cy="74435"/>
              </a:xfrm>
              <a:custGeom>
                <a:avLst/>
                <a:gdLst>
                  <a:gd name="connsiteX0" fmla="*/ 22622 w 43355"/>
                  <a:gd name="connsiteY0" fmla="*/ 74435 h 74435"/>
                  <a:gd name="connsiteX1" fmla="*/ 20514 w 43355"/>
                  <a:gd name="connsiteY1" fmla="*/ 71927 h 74435"/>
                  <a:gd name="connsiteX2" fmla="*/ 11565 w 43355"/>
                  <a:gd name="connsiteY2" fmla="*/ 66228 h 74435"/>
                  <a:gd name="connsiteX3" fmla="*/ 11053 w 43355"/>
                  <a:gd name="connsiteY3" fmla="*/ 59560 h 74435"/>
                  <a:gd name="connsiteX4" fmla="*/ 8317 w 43355"/>
                  <a:gd name="connsiteY4" fmla="*/ 49585 h 74435"/>
                  <a:gd name="connsiteX5" fmla="*/ 1477 w 43355"/>
                  <a:gd name="connsiteY5" fmla="*/ 42347 h 74435"/>
                  <a:gd name="connsiteX6" fmla="*/ 2845 w 43355"/>
                  <a:gd name="connsiteY6" fmla="*/ 30948 h 74435"/>
                  <a:gd name="connsiteX7" fmla="*/ 8146 w 43355"/>
                  <a:gd name="connsiteY7" fmla="*/ 29808 h 74435"/>
                  <a:gd name="connsiteX8" fmla="*/ 10425 w 43355"/>
                  <a:gd name="connsiteY8" fmla="*/ 26503 h 74435"/>
                  <a:gd name="connsiteX9" fmla="*/ 13617 w 43355"/>
                  <a:gd name="connsiteY9" fmla="*/ 14819 h 74435"/>
                  <a:gd name="connsiteX10" fmla="*/ 20001 w 43355"/>
                  <a:gd name="connsiteY10" fmla="*/ 11798 h 74435"/>
                  <a:gd name="connsiteX11" fmla="*/ 24389 w 43355"/>
                  <a:gd name="connsiteY11" fmla="*/ 4674 h 74435"/>
                  <a:gd name="connsiteX12" fmla="*/ 27011 w 43355"/>
                  <a:gd name="connsiteY12" fmla="*/ 0 h 74435"/>
                  <a:gd name="connsiteX13" fmla="*/ 25529 w 43355"/>
                  <a:gd name="connsiteY13" fmla="*/ 26047 h 74435"/>
                  <a:gd name="connsiteX14" fmla="*/ 26327 w 43355"/>
                  <a:gd name="connsiteY14" fmla="*/ 30777 h 74435"/>
                  <a:gd name="connsiteX15" fmla="*/ 37384 w 43355"/>
                  <a:gd name="connsiteY15" fmla="*/ 39953 h 74435"/>
                  <a:gd name="connsiteX16" fmla="*/ 42343 w 43355"/>
                  <a:gd name="connsiteY16" fmla="*/ 52036 h 74435"/>
                  <a:gd name="connsiteX17" fmla="*/ 27467 w 43355"/>
                  <a:gd name="connsiteY17" fmla="*/ 65259 h 74435"/>
                  <a:gd name="connsiteX18" fmla="*/ 25415 w 43355"/>
                  <a:gd name="connsiteY18" fmla="*/ 71585 h 74435"/>
                  <a:gd name="connsiteX19" fmla="*/ 22622 w 43355"/>
                  <a:gd name="connsiteY19" fmla="*/ 74435 h 7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355" h="74435">
                    <a:moveTo>
                      <a:pt x="22622" y="74435"/>
                    </a:moveTo>
                    <a:cubicBezTo>
                      <a:pt x="22081" y="73478"/>
                      <a:pt x="21363" y="72628"/>
                      <a:pt x="20514" y="71927"/>
                    </a:cubicBezTo>
                    <a:cubicBezTo>
                      <a:pt x="17664" y="69705"/>
                      <a:pt x="13218" y="69363"/>
                      <a:pt x="11565" y="66228"/>
                    </a:cubicBezTo>
                    <a:cubicBezTo>
                      <a:pt x="10876" y="64073"/>
                      <a:pt x="10705" y="61794"/>
                      <a:pt x="11053" y="59560"/>
                    </a:cubicBezTo>
                    <a:cubicBezTo>
                      <a:pt x="10796" y="56089"/>
                      <a:pt x="9867" y="52703"/>
                      <a:pt x="8317" y="49585"/>
                    </a:cubicBezTo>
                    <a:cubicBezTo>
                      <a:pt x="7006" y="46337"/>
                      <a:pt x="4954" y="42575"/>
                      <a:pt x="1477" y="42347"/>
                    </a:cubicBezTo>
                    <a:cubicBezTo>
                      <a:pt x="-233" y="38358"/>
                      <a:pt x="-1201" y="32430"/>
                      <a:pt x="2845" y="30948"/>
                    </a:cubicBezTo>
                    <a:cubicBezTo>
                      <a:pt x="4498" y="30264"/>
                      <a:pt x="6607" y="30948"/>
                      <a:pt x="8146" y="29808"/>
                    </a:cubicBezTo>
                    <a:cubicBezTo>
                      <a:pt x="9240" y="28976"/>
                      <a:pt x="10038" y="27819"/>
                      <a:pt x="10425" y="26503"/>
                    </a:cubicBezTo>
                    <a:cubicBezTo>
                      <a:pt x="11913" y="22735"/>
                      <a:pt x="12985" y="18820"/>
                      <a:pt x="13617" y="14819"/>
                    </a:cubicBezTo>
                    <a:cubicBezTo>
                      <a:pt x="15966" y="14357"/>
                      <a:pt x="18154" y="13320"/>
                      <a:pt x="20001" y="11798"/>
                    </a:cubicBezTo>
                    <a:cubicBezTo>
                      <a:pt x="21933" y="9746"/>
                      <a:pt x="23426" y="7324"/>
                      <a:pt x="24389" y="4674"/>
                    </a:cubicBezTo>
                    <a:cubicBezTo>
                      <a:pt x="25130" y="3078"/>
                      <a:pt x="26099" y="1539"/>
                      <a:pt x="27011" y="0"/>
                    </a:cubicBezTo>
                    <a:cubicBezTo>
                      <a:pt x="25609" y="8606"/>
                      <a:pt x="25113" y="17338"/>
                      <a:pt x="25529" y="26047"/>
                    </a:cubicBezTo>
                    <a:cubicBezTo>
                      <a:pt x="25563" y="27654"/>
                      <a:pt x="25831" y="29250"/>
                      <a:pt x="26327" y="30777"/>
                    </a:cubicBezTo>
                    <a:cubicBezTo>
                      <a:pt x="28094" y="35337"/>
                      <a:pt x="33223" y="37389"/>
                      <a:pt x="37384" y="39953"/>
                    </a:cubicBezTo>
                    <a:cubicBezTo>
                      <a:pt x="41545" y="42518"/>
                      <a:pt x="45192" y="48104"/>
                      <a:pt x="42343" y="52036"/>
                    </a:cubicBezTo>
                    <a:cubicBezTo>
                      <a:pt x="35344" y="53398"/>
                      <a:pt x="29644" y="58471"/>
                      <a:pt x="27467" y="65259"/>
                    </a:cubicBezTo>
                    <a:cubicBezTo>
                      <a:pt x="26988" y="67430"/>
                      <a:pt x="26304" y="69551"/>
                      <a:pt x="25415" y="71585"/>
                    </a:cubicBezTo>
                    <a:cubicBezTo>
                      <a:pt x="24680" y="72708"/>
                      <a:pt x="23728" y="73677"/>
                      <a:pt x="22622" y="744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0" name="Freihandform: Form 426">
                <a:extLst>
                  <a:ext uri="{FF2B5EF4-FFF2-40B4-BE49-F238E27FC236}">
                    <a16:creationId xmlns:a16="http://schemas.microsoft.com/office/drawing/2014/main" id="{5496E07E-F7FE-232B-6998-C25D8BD37F36}"/>
                  </a:ext>
                </a:extLst>
              </p:cNvPr>
              <p:cNvSpPr/>
              <p:nvPr/>
            </p:nvSpPr>
            <p:spPr>
              <a:xfrm>
                <a:off x="4205616" y="3173212"/>
                <a:ext cx="58676" cy="59445"/>
              </a:xfrm>
              <a:custGeom>
                <a:avLst/>
                <a:gdLst>
                  <a:gd name="connsiteX0" fmla="*/ 27329 w 58676"/>
                  <a:gd name="connsiteY0" fmla="*/ 55285 h 59445"/>
                  <a:gd name="connsiteX1" fmla="*/ 17127 w 58676"/>
                  <a:gd name="connsiteY1" fmla="*/ 59445 h 59445"/>
                  <a:gd name="connsiteX2" fmla="*/ 11997 w 58676"/>
                  <a:gd name="connsiteY2" fmla="*/ 53746 h 59445"/>
                  <a:gd name="connsiteX3" fmla="*/ 940 w 58676"/>
                  <a:gd name="connsiteY3" fmla="*/ 44570 h 59445"/>
                  <a:gd name="connsiteX4" fmla="*/ 142 w 58676"/>
                  <a:gd name="connsiteY4" fmla="*/ 39839 h 59445"/>
                  <a:gd name="connsiteX5" fmla="*/ 1624 w 58676"/>
                  <a:gd name="connsiteY5" fmla="*/ 13793 h 59445"/>
                  <a:gd name="connsiteX6" fmla="*/ 3220 w 58676"/>
                  <a:gd name="connsiteY6" fmla="*/ 10943 h 59445"/>
                  <a:gd name="connsiteX7" fmla="*/ 8122 w 58676"/>
                  <a:gd name="connsiteY7" fmla="*/ 14762 h 59445"/>
                  <a:gd name="connsiteX8" fmla="*/ 16614 w 58676"/>
                  <a:gd name="connsiteY8" fmla="*/ 13166 h 59445"/>
                  <a:gd name="connsiteX9" fmla="*/ 17982 w 58676"/>
                  <a:gd name="connsiteY9" fmla="*/ 6953 h 59445"/>
                  <a:gd name="connsiteX10" fmla="*/ 28070 w 58676"/>
                  <a:gd name="connsiteY10" fmla="*/ 4332 h 59445"/>
                  <a:gd name="connsiteX11" fmla="*/ 39070 w 58676"/>
                  <a:gd name="connsiteY11" fmla="*/ 4332 h 59445"/>
                  <a:gd name="connsiteX12" fmla="*/ 43345 w 58676"/>
                  <a:gd name="connsiteY12" fmla="*/ 399 h 59445"/>
                  <a:gd name="connsiteX13" fmla="*/ 44826 w 58676"/>
                  <a:gd name="connsiteY13" fmla="*/ 0 h 59445"/>
                  <a:gd name="connsiteX14" fmla="*/ 46764 w 58676"/>
                  <a:gd name="connsiteY14" fmla="*/ 5699 h 59445"/>
                  <a:gd name="connsiteX15" fmla="*/ 49785 w 58676"/>
                  <a:gd name="connsiteY15" fmla="*/ 11000 h 59445"/>
                  <a:gd name="connsiteX16" fmla="*/ 50583 w 58676"/>
                  <a:gd name="connsiteY16" fmla="*/ 15560 h 59445"/>
                  <a:gd name="connsiteX17" fmla="*/ 58676 w 58676"/>
                  <a:gd name="connsiteY17" fmla="*/ 24052 h 59445"/>
                  <a:gd name="connsiteX18" fmla="*/ 57251 w 58676"/>
                  <a:gd name="connsiteY18" fmla="*/ 37446 h 59445"/>
                  <a:gd name="connsiteX19" fmla="*/ 44940 w 58676"/>
                  <a:gd name="connsiteY19" fmla="*/ 43145 h 59445"/>
                  <a:gd name="connsiteX20" fmla="*/ 32515 w 58676"/>
                  <a:gd name="connsiteY20" fmla="*/ 52720 h 5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676" h="59445">
                    <a:moveTo>
                      <a:pt x="27329" y="55285"/>
                    </a:moveTo>
                    <a:lnTo>
                      <a:pt x="17127" y="59445"/>
                    </a:lnTo>
                    <a:cubicBezTo>
                      <a:pt x="15959" y="57120"/>
                      <a:pt x="14186" y="55154"/>
                      <a:pt x="11997" y="53746"/>
                    </a:cubicBezTo>
                    <a:cubicBezTo>
                      <a:pt x="7837" y="51181"/>
                      <a:pt x="2707" y="49129"/>
                      <a:pt x="940" y="44570"/>
                    </a:cubicBezTo>
                    <a:cubicBezTo>
                      <a:pt x="444" y="43042"/>
                      <a:pt x="177" y="41447"/>
                      <a:pt x="142" y="39839"/>
                    </a:cubicBezTo>
                    <a:cubicBezTo>
                      <a:pt x="-274" y="31131"/>
                      <a:pt x="222" y="22399"/>
                      <a:pt x="1624" y="13793"/>
                    </a:cubicBezTo>
                    <a:cubicBezTo>
                      <a:pt x="2137" y="12881"/>
                      <a:pt x="2593" y="11855"/>
                      <a:pt x="3220" y="10943"/>
                    </a:cubicBezTo>
                    <a:cubicBezTo>
                      <a:pt x="4656" y="12453"/>
                      <a:pt x="6309" y="13736"/>
                      <a:pt x="8122" y="14762"/>
                    </a:cubicBezTo>
                    <a:cubicBezTo>
                      <a:pt x="10932" y="16546"/>
                      <a:pt x="14642" y="15850"/>
                      <a:pt x="16614" y="13166"/>
                    </a:cubicBezTo>
                    <a:cubicBezTo>
                      <a:pt x="17583" y="11228"/>
                      <a:pt x="17070" y="8891"/>
                      <a:pt x="17982" y="6953"/>
                    </a:cubicBezTo>
                    <a:cubicBezTo>
                      <a:pt x="19521" y="3477"/>
                      <a:pt x="24422" y="3420"/>
                      <a:pt x="28070" y="4332"/>
                    </a:cubicBezTo>
                    <a:cubicBezTo>
                      <a:pt x="31717" y="5244"/>
                      <a:pt x="36049" y="6554"/>
                      <a:pt x="39070" y="4332"/>
                    </a:cubicBezTo>
                    <a:cubicBezTo>
                      <a:pt x="40609" y="3135"/>
                      <a:pt x="41578" y="1254"/>
                      <a:pt x="43345" y="399"/>
                    </a:cubicBezTo>
                    <a:cubicBezTo>
                      <a:pt x="43812" y="182"/>
                      <a:pt x="44313" y="46"/>
                      <a:pt x="44826" y="0"/>
                    </a:cubicBezTo>
                    <a:cubicBezTo>
                      <a:pt x="45254" y="1966"/>
                      <a:pt x="45903" y="3881"/>
                      <a:pt x="46764" y="5699"/>
                    </a:cubicBezTo>
                    <a:cubicBezTo>
                      <a:pt x="47933" y="7369"/>
                      <a:pt x="48947" y="9142"/>
                      <a:pt x="49785" y="11000"/>
                    </a:cubicBezTo>
                    <a:cubicBezTo>
                      <a:pt x="50241" y="12482"/>
                      <a:pt x="50241" y="14078"/>
                      <a:pt x="50583" y="15560"/>
                    </a:cubicBezTo>
                    <a:cubicBezTo>
                      <a:pt x="51506" y="19669"/>
                      <a:pt x="54618" y="22935"/>
                      <a:pt x="58676" y="24052"/>
                    </a:cubicBezTo>
                    <a:cubicBezTo>
                      <a:pt x="57821" y="28497"/>
                      <a:pt x="59759" y="33627"/>
                      <a:pt x="57251" y="37446"/>
                    </a:cubicBezTo>
                    <a:cubicBezTo>
                      <a:pt x="54744" y="41264"/>
                      <a:pt x="49215" y="41492"/>
                      <a:pt x="44940" y="43145"/>
                    </a:cubicBezTo>
                    <a:cubicBezTo>
                      <a:pt x="42262" y="47881"/>
                      <a:pt x="37782" y="51335"/>
                      <a:pt x="32515" y="5272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1" name="Freihandform: Form 427">
                <a:extLst>
                  <a:ext uri="{FF2B5EF4-FFF2-40B4-BE49-F238E27FC236}">
                    <a16:creationId xmlns:a16="http://schemas.microsoft.com/office/drawing/2014/main" id="{C53F37D0-A36D-D00A-6326-266A2AA34E3D}"/>
                  </a:ext>
                </a:extLst>
              </p:cNvPr>
              <p:cNvSpPr/>
              <p:nvPr/>
            </p:nvSpPr>
            <p:spPr>
              <a:xfrm>
                <a:off x="4320204" y="3190219"/>
                <a:ext cx="406805" cy="176261"/>
              </a:xfrm>
              <a:custGeom>
                <a:avLst/>
                <a:gdLst>
                  <a:gd name="connsiteX0" fmla="*/ 406429 w 406805"/>
                  <a:gd name="connsiteY0" fmla="*/ 128785 h 176261"/>
                  <a:gd name="connsiteX1" fmla="*/ 401813 w 406805"/>
                  <a:gd name="connsiteY1" fmla="*/ 139272 h 176261"/>
                  <a:gd name="connsiteX2" fmla="*/ 397310 w 406805"/>
                  <a:gd name="connsiteY2" fmla="*/ 139272 h 176261"/>
                  <a:gd name="connsiteX3" fmla="*/ 372233 w 406805"/>
                  <a:gd name="connsiteY3" fmla="*/ 136251 h 176261"/>
                  <a:gd name="connsiteX4" fmla="*/ 367502 w 406805"/>
                  <a:gd name="connsiteY4" fmla="*/ 137277 h 176261"/>
                  <a:gd name="connsiteX5" fmla="*/ 367160 w 406805"/>
                  <a:gd name="connsiteY5" fmla="*/ 135282 h 176261"/>
                  <a:gd name="connsiteX6" fmla="*/ 343279 w 406805"/>
                  <a:gd name="connsiteY6" fmla="*/ 143376 h 176261"/>
                  <a:gd name="connsiteX7" fmla="*/ 331595 w 406805"/>
                  <a:gd name="connsiteY7" fmla="*/ 143661 h 176261"/>
                  <a:gd name="connsiteX8" fmla="*/ 313813 w 406805"/>
                  <a:gd name="connsiteY8" fmla="*/ 152837 h 176261"/>
                  <a:gd name="connsiteX9" fmla="*/ 299279 w 406805"/>
                  <a:gd name="connsiteY9" fmla="*/ 152495 h 176261"/>
                  <a:gd name="connsiteX10" fmla="*/ 250264 w 406805"/>
                  <a:gd name="connsiteY10" fmla="*/ 151070 h 176261"/>
                  <a:gd name="connsiteX11" fmla="*/ 246388 w 406805"/>
                  <a:gd name="connsiteY11" fmla="*/ 152267 h 176261"/>
                  <a:gd name="connsiteX12" fmla="*/ 245248 w 406805"/>
                  <a:gd name="connsiteY12" fmla="*/ 154832 h 176261"/>
                  <a:gd name="connsiteX13" fmla="*/ 231570 w 406805"/>
                  <a:gd name="connsiteY13" fmla="*/ 164749 h 176261"/>
                  <a:gd name="connsiteX14" fmla="*/ 230658 w 406805"/>
                  <a:gd name="connsiteY14" fmla="*/ 169707 h 176261"/>
                  <a:gd name="connsiteX15" fmla="*/ 225414 w 406805"/>
                  <a:gd name="connsiteY15" fmla="*/ 176262 h 176261"/>
                  <a:gd name="connsiteX16" fmla="*/ 225414 w 406805"/>
                  <a:gd name="connsiteY16" fmla="*/ 174837 h 176261"/>
                  <a:gd name="connsiteX17" fmla="*/ 225414 w 406805"/>
                  <a:gd name="connsiteY17" fmla="*/ 145541 h 176261"/>
                  <a:gd name="connsiteX18" fmla="*/ 207803 w 406805"/>
                  <a:gd name="connsiteY18" fmla="*/ 152609 h 176261"/>
                  <a:gd name="connsiteX19" fmla="*/ 201134 w 406805"/>
                  <a:gd name="connsiteY19" fmla="*/ 150842 h 176261"/>
                  <a:gd name="connsiteX20" fmla="*/ 192243 w 406805"/>
                  <a:gd name="connsiteY20" fmla="*/ 155801 h 176261"/>
                  <a:gd name="connsiteX21" fmla="*/ 135248 w 406805"/>
                  <a:gd name="connsiteY21" fmla="*/ 153464 h 176261"/>
                  <a:gd name="connsiteX22" fmla="*/ 108917 w 406805"/>
                  <a:gd name="connsiteY22" fmla="*/ 143775 h 176261"/>
                  <a:gd name="connsiteX23" fmla="*/ 86632 w 406805"/>
                  <a:gd name="connsiteY23" fmla="*/ 167142 h 176261"/>
                  <a:gd name="connsiteX24" fmla="*/ 69533 w 406805"/>
                  <a:gd name="connsiteY24" fmla="*/ 159904 h 176261"/>
                  <a:gd name="connsiteX25" fmla="*/ 67482 w 406805"/>
                  <a:gd name="connsiteY25" fmla="*/ 153065 h 176261"/>
                  <a:gd name="connsiteX26" fmla="*/ 51580 w 406805"/>
                  <a:gd name="connsiteY26" fmla="*/ 146510 h 176261"/>
                  <a:gd name="connsiteX27" fmla="*/ 43487 w 406805"/>
                  <a:gd name="connsiteY27" fmla="*/ 134257 h 176261"/>
                  <a:gd name="connsiteX28" fmla="*/ 30036 w 406805"/>
                  <a:gd name="connsiteY28" fmla="*/ 123200 h 176261"/>
                  <a:gd name="connsiteX29" fmla="*/ 29979 w 406805"/>
                  <a:gd name="connsiteY29" fmla="*/ 121946 h 176261"/>
                  <a:gd name="connsiteX30" fmla="*/ 29979 w 406805"/>
                  <a:gd name="connsiteY30" fmla="*/ 115334 h 176261"/>
                  <a:gd name="connsiteX31" fmla="*/ 14761 w 406805"/>
                  <a:gd name="connsiteY31" fmla="*/ 104448 h 176261"/>
                  <a:gd name="connsiteX32" fmla="*/ 23140 w 406805"/>
                  <a:gd name="connsiteY32" fmla="*/ 91567 h 176261"/>
                  <a:gd name="connsiteX33" fmla="*/ 22285 w 406805"/>
                  <a:gd name="connsiteY33" fmla="*/ 69397 h 176261"/>
                  <a:gd name="connsiteX34" fmla="*/ 9347 w 406805"/>
                  <a:gd name="connsiteY34" fmla="*/ 66889 h 176261"/>
                  <a:gd name="connsiteX35" fmla="*/ 18238 w 406805"/>
                  <a:gd name="connsiteY35" fmla="*/ 51044 h 176261"/>
                  <a:gd name="connsiteX36" fmla="*/ 38870 w 406805"/>
                  <a:gd name="connsiteY36" fmla="*/ 51044 h 176261"/>
                  <a:gd name="connsiteX37" fmla="*/ 75632 w 406805"/>
                  <a:gd name="connsiteY37" fmla="*/ 41811 h 176261"/>
                  <a:gd name="connsiteX38" fmla="*/ 78390 w 406805"/>
                  <a:gd name="connsiteY38" fmla="*/ 32538 h 176261"/>
                  <a:gd name="connsiteX39" fmla="*/ 78424 w 406805"/>
                  <a:gd name="connsiteY39" fmla="*/ 32521 h 176261"/>
                  <a:gd name="connsiteX40" fmla="*/ 89083 w 406805"/>
                  <a:gd name="connsiteY40" fmla="*/ 30754 h 176261"/>
                  <a:gd name="connsiteX41" fmla="*/ 119005 w 406805"/>
                  <a:gd name="connsiteY41" fmla="*/ 31552 h 176261"/>
                  <a:gd name="connsiteX42" fmla="*/ 148300 w 406805"/>
                  <a:gd name="connsiteY42" fmla="*/ 12972 h 176261"/>
                  <a:gd name="connsiteX43" fmla="*/ 159357 w 406805"/>
                  <a:gd name="connsiteY43" fmla="*/ 7614 h 176261"/>
                  <a:gd name="connsiteX44" fmla="*/ 202787 w 406805"/>
                  <a:gd name="connsiteY44" fmla="*/ 8925 h 176261"/>
                  <a:gd name="connsiteX45" fmla="*/ 236186 w 406805"/>
                  <a:gd name="connsiteY45" fmla="*/ 22319 h 176261"/>
                  <a:gd name="connsiteX46" fmla="*/ 268559 w 406805"/>
                  <a:gd name="connsiteY46" fmla="*/ 37195 h 176261"/>
                  <a:gd name="connsiteX47" fmla="*/ 324585 w 406805"/>
                  <a:gd name="connsiteY47" fmla="*/ 30469 h 176261"/>
                  <a:gd name="connsiteX48" fmla="*/ 328574 w 406805"/>
                  <a:gd name="connsiteY48" fmla="*/ 25283 h 176261"/>
                  <a:gd name="connsiteX49" fmla="*/ 337238 w 406805"/>
                  <a:gd name="connsiteY49" fmla="*/ 19583 h 176261"/>
                  <a:gd name="connsiteX50" fmla="*/ 373429 w 406805"/>
                  <a:gd name="connsiteY50" fmla="*/ 20153 h 176261"/>
                  <a:gd name="connsiteX51" fmla="*/ 383061 w 406805"/>
                  <a:gd name="connsiteY51" fmla="*/ 27733 h 176261"/>
                  <a:gd name="connsiteX52" fmla="*/ 387906 w 406805"/>
                  <a:gd name="connsiteY52" fmla="*/ 31210 h 176261"/>
                  <a:gd name="connsiteX53" fmla="*/ 388875 w 406805"/>
                  <a:gd name="connsiteY53" fmla="*/ 47910 h 176261"/>
                  <a:gd name="connsiteX54" fmla="*/ 397652 w 406805"/>
                  <a:gd name="connsiteY54" fmla="*/ 55148 h 176261"/>
                  <a:gd name="connsiteX55" fmla="*/ 398222 w 406805"/>
                  <a:gd name="connsiteY55" fmla="*/ 57143 h 176261"/>
                  <a:gd name="connsiteX56" fmla="*/ 402212 w 406805"/>
                  <a:gd name="connsiteY56" fmla="*/ 58454 h 176261"/>
                  <a:gd name="connsiteX57" fmla="*/ 406201 w 406805"/>
                  <a:gd name="connsiteY57" fmla="*/ 67288 h 176261"/>
                  <a:gd name="connsiteX58" fmla="*/ 401870 w 406805"/>
                  <a:gd name="connsiteY58" fmla="*/ 80966 h 176261"/>
                  <a:gd name="connsiteX59" fmla="*/ 396911 w 406805"/>
                  <a:gd name="connsiteY59" fmla="*/ 85526 h 176261"/>
                  <a:gd name="connsiteX60" fmla="*/ 400331 w 406805"/>
                  <a:gd name="connsiteY60" fmla="*/ 91853 h 176261"/>
                  <a:gd name="connsiteX61" fmla="*/ 405574 w 406805"/>
                  <a:gd name="connsiteY61" fmla="*/ 115448 h 176261"/>
                  <a:gd name="connsiteX62" fmla="*/ 404719 w 406805"/>
                  <a:gd name="connsiteY62" fmla="*/ 120635 h 176261"/>
                  <a:gd name="connsiteX63" fmla="*/ 406372 w 406805"/>
                  <a:gd name="connsiteY63" fmla="*/ 124112 h 176261"/>
                  <a:gd name="connsiteX64" fmla="*/ 406429 w 406805"/>
                  <a:gd name="connsiteY64" fmla="*/ 128785 h 176261"/>
                  <a:gd name="connsiteX65" fmla="*/ 57565 w 406805"/>
                  <a:gd name="connsiteY65" fmla="*/ 18614 h 176261"/>
                  <a:gd name="connsiteX66" fmla="*/ 51865 w 406805"/>
                  <a:gd name="connsiteY66" fmla="*/ 8697 h 176261"/>
                  <a:gd name="connsiteX67" fmla="*/ 47134 w 406805"/>
                  <a:gd name="connsiteY67" fmla="*/ 205 h 176261"/>
                  <a:gd name="connsiteX68" fmla="*/ 39782 w 406805"/>
                  <a:gd name="connsiteY68" fmla="*/ 946 h 176261"/>
                  <a:gd name="connsiteX69" fmla="*/ 35223 w 406805"/>
                  <a:gd name="connsiteY69" fmla="*/ 2998 h 176261"/>
                  <a:gd name="connsiteX70" fmla="*/ 23254 w 406805"/>
                  <a:gd name="connsiteY70" fmla="*/ 3625 h 176261"/>
                  <a:gd name="connsiteX71" fmla="*/ 18124 w 406805"/>
                  <a:gd name="connsiteY71" fmla="*/ 7215 h 176261"/>
                  <a:gd name="connsiteX72" fmla="*/ 0 w 406805"/>
                  <a:gd name="connsiteY72" fmla="*/ 35713 h 176261"/>
                  <a:gd name="connsiteX73" fmla="*/ 627 w 406805"/>
                  <a:gd name="connsiteY73" fmla="*/ 35713 h 176261"/>
                  <a:gd name="connsiteX74" fmla="*/ 7694 w 406805"/>
                  <a:gd name="connsiteY74" fmla="*/ 38790 h 176261"/>
                  <a:gd name="connsiteX75" fmla="*/ 10544 w 406805"/>
                  <a:gd name="connsiteY75" fmla="*/ 42723 h 176261"/>
                  <a:gd name="connsiteX76" fmla="*/ 28190 w 406805"/>
                  <a:gd name="connsiteY76" fmla="*/ 43173 h 176261"/>
                  <a:gd name="connsiteX77" fmla="*/ 31404 w 406805"/>
                  <a:gd name="connsiteY77" fmla="*/ 38163 h 176261"/>
                  <a:gd name="connsiteX78" fmla="*/ 51865 w 406805"/>
                  <a:gd name="connsiteY78" fmla="*/ 29500 h 176261"/>
                  <a:gd name="connsiteX79" fmla="*/ 69647 w 406805"/>
                  <a:gd name="connsiteY79" fmla="*/ 31894 h 176261"/>
                  <a:gd name="connsiteX80" fmla="*/ 68838 w 406805"/>
                  <a:gd name="connsiteY80" fmla="*/ 22011 h 176261"/>
                  <a:gd name="connsiteX81" fmla="*/ 68507 w 406805"/>
                  <a:gd name="connsiteY81" fmla="*/ 21749 h 176261"/>
                  <a:gd name="connsiteX82" fmla="*/ 57565 w 406805"/>
                  <a:gd name="connsiteY82" fmla="*/ 18614 h 17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805" h="176261">
                    <a:moveTo>
                      <a:pt x="406429" y="128785"/>
                    </a:moveTo>
                    <a:cubicBezTo>
                      <a:pt x="405267" y="132433"/>
                      <a:pt x="403722" y="135949"/>
                      <a:pt x="401813" y="139272"/>
                    </a:cubicBezTo>
                    <a:cubicBezTo>
                      <a:pt x="400337" y="138907"/>
                      <a:pt x="398786" y="138907"/>
                      <a:pt x="397310" y="139272"/>
                    </a:cubicBezTo>
                    <a:cubicBezTo>
                      <a:pt x="388989" y="140868"/>
                      <a:pt x="380668" y="135510"/>
                      <a:pt x="372233" y="136251"/>
                    </a:cubicBezTo>
                    <a:cubicBezTo>
                      <a:pt x="370620" y="136388"/>
                      <a:pt x="369029" y="136736"/>
                      <a:pt x="367502" y="137277"/>
                    </a:cubicBezTo>
                    <a:cubicBezTo>
                      <a:pt x="367559" y="136593"/>
                      <a:pt x="367445" y="135909"/>
                      <a:pt x="367160" y="135282"/>
                    </a:cubicBezTo>
                    <a:cubicBezTo>
                      <a:pt x="358725" y="135282"/>
                      <a:pt x="351714" y="142407"/>
                      <a:pt x="343279" y="143376"/>
                    </a:cubicBezTo>
                    <a:cubicBezTo>
                      <a:pt x="339404" y="143832"/>
                      <a:pt x="335471" y="142863"/>
                      <a:pt x="331595" y="143661"/>
                    </a:cubicBezTo>
                    <a:cubicBezTo>
                      <a:pt x="325041" y="144972"/>
                      <a:pt x="320196" y="150956"/>
                      <a:pt x="313813" y="152837"/>
                    </a:cubicBezTo>
                    <a:cubicBezTo>
                      <a:pt x="309003" y="153777"/>
                      <a:pt x="304044" y="153658"/>
                      <a:pt x="299279" y="152495"/>
                    </a:cubicBezTo>
                    <a:cubicBezTo>
                      <a:pt x="283019" y="150511"/>
                      <a:pt x="266610" y="150033"/>
                      <a:pt x="250264" y="151070"/>
                    </a:cubicBezTo>
                    <a:cubicBezTo>
                      <a:pt x="248867" y="150979"/>
                      <a:pt x="247488" y="151406"/>
                      <a:pt x="246388" y="152267"/>
                    </a:cubicBezTo>
                    <a:cubicBezTo>
                      <a:pt x="245892" y="153065"/>
                      <a:pt x="245510" y="153931"/>
                      <a:pt x="245248" y="154832"/>
                    </a:cubicBezTo>
                    <a:cubicBezTo>
                      <a:pt x="242854" y="160075"/>
                      <a:pt x="233849" y="159391"/>
                      <a:pt x="231570" y="164749"/>
                    </a:cubicBezTo>
                    <a:cubicBezTo>
                      <a:pt x="231182" y="166384"/>
                      <a:pt x="230880" y="168043"/>
                      <a:pt x="230658" y="169707"/>
                    </a:cubicBezTo>
                    <a:cubicBezTo>
                      <a:pt x="229694" y="172420"/>
                      <a:pt x="227848" y="174728"/>
                      <a:pt x="225414" y="176262"/>
                    </a:cubicBezTo>
                    <a:lnTo>
                      <a:pt x="225414" y="174837"/>
                    </a:lnTo>
                    <a:cubicBezTo>
                      <a:pt x="225414" y="165091"/>
                      <a:pt x="225414" y="155288"/>
                      <a:pt x="225414" y="145541"/>
                    </a:cubicBezTo>
                    <a:cubicBezTo>
                      <a:pt x="221772" y="151555"/>
                      <a:pt x="214591" y="154438"/>
                      <a:pt x="207803" y="152609"/>
                    </a:cubicBezTo>
                    <a:cubicBezTo>
                      <a:pt x="205677" y="151697"/>
                      <a:pt x="203431" y="151098"/>
                      <a:pt x="201134" y="150842"/>
                    </a:cubicBezTo>
                    <a:cubicBezTo>
                      <a:pt x="197709" y="151475"/>
                      <a:pt x="194586" y="153219"/>
                      <a:pt x="192243" y="155801"/>
                    </a:cubicBezTo>
                    <a:cubicBezTo>
                      <a:pt x="175281" y="169234"/>
                      <a:pt x="151053" y="168237"/>
                      <a:pt x="135248" y="153464"/>
                    </a:cubicBezTo>
                    <a:lnTo>
                      <a:pt x="108917" y="143775"/>
                    </a:lnTo>
                    <a:cubicBezTo>
                      <a:pt x="111482" y="155686"/>
                      <a:pt x="98715" y="165832"/>
                      <a:pt x="86632" y="167142"/>
                    </a:cubicBezTo>
                    <a:cubicBezTo>
                      <a:pt x="80020" y="167883"/>
                      <a:pt x="72041" y="166060"/>
                      <a:pt x="69533" y="159904"/>
                    </a:cubicBezTo>
                    <a:cubicBezTo>
                      <a:pt x="68622" y="157681"/>
                      <a:pt x="68564" y="155174"/>
                      <a:pt x="67482" y="153065"/>
                    </a:cubicBezTo>
                    <a:cubicBezTo>
                      <a:pt x="64689" y="147821"/>
                      <a:pt x="57450" y="147707"/>
                      <a:pt x="51580" y="146510"/>
                    </a:cubicBezTo>
                    <a:cubicBezTo>
                      <a:pt x="45710" y="145314"/>
                      <a:pt x="39497" y="138645"/>
                      <a:pt x="43487" y="134257"/>
                    </a:cubicBezTo>
                    <a:cubicBezTo>
                      <a:pt x="36722" y="134918"/>
                      <a:pt x="30697" y="129971"/>
                      <a:pt x="30036" y="123200"/>
                    </a:cubicBezTo>
                    <a:cubicBezTo>
                      <a:pt x="29996" y="122784"/>
                      <a:pt x="29979" y="122368"/>
                      <a:pt x="29979" y="121946"/>
                    </a:cubicBezTo>
                    <a:cubicBezTo>
                      <a:pt x="30435" y="119763"/>
                      <a:pt x="30435" y="117517"/>
                      <a:pt x="29979" y="115334"/>
                    </a:cubicBezTo>
                    <a:cubicBezTo>
                      <a:pt x="27984" y="109122"/>
                      <a:pt x="16585" y="110718"/>
                      <a:pt x="14761" y="104448"/>
                    </a:cubicBezTo>
                    <a:cubicBezTo>
                      <a:pt x="13280" y="99319"/>
                      <a:pt x="19891" y="95899"/>
                      <a:pt x="23140" y="91567"/>
                    </a:cubicBezTo>
                    <a:cubicBezTo>
                      <a:pt x="27756" y="85355"/>
                      <a:pt x="25077" y="76578"/>
                      <a:pt x="22285" y="69397"/>
                    </a:cubicBezTo>
                    <a:lnTo>
                      <a:pt x="9347" y="66889"/>
                    </a:lnTo>
                    <a:cubicBezTo>
                      <a:pt x="6098" y="60733"/>
                      <a:pt x="11627" y="53096"/>
                      <a:pt x="18238" y="51044"/>
                    </a:cubicBezTo>
                    <a:cubicBezTo>
                      <a:pt x="25060" y="49819"/>
                      <a:pt x="32048" y="49819"/>
                      <a:pt x="38870" y="51044"/>
                    </a:cubicBezTo>
                    <a:cubicBezTo>
                      <a:pt x="51797" y="51956"/>
                      <a:pt x="64672" y="48719"/>
                      <a:pt x="75632" y="41811"/>
                    </a:cubicBezTo>
                    <a:cubicBezTo>
                      <a:pt x="73831" y="38488"/>
                      <a:pt x="75068" y="34339"/>
                      <a:pt x="78390" y="32538"/>
                    </a:cubicBezTo>
                    <a:cubicBezTo>
                      <a:pt x="78402" y="32532"/>
                      <a:pt x="78413" y="32527"/>
                      <a:pt x="78424" y="32521"/>
                    </a:cubicBezTo>
                    <a:cubicBezTo>
                      <a:pt x="81747" y="30959"/>
                      <a:pt x="85435" y="30349"/>
                      <a:pt x="89083" y="30754"/>
                    </a:cubicBezTo>
                    <a:lnTo>
                      <a:pt x="119005" y="31552"/>
                    </a:lnTo>
                    <a:cubicBezTo>
                      <a:pt x="128153" y="24439"/>
                      <a:pt x="137967" y="18215"/>
                      <a:pt x="148300" y="12972"/>
                    </a:cubicBezTo>
                    <a:cubicBezTo>
                      <a:pt x="151857" y="10937"/>
                      <a:pt x="155556" y="9147"/>
                      <a:pt x="159357" y="7614"/>
                    </a:cubicBezTo>
                    <a:cubicBezTo>
                      <a:pt x="173150" y="2485"/>
                      <a:pt x="188652" y="4821"/>
                      <a:pt x="202787" y="8925"/>
                    </a:cubicBezTo>
                    <a:cubicBezTo>
                      <a:pt x="214334" y="12271"/>
                      <a:pt x="225522" y="16762"/>
                      <a:pt x="236186" y="22319"/>
                    </a:cubicBezTo>
                    <a:cubicBezTo>
                      <a:pt x="246360" y="28526"/>
                      <a:pt x="257223" y="33518"/>
                      <a:pt x="268559" y="37195"/>
                    </a:cubicBezTo>
                    <a:cubicBezTo>
                      <a:pt x="287082" y="41697"/>
                      <a:pt x="306347" y="36055"/>
                      <a:pt x="324585" y="30469"/>
                    </a:cubicBezTo>
                    <a:cubicBezTo>
                      <a:pt x="324585" y="28132"/>
                      <a:pt x="326694" y="26537"/>
                      <a:pt x="328574" y="25283"/>
                    </a:cubicBezTo>
                    <a:lnTo>
                      <a:pt x="337238" y="19583"/>
                    </a:lnTo>
                    <a:cubicBezTo>
                      <a:pt x="349548" y="18899"/>
                      <a:pt x="363113" y="13884"/>
                      <a:pt x="373429" y="20153"/>
                    </a:cubicBezTo>
                    <a:cubicBezTo>
                      <a:pt x="376906" y="22376"/>
                      <a:pt x="379528" y="25853"/>
                      <a:pt x="383061" y="27733"/>
                    </a:cubicBezTo>
                    <a:cubicBezTo>
                      <a:pt x="384902" y="28537"/>
                      <a:pt x="386555" y="29723"/>
                      <a:pt x="387906" y="31210"/>
                    </a:cubicBezTo>
                    <a:cubicBezTo>
                      <a:pt x="391269" y="35884"/>
                      <a:pt x="385512" y="43236"/>
                      <a:pt x="388875" y="47910"/>
                    </a:cubicBezTo>
                    <a:cubicBezTo>
                      <a:pt x="391155" y="51101"/>
                      <a:pt x="396683" y="51386"/>
                      <a:pt x="397652" y="55148"/>
                    </a:cubicBezTo>
                    <a:cubicBezTo>
                      <a:pt x="397721" y="55843"/>
                      <a:pt x="397914" y="56516"/>
                      <a:pt x="398222" y="57143"/>
                    </a:cubicBezTo>
                    <a:cubicBezTo>
                      <a:pt x="399020" y="58340"/>
                      <a:pt x="400844" y="58055"/>
                      <a:pt x="402212" y="58454"/>
                    </a:cubicBezTo>
                    <a:cubicBezTo>
                      <a:pt x="405631" y="59309"/>
                      <a:pt x="406258" y="63811"/>
                      <a:pt x="406201" y="67288"/>
                    </a:cubicBezTo>
                    <a:cubicBezTo>
                      <a:pt x="406834" y="72263"/>
                      <a:pt x="405249" y="77262"/>
                      <a:pt x="401870" y="80966"/>
                    </a:cubicBezTo>
                    <a:cubicBezTo>
                      <a:pt x="400046" y="82391"/>
                      <a:pt x="397481" y="83303"/>
                      <a:pt x="396911" y="85526"/>
                    </a:cubicBezTo>
                    <a:cubicBezTo>
                      <a:pt x="396341" y="87749"/>
                      <a:pt x="398564" y="90086"/>
                      <a:pt x="400331" y="91853"/>
                    </a:cubicBezTo>
                    <a:cubicBezTo>
                      <a:pt x="406258" y="98168"/>
                      <a:pt x="408270" y="107218"/>
                      <a:pt x="405574" y="115448"/>
                    </a:cubicBezTo>
                    <a:cubicBezTo>
                      <a:pt x="404771" y="117050"/>
                      <a:pt x="404474" y="118862"/>
                      <a:pt x="404719" y="120635"/>
                    </a:cubicBezTo>
                    <a:cubicBezTo>
                      <a:pt x="405062" y="121889"/>
                      <a:pt x="406030" y="122858"/>
                      <a:pt x="406372" y="124112"/>
                    </a:cubicBezTo>
                    <a:cubicBezTo>
                      <a:pt x="406931" y="125616"/>
                      <a:pt x="406948" y="127269"/>
                      <a:pt x="406429" y="128785"/>
                    </a:cubicBezTo>
                    <a:close/>
                    <a:moveTo>
                      <a:pt x="57565" y="18614"/>
                    </a:moveTo>
                    <a:lnTo>
                      <a:pt x="51865" y="8697"/>
                    </a:lnTo>
                    <a:cubicBezTo>
                      <a:pt x="50269" y="5847"/>
                      <a:pt x="48673" y="2998"/>
                      <a:pt x="47134" y="205"/>
                    </a:cubicBezTo>
                    <a:cubicBezTo>
                      <a:pt x="44661" y="-228"/>
                      <a:pt x="42119" y="28"/>
                      <a:pt x="39782" y="946"/>
                    </a:cubicBezTo>
                    <a:cubicBezTo>
                      <a:pt x="38300" y="1710"/>
                      <a:pt x="36779" y="2393"/>
                      <a:pt x="35223" y="2998"/>
                    </a:cubicBezTo>
                    <a:cubicBezTo>
                      <a:pt x="31347" y="4138"/>
                      <a:pt x="27073" y="2314"/>
                      <a:pt x="23254" y="3625"/>
                    </a:cubicBezTo>
                    <a:cubicBezTo>
                      <a:pt x="21282" y="4400"/>
                      <a:pt x="19526" y="5631"/>
                      <a:pt x="18124" y="7215"/>
                    </a:cubicBezTo>
                    <a:cubicBezTo>
                      <a:pt x="10008" y="15223"/>
                      <a:pt x="3813" y="24969"/>
                      <a:pt x="0" y="35713"/>
                    </a:cubicBezTo>
                    <a:lnTo>
                      <a:pt x="627" y="35713"/>
                    </a:lnTo>
                    <a:cubicBezTo>
                      <a:pt x="3231" y="36032"/>
                      <a:pt x="5688" y="37098"/>
                      <a:pt x="7694" y="38790"/>
                    </a:cubicBezTo>
                    <a:cubicBezTo>
                      <a:pt x="8737" y="40027"/>
                      <a:pt x="9695" y="41344"/>
                      <a:pt x="10544" y="42723"/>
                    </a:cubicBezTo>
                    <a:cubicBezTo>
                      <a:pt x="15292" y="47721"/>
                      <a:pt x="23191" y="47921"/>
                      <a:pt x="28190" y="43173"/>
                    </a:cubicBezTo>
                    <a:cubicBezTo>
                      <a:pt x="29648" y="41788"/>
                      <a:pt x="30754" y="40067"/>
                      <a:pt x="31404" y="38163"/>
                    </a:cubicBezTo>
                    <a:cubicBezTo>
                      <a:pt x="38870" y="39645"/>
                      <a:pt x="44285" y="29557"/>
                      <a:pt x="51865" y="29500"/>
                    </a:cubicBezTo>
                    <a:cubicBezTo>
                      <a:pt x="58134" y="29500"/>
                      <a:pt x="64917" y="35998"/>
                      <a:pt x="69647" y="31894"/>
                    </a:cubicBezTo>
                    <a:cubicBezTo>
                      <a:pt x="72155" y="28942"/>
                      <a:pt x="71791" y="24519"/>
                      <a:pt x="68838" y="22011"/>
                    </a:cubicBezTo>
                    <a:cubicBezTo>
                      <a:pt x="68730" y="21920"/>
                      <a:pt x="68622" y="21834"/>
                      <a:pt x="68507" y="21749"/>
                    </a:cubicBezTo>
                    <a:cubicBezTo>
                      <a:pt x="65299" y="19537"/>
                      <a:pt x="61457" y="18438"/>
                      <a:pt x="57565" y="18614"/>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12" name="Freihandform: Form 428">
                <a:extLst>
                  <a:ext uri="{FF2B5EF4-FFF2-40B4-BE49-F238E27FC236}">
                    <a16:creationId xmlns:a16="http://schemas.microsoft.com/office/drawing/2014/main" id="{31405011-9F34-6566-3D3C-B336D7F2A6F5}"/>
                  </a:ext>
                </a:extLst>
              </p:cNvPr>
              <p:cNvSpPr/>
              <p:nvPr/>
            </p:nvSpPr>
            <p:spPr>
              <a:xfrm>
                <a:off x="4202795" y="3201481"/>
                <a:ext cx="127892" cy="190328"/>
              </a:xfrm>
              <a:custGeom>
                <a:avLst/>
                <a:gdLst>
                  <a:gd name="connsiteX0" fmla="*/ 79394 w 127892"/>
                  <a:gd name="connsiteY0" fmla="*/ 183580 h 190328"/>
                  <a:gd name="connsiteX1" fmla="*/ 71186 w 127892"/>
                  <a:gd name="connsiteY1" fmla="*/ 182896 h 190328"/>
                  <a:gd name="connsiteX2" fmla="*/ 69591 w 127892"/>
                  <a:gd name="connsiteY2" fmla="*/ 176171 h 190328"/>
                  <a:gd name="connsiteX3" fmla="*/ 73295 w 127892"/>
                  <a:gd name="connsiteY3" fmla="*/ 169445 h 190328"/>
                  <a:gd name="connsiteX4" fmla="*/ 74150 w 127892"/>
                  <a:gd name="connsiteY4" fmla="*/ 167736 h 190328"/>
                  <a:gd name="connsiteX5" fmla="*/ 76715 w 127892"/>
                  <a:gd name="connsiteY5" fmla="*/ 167393 h 190328"/>
                  <a:gd name="connsiteX6" fmla="*/ 89083 w 127892"/>
                  <a:gd name="connsiteY6" fmla="*/ 173834 h 190328"/>
                  <a:gd name="connsiteX7" fmla="*/ 91192 w 127892"/>
                  <a:gd name="connsiteY7" fmla="*/ 175487 h 190328"/>
                  <a:gd name="connsiteX8" fmla="*/ 93928 w 127892"/>
                  <a:gd name="connsiteY8" fmla="*/ 176000 h 190328"/>
                  <a:gd name="connsiteX9" fmla="*/ 108518 w 127892"/>
                  <a:gd name="connsiteY9" fmla="*/ 174575 h 190328"/>
                  <a:gd name="connsiteX10" fmla="*/ 111368 w 127892"/>
                  <a:gd name="connsiteY10" fmla="*/ 173492 h 190328"/>
                  <a:gd name="connsiteX11" fmla="*/ 119860 w 127892"/>
                  <a:gd name="connsiteY11" fmla="*/ 176912 h 190328"/>
                  <a:gd name="connsiteX12" fmla="*/ 127839 w 127892"/>
                  <a:gd name="connsiteY12" fmla="*/ 180787 h 190328"/>
                  <a:gd name="connsiteX13" fmla="*/ 125673 w 127892"/>
                  <a:gd name="connsiteY13" fmla="*/ 185005 h 190328"/>
                  <a:gd name="connsiteX14" fmla="*/ 120772 w 127892"/>
                  <a:gd name="connsiteY14" fmla="*/ 186145 h 190328"/>
                  <a:gd name="connsiteX15" fmla="*/ 115984 w 127892"/>
                  <a:gd name="connsiteY15" fmla="*/ 186145 h 190328"/>
                  <a:gd name="connsiteX16" fmla="*/ 108233 w 127892"/>
                  <a:gd name="connsiteY16" fmla="*/ 184663 h 190328"/>
                  <a:gd name="connsiteX17" fmla="*/ 104699 w 127892"/>
                  <a:gd name="connsiteY17" fmla="*/ 187000 h 190328"/>
                  <a:gd name="connsiteX18" fmla="*/ 86632 w 127892"/>
                  <a:gd name="connsiteY18" fmla="*/ 189736 h 190328"/>
                  <a:gd name="connsiteX19" fmla="*/ 80591 w 127892"/>
                  <a:gd name="connsiteY19" fmla="*/ 186772 h 190328"/>
                  <a:gd name="connsiteX20" fmla="*/ 79394 w 127892"/>
                  <a:gd name="connsiteY20" fmla="*/ 183580 h 190328"/>
                  <a:gd name="connsiteX21" fmla="*/ 100539 w 127892"/>
                  <a:gd name="connsiteY21" fmla="*/ 3648 h 190328"/>
                  <a:gd name="connsiteX22" fmla="*/ 95295 w 127892"/>
                  <a:gd name="connsiteY22" fmla="*/ 4788 h 190328"/>
                  <a:gd name="connsiteX23" fmla="*/ 64005 w 127892"/>
                  <a:gd name="connsiteY23" fmla="*/ 1653 h 190328"/>
                  <a:gd name="connsiteX24" fmla="*/ 61041 w 127892"/>
                  <a:gd name="connsiteY24" fmla="*/ 0 h 190328"/>
                  <a:gd name="connsiteX25" fmla="*/ 59844 w 127892"/>
                  <a:gd name="connsiteY25" fmla="*/ 9347 h 190328"/>
                  <a:gd name="connsiteX26" fmla="*/ 47534 w 127892"/>
                  <a:gd name="connsiteY26" fmla="*/ 15047 h 190328"/>
                  <a:gd name="connsiteX27" fmla="*/ 35109 w 127892"/>
                  <a:gd name="connsiteY27" fmla="*/ 24622 h 190328"/>
                  <a:gd name="connsiteX28" fmla="*/ 29922 w 127892"/>
                  <a:gd name="connsiteY28" fmla="*/ 26731 h 190328"/>
                  <a:gd name="connsiteX29" fmla="*/ 19720 w 127892"/>
                  <a:gd name="connsiteY29" fmla="*/ 30891 h 190328"/>
                  <a:gd name="connsiteX30" fmla="*/ 19720 w 127892"/>
                  <a:gd name="connsiteY30" fmla="*/ 37275 h 190328"/>
                  <a:gd name="connsiteX31" fmla="*/ 4845 w 127892"/>
                  <a:gd name="connsiteY31" fmla="*/ 50497 h 190328"/>
                  <a:gd name="connsiteX32" fmla="*/ 2793 w 127892"/>
                  <a:gd name="connsiteY32" fmla="*/ 56824 h 190328"/>
                  <a:gd name="connsiteX33" fmla="*/ 0 w 127892"/>
                  <a:gd name="connsiteY33" fmla="*/ 59902 h 190328"/>
                  <a:gd name="connsiteX34" fmla="*/ 1938 w 127892"/>
                  <a:gd name="connsiteY34" fmla="*/ 70502 h 190328"/>
                  <a:gd name="connsiteX35" fmla="*/ 14100 w 127892"/>
                  <a:gd name="connsiteY35" fmla="*/ 75022 h 190328"/>
                  <a:gd name="connsiteX36" fmla="*/ 14933 w 127892"/>
                  <a:gd name="connsiteY36" fmla="*/ 78596 h 190328"/>
                  <a:gd name="connsiteX37" fmla="*/ 13679 w 127892"/>
                  <a:gd name="connsiteY37" fmla="*/ 84580 h 190328"/>
                  <a:gd name="connsiteX38" fmla="*/ 16529 w 127892"/>
                  <a:gd name="connsiteY38" fmla="*/ 89368 h 190328"/>
                  <a:gd name="connsiteX39" fmla="*/ 19207 w 127892"/>
                  <a:gd name="connsiteY39" fmla="*/ 88855 h 190328"/>
                  <a:gd name="connsiteX40" fmla="*/ 40067 w 127892"/>
                  <a:gd name="connsiteY40" fmla="*/ 81503 h 190328"/>
                  <a:gd name="connsiteX41" fmla="*/ 41777 w 127892"/>
                  <a:gd name="connsiteY41" fmla="*/ 86803 h 190328"/>
                  <a:gd name="connsiteX42" fmla="*/ 47990 w 127892"/>
                  <a:gd name="connsiteY42" fmla="*/ 88741 h 190328"/>
                  <a:gd name="connsiteX43" fmla="*/ 51751 w 127892"/>
                  <a:gd name="connsiteY43" fmla="*/ 94440 h 190328"/>
                  <a:gd name="connsiteX44" fmla="*/ 51010 w 127892"/>
                  <a:gd name="connsiteY44" fmla="*/ 96663 h 190328"/>
                  <a:gd name="connsiteX45" fmla="*/ 48959 w 127892"/>
                  <a:gd name="connsiteY45" fmla="*/ 97290 h 190328"/>
                  <a:gd name="connsiteX46" fmla="*/ 23653 w 127892"/>
                  <a:gd name="connsiteY46" fmla="*/ 99684 h 190328"/>
                  <a:gd name="connsiteX47" fmla="*/ 24622 w 127892"/>
                  <a:gd name="connsiteY47" fmla="*/ 105383 h 190328"/>
                  <a:gd name="connsiteX48" fmla="*/ 22399 w 127892"/>
                  <a:gd name="connsiteY48" fmla="*/ 111083 h 190328"/>
                  <a:gd name="connsiteX49" fmla="*/ 34197 w 127892"/>
                  <a:gd name="connsiteY49" fmla="*/ 124591 h 190328"/>
                  <a:gd name="connsiteX50" fmla="*/ 33171 w 127892"/>
                  <a:gd name="connsiteY50" fmla="*/ 128580 h 190328"/>
                  <a:gd name="connsiteX51" fmla="*/ 38528 w 127892"/>
                  <a:gd name="connsiteY51" fmla="*/ 133767 h 190328"/>
                  <a:gd name="connsiteX52" fmla="*/ 46679 w 127892"/>
                  <a:gd name="connsiteY52" fmla="*/ 134109 h 190328"/>
                  <a:gd name="connsiteX53" fmla="*/ 46679 w 127892"/>
                  <a:gd name="connsiteY53" fmla="*/ 143228 h 190328"/>
                  <a:gd name="connsiteX54" fmla="*/ 63777 w 127892"/>
                  <a:gd name="connsiteY54" fmla="*/ 142601 h 190328"/>
                  <a:gd name="connsiteX55" fmla="*/ 61498 w 127892"/>
                  <a:gd name="connsiteY55" fmla="*/ 134964 h 190328"/>
                  <a:gd name="connsiteX56" fmla="*/ 55057 w 127892"/>
                  <a:gd name="connsiteY56" fmla="*/ 128808 h 190328"/>
                  <a:gd name="connsiteX57" fmla="*/ 63264 w 127892"/>
                  <a:gd name="connsiteY57" fmla="*/ 120259 h 190328"/>
                  <a:gd name="connsiteX58" fmla="*/ 76658 w 127892"/>
                  <a:gd name="connsiteY58" fmla="*/ 119119 h 190328"/>
                  <a:gd name="connsiteX59" fmla="*/ 70275 w 127892"/>
                  <a:gd name="connsiteY59" fmla="*/ 113933 h 190328"/>
                  <a:gd name="connsiteX60" fmla="*/ 60870 w 127892"/>
                  <a:gd name="connsiteY60" fmla="*/ 113021 h 190328"/>
                  <a:gd name="connsiteX61" fmla="*/ 57964 w 127892"/>
                  <a:gd name="connsiteY61" fmla="*/ 106808 h 190328"/>
                  <a:gd name="connsiteX62" fmla="*/ 64974 w 127892"/>
                  <a:gd name="connsiteY62" fmla="*/ 102021 h 190328"/>
                  <a:gd name="connsiteX63" fmla="*/ 76373 w 127892"/>
                  <a:gd name="connsiteY63" fmla="*/ 102990 h 190328"/>
                  <a:gd name="connsiteX64" fmla="*/ 87373 w 127892"/>
                  <a:gd name="connsiteY64" fmla="*/ 100482 h 190328"/>
                  <a:gd name="connsiteX65" fmla="*/ 91705 w 127892"/>
                  <a:gd name="connsiteY65" fmla="*/ 90622 h 190328"/>
                  <a:gd name="connsiteX66" fmla="*/ 83754 w 127892"/>
                  <a:gd name="connsiteY66" fmla="*/ 86176 h 190328"/>
                  <a:gd name="connsiteX67" fmla="*/ 82699 w 127892"/>
                  <a:gd name="connsiteY67" fmla="*/ 86575 h 190328"/>
                  <a:gd name="connsiteX68" fmla="*/ 79565 w 127892"/>
                  <a:gd name="connsiteY68" fmla="*/ 80876 h 190328"/>
                  <a:gd name="connsiteX69" fmla="*/ 74435 w 127892"/>
                  <a:gd name="connsiteY69" fmla="*/ 83326 h 190328"/>
                  <a:gd name="connsiteX70" fmla="*/ 63891 w 127892"/>
                  <a:gd name="connsiteY70" fmla="*/ 88741 h 190328"/>
                  <a:gd name="connsiteX71" fmla="*/ 56881 w 127892"/>
                  <a:gd name="connsiteY71" fmla="*/ 80990 h 190328"/>
                  <a:gd name="connsiteX72" fmla="*/ 61041 w 127892"/>
                  <a:gd name="connsiteY72" fmla="*/ 79280 h 190328"/>
                  <a:gd name="connsiteX73" fmla="*/ 60243 w 127892"/>
                  <a:gd name="connsiteY73" fmla="*/ 74093 h 190328"/>
                  <a:gd name="connsiteX74" fmla="*/ 66285 w 127892"/>
                  <a:gd name="connsiteY74" fmla="*/ 72839 h 190328"/>
                  <a:gd name="connsiteX75" fmla="*/ 67710 w 127892"/>
                  <a:gd name="connsiteY75" fmla="*/ 67140 h 190328"/>
                  <a:gd name="connsiteX76" fmla="*/ 62409 w 127892"/>
                  <a:gd name="connsiteY76" fmla="*/ 64005 h 190328"/>
                  <a:gd name="connsiteX77" fmla="*/ 60471 w 127892"/>
                  <a:gd name="connsiteY77" fmla="*/ 57280 h 190328"/>
                  <a:gd name="connsiteX78" fmla="*/ 56938 w 127892"/>
                  <a:gd name="connsiteY78" fmla="*/ 53005 h 190328"/>
                  <a:gd name="connsiteX79" fmla="*/ 51238 w 127892"/>
                  <a:gd name="connsiteY79" fmla="*/ 30207 h 190328"/>
                  <a:gd name="connsiteX80" fmla="*/ 54145 w 127892"/>
                  <a:gd name="connsiteY80" fmla="*/ 34824 h 190328"/>
                  <a:gd name="connsiteX81" fmla="*/ 66057 w 127892"/>
                  <a:gd name="connsiteY81" fmla="*/ 37446 h 190328"/>
                  <a:gd name="connsiteX82" fmla="*/ 77177 w 127892"/>
                  <a:gd name="connsiteY82" fmla="*/ 45032 h 190328"/>
                  <a:gd name="connsiteX83" fmla="*/ 81788 w 127892"/>
                  <a:gd name="connsiteY83" fmla="*/ 42746 h 190328"/>
                  <a:gd name="connsiteX84" fmla="*/ 81332 w 127892"/>
                  <a:gd name="connsiteY84" fmla="*/ 25021 h 190328"/>
                  <a:gd name="connsiteX85" fmla="*/ 117637 w 127892"/>
                  <a:gd name="connsiteY85" fmla="*/ 24451 h 190328"/>
                  <a:gd name="connsiteX86" fmla="*/ 122710 w 127892"/>
                  <a:gd name="connsiteY86" fmla="*/ 13508 h 190328"/>
                  <a:gd name="connsiteX87" fmla="*/ 107378 w 127892"/>
                  <a:gd name="connsiteY87" fmla="*/ 7238 h 190328"/>
                  <a:gd name="connsiteX88" fmla="*/ 100539 w 127892"/>
                  <a:gd name="connsiteY88" fmla="*/ 3648 h 19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7892" h="190328">
                    <a:moveTo>
                      <a:pt x="79394" y="183580"/>
                    </a:moveTo>
                    <a:cubicBezTo>
                      <a:pt x="77570" y="181357"/>
                      <a:pt x="73694" y="183922"/>
                      <a:pt x="71186" y="182896"/>
                    </a:cubicBezTo>
                    <a:cubicBezTo>
                      <a:pt x="68679" y="181870"/>
                      <a:pt x="68508" y="178565"/>
                      <a:pt x="69591" y="176171"/>
                    </a:cubicBezTo>
                    <a:cubicBezTo>
                      <a:pt x="70959" y="174005"/>
                      <a:pt x="72195" y="171759"/>
                      <a:pt x="73295" y="169445"/>
                    </a:cubicBezTo>
                    <a:cubicBezTo>
                      <a:pt x="73449" y="168818"/>
                      <a:pt x="73746" y="168237"/>
                      <a:pt x="74150" y="167736"/>
                    </a:cubicBezTo>
                    <a:cubicBezTo>
                      <a:pt x="74903" y="167228"/>
                      <a:pt x="75854" y="167097"/>
                      <a:pt x="76715" y="167393"/>
                    </a:cubicBezTo>
                    <a:cubicBezTo>
                      <a:pt x="81354" y="168357"/>
                      <a:pt x="85635" y="170585"/>
                      <a:pt x="89083" y="173834"/>
                    </a:cubicBezTo>
                    <a:cubicBezTo>
                      <a:pt x="89704" y="174478"/>
                      <a:pt x="90417" y="175037"/>
                      <a:pt x="91192" y="175487"/>
                    </a:cubicBezTo>
                    <a:cubicBezTo>
                      <a:pt x="92064" y="175829"/>
                      <a:pt x="92993" y="176000"/>
                      <a:pt x="93928" y="176000"/>
                    </a:cubicBezTo>
                    <a:cubicBezTo>
                      <a:pt x="98835" y="176650"/>
                      <a:pt x="103828" y="176159"/>
                      <a:pt x="108518" y="174575"/>
                    </a:cubicBezTo>
                    <a:cubicBezTo>
                      <a:pt x="109418" y="174096"/>
                      <a:pt x="110376" y="173731"/>
                      <a:pt x="111368" y="173492"/>
                    </a:cubicBezTo>
                    <a:cubicBezTo>
                      <a:pt x="114446" y="173036"/>
                      <a:pt x="117067" y="175886"/>
                      <a:pt x="119860" y="176912"/>
                    </a:cubicBezTo>
                    <a:cubicBezTo>
                      <a:pt x="122653" y="177938"/>
                      <a:pt x="127098" y="177767"/>
                      <a:pt x="127839" y="180787"/>
                    </a:cubicBezTo>
                    <a:cubicBezTo>
                      <a:pt x="128124" y="182514"/>
                      <a:pt x="127241" y="184230"/>
                      <a:pt x="125673" y="185005"/>
                    </a:cubicBezTo>
                    <a:cubicBezTo>
                      <a:pt x="124140" y="185734"/>
                      <a:pt x="122471" y="186128"/>
                      <a:pt x="120772" y="186145"/>
                    </a:cubicBezTo>
                    <a:cubicBezTo>
                      <a:pt x="119182" y="186367"/>
                      <a:pt x="117575" y="186367"/>
                      <a:pt x="115984" y="186145"/>
                    </a:cubicBezTo>
                    <a:cubicBezTo>
                      <a:pt x="113363" y="185632"/>
                      <a:pt x="110798" y="183922"/>
                      <a:pt x="108233" y="184663"/>
                    </a:cubicBezTo>
                    <a:cubicBezTo>
                      <a:pt x="106934" y="185244"/>
                      <a:pt x="105743" y="186037"/>
                      <a:pt x="104699" y="187000"/>
                    </a:cubicBezTo>
                    <a:cubicBezTo>
                      <a:pt x="99222" y="190112"/>
                      <a:pt x="92788" y="191086"/>
                      <a:pt x="86632" y="189736"/>
                    </a:cubicBezTo>
                    <a:cubicBezTo>
                      <a:pt x="84295" y="189451"/>
                      <a:pt x="81559" y="188881"/>
                      <a:pt x="80591" y="186772"/>
                    </a:cubicBezTo>
                    <a:cubicBezTo>
                      <a:pt x="80078" y="185689"/>
                      <a:pt x="80135" y="184435"/>
                      <a:pt x="79394" y="183580"/>
                    </a:cubicBezTo>
                    <a:close/>
                    <a:moveTo>
                      <a:pt x="100539" y="3648"/>
                    </a:moveTo>
                    <a:cubicBezTo>
                      <a:pt x="98732" y="3659"/>
                      <a:pt x="96943" y="4047"/>
                      <a:pt x="95295" y="4788"/>
                    </a:cubicBezTo>
                    <a:cubicBezTo>
                      <a:pt x="84899" y="8298"/>
                      <a:pt x="73495" y="7159"/>
                      <a:pt x="64005" y="1653"/>
                    </a:cubicBezTo>
                    <a:cubicBezTo>
                      <a:pt x="63036" y="1083"/>
                      <a:pt x="62067" y="513"/>
                      <a:pt x="61041" y="0"/>
                    </a:cubicBezTo>
                    <a:cubicBezTo>
                      <a:pt x="61617" y="3163"/>
                      <a:pt x="61195" y="6429"/>
                      <a:pt x="59844" y="9347"/>
                    </a:cubicBezTo>
                    <a:cubicBezTo>
                      <a:pt x="57280" y="13223"/>
                      <a:pt x="51808" y="13394"/>
                      <a:pt x="47534" y="15047"/>
                    </a:cubicBezTo>
                    <a:cubicBezTo>
                      <a:pt x="44855" y="19783"/>
                      <a:pt x="40375" y="23237"/>
                      <a:pt x="35109" y="24622"/>
                    </a:cubicBezTo>
                    <a:lnTo>
                      <a:pt x="29922" y="26731"/>
                    </a:lnTo>
                    <a:lnTo>
                      <a:pt x="19720" y="30891"/>
                    </a:lnTo>
                    <a:cubicBezTo>
                      <a:pt x="20923" y="32852"/>
                      <a:pt x="20923" y="35314"/>
                      <a:pt x="19720" y="37275"/>
                    </a:cubicBezTo>
                    <a:cubicBezTo>
                      <a:pt x="12721" y="38637"/>
                      <a:pt x="7022" y="43709"/>
                      <a:pt x="4845" y="50497"/>
                    </a:cubicBezTo>
                    <a:cubicBezTo>
                      <a:pt x="4366" y="52669"/>
                      <a:pt x="3682" y="54789"/>
                      <a:pt x="2793" y="56824"/>
                    </a:cubicBezTo>
                    <a:cubicBezTo>
                      <a:pt x="2080" y="58026"/>
                      <a:pt x="1128" y="59075"/>
                      <a:pt x="0" y="59902"/>
                    </a:cubicBezTo>
                    <a:cubicBezTo>
                      <a:pt x="1522" y="63219"/>
                      <a:pt x="2189" y="66861"/>
                      <a:pt x="1938" y="70502"/>
                    </a:cubicBezTo>
                    <a:cubicBezTo>
                      <a:pt x="6543" y="68394"/>
                      <a:pt x="11992" y="70417"/>
                      <a:pt x="14100" y="75022"/>
                    </a:cubicBezTo>
                    <a:cubicBezTo>
                      <a:pt x="14619" y="76145"/>
                      <a:pt x="14899" y="77359"/>
                      <a:pt x="14933" y="78596"/>
                    </a:cubicBezTo>
                    <a:cubicBezTo>
                      <a:pt x="14933" y="80648"/>
                      <a:pt x="13850" y="82528"/>
                      <a:pt x="13679" y="84580"/>
                    </a:cubicBezTo>
                    <a:cubicBezTo>
                      <a:pt x="13508" y="86632"/>
                      <a:pt x="14534" y="89026"/>
                      <a:pt x="16529" y="89368"/>
                    </a:cubicBezTo>
                    <a:cubicBezTo>
                      <a:pt x="17452" y="89413"/>
                      <a:pt x="18370" y="89242"/>
                      <a:pt x="19207" y="88855"/>
                    </a:cubicBezTo>
                    <a:lnTo>
                      <a:pt x="40067" y="81503"/>
                    </a:lnTo>
                    <a:cubicBezTo>
                      <a:pt x="38471" y="82984"/>
                      <a:pt x="40067" y="85834"/>
                      <a:pt x="41777" y="86803"/>
                    </a:cubicBezTo>
                    <a:cubicBezTo>
                      <a:pt x="43487" y="87772"/>
                      <a:pt x="46052" y="87715"/>
                      <a:pt x="47990" y="88741"/>
                    </a:cubicBezTo>
                    <a:cubicBezTo>
                      <a:pt x="50178" y="89824"/>
                      <a:pt x="51615" y="92001"/>
                      <a:pt x="51751" y="94440"/>
                    </a:cubicBezTo>
                    <a:cubicBezTo>
                      <a:pt x="51837" y="95255"/>
                      <a:pt x="51563" y="96065"/>
                      <a:pt x="51010" y="96663"/>
                    </a:cubicBezTo>
                    <a:cubicBezTo>
                      <a:pt x="50412" y="97085"/>
                      <a:pt x="49694" y="97302"/>
                      <a:pt x="48959" y="97290"/>
                    </a:cubicBezTo>
                    <a:lnTo>
                      <a:pt x="23653" y="99684"/>
                    </a:lnTo>
                    <a:cubicBezTo>
                      <a:pt x="25534" y="100596"/>
                      <a:pt x="25477" y="103389"/>
                      <a:pt x="24622" y="105383"/>
                    </a:cubicBezTo>
                    <a:cubicBezTo>
                      <a:pt x="23488" y="107105"/>
                      <a:pt x="22730" y="109048"/>
                      <a:pt x="22399" y="111083"/>
                    </a:cubicBezTo>
                    <a:cubicBezTo>
                      <a:pt x="22399" y="117409"/>
                      <a:pt x="34881" y="118321"/>
                      <a:pt x="34197" y="124591"/>
                    </a:cubicBezTo>
                    <a:cubicBezTo>
                      <a:pt x="34197" y="125958"/>
                      <a:pt x="33228" y="127212"/>
                      <a:pt x="33171" y="128580"/>
                    </a:cubicBezTo>
                    <a:cubicBezTo>
                      <a:pt x="33171" y="131316"/>
                      <a:pt x="35850" y="133311"/>
                      <a:pt x="38528" y="133767"/>
                    </a:cubicBezTo>
                    <a:cubicBezTo>
                      <a:pt x="41207" y="134223"/>
                      <a:pt x="44228" y="133767"/>
                      <a:pt x="46679" y="134109"/>
                    </a:cubicBezTo>
                    <a:cubicBezTo>
                      <a:pt x="46679" y="137129"/>
                      <a:pt x="46679" y="140207"/>
                      <a:pt x="46679" y="143228"/>
                    </a:cubicBezTo>
                    <a:cubicBezTo>
                      <a:pt x="52247" y="145206"/>
                      <a:pt x="58368" y="144983"/>
                      <a:pt x="63777" y="142601"/>
                    </a:cubicBezTo>
                    <a:cubicBezTo>
                      <a:pt x="65886" y="140435"/>
                      <a:pt x="63777" y="136901"/>
                      <a:pt x="61498" y="134964"/>
                    </a:cubicBezTo>
                    <a:cubicBezTo>
                      <a:pt x="59218" y="133026"/>
                      <a:pt x="55798" y="131715"/>
                      <a:pt x="55057" y="128808"/>
                    </a:cubicBezTo>
                    <a:cubicBezTo>
                      <a:pt x="53803" y="124476"/>
                      <a:pt x="58762" y="120772"/>
                      <a:pt x="63264" y="120259"/>
                    </a:cubicBezTo>
                    <a:cubicBezTo>
                      <a:pt x="67761" y="120487"/>
                      <a:pt x="72264" y="120105"/>
                      <a:pt x="76658" y="119119"/>
                    </a:cubicBezTo>
                    <a:cubicBezTo>
                      <a:pt x="77684" y="116041"/>
                      <a:pt x="73523" y="113762"/>
                      <a:pt x="70275" y="113933"/>
                    </a:cubicBezTo>
                    <a:cubicBezTo>
                      <a:pt x="67026" y="114104"/>
                      <a:pt x="63378" y="115072"/>
                      <a:pt x="60870" y="113021"/>
                    </a:cubicBezTo>
                    <a:cubicBezTo>
                      <a:pt x="61725" y="110798"/>
                      <a:pt x="58534" y="109145"/>
                      <a:pt x="57964" y="106808"/>
                    </a:cubicBezTo>
                    <a:cubicBezTo>
                      <a:pt x="57280" y="103617"/>
                      <a:pt x="61725" y="101907"/>
                      <a:pt x="64974" y="102021"/>
                    </a:cubicBezTo>
                    <a:cubicBezTo>
                      <a:pt x="68223" y="102135"/>
                      <a:pt x="72611" y="102876"/>
                      <a:pt x="76373" y="102990"/>
                    </a:cubicBezTo>
                    <a:cubicBezTo>
                      <a:pt x="80215" y="103354"/>
                      <a:pt x="84067" y="102477"/>
                      <a:pt x="87373" y="100482"/>
                    </a:cubicBezTo>
                    <a:cubicBezTo>
                      <a:pt x="90718" y="98407"/>
                      <a:pt x="92440" y="94486"/>
                      <a:pt x="91705" y="90622"/>
                    </a:cubicBezTo>
                    <a:cubicBezTo>
                      <a:pt x="90736" y="87196"/>
                      <a:pt x="87179" y="85207"/>
                      <a:pt x="83754" y="86176"/>
                    </a:cubicBezTo>
                    <a:cubicBezTo>
                      <a:pt x="83395" y="86279"/>
                      <a:pt x="83041" y="86410"/>
                      <a:pt x="82699" y="86575"/>
                    </a:cubicBezTo>
                    <a:cubicBezTo>
                      <a:pt x="82699" y="84295"/>
                      <a:pt x="81788" y="81503"/>
                      <a:pt x="79565" y="80876"/>
                    </a:cubicBezTo>
                    <a:cubicBezTo>
                      <a:pt x="77342" y="80249"/>
                      <a:pt x="75860" y="81958"/>
                      <a:pt x="74435" y="83326"/>
                    </a:cubicBezTo>
                    <a:cubicBezTo>
                      <a:pt x="71711" y="86370"/>
                      <a:pt x="67955" y="88302"/>
                      <a:pt x="63891" y="88741"/>
                    </a:cubicBezTo>
                    <a:cubicBezTo>
                      <a:pt x="59787" y="88741"/>
                      <a:pt x="55627" y="84865"/>
                      <a:pt x="56881" y="80990"/>
                    </a:cubicBezTo>
                    <a:cubicBezTo>
                      <a:pt x="58249" y="82129"/>
                      <a:pt x="60471" y="80990"/>
                      <a:pt x="61041" y="79280"/>
                    </a:cubicBezTo>
                    <a:cubicBezTo>
                      <a:pt x="61429" y="77513"/>
                      <a:pt x="61144" y="75660"/>
                      <a:pt x="60243" y="74093"/>
                    </a:cubicBezTo>
                    <a:cubicBezTo>
                      <a:pt x="62335" y="74287"/>
                      <a:pt x="64444" y="73848"/>
                      <a:pt x="66285" y="72839"/>
                    </a:cubicBezTo>
                    <a:cubicBezTo>
                      <a:pt x="68251" y="71654"/>
                      <a:pt x="68884" y="69106"/>
                      <a:pt x="67710" y="67140"/>
                    </a:cubicBezTo>
                    <a:cubicBezTo>
                      <a:pt x="66456" y="65487"/>
                      <a:pt x="63834" y="65487"/>
                      <a:pt x="62409" y="64005"/>
                    </a:cubicBezTo>
                    <a:cubicBezTo>
                      <a:pt x="60984" y="62523"/>
                      <a:pt x="61099" y="59560"/>
                      <a:pt x="60471" y="57280"/>
                    </a:cubicBezTo>
                    <a:cubicBezTo>
                      <a:pt x="59907" y="55444"/>
                      <a:pt x="58636" y="53906"/>
                      <a:pt x="56938" y="53005"/>
                    </a:cubicBezTo>
                    <a:cubicBezTo>
                      <a:pt x="49660" y="47864"/>
                      <a:pt x="47237" y="38169"/>
                      <a:pt x="51238" y="30207"/>
                    </a:cubicBezTo>
                    <a:lnTo>
                      <a:pt x="54145" y="34824"/>
                    </a:lnTo>
                    <a:cubicBezTo>
                      <a:pt x="58243" y="34978"/>
                      <a:pt x="62273" y="35867"/>
                      <a:pt x="66057" y="37446"/>
                    </a:cubicBezTo>
                    <a:cubicBezTo>
                      <a:pt x="67031" y="42609"/>
                      <a:pt x="72007" y="46006"/>
                      <a:pt x="77177" y="45032"/>
                    </a:cubicBezTo>
                    <a:cubicBezTo>
                      <a:pt x="78892" y="44707"/>
                      <a:pt x="80488" y="43920"/>
                      <a:pt x="81788" y="42746"/>
                    </a:cubicBezTo>
                    <a:cubicBezTo>
                      <a:pt x="81092" y="36864"/>
                      <a:pt x="80944" y="30931"/>
                      <a:pt x="81332" y="25021"/>
                    </a:cubicBezTo>
                    <a:cubicBezTo>
                      <a:pt x="93221" y="21983"/>
                      <a:pt x="105657" y="21789"/>
                      <a:pt x="117637" y="24451"/>
                    </a:cubicBezTo>
                    <a:cubicBezTo>
                      <a:pt x="119034" y="20678"/>
                      <a:pt x="120732" y="17019"/>
                      <a:pt x="122710" y="13508"/>
                    </a:cubicBezTo>
                    <a:cubicBezTo>
                      <a:pt x="117204" y="12567"/>
                      <a:pt x="111966" y="10424"/>
                      <a:pt x="107378" y="7238"/>
                    </a:cubicBezTo>
                    <a:cubicBezTo>
                      <a:pt x="105486" y="5420"/>
                      <a:pt x="103109" y="4172"/>
                      <a:pt x="100539" y="3648"/>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13" name="Freihandform: Form 429">
                <a:extLst>
                  <a:ext uri="{FF2B5EF4-FFF2-40B4-BE49-F238E27FC236}">
                    <a16:creationId xmlns:a16="http://schemas.microsoft.com/office/drawing/2014/main" id="{89D8017E-509C-BB94-0EC2-B99F78B5D11D}"/>
                  </a:ext>
                </a:extLst>
              </p:cNvPr>
              <p:cNvSpPr/>
              <p:nvPr/>
            </p:nvSpPr>
            <p:spPr>
              <a:xfrm>
                <a:off x="4250215" y="3130692"/>
                <a:ext cx="131942" cy="84239"/>
              </a:xfrm>
              <a:custGeom>
                <a:avLst/>
                <a:gdLst>
                  <a:gd name="connsiteX0" fmla="*/ 112565 w 131942"/>
                  <a:gd name="connsiteY0" fmla="*/ 50499 h 84239"/>
                  <a:gd name="connsiteX1" fmla="*/ 117181 w 131942"/>
                  <a:gd name="connsiteY1" fmla="*/ 59846 h 84239"/>
                  <a:gd name="connsiteX2" fmla="*/ 109829 w 131942"/>
                  <a:gd name="connsiteY2" fmla="*/ 60587 h 84239"/>
                  <a:gd name="connsiteX3" fmla="*/ 105269 w 131942"/>
                  <a:gd name="connsiteY3" fmla="*/ 62639 h 84239"/>
                  <a:gd name="connsiteX4" fmla="*/ 93300 w 131942"/>
                  <a:gd name="connsiteY4" fmla="*/ 63266 h 84239"/>
                  <a:gd name="connsiteX5" fmla="*/ 88171 w 131942"/>
                  <a:gd name="connsiteY5" fmla="*/ 66856 h 84239"/>
                  <a:gd name="connsiteX6" fmla="*/ 75119 w 131942"/>
                  <a:gd name="connsiteY6" fmla="*/ 84240 h 84239"/>
                  <a:gd name="connsiteX7" fmla="*/ 59787 w 131942"/>
                  <a:gd name="connsiteY7" fmla="*/ 77970 h 84239"/>
                  <a:gd name="connsiteX8" fmla="*/ 53347 w 131942"/>
                  <a:gd name="connsiteY8" fmla="*/ 74437 h 84239"/>
                  <a:gd name="connsiteX9" fmla="*/ 48104 w 131942"/>
                  <a:gd name="connsiteY9" fmla="*/ 75577 h 84239"/>
                  <a:gd name="connsiteX10" fmla="*/ 16814 w 131942"/>
                  <a:gd name="connsiteY10" fmla="*/ 72442 h 84239"/>
                  <a:gd name="connsiteX11" fmla="*/ 13850 w 131942"/>
                  <a:gd name="connsiteY11" fmla="*/ 70789 h 84239"/>
                  <a:gd name="connsiteX12" fmla="*/ 13850 w 131942"/>
                  <a:gd name="connsiteY12" fmla="*/ 66742 h 84239"/>
                  <a:gd name="connsiteX13" fmla="*/ 5757 w 131942"/>
                  <a:gd name="connsiteY13" fmla="*/ 58250 h 84239"/>
                  <a:gd name="connsiteX14" fmla="*/ 4959 w 131942"/>
                  <a:gd name="connsiteY14" fmla="*/ 53691 h 84239"/>
                  <a:gd name="connsiteX15" fmla="*/ 1938 w 131942"/>
                  <a:gd name="connsiteY15" fmla="*/ 48390 h 84239"/>
                  <a:gd name="connsiteX16" fmla="*/ 0 w 131942"/>
                  <a:gd name="connsiteY16" fmla="*/ 42691 h 84239"/>
                  <a:gd name="connsiteX17" fmla="*/ 7694 w 131942"/>
                  <a:gd name="connsiteY17" fmla="*/ 40468 h 84239"/>
                  <a:gd name="connsiteX18" fmla="*/ 6156 w 131942"/>
                  <a:gd name="connsiteY18" fmla="*/ 31007 h 84239"/>
                  <a:gd name="connsiteX19" fmla="*/ 456 w 131942"/>
                  <a:gd name="connsiteY19" fmla="*/ 22629 h 84239"/>
                  <a:gd name="connsiteX20" fmla="*/ 7580 w 131942"/>
                  <a:gd name="connsiteY20" fmla="*/ 4333 h 84239"/>
                  <a:gd name="connsiteX21" fmla="*/ 7922 w 131942"/>
                  <a:gd name="connsiteY21" fmla="*/ 3706 h 84239"/>
                  <a:gd name="connsiteX22" fmla="*/ 9119 w 131942"/>
                  <a:gd name="connsiteY22" fmla="*/ 5074 h 84239"/>
                  <a:gd name="connsiteX23" fmla="*/ 17725 w 131942"/>
                  <a:gd name="connsiteY23" fmla="*/ 9121 h 84239"/>
                  <a:gd name="connsiteX24" fmla="*/ 23425 w 131942"/>
                  <a:gd name="connsiteY24" fmla="*/ 12427 h 84239"/>
                  <a:gd name="connsiteX25" fmla="*/ 33798 w 131942"/>
                  <a:gd name="connsiteY25" fmla="*/ 13680 h 84239"/>
                  <a:gd name="connsiteX26" fmla="*/ 59275 w 131942"/>
                  <a:gd name="connsiteY26" fmla="*/ 12939 h 84239"/>
                  <a:gd name="connsiteX27" fmla="*/ 78938 w 131942"/>
                  <a:gd name="connsiteY27" fmla="*/ 7810 h 84239"/>
                  <a:gd name="connsiteX28" fmla="*/ 84637 w 131942"/>
                  <a:gd name="connsiteY28" fmla="*/ 3136 h 84239"/>
                  <a:gd name="connsiteX29" fmla="*/ 89197 w 131942"/>
                  <a:gd name="connsiteY29" fmla="*/ 2680 h 84239"/>
                  <a:gd name="connsiteX30" fmla="*/ 99285 w 131942"/>
                  <a:gd name="connsiteY30" fmla="*/ 2680 h 84239"/>
                  <a:gd name="connsiteX31" fmla="*/ 102818 w 131942"/>
                  <a:gd name="connsiteY31" fmla="*/ 2110 h 84239"/>
                  <a:gd name="connsiteX32" fmla="*/ 104928 w 131942"/>
                  <a:gd name="connsiteY32" fmla="*/ 458 h 84239"/>
                  <a:gd name="connsiteX33" fmla="*/ 111311 w 131942"/>
                  <a:gd name="connsiteY33" fmla="*/ 1141 h 84239"/>
                  <a:gd name="connsiteX34" fmla="*/ 131943 w 131942"/>
                  <a:gd name="connsiteY34" fmla="*/ 10660 h 84239"/>
                  <a:gd name="connsiteX35" fmla="*/ 116383 w 131942"/>
                  <a:gd name="connsiteY35" fmla="*/ 32489 h 84239"/>
                  <a:gd name="connsiteX36" fmla="*/ 111026 w 131942"/>
                  <a:gd name="connsiteY36" fmla="*/ 38986 h 84239"/>
                  <a:gd name="connsiteX37" fmla="*/ 112565 w 131942"/>
                  <a:gd name="connsiteY37" fmla="*/ 50499 h 8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1942" h="84239">
                    <a:moveTo>
                      <a:pt x="112565" y="50499"/>
                    </a:moveTo>
                    <a:cubicBezTo>
                      <a:pt x="113932" y="53691"/>
                      <a:pt x="115528" y="56768"/>
                      <a:pt x="117181" y="59846"/>
                    </a:cubicBezTo>
                    <a:cubicBezTo>
                      <a:pt x="114708" y="59413"/>
                      <a:pt x="112166" y="59669"/>
                      <a:pt x="109829" y="60587"/>
                    </a:cubicBezTo>
                    <a:cubicBezTo>
                      <a:pt x="108347" y="61351"/>
                      <a:pt x="106825" y="62035"/>
                      <a:pt x="105269" y="62639"/>
                    </a:cubicBezTo>
                    <a:cubicBezTo>
                      <a:pt x="101394" y="63779"/>
                      <a:pt x="97119" y="61955"/>
                      <a:pt x="93300" y="63266"/>
                    </a:cubicBezTo>
                    <a:cubicBezTo>
                      <a:pt x="91328" y="64041"/>
                      <a:pt x="89573" y="65272"/>
                      <a:pt x="88171" y="66856"/>
                    </a:cubicBezTo>
                    <a:cubicBezTo>
                      <a:pt x="82984" y="71975"/>
                      <a:pt x="78584" y="77828"/>
                      <a:pt x="75119" y="84240"/>
                    </a:cubicBezTo>
                    <a:cubicBezTo>
                      <a:pt x="69613" y="83299"/>
                      <a:pt x="64375" y="81156"/>
                      <a:pt x="59787" y="77970"/>
                    </a:cubicBezTo>
                    <a:cubicBezTo>
                      <a:pt x="57998" y="76238"/>
                      <a:pt x="55770" y="75018"/>
                      <a:pt x="53347" y="74437"/>
                    </a:cubicBezTo>
                    <a:cubicBezTo>
                      <a:pt x="51541" y="74448"/>
                      <a:pt x="49751" y="74836"/>
                      <a:pt x="48104" y="75577"/>
                    </a:cubicBezTo>
                    <a:cubicBezTo>
                      <a:pt x="37708" y="79087"/>
                      <a:pt x="26303" y="77948"/>
                      <a:pt x="16814" y="72442"/>
                    </a:cubicBezTo>
                    <a:cubicBezTo>
                      <a:pt x="15845" y="71872"/>
                      <a:pt x="14876" y="71302"/>
                      <a:pt x="13850" y="70789"/>
                    </a:cubicBezTo>
                    <a:cubicBezTo>
                      <a:pt x="13736" y="69444"/>
                      <a:pt x="13736" y="68088"/>
                      <a:pt x="13850" y="66742"/>
                    </a:cubicBezTo>
                    <a:cubicBezTo>
                      <a:pt x="9792" y="65625"/>
                      <a:pt x="6680" y="62360"/>
                      <a:pt x="5757" y="58250"/>
                    </a:cubicBezTo>
                    <a:cubicBezTo>
                      <a:pt x="5415" y="56768"/>
                      <a:pt x="5415" y="55173"/>
                      <a:pt x="4959" y="53691"/>
                    </a:cubicBezTo>
                    <a:cubicBezTo>
                      <a:pt x="4121" y="51833"/>
                      <a:pt x="3106" y="50060"/>
                      <a:pt x="1938" y="48390"/>
                    </a:cubicBezTo>
                    <a:cubicBezTo>
                      <a:pt x="1077" y="46572"/>
                      <a:pt x="428" y="44657"/>
                      <a:pt x="0" y="42691"/>
                    </a:cubicBezTo>
                    <a:cubicBezTo>
                      <a:pt x="2964" y="42178"/>
                      <a:pt x="6612" y="43090"/>
                      <a:pt x="7694" y="40468"/>
                    </a:cubicBezTo>
                    <a:cubicBezTo>
                      <a:pt x="9182" y="37299"/>
                      <a:pt x="8572" y="33543"/>
                      <a:pt x="6156" y="31007"/>
                    </a:cubicBezTo>
                    <a:cubicBezTo>
                      <a:pt x="3796" y="28556"/>
                      <a:pt x="1869" y="25723"/>
                      <a:pt x="456" y="22629"/>
                    </a:cubicBezTo>
                    <a:cubicBezTo>
                      <a:pt x="-1539" y="16131"/>
                      <a:pt x="3933" y="10033"/>
                      <a:pt x="7580" y="4333"/>
                    </a:cubicBezTo>
                    <a:cubicBezTo>
                      <a:pt x="7580" y="4333"/>
                      <a:pt x="7580" y="3877"/>
                      <a:pt x="7922" y="3706"/>
                    </a:cubicBezTo>
                    <a:cubicBezTo>
                      <a:pt x="8276" y="4202"/>
                      <a:pt x="8675" y="4658"/>
                      <a:pt x="9119" y="5074"/>
                    </a:cubicBezTo>
                    <a:cubicBezTo>
                      <a:pt x="11832" y="6727"/>
                      <a:pt x="14722" y="8084"/>
                      <a:pt x="17725" y="9121"/>
                    </a:cubicBezTo>
                    <a:cubicBezTo>
                      <a:pt x="19663" y="10147"/>
                      <a:pt x="21430" y="11572"/>
                      <a:pt x="23425" y="12427"/>
                    </a:cubicBezTo>
                    <a:cubicBezTo>
                      <a:pt x="26754" y="13584"/>
                      <a:pt x="30293" y="14011"/>
                      <a:pt x="33798" y="13680"/>
                    </a:cubicBezTo>
                    <a:lnTo>
                      <a:pt x="59275" y="12939"/>
                    </a:lnTo>
                    <a:cubicBezTo>
                      <a:pt x="66222" y="13549"/>
                      <a:pt x="73170" y="11737"/>
                      <a:pt x="78938" y="7810"/>
                    </a:cubicBezTo>
                    <a:cubicBezTo>
                      <a:pt x="80551" y="5929"/>
                      <a:pt x="82477" y="4350"/>
                      <a:pt x="84637" y="3136"/>
                    </a:cubicBezTo>
                    <a:cubicBezTo>
                      <a:pt x="86113" y="2698"/>
                      <a:pt x="87663" y="2544"/>
                      <a:pt x="89197" y="2680"/>
                    </a:cubicBezTo>
                    <a:lnTo>
                      <a:pt x="99285" y="2680"/>
                    </a:lnTo>
                    <a:cubicBezTo>
                      <a:pt x="100493" y="2840"/>
                      <a:pt x="101724" y="2640"/>
                      <a:pt x="102818" y="2110"/>
                    </a:cubicBezTo>
                    <a:cubicBezTo>
                      <a:pt x="103616" y="1654"/>
                      <a:pt x="104187" y="914"/>
                      <a:pt x="104928" y="458"/>
                    </a:cubicBezTo>
                    <a:cubicBezTo>
                      <a:pt x="107042" y="-340"/>
                      <a:pt x="109413" y="-84"/>
                      <a:pt x="111311" y="1141"/>
                    </a:cubicBezTo>
                    <a:lnTo>
                      <a:pt x="131943" y="10660"/>
                    </a:lnTo>
                    <a:cubicBezTo>
                      <a:pt x="128238" y="18884"/>
                      <a:pt x="122949" y="26305"/>
                      <a:pt x="116383" y="32489"/>
                    </a:cubicBezTo>
                    <a:cubicBezTo>
                      <a:pt x="114132" y="34221"/>
                      <a:pt x="112297" y="36444"/>
                      <a:pt x="111026" y="38986"/>
                    </a:cubicBezTo>
                    <a:cubicBezTo>
                      <a:pt x="110006" y="42879"/>
                      <a:pt x="110558" y="47011"/>
                      <a:pt x="112565" y="5049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4" name="Freihandform: Form 430">
                <a:extLst>
                  <a:ext uri="{FF2B5EF4-FFF2-40B4-BE49-F238E27FC236}">
                    <a16:creationId xmlns:a16="http://schemas.microsoft.com/office/drawing/2014/main" id="{10F18780-34FD-8119-61DE-EC100B2FD8DD}"/>
                  </a:ext>
                </a:extLst>
              </p:cNvPr>
              <p:cNvSpPr/>
              <p:nvPr/>
            </p:nvSpPr>
            <p:spPr>
              <a:xfrm>
                <a:off x="3576532" y="3145370"/>
                <a:ext cx="272156" cy="209069"/>
              </a:xfrm>
              <a:custGeom>
                <a:avLst/>
                <a:gdLst>
                  <a:gd name="connsiteX0" fmla="*/ 267652 w 272156"/>
                  <a:gd name="connsiteY0" fmla="*/ 110143 h 209069"/>
                  <a:gd name="connsiteX1" fmla="*/ 269704 w 272156"/>
                  <a:gd name="connsiteY1" fmla="*/ 110884 h 209069"/>
                  <a:gd name="connsiteX2" fmla="*/ 272155 w 272156"/>
                  <a:gd name="connsiteY2" fmla="*/ 115500 h 209069"/>
                  <a:gd name="connsiteX3" fmla="*/ 271300 w 272156"/>
                  <a:gd name="connsiteY3" fmla="*/ 120858 h 209069"/>
                  <a:gd name="connsiteX4" fmla="*/ 266570 w 272156"/>
                  <a:gd name="connsiteY4" fmla="*/ 123365 h 209069"/>
                  <a:gd name="connsiteX5" fmla="*/ 265430 w 272156"/>
                  <a:gd name="connsiteY5" fmla="*/ 129806 h 209069"/>
                  <a:gd name="connsiteX6" fmla="*/ 254031 w 272156"/>
                  <a:gd name="connsiteY6" fmla="*/ 128780 h 209069"/>
                  <a:gd name="connsiteX7" fmla="*/ 250440 w 272156"/>
                  <a:gd name="connsiteY7" fmla="*/ 127412 h 209069"/>
                  <a:gd name="connsiteX8" fmla="*/ 248918 w 272156"/>
                  <a:gd name="connsiteY8" fmla="*/ 119005 h 209069"/>
                  <a:gd name="connsiteX9" fmla="*/ 253005 w 272156"/>
                  <a:gd name="connsiteY9" fmla="*/ 116469 h 209069"/>
                  <a:gd name="connsiteX10" fmla="*/ 267652 w 272156"/>
                  <a:gd name="connsiteY10" fmla="*/ 110143 h 209069"/>
                  <a:gd name="connsiteX11" fmla="*/ 261953 w 272156"/>
                  <a:gd name="connsiteY11" fmla="*/ 37930 h 209069"/>
                  <a:gd name="connsiteX12" fmla="*/ 260699 w 272156"/>
                  <a:gd name="connsiteY12" fmla="*/ 37930 h 209069"/>
                  <a:gd name="connsiteX13" fmla="*/ 246963 w 272156"/>
                  <a:gd name="connsiteY13" fmla="*/ 37930 h 209069"/>
                  <a:gd name="connsiteX14" fmla="*/ 233912 w 272156"/>
                  <a:gd name="connsiteY14" fmla="*/ 41065 h 209069"/>
                  <a:gd name="connsiteX15" fmla="*/ 222000 w 272156"/>
                  <a:gd name="connsiteY15" fmla="*/ 36790 h 209069"/>
                  <a:gd name="connsiteX16" fmla="*/ 216300 w 272156"/>
                  <a:gd name="connsiteY16" fmla="*/ 24251 h 209069"/>
                  <a:gd name="connsiteX17" fmla="*/ 205870 w 272156"/>
                  <a:gd name="connsiteY17" fmla="*/ 28982 h 209069"/>
                  <a:gd name="connsiteX18" fmla="*/ 187575 w 272156"/>
                  <a:gd name="connsiteY18" fmla="*/ 31205 h 209069"/>
                  <a:gd name="connsiteX19" fmla="*/ 180850 w 272156"/>
                  <a:gd name="connsiteY19" fmla="*/ 29324 h 209069"/>
                  <a:gd name="connsiteX20" fmla="*/ 173212 w 272156"/>
                  <a:gd name="connsiteY20" fmla="*/ 22713 h 209069"/>
                  <a:gd name="connsiteX21" fmla="*/ 168481 w 272156"/>
                  <a:gd name="connsiteY21" fmla="*/ 22371 h 209069"/>
                  <a:gd name="connsiteX22" fmla="*/ 164036 w 272156"/>
                  <a:gd name="connsiteY22" fmla="*/ 17355 h 209069"/>
                  <a:gd name="connsiteX23" fmla="*/ 163238 w 272156"/>
                  <a:gd name="connsiteY23" fmla="*/ 15645 h 209069"/>
                  <a:gd name="connsiteX24" fmla="*/ 162326 w 272156"/>
                  <a:gd name="connsiteY24" fmla="*/ 16386 h 209069"/>
                  <a:gd name="connsiteX25" fmla="*/ 159818 w 272156"/>
                  <a:gd name="connsiteY25" fmla="*/ 16386 h 209069"/>
                  <a:gd name="connsiteX26" fmla="*/ 33233 w 272156"/>
                  <a:gd name="connsiteY26" fmla="*/ 9775 h 209069"/>
                  <a:gd name="connsiteX27" fmla="*/ 22518 w 272156"/>
                  <a:gd name="connsiteY27" fmla="*/ 29 h 209069"/>
                  <a:gd name="connsiteX28" fmla="*/ 10321 w 272156"/>
                  <a:gd name="connsiteY28" fmla="*/ 7780 h 209069"/>
                  <a:gd name="connsiteX29" fmla="*/ 7984 w 272156"/>
                  <a:gd name="connsiteY29" fmla="*/ 12853 h 209069"/>
                  <a:gd name="connsiteX30" fmla="*/ 1430 w 272156"/>
                  <a:gd name="connsiteY30" fmla="*/ 15816 h 209069"/>
                  <a:gd name="connsiteX31" fmla="*/ 1926 w 272156"/>
                  <a:gd name="connsiteY31" fmla="*/ 23864 h 209069"/>
                  <a:gd name="connsiteX32" fmla="*/ 2342 w 272156"/>
                  <a:gd name="connsiteY32" fmla="*/ 24194 h 209069"/>
                  <a:gd name="connsiteX33" fmla="*/ 10492 w 272156"/>
                  <a:gd name="connsiteY33" fmla="*/ 29096 h 209069"/>
                  <a:gd name="connsiteX34" fmla="*/ 21036 w 272156"/>
                  <a:gd name="connsiteY34" fmla="*/ 55200 h 209069"/>
                  <a:gd name="connsiteX35" fmla="*/ 44176 w 272156"/>
                  <a:gd name="connsiteY35" fmla="*/ 54630 h 209069"/>
                  <a:gd name="connsiteX36" fmla="*/ 56259 w 272156"/>
                  <a:gd name="connsiteY36" fmla="*/ 60329 h 209069"/>
                  <a:gd name="connsiteX37" fmla="*/ 52782 w 272156"/>
                  <a:gd name="connsiteY37" fmla="*/ 70645 h 209069"/>
                  <a:gd name="connsiteX38" fmla="*/ 41953 w 272156"/>
                  <a:gd name="connsiteY38" fmla="*/ 74863 h 209069"/>
                  <a:gd name="connsiteX39" fmla="*/ 46114 w 272156"/>
                  <a:gd name="connsiteY39" fmla="*/ 95837 h 209069"/>
                  <a:gd name="connsiteX40" fmla="*/ 40870 w 272156"/>
                  <a:gd name="connsiteY40" fmla="*/ 101536 h 209069"/>
                  <a:gd name="connsiteX41" fmla="*/ 42466 w 272156"/>
                  <a:gd name="connsiteY41" fmla="*/ 116697 h 209069"/>
                  <a:gd name="connsiteX42" fmla="*/ 34145 w 272156"/>
                  <a:gd name="connsiteY42" fmla="*/ 121029 h 209069"/>
                  <a:gd name="connsiteX43" fmla="*/ 43720 w 272156"/>
                  <a:gd name="connsiteY43" fmla="*/ 133909 h 209069"/>
                  <a:gd name="connsiteX44" fmla="*/ 34544 w 272156"/>
                  <a:gd name="connsiteY44" fmla="*/ 151008 h 209069"/>
                  <a:gd name="connsiteX45" fmla="*/ 42922 w 272156"/>
                  <a:gd name="connsiteY45" fmla="*/ 159899 h 209069"/>
                  <a:gd name="connsiteX46" fmla="*/ 37223 w 272156"/>
                  <a:gd name="connsiteY46" fmla="*/ 166339 h 209069"/>
                  <a:gd name="connsiteX47" fmla="*/ 35513 w 272156"/>
                  <a:gd name="connsiteY47" fmla="*/ 170272 h 209069"/>
                  <a:gd name="connsiteX48" fmla="*/ 33404 w 272156"/>
                  <a:gd name="connsiteY48" fmla="*/ 177624 h 209069"/>
                  <a:gd name="connsiteX49" fmla="*/ 30896 w 272156"/>
                  <a:gd name="connsiteY49" fmla="*/ 187313 h 209069"/>
                  <a:gd name="connsiteX50" fmla="*/ 49420 w 272156"/>
                  <a:gd name="connsiteY50" fmla="*/ 187313 h 209069"/>
                  <a:gd name="connsiteX51" fmla="*/ 53523 w 272156"/>
                  <a:gd name="connsiteY51" fmla="*/ 200365 h 209069"/>
                  <a:gd name="connsiteX52" fmla="*/ 64922 w 272156"/>
                  <a:gd name="connsiteY52" fmla="*/ 208117 h 209069"/>
                  <a:gd name="connsiteX53" fmla="*/ 85725 w 272156"/>
                  <a:gd name="connsiteY53" fmla="*/ 206179 h 209069"/>
                  <a:gd name="connsiteX54" fmla="*/ 103907 w 272156"/>
                  <a:gd name="connsiteY54" fmla="*/ 196034 h 209069"/>
                  <a:gd name="connsiteX55" fmla="*/ 108580 w 272156"/>
                  <a:gd name="connsiteY55" fmla="*/ 196603 h 209069"/>
                  <a:gd name="connsiteX56" fmla="*/ 114280 w 272156"/>
                  <a:gd name="connsiteY56" fmla="*/ 195521 h 209069"/>
                  <a:gd name="connsiteX57" fmla="*/ 137078 w 272156"/>
                  <a:gd name="connsiteY57" fmla="*/ 195008 h 209069"/>
                  <a:gd name="connsiteX58" fmla="*/ 147450 w 272156"/>
                  <a:gd name="connsiteY58" fmla="*/ 192329 h 209069"/>
                  <a:gd name="connsiteX59" fmla="*/ 149844 w 272156"/>
                  <a:gd name="connsiteY59" fmla="*/ 187826 h 209069"/>
                  <a:gd name="connsiteX60" fmla="*/ 159362 w 272156"/>
                  <a:gd name="connsiteY60" fmla="*/ 176427 h 209069"/>
                  <a:gd name="connsiteX61" fmla="*/ 164036 w 272156"/>
                  <a:gd name="connsiteY61" fmla="*/ 173236 h 209069"/>
                  <a:gd name="connsiteX62" fmla="*/ 172072 w 272156"/>
                  <a:gd name="connsiteY62" fmla="*/ 172381 h 209069"/>
                  <a:gd name="connsiteX63" fmla="*/ 181020 w 272156"/>
                  <a:gd name="connsiteY63" fmla="*/ 162008 h 209069"/>
                  <a:gd name="connsiteX64" fmla="*/ 183015 w 272156"/>
                  <a:gd name="connsiteY64" fmla="*/ 155282 h 209069"/>
                  <a:gd name="connsiteX65" fmla="*/ 183015 w 272156"/>
                  <a:gd name="connsiteY65" fmla="*/ 149583 h 209069"/>
                  <a:gd name="connsiteX66" fmla="*/ 187518 w 272156"/>
                  <a:gd name="connsiteY66" fmla="*/ 146904 h 209069"/>
                  <a:gd name="connsiteX67" fmla="*/ 195212 w 272156"/>
                  <a:gd name="connsiteY67" fmla="*/ 135505 h 209069"/>
                  <a:gd name="connsiteX68" fmla="*/ 191051 w 272156"/>
                  <a:gd name="connsiteY68" fmla="*/ 120459 h 209069"/>
                  <a:gd name="connsiteX69" fmla="*/ 203818 w 272156"/>
                  <a:gd name="connsiteY69" fmla="*/ 91505 h 209069"/>
                  <a:gd name="connsiteX70" fmla="*/ 212025 w 272156"/>
                  <a:gd name="connsiteY70" fmla="*/ 85464 h 209069"/>
                  <a:gd name="connsiteX71" fmla="*/ 215217 w 272156"/>
                  <a:gd name="connsiteY71" fmla="*/ 77542 h 209069"/>
                  <a:gd name="connsiteX72" fmla="*/ 220917 w 272156"/>
                  <a:gd name="connsiteY72" fmla="*/ 74293 h 209069"/>
                  <a:gd name="connsiteX73" fmla="*/ 253746 w 272156"/>
                  <a:gd name="connsiteY73" fmla="*/ 62894 h 209069"/>
                  <a:gd name="connsiteX74" fmla="*/ 264575 w 272156"/>
                  <a:gd name="connsiteY74" fmla="*/ 54288 h 209069"/>
                  <a:gd name="connsiteX75" fmla="*/ 262010 w 272156"/>
                  <a:gd name="connsiteY75" fmla="*/ 37930 h 20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72156" h="209069">
                    <a:moveTo>
                      <a:pt x="267652" y="110143"/>
                    </a:moveTo>
                    <a:cubicBezTo>
                      <a:pt x="268376" y="110268"/>
                      <a:pt x="269066" y="110519"/>
                      <a:pt x="269704" y="110884"/>
                    </a:cubicBezTo>
                    <a:cubicBezTo>
                      <a:pt x="271220" y="111932"/>
                      <a:pt x="272132" y="113653"/>
                      <a:pt x="272155" y="115500"/>
                    </a:cubicBezTo>
                    <a:cubicBezTo>
                      <a:pt x="272183" y="117324"/>
                      <a:pt x="271893" y="119136"/>
                      <a:pt x="271300" y="120858"/>
                    </a:cubicBezTo>
                    <a:lnTo>
                      <a:pt x="266570" y="123365"/>
                    </a:lnTo>
                    <a:cubicBezTo>
                      <a:pt x="267236" y="125571"/>
                      <a:pt x="266815" y="127965"/>
                      <a:pt x="265430" y="129806"/>
                    </a:cubicBezTo>
                    <a:cubicBezTo>
                      <a:pt x="261600" y="130000"/>
                      <a:pt x="257764" y="129658"/>
                      <a:pt x="254031" y="128780"/>
                    </a:cubicBezTo>
                    <a:cubicBezTo>
                      <a:pt x="252760" y="128557"/>
                      <a:pt x="251540" y="128090"/>
                      <a:pt x="250440" y="127412"/>
                    </a:cubicBezTo>
                    <a:cubicBezTo>
                      <a:pt x="247699" y="125514"/>
                      <a:pt x="247014" y="121747"/>
                      <a:pt x="248918" y="119005"/>
                    </a:cubicBezTo>
                    <a:cubicBezTo>
                      <a:pt x="249870" y="117632"/>
                      <a:pt x="251352" y="116714"/>
                      <a:pt x="253005" y="116469"/>
                    </a:cubicBezTo>
                    <a:cubicBezTo>
                      <a:pt x="256105" y="111528"/>
                      <a:pt x="261930" y="109014"/>
                      <a:pt x="267652" y="110143"/>
                    </a:cubicBezTo>
                    <a:close/>
                    <a:moveTo>
                      <a:pt x="261953" y="37930"/>
                    </a:moveTo>
                    <a:lnTo>
                      <a:pt x="260699" y="37930"/>
                    </a:lnTo>
                    <a:cubicBezTo>
                      <a:pt x="256122" y="37674"/>
                      <a:pt x="251540" y="37674"/>
                      <a:pt x="246963" y="37930"/>
                    </a:cubicBezTo>
                    <a:cubicBezTo>
                      <a:pt x="242518" y="38500"/>
                      <a:pt x="238357" y="40438"/>
                      <a:pt x="233912" y="41065"/>
                    </a:cubicBezTo>
                    <a:cubicBezTo>
                      <a:pt x="229443" y="42176"/>
                      <a:pt x="224741" y="40489"/>
                      <a:pt x="222000" y="36790"/>
                    </a:cubicBezTo>
                    <a:cubicBezTo>
                      <a:pt x="219549" y="32687"/>
                      <a:pt x="220632" y="25847"/>
                      <a:pt x="216300" y="24251"/>
                    </a:cubicBezTo>
                    <a:cubicBezTo>
                      <a:pt x="211968" y="22656"/>
                      <a:pt x="209176" y="26816"/>
                      <a:pt x="205870" y="28982"/>
                    </a:cubicBezTo>
                    <a:cubicBezTo>
                      <a:pt x="200216" y="31837"/>
                      <a:pt x="193747" y="32624"/>
                      <a:pt x="187575" y="31205"/>
                    </a:cubicBezTo>
                    <a:cubicBezTo>
                      <a:pt x="185209" y="31171"/>
                      <a:pt x="182890" y="30521"/>
                      <a:pt x="180850" y="29324"/>
                    </a:cubicBezTo>
                    <a:cubicBezTo>
                      <a:pt x="178000" y="27386"/>
                      <a:pt x="176518" y="23625"/>
                      <a:pt x="173212" y="22713"/>
                    </a:cubicBezTo>
                    <a:cubicBezTo>
                      <a:pt x="171673" y="22371"/>
                      <a:pt x="169963" y="22713"/>
                      <a:pt x="168481" y="22371"/>
                    </a:cubicBezTo>
                    <a:cubicBezTo>
                      <a:pt x="167000" y="22029"/>
                      <a:pt x="165062" y="19407"/>
                      <a:pt x="164036" y="17355"/>
                    </a:cubicBezTo>
                    <a:cubicBezTo>
                      <a:pt x="164036" y="16785"/>
                      <a:pt x="163523" y="16215"/>
                      <a:pt x="163238" y="15645"/>
                    </a:cubicBezTo>
                    <a:cubicBezTo>
                      <a:pt x="162999" y="15964"/>
                      <a:pt x="162685" y="16221"/>
                      <a:pt x="162326" y="16386"/>
                    </a:cubicBezTo>
                    <a:cubicBezTo>
                      <a:pt x="161511" y="16643"/>
                      <a:pt x="160634" y="16643"/>
                      <a:pt x="159818" y="16386"/>
                    </a:cubicBezTo>
                    <a:cubicBezTo>
                      <a:pt x="117819" y="11365"/>
                      <a:pt x="75529" y="9154"/>
                      <a:pt x="33233" y="9775"/>
                    </a:cubicBezTo>
                    <a:cubicBezTo>
                      <a:pt x="32122" y="4565"/>
                      <a:pt x="27807" y="644"/>
                      <a:pt x="22518" y="29"/>
                    </a:cubicBezTo>
                    <a:cubicBezTo>
                      <a:pt x="17195" y="-336"/>
                      <a:pt x="12253" y="2804"/>
                      <a:pt x="10321" y="7780"/>
                    </a:cubicBezTo>
                    <a:cubicBezTo>
                      <a:pt x="9922" y="9621"/>
                      <a:pt x="9124" y="11354"/>
                      <a:pt x="7984" y="12853"/>
                    </a:cubicBezTo>
                    <a:cubicBezTo>
                      <a:pt x="6161" y="14448"/>
                      <a:pt x="3254" y="14220"/>
                      <a:pt x="1430" y="15816"/>
                    </a:cubicBezTo>
                    <a:cubicBezTo>
                      <a:pt x="-656" y="18176"/>
                      <a:pt x="-434" y="21778"/>
                      <a:pt x="1926" y="23864"/>
                    </a:cubicBezTo>
                    <a:cubicBezTo>
                      <a:pt x="2063" y="23978"/>
                      <a:pt x="2199" y="24092"/>
                      <a:pt x="2342" y="24194"/>
                    </a:cubicBezTo>
                    <a:cubicBezTo>
                      <a:pt x="4878" y="26115"/>
                      <a:pt x="7608" y="27757"/>
                      <a:pt x="10492" y="29096"/>
                    </a:cubicBezTo>
                    <a:cubicBezTo>
                      <a:pt x="18984" y="34397"/>
                      <a:pt x="21207" y="44656"/>
                      <a:pt x="21036" y="55200"/>
                    </a:cubicBezTo>
                    <a:cubicBezTo>
                      <a:pt x="28719" y="54328"/>
                      <a:pt x="36459" y="54140"/>
                      <a:pt x="44176" y="54630"/>
                    </a:cubicBezTo>
                    <a:cubicBezTo>
                      <a:pt x="48907" y="54915"/>
                      <a:pt x="54435" y="56055"/>
                      <a:pt x="56259" y="60329"/>
                    </a:cubicBezTo>
                    <a:cubicBezTo>
                      <a:pt x="57484" y="64159"/>
                      <a:pt x="56076" y="68337"/>
                      <a:pt x="52782" y="70645"/>
                    </a:cubicBezTo>
                    <a:cubicBezTo>
                      <a:pt x="49511" y="72805"/>
                      <a:pt x="45823" y="74242"/>
                      <a:pt x="41953" y="74863"/>
                    </a:cubicBezTo>
                    <a:cubicBezTo>
                      <a:pt x="39047" y="81702"/>
                      <a:pt x="49875" y="89396"/>
                      <a:pt x="46114" y="95837"/>
                    </a:cubicBezTo>
                    <a:cubicBezTo>
                      <a:pt x="44803" y="98117"/>
                      <a:pt x="41953" y="99257"/>
                      <a:pt x="40870" y="101536"/>
                    </a:cubicBezTo>
                    <a:cubicBezTo>
                      <a:pt x="38648" y="106267"/>
                      <a:pt x="44632" y="111909"/>
                      <a:pt x="42466" y="116697"/>
                    </a:cubicBezTo>
                    <a:lnTo>
                      <a:pt x="34145" y="121029"/>
                    </a:lnTo>
                    <a:cubicBezTo>
                      <a:pt x="31979" y="126329"/>
                      <a:pt x="42580" y="128324"/>
                      <a:pt x="43720" y="133909"/>
                    </a:cubicBezTo>
                    <a:cubicBezTo>
                      <a:pt x="45145" y="140692"/>
                      <a:pt x="31808" y="144795"/>
                      <a:pt x="34544" y="151008"/>
                    </a:cubicBezTo>
                    <a:cubicBezTo>
                      <a:pt x="36254" y="154883"/>
                      <a:pt x="43264" y="155681"/>
                      <a:pt x="42922" y="159899"/>
                    </a:cubicBezTo>
                    <a:cubicBezTo>
                      <a:pt x="42922" y="162920"/>
                      <a:pt x="38818" y="163946"/>
                      <a:pt x="37223" y="166339"/>
                    </a:cubicBezTo>
                    <a:cubicBezTo>
                      <a:pt x="36402" y="167525"/>
                      <a:pt x="35820" y="168864"/>
                      <a:pt x="35513" y="170272"/>
                    </a:cubicBezTo>
                    <a:cubicBezTo>
                      <a:pt x="34829" y="172723"/>
                      <a:pt x="34145" y="175174"/>
                      <a:pt x="33404" y="177624"/>
                    </a:cubicBezTo>
                    <a:cubicBezTo>
                      <a:pt x="32663" y="180075"/>
                      <a:pt x="31637" y="184065"/>
                      <a:pt x="30896" y="187313"/>
                    </a:cubicBezTo>
                    <a:cubicBezTo>
                      <a:pt x="37023" y="186202"/>
                      <a:pt x="43293" y="186202"/>
                      <a:pt x="49420" y="187313"/>
                    </a:cubicBezTo>
                    <a:cubicBezTo>
                      <a:pt x="49454" y="191976"/>
                      <a:pt x="50879" y="196524"/>
                      <a:pt x="53523" y="200365"/>
                    </a:cubicBezTo>
                    <a:cubicBezTo>
                      <a:pt x="56236" y="204269"/>
                      <a:pt x="60294" y="207028"/>
                      <a:pt x="64922" y="208117"/>
                    </a:cubicBezTo>
                    <a:cubicBezTo>
                      <a:pt x="71876" y="209872"/>
                      <a:pt x="79216" y="209188"/>
                      <a:pt x="85725" y="206179"/>
                    </a:cubicBezTo>
                    <a:cubicBezTo>
                      <a:pt x="91938" y="202759"/>
                      <a:pt x="96839" y="195635"/>
                      <a:pt x="103907" y="196034"/>
                    </a:cubicBezTo>
                    <a:cubicBezTo>
                      <a:pt x="105502" y="196034"/>
                      <a:pt x="107041" y="196547"/>
                      <a:pt x="108580" y="196603"/>
                    </a:cubicBezTo>
                    <a:cubicBezTo>
                      <a:pt x="110518" y="196461"/>
                      <a:pt x="112427" y="196096"/>
                      <a:pt x="114280" y="195521"/>
                    </a:cubicBezTo>
                    <a:cubicBezTo>
                      <a:pt x="121814" y="194227"/>
                      <a:pt x="129497" y="194050"/>
                      <a:pt x="137078" y="195008"/>
                    </a:cubicBezTo>
                    <a:cubicBezTo>
                      <a:pt x="140765" y="195760"/>
                      <a:pt x="144589" y="194774"/>
                      <a:pt x="147450" y="192329"/>
                    </a:cubicBezTo>
                    <a:cubicBezTo>
                      <a:pt x="148459" y="190950"/>
                      <a:pt x="149263" y="189434"/>
                      <a:pt x="149844" y="187826"/>
                    </a:cubicBezTo>
                    <a:cubicBezTo>
                      <a:pt x="152227" y="183426"/>
                      <a:pt x="155458" y="179551"/>
                      <a:pt x="159362" y="176427"/>
                    </a:cubicBezTo>
                    <a:cubicBezTo>
                      <a:pt x="160673" y="175042"/>
                      <a:pt x="162269" y="173954"/>
                      <a:pt x="164036" y="173236"/>
                    </a:cubicBezTo>
                    <a:cubicBezTo>
                      <a:pt x="166601" y="172381"/>
                      <a:pt x="169735" y="173236"/>
                      <a:pt x="172072" y="172381"/>
                    </a:cubicBezTo>
                    <a:cubicBezTo>
                      <a:pt x="176632" y="171184"/>
                      <a:pt x="179139" y="166339"/>
                      <a:pt x="181020" y="162008"/>
                    </a:cubicBezTo>
                    <a:cubicBezTo>
                      <a:pt x="182098" y="159910"/>
                      <a:pt x="182770" y="157631"/>
                      <a:pt x="183015" y="155282"/>
                    </a:cubicBezTo>
                    <a:cubicBezTo>
                      <a:pt x="182833" y="153384"/>
                      <a:pt x="182833" y="151481"/>
                      <a:pt x="183015" y="149583"/>
                    </a:cubicBezTo>
                    <a:cubicBezTo>
                      <a:pt x="183528" y="147588"/>
                      <a:pt x="185808" y="145878"/>
                      <a:pt x="187518" y="146904"/>
                    </a:cubicBezTo>
                    <a:cubicBezTo>
                      <a:pt x="192647" y="146505"/>
                      <a:pt x="195554" y="140464"/>
                      <a:pt x="195212" y="135505"/>
                    </a:cubicBezTo>
                    <a:cubicBezTo>
                      <a:pt x="194175" y="130398"/>
                      <a:pt x="192784" y="125372"/>
                      <a:pt x="191051" y="120459"/>
                    </a:cubicBezTo>
                    <a:cubicBezTo>
                      <a:pt x="188869" y="109094"/>
                      <a:pt x="193952" y="97558"/>
                      <a:pt x="203818" y="91505"/>
                    </a:cubicBezTo>
                    <a:cubicBezTo>
                      <a:pt x="207021" y="90217"/>
                      <a:pt x="209843" y="88137"/>
                      <a:pt x="212025" y="85464"/>
                    </a:cubicBezTo>
                    <a:cubicBezTo>
                      <a:pt x="213450" y="83013"/>
                      <a:pt x="213450" y="79764"/>
                      <a:pt x="215217" y="77542"/>
                    </a:cubicBezTo>
                    <a:cubicBezTo>
                      <a:pt x="216796" y="75974"/>
                      <a:pt x="218762" y="74851"/>
                      <a:pt x="220917" y="74293"/>
                    </a:cubicBezTo>
                    <a:lnTo>
                      <a:pt x="253746" y="62894"/>
                    </a:lnTo>
                    <a:cubicBezTo>
                      <a:pt x="254561" y="57645"/>
                      <a:pt x="259274" y="53900"/>
                      <a:pt x="264575" y="54288"/>
                    </a:cubicBezTo>
                    <a:cubicBezTo>
                      <a:pt x="267083" y="49272"/>
                      <a:pt x="264119" y="43630"/>
                      <a:pt x="262010" y="3793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5" name="Freihandform: Form 431">
                <a:extLst>
                  <a:ext uri="{FF2B5EF4-FFF2-40B4-BE49-F238E27FC236}">
                    <a16:creationId xmlns:a16="http://schemas.microsoft.com/office/drawing/2014/main" id="{699D770A-E16D-9E4F-3884-A7D4642D11EA}"/>
                  </a:ext>
                </a:extLst>
              </p:cNvPr>
              <p:cNvSpPr/>
              <p:nvPr/>
            </p:nvSpPr>
            <p:spPr>
              <a:xfrm>
                <a:off x="3563691" y="3199962"/>
                <a:ext cx="69822" cy="139959"/>
              </a:xfrm>
              <a:custGeom>
                <a:avLst/>
                <a:gdLst>
                  <a:gd name="connsiteX0" fmla="*/ 45846 w 69822"/>
                  <a:gd name="connsiteY0" fmla="*/ 123317 h 139959"/>
                  <a:gd name="connsiteX1" fmla="*/ 43338 w 69822"/>
                  <a:gd name="connsiteY1" fmla="*/ 133006 h 139959"/>
                  <a:gd name="connsiteX2" fmla="*/ 29545 w 69822"/>
                  <a:gd name="connsiteY2" fmla="*/ 137395 h 139959"/>
                  <a:gd name="connsiteX3" fmla="*/ 21509 w 69822"/>
                  <a:gd name="connsiteY3" fmla="*/ 139960 h 139959"/>
                  <a:gd name="connsiteX4" fmla="*/ 14727 w 69822"/>
                  <a:gd name="connsiteY4" fmla="*/ 124742 h 139959"/>
                  <a:gd name="connsiteX5" fmla="*/ 16152 w 69822"/>
                  <a:gd name="connsiteY5" fmla="*/ 103255 h 139959"/>
                  <a:gd name="connsiteX6" fmla="*/ 14499 w 69822"/>
                  <a:gd name="connsiteY6" fmla="*/ 94079 h 139959"/>
                  <a:gd name="connsiteX7" fmla="*/ 8799 w 69822"/>
                  <a:gd name="connsiteY7" fmla="*/ 89918 h 139959"/>
                  <a:gd name="connsiteX8" fmla="*/ 136 w 69822"/>
                  <a:gd name="connsiteY8" fmla="*/ 71566 h 139959"/>
                  <a:gd name="connsiteX9" fmla="*/ 9369 w 69822"/>
                  <a:gd name="connsiteY9" fmla="*/ 61877 h 139959"/>
                  <a:gd name="connsiteX10" fmla="*/ 12960 w 69822"/>
                  <a:gd name="connsiteY10" fmla="*/ 54980 h 139959"/>
                  <a:gd name="connsiteX11" fmla="*/ 16893 w 69822"/>
                  <a:gd name="connsiteY11" fmla="*/ 53841 h 139959"/>
                  <a:gd name="connsiteX12" fmla="*/ 18260 w 69822"/>
                  <a:gd name="connsiteY12" fmla="*/ 49965 h 139959"/>
                  <a:gd name="connsiteX13" fmla="*/ 23219 w 69822"/>
                  <a:gd name="connsiteY13" fmla="*/ 28079 h 139959"/>
                  <a:gd name="connsiteX14" fmla="*/ 28177 w 69822"/>
                  <a:gd name="connsiteY14" fmla="*/ 25343 h 139959"/>
                  <a:gd name="connsiteX15" fmla="*/ 33079 w 69822"/>
                  <a:gd name="connsiteY15" fmla="*/ 13944 h 139959"/>
                  <a:gd name="connsiteX16" fmla="*/ 34162 w 69822"/>
                  <a:gd name="connsiteY16" fmla="*/ 835 h 139959"/>
                  <a:gd name="connsiteX17" fmla="*/ 57302 w 69822"/>
                  <a:gd name="connsiteY17" fmla="*/ 265 h 139959"/>
                  <a:gd name="connsiteX18" fmla="*/ 69385 w 69822"/>
                  <a:gd name="connsiteY18" fmla="*/ 5965 h 139959"/>
                  <a:gd name="connsiteX19" fmla="*/ 65908 w 69822"/>
                  <a:gd name="connsiteY19" fmla="*/ 16281 h 139959"/>
                  <a:gd name="connsiteX20" fmla="*/ 55079 w 69822"/>
                  <a:gd name="connsiteY20" fmla="*/ 20499 h 139959"/>
                  <a:gd name="connsiteX21" fmla="*/ 59240 w 69822"/>
                  <a:gd name="connsiteY21" fmla="*/ 41473 h 139959"/>
                  <a:gd name="connsiteX22" fmla="*/ 53996 w 69822"/>
                  <a:gd name="connsiteY22" fmla="*/ 47172 h 139959"/>
                  <a:gd name="connsiteX23" fmla="*/ 55592 w 69822"/>
                  <a:gd name="connsiteY23" fmla="*/ 62333 h 139959"/>
                  <a:gd name="connsiteX24" fmla="*/ 47271 w 69822"/>
                  <a:gd name="connsiteY24" fmla="*/ 66664 h 139959"/>
                  <a:gd name="connsiteX25" fmla="*/ 56846 w 69822"/>
                  <a:gd name="connsiteY25" fmla="*/ 79545 h 139959"/>
                  <a:gd name="connsiteX26" fmla="*/ 47670 w 69822"/>
                  <a:gd name="connsiteY26" fmla="*/ 96643 h 139959"/>
                  <a:gd name="connsiteX27" fmla="*/ 56048 w 69822"/>
                  <a:gd name="connsiteY27" fmla="*/ 105535 h 139959"/>
                  <a:gd name="connsiteX28" fmla="*/ 50348 w 69822"/>
                  <a:gd name="connsiteY28" fmla="*/ 111975 h 139959"/>
                  <a:gd name="connsiteX29" fmla="*/ 48639 w 69822"/>
                  <a:gd name="connsiteY29" fmla="*/ 115908 h 139959"/>
                  <a:gd name="connsiteX30" fmla="*/ 45846 w 69822"/>
                  <a:gd name="connsiteY30" fmla="*/ 123317 h 13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822" h="139959">
                    <a:moveTo>
                      <a:pt x="45846" y="123317"/>
                    </a:moveTo>
                    <a:cubicBezTo>
                      <a:pt x="44991" y="126509"/>
                      <a:pt x="44079" y="129757"/>
                      <a:pt x="43338" y="133006"/>
                    </a:cubicBezTo>
                    <a:cubicBezTo>
                      <a:pt x="38562" y="133827"/>
                      <a:pt x="33917" y="135303"/>
                      <a:pt x="29545" y="137395"/>
                    </a:cubicBezTo>
                    <a:cubicBezTo>
                      <a:pt x="27175" y="139013"/>
                      <a:pt x="24382" y="139908"/>
                      <a:pt x="21509" y="139960"/>
                    </a:cubicBezTo>
                    <a:cubicBezTo>
                      <a:pt x="15468" y="138991"/>
                      <a:pt x="14328" y="130840"/>
                      <a:pt x="14727" y="124742"/>
                    </a:cubicBezTo>
                    <a:cubicBezTo>
                      <a:pt x="15183" y="117561"/>
                      <a:pt x="15696" y="110436"/>
                      <a:pt x="16152" y="103255"/>
                    </a:cubicBezTo>
                    <a:cubicBezTo>
                      <a:pt x="16699" y="100097"/>
                      <a:pt x="16112" y="96849"/>
                      <a:pt x="14499" y="94079"/>
                    </a:cubicBezTo>
                    <a:cubicBezTo>
                      <a:pt x="12869" y="92358"/>
                      <a:pt x="10937" y="90950"/>
                      <a:pt x="8799" y="89918"/>
                    </a:cubicBezTo>
                    <a:cubicBezTo>
                      <a:pt x="2632" y="85968"/>
                      <a:pt x="-736" y="78838"/>
                      <a:pt x="136" y="71566"/>
                    </a:cubicBezTo>
                    <a:cubicBezTo>
                      <a:pt x="4593" y="70016"/>
                      <a:pt x="8036" y="66408"/>
                      <a:pt x="9369" y="61877"/>
                    </a:cubicBezTo>
                    <a:cubicBezTo>
                      <a:pt x="10110" y="59255"/>
                      <a:pt x="10509" y="56177"/>
                      <a:pt x="12960" y="54980"/>
                    </a:cubicBezTo>
                    <a:cubicBezTo>
                      <a:pt x="14214" y="54467"/>
                      <a:pt x="15810" y="54638"/>
                      <a:pt x="16893" y="53841"/>
                    </a:cubicBezTo>
                    <a:cubicBezTo>
                      <a:pt x="17901" y="52815"/>
                      <a:pt x="18403" y="51395"/>
                      <a:pt x="18260" y="49965"/>
                    </a:cubicBezTo>
                    <a:cubicBezTo>
                      <a:pt x="18260" y="42157"/>
                      <a:pt x="16721" y="32468"/>
                      <a:pt x="23219" y="28079"/>
                    </a:cubicBezTo>
                    <a:cubicBezTo>
                      <a:pt x="24815" y="27053"/>
                      <a:pt x="26639" y="26483"/>
                      <a:pt x="28177" y="25343"/>
                    </a:cubicBezTo>
                    <a:cubicBezTo>
                      <a:pt x="31238" y="22334"/>
                      <a:pt x="32999" y="18242"/>
                      <a:pt x="33079" y="13944"/>
                    </a:cubicBezTo>
                    <a:cubicBezTo>
                      <a:pt x="33735" y="9601"/>
                      <a:pt x="34094" y="5224"/>
                      <a:pt x="34162" y="835"/>
                    </a:cubicBezTo>
                    <a:cubicBezTo>
                      <a:pt x="41845" y="-37"/>
                      <a:pt x="49585" y="-225"/>
                      <a:pt x="57302" y="265"/>
                    </a:cubicBezTo>
                    <a:cubicBezTo>
                      <a:pt x="62032" y="550"/>
                      <a:pt x="67561" y="1690"/>
                      <a:pt x="69385" y="5965"/>
                    </a:cubicBezTo>
                    <a:cubicBezTo>
                      <a:pt x="70610" y="9795"/>
                      <a:pt x="69202" y="13973"/>
                      <a:pt x="65908" y="16281"/>
                    </a:cubicBezTo>
                    <a:cubicBezTo>
                      <a:pt x="62637" y="18441"/>
                      <a:pt x="58949" y="19877"/>
                      <a:pt x="55079" y="20499"/>
                    </a:cubicBezTo>
                    <a:cubicBezTo>
                      <a:pt x="52172" y="27338"/>
                      <a:pt x="63001" y="35032"/>
                      <a:pt x="59240" y="41473"/>
                    </a:cubicBezTo>
                    <a:cubicBezTo>
                      <a:pt x="57929" y="43752"/>
                      <a:pt x="55079" y="44892"/>
                      <a:pt x="53996" y="47172"/>
                    </a:cubicBezTo>
                    <a:cubicBezTo>
                      <a:pt x="51773" y="51903"/>
                      <a:pt x="57758" y="57545"/>
                      <a:pt x="55592" y="62333"/>
                    </a:cubicBezTo>
                    <a:lnTo>
                      <a:pt x="47271" y="66664"/>
                    </a:lnTo>
                    <a:cubicBezTo>
                      <a:pt x="45105" y="71965"/>
                      <a:pt x="55706" y="73960"/>
                      <a:pt x="56846" y="79545"/>
                    </a:cubicBezTo>
                    <a:cubicBezTo>
                      <a:pt x="58271" y="86327"/>
                      <a:pt x="44934" y="90431"/>
                      <a:pt x="47670" y="96643"/>
                    </a:cubicBezTo>
                    <a:cubicBezTo>
                      <a:pt x="49380" y="100519"/>
                      <a:pt x="56390" y="101317"/>
                      <a:pt x="56048" y="105535"/>
                    </a:cubicBezTo>
                    <a:cubicBezTo>
                      <a:pt x="56048" y="108555"/>
                      <a:pt x="51944" y="109581"/>
                      <a:pt x="50348" y="111975"/>
                    </a:cubicBezTo>
                    <a:cubicBezTo>
                      <a:pt x="49528" y="113161"/>
                      <a:pt x="48947" y="114500"/>
                      <a:pt x="48639" y="115908"/>
                    </a:cubicBezTo>
                    <a:cubicBezTo>
                      <a:pt x="47271" y="118416"/>
                      <a:pt x="46587" y="120866"/>
                      <a:pt x="45846" y="12331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6" name="Freihandform: Form 432">
                <a:extLst>
                  <a:ext uri="{FF2B5EF4-FFF2-40B4-BE49-F238E27FC236}">
                    <a16:creationId xmlns:a16="http://schemas.microsoft.com/office/drawing/2014/main" id="{BBC717D6-B017-8A9A-1E9C-2ACE4D12A23F}"/>
                  </a:ext>
                </a:extLst>
              </p:cNvPr>
              <p:cNvSpPr/>
              <p:nvPr/>
            </p:nvSpPr>
            <p:spPr>
              <a:xfrm>
                <a:off x="3583021" y="2668671"/>
                <a:ext cx="233811" cy="291380"/>
              </a:xfrm>
              <a:custGeom>
                <a:avLst/>
                <a:gdLst>
                  <a:gd name="connsiteX0" fmla="*/ 217277 w 233811"/>
                  <a:gd name="connsiteY0" fmla="*/ 204520 h 291380"/>
                  <a:gd name="connsiteX1" fmla="*/ 221723 w 233811"/>
                  <a:gd name="connsiteY1" fmla="*/ 205375 h 291380"/>
                  <a:gd name="connsiteX2" fmla="*/ 224572 w 233811"/>
                  <a:gd name="connsiteY2" fmla="*/ 208966 h 291380"/>
                  <a:gd name="connsiteX3" fmla="*/ 233235 w 233811"/>
                  <a:gd name="connsiteY3" fmla="*/ 211987 h 291380"/>
                  <a:gd name="connsiteX4" fmla="*/ 231697 w 233811"/>
                  <a:gd name="connsiteY4" fmla="*/ 218142 h 291380"/>
                  <a:gd name="connsiteX5" fmla="*/ 225028 w 233811"/>
                  <a:gd name="connsiteY5" fmla="*/ 220251 h 291380"/>
                  <a:gd name="connsiteX6" fmla="*/ 209811 w 233811"/>
                  <a:gd name="connsiteY6" fmla="*/ 222303 h 291380"/>
                  <a:gd name="connsiteX7" fmla="*/ 210495 w 233811"/>
                  <a:gd name="connsiteY7" fmla="*/ 230510 h 291380"/>
                  <a:gd name="connsiteX8" fmla="*/ 204168 w 233811"/>
                  <a:gd name="connsiteY8" fmla="*/ 234386 h 291380"/>
                  <a:gd name="connsiteX9" fmla="*/ 204624 w 233811"/>
                  <a:gd name="connsiteY9" fmla="*/ 240085 h 291380"/>
                  <a:gd name="connsiteX10" fmla="*/ 197671 w 233811"/>
                  <a:gd name="connsiteY10" fmla="*/ 245272 h 291380"/>
                  <a:gd name="connsiteX11" fmla="*/ 216935 w 233811"/>
                  <a:gd name="connsiteY11" fmla="*/ 249033 h 291380"/>
                  <a:gd name="connsiteX12" fmla="*/ 214655 w 233811"/>
                  <a:gd name="connsiteY12" fmla="*/ 256101 h 291380"/>
                  <a:gd name="connsiteX13" fmla="*/ 205878 w 233811"/>
                  <a:gd name="connsiteY13" fmla="*/ 254790 h 291380"/>
                  <a:gd name="connsiteX14" fmla="*/ 189635 w 233811"/>
                  <a:gd name="connsiteY14" fmla="*/ 264194 h 291380"/>
                  <a:gd name="connsiteX15" fmla="*/ 169572 w 233811"/>
                  <a:gd name="connsiteY15" fmla="*/ 267215 h 291380"/>
                  <a:gd name="connsiteX16" fmla="*/ 166324 w 233811"/>
                  <a:gd name="connsiteY16" fmla="*/ 270349 h 291380"/>
                  <a:gd name="connsiteX17" fmla="*/ 146148 w 233811"/>
                  <a:gd name="connsiteY17" fmla="*/ 263966 h 291380"/>
                  <a:gd name="connsiteX18" fmla="*/ 140106 w 233811"/>
                  <a:gd name="connsiteY18" fmla="*/ 268525 h 291380"/>
                  <a:gd name="connsiteX19" fmla="*/ 124319 w 233811"/>
                  <a:gd name="connsiteY19" fmla="*/ 266588 h 291380"/>
                  <a:gd name="connsiteX20" fmla="*/ 112920 w 233811"/>
                  <a:gd name="connsiteY20" fmla="*/ 266987 h 291380"/>
                  <a:gd name="connsiteX21" fmla="*/ 105396 w 233811"/>
                  <a:gd name="connsiteY21" fmla="*/ 270406 h 291380"/>
                  <a:gd name="connsiteX22" fmla="*/ 103287 w 233811"/>
                  <a:gd name="connsiteY22" fmla="*/ 274852 h 291380"/>
                  <a:gd name="connsiteX23" fmla="*/ 98557 w 233811"/>
                  <a:gd name="connsiteY23" fmla="*/ 278272 h 291380"/>
                  <a:gd name="connsiteX24" fmla="*/ 70515 w 233811"/>
                  <a:gd name="connsiteY24" fmla="*/ 291380 h 291380"/>
                  <a:gd name="connsiteX25" fmla="*/ 69832 w 233811"/>
                  <a:gd name="connsiteY25" fmla="*/ 281235 h 291380"/>
                  <a:gd name="connsiteX26" fmla="*/ 80490 w 233811"/>
                  <a:gd name="connsiteY26" fmla="*/ 272242 h 291380"/>
                  <a:gd name="connsiteX27" fmla="*/ 80490 w 233811"/>
                  <a:gd name="connsiteY27" fmla="*/ 270577 h 291380"/>
                  <a:gd name="connsiteX28" fmla="*/ 86645 w 233811"/>
                  <a:gd name="connsiteY28" fmla="*/ 270577 h 291380"/>
                  <a:gd name="connsiteX29" fmla="*/ 93997 w 233811"/>
                  <a:gd name="connsiteY29" fmla="*/ 259634 h 291380"/>
                  <a:gd name="connsiteX30" fmla="*/ 98044 w 233811"/>
                  <a:gd name="connsiteY30" fmla="*/ 255702 h 291380"/>
                  <a:gd name="connsiteX31" fmla="*/ 102376 w 233811"/>
                  <a:gd name="connsiteY31" fmla="*/ 255702 h 291380"/>
                  <a:gd name="connsiteX32" fmla="*/ 118562 w 233811"/>
                  <a:gd name="connsiteY32" fmla="*/ 255702 h 291380"/>
                  <a:gd name="connsiteX33" fmla="*/ 128650 w 233811"/>
                  <a:gd name="connsiteY33" fmla="*/ 244588 h 291380"/>
                  <a:gd name="connsiteX34" fmla="*/ 126712 w 233811"/>
                  <a:gd name="connsiteY34" fmla="*/ 240256 h 291380"/>
                  <a:gd name="connsiteX35" fmla="*/ 109956 w 233811"/>
                  <a:gd name="connsiteY35" fmla="*/ 245443 h 291380"/>
                  <a:gd name="connsiteX36" fmla="*/ 107505 w 233811"/>
                  <a:gd name="connsiteY36" fmla="*/ 239743 h 291380"/>
                  <a:gd name="connsiteX37" fmla="*/ 100438 w 233811"/>
                  <a:gd name="connsiteY37" fmla="*/ 239002 h 291380"/>
                  <a:gd name="connsiteX38" fmla="*/ 88241 w 233811"/>
                  <a:gd name="connsiteY38" fmla="*/ 239914 h 291380"/>
                  <a:gd name="connsiteX39" fmla="*/ 75645 w 233811"/>
                  <a:gd name="connsiteY39" fmla="*/ 238489 h 291380"/>
                  <a:gd name="connsiteX40" fmla="*/ 71684 w 233811"/>
                  <a:gd name="connsiteY40" fmla="*/ 227837 h 291380"/>
                  <a:gd name="connsiteX41" fmla="*/ 71712 w 233811"/>
                  <a:gd name="connsiteY41" fmla="*/ 227774 h 291380"/>
                  <a:gd name="connsiteX42" fmla="*/ 85676 w 233811"/>
                  <a:gd name="connsiteY42" fmla="*/ 222417 h 291380"/>
                  <a:gd name="connsiteX43" fmla="*/ 93427 w 233811"/>
                  <a:gd name="connsiteY43" fmla="*/ 219909 h 291380"/>
                  <a:gd name="connsiteX44" fmla="*/ 101179 w 233811"/>
                  <a:gd name="connsiteY44" fmla="*/ 213469 h 291380"/>
                  <a:gd name="connsiteX45" fmla="*/ 91034 w 233811"/>
                  <a:gd name="connsiteY45" fmla="*/ 210163 h 291380"/>
                  <a:gd name="connsiteX46" fmla="*/ 85334 w 233811"/>
                  <a:gd name="connsiteY46" fmla="*/ 200075 h 291380"/>
                  <a:gd name="connsiteX47" fmla="*/ 90692 w 233811"/>
                  <a:gd name="connsiteY47" fmla="*/ 188676 h 291380"/>
                  <a:gd name="connsiteX48" fmla="*/ 95650 w 233811"/>
                  <a:gd name="connsiteY48" fmla="*/ 188106 h 291380"/>
                  <a:gd name="connsiteX49" fmla="*/ 100837 w 233811"/>
                  <a:gd name="connsiteY49" fmla="*/ 185313 h 291380"/>
                  <a:gd name="connsiteX50" fmla="*/ 103117 w 233811"/>
                  <a:gd name="connsiteY50" fmla="*/ 192324 h 291380"/>
                  <a:gd name="connsiteX51" fmla="*/ 118049 w 233811"/>
                  <a:gd name="connsiteY51" fmla="*/ 189645 h 291380"/>
                  <a:gd name="connsiteX52" fmla="*/ 120044 w 233811"/>
                  <a:gd name="connsiteY52" fmla="*/ 188904 h 291380"/>
                  <a:gd name="connsiteX53" fmla="*/ 120842 w 233811"/>
                  <a:gd name="connsiteY53" fmla="*/ 186681 h 291380"/>
                  <a:gd name="connsiteX54" fmla="*/ 125458 w 233811"/>
                  <a:gd name="connsiteY54" fmla="*/ 154935 h 291380"/>
                  <a:gd name="connsiteX55" fmla="*/ 110640 w 233811"/>
                  <a:gd name="connsiteY55" fmla="*/ 149919 h 291380"/>
                  <a:gd name="connsiteX56" fmla="*/ 115370 w 233811"/>
                  <a:gd name="connsiteY56" fmla="*/ 139774 h 291380"/>
                  <a:gd name="connsiteX57" fmla="*/ 118163 w 233811"/>
                  <a:gd name="connsiteY57" fmla="*/ 129344 h 291380"/>
                  <a:gd name="connsiteX58" fmla="*/ 103743 w 233811"/>
                  <a:gd name="connsiteY58" fmla="*/ 125754 h 291380"/>
                  <a:gd name="connsiteX59" fmla="*/ 99241 w 233811"/>
                  <a:gd name="connsiteY59" fmla="*/ 134303 h 291380"/>
                  <a:gd name="connsiteX60" fmla="*/ 88868 w 233811"/>
                  <a:gd name="connsiteY60" fmla="*/ 135671 h 291380"/>
                  <a:gd name="connsiteX61" fmla="*/ 78780 w 233811"/>
                  <a:gd name="connsiteY61" fmla="*/ 133277 h 291380"/>
                  <a:gd name="connsiteX62" fmla="*/ 77156 w 233811"/>
                  <a:gd name="connsiteY62" fmla="*/ 124973 h 291380"/>
                  <a:gd name="connsiteX63" fmla="*/ 77811 w 233811"/>
                  <a:gd name="connsiteY63" fmla="*/ 124158 h 291380"/>
                  <a:gd name="connsiteX64" fmla="*/ 86702 w 233811"/>
                  <a:gd name="connsiteY64" fmla="*/ 117432 h 291380"/>
                  <a:gd name="connsiteX65" fmla="*/ 86189 w 233811"/>
                  <a:gd name="connsiteY65" fmla="*/ 103982 h 291380"/>
                  <a:gd name="connsiteX66" fmla="*/ 86588 w 233811"/>
                  <a:gd name="connsiteY66" fmla="*/ 92583 h 291380"/>
                  <a:gd name="connsiteX67" fmla="*/ 78267 w 233811"/>
                  <a:gd name="connsiteY67" fmla="*/ 95318 h 291380"/>
                  <a:gd name="connsiteX68" fmla="*/ 75075 w 233811"/>
                  <a:gd name="connsiteY68" fmla="*/ 104837 h 291380"/>
                  <a:gd name="connsiteX69" fmla="*/ 67267 w 233811"/>
                  <a:gd name="connsiteY69" fmla="*/ 109282 h 291380"/>
                  <a:gd name="connsiteX70" fmla="*/ 64189 w 233811"/>
                  <a:gd name="connsiteY70" fmla="*/ 94008 h 291380"/>
                  <a:gd name="connsiteX71" fmla="*/ 54158 w 233811"/>
                  <a:gd name="connsiteY71" fmla="*/ 85116 h 291380"/>
                  <a:gd name="connsiteX72" fmla="*/ 51479 w 233811"/>
                  <a:gd name="connsiteY72" fmla="*/ 73717 h 291380"/>
                  <a:gd name="connsiteX73" fmla="*/ 59345 w 233811"/>
                  <a:gd name="connsiteY73" fmla="*/ 56049 h 291380"/>
                  <a:gd name="connsiteX74" fmla="*/ 63277 w 233811"/>
                  <a:gd name="connsiteY74" fmla="*/ 46930 h 291380"/>
                  <a:gd name="connsiteX75" fmla="*/ 65272 w 233811"/>
                  <a:gd name="connsiteY75" fmla="*/ 42370 h 291380"/>
                  <a:gd name="connsiteX76" fmla="*/ 74391 w 233811"/>
                  <a:gd name="connsiteY76" fmla="*/ 21111 h 291380"/>
                  <a:gd name="connsiteX77" fmla="*/ 80375 w 233811"/>
                  <a:gd name="connsiteY77" fmla="*/ 11080 h 291380"/>
                  <a:gd name="connsiteX78" fmla="*/ 91148 w 233811"/>
                  <a:gd name="connsiteY78" fmla="*/ 9427 h 291380"/>
                  <a:gd name="connsiteX79" fmla="*/ 93370 w 233811"/>
                  <a:gd name="connsiteY79" fmla="*/ 11194 h 291380"/>
                  <a:gd name="connsiteX80" fmla="*/ 108474 w 233811"/>
                  <a:gd name="connsiteY80" fmla="*/ 5837 h 291380"/>
                  <a:gd name="connsiteX81" fmla="*/ 118163 w 233811"/>
                  <a:gd name="connsiteY81" fmla="*/ 479 h 291380"/>
                  <a:gd name="connsiteX82" fmla="*/ 114858 w 233811"/>
                  <a:gd name="connsiteY82" fmla="*/ 10909 h 291380"/>
                  <a:gd name="connsiteX83" fmla="*/ 111495 w 233811"/>
                  <a:gd name="connsiteY83" fmla="*/ 21396 h 291380"/>
                  <a:gd name="connsiteX84" fmla="*/ 99070 w 233811"/>
                  <a:gd name="connsiteY84" fmla="*/ 27210 h 291380"/>
                  <a:gd name="connsiteX85" fmla="*/ 95308 w 233811"/>
                  <a:gd name="connsiteY85" fmla="*/ 39464 h 291380"/>
                  <a:gd name="connsiteX86" fmla="*/ 106844 w 233811"/>
                  <a:gd name="connsiteY86" fmla="*/ 42177 h 291380"/>
                  <a:gd name="connsiteX87" fmla="*/ 110070 w 233811"/>
                  <a:gd name="connsiteY87" fmla="*/ 38495 h 291380"/>
                  <a:gd name="connsiteX88" fmla="*/ 152018 w 233811"/>
                  <a:gd name="connsiteY88" fmla="*/ 40433 h 291380"/>
                  <a:gd name="connsiteX89" fmla="*/ 141132 w 233811"/>
                  <a:gd name="connsiteY89" fmla="*/ 51433 h 291380"/>
                  <a:gd name="connsiteX90" fmla="*/ 141075 w 233811"/>
                  <a:gd name="connsiteY90" fmla="*/ 51433 h 291380"/>
                  <a:gd name="connsiteX91" fmla="*/ 139137 w 233811"/>
                  <a:gd name="connsiteY91" fmla="*/ 57132 h 291380"/>
                  <a:gd name="connsiteX92" fmla="*/ 132982 w 233811"/>
                  <a:gd name="connsiteY92" fmla="*/ 59697 h 291380"/>
                  <a:gd name="connsiteX93" fmla="*/ 128194 w 233811"/>
                  <a:gd name="connsiteY93" fmla="*/ 68303 h 291380"/>
                  <a:gd name="connsiteX94" fmla="*/ 122894 w 233811"/>
                  <a:gd name="connsiteY94" fmla="*/ 87909 h 291380"/>
                  <a:gd name="connsiteX95" fmla="*/ 121241 w 233811"/>
                  <a:gd name="connsiteY95" fmla="*/ 103070 h 291380"/>
                  <a:gd name="connsiteX96" fmla="*/ 145749 w 233811"/>
                  <a:gd name="connsiteY96" fmla="*/ 103070 h 291380"/>
                  <a:gd name="connsiteX97" fmla="*/ 144780 w 233811"/>
                  <a:gd name="connsiteY97" fmla="*/ 116464 h 291380"/>
                  <a:gd name="connsiteX98" fmla="*/ 149852 w 233811"/>
                  <a:gd name="connsiteY98" fmla="*/ 119085 h 291380"/>
                  <a:gd name="connsiteX99" fmla="*/ 161251 w 233811"/>
                  <a:gd name="connsiteY99" fmla="*/ 137153 h 291380"/>
                  <a:gd name="connsiteX100" fmla="*/ 161251 w 233811"/>
                  <a:gd name="connsiteY100" fmla="*/ 143935 h 291380"/>
                  <a:gd name="connsiteX101" fmla="*/ 166039 w 233811"/>
                  <a:gd name="connsiteY101" fmla="*/ 147811 h 291380"/>
                  <a:gd name="connsiteX102" fmla="*/ 169060 w 233811"/>
                  <a:gd name="connsiteY102" fmla="*/ 147013 h 291380"/>
                  <a:gd name="connsiteX103" fmla="*/ 171282 w 233811"/>
                  <a:gd name="connsiteY103" fmla="*/ 152712 h 291380"/>
                  <a:gd name="connsiteX104" fmla="*/ 176982 w 233811"/>
                  <a:gd name="connsiteY104" fmla="*/ 160122 h 291380"/>
                  <a:gd name="connsiteX105" fmla="*/ 179489 w 233811"/>
                  <a:gd name="connsiteY105" fmla="*/ 168614 h 291380"/>
                  <a:gd name="connsiteX106" fmla="*/ 186500 w 233811"/>
                  <a:gd name="connsiteY106" fmla="*/ 170780 h 291380"/>
                  <a:gd name="connsiteX107" fmla="*/ 191800 w 233811"/>
                  <a:gd name="connsiteY107" fmla="*/ 205603 h 291380"/>
                  <a:gd name="connsiteX108" fmla="*/ 46293 w 233811"/>
                  <a:gd name="connsiteY108" fmla="*/ 47101 h 291380"/>
                  <a:gd name="connsiteX109" fmla="*/ 42531 w 233811"/>
                  <a:gd name="connsiteY109" fmla="*/ 49324 h 291380"/>
                  <a:gd name="connsiteX110" fmla="*/ 41733 w 233811"/>
                  <a:gd name="connsiteY110" fmla="*/ 51319 h 291380"/>
                  <a:gd name="connsiteX111" fmla="*/ 40137 w 233811"/>
                  <a:gd name="connsiteY111" fmla="*/ 57018 h 291380"/>
                  <a:gd name="connsiteX112" fmla="*/ 40137 w 233811"/>
                  <a:gd name="connsiteY112" fmla="*/ 57816 h 291380"/>
                  <a:gd name="connsiteX113" fmla="*/ 40707 w 233811"/>
                  <a:gd name="connsiteY113" fmla="*/ 58158 h 291380"/>
                  <a:gd name="connsiteX114" fmla="*/ 51308 w 233811"/>
                  <a:gd name="connsiteY114" fmla="*/ 56676 h 291380"/>
                  <a:gd name="connsiteX115" fmla="*/ 54614 w 233811"/>
                  <a:gd name="connsiteY115" fmla="*/ 52458 h 291380"/>
                  <a:gd name="connsiteX116" fmla="*/ 54614 w 233811"/>
                  <a:gd name="connsiteY116" fmla="*/ 49210 h 291380"/>
                  <a:gd name="connsiteX117" fmla="*/ 50909 w 233811"/>
                  <a:gd name="connsiteY117" fmla="*/ 46645 h 291380"/>
                  <a:gd name="connsiteX118" fmla="*/ 46464 w 233811"/>
                  <a:gd name="connsiteY118" fmla="*/ 47101 h 291380"/>
                  <a:gd name="connsiteX119" fmla="*/ 44697 w 233811"/>
                  <a:gd name="connsiteY119" fmla="*/ 15184 h 291380"/>
                  <a:gd name="connsiteX120" fmla="*/ 39966 w 233811"/>
                  <a:gd name="connsiteY120" fmla="*/ 18148 h 291380"/>
                  <a:gd name="connsiteX121" fmla="*/ 36262 w 233811"/>
                  <a:gd name="connsiteY121" fmla="*/ 22536 h 291380"/>
                  <a:gd name="connsiteX122" fmla="*/ 30562 w 233811"/>
                  <a:gd name="connsiteY122" fmla="*/ 25044 h 291380"/>
                  <a:gd name="connsiteX123" fmla="*/ 29365 w 233811"/>
                  <a:gd name="connsiteY123" fmla="*/ 25785 h 291380"/>
                  <a:gd name="connsiteX124" fmla="*/ 29365 w 233811"/>
                  <a:gd name="connsiteY124" fmla="*/ 29205 h 291380"/>
                  <a:gd name="connsiteX125" fmla="*/ 31075 w 233811"/>
                  <a:gd name="connsiteY125" fmla="*/ 32396 h 291380"/>
                  <a:gd name="connsiteX126" fmla="*/ 31075 w 233811"/>
                  <a:gd name="connsiteY126" fmla="*/ 41002 h 291380"/>
                  <a:gd name="connsiteX127" fmla="*/ 37858 w 233811"/>
                  <a:gd name="connsiteY127" fmla="*/ 34801 h 291380"/>
                  <a:gd name="connsiteX128" fmla="*/ 37858 w 233811"/>
                  <a:gd name="connsiteY128" fmla="*/ 34220 h 291380"/>
                  <a:gd name="connsiteX129" fmla="*/ 37858 w 233811"/>
                  <a:gd name="connsiteY129" fmla="*/ 33137 h 291380"/>
                  <a:gd name="connsiteX130" fmla="*/ 40593 w 233811"/>
                  <a:gd name="connsiteY130" fmla="*/ 32624 h 291380"/>
                  <a:gd name="connsiteX131" fmla="*/ 44697 w 233811"/>
                  <a:gd name="connsiteY131" fmla="*/ 30686 h 291380"/>
                  <a:gd name="connsiteX132" fmla="*/ 46578 w 233811"/>
                  <a:gd name="connsiteY132" fmla="*/ 26469 h 291380"/>
                  <a:gd name="connsiteX133" fmla="*/ 45666 w 233811"/>
                  <a:gd name="connsiteY133" fmla="*/ 16039 h 291380"/>
                  <a:gd name="connsiteX134" fmla="*/ 45210 w 233811"/>
                  <a:gd name="connsiteY134" fmla="*/ 15298 h 291380"/>
                  <a:gd name="connsiteX135" fmla="*/ 44868 w 233811"/>
                  <a:gd name="connsiteY135" fmla="*/ 15184 h 291380"/>
                  <a:gd name="connsiteX136" fmla="*/ 17168 w 233811"/>
                  <a:gd name="connsiteY136" fmla="*/ 167531 h 291380"/>
                  <a:gd name="connsiteX137" fmla="*/ 23666 w 233811"/>
                  <a:gd name="connsiteY137" fmla="*/ 167531 h 291380"/>
                  <a:gd name="connsiteX138" fmla="*/ 27257 w 233811"/>
                  <a:gd name="connsiteY138" fmla="*/ 158868 h 291380"/>
                  <a:gd name="connsiteX139" fmla="*/ 31303 w 233811"/>
                  <a:gd name="connsiteY139" fmla="*/ 158013 h 291380"/>
                  <a:gd name="connsiteX140" fmla="*/ 42702 w 233811"/>
                  <a:gd name="connsiteY140" fmla="*/ 161603 h 291380"/>
                  <a:gd name="connsiteX141" fmla="*/ 48401 w 233811"/>
                  <a:gd name="connsiteY141" fmla="*/ 157329 h 291380"/>
                  <a:gd name="connsiteX142" fmla="*/ 57863 w 233811"/>
                  <a:gd name="connsiteY142" fmla="*/ 158127 h 291380"/>
                  <a:gd name="connsiteX143" fmla="*/ 63562 w 233811"/>
                  <a:gd name="connsiteY143" fmla="*/ 139774 h 291380"/>
                  <a:gd name="connsiteX144" fmla="*/ 57179 w 233811"/>
                  <a:gd name="connsiteY144" fmla="*/ 136526 h 291380"/>
                  <a:gd name="connsiteX145" fmla="*/ 56381 w 233811"/>
                  <a:gd name="connsiteY145" fmla="*/ 129800 h 291380"/>
                  <a:gd name="connsiteX146" fmla="*/ 49940 w 233811"/>
                  <a:gd name="connsiteY146" fmla="*/ 126609 h 291380"/>
                  <a:gd name="connsiteX147" fmla="*/ 44224 w 233811"/>
                  <a:gd name="connsiteY147" fmla="*/ 116971 h 291380"/>
                  <a:gd name="connsiteX148" fmla="*/ 43386 w 233811"/>
                  <a:gd name="connsiteY148" fmla="*/ 116805 h 291380"/>
                  <a:gd name="connsiteX149" fmla="*/ 38427 w 233811"/>
                  <a:gd name="connsiteY149" fmla="*/ 123132 h 291380"/>
                  <a:gd name="connsiteX150" fmla="*/ 34096 w 233811"/>
                  <a:gd name="connsiteY150" fmla="*/ 123873 h 291380"/>
                  <a:gd name="connsiteX151" fmla="*/ 30790 w 233811"/>
                  <a:gd name="connsiteY151" fmla="*/ 129230 h 291380"/>
                  <a:gd name="connsiteX152" fmla="*/ 25946 w 233811"/>
                  <a:gd name="connsiteY152" fmla="*/ 132194 h 291380"/>
                  <a:gd name="connsiteX153" fmla="*/ 24692 w 233811"/>
                  <a:gd name="connsiteY153" fmla="*/ 128717 h 291380"/>
                  <a:gd name="connsiteX154" fmla="*/ 14205 w 233811"/>
                  <a:gd name="connsiteY154" fmla="*/ 128717 h 291380"/>
                  <a:gd name="connsiteX155" fmla="*/ 10101 w 233811"/>
                  <a:gd name="connsiteY155" fmla="*/ 126837 h 291380"/>
                  <a:gd name="connsiteX156" fmla="*/ 343 w 233811"/>
                  <a:gd name="connsiteY156" fmla="*/ 132012 h 291380"/>
                  <a:gd name="connsiteX157" fmla="*/ 1780 w 233811"/>
                  <a:gd name="connsiteY157" fmla="*/ 139261 h 291380"/>
                  <a:gd name="connsiteX158" fmla="*/ 9189 w 233811"/>
                  <a:gd name="connsiteY158" fmla="*/ 142909 h 291380"/>
                  <a:gd name="connsiteX159" fmla="*/ 13008 w 233811"/>
                  <a:gd name="connsiteY159" fmla="*/ 143935 h 291380"/>
                  <a:gd name="connsiteX160" fmla="*/ 14718 w 233811"/>
                  <a:gd name="connsiteY160" fmla="*/ 147184 h 291380"/>
                  <a:gd name="connsiteX161" fmla="*/ 9417 w 233811"/>
                  <a:gd name="connsiteY161" fmla="*/ 149634 h 291380"/>
                  <a:gd name="connsiteX162" fmla="*/ 7251 w 233811"/>
                  <a:gd name="connsiteY162" fmla="*/ 150261 h 291380"/>
                  <a:gd name="connsiteX163" fmla="*/ 17339 w 233811"/>
                  <a:gd name="connsiteY163" fmla="*/ 167531 h 29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233811" h="291380">
                    <a:moveTo>
                      <a:pt x="217277" y="204520"/>
                    </a:moveTo>
                    <a:cubicBezTo>
                      <a:pt x="218810" y="204361"/>
                      <a:pt x="220360" y="204657"/>
                      <a:pt x="221723" y="205375"/>
                    </a:cubicBezTo>
                    <a:cubicBezTo>
                      <a:pt x="222885" y="206390"/>
                      <a:pt x="223848" y="207604"/>
                      <a:pt x="224572" y="208966"/>
                    </a:cubicBezTo>
                    <a:cubicBezTo>
                      <a:pt x="226630" y="211571"/>
                      <a:pt x="230004" y="212745"/>
                      <a:pt x="233235" y="211987"/>
                    </a:cubicBezTo>
                    <a:cubicBezTo>
                      <a:pt x="234409" y="214124"/>
                      <a:pt x="233737" y="216808"/>
                      <a:pt x="231697" y="218142"/>
                    </a:cubicBezTo>
                    <a:cubicBezTo>
                      <a:pt x="229696" y="219413"/>
                      <a:pt x="227399" y="220143"/>
                      <a:pt x="225028" y="220251"/>
                    </a:cubicBezTo>
                    <a:lnTo>
                      <a:pt x="209811" y="222303"/>
                    </a:lnTo>
                    <a:cubicBezTo>
                      <a:pt x="210774" y="224930"/>
                      <a:pt x="211008" y="227763"/>
                      <a:pt x="210495" y="230510"/>
                    </a:cubicBezTo>
                    <a:cubicBezTo>
                      <a:pt x="209765" y="233291"/>
                      <a:pt x="206972" y="235001"/>
                      <a:pt x="204168" y="234386"/>
                    </a:cubicBezTo>
                    <a:cubicBezTo>
                      <a:pt x="204168" y="236323"/>
                      <a:pt x="204168" y="238261"/>
                      <a:pt x="204624" y="240085"/>
                    </a:cubicBezTo>
                    <a:cubicBezTo>
                      <a:pt x="201284" y="239641"/>
                      <a:pt x="198201" y="241943"/>
                      <a:pt x="197671" y="245272"/>
                    </a:cubicBezTo>
                    <a:lnTo>
                      <a:pt x="216935" y="249033"/>
                    </a:lnTo>
                    <a:cubicBezTo>
                      <a:pt x="219215" y="250971"/>
                      <a:pt x="217505" y="255132"/>
                      <a:pt x="214655" y="256101"/>
                    </a:cubicBezTo>
                    <a:cubicBezTo>
                      <a:pt x="211669" y="256710"/>
                      <a:pt x="208557" y="256249"/>
                      <a:pt x="205878" y="254790"/>
                    </a:cubicBezTo>
                    <a:cubicBezTo>
                      <a:pt x="205878" y="261800"/>
                      <a:pt x="196645" y="264593"/>
                      <a:pt x="189635" y="264194"/>
                    </a:cubicBezTo>
                    <a:cubicBezTo>
                      <a:pt x="182624" y="263795"/>
                      <a:pt x="174645" y="262370"/>
                      <a:pt x="169572" y="267215"/>
                    </a:cubicBezTo>
                    <a:cubicBezTo>
                      <a:pt x="168632" y="268400"/>
                      <a:pt x="167538" y="269455"/>
                      <a:pt x="166324" y="270349"/>
                    </a:cubicBezTo>
                    <a:cubicBezTo>
                      <a:pt x="159826" y="274054"/>
                      <a:pt x="153158" y="261401"/>
                      <a:pt x="146148" y="263966"/>
                    </a:cubicBezTo>
                    <a:cubicBezTo>
                      <a:pt x="143754" y="264821"/>
                      <a:pt x="142329" y="267272"/>
                      <a:pt x="140106" y="268525"/>
                    </a:cubicBezTo>
                    <a:cubicBezTo>
                      <a:pt x="135376" y="271261"/>
                      <a:pt x="129676" y="267671"/>
                      <a:pt x="124319" y="266588"/>
                    </a:cubicBezTo>
                    <a:cubicBezTo>
                      <a:pt x="120523" y="266092"/>
                      <a:pt x="116670" y="266229"/>
                      <a:pt x="112920" y="266987"/>
                    </a:cubicBezTo>
                    <a:cubicBezTo>
                      <a:pt x="110053" y="267072"/>
                      <a:pt x="107346" y="268309"/>
                      <a:pt x="105396" y="270406"/>
                    </a:cubicBezTo>
                    <a:cubicBezTo>
                      <a:pt x="104427" y="271774"/>
                      <a:pt x="104200" y="273484"/>
                      <a:pt x="103287" y="274852"/>
                    </a:cubicBezTo>
                    <a:cubicBezTo>
                      <a:pt x="102045" y="276396"/>
                      <a:pt x="100409" y="277576"/>
                      <a:pt x="98557" y="278272"/>
                    </a:cubicBezTo>
                    <a:lnTo>
                      <a:pt x="70515" y="291380"/>
                    </a:lnTo>
                    <a:lnTo>
                      <a:pt x="69832" y="281235"/>
                    </a:lnTo>
                    <a:cubicBezTo>
                      <a:pt x="75258" y="281697"/>
                      <a:pt x="80028" y="277667"/>
                      <a:pt x="80490" y="272242"/>
                    </a:cubicBezTo>
                    <a:cubicBezTo>
                      <a:pt x="80535" y="271689"/>
                      <a:pt x="80535" y="271130"/>
                      <a:pt x="80490" y="270577"/>
                    </a:cubicBezTo>
                    <a:lnTo>
                      <a:pt x="86645" y="270577"/>
                    </a:lnTo>
                    <a:lnTo>
                      <a:pt x="93997" y="259634"/>
                    </a:lnTo>
                    <a:cubicBezTo>
                      <a:pt x="94921" y="257947"/>
                      <a:pt x="96328" y="256574"/>
                      <a:pt x="98044" y="255702"/>
                    </a:cubicBezTo>
                    <a:cubicBezTo>
                      <a:pt x="99463" y="255331"/>
                      <a:pt x="100956" y="255331"/>
                      <a:pt x="102376" y="255702"/>
                    </a:cubicBezTo>
                    <a:cubicBezTo>
                      <a:pt x="107727" y="256665"/>
                      <a:pt x="113210" y="256665"/>
                      <a:pt x="118562" y="255702"/>
                    </a:cubicBezTo>
                    <a:cubicBezTo>
                      <a:pt x="124045" y="254693"/>
                      <a:pt x="128177" y="250145"/>
                      <a:pt x="128650" y="244588"/>
                    </a:cubicBezTo>
                    <a:cubicBezTo>
                      <a:pt x="128713" y="242923"/>
                      <a:pt x="128000" y="241322"/>
                      <a:pt x="126712" y="240256"/>
                    </a:cubicBezTo>
                    <a:cubicBezTo>
                      <a:pt x="121583" y="236722"/>
                      <a:pt x="115712" y="247950"/>
                      <a:pt x="109956" y="245443"/>
                    </a:cubicBezTo>
                    <a:cubicBezTo>
                      <a:pt x="110725" y="243197"/>
                      <a:pt x="109665" y="240729"/>
                      <a:pt x="107505" y="239743"/>
                    </a:cubicBezTo>
                    <a:cubicBezTo>
                      <a:pt x="105259" y="238871"/>
                      <a:pt x="102820" y="238615"/>
                      <a:pt x="100438" y="239002"/>
                    </a:cubicBezTo>
                    <a:lnTo>
                      <a:pt x="88241" y="239914"/>
                    </a:lnTo>
                    <a:cubicBezTo>
                      <a:pt x="83989" y="240598"/>
                      <a:pt x="79635" y="240108"/>
                      <a:pt x="75645" y="238489"/>
                    </a:cubicBezTo>
                    <a:cubicBezTo>
                      <a:pt x="71610" y="236643"/>
                      <a:pt x="69837" y="231872"/>
                      <a:pt x="71684" y="227837"/>
                    </a:cubicBezTo>
                    <a:cubicBezTo>
                      <a:pt x="71695" y="227814"/>
                      <a:pt x="71701" y="227797"/>
                      <a:pt x="71712" y="227774"/>
                    </a:cubicBezTo>
                    <a:cubicBezTo>
                      <a:pt x="76557" y="229541"/>
                      <a:pt x="81116" y="224867"/>
                      <a:pt x="85676" y="222417"/>
                    </a:cubicBezTo>
                    <a:cubicBezTo>
                      <a:pt x="88104" y="221157"/>
                      <a:pt x="90720" y="220308"/>
                      <a:pt x="93427" y="219909"/>
                    </a:cubicBezTo>
                    <a:cubicBezTo>
                      <a:pt x="97189" y="219225"/>
                      <a:pt x="102433" y="217116"/>
                      <a:pt x="101179" y="213469"/>
                    </a:cubicBezTo>
                    <a:cubicBezTo>
                      <a:pt x="99925" y="209821"/>
                      <a:pt x="94624" y="211246"/>
                      <a:pt x="91034" y="210163"/>
                    </a:cubicBezTo>
                    <a:cubicBezTo>
                      <a:pt x="86970" y="208595"/>
                      <a:pt x="84582" y="204366"/>
                      <a:pt x="85334" y="200075"/>
                    </a:cubicBezTo>
                    <a:cubicBezTo>
                      <a:pt x="86189" y="195903"/>
                      <a:pt x="88024" y="191993"/>
                      <a:pt x="90692" y="188676"/>
                    </a:cubicBezTo>
                    <a:lnTo>
                      <a:pt x="95650" y="188106"/>
                    </a:lnTo>
                    <a:cubicBezTo>
                      <a:pt x="94852" y="185655"/>
                      <a:pt x="98728" y="183831"/>
                      <a:pt x="100837" y="185313"/>
                    </a:cubicBezTo>
                    <a:cubicBezTo>
                      <a:pt x="102712" y="187126"/>
                      <a:pt x="103567" y="189753"/>
                      <a:pt x="103117" y="192324"/>
                    </a:cubicBezTo>
                    <a:lnTo>
                      <a:pt x="118049" y="189645"/>
                    </a:lnTo>
                    <a:cubicBezTo>
                      <a:pt x="118773" y="189605"/>
                      <a:pt x="119468" y="189348"/>
                      <a:pt x="120044" y="188904"/>
                    </a:cubicBezTo>
                    <a:cubicBezTo>
                      <a:pt x="120540" y="188265"/>
                      <a:pt x="120819" y="187490"/>
                      <a:pt x="120842" y="186681"/>
                    </a:cubicBezTo>
                    <a:lnTo>
                      <a:pt x="125458" y="154935"/>
                    </a:lnTo>
                    <a:cubicBezTo>
                      <a:pt x="119759" y="155904"/>
                      <a:pt x="111894" y="155562"/>
                      <a:pt x="110640" y="149919"/>
                    </a:cubicBezTo>
                    <a:cubicBezTo>
                      <a:pt x="109785" y="146158"/>
                      <a:pt x="112805" y="142738"/>
                      <a:pt x="115370" y="139774"/>
                    </a:cubicBezTo>
                    <a:cubicBezTo>
                      <a:pt x="117935" y="136811"/>
                      <a:pt x="120215" y="132650"/>
                      <a:pt x="118163" y="129344"/>
                    </a:cubicBezTo>
                    <a:lnTo>
                      <a:pt x="103743" y="125754"/>
                    </a:lnTo>
                    <a:cubicBezTo>
                      <a:pt x="104467" y="129310"/>
                      <a:pt x="102581" y="132884"/>
                      <a:pt x="99241" y="134303"/>
                    </a:cubicBezTo>
                    <a:cubicBezTo>
                      <a:pt x="95935" y="135557"/>
                      <a:pt x="92385" y="136024"/>
                      <a:pt x="88868" y="135671"/>
                    </a:cubicBezTo>
                    <a:cubicBezTo>
                      <a:pt x="85340" y="135916"/>
                      <a:pt x="81823" y="135078"/>
                      <a:pt x="78780" y="133277"/>
                    </a:cubicBezTo>
                    <a:cubicBezTo>
                      <a:pt x="76038" y="131430"/>
                      <a:pt x="75309" y="127714"/>
                      <a:pt x="77156" y="124973"/>
                    </a:cubicBezTo>
                    <a:cubicBezTo>
                      <a:pt x="77349" y="124682"/>
                      <a:pt x="77566" y="124409"/>
                      <a:pt x="77811" y="124158"/>
                    </a:cubicBezTo>
                    <a:cubicBezTo>
                      <a:pt x="81515" y="126666"/>
                      <a:pt x="86360" y="121935"/>
                      <a:pt x="86702" y="117432"/>
                    </a:cubicBezTo>
                    <a:cubicBezTo>
                      <a:pt x="86275" y="112964"/>
                      <a:pt x="86103" y="108473"/>
                      <a:pt x="86189" y="103982"/>
                    </a:cubicBezTo>
                    <a:cubicBezTo>
                      <a:pt x="86930" y="100049"/>
                      <a:pt x="89609" y="95261"/>
                      <a:pt x="86588" y="92583"/>
                    </a:cubicBezTo>
                    <a:cubicBezTo>
                      <a:pt x="83567" y="89904"/>
                      <a:pt x="79863" y="92583"/>
                      <a:pt x="78267" y="95318"/>
                    </a:cubicBezTo>
                    <a:cubicBezTo>
                      <a:pt x="76671" y="98054"/>
                      <a:pt x="76443" y="101759"/>
                      <a:pt x="75075" y="104837"/>
                    </a:cubicBezTo>
                    <a:cubicBezTo>
                      <a:pt x="73707" y="107914"/>
                      <a:pt x="70288" y="110536"/>
                      <a:pt x="67267" y="109282"/>
                    </a:cubicBezTo>
                    <a:cubicBezTo>
                      <a:pt x="62251" y="107002"/>
                      <a:pt x="65899" y="99194"/>
                      <a:pt x="64189" y="94008"/>
                    </a:cubicBezTo>
                    <a:cubicBezTo>
                      <a:pt x="62479" y="88821"/>
                      <a:pt x="57863" y="87738"/>
                      <a:pt x="54158" y="85116"/>
                    </a:cubicBezTo>
                    <a:cubicBezTo>
                      <a:pt x="50453" y="82495"/>
                      <a:pt x="47775" y="76396"/>
                      <a:pt x="51479" y="73717"/>
                    </a:cubicBezTo>
                    <a:cubicBezTo>
                      <a:pt x="54215" y="68018"/>
                      <a:pt x="56780" y="61977"/>
                      <a:pt x="59345" y="56049"/>
                    </a:cubicBezTo>
                    <a:lnTo>
                      <a:pt x="63277" y="46930"/>
                    </a:lnTo>
                    <a:lnTo>
                      <a:pt x="65272" y="42370"/>
                    </a:lnTo>
                    <a:cubicBezTo>
                      <a:pt x="68350" y="35303"/>
                      <a:pt x="71371" y="28179"/>
                      <a:pt x="74391" y="21111"/>
                    </a:cubicBezTo>
                    <a:cubicBezTo>
                      <a:pt x="75611" y="17361"/>
                      <a:pt x="77657" y="13936"/>
                      <a:pt x="80375" y="11080"/>
                    </a:cubicBezTo>
                    <a:cubicBezTo>
                      <a:pt x="83214" y="8225"/>
                      <a:pt x="87585" y="7558"/>
                      <a:pt x="91148" y="9427"/>
                    </a:cubicBezTo>
                    <a:cubicBezTo>
                      <a:pt x="91946" y="9997"/>
                      <a:pt x="92629" y="10681"/>
                      <a:pt x="93370" y="11194"/>
                    </a:cubicBezTo>
                    <a:cubicBezTo>
                      <a:pt x="98272" y="14500"/>
                      <a:pt x="104769" y="10510"/>
                      <a:pt x="108474" y="5837"/>
                    </a:cubicBezTo>
                    <a:cubicBezTo>
                      <a:pt x="110982" y="2645"/>
                      <a:pt x="114572" y="-1402"/>
                      <a:pt x="118163" y="479"/>
                    </a:cubicBezTo>
                    <a:cubicBezTo>
                      <a:pt x="120785" y="3500"/>
                      <a:pt x="117764" y="8117"/>
                      <a:pt x="114858" y="10909"/>
                    </a:cubicBezTo>
                    <a:cubicBezTo>
                      <a:pt x="111951" y="13702"/>
                      <a:pt x="109158" y="18319"/>
                      <a:pt x="111495" y="21396"/>
                    </a:cubicBezTo>
                    <a:cubicBezTo>
                      <a:pt x="106986" y="22434"/>
                      <a:pt x="102752" y="24411"/>
                      <a:pt x="99070" y="27210"/>
                    </a:cubicBezTo>
                    <a:cubicBezTo>
                      <a:pt x="95320" y="30065"/>
                      <a:pt x="93809" y="34995"/>
                      <a:pt x="95308" y="39464"/>
                    </a:cubicBezTo>
                    <a:cubicBezTo>
                      <a:pt x="97742" y="43396"/>
                      <a:pt x="102905" y="44610"/>
                      <a:pt x="106844" y="42177"/>
                    </a:cubicBezTo>
                    <a:cubicBezTo>
                      <a:pt x="108263" y="41299"/>
                      <a:pt x="109386" y="40016"/>
                      <a:pt x="110070" y="38495"/>
                    </a:cubicBezTo>
                    <a:cubicBezTo>
                      <a:pt x="124074" y="37115"/>
                      <a:pt x="138203" y="37765"/>
                      <a:pt x="152018" y="40433"/>
                    </a:cubicBezTo>
                    <a:cubicBezTo>
                      <a:pt x="152046" y="46474"/>
                      <a:pt x="147173" y="51398"/>
                      <a:pt x="141132" y="51433"/>
                    </a:cubicBezTo>
                    <a:cubicBezTo>
                      <a:pt x="141115" y="51433"/>
                      <a:pt x="141092" y="51433"/>
                      <a:pt x="141075" y="51433"/>
                    </a:cubicBezTo>
                    <a:cubicBezTo>
                      <a:pt x="142500" y="53142"/>
                      <a:pt x="141075" y="55878"/>
                      <a:pt x="139137" y="57132"/>
                    </a:cubicBezTo>
                    <a:cubicBezTo>
                      <a:pt x="137199" y="58386"/>
                      <a:pt x="134863" y="58500"/>
                      <a:pt x="132982" y="59697"/>
                    </a:cubicBezTo>
                    <a:cubicBezTo>
                      <a:pt x="130377" y="61874"/>
                      <a:pt x="128673" y="64940"/>
                      <a:pt x="128194" y="68303"/>
                    </a:cubicBezTo>
                    <a:lnTo>
                      <a:pt x="122894" y="87909"/>
                    </a:lnTo>
                    <a:cubicBezTo>
                      <a:pt x="121195" y="92771"/>
                      <a:pt x="120625" y="97957"/>
                      <a:pt x="121241" y="103070"/>
                    </a:cubicBezTo>
                    <a:cubicBezTo>
                      <a:pt x="129397" y="102414"/>
                      <a:pt x="137592" y="102414"/>
                      <a:pt x="145749" y="103070"/>
                    </a:cubicBezTo>
                    <a:cubicBezTo>
                      <a:pt x="143469" y="107344"/>
                      <a:pt x="141360" y="113101"/>
                      <a:pt x="144780" y="116464"/>
                    </a:cubicBezTo>
                    <a:cubicBezTo>
                      <a:pt x="146296" y="117638"/>
                      <a:pt x="148017" y="118527"/>
                      <a:pt x="149852" y="119085"/>
                    </a:cubicBezTo>
                    <a:cubicBezTo>
                      <a:pt x="156948" y="122254"/>
                      <a:pt x="161445" y="129384"/>
                      <a:pt x="161251" y="137153"/>
                    </a:cubicBezTo>
                    <a:cubicBezTo>
                      <a:pt x="160938" y="139404"/>
                      <a:pt x="160938" y="141684"/>
                      <a:pt x="161251" y="143935"/>
                    </a:cubicBezTo>
                    <a:cubicBezTo>
                      <a:pt x="161764" y="146158"/>
                      <a:pt x="163816" y="148267"/>
                      <a:pt x="166039" y="147811"/>
                    </a:cubicBezTo>
                    <a:cubicBezTo>
                      <a:pt x="167065" y="147811"/>
                      <a:pt x="168033" y="146842"/>
                      <a:pt x="169060" y="147013"/>
                    </a:cubicBezTo>
                    <a:cubicBezTo>
                      <a:pt x="171168" y="147355"/>
                      <a:pt x="170883" y="150432"/>
                      <a:pt x="171282" y="152712"/>
                    </a:cubicBezTo>
                    <a:cubicBezTo>
                      <a:pt x="171795" y="155904"/>
                      <a:pt x="174816" y="157899"/>
                      <a:pt x="176982" y="160122"/>
                    </a:cubicBezTo>
                    <a:cubicBezTo>
                      <a:pt x="179147" y="162344"/>
                      <a:pt x="181427" y="165821"/>
                      <a:pt x="179489" y="168614"/>
                    </a:cubicBezTo>
                    <a:cubicBezTo>
                      <a:pt x="182043" y="168124"/>
                      <a:pt x="184670" y="168939"/>
                      <a:pt x="186500" y="170780"/>
                    </a:cubicBezTo>
                    <a:cubicBezTo>
                      <a:pt x="191002" y="181802"/>
                      <a:pt x="192820" y="193737"/>
                      <a:pt x="191800" y="205603"/>
                    </a:cubicBezTo>
                    <a:close/>
                    <a:moveTo>
                      <a:pt x="46293" y="47101"/>
                    </a:moveTo>
                    <a:cubicBezTo>
                      <a:pt x="44822" y="47397"/>
                      <a:pt x="43500" y="48184"/>
                      <a:pt x="42531" y="49324"/>
                    </a:cubicBezTo>
                    <a:cubicBezTo>
                      <a:pt x="42183" y="49951"/>
                      <a:pt x="41915" y="50623"/>
                      <a:pt x="41733" y="51319"/>
                    </a:cubicBezTo>
                    <a:lnTo>
                      <a:pt x="40137" y="57018"/>
                    </a:lnTo>
                    <a:cubicBezTo>
                      <a:pt x="39995" y="57263"/>
                      <a:pt x="39995" y="57571"/>
                      <a:pt x="40137" y="57816"/>
                    </a:cubicBezTo>
                    <a:cubicBezTo>
                      <a:pt x="40263" y="58015"/>
                      <a:pt x="40474" y="58141"/>
                      <a:pt x="40707" y="58158"/>
                    </a:cubicBezTo>
                    <a:cubicBezTo>
                      <a:pt x="44304" y="58905"/>
                      <a:pt x="48054" y="58380"/>
                      <a:pt x="51308" y="56676"/>
                    </a:cubicBezTo>
                    <a:cubicBezTo>
                      <a:pt x="52870" y="55701"/>
                      <a:pt x="54038" y="54208"/>
                      <a:pt x="54614" y="52458"/>
                    </a:cubicBezTo>
                    <a:cubicBezTo>
                      <a:pt x="54985" y="51410"/>
                      <a:pt x="54985" y="50258"/>
                      <a:pt x="54614" y="49210"/>
                    </a:cubicBezTo>
                    <a:cubicBezTo>
                      <a:pt x="53919" y="47762"/>
                      <a:pt x="52511" y="46787"/>
                      <a:pt x="50909" y="46645"/>
                    </a:cubicBezTo>
                    <a:cubicBezTo>
                      <a:pt x="49410" y="46491"/>
                      <a:pt x="47900" y="46645"/>
                      <a:pt x="46464" y="47101"/>
                    </a:cubicBezTo>
                    <a:close/>
                    <a:moveTo>
                      <a:pt x="44697" y="15184"/>
                    </a:moveTo>
                    <a:cubicBezTo>
                      <a:pt x="42759" y="15423"/>
                      <a:pt x="41026" y="16512"/>
                      <a:pt x="39966" y="18148"/>
                    </a:cubicBezTo>
                    <a:cubicBezTo>
                      <a:pt x="38923" y="19761"/>
                      <a:pt x="37675" y="21237"/>
                      <a:pt x="36262" y="22536"/>
                    </a:cubicBezTo>
                    <a:cubicBezTo>
                      <a:pt x="34506" y="23665"/>
                      <a:pt x="32580" y="24514"/>
                      <a:pt x="30562" y="25044"/>
                    </a:cubicBezTo>
                    <a:cubicBezTo>
                      <a:pt x="30123" y="25215"/>
                      <a:pt x="29713" y="25466"/>
                      <a:pt x="29365" y="25785"/>
                    </a:cubicBezTo>
                    <a:cubicBezTo>
                      <a:pt x="28676" y="26822"/>
                      <a:pt x="28676" y="28167"/>
                      <a:pt x="29365" y="29205"/>
                    </a:cubicBezTo>
                    <a:cubicBezTo>
                      <a:pt x="30032" y="30213"/>
                      <a:pt x="30608" y="31279"/>
                      <a:pt x="31075" y="32396"/>
                    </a:cubicBezTo>
                    <a:cubicBezTo>
                      <a:pt x="31930" y="35189"/>
                      <a:pt x="29992" y="38096"/>
                      <a:pt x="31075" y="41002"/>
                    </a:cubicBezTo>
                    <a:cubicBezTo>
                      <a:pt x="34660" y="41162"/>
                      <a:pt x="37698" y="38386"/>
                      <a:pt x="37858" y="34801"/>
                    </a:cubicBezTo>
                    <a:cubicBezTo>
                      <a:pt x="37869" y="34608"/>
                      <a:pt x="37869" y="34414"/>
                      <a:pt x="37858" y="34220"/>
                    </a:cubicBezTo>
                    <a:cubicBezTo>
                      <a:pt x="37801" y="33861"/>
                      <a:pt x="37801" y="33496"/>
                      <a:pt x="37858" y="33137"/>
                    </a:cubicBezTo>
                    <a:cubicBezTo>
                      <a:pt x="38257" y="32225"/>
                      <a:pt x="39624" y="32510"/>
                      <a:pt x="40593" y="32624"/>
                    </a:cubicBezTo>
                    <a:cubicBezTo>
                      <a:pt x="42189" y="32653"/>
                      <a:pt x="43705" y="31935"/>
                      <a:pt x="44697" y="30686"/>
                    </a:cubicBezTo>
                    <a:cubicBezTo>
                      <a:pt x="45660" y="29455"/>
                      <a:pt x="46310" y="28008"/>
                      <a:pt x="46578" y="26469"/>
                    </a:cubicBezTo>
                    <a:cubicBezTo>
                      <a:pt x="47307" y="22981"/>
                      <a:pt x="46994" y="19350"/>
                      <a:pt x="45666" y="16039"/>
                    </a:cubicBezTo>
                    <a:cubicBezTo>
                      <a:pt x="45580" y="15754"/>
                      <a:pt x="45427" y="15497"/>
                      <a:pt x="45210" y="15298"/>
                    </a:cubicBezTo>
                    <a:cubicBezTo>
                      <a:pt x="45102" y="15247"/>
                      <a:pt x="44987" y="15207"/>
                      <a:pt x="44868" y="15184"/>
                    </a:cubicBezTo>
                    <a:close/>
                    <a:moveTo>
                      <a:pt x="17168" y="167531"/>
                    </a:moveTo>
                    <a:lnTo>
                      <a:pt x="23666" y="167531"/>
                    </a:lnTo>
                    <a:cubicBezTo>
                      <a:pt x="26060" y="165365"/>
                      <a:pt x="24749" y="160862"/>
                      <a:pt x="27257" y="158868"/>
                    </a:cubicBezTo>
                    <a:cubicBezTo>
                      <a:pt x="28453" y="158087"/>
                      <a:pt x="29895" y="157779"/>
                      <a:pt x="31303" y="158013"/>
                    </a:cubicBezTo>
                    <a:cubicBezTo>
                      <a:pt x="35287" y="158526"/>
                      <a:pt x="39146" y="159740"/>
                      <a:pt x="42702" y="161603"/>
                    </a:cubicBezTo>
                    <a:cubicBezTo>
                      <a:pt x="43722" y="159278"/>
                      <a:pt x="45883" y="157654"/>
                      <a:pt x="48401" y="157329"/>
                    </a:cubicBezTo>
                    <a:cubicBezTo>
                      <a:pt x="51576" y="157198"/>
                      <a:pt x="54756" y="157466"/>
                      <a:pt x="57863" y="158127"/>
                    </a:cubicBezTo>
                    <a:cubicBezTo>
                      <a:pt x="61094" y="152501"/>
                      <a:pt x="63038" y="146238"/>
                      <a:pt x="63562" y="139774"/>
                    </a:cubicBezTo>
                    <a:lnTo>
                      <a:pt x="57179" y="136526"/>
                    </a:lnTo>
                    <a:cubicBezTo>
                      <a:pt x="58416" y="134354"/>
                      <a:pt x="58096" y="131624"/>
                      <a:pt x="56381" y="129800"/>
                    </a:cubicBezTo>
                    <a:cubicBezTo>
                      <a:pt x="54591" y="128130"/>
                      <a:pt x="52351" y="127019"/>
                      <a:pt x="49940" y="126609"/>
                    </a:cubicBezTo>
                    <a:cubicBezTo>
                      <a:pt x="51023" y="122368"/>
                      <a:pt x="48464" y="118054"/>
                      <a:pt x="44224" y="116971"/>
                    </a:cubicBezTo>
                    <a:cubicBezTo>
                      <a:pt x="43950" y="116902"/>
                      <a:pt x="43671" y="116845"/>
                      <a:pt x="43386" y="116805"/>
                    </a:cubicBezTo>
                    <a:cubicBezTo>
                      <a:pt x="43414" y="119815"/>
                      <a:pt x="41357" y="122442"/>
                      <a:pt x="38427" y="123132"/>
                    </a:cubicBezTo>
                    <a:cubicBezTo>
                      <a:pt x="36957" y="123172"/>
                      <a:pt x="35498" y="123417"/>
                      <a:pt x="34096" y="123873"/>
                    </a:cubicBezTo>
                    <a:cubicBezTo>
                      <a:pt x="32215" y="124899"/>
                      <a:pt x="31645" y="127293"/>
                      <a:pt x="30790" y="129230"/>
                    </a:cubicBezTo>
                    <a:cubicBezTo>
                      <a:pt x="29935" y="131168"/>
                      <a:pt x="27826" y="133220"/>
                      <a:pt x="25946" y="132194"/>
                    </a:cubicBezTo>
                    <a:cubicBezTo>
                      <a:pt x="25199" y="131185"/>
                      <a:pt x="24760" y="129971"/>
                      <a:pt x="24692" y="128717"/>
                    </a:cubicBezTo>
                    <a:cubicBezTo>
                      <a:pt x="21266" y="129686"/>
                      <a:pt x="17636" y="129686"/>
                      <a:pt x="14205" y="128717"/>
                    </a:cubicBezTo>
                    <a:cubicBezTo>
                      <a:pt x="12780" y="128204"/>
                      <a:pt x="11526" y="127350"/>
                      <a:pt x="10101" y="126837"/>
                    </a:cubicBezTo>
                    <a:cubicBezTo>
                      <a:pt x="5980" y="125571"/>
                      <a:pt x="1609" y="127885"/>
                      <a:pt x="343" y="132012"/>
                    </a:cubicBezTo>
                    <a:cubicBezTo>
                      <a:pt x="-426" y="134514"/>
                      <a:pt x="116" y="137238"/>
                      <a:pt x="1780" y="139261"/>
                    </a:cubicBezTo>
                    <a:cubicBezTo>
                      <a:pt x="3763" y="141285"/>
                      <a:pt x="6374" y="142573"/>
                      <a:pt x="9189" y="142909"/>
                    </a:cubicBezTo>
                    <a:cubicBezTo>
                      <a:pt x="10511" y="143012"/>
                      <a:pt x="11811" y="143359"/>
                      <a:pt x="13008" y="143935"/>
                    </a:cubicBezTo>
                    <a:cubicBezTo>
                      <a:pt x="14233" y="144522"/>
                      <a:pt x="14929" y="145844"/>
                      <a:pt x="14718" y="147184"/>
                    </a:cubicBezTo>
                    <a:cubicBezTo>
                      <a:pt x="14205" y="149178"/>
                      <a:pt x="11526" y="149463"/>
                      <a:pt x="9417" y="149634"/>
                    </a:cubicBezTo>
                    <a:cubicBezTo>
                      <a:pt x="8659" y="149697"/>
                      <a:pt x="7924" y="149908"/>
                      <a:pt x="7251" y="150261"/>
                    </a:cubicBezTo>
                    <a:cubicBezTo>
                      <a:pt x="11771" y="155260"/>
                      <a:pt x="15208" y="161142"/>
                      <a:pt x="17339" y="16753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7" name="Freihandform: Form 433">
                <a:extLst>
                  <a:ext uri="{FF2B5EF4-FFF2-40B4-BE49-F238E27FC236}">
                    <a16:creationId xmlns:a16="http://schemas.microsoft.com/office/drawing/2014/main" id="{3553709B-F726-E709-9426-BEBE2FE3274E}"/>
                  </a:ext>
                </a:extLst>
              </p:cNvPr>
              <p:cNvSpPr/>
              <p:nvPr/>
            </p:nvSpPr>
            <p:spPr>
              <a:xfrm>
                <a:off x="3540516" y="2818990"/>
                <a:ext cx="97765" cy="84350"/>
              </a:xfrm>
              <a:custGeom>
                <a:avLst/>
                <a:gdLst>
                  <a:gd name="connsiteX0" fmla="*/ 93414 w 97765"/>
                  <a:gd name="connsiteY0" fmla="*/ 41549 h 84350"/>
                  <a:gd name="connsiteX1" fmla="*/ 91762 w 97765"/>
                  <a:gd name="connsiteY1" fmla="*/ 49414 h 84350"/>
                  <a:gd name="connsiteX2" fmla="*/ 93015 w 97765"/>
                  <a:gd name="connsiteY2" fmla="*/ 51865 h 84350"/>
                  <a:gd name="connsiteX3" fmla="*/ 92560 w 97765"/>
                  <a:gd name="connsiteY3" fmla="*/ 57109 h 84350"/>
                  <a:gd name="connsiteX4" fmla="*/ 90793 w 97765"/>
                  <a:gd name="connsiteY4" fmla="*/ 59331 h 84350"/>
                  <a:gd name="connsiteX5" fmla="*/ 88171 w 97765"/>
                  <a:gd name="connsiteY5" fmla="*/ 67482 h 84350"/>
                  <a:gd name="connsiteX6" fmla="*/ 76772 w 97765"/>
                  <a:gd name="connsiteY6" fmla="*/ 70331 h 84350"/>
                  <a:gd name="connsiteX7" fmla="*/ 62466 w 97765"/>
                  <a:gd name="connsiteY7" fmla="*/ 77570 h 84350"/>
                  <a:gd name="connsiteX8" fmla="*/ 60130 w 97765"/>
                  <a:gd name="connsiteY8" fmla="*/ 81388 h 84350"/>
                  <a:gd name="connsiteX9" fmla="*/ 57280 w 97765"/>
                  <a:gd name="connsiteY9" fmla="*/ 82300 h 84350"/>
                  <a:gd name="connsiteX10" fmla="*/ 9803 w 97765"/>
                  <a:gd name="connsiteY10" fmla="*/ 83212 h 84350"/>
                  <a:gd name="connsiteX11" fmla="*/ 7466 w 97765"/>
                  <a:gd name="connsiteY11" fmla="*/ 82585 h 84350"/>
                  <a:gd name="connsiteX12" fmla="*/ 5699 w 97765"/>
                  <a:gd name="connsiteY12" fmla="*/ 80420 h 84350"/>
                  <a:gd name="connsiteX13" fmla="*/ 0 w 97765"/>
                  <a:gd name="connsiteY13" fmla="*/ 70046 h 84350"/>
                  <a:gd name="connsiteX14" fmla="*/ 8378 w 97765"/>
                  <a:gd name="connsiteY14" fmla="*/ 70046 h 84350"/>
                  <a:gd name="connsiteX15" fmla="*/ 14078 w 97765"/>
                  <a:gd name="connsiteY15" fmla="*/ 64347 h 84350"/>
                  <a:gd name="connsiteX16" fmla="*/ 14876 w 97765"/>
                  <a:gd name="connsiteY16" fmla="*/ 59730 h 84350"/>
                  <a:gd name="connsiteX17" fmla="*/ 23083 w 97765"/>
                  <a:gd name="connsiteY17" fmla="*/ 58249 h 84350"/>
                  <a:gd name="connsiteX18" fmla="*/ 23881 w 97765"/>
                  <a:gd name="connsiteY18" fmla="*/ 50440 h 84350"/>
                  <a:gd name="connsiteX19" fmla="*/ 25705 w 97765"/>
                  <a:gd name="connsiteY19" fmla="*/ 49585 h 84350"/>
                  <a:gd name="connsiteX20" fmla="*/ 35679 w 97765"/>
                  <a:gd name="connsiteY20" fmla="*/ 46622 h 84350"/>
                  <a:gd name="connsiteX21" fmla="*/ 26218 w 97765"/>
                  <a:gd name="connsiteY21" fmla="*/ 40181 h 84350"/>
                  <a:gd name="connsiteX22" fmla="*/ 25876 w 97765"/>
                  <a:gd name="connsiteY22" fmla="*/ 35736 h 84350"/>
                  <a:gd name="connsiteX23" fmla="*/ 17098 w 97765"/>
                  <a:gd name="connsiteY23" fmla="*/ 35736 h 84350"/>
                  <a:gd name="connsiteX24" fmla="*/ 12653 w 97765"/>
                  <a:gd name="connsiteY24" fmla="*/ 30036 h 84350"/>
                  <a:gd name="connsiteX25" fmla="*/ 12653 w 97765"/>
                  <a:gd name="connsiteY25" fmla="*/ 22855 h 84350"/>
                  <a:gd name="connsiteX26" fmla="*/ 15446 w 97765"/>
                  <a:gd name="connsiteY26" fmla="*/ 18466 h 84350"/>
                  <a:gd name="connsiteX27" fmla="*/ 11684 w 97765"/>
                  <a:gd name="connsiteY27" fmla="*/ 12767 h 84350"/>
                  <a:gd name="connsiteX28" fmla="*/ 12425 w 97765"/>
                  <a:gd name="connsiteY28" fmla="*/ 5186 h 84350"/>
                  <a:gd name="connsiteX29" fmla="*/ 19948 w 97765"/>
                  <a:gd name="connsiteY29" fmla="*/ 3078 h 84350"/>
                  <a:gd name="connsiteX30" fmla="*/ 26617 w 97765"/>
                  <a:gd name="connsiteY30" fmla="*/ 6383 h 84350"/>
                  <a:gd name="connsiteX31" fmla="*/ 33570 w 97765"/>
                  <a:gd name="connsiteY31" fmla="*/ 5642 h 84350"/>
                  <a:gd name="connsiteX32" fmla="*/ 34767 w 97765"/>
                  <a:gd name="connsiteY32" fmla="*/ 3762 h 84350"/>
                  <a:gd name="connsiteX33" fmla="*/ 41435 w 97765"/>
                  <a:gd name="connsiteY33" fmla="*/ 2565 h 84350"/>
                  <a:gd name="connsiteX34" fmla="*/ 48503 w 97765"/>
                  <a:gd name="connsiteY34" fmla="*/ 2907 h 84350"/>
                  <a:gd name="connsiteX35" fmla="*/ 50326 w 97765"/>
                  <a:gd name="connsiteY35" fmla="*/ 0 h 84350"/>
                  <a:gd name="connsiteX36" fmla="*/ 60243 w 97765"/>
                  <a:gd name="connsiteY36" fmla="*/ 17098 h 84350"/>
                  <a:gd name="connsiteX37" fmla="*/ 66741 w 97765"/>
                  <a:gd name="connsiteY37" fmla="*/ 17098 h 84350"/>
                  <a:gd name="connsiteX38" fmla="*/ 70332 w 97765"/>
                  <a:gd name="connsiteY38" fmla="*/ 8435 h 84350"/>
                  <a:gd name="connsiteX39" fmla="*/ 74378 w 97765"/>
                  <a:gd name="connsiteY39" fmla="*/ 7580 h 84350"/>
                  <a:gd name="connsiteX40" fmla="*/ 85777 w 97765"/>
                  <a:gd name="connsiteY40" fmla="*/ 11171 h 84350"/>
                  <a:gd name="connsiteX41" fmla="*/ 85378 w 97765"/>
                  <a:gd name="connsiteY41" fmla="*/ 12938 h 84350"/>
                  <a:gd name="connsiteX42" fmla="*/ 88114 w 97765"/>
                  <a:gd name="connsiteY42" fmla="*/ 18238 h 84350"/>
                  <a:gd name="connsiteX43" fmla="*/ 94270 w 97765"/>
                  <a:gd name="connsiteY43" fmla="*/ 22798 h 84350"/>
                  <a:gd name="connsiteX44" fmla="*/ 97347 w 97765"/>
                  <a:gd name="connsiteY44" fmla="*/ 23824 h 84350"/>
                  <a:gd name="connsiteX45" fmla="*/ 97746 w 97765"/>
                  <a:gd name="connsiteY45" fmla="*/ 25876 h 84350"/>
                  <a:gd name="connsiteX46" fmla="*/ 93414 w 97765"/>
                  <a:gd name="connsiteY46" fmla="*/ 41549 h 8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7765" h="84350">
                    <a:moveTo>
                      <a:pt x="93414" y="41549"/>
                    </a:moveTo>
                    <a:cubicBezTo>
                      <a:pt x="91864" y="43857"/>
                      <a:pt x="91272" y="46679"/>
                      <a:pt x="91762" y="49414"/>
                    </a:cubicBezTo>
                    <a:cubicBezTo>
                      <a:pt x="92104" y="50269"/>
                      <a:pt x="92673" y="51010"/>
                      <a:pt x="93015" y="51865"/>
                    </a:cubicBezTo>
                    <a:cubicBezTo>
                      <a:pt x="93728" y="53581"/>
                      <a:pt x="93557" y="55541"/>
                      <a:pt x="92560" y="57109"/>
                    </a:cubicBezTo>
                    <a:cubicBezTo>
                      <a:pt x="91990" y="57907"/>
                      <a:pt x="91306" y="58534"/>
                      <a:pt x="90793" y="59331"/>
                    </a:cubicBezTo>
                    <a:cubicBezTo>
                      <a:pt x="89197" y="61725"/>
                      <a:pt x="89824" y="65031"/>
                      <a:pt x="88171" y="67482"/>
                    </a:cubicBezTo>
                    <a:cubicBezTo>
                      <a:pt x="85834" y="71015"/>
                      <a:pt x="80705" y="70331"/>
                      <a:pt x="76772" y="70331"/>
                    </a:cubicBezTo>
                    <a:cubicBezTo>
                      <a:pt x="71021" y="69876"/>
                      <a:pt x="65504" y="72668"/>
                      <a:pt x="62466" y="77570"/>
                    </a:cubicBezTo>
                    <a:cubicBezTo>
                      <a:pt x="61999" y="79012"/>
                      <a:pt x="61201" y="80317"/>
                      <a:pt x="60130" y="81388"/>
                    </a:cubicBezTo>
                    <a:cubicBezTo>
                      <a:pt x="59280" y="81941"/>
                      <a:pt x="58294" y="82255"/>
                      <a:pt x="57280" y="82300"/>
                    </a:cubicBezTo>
                    <a:cubicBezTo>
                      <a:pt x="41561" y="84683"/>
                      <a:pt x="25602" y="84990"/>
                      <a:pt x="9803" y="83212"/>
                    </a:cubicBezTo>
                    <a:cubicBezTo>
                      <a:pt x="8994" y="83144"/>
                      <a:pt x="8202" y="82933"/>
                      <a:pt x="7466" y="82585"/>
                    </a:cubicBezTo>
                    <a:cubicBezTo>
                      <a:pt x="6708" y="82021"/>
                      <a:pt x="6098" y="81274"/>
                      <a:pt x="5699" y="80420"/>
                    </a:cubicBezTo>
                    <a:lnTo>
                      <a:pt x="0" y="70046"/>
                    </a:lnTo>
                    <a:cubicBezTo>
                      <a:pt x="2765" y="70588"/>
                      <a:pt x="5614" y="70588"/>
                      <a:pt x="8378" y="70046"/>
                    </a:cubicBezTo>
                    <a:cubicBezTo>
                      <a:pt x="11228" y="69425"/>
                      <a:pt x="13457" y="67197"/>
                      <a:pt x="14078" y="64347"/>
                    </a:cubicBezTo>
                    <a:cubicBezTo>
                      <a:pt x="14078" y="62751"/>
                      <a:pt x="14078" y="60927"/>
                      <a:pt x="14876" y="59730"/>
                    </a:cubicBezTo>
                    <a:cubicBezTo>
                      <a:pt x="16871" y="57622"/>
                      <a:pt x="21088" y="60357"/>
                      <a:pt x="23083" y="58249"/>
                    </a:cubicBezTo>
                    <a:cubicBezTo>
                      <a:pt x="24109" y="55741"/>
                      <a:pt x="21886" y="52264"/>
                      <a:pt x="23881" y="50440"/>
                    </a:cubicBezTo>
                    <a:cubicBezTo>
                      <a:pt x="24428" y="50041"/>
                      <a:pt x="25049" y="49751"/>
                      <a:pt x="25705" y="49585"/>
                    </a:cubicBezTo>
                    <a:lnTo>
                      <a:pt x="35679" y="46622"/>
                    </a:lnTo>
                    <a:cubicBezTo>
                      <a:pt x="33012" y="43840"/>
                      <a:pt x="29786" y="41646"/>
                      <a:pt x="26218" y="40181"/>
                    </a:cubicBezTo>
                    <a:lnTo>
                      <a:pt x="25876" y="35736"/>
                    </a:lnTo>
                    <a:lnTo>
                      <a:pt x="17098" y="35736"/>
                    </a:lnTo>
                    <a:cubicBezTo>
                      <a:pt x="15315" y="34094"/>
                      <a:pt x="13810" y="32168"/>
                      <a:pt x="12653" y="30036"/>
                    </a:cubicBezTo>
                    <a:cubicBezTo>
                      <a:pt x="11456" y="27791"/>
                      <a:pt x="11456" y="25100"/>
                      <a:pt x="12653" y="22855"/>
                    </a:cubicBezTo>
                    <a:cubicBezTo>
                      <a:pt x="13565" y="21373"/>
                      <a:pt x="15275" y="20233"/>
                      <a:pt x="15446" y="18466"/>
                    </a:cubicBezTo>
                    <a:cubicBezTo>
                      <a:pt x="15617" y="16699"/>
                      <a:pt x="12995" y="14591"/>
                      <a:pt x="11684" y="12767"/>
                    </a:cubicBezTo>
                    <a:cubicBezTo>
                      <a:pt x="10248" y="10350"/>
                      <a:pt x="10550" y="7278"/>
                      <a:pt x="12425" y="5186"/>
                    </a:cubicBezTo>
                    <a:cubicBezTo>
                      <a:pt x="14363" y="3169"/>
                      <a:pt x="17241" y="2360"/>
                      <a:pt x="19948" y="3078"/>
                    </a:cubicBezTo>
                    <a:cubicBezTo>
                      <a:pt x="22245" y="4018"/>
                      <a:pt x="24474" y="5124"/>
                      <a:pt x="26617" y="6383"/>
                    </a:cubicBezTo>
                    <a:cubicBezTo>
                      <a:pt x="28834" y="7757"/>
                      <a:pt x="31695" y="7449"/>
                      <a:pt x="33570" y="5642"/>
                    </a:cubicBezTo>
                    <a:cubicBezTo>
                      <a:pt x="34026" y="5073"/>
                      <a:pt x="34311" y="4332"/>
                      <a:pt x="34767" y="3762"/>
                    </a:cubicBezTo>
                    <a:cubicBezTo>
                      <a:pt x="36608" y="2177"/>
                      <a:pt x="39161" y="1721"/>
                      <a:pt x="41435" y="2565"/>
                    </a:cubicBezTo>
                    <a:cubicBezTo>
                      <a:pt x="43692" y="3425"/>
                      <a:pt x="46172" y="3545"/>
                      <a:pt x="48503" y="2907"/>
                    </a:cubicBezTo>
                    <a:cubicBezTo>
                      <a:pt x="47990" y="1596"/>
                      <a:pt x="49016" y="570"/>
                      <a:pt x="50326" y="0"/>
                    </a:cubicBezTo>
                    <a:cubicBezTo>
                      <a:pt x="54766" y="4964"/>
                      <a:pt x="58141" y="10783"/>
                      <a:pt x="60243" y="17098"/>
                    </a:cubicBezTo>
                    <a:lnTo>
                      <a:pt x="66741" y="17098"/>
                    </a:lnTo>
                    <a:cubicBezTo>
                      <a:pt x="69135" y="14933"/>
                      <a:pt x="67824" y="10430"/>
                      <a:pt x="70332" y="8435"/>
                    </a:cubicBezTo>
                    <a:cubicBezTo>
                      <a:pt x="71529" y="7654"/>
                      <a:pt x="72971" y="7347"/>
                      <a:pt x="74378" y="7580"/>
                    </a:cubicBezTo>
                    <a:cubicBezTo>
                      <a:pt x="78362" y="8093"/>
                      <a:pt x="82221" y="9307"/>
                      <a:pt x="85777" y="11171"/>
                    </a:cubicBezTo>
                    <a:cubicBezTo>
                      <a:pt x="85504" y="11718"/>
                      <a:pt x="85367" y="12328"/>
                      <a:pt x="85378" y="12938"/>
                    </a:cubicBezTo>
                    <a:cubicBezTo>
                      <a:pt x="85663" y="14961"/>
                      <a:pt x="86632" y="16830"/>
                      <a:pt x="88114" y="18238"/>
                    </a:cubicBezTo>
                    <a:cubicBezTo>
                      <a:pt x="89579" y="20421"/>
                      <a:pt x="91750" y="22034"/>
                      <a:pt x="94270" y="22798"/>
                    </a:cubicBezTo>
                    <a:cubicBezTo>
                      <a:pt x="95352" y="22798"/>
                      <a:pt x="96663" y="22798"/>
                      <a:pt x="97347" y="23824"/>
                    </a:cubicBezTo>
                    <a:cubicBezTo>
                      <a:pt x="97683" y="24451"/>
                      <a:pt x="97820" y="25169"/>
                      <a:pt x="97746" y="25876"/>
                    </a:cubicBezTo>
                    <a:cubicBezTo>
                      <a:pt x="97324" y="31330"/>
                      <a:pt x="95854" y="36653"/>
                      <a:pt x="93414" y="4154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718" name="Freihandform: Form 434">
                <a:extLst>
                  <a:ext uri="{FF2B5EF4-FFF2-40B4-BE49-F238E27FC236}">
                    <a16:creationId xmlns:a16="http://schemas.microsoft.com/office/drawing/2014/main" id="{12FF6072-37CA-6AE8-E89C-E8DBA001A02C}"/>
                  </a:ext>
                </a:extLst>
              </p:cNvPr>
              <p:cNvSpPr/>
              <p:nvPr/>
            </p:nvSpPr>
            <p:spPr>
              <a:xfrm>
                <a:off x="5380442" y="2853792"/>
                <a:ext cx="1306800" cy="912549"/>
              </a:xfrm>
              <a:custGeom>
                <a:avLst/>
                <a:gdLst>
                  <a:gd name="connsiteX0" fmla="*/ 1300813 w 1677683"/>
                  <a:gd name="connsiteY0" fmla="*/ 2665 h 1171539"/>
                  <a:gd name="connsiteX1" fmla="*/ 1374088 w 1677683"/>
                  <a:gd name="connsiteY1" fmla="*/ 2665 h 1171539"/>
                  <a:gd name="connsiteX2" fmla="*/ 1435051 w 1677683"/>
                  <a:gd name="connsiteY2" fmla="*/ 40108 h 1171539"/>
                  <a:gd name="connsiteX3" fmla="*/ 1451685 w 1677683"/>
                  <a:gd name="connsiteY3" fmla="*/ 70737 h 1171539"/>
                  <a:gd name="connsiteX4" fmla="*/ 1459379 w 1677683"/>
                  <a:gd name="connsiteY4" fmla="*/ 83047 h 1171539"/>
                  <a:gd name="connsiteX5" fmla="*/ 1461576 w 1677683"/>
                  <a:gd name="connsiteY5" fmla="*/ 92647 h 1171539"/>
                  <a:gd name="connsiteX6" fmla="*/ 1478137 w 1677683"/>
                  <a:gd name="connsiteY6" fmla="*/ 136612 h 1171539"/>
                  <a:gd name="connsiteX7" fmla="*/ 1483120 w 1677683"/>
                  <a:gd name="connsiteY7" fmla="*/ 146137 h 1171539"/>
                  <a:gd name="connsiteX8" fmla="*/ 1486783 w 1677683"/>
                  <a:gd name="connsiteY8" fmla="*/ 157348 h 1171539"/>
                  <a:gd name="connsiteX9" fmla="*/ 1493378 w 1677683"/>
                  <a:gd name="connsiteY9" fmla="*/ 161598 h 1171539"/>
                  <a:gd name="connsiteX10" fmla="*/ 1520856 w 1677683"/>
                  <a:gd name="connsiteY10" fmla="*/ 173542 h 1171539"/>
                  <a:gd name="connsiteX11" fmla="*/ 1555588 w 1677683"/>
                  <a:gd name="connsiteY11" fmla="*/ 194791 h 1171539"/>
                  <a:gd name="connsiteX12" fmla="*/ 1584898 w 1677683"/>
                  <a:gd name="connsiteY12" fmla="*/ 227984 h 1171539"/>
                  <a:gd name="connsiteX13" fmla="*/ 1613694 w 1677683"/>
                  <a:gd name="connsiteY13" fmla="*/ 229084 h 1171539"/>
                  <a:gd name="connsiteX14" fmla="*/ 1656561 w 1677683"/>
                  <a:gd name="connsiteY14" fmla="*/ 213842 h 1171539"/>
                  <a:gd name="connsiteX15" fmla="*/ 1666012 w 1677683"/>
                  <a:gd name="connsiteY15" fmla="*/ 210618 h 1171539"/>
                  <a:gd name="connsiteX16" fmla="*/ 1666012 w 1677683"/>
                  <a:gd name="connsiteY16" fmla="*/ 210252 h 1171539"/>
                  <a:gd name="connsiteX17" fmla="*/ 1677662 w 1677683"/>
                  <a:gd name="connsiteY17" fmla="*/ 222708 h 1171539"/>
                  <a:gd name="connsiteX18" fmla="*/ 1673486 w 1677683"/>
                  <a:gd name="connsiteY18" fmla="*/ 241613 h 1171539"/>
                  <a:gd name="connsiteX19" fmla="*/ 1655680 w 1677683"/>
                  <a:gd name="connsiteY19" fmla="*/ 285945 h 1171539"/>
                  <a:gd name="connsiteX20" fmla="*/ 1619044 w 1677683"/>
                  <a:gd name="connsiteY20" fmla="*/ 326758 h 1171539"/>
                  <a:gd name="connsiteX21" fmla="*/ 1594131 w 1677683"/>
                  <a:gd name="connsiteY21" fmla="*/ 328004 h 1171539"/>
                  <a:gd name="connsiteX22" fmla="*/ 1584677 w 1677683"/>
                  <a:gd name="connsiteY22" fmla="*/ 334232 h 1171539"/>
                  <a:gd name="connsiteX23" fmla="*/ 1571343 w 1677683"/>
                  <a:gd name="connsiteY23" fmla="*/ 374606 h 1171539"/>
                  <a:gd name="connsiteX24" fmla="*/ 1578010 w 1677683"/>
                  <a:gd name="connsiteY24" fmla="*/ 405528 h 1171539"/>
                  <a:gd name="connsiteX25" fmla="*/ 1572438 w 1677683"/>
                  <a:gd name="connsiteY25" fmla="*/ 411099 h 1171539"/>
                  <a:gd name="connsiteX26" fmla="*/ 1570573 w 1677683"/>
                  <a:gd name="connsiteY26" fmla="*/ 411472 h 1171539"/>
                  <a:gd name="connsiteX27" fmla="*/ 1563429 w 1677683"/>
                  <a:gd name="connsiteY27" fmla="*/ 418616 h 1171539"/>
                  <a:gd name="connsiteX28" fmla="*/ 1553904 w 1677683"/>
                  <a:gd name="connsiteY28" fmla="*/ 423379 h 1171539"/>
                  <a:gd name="connsiteX29" fmla="*/ 1546760 w 1677683"/>
                  <a:gd name="connsiteY29" fmla="*/ 428141 h 1171539"/>
                  <a:gd name="connsiteX30" fmla="*/ 1539617 w 1677683"/>
                  <a:gd name="connsiteY30" fmla="*/ 430522 h 1171539"/>
                  <a:gd name="connsiteX31" fmla="*/ 1522948 w 1677683"/>
                  <a:gd name="connsiteY31" fmla="*/ 442429 h 1171539"/>
                  <a:gd name="connsiteX32" fmla="*/ 1506279 w 1677683"/>
                  <a:gd name="connsiteY32" fmla="*/ 456716 h 1171539"/>
                  <a:gd name="connsiteX33" fmla="*/ 1463417 w 1677683"/>
                  <a:gd name="connsiteY33" fmla="*/ 466241 h 1171539"/>
                  <a:gd name="connsiteX34" fmla="*/ 1456273 w 1677683"/>
                  <a:gd name="connsiteY34" fmla="*/ 468622 h 1171539"/>
                  <a:gd name="connsiteX35" fmla="*/ 1439604 w 1677683"/>
                  <a:gd name="connsiteY35" fmla="*/ 475766 h 1171539"/>
                  <a:gd name="connsiteX36" fmla="*/ 1422935 w 1677683"/>
                  <a:gd name="connsiteY36" fmla="*/ 480529 h 1171539"/>
                  <a:gd name="connsiteX37" fmla="*/ 1406267 w 1677683"/>
                  <a:gd name="connsiteY37" fmla="*/ 497197 h 1171539"/>
                  <a:gd name="connsiteX38" fmla="*/ 1399123 w 1677683"/>
                  <a:gd name="connsiteY38" fmla="*/ 501960 h 1171539"/>
                  <a:gd name="connsiteX39" fmla="*/ 1389598 w 1677683"/>
                  <a:gd name="connsiteY39" fmla="*/ 516247 h 1171539"/>
                  <a:gd name="connsiteX40" fmla="*/ 1388382 w 1677683"/>
                  <a:gd name="connsiteY40" fmla="*/ 517007 h 1171539"/>
                  <a:gd name="connsiteX41" fmla="*/ 1387422 w 1677683"/>
                  <a:gd name="connsiteY41" fmla="*/ 514780 h 1171539"/>
                  <a:gd name="connsiteX42" fmla="*/ 1373647 w 1677683"/>
                  <a:gd name="connsiteY42" fmla="*/ 517052 h 1171539"/>
                  <a:gd name="connsiteX43" fmla="*/ 1349320 w 1677683"/>
                  <a:gd name="connsiteY43" fmla="*/ 532513 h 1171539"/>
                  <a:gd name="connsiteX44" fmla="*/ 1325580 w 1677683"/>
                  <a:gd name="connsiteY44" fmla="*/ 547534 h 1171539"/>
                  <a:gd name="connsiteX45" fmla="*/ 1310118 w 1677683"/>
                  <a:gd name="connsiteY45" fmla="*/ 561383 h 1171539"/>
                  <a:gd name="connsiteX46" fmla="*/ 1305135 w 1677683"/>
                  <a:gd name="connsiteY46" fmla="*/ 559551 h 1171539"/>
                  <a:gd name="connsiteX47" fmla="*/ 1299421 w 1677683"/>
                  <a:gd name="connsiteY47" fmla="*/ 538229 h 1171539"/>
                  <a:gd name="connsiteX48" fmla="*/ 1307482 w 1677683"/>
                  <a:gd name="connsiteY48" fmla="*/ 524893 h 1171539"/>
                  <a:gd name="connsiteX49" fmla="*/ 1322135 w 1677683"/>
                  <a:gd name="connsiteY49" fmla="*/ 511923 h 1171539"/>
                  <a:gd name="connsiteX50" fmla="*/ 1325873 w 1677683"/>
                  <a:gd name="connsiteY50" fmla="*/ 508186 h 1171539"/>
                  <a:gd name="connsiteX51" fmla="*/ 1329024 w 1677683"/>
                  <a:gd name="connsiteY51" fmla="*/ 497268 h 1171539"/>
                  <a:gd name="connsiteX52" fmla="*/ 1299714 w 1677683"/>
                  <a:gd name="connsiteY52" fmla="*/ 483932 h 1171539"/>
                  <a:gd name="connsiteX53" fmla="*/ 1274361 w 1677683"/>
                  <a:gd name="connsiteY53" fmla="*/ 510824 h 1171539"/>
                  <a:gd name="connsiteX54" fmla="*/ 1254210 w 1677683"/>
                  <a:gd name="connsiteY54" fmla="*/ 513314 h 1171539"/>
                  <a:gd name="connsiteX55" fmla="*/ 1241534 w 1677683"/>
                  <a:gd name="connsiteY55" fmla="*/ 527969 h 1171539"/>
                  <a:gd name="connsiteX56" fmla="*/ 1240728 w 1677683"/>
                  <a:gd name="connsiteY56" fmla="*/ 535297 h 1171539"/>
                  <a:gd name="connsiteX57" fmla="*/ 1226512 w 1677683"/>
                  <a:gd name="connsiteY57" fmla="*/ 550465 h 1171539"/>
                  <a:gd name="connsiteX58" fmla="*/ 1197202 w 1677683"/>
                  <a:gd name="connsiteY58" fmla="*/ 550465 h 1171539"/>
                  <a:gd name="connsiteX59" fmla="*/ 1193538 w 1677683"/>
                  <a:gd name="connsiteY59" fmla="*/ 570029 h 1171539"/>
                  <a:gd name="connsiteX60" fmla="*/ 1205923 w 1677683"/>
                  <a:gd name="connsiteY60" fmla="*/ 583731 h 1171539"/>
                  <a:gd name="connsiteX61" fmla="*/ 1218672 w 1677683"/>
                  <a:gd name="connsiteY61" fmla="*/ 583145 h 1171539"/>
                  <a:gd name="connsiteX62" fmla="*/ 1225999 w 1677683"/>
                  <a:gd name="connsiteY62" fmla="*/ 592891 h 1171539"/>
                  <a:gd name="connsiteX63" fmla="*/ 1235818 w 1677683"/>
                  <a:gd name="connsiteY63" fmla="*/ 617877 h 1171539"/>
                  <a:gd name="connsiteX64" fmla="*/ 1255969 w 1677683"/>
                  <a:gd name="connsiteY64" fmla="*/ 619856 h 1171539"/>
                  <a:gd name="connsiteX65" fmla="*/ 1256335 w 1677683"/>
                  <a:gd name="connsiteY65" fmla="*/ 614645 h 1171539"/>
                  <a:gd name="connsiteX66" fmla="*/ 1274581 w 1677683"/>
                  <a:gd name="connsiteY66" fmla="*/ 603589 h 1171539"/>
                  <a:gd name="connsiteX67" fmla="*/ 1277438 w 1677683"/>
                  <a:gd name="connsiteY67" fmla="*/ 593551 h 1171539"/>
                  <a:gd name="connsiteX68" fmla="*/ 1335471 w 1677683"/>
                  <a:gd name="connsiteY68" fmla="*/ 613481 h 1171539"/>
                  <a:gd name="connsiteX69" fmla="*/ 1320816 w 1677683"/>
                  <a:gd name="connsiteY69" fmla="*/ 628136 h 1171539"/>
                  <a:gd name="connsiteX70" fmla="*/ 1297149 w 1677683"/>
                  <a:gd name="connsiteY70" fmla="*/ 628942 h 1171539"/>
                  <a:gd name="connsiteX71" fmla="*/ 1286818 w 1677683"/>
                  <a:gd name="connsiteY71" fmla="*/ 642937 h 1171539"/>
                  <a:gd name="connsiteX72" fmla="*/ 1272602 w 1677683"/>
                  <a:gd name="connsiteY72" fmla="*/ 654954 h 1171539"/>
                  <a:gd name="connsiteX73" fmla="*/ 1272602 w 1677683"/>
                  <a:gd name="connsiteY73" fmla="*/ 659131 h 1171539"/>
                  <a:gd name="connsiteX74" fmla="*/ 1265274 w 1677683"/>
                  <a:gd name="connsiteY74" fmla="*/ 663015 h 1171539"/>
                  <a:gd name="connsiteX75" fmla="*/ 1237357 w 1677683"/>
                  <a:gd name="connsiteY75" fmla="*/ 684191 h 1171539"/>
                  <a:gd name="connsiteX76" fmla="*/ 1235233 w 1677683"/>
                  <a:gd name="connsiteY76" fmla="*/ 692398 h 1171539"/>
                  <a:gd name="connsiteX77" fmla="*/ 1271430 w 1677683"/>
                  <a:gd name="connsiteY77" fmla="*/ 743177 h 1171539"/>
                  <a:gd name="connsiteX78" fmla="*/ 1273042 w 1677683"/>
                  <a:gd name="connsiteY78" fmla="*/ 751603 h 1171539"/>
                  <a:gd name="connsiteX79" fmla="*/ 1283300 w 1677683"/>
                  <a:gd name="connsiteY79" fmla="*/ 763913 h 1171539"/>
                  <a:gd name="connsiteX80" fmla="*/ 1281834 w 1677683"/>
                  <a:gd name="connsiteY80" fmla="*/ 770215 h 1171539"/>
                  <a:gd name="connsiteX81" fmla="*/ 1298248 w 1677683"/>
                  <a:gd name="connsiteY81" fmla="*/ 785676 h 1171539"/>
                  <a:gd name="connsiteX82" fmla="*/ 1311364 w 1677683"/>
                  <a:gd name="connsiteY82" fmla="*/ 802822 h 1171539"/>
                  <a:gd name="connsiteX83" fmla="*/ 1304036 w 1677683"/>
                  <a:gd name="connsiteY83" fmla="*/ 807658 h 1171539"/>
                  <a:gd name="connsiteX84" fmla="*/ 1273702 w 1677683"/>
                  <a:gd name="connsiteY84" fmla="*/ 792343 h 1171539"/>
                  <a:gd name="connsiteX85" fmla="*/ 1278390 w 1677683"/>
                  <a:gd name="connsiteY85" fmla="*/ 806998 h 1171539"/>
                  <a:gd name="connsiteX86" fmla="*/ 1296929 w 1677683"/>
                  <a:gd name="connsiteY86" fmla="*/ 823119 h 1171539"/>
                  <a:gd name="connsiteX87" fmla="*/ 1310265 w 1677683"/>
                  <a:gd name="connsiteY87" fmla="*/ 830447 h 1171539"/>
                  <a:gd name="connsiteX88" fmla="*/ 1306602 w 1677683"/>
                  <a:gd name="connsiteY88" fmla="*/ 840778 h 1171539"/>
                  <a:gd name="connsiteX89" fmla="*/ 1293485 w 1677683"/>
                  <a:gd name="connsiteY89" fmla="*/ 842390 h 1171539"/>
                  <a:gd name="connsiteX90" fmla="*/ 1280955 w 1677683"/>
                  <a:gd name="connsiteY90" fmla="*/ 859537 h 1171539"/>
                  <a:gd name="connsiteX91" fmla="*/ 1307774 w 1677683"/>
                  <a:gd name="connsiteY91" fmla="*/ 862101 h 1171539"/>
                  <a:gd name="connsiteX92" fmla="*/ 1311364 w 1677683"/>
                  <a:gd name="connsiteY92" fmla="*/ 879833 h 1171539"/>
                  <a:gd name="connsiteX93" fmla="*/ 1282054 w 1677683"/>
                  <a:gd name="connsiteY93" fmla="*/ 937574 h 1171539"/>
                  <a:gd name="connsiteX94" fmla="*/ 1276778 w 1677683"/>
                  <a:gd name="connsiteY94" fmla="*/ 942337 h 1171539"/>
                  <a:gd name="connsiteX95" fmla="*/ 1266813 w 1677683"/>
                  <a:gd name="connsiteY95" fmla="*/ 944021 h 1171539"/>
                  <a:gd name="connsiteX96" fmla="*/ 1223874 w 1677683"/>
                  <a:gd name="connsiteY96" fmla="*/ 965198 h 1171539"/>
                  <a:gd name="connsiteX97" fmla="*/ 1223361 w 1677683"/>
                  <a:gd name="connsiteY97" fmla="*/ 976629 h 1171539"/>
                  <a:gd name="connsiteX98" fmla="*/ 1218306 w 1677683"/>
                  <a:gd name="connsiteY98" fmla="*/ 1032684 h 1171539"/>
                  <a:gd name="connsiteX99" fmla="*/ 1216033 w 1677683"/>
                  <a:gd name="connsiteY99" fmla="*/ 1040743 h 1171539"/>
                  <a:gd name="connsiteX100" fmla="*/ 1210172 w 1677683"/>
                  <a:gd name="connsiteY100" fmla="*/ 1044700 h 1171539"/>
                  <a:gd name="connsiteX101" fmla="*/ 1159540 w 1677683"/>
                  <a:gd name="connsiteY101" fmla="*/ 1067929 h 1171539"/>
                  <a:gd name="connsiteX102" fmla="*/ 1127445 w 1677683"/>
                  <a:gd name="connsiteY102" fmla="*/ 1092842 h 1171539"/>
                  <a:gd name="connsiteX103" fmla="*/ 1102532 w 1677683"/>
                  <a:gd name="connsiteY103" fmla="*/ 1108597 h 1171539"/>
                  <a:gd name="connsiteX104" fmla="*/ 1073222 w 1677683"/>
                  <a:gd name="connsiteY104" fmla="*/ 1096432 h 1171539"/>
                  <a:gd name="connsiteX105" fmla="*/ 1072563 w 1677683"/>
                  <a:gd name="connsiteY105" fmla="*/ 1100338 h 1171539"/>
                  <a:gd name="connsiteX106" fmla="*/ 1052118 w 1677683"/>
                  <a:gd name="connsiteY106" fmla="*/ 1111527 h 1171539"/>
                  <a:gd name="connsiteX107" fmla="*/ 1039737 w 1677683"/>
                  <a:gd name="connsiteY107" fmla="*/ 1135268 h 1171539"/>
                  <a:gd name="connsiteX108" fmla="*/ 1011306 w 1677683"/>
                  <a:gd name="connsiteY108" fmla="*/ 1142229 h 1171539"/>
                  <a:gd name="connsiteX109" fmla="*/ 987784 w 1677683"/>
                  <a:gd name="connsiteY109" fmla="*/ 1157763 h 1171539"/>
                  <a:gd name="connsiteX110" fmla="*/ 977599 w 1677683"/>
                  <a:gd name="connsiteY110" fmla="*/ 1171539 h 1171539"/>
                  <a:gd name="connsiteX111" fmla="*/ 972030 w 1677683"/>
                  <a:gd name="connsiteY111" fmla="*/ 1156444 h 1171539"/>
                  <a:gd name="connsiteX112" fmla="*/ 974082 w 1677683"/>
                  <a:gd name="connsiteY112" fmla="*/ 1138491 h 1171539"/>
                  <a:gd name="connsiteX113" fmla="*/ 962578 w 1677683"/>
                  <a:gd name="connsiteY113" fmla="*/ 1136954 h 1171539"/>
                  <a:gd name="connsiteX114" fmla="*/ 955909 w 1677683"/>
                  <a:gd name="connsiteY114" fmla="*/ 1143255 h 1171539"/>
                  <a:gd name="connsiteX115" fmla="*/ 950561 w 1677683"/>
                  <a:gd name="connsiteY115" fmla="*/ 1131897 h 1171539"/>
                  <a:gd name="connsiteX116" fmla="*/ 934807 w 1677683"/>
                  <a:gd name="connsiteY116" fmla="*/ 1132704 h 1171539"/>
                  <a:gd name="connsiteX117" fmla="*/ 928578 w 1677683"/>
                  <a:gd name="connsiteY117" fmla="*/ 1145526 h 1171539"/>
                  <a:gd name="connsiteX118" fmla="*/ 927334 w 1677683"/>
                  <a:gd name="connsiteY118" fmla="*/ 1145526 h 1171539"/>
                  <a:gd name="connsiteX119" fmla="*/ 910553 w 1677683"/>
                  <a:gd name="connsiteY119" fmla="*/ 1136879 h 1171539"/>
                  <a:gd name="connsiteX120" fmla="*/ 883955 w 1677683"/>
                  <a:gd name="connsiteY120" fmla="*/ 1112113 h 1171539"/>
                  <a:gd name="connsiteX121" fmla="*/ 883955 w 1677683"/>
                  <a:gd name="connsiteY121" fmla="*/ 1100682 h 1171539"/>
                  <a:gd name="connsiteX122" fmla="*/ 868054 w 1677683"/>
                  <a:gd name="connsiteY122" fmla="*/ 1091523 h 1171539"/>
                  <a:gd name="connsiteX123" fmla="*/ 845558 w 1677683"/>
                  <a:gd name="connsiteY123" fmla="*/ 1078334 h 1171539"/>
                  <a:gd name="connsiteX124" fmla="*/ 828999 w 1677683"/>
                  <a:gd name="connsiteY124" fmla="*/ 1097678 h 1171539"/>
                  <a:gd name="connsiteX125" fmla="*/ 801373 w 1677683"/>
                  <a:gd name="connsiteY125" fmla="*/ 1097678 h 1171539"/>
                  <a:gd name="connsiteX126" fmla="*/ 774555 w 1677683"/>
                  <a:gd name="connsiteY126" fmla="*/ 1102294 h 1171539"/>
                  <a:gd name="connsiteX127" fmla="*/ 765396 w 1677683"/>
                  <a:gd name="connsiteY127" fmla="*/ 1109036 h 1171539"/>
                  <a:gd name="connsiteX128" fmla="*/ 739970 w 1677683"/>
                  <a:gd name="connsiteY128" fmla="*/ 1114458 h 1171539"/>
                  <a:gd name="connsiteX129" fmla="*/ 737186 w 1677683"/>
                  <a:gd name="connsiteY129" fmla="*/ 1127647 h 1171539"/>
                  <a:gd name="connsiteX130" fmla="*/ 736014 w 1677683"/>
                  <a:gd name="connsiteY130" fmla="*/ 1131561 h 1171539"/>
                  <a:gd name="connsiteX131" fmla="*/ 705311 w 1677683"/>
                  <a:gd name="connsiteY131" fmla="*/ 1145087 h 1171539"/>
                  <a:gd name="connsiteX132" fmla="*/ 685967 w 1677683"/>
                  <a:gd name="connsiteY132" fmla="*/ 1120980 h 1171539"/>
                  <a:gd name="connsiteX133" fmla="*/ 680251 w 1677683"/>
                  <a:gd name="connsiteY133" fmla="*/ 1109036 h 1171539"/>
                  <a:gd name="connsiteX134" fmla="*/ 675123 w 1677683"/>
                  <a:gd name="connsiteY134" fmla="*/ 1100902 h 1171539"/>
                  <a:gd name="connsiteX135" fmla="*/ 669334 w 1677683"/>
                  <a:gd name="connsiteY135" fmla="*/ 1096432 h 1171539"/>
                  <a:gd name="connsiteX136" fmla="*/ 643248 w 1677683"/>
                  <a:gd name="connsiteY136" fmla="*/ 1059795 h 1171539"/>
                  <a:gd name="connsiteX137" fmla="*/ 631231 w 1677683"/>
                  <a:gd name="connsiteY137" fmla="*/ 1057743 h 1171539"/>
                  <a:gd name="connsiteX138" fmla="*/ 631231 w 1677683"/>
                  <a:gd name="connsiteY138" fmla="*/ 1043088 h 1171539"/>
                  <a:gd name="connsiteX139" fmla="*/ 640976 w 1677683"/>
                  <a:gd name="connsiteY139" fmla="*/ 1029899 h 1171539"/>
                  <a:gd name="connsiteX140" fmla="*/ 642222 w 1677683"/>
                  <a:gd name="connsiteY140" fmla="*/ 1016563 h 1171539"/>
                  <a:gd name="connsiteX141" fmla="*/ 654825 w 1677683"/>
                  <a:gd name="connsiteY141" fmla="*/ 993042 h 1171539"/>
                  <a:gd name="connsiteX142" fmla="*/ 661787 w 1677683"/>
                  <a:gd name="connsiteY142" fmla="*/ 967470 h 1171539"/>
                  <a:gd name="connsiteX143" fmla="*/ 611740 w 1677683"/>
                  <a:gd name="connsiteY143" fmla="*/ 917716 h 1171539"/>
                  <a:gd name="connsiteX144" fmla="*/ 611740 w 1677683"/>
                  <a:gd name="connsiteY144" fmla="*/ 909656 h 1171539"/>
                  <a:gd name="connsiteX145" fmla="*/ 591590 w 1677683"/>
                  <a:gd name="connsiteY145" fmla="*/ 889872 h 1171539"/>
                  <a:gd name="connsiteX146" fmla="*/ 575909 w 1677683"/>
                  <a:gd name="connsiteY146" fmla="*/ 893609 h 1171539"/>
                  <a:gd name="connsiteX147" fmla="*/ 554512 w 1677683"/>
                  <a:gd name="connsiteY147" fmla="*/ 902035 h 1171539"/>
                  <a:gd name="connsiteX148" fmla="*/ 547185 w 1677683"/>
                  <a:gd name="connsiteY148" fmla="*/ 906505 h 1171539"/>
                  <a:gd name="connsiteX149" fmla="*/ 539418 w 1677683"/>
                  <a:gd name="connsiteY149" fmla="*/ 934936 h 1171539"/>
                  <a:gd name="connsiteX150" fmla="*/ 529966 w 1677683"/>
                  <a:gd name="connsiteY150" fmla="*/ 936694 h 1171539"/>
                  <a:gd name="connsiteX151" fmla="*/ 509083 w 1677683"/>
                  <a:gd name="connsiteY151" fmla="*/ 944021 h 1171539"/>
                  <a:gd name="connsiteX152" fmla="*/ 501316 w 1677683"/>
                  <a:gd name="connsiteY152" fmla="*/ 964172 h 1171539"/>
                  <a:gd name="connsiteX153" fmla="*/ 505419 w 1677683"/>
                  <a:gd name="connsiteY153" fmla="*/ 978094 h 1171539"/>
                  <a:gd name="connsiteX154" fmla="*/ 492010 w 1677683"/>
                  <a:gd name="connsiteY154" fmla="*/ 995241 h 1171539"/>
                  <a:gd name="connsiteX155" fmla="*/ 474864 w 1677683"/>
                  <a:gd name="connsiteY155" fmla="*/ 981832 h 1171539"/>
                  <a:gd name="connsiteX156" fmla="*/ 473764 w 1677683"/>
                  <a:gd name="connsiteY156" fmla="*/ 965784 h 1171539"/>
                  <a:gd name="connsiteX157" fmla="*/ 474570 w 1677683"/>
                  <a:gd name="connsiteY157" fmla="*/ 964099 h 1171539"/>
                  <a:gd name="connsiteX158" fmla="*/ 465778 w 1677683"/>
                  <a:gd name="connsiteY158" fmla="*/ 929806 h 1171539"/>
                  <a:gd name="connsiteX159" fmla="*/ 458450 w 1677683"/>
                  <a:gd name="connsiteY159" fmla="*/ 925264 h 1171539"/>
                  <a:gd name="connsiteX160" fmla="*/ 452149 w 1677683"/>
                  <a:gd name="connsiteY160" fmla="*/ 924091 h 1171539"/>
                  <a:gd name="connsiteX161" fmla="*/ 426282 w 1677683"/>
                  <a:gd name="connsiteY161" fmla="*/ 928488 h 1171539"/>
                  <a:gd name="connsiteX162" fmla="*/ 393749 w 1677683"/>
                  <a:gd name="connsiteY162" fmla="*/ 943143 h 1171539"/>
                  <a:gd name="connsiteX163" fmla="*/ 383491 w 1677683"/>
                  <a:gd name="connsiteY163" fmla="*/ 936987 h 1171539"/>
                  <a:gd name="connsiteX164" fmla="*/ 354914 w 1677683"/>
                  <a:gd name="connsiteY164" fmla="*/ 930832 h 1171539"/>
                  <a:gd name="connsiteX165" fmla="*/ 345387 w 1677683"/>
                  <a:gd name="connsiteY165" fmla="*/ 925117 h 1171539"/>
                  <a:gd name="connsiteX166" fmla="*/ 328682 w 1677683"/>
                  <a:gd name="connsiteY166" fmla="*/ 922479 h 1171539"/>
                  <a:gd name="connsiteX167" fmla="*/ 263320 w 1677683"/>
                  <a:gd name="connsiteY167" fmla="*/ 886722 h 1171539"/>
                  <a:gd name="connsiteX168" fmla="*/ 236648 w 1677683"/>
                  <a:gd name="connsiteY168" fmla="*/ 864079 h 1171539"/>
                  <a:gd name="connsiteX169" fmla="*/ 236319 w 1677683"/>
                  <a:gd name="connsiteY169" fmla="*/ 863669 h 1171539"/>
                  <a:gd name="connsiteX170" fmla="*/ 188141 w 1677683"/>
                  <a:gd name="connsiteY170" fmla="*/ 859097 h 1171539"/>
                  <a:gd name="connsiteX171" fmla="*/ 184038 w 1677683"/>
                  <a:gd name="connsiteY171" fmla="*/ 861221 h 1171539"/>
                  <a:gd name="connsiteX172" fmla="*/ 175172 w 1677683"/>
                  <a:gd name="connsiteY172" fmla="*/ 838873 h 1171539"/>
                  <a:gd name="connsiteX173" fmla="*/ 157805 w 1677683"/>
                  <a:gd name="connsiteY173" fmla="*/ 829641 h 1171539"/>
                  <a:gd name="connsiteX174" fmla="*/ 134723 w 1677683"/>
                  <a:gd name="connsiteY174" fmla="*/ 810662 h 1171539"/>
                  <a:gd name="connsiteX175" fmla="*/ 134723 w 1677683"/>
                  <a:gd name="connsiteY175" fmla="*/ 780766 h 1171539"/>
                  <a:gd name="connsiteX176" fmla="*/ 147621 w 1677683"/>
                  <a:gd name="connsiteY176" fmla="*/ 774978 h 1171539"/>
                  <a:gd name="connsiteX177" fmla="*/ 148134 w 1677683"/>
                  <a:gd name="connsiteY177" fmla="*/ 752995 h 1171539"/>
                  <a:gd name="connsiteX178" fmla="*/ 139267 w 1677683"/>
                  <a:gd name="connsiteY178" fmla="*/ 730647 h 1171539"/>
                  <a:gd name="connsiteX179" fmla="*/ 144470 w 1677683"/>
                  <a:gd name="connsiteY179" fmla="*/ 728961 h 1171539"/>
                  <a:gd name="connsiteX180" fmla="*/ 155680 w 1677683"/>
                  <a:gd name="connsiteY180" fmla="*/ 722366 h 1171539"/>
                  <a:gd name="connsiteX181" fmla="*/ 155680 w 1677683"/>
                  <a:gd name="connsiteY181" fmla="*/ 718703 h 1171539"/>
                  <a:gd name="connsiteX182" fmla="*/ 160810 w 1677683"/>
                  <a:gd name="connsiteY182" fmla="*/ 711375 h 1171539"/>
                  <a:gd name="connsiteX183" fmla="*/ 169309 w 1677683"/>
                  <a:gd name="connsiteY183" fmla="*/ 707711 h 1171539"/>
                  <a:gd name="connsiteX184" fmla="*/ 171258 w 1677683"/>
                  <a:gd name="connsiteY184" fmla="*/ 706370 h 1171539"/>
                  <a:gd name="connsiteX185" fmla="*/ 174586 w 1677683"/>
                  <a:gd name="connsiteY185" fmla="*/ 679427 h 1171539"/>
                  <a:gd name="connsiteX186" fmla="*/ 167257 w 1677683"/>
                  <a:gd name="connsiteY186" fmla="*/ 673493 h 1171539"/>
                  <a:gd name="connsiteX187" fmla="*/ 153922 w 1677683"/>
                  <a:gd name="connsiteY187" fmla="*/ 664407 h 1171539"/>
                  <a:gd name="connsiteX188" fmla="*/ 148060 w 1677683"/>
                  <a:gd name="connsiteY188" fmla="*/ 661036 h 1171539"/>
                  <a:gd name="connsiteX189" fmla="*/ 130547 w 1677683"/>
                  <a:gd name="connsiteY189" fmla="*/ 663821 h 1171539"/>
                  <a:gd name="connsiteX190" fmla="*/ 119410 w 1677683"/>
                  <a:gd name="connsiteY190" fmla="*/ 678475 h 1171539"/>
                  <a:gd name="connsiteX191" fmla="*/ 115893 w 1677683"/>
                  <a:gd name="connsiteY191" fmla="*/ 685290 h 1171539"/>
                  <a:gd name="connsiteX192" fmla="*/ 113181 w 1677683"/>
                  <a:gd name="connsiteY192" fmla="*/ 687928 h 1171539"/>
                  <a:gd name="connsiteX193" fmla="*/ 109370 w 1677683"/>
                  <a:gd name="connsiteY193" fmla="*/ 680600 h 1171539"/>
                  <a:gd name="connsiteX194" fmla="*/ 104096 w 1677683"/>
                  <a:gd name="connsiteY194" fmla="*/ 679867 h 1171539"/>
                  <a:gd name="connsiteX195" fmla="*/ 90760 w 1677683"/>
                  <a:gd name="connsiteY195" fmla="*/ 680526 h 1171539"/>
                  <a:gd name="connsiteX196" fmla="*/ 90320 w 1677683"/>
                  <a:gd name="connsiteY196" fmla="*/ 678255 h 1171539"/>
                  <a:gd name="connsiteX197" fmla="*/ 83651 w 1677683"/>
                  <a:gd name="connsiteY197" fmla="*/ 668583 h 1171539"/>
                  <a:gd name="connsiteX198" fmla="*/ 52071 w 1677683"/>
                  <a:gd name="connsiteY198" fmla="*/ 634511 h 1171539"/>
                  <a:gd name="connsiteX199" fmla="*/ 33899 w 1677683"/>
                  <a:gd name="connsiteY199" fmla="*/ 621102 h 1171539"/>
                  <a:gd name="connsiteX200" fmla="*/ 36757 w 1677683"/>
                  <a:gd name="connsiteY200" fmla="*/ 607766 h 1171539"/>
                  <a:gd name="connsiteX201" fmla="*/ 38295 w 1677683"/>
                  <a:gd name="connsiteY201" fmla="*/ 597800 h 1171539"/>
                  <a:gd name="connsiteX202" fmla="*/ 34485 w 1677683"/>
                  <a:gd name="connsiteY202" fmla="*/ 588934 h 1171539"/>
                  <a:gd name="connsiteX203" fmla="*/ 15213 w 1677683"/>
                  <a:gd name="connsiteY203" fmla="*/ 568123 h 1171539"/>
                  <a:gd name="connsiteX204" fmla="*/ 4222 w 1677683"/>
                  <a:gd name="connsiteY204" fmla="*/ 562848 h 1171539"/>
                  <a:gd name="connsiteX205" fmla="*/ 119 w 1677683"/>
                  <a:gd name="connsiteY205" fmla="*/ 548194 h 1171539"/>
                  <a:gd name="connsiteX206" fmla="*/ 119 w 1677683"/>
                  <a:gd name="connsiteY206" fmla="*/ 529728 h 1171539"/>
                  <a:gd name="connsiteX207" fmla="*/ 4222 w 1677683"/>
                  <a:gd name="connsiteY207" fmla="*/ 517858 h 1171539"/>
                  <a:gd name="connsiteX208" fmla="*/ 14773 w 1677683"/>
                  <a:gd name="connsiteY208" fmla="*/ 515073 h 1171539"/>
                  <a:gd name="connsiteX209" fmla="*/ 33459 w 1677683"/>
                  <a:gd name="connsiteY209" fmla="*/ 500052 h 1171539"/>
                  <a:gd name="connsiteX210" fmla="*/ 54195 w 1677683"/>
                  <a:gd name="connsiteY210" fmla="*/ 501078 h 1171539"/>
                  <a:gd name="connsiteX211" fmla="*/ 57712 w 1677683"/>
                  <a:gd name="connsiteY211" fmla="*/ 511555 h 1171539"/>
                  <a:gd name="connsiteX212" fmla="*/ 71341 w 1677683"/>
                  <a:gd name="connsiteY212" fmla="*/ 510311 h 1171539"/>
                  <a:gd name="connsiteX213" fmla="*/ 70975 w 1677683"/>
                  <a:gd name="connsiteY213" fmla="*/ 495656 h 1171539"/>
                  <a:gd name="connsiteX214" fmla="*/ 86143 w 1677683"/>
                  <a:gd name="connsiteY214" fmla="*/ 490966 h 1171539"/>
                  <a:gd name="connsiteX215" fmla="*/ 89367 w 1677683"/>
                  <a:gd name="connsiteY215" fmla="*/ 485543 h 1171539"/>
                  <a:gd name="connsiteX216" fmla="*/ 114867 w 1677683"/>
                  <a:gd name="connsiteY216" fmla="*/ 483858 h 1171539"/>
                  <a:gd name="connsiteX217" fmla="*/ 141612 w 1677683"/>
                  <a:gd name="connsiteY217" fmla="*/ 459678 h 1171539"/>
                  <a:gd name="connsiteX218" fmla="*/ 153775 w 1677683"/>
                  <a:gd name="connsiteY218" fmla="*/ 455062 h 1171539"/>
                  <a:gd name="connsiteX219" fmla="*/ 166085 w 1677683"/>
                  <a:gd name="connsiteY219" fmla="*/ 443630 h 1171539"/>
                  <a:gd name="connsiteX220" fmla="*/ 172460 w 1677683"/>
                  <a:gd name="connsiteY220" fmla="*/ 442384 h 1171539"/>
                  <a:gd name="connsiteX221" fmla="*/ 177149 w 1677683"/>
                  <a:gd name="connsiteY221" fmla="*/ 436523 h 1171539"/>
                  <a:gd name="connsiteX222" fmla="*/ 191804 w 1677683"/>
                  <a:gd name="connsiteY222" fmla="*/ 406627 h 1171539"/>
                  <a:gd name="connsiteX223" fmla="*/ 192574 w 1677683"/>
                  <a:gd name="connsiteY223" fmla="*/ 406326 h 1171539"/>
                  <a:gd name="connsiteX224" fmla="*/ 198253 w 1677683"/>
                  <a:gd name="connsiteY224" fmla="*/ 391972 h 1171539"/>
                  <a:gd name="connsiteX225" fmla="*/ 188288 w 1677683"/>
                  <a:gd name="connsiteY225" fmla="*/ 382007 h 1171539"/>
                  <a:gd name="connsiteX226" fmla="*/ 184184 w 1677683"/>
                  <a:gd name="connsiteY226" fmla="*/ 347201 h 1171539"/>
                  <a:gd name="connsiteX227" fmla="*/ 182572 w 1677683"/>
                  <a:gd name="connsiteY227" fmla="*/ 339361 h 1171539"/>
                  <a:gd name="connsiteX228" fmla="*/ 189093 w 1677683"/>
                  <a:gd name="connsiteY228" fmla="*/ 332033 h 1171539"/>
                  <a:gd name="connsiteX229" fmla="*/ 225731 w 1677683"/>
                  <a:gd name="connsiteY229" fmla="*/ 321775 h 1171539"/>
                  <a:gd name="connsiteX230" fmla="*/ 246467 w 1677683"/>
                  <a:gd name="connsiteY230" fmla="*/ 328151 h 1171539"/>
                  <a:gd name="connsiteX231" fmla="*/ 248299 w 1677683"/>
                  <a:gd name="connsiteY231" fmla="*/ 306168 h 1171539"/>
                  <a:gd name="connsiteX232" fmla="*/ 250131 w 1677683"/>
                  <a:gd name="connsiteY232" fmla="*/ 275100 h 1171539"/>
                  <a:gd name="connsiteX233" fmla="*/ 262074 w 1677683"/>
                  <a:gd name="connsiteY233" fmla="*/ 267772 h 1171539"/>
                  <a:gd name="connsiteX234" fmla="*/ 265372 w 1677683"/>
                  <a:gd name="connsiteY234" fmla="*/ 256048 h 1171539"/>
                  <a:gd name="connsiteX235" fmla="*/ 279221 w 1677683"/>
                  <a:gd name="connsiteY235" fmla="*/ 257880 h 1171539"/>
                  <a:gd name="connsiteX236" fmla="*/ 308531 w 1677683"/>
                  <a:gd name="connsiteY236" fmla="*/ 260812 h 1171539"/>
                  <a:gd name="connsiteX237" fmla="*/ 322673 w 1677683"/>
                  <a:gd name="connsiteY237" fmla="*/ 254583 h 1171539"/>
                  <a:gd name="connsiteX238" fmla="*/ 324505 w 1677683"/>
                  <a:gd name="connsiteY238" fmla="*/ 243812 h 1171539"/>
                  <a:gd name="connsiteX239" fmla="*/ 329048 w 1677683"/>
                  <a:gd name="connsiteY239" fmla="*/ 238536 h 1171539"/>
                  <a:gd name="connsiteX240" fmla="*/ 330366 w 1677683"/>
                  <a:gd name="connsiteY240" fmla="*/ 226592 h 1171539"/>
                  <a:gd name="connsiteX241" fmla="*/ 349711 w 1677683"/>
                  <a:gd name="connsiteY241" fmla="*/ 194791 h 1171539"/>
                  <a:gd name="connsiteX242" fmla="*/ 357039 w 1677683"/>
                  <a:gd name="connsiteY242" fmla="*/ 190835 h 1171539"/>
                  <a:gd name="connsiteX243" fmla="*/ 362827 w 1677683"/>
                  <a:gd name="connsiteY243" fmla="*/ 179036 h 1171539"/>
                  <a:gd name="connsiteX244" fmla="*/ 372060 w 1677683"/>
                  <a:gd name="connsiteY244" fmla="*/ 170610 h 1171539"/>
                  <a:gd name="connsiteX245" fmla="*/ 385102 w 1677683"/>
                  <a:gd name="connsiteY245" fmla="*/ 188636 h 1171539"/>
                  <a:gd name="connsiteX246" fmla="*/ 396387 w 1677683"/>
                  <a:gd name="connsiteY246" fmla="*/ 197575 h 1171539"/>
                  <a:gd name="connsiteX247" fmla="*/ 408184 w 1677683"/>
                  <a:gd name="connsiteY247" fmla="*/ 211204 h 1171539"/>
                  <a:gd name="connsiteX248" fmla="*/ 432731 w 1677683"/>
                  <a:gd name="connsiteY248" fmla="*/ 213916 h 1171539"/>
                  <a:gd name="connsiteX249" fmla="*/ 455226 w 1677683"/>
                  <a:gd name="connsiteY249" fmla="*/ 233700 h 1171539"/>
                  <a:gd name="connsiteX250" fmla="*/ 475157 w 1677683"/>
                  <a:gd name="connsiteY250" fmla="*/ 264035 h 1171539"/>
                  <a:gd name="connsiteX251" fmla="*/ 458010 w 1677683"/>
                  <a:gd name="connsiteY251" fmla="*/ 305948 h 1171539"/>
                  <a:gd name="connsiteX252" fmla="*/ 457644 w 1677683"/>
                  <a:gd name="connsiteY252" fmla="*/ 318259 h 1171539"/>
                  <a:gd name="connsiteX253" fmla="*/ 472299 w 1677683"/>
                  <a:gd name="connsiteY253" fmla="*/ 325586 h 1171539"/>
                  <a:gd name="connsiteX254" fmla="*/ 474424 w 1677683"/>
                  <a:gd name="connsiteY254" fmla="*/ 330569 h 1171539"/>
                  <a:gd name="connsiteX255" fmla="*/ 478601 w 1677683"/>
                  <a:gd name="connsiteY255" fmla="*/ 331887 h 1171539"/>
                  <a:gd name="connsiteX256" fmla="*/ 539785 w 1677683"/>
                  <a:gd name="connsiteY256" fmla="*/ 337310 h 1171539"/>
                  <a:gd name="connsiteX257" fmla="*/ 540517 w 1677683"/>
                  <a:gd name="connsiteY257" fmla="*/ 352697 h 1171539"/>
                  <a:gd name="connsiteX258" fmla="*/ 573637 w 1677683"/>
                  <a:gd name="connsiteY258" fmla="*/ 372554 h 1171539"/>
                  <a:gd name="connsiteX259" fmla="*/ 577595 w 1677683"/>
                  <a:gd name="connsiteY259" fmla="*/ 380761 h 1171539"/>
                  <a:gd name="connsiteX260" fmla="*/ 588219 w 1677683"/>
                  <a:gd name="connsiteY260" fmla="*/ 386477 h 1171539"/>
                  <a:gd name="connsiteX261" fmla="*/ 590051 w 1677683"/>
                  <a:gd name="connsiteY261" fmla="*/ 392778 h 1171539"/>
                  <a:gd name="connsiteX262" fmla="*/ 602581 w 1677683"/>
                  <a:gd name="connsiteY262" fmla="*/ 417545 h 1171539"/>
                  <a:gd name="connsiteX263" fmla="*/ 618188 w 1677683"/>
                  <a:gd name="connsiteY263" fmla="*/ 423554 h 1171539"/>
                  <a:gd name="connsiteX264" fmla="*/ 733595 w 1677683"/>
                  <a:gd name="connsiteY264" fmla="*/ 424433 h 1171539"/>
                  <a:gd name="connsiteX265" fmla="*/ 754405 w 1677683"/>
                  <a:gd name="connsiteY265" fmla="*/ 437329 h 1171539"/>
                  <a:gd name="connsiteX266" fmla="*/ 764372 w 1677683"/>
                  <a:gd name="connsiteY266" fmla="*/ 439528 h 1171539"/>
                  <a:gd name="connsiteX267" fmla="*/ 780271 w 1677683"/>
                  <a:gd name="connsiteY267" fmla="*/ 448467 h 1171539"/>
                  <a:gd name="connsiteX268" fmla="*/ 791923 w 1677683"/>
                  <a:gd name="connsiteY268" fmla="*/ 449639 h 1171539"/>
                  <a:gd name="connsiteX269" fmla="*/ 805917 w 1677683"/>
                  <a:gd name="connsiteY269" fmla="*/ 456967 h 1171539"/>
                  <a:gd name="connsiteX270" fmla="*/ 832735 w 1677683"/>
                  <a:gd name="connsiteY270" fmla="*/ 459165 h 1171539"/>
                  <a:gd name="connsiteX271" fmla="*/ 849442 w 1677683"/>
                  <a:gd name="connsiteY271" fmla="*/ 465760 h 1171539"/>
                  <a:gd name="connsiteX272" fmla="*/ 867175 w 1677683"/>
                  <a:gd name="connsiteY272" fmla="*/ 444436 h 1171539"/>
                  <a:gd name="connsiteX273" fmla="*/ 941769 w 1677683"/>
                  <a:gd name="connsiteY273" fmla="*/ 431540 h 1171539"/>
                  <a:gd name="connsiteX274" fmla="*/ 969832 w 1677683"/>
                  <a:gd name="connsiteY274" fmla="*/ 432639 h 1171539"/>
                  <a:gd name="connsiteX275" fmla="*/ 980897 w 1677683"/>
                  <a:gd name="connsiteY275" fmla="*/ 430734 h 1171539"/>
                  <a:gd name="connsiteX276" fmla="*/ 985953 w 1677683"/>
                  <a:gd name="connsiteY276" fmla="*/ 421429 h 1171539"/>
                  <a:gd name="connsiteX277" fmla="*/ 1010793 w 1677683"/>
                  <a:gd name="connsiteY277" fmla="*/ 402963 h 1171539"/>
                  <a:gd name="connsiteX278" fmla="*/ 1031236 w 1677683"/>
                  <a:gd name="connsiteY278" fmla="*/ 380981 h 1171539"/>
                  <a:gd name="connsiteX279" fmla="*/ 1022150 w 1677683"/>
                  <a:gd name="connsiteY279" fmla="*/ 346029 h 1171539"/>
                  <a:gd name="connsiteX280" fmla="*/ 1040688 w 1677683"/>
                  <a:gd name="connsiteY280" fmla="*/ 333133 h 1171539"/>
                  <a:gd name="connsiteX281" fmla="*/ 1063844 w 1677683"/>
                  <a:gd name="connsiteY281" fmla="*/ 339142 h 1171539"/>
                  <a:gd name="connsiteX282" fmla="*/ 1076740 w 1677683"/>
                  <a:gd name="connsiteY282" fmla="*/ 342513 h 1171539"/>
                  <a:gd name="connsiteX283" fmla="*/ 1086778 w 1677683"/>
                  <a:gd name="connsiteY283" fmla="*/ 335184 h 1171539"/>
                  <a:gd name="connsiteX284" fmla="*/ 1121584 w 1677683"/>
                  <a:gd name="connsiteY284" fmla="*/ 324706 h 1171539"/>
                  <a:gd name="connsiteX285" fmla="*/ 1151773 w 1677683"/>
                  <a:gd name="connsiteY285" fmla="*/ 314155 h 1171539"/>
                  <a:gd name="connsiteX286" fmla="*/ 1157708 w 1677683"/>
                  <a:gd name="connsiteY286" fmla="*/ 299500 h 1171539"/>
                  <a:gd name="connsiteX287" fmla="*/ 1163935 w 1677683"/>
                  <a:gd name="connsiteY287" fmla="*/ 293125 h 1171539"/>
                  <a:gd name="connsiteX288" fmla="*/ 1197642 w 1677683"/>
                  <a:gd name="connsiteY288" fmla="*/ 276784 h 1171539"/>
                  <a:gd name="connsiteX289" fmla="*/ 1209952 w 1677683"/>
                  <a:gd name="connsiteY289" fmla="*/ 277810 h 1171539"/>
                  <a:gd name="connsiteX290" fmla="*/ 1229737 w 1677683"/>
                  <a:gd name="connsiteY290" fmla="*/ 271436 h 1171539"/>
                  <a:gd name="connsiteX291" fmla="*/ 1262929 w 1677683"/>
                  <a:gd name="connsiteY291" fmla="*/ 275978 h 1171539"/>
                  <a:gd name="connsiteX292" fmla="*/ 1252818 w 1677683"/>
                  <a:gd name="connsiteY292" fmla="*/ 254583 h 1171539"/>
                  <a:gd name="connsiteX293" fmla="*/ 1232520 w 1677683"/>
                  <a:gd name="connsiteY293" fmla="*/ 239928 h 1171539"/>
                  <a:gd name="connsiteX294" fmla="*/ 1210538 w 1677683"/>
                  <a:gd name="connsiteY294" fmla="*/ 218825 h 1171539"/>
                  <a:gd name="connsiteX295" fmla="*/ 1187750 w 1677683"/>
                  <a:gd name="connsiteY295" fmla="*/ 226812 h 1171539"/>
                  <a:gd name="connsiteX296" fmla="*/ 1157415 w 1677683"/>
                  <a:gd name="connsiteY296" fmla="*/ 226812 h 1171539"/>
                  <a:gd name="connsiteX297" fmla="*/ 1141001 w 1677683"/>
                  <a:gd name="connsiteY297" fmla="*/ 214282 h 1171539"/>
                  <a:gd name="connsiteX298" fmla="*/ 1142173 w 1677683"/>
                  <a:gd name="connsiteY298" fmla="*/ 209739 h 1171539"/>
                  <a:gd name="connsiteX299" fmla="*/ 1150528 w 1677683"/>
                  <a:gd name="connsiteY299" fmla="*/ 186877 h 1171539"/>
                  <a:gd name="connsiteX300" fmla="*/ 1174121 w 1677683"/>
                  <a:gd name="connsiteY300" fmla="*/ 157568 h 1171539"/>
                  <a:gd name="connsiteX301" fmla="*/ 1193833 w 1677683"/>
                  <a:gd name="connsiteY301" fmla="*/ 157568 h 1171539"/>
                  <a:gd name="connsiteX302" fmla="*/ 1234134 w 1677683"/>
                  <a:gd name="connsiteY302" fmla="*/ 145184 h 1171539"/>
                  <a:gd name="connsiteX303" fmla="*/ 1264543 w 1677683"/>
                  <a:gd name="connsiteY303" fmla="*/ 87590 h 1171539"/>
                  <a:gd name="connsiteX304" fmla="*/ 1268572 w 1677683"/>
                  <a:gd name="connsiteY304" fmla="*/ 74694 h 1171539"/>
                  <a:gd name="connsiteX305" fmla="*/ 1279709 w 1677683"/>
                  <a:gd name="connsiteY305" fmla="*/ 63117 h 1171539"/>
                  <a:gd name="connsiteX306" fmla="*/ 1281102 w 1677683"/>
                  <a:gd name="connsiteY306" fmla="*/ 61014 h 1171539"/>
                  <a:gd name="connsiteX307" fmla="*/ 1272894 w 1677683"/>
                  <a:gd name="connsiteY307" fmla="*/ 31022 h 1171539"/>
                  <a:gd name="connsiteX308" fmla="*/ 1278098 w 1677683"/>
                  <a:gd name="connsiteY308" fmla="*/ 9041 h 1171539"/>
                  <a:gd name="connsiteX309" fmla="*/ 1300813 w 1677683"/>
                  <a:gd name="connsiteY309" fmla="*/ 2665 h 117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1677683" h="1171539">
                    <a:moveTo>
                      <a:pt x="1300813" y="2665"/>
                    </a:moveTo>
                    <a:cubicBezTo>
                      <a:pt x="1325140" y="-888"/>
                      <a:pt x="1349760" y="-888"/>
                      <a:pt x="1374088" y="2665"/>
                    </a:cubicBezTo>
                    <a:cubicBezTo>
                      <a:pt x="1398634" y="6403"/>
                      <a:pt x="1420616" y="19907"/>
                      <a:pt x="1435051" y="40108"/>
                    </a:cubicBezTo>
                    <a:cubicBezTo>
                      <a:pt x="1441352" y="49854"/>
                      <a:pt x="1445090" y="61138"/>
                      <a:pt x="1451685" y="70737"/>
                    </a:cubicBezTo>
                    <a:cubicBezTo>
                      <a:pt x="1454689" y="74540"/>
                      <a:pt x="1457253" y="78673"/>
                      <a:pt x="1459379" y="83047"/>
                    </a:cubicBezTo>
                    <a:cubicBezTo>
                      <a:pt x="1460405" y="86176"/>
                      <a:pt x="1461137" y="89385"/>
                      <a:pt x="1461576" y="92647"/>
                    </a:cubicBezTo>
                    <a:cubicBezTo>
                      <a:pt x="1464288" y="108217"/>
                      <a:pt x="1469856" y="123136"/>
                      <a:pt x="1478137" y="136612"/>
                    </a:cubicBezTo>
                    <a:cubicBezTo>
                      <a:pt x="1480189" y="139571"/>
                      <a:pt x="1481874" y="142766"/>
                      <a:pt x="1483120" y="146137"/>
                    </a:cubicBezTo>
                    <a:cubicBezTo>
                      <a:pt x="1483632" y="150071"/>
                      <a:pt x="1484879" y="153874"/>
                      <a:pt x="1486783" y="157348"/>
                    </a:cubicBezTo>
                    <a:cubicBezTo>
                      <a:pt x="1488615" y="159245"/>
                      <a:pt x="1490886" y="160703"/>
                      <a:pt x="1493378" y="161598"/>
                    </a:cubicBezTo>
                    <a:lnTo>
                      <a:pt x="1520856" y="173542"/>
                    </a:lnTo>
                    <a:cubicBezTo>
                      <a:pt x="1533825" y="178107"/>
                      <a:pt x="1545622" y="185346"/>
                      <a:pt x="1555588" y="194791"/>
                    </a:cubicBezTo>
                    <a:cubicBezTo>
                      <a:pt x="1565847" y="206003"/>
                      <a:pt x="1571415" y="221682"/>
                      <a:pt x="1584898" y="227984"/>
                    </a:cubicBezTo>
                    <a:cubicBezTo>
                      <a:pt x="1594131" y="231429"/>
                      <a:pt x="1604242" y="231817"/>
                      <a:pt x="1613694" y="229084"/>
                    </a:cubicBezTo>
                    <a:cubicBezTo>
                      <a:pt x="1628569" y="225940"/>
                      <a:pt x="1643004" y="220810"/>
                      <a:pt x="1656561" y="213842"/>
                    </a:cubicBezTo>
                    <a:cubicBezTo>
                      <a:pt x="1659418" y="212040"/>
                      <a:pt x="1662642" y="210933"/>
                      <a:pt x="1666012" y="210618"/>
                    </a:cubicBezTo>
                    <a:lnTo>
                      <a:pt x="1666012" y="210252"/>
                    </a:lnTo>
                    <a:cubicBezTo>
                      <a:pt x="1672314" y="211190"/>
                      <a:pt x="1677150" y="216348"/>
                      <a:pt x="1677662" y="222708"/>
                    </a:cubicBezTo>
                    <a:cubicBezTo>
                      <a:pt x="1677883" y="229260"/>
                      <a:pt x="1676418" y="235751"/>
                      <a:pt x="1673486" y="241613"/>
                    </a:cubicBezTo>
                    <a:lnTo>
                      <a:pt x="1655680" y="285945"/>
                    </a:lnTo>
                    <a:cubicBezTo>
                      <a:pt x="1648352" y="303751"/>
                      <a:pt x="1638022" y="324194"/>
                      <a:pt x="1619044" y="326758"/>
                    </a:cubicBezTo>
                    <a:cubicBezTo>
                      <a:pt x="1610764" y="328004"/>
                      <a:pt x="1601970" y="325219"/>
                      <a:pt x="1594131" y="328004"/>
                    </a:cubicBezTo>
                    <a:cubicBezTo>
                      <a:pt x="1590540" y="329337"/>
                      <a:pt x="1587316" y="331470"/>
                      <a:pt x="1584677" y="334232"/>
                    </a:cubicBezTo>
                    <a:cubicBezTo>
                      <a:pt x="1574786" y="345224"/>
                      <a:pt x="1569949" y="359871"/>
                      <a:pt x="1571343" y="374606"/>
                    </a:cubicBezTo>
                    <a:cubicBezTo>
                      <a:pt x="1572222" y="385158"/>
                      <a:pt x="1574492" y="395555"/>
                      <a:pt x="1578010" y="405528"/>
                    </a:cubicBezTo>
                    <a:lnTo>
                      <a:pt x="1572438" y="411099"/>
                    </a:lnTo>
                    <a:lnTo>
                      <a:pt x="1570573" y="411472"/>
                    </a:lnTo>
                    <a:cubicBezTo>
                      <a:pt x="1567561" y="412978"/>
                      <a:pt x="1566169" y="416658"/>
                      <a:pt x="1563429" y="418616"/>
                    </a:cubicBezTo>
                    <a:cubicBezTo>
                      <a:pt x="1560540" y="420679"/>
                      <a:pt x="1556986" y="421618"/>
                      <a:pt x="1553904" y="423379"/>
                    </a:cubicBezTo>
                    <a:cubicBezTo>
                      <a:pt x="1551419" y="424799"/>
                      <a:pt x="1549320" y="426861"/>
                      <a:pt x="1546760" y="428141"/>
                    </a:cubicBezTo>
                    <a:cubicBezTo>
                      <a:pt x="1544515" y="429263"/>
                      <a:pt x="1541862" y="429400"/>
                      <a:pt x="1539617" y="430522"/>
                    </a:cubicBezTo>
                    <a:cubicBezTo>
                      <a:pt x="1535876" y="432393"/>
                      <a:pt x="1525465" y="440631"/>
                      <a:pt x="1522948" y="442429"/>
                    </a:cubicBezTo>
                    <a:cubicBezTo>
                      <a:pt x="1510252" y="451497"/>
                      <a:pt x="1520676" y="442319"/>
                      <a:pt x="1506279" y="456716"/>
                    </a:cubicBezTo>
                    <a:cubicBezTo>
                      <a:pt x="1491992" y="459891"/>
                      <a:pt x="1477655" y="462851"/>
                      <a:pt x="1463417" y="466241"/>
                    </a:cubicBezTo>
                    <a:cubicBezTo>
                      <a:pt x="1460975" y="466822"/>
                      <a:pt x="1458604" y="467690"/>
                      <a:pt x="1456273" y="468622"/>
                    </a:cubicBezTo>
                    <a:cubicBezTo>
                      <a:pt x="1450660" y="470867"/>
                      <a:pt x="1445297" y="473733"/>
                      <a:pt x="1439604" y="475766"/>
                    </a:cubicBezTo>
                    <a:cubicBezTo>
                      <a:pt x="1434162" y="477710"/>
                      <a:pt x="1428300" y="478383"/>
                      <a:pt x="1422935" y="480529"/>
                    </a:cubicBezTo>
                    <a:cubicBezTo>
                      <a:pt x="1413964" y="484118"/>
                      <a:pt x="1413316" y="490148"/>
                      <a:pt x="1406267" y="497197"/>
                    </a:cubicBezTo>
                    <a:cubicBezTo>
                      <a:pt x="1404243" y="499221"/>
                      <a:pt x="1401504" y="500372"/>
                      <a:pt x="1399123" y="501960"/>
                    </a:cubicBezTo>
                    <a:cubicBezTo>
                      <a:pt x="1394361" y="505135"/>
                      <a:pt x="1393817" y="512379"/>
                      <a:pt x="1389598" y="516247"/>
                    </a:cubicBezTo>
                    <a:lnTo>
                      <a:pt x="1388382" y="517007"/>
                    </a:lnTo>
                    <a:lnTo>
                      <a:pt x="1387422" y="514780"/>
                    </a:lnTo>
                    <a:cubicBezTo>
                      <a:pt x="1383540" y="511703"/>
                      <a:pt x="1377824" y="514340"/>
                      <a:pt x="1373647" y="517052"/>
                    </a:cubicBezTo>
                    <a:lnTo>
                      <a:pt x="1349320" y="532513"/>
                    </a:lnTo>
                    <a:lnTo>
                      <a:pt x="1325580" y="547534"/>
                    </a:lnTo>
                    <a:cubicBezTo>
                      <a:pt x="1319352" y="550832"/>
                      <a:pt x="1314074" y="555587"/>
                      <a:pt x="1310118" y="561383"/>
                    </a:cubicBezTo>
                    <a:cubicBezTo>
                      <a:pt x="1308360" y="561060"/>
                      <a:pt x="1306676" y="560438"/>
                      <a:pt x="1305135" y="559551"/>
                    </a:cubicBezTo>
                    <a:cubicBezTo>
                      <a:pt x="1297662" y="555235"/>
                      <a:pt x="1295097" y="545694"/>
                      <a:pt x="1299421" y="538229"/>
                    </a:cubicBezTo>
                    <a:cubicBezTo>
                      <a:pt x="1302498" y="533832"/>
                      <a:pt x="1308213" y="530168"/>
                      <a:pt x="1307482" y="524893"/>
                    </a:cubicBezTo>
                    <a:lnTo>
                      <a:pt x="1322135" y="511923"/>
                    </a:lnTo>
                    <a:cubicBezTo>
                      <a:pt x="1323454" y="510787"/>
                      <a:pt x="1324773" y="509541"/>
                      <a:pt x="1325873" y="508186"/>
                    </a:cubicBezTo>
                    <a:cubicBezTo>
                      <a:pt x="1328218" y="505064"/>
                      <a:pt x="1329390" y="501173"/>
                      <a:pt x="1329024" y="497268"/>
                    </a:cubicBezTo>
                    <a:cubicBezTo>
                      <a:pt x="1327924" y="484810"/>
                      <a:pt x="1311218" y="479022"/>
                      <a:pt x="1299714" y="483932"/>
                    </a:cubicBezTo>
                    <a:cubicBezTo>
                      <a:pt x="1288210" y="488841"/>
                      <a:pt x="1280955" y="500125"/>
                      <a:pt x="1274361" y="510824"/>
                    </a:cubicBezTo>
                    <a:cubicBezTo>
                      <a:pt x="1267546" y="510391"/>
                      <a:pt x="1260732" y="511240"/>
                      <a:pt x="1254210" y="513314"/>
                    </a:cubicBezTo>
                    <a:cubicBezTo>
                      <a:pt x="1247616" y="515469"/>
                      <a:pt x="1242706" y="521112"/>
                      <a:pt x="1241534" y="527969"/>
                    </a:cubicBezTo>
                    <a:cubicBezTo>
                      <a:pt x="1241607" y="530439"/>
                      <a:pt x="1241314" y="532901"/>
                      <a:pt x="1240728" y="535297"/>
                    </a:cubicBezTo>
                    <a:cubicBezTo>
                      <a:pt x="1238090" y="542038"/>
                      <a:pt x="1225633" y="543137"/>
                      <a:pt x="1226512" y="550465"/>
                    </a:cubicBezTo>
                    <a:lnTo>
                      <a:pt x="1197202" y="550465"/>
                    </a:lnTo>
                    <a:cubicBezTo>
                      <a:pt x="1194491" y="556613"/>
                      <a:pt x="1193245" y="563310"/>
                      <a:pt x="1193538" y="570029"/>
                    </a:cubicBezTo>
                    <a:cubicBezTo>
                      <a:pt x="1193906" y="576953"/>
                      <a:pt x="1199108" y="582669"/>
                      <a:pt x="1205923" y="583731"/>
                    </a:cubicBezTo>
                    <a:cubicBezTo>
                      <a:pt x="1210172" y="583951"/>
                      <a:pt x="1214642" y="581754"/>
                      <a:pt x="1218672" y="583145"/>
                    </a:cubicBezTo>
                    <a:cubicBezTo>
                      <a:pt x="1222410" y="585175"/>
                      <a:pt x="1225120" y="588728"/>
                      <a:pt x="1225999" y="592891"/>
                    </a:cubicBezTo>
                    <a:cubicBezTo>
                      <a:pt x="1229224" y="601171"/>
                      <a:pt x="1232520" y="609525"/>
                      <a:pt x="1235818" y="617877"/>
                    </a:cubicBezTo>
                    <a:lnTo>
                      <a:pt x="1255969" y="619856"/>
                    </a:lnTo>
                    <a:cubicBezTo>
                      <a:pt x="1255749" y="618111"/>
                      <a:pt x="1255896" y="616346"/>
                      <a:pt x="1256335" y="614645"/>
                    </a:cubicBezTo>
                    <a:cubicBezTo>
                      <a:pt x="1258314" y="606550"/>
                      <a:pt x="1266520" y="601596"/>
                      <a:pt x="1274581" y="603589"/>
                    </a:cubicBezTo>
                    <a:lnTo>
                      <a:pt x="1277438" y="593551"/>
                    </a:lnTo>
                    <a:cubicBezTo>
                      <a:pt x="1295610" y="603230"/>
                      <a:pt x="1315175" y="609957"/>
                      <a:pt x="1335471" y="613481"/>
                    </a:cubicBezTo>
                    <a:cubicBezTo>
                      <a:pt x="1337596" y="621248"/>
                      <a:pt x="1328729" y="627329"/>
                      <a:pt x="1320816" y="628136"/>
                    </a:cubicBezTo>
                    <a:cubicBezTo>
                      <a:pt x="1312903" y="628942"/>
                      <a:pt x="1304477" y="626597"/>
                      <a:pt x="1297149" y="628942"/>
                    </a:cubicBezTo>
                    <a:cubicBezTo>
                      <a:pt x="1300886" y="634584"/>
                      <a:pt x="1293265" y="640958"/>
                      <a:pt x="1286818" y="642937"/>
                    </a:cubicBezTo>
                    <a:cubicBezTo>
                      <a:pt x="1280369" y="644916"/>
                      <a:pt x="1271942" y="648213"/>
                      <a:pt x="1272602" y="654954"/>
                    </a:cubicBezTo>
                    <a:cubicBezTo>
                      <a:pt x="1272821" y="656332"/>
                      <a:pt x="1272821" y="657753"/>
                      <a:pt x="1272602" y="659131"/>
                    </a:cubicBezTo>
                    <a:cubicBezTo>
                      <a:pt x="1271723" y="661916"/>
                      <a:pt x="1268132" y="662575"/>
                      <a:pt x="1265274" y="663015"/>
                    </a:cubicBezTo>
                    <a:cubicBezTo>
                      <a:pt x="1252964" y="664875"/>
                      <a:pt x="1242486" y="672847"/>
                      <a:pt x="1237357" y="684191"/>
                    </a:cubicBezTo>
                    <a:cubicBezTo>
                      <a:pt x="1236112" y="686770"/>
                      <a:pt x="1235451" y="689554"/>
                      <a:pt x="1235233" y="692398"/>
                    </a:cubicBezTo>
                    <a:cubicBezTo>
                      <a:pt x="1234060" y="713867"/>
                      <a:pt x="1268352" y="721853"/>
                      <a:pt x="1271430" y="743177"/>
                    </a:cubicBezTo>
                    <a:cubicBezTo>
                      <a:pt x="1271503" y="746057"/>
                      <a:pt x="1272016" y="748907"/>
                      <a:pt x="1273042" y="751603"/>
                    </a:cubicBezTo>
                    <a:cubicBezTo>
                      <a:pt x="1275972" y="756586"/>
                      <a:pt x="1283300" y="758418"/>
                      <a:pt x="1283300" y="763913"/>
                    </a:cubicBezTo>
                    <a:cubicBezTo>
                      <a:pt x="1283007" y="766060"/>
                      <a:pt x="1282567" y="768171"/>
                      <a:pt x="1281834" y="770215"/>
                    </a:cubicBezTo>
                    <a:cubicBezTo>
                      <a:pt x="1280589" y="778348"/>
                      <a:pt x="1290407" y="783184"/>
                      <a:pt x="1298248" y="785676"/>
                    </a:cubicBezTo>
                    <a:cubicBezTo>
                      <a:pt x="1306088" y="788168"/>
                      <a:pt x="1315248" y="795494"/>
                      <a:pt x="1311364" y="802822"/>
                    </a:cubicBezTo>
                    <a:lnTo>
                      <a:pt x="1304036" y="807658"/>
                    </a:lnTo>
                    <a:cubicBezTo>
                      <a:pt x="1298102" y="796726"/>
                      <a:pt x="1286012" y="790622"/>
                      <a:pt x="1273702" y="792343"/>
                    </a:cubicBezTo>
                    <a:cubicBezTo>
                      <a:pt x="1269524" y="796447"/>
                      <a:pt x="1274068" y="803189"/>
                      <a:pt x="1278390" y="806998"/>
                    </a:cubicBezTo>
                    <a:lnTo>
                      <a:pt x="1296929" y="823119"/>
                    </a:lnTo>
                    <a:cubicBezTo>
                      <a:pt x="1300372" y="827039"/>
                      <a:pt x="1305135" y="829633"/>
                      <a:pt x="1310265" y="830447"/>
                    </a:cubicBezTo>
                    <a:cubicBezTo>
                      <a:pt x="1313929" y="833450"/>
                      <a:pt x="1310705" y="839239"/>
                      <a:pt x="1306602" y="840778"/>
                    </a:cubicBezTo>
                    <a:cubicBezTo>
                      <a:pt x="1302277" y="841614"/>
                      <a:pt x="1297882" y="842149"/>
                      <a:pt x="1293485" y="842390"/>
                    </a:cubicBezTo>
                    <a:cubicBezTo>
                      <a:pt x="1285718" y="844324"/>
                      <a:pt x="1280442" y="851542"/>
                      <a:pt x="1280955" y="859537"/>
                    </a:cubicBezTo>
                    <a:cubicBezTo>
                      <a:pt x="1285352" y="868036"/>
                      <a:pt x="1299421" y="857339"/>
                      <a:pt x="1307774" y="862101"/>
                    </a:cubicBezTo>
                    <a:cubicBezTo>
                      <a:pt x="1313416" y="865178"/>
                      <a:pt x="1312976" y="873532"/>
                      <a:pt x="1311364" y="879833"/>
                    </a:cubicBezTo>
                    <a:cubicBezTo>
                      <a:pt x="1305941" y="900995"/>
                      <a:pt x="1295903" y="920706"/>
                      <a:pt x="1282054" y="937574"/>
                    </a:cubicBezTo>
                    <a:cubicBezTo>
                      <a:pt x="1280589" y="939457"/>
                      <a:pt x="1278830" y="941069"/>
                      <a:pt x="1276778" y="942337"/>
                    </a:cubicBezTo>
                    <a:cubicBezTo>
                      <a:pt x="1273628" y="943560"/>
                      <a:pt x="1270184" y="944139"/>
                      <a:pt x="1266813" y="944021"/>
                    </a:cubicBezTo>
                    <a:cubicBezTo>
                      <a:pt x="1250253" y="945019"/>
                      <a:pt x="1234792" y="952653"/>
                      <a:pt x="1223874" y="965198"/>
                    </a:cubicBezTo>
                    <a:cubicBezTo>
                      <a:pt x="1223361" y="969302"/>
                      <a:pt x="1223361" y="972818"/>
                      <a:pt x="1223361" y="976629"/>
                    </a:cubicBezTo>
                    <a:cubicBezTo>
                      <a:pt x="1222410" y="996047"/>
                      <a:pt x="1219917" y="1013046"/>
                      <a:pt x="1218306" y="1032684"/>
                    </a:cubicBezTo>
                    <a:cubicBezTo>
                      <a:pt x="1218379" y="1035534"/>
                      <a:pt x="1217573" y="1038333"/>
                      <a:pt x="1216033" y="1040743"/>
                    </a:cubicBezTo>
                    <a:cubicBezTo>
                      <a:pt x="1214422" y="1042524"/>
                      <a:pt x="1212444" y="1043880"/>
                      <a:pt x="1210172" y="1044700"/>
                    </a:cubicBezTo>
                    <a:lnTo>
                      <a:pt x="1159540" y="1067929"/>
                    </a:lnTo>
                    <a:cubicBezTo>
                      <a:pt x="1147010" y="1073717"/>
                      <a:pt x="1133454" y="1080386"/>
                      <a:pt x="1127445" y="1092842"/>
                    </a:cubicBezTo>
                    <a:lnTo>
                      <a:pt x="1102532" y="1108597"/>
                    </a:lnTo>
                    <a:cubicBezTo>
                      <a:pt x="1097622" y="1097349"/>
                      <a:pt x="1084653" y="1091985"/>
                      <a:pt x="1073222" y="1096432"/>
                    </a:cubicBezTo>
                    <a:cubicBezTo>
                      <a:pt x="1073149" y="1097759"/>
                      <a:pt x="1072929" y="1099064"/>
                      <a:pt x="1072563" y="1100338"/>
                    </a:cubicBezTo>
                    <a:cubicBezTo>
                      <a:pt x="1069998" y="1109072"/>
                      <a:pt x="1060839" y="1114084"/>
                      <a:pt x="1052118" y="1111527"/>
                    </a:cubicBezTo>
                    <a:cubicBezTo>
                      <a:pt x="1055416" y="1120613"/>
                      <a:pt x="1048456" y="1130871"/>
                      <a:pt x="1039737" y="1135268"/>
                    </a:cubicBezTo>
                    <a:cubicBezTo>
                      <a:pt x="1030576" y="1138822"/>
                      <a:pt x="1021051" y="1141159"/>
                      <a:pt x="1011306" y="1142229"/>
                    </a:cubicBezTo>
                    <a:cubicBezTo>
                      <a:pt x="1001486" y="1143467"/>
                      <a:pt x="992767" y="1149212"/>
                      <a:pt x="987784" y="1157763"/>
                    </a:cubicBezTo>
                    <a:cubicBezTo>
                      <a:pt x="984927" y="1163332"/>
                      <a:pt x="983901" y="1171539"/>
                      <a:pt x="977599" y="1171539"/>
                    </a:cubicBezTo>
                    <a:cubicBezTo>
                      <a:pt x="971298" y="1171539"/>
                      <a:pt x="969978" y="1162307"/>
                      <a:pt x="972030" y="1156444"/>
                    </a:cubicBezTo>
                    <a:cubicBezTo>
                      <a:pt x="974082" y="1150583"/>
                      <a:pt x="977746" y="1143621"/>
                      <a:pt x="974082" y="1138491"/>
                    </a:cubicBezTo>
                    <a:lnTo>
                      <a:pt x="962578" y="1136954"/>
                    </a:lnTo>
                    <a:cubicBezTo>
                      <a:pt x="965656" y="1140104"/>
                      <a:pt x="959793" y="1145233"/>
                      <a:pt x="955909" y="1143255"/>
                    </a:cubicBezTo>
                    <a:cubicBezTo>
                      <a:pt x="952319" y="1140610"/>
                      <a:pt x="950341" y="1136338"/>
                      <a:pt x="950561" y="1131897"/>
                    </a:cubicBezTo>
                    <a:cubicBezTo>
                      <a:pt x="945358" y="1130761"/>
                      <a:pt x="939863" y="1131040"/>
                      <a:pt x="934807" y="1132704"/>
                    </a:cubicBezTo>
                    <a:cubicBezTo>
                      <a:pt x="929677" y="1134631"/>
                      <a:pt x="926893" y="1140272"/>
                      <a:pt x="928578" y="1145526"/>
                    </a:cubicBezTo>
                    <a:lnTo>
                      <a:pt x="927334" y="1145526"/>
                    </a:lnTo>
                    <a:cubicBezTo>
                      <a:pt x="922131" y="1141929"/>
                      <a:pt x="916489" y="1139020"/>
                      <a:pt x="910553" y="1136879"/>
                    </a:cubicBezTo>
                    <a:cubicBezTo>
                      <a:pt x="898610" y="1132337"/>
                      <a:pt x="884395" y="1125009"/>
                      <a:pt x="883955" y="1112113"/>
                    </a:cubicBezTo>
                    <a:cubicBezTo>
                      <a:pt x="884613" y="1108332"/>
                      <a:pt x="884613" y="1104463"/>
                      <a:pt x="883955" y="1100682"/>
                    </a:cubicBezTo>
                    <a:cubicBezTo>
                      <a:pt x="881683" y="1094746"/>
                      <a:pt x="874137" y="1093282"/>
                      <a:pt x="868054" y="1091523"/>
                    </a:cubicBezTo>
                    <a:cubicBezTo>
                      <a:pt x="859555" y="1089135"/>
                      <a:pt x="851787" y="1084591"/>
                      <a:pt x="845558" y="1078334"/>
                    </a:cubicBezTo>
                    <a:cubicBezTo>
                      <a:pt x="845265" y="1087859"/>
                      <a:pt x="838378" y="1095897"/>
                      <a:pt x="828999" y="1097678"/>
                    </a:cubicBezTo>
                    <a:cubicBezTo>
                      <a:pt x="819839" y="1099254"/>
                      <a:pt x="810534" y="1099254"/>
                      <a:pt x="801373" y="1097678"/>
                    </a:cubicBezTo>
                    <a:cubicBezTo>
                      <a:pt x="792141" y="1096008"/>
                      <a:pt x="782689" y="1097649"/>
                      <a:pt x="774555" y="1102294"/>
                    </a:cubicBezTo>
                    <a:cubicBezTo>
                      <a:pt x="771772" y="1104852"/>
                      <a:pt x="768694" y="1107116"/>
                      <a:pt x="765396" y="1109036"/>
                    </a:cubicBezTo>
                    <a:cubicBezTo>
                      <a:pt x="757189" y="1112552"/>
                      <a:pt x="745465" y="1107131"/>
                      <a:pt x="739970" y="1114458"/>
                    </a:cubicBezTo>
                    <a:cubicBezTo>
                      <a:pt x="737918" y="1118546"/>
                      <a:pt x="736967" y="1123090"/>
                      <a:pt x="737186" y="1127647"/>
                    </a:cubicBezTo>
                    <a:cubicBezTo>
                      <a:pt x="736894" y="1128982"/>
                      <a:pt x="736526" y="1130293"/>
                      <a:pt x="736014" y="1131561"/>
                    </a:cubicBezTo>
                    <a:cubicBezTo>
                      <a:pt x="731324" y="1143782"/>
                      <a:pt x="717549" y="1149835"/>
                      <a:pt x="705311" y="1145087"/>
                    </a:cubicBezTo>
                    <a:cubicBezTo>
                      <a:pt x="695712" y="1140690"/>
                      <a:pt x="690509" y="1130505"/>
                      <a:pt x="685967" y="1120980"/>
                    </a:cubicBezTo>
                    <a:lnTo>
                      <a:pt x="680251" y="1109036"/>
                    </a:lnTo>
                    <a:cubicBezTo>
                      <a:pt x="679007" y="1106054"/>
                      <a:pt x="677247" y="1103298"/>
                      <a:pt x="675123" y="1100902"/>
                    </a:cubicBezTo>
                    <a:cubicBezTo>
                      <a:pt x="673364" y="1099217"/>
                      <a:pt x="671239" y="1097971"/>
                      <a:pt x="669334" y="1096432"/>
                    </a:cubicBezTo>
                    <a:cubicBezTo>
                      <a:pt x="657537" y="1086247"/>
                      <a:pt x="658563" y="1062433"/>
                      <a:pt x="643248" y="1059795"/>
                    </a:cubicBezTo>
                    <a:cubicBezTo>
                      <a:pt x="639218" y="1059062"/>
                      <a:pt x="634529" y="1060235"/>
                      <a:pt x="631231" y="1057743"/>
                    </a:cubicBezTo>
                    <a:cubicBezTo>
                      <a:pt x="626615" y="1054739"/>
                      <a:pt x="627934" y="1047558"/>
                      <a:pt x="631231" y="1043088"/>
                    </a:cubicBezTo>
                    <a:cubicBezTo>
                      <a:pt x="635114" y="1039212"/>
                      <a:pt x="638412" y="1034765"/>
                      <a:pt x="640976" y="1029899"/>
                    </a:cubicBezTo>
                    <a:cubicBezTo>
                      <a:pt x="641782" y="1025496"/>
                      <a:pt x="642149" y="1021033"/>
                      <a:pt x="642222" y="1016563"/>
                    </a:cubicBezTo>
                    <a:cubicBezTo>
                      <a:pt x="643468" y="1007697"/>
                      <a:pt x="650282" y="1000809"/>
                      <a:pt x="654825" y="993042"/>
                    </a:cubicBezTo>
                    <a:cubicBezTo>
                      <a:pt x="659442" y="985298"/>
                      <a:pt x="661787" y="976460"/>
                      <a:pt x="661787" y="967470"/>
                    </a:cubicBezTo>
                    <a:cubicBezTo>
                      <a:pt x="661714" y="939911"/>
                      <a:pt x="639291" y="917636"/>
                      <a:pt x="611740" y="917716"/>
                    </a:cubicBezTo>
                    <a:cubicBezTo>
                      <a:pt x="612106" y="915042"/>
                      <a:pt x="612106" y="912330"/>
                      <a:pt x="611740" y="909656"/>
                    </a:cubicBezTo>
                    <a:cubicBezTo>
                      <a:pt x="610274" y="899266"/>
                      <a:pt x="601995" y="891161"/>
                      <a:pt x="591590" y="889872"/>
                    </a:cubicBezTo>
                    <a:cubicBezTo>
                      <a:pt x="586167" y="890026"/>
                      <a:pt x="580818" y="891293"/>
                      <a:pt x="575909" y="893609"/>
                    </a:cubicBezTo>
                    <a:lnTo>
                      <a:pt x="554512" y="902035"/>
                    </a:lnTo>
                    <a:cubicBezTo>
                      <a:pt x="551729" y="902944"/>
                      <a:pt x="549237" y="904475"/>
                      <a:pt x="547185" y="906505"/>
                    </a:cubicBezTo>
                    <a:cubicBezTo>
                      <a:pt x="540444" y="914126"/>
                      <a:pt x="548065" y="929439"/>
                      <a:pt x="539418" y="934936"/>
                    </a:cubicBezTo>
                    <a:cubicBezTo>
                      <a:pt x="536488" y="936298"/>
                      <a:pt x="533190" y="936906"/>
                      <a:pt x="529966" y="936694"/>
                    </a:cubicBezTo>
                    <a:cubicBezTo>
                      <a:pt x="522419" y="936746"/>
                      <a:pt x="515032" y="939325"/>
                      <a:pt x="509083" y="944021"/>
                    </a:cubicBezTo>
                    <a:cubicBezTo>
                      <a:pt x="503148" y="948917"/>
                      <a:pt x="500202" y="956559"/>
                      <a:pt x="501316" y="964172"/>
                    </a:cubicBezTo>
                    <a:cubicBezTo>
                      <a:pt x="502195" y="968935"/>
                      <a:pt x="504906" y="973258"/>
                      <a:pt x="505419" y="978094"/>
                    </a:cubicBezTo>
                    <a:cubicBezTo>
                      <a:pt x="506453" y="986536"/>
                      <a:pt x="500444" y="994207"/>
                      <a:pt x="492010" y="995241"/>
                    </a:cubicBezTo>
                    <a:cubicBezTo>
                      <a:pt x="483569" y="996273"/>
                      <a:pt x="475897" y="990272"/>
                      <a:pt x="474864" y="981832"/>
                    </a:cubicBezTo>
                    <a:cubicBezTo>
                      <a:pt x="473764" y="976482"/>
                      <a:pt x="476036" y="970473"/>
                      <a:pt x="473764" y="965784"/>
                    </a:cubicBezTo>
                    <a:cubicBezTo>
                      <a:pt x="474101" y="965256"/>
                      <a:pt x="474372" y="964693"/>
                      <a:pt x="474570" y="964099"/>
                    </a:cubicBezTo>
                    <a:cubicBezTo>
                      <a:pt x="478292" y="951921"/>
                      <a:pt x="474900" y="938687"/>
                      <a:pt x="465778" y="929806"/>
                    </a:cubicBezTo>
                    <a:cubicBezTo>
                      <a:pt x="463675" y="927805"/>
                      <a:pt x="461175" y="926260"/>
                      <a:pt x="458450" y="925264"/>
                    </a:cubicBezTo>
                    <a:cubicBezTo>
                      <a:pt x="456413" y="924582"/>
                      <a:pt x="454295" y="924186"/>
                      <a:pt x="452149" y="924091"/>
                    </a:cubicBezTo>
                    <a:cubicBezTo>
                      <a:pt x="443349" y="924165"/>
                      <a:pt x="434614" y="925644"/>
                      <a:pt x="426282" y="928488"/>
                    </a:cubicBezTo>
                    <a:cubicBezTo>
                      <a:pt x="414463" y="930840"/>
                      <a:pt x="403340" y="935851"/>
                      <a:pt x="393749" y="943143"/>
                    </a:cubicBezTo>
                    <a:cubicBezTo>
                      <a:pt x="390921" y="940240"/>
                      <a:pt x="387381" y="938123"/>
                      <a:pt x="383491" y="936987"/>
                    </a:cubicBezTo>
                    <a:cubicBezTo>
                      <a:pt x="374038" y="934349"/>
                      <a:pt x="363560" y="935375"/>
                      <a:pt x="354914" y="930832"/>
                    </a:cubicBezTo>
                    <a:cubicBezTo>
                      <a:pt x="351616" y="929074"/>
                      <a:pt x="348758" y="926583"/>
                      <a:pt x="345387" y="925117"/>
                    </a:cubicBezTo>
                    <a:cubicBezTo>
                      <a:pt x="339994" y="923351"/>
                      <a:pt x="334353" y="922457"/>
                      <a:pt x="328682" y="922479"/>
                    </a:cubicBezTo>
                    <a:cubicBezTo>
                      <a:pt x="303548" y="920061"/>
                      <a:pt x="282592" y="902988"/>
                      <a:pt x="263320" y="886722"/>
                    </a:cubicBezTo>
                    <a:lnTo>
                      <a:pt x="236648" y="864079"/>
                    </a:lnTo>
                    <a:cubicBezTo>
                      <a:pt x="236539" y="863940"/>
                      <a:pt x="236428" y="863808"/>
                      <a:pt x="236319" y="863669"/>
                    </a:cubicBezTo>
                    <a:cubicBezTo>
                      <a:pt x="224279" y="849101"/>
                      <a:pt x="202708" y="847057"/>
                      <a:pt x="188141" y="859097"/>
                    </a:cubicBezTo>
                    <a:lnTo>
                      <a:pt x="184038" y="861221"/>
                    </a:lnTo>
                    <a:cubicBezTo>
                      <a:pt x="184220" y="852883"/>
                      <a:pt x="181019" y="844823"/>
                      <a:pt x="175172" y="838873"/>
                    </a:cubicBezTo>
                    <a:cubicBezTo>
                      <a:pt x="169844" y="834997"/>
                      <a:pt x="163997" y="831889"/>
                      <a:pt x="157805" y="829641"/>
                    </a:cubicBezTo>
                    <a:cubicBezTo>
                      <a:pt x="148690" y="825280"/>
                      <a:pt x="140770" y="818767"/>
                      <a:pt x="134723" y="810662"/>
                    </a:cubicBezTo>
                    <a:cubicBezTo>
                      <a:pt x="128202" y="801650"/>
                      <a:pt x="125198" y="786702"/>
                      <a:pt x="134723" y="780766"/>
                    </a:cubicBezTo>
                    <a:cubicBezTo>
                      <a:pt x="138754" y="778201"/>
                      <a:pt x="144030" y="778128"/>
                      <a:pt x="147621" y="774978"/>
                    </a:cubicBezTo>
                    <a:cubicBezTo>
                      <a:pt x="153482" y="769702"/>
                      <a:pt x="151064" y="760690"/>
                      <a:pt x="148134" y="752995"/>
                    </a:cubicBezTo>
                    <a:cubicBezTo>
                      <a:pt x="145202" y="745302"/>
                      <a:pt x="142198" y="737974"/>
                      <a:pt x="139267" y="730647"/>
                    </a:cubicBezTo>
                    <a:cubicBezTo>
                      <a:pt x="140960" y="729966"/>
                      <a:pt x="142697" y="729401"/>
                      <a:pt x="144470" y="728961"/>
                    </a:cubicBezTo>
                    <a:cubicBezTo>
                      <a:pt x="149013" y="727936"/>
                      <a:pt x="155680" y="727056"/>
                      <a:pt x="155680" y="722366"/>
                    </a:cubicBezTo>
                    <a:cubicBezTo>
                      <a:pt x="155680" y="721194"/>
                      <a:pt x="155680" y="719949"/>
                      <a:pt x="155680" y="718703"/>
                    </a:cubicBezTo>
                    <a:cubicBezTo>
                      <a:pt x="155959" y="715523"/>
                      <a:pt x="157915" y="712724"/>
                      <a:pt x="160810" y="711375"/>
                    </a:cubicBezTo>
                    <a:cubicBezTo>
                      <a:pt x="163520" y="709910"/>
                      <a:pt x="166598" y="709177"/>
                      <a:pt x="169309" y="707711"/>
                    </a:cubicBezTo>
                    <a:cubicBezTo>
                      <a:pt x="169983" y="707309"/>
                      <a:pt x="170636" y="706861"/>
                      <a:pt x="171258" y="706370"/>
                    </a:cubicBezTo>
                    <a:cubicBezTo>
                      <a:pt x="179619" y="699850"/>
                      <a:pt x="181106" y="687789"/>
                      <a:pt x="174586" y="679427"/>
                    </a:cubicBezTo>
                    <a:cubicBezTo>
                      <a:pt x="172415" y="677135"/>
                      <a:pt x="169953" y="675141"/>
                      <a:pt x="167257" y="673493"/>
                    </a:cubicBezTo>
                    <a:lnTo>
                      <a:pt x="153922" y="664407"/>
                    </a:lnTo>
                    <a:cubicBezTo>
                      <a:pt x="152105" y="663059"/>
                      <a:pt x="150141" y="661930"/>
                      <a:pt x="148060" y="661036"/>
                    </a:cubicBezTo>
                    <a:cubicBezTo>
                      <a:pt x="142125" y="658999"/>
                      <a:pt x="135559" y="660040"/>
                      <a:pt x="130547" y="663821"/>
                    </a:cubicBezTo>
                    <a:cubicBezTo>
                      <a:pt x="125586" y="667616"/>
                      <a:pt x="121740" y="672679"/>
                      <a:pt x="119410" y="678475"/>
                    </a:cubicBezTo>
                    <a:cubicBezTo>
                      <a:pt x="118501" y="680871"/>
                      <a:pt x="117321" y="683165"/>
                      <a:pt x="115893" y="685290"/>
                    </a:cubicBezTo>
                    <a:cubicBezTo>
                      <a:pt x="115079" y="686257"/>
                      <a:pt x="114170" y="687144"/>
                      <a:pt x="113181" y="687928"/>
                    </a:cubicBezTo>
                    <a:cubicBezTo>
                      <a:pt x="113144" y="685018"/>
                      <a:pt x="111731" y="682301"/>
                      <a:pt x="109370" y="680600"/>
                    </a:cubicBezTo>
                    <a:cubicBezTo>
                      <a:pt x="107715" y="679882"/>
                      <a:pt x="105890" y="679625"/>
                      <a:pt x="104096" y="679867"/>
                    </a:cubicBezTo>
                    <a:lnTo>
                      <a:pt x="90760" y="680526"/>
                    </a:lnTo>
                    <a:cubicBezTo>
                      <a:pt x="90657" y="679765"/>
                      <a:pt x="90510" y="679003"/>
                      <a:pt x="90320" y="678255"/>
                    </a:cubicBezTo>
                    <a:cubicBezTo>
                      <a:pt x="88825" y="674584"/>
                      <a:pt x="86553" y="671287"/>
                      <a:pt x="83651" y="668583"/>
                    </a:cubicBezTo>
                    <a:lnTo>
                      <a:pt x="52071" y="634511"/>
                    </a:lnTo>
                    <a:cubicBezTo>
                      <a:pt x="47344" y="628472"/>
                      <a:pt x="41057" y="623842"/>
                      <a:pt x="33899" y="621102"/>
                    </a:cubicBezTo>
                    <a:cubicBezTo>
                      <a:pt x="34594" y="616602"/>
                      <a:pt x="35554" y="612155"/>
                      <a:pt x="36757" y="607766"/>
                    </a:cubicBezTo>
                    <a:cubicBezTo>
                      <a:pt x="37921" y="604578"/>
                      <a:pt x="38441" y="601193"/>
                      <a:pt x="38295" y="597800"/>
                    </a:cubicBezTo>
                    <a:cubicBezTo>
                      <a:pt x="37680" y="594605"/>
                      <a:pt x="36375" y="591580"/>
                      <a:pt x="34485" y="588934"/>
                    </a:cubicBezTo>
                    <a:cubicBezTo>
                      <a:pt x="30337" y="580192"/>
                      <a:pt x="23611" y="572930"/>
                      <a:pt x="15213" y="568123"/>
                    </a:cubicBezTo>
                    <a:cubicBezTo>
                      <a:pt x="11286" y="566980"/>
                      <a:pt x="7571" y="565200"/>
                      <a:pt x="4222" y="562848"/>
                    </a:cubicBezTo>
                    <a:cubicBezTo>
                      <a:pt x="1057" y="558650"/>
                      <a:pt x="-409" y="553418"/>
                      <a:pt x="119" y="548194"/>
                    </a:cubicBezTo>
                    <a:lnTo>
                      <a:pt x="119" y="529728"/>
                    </a:lnTo>
                    <a:cubicBezTo>
                      <a:pt x="-452" y="525346"/>
                      <a:pt x="1065" y="520950"/>
                      <a:pt x="4222" y="517858"/>
                    </a:cubicBezTo>
                    <a:cubicBezTo>
                      <a:pt x="7505" y="516209"/>
                      <a:pt x="11103" y="515257"/>
                      <a:pt x="14773" y="515073"/>
                    </a:cubicBezTo>
                    <a:cubicBezTo>
                      <a:pt x="22102" y="513461"/>
                      <a:pt x="27377" y="505328"/>
                      <a:pt x="33459" y="500052"/>
                    </a:cubicBezTo>
                    <a:cubicBezTo>
                      <a:pt x="39540" y="494777"/>
                      <a:pt x="51410" y="493384"/>
                      <a:pt x="54195" y="501078"/>
                    </a:cubicBezTo>
                    <a:cubicBezTo>
                      <a:pt x="55514" y="504595"/>
                      <a:pt x="53755" y="509065"/>
                      <a:pt x="57712" y="511555"/>
                    </a:cubicBezTo>
                    <a:cubicBezTo>
                      <a:pt x="61670" y="514047"/>
                      <a:pt x="66945" y="508699"/>
                      <a:pt x="71341" y="510311"/>
                    </a:cubicBezTo>
                    <a:cubicBezTo>
                      <a:pt x="73744" y="505687"/>
                      <a:pt x="73605" y="500154"/>
                      <a:pt x="70975" y="495656"/>
                    </a:cubicBezTo>
                    <a:cubicBezTo>
                      <a:pt x="74566" y="491552"/>
                      <a:pt x="82259" y="494777"/>
                      <a:pt x="86143" y="490966"/>
                    </a:cubicBezTo>
                    <a:cubicBezTo>
                      <a:pt x="87330" y="489229"/>
                      <a:pt x="88407" y="487420"/>
                      <a:pt x="89367" y="485543"/>
                    </a:cubicBezTo>
                    <a:cubicBezTo>
                      <a:pt x="94644" y="478363"/>
                      <a:pt x="106074" y="485250"/>
                      <a:pt x="114867" y="483858"/>
                    </a:cubicBezTo>
                    <a:cubicBezTo>
                      <a:pt x="126957" y="481661"/>
                      <a:pt x="130547" y="465027"/>
                      <a:pt x="141612" y="459678"/>
                    </a:cubicBezTo>
                    <a:cubicBezTo>
                      <a:pt x="145789" y="458491"/>
                      <a:pt x="149862" y="456944"/>
                      <a:pt x="153775" y="455062"/>
                    </a:cubicBezTo>
                    <a:cubicBezTo>
                      <a:pt x="158758" y="451764"/>
                      <a:pt x="160590" y="445169"/>
                      <a:pt x="166085" y="443630"/>
                    </a:cubicBezTo>
                    <a:cubicBezTo>
                      <a:pt x="168240" y="443404"/>
                      <a:pt x="170379" y="442986"/>
                      <a:pt x="172460" y="442384"/>
                    </a:cubicBezTo>
                    <a:cubicBezTo>
                      <a:pt x="174637" y="441015"/>
                      <a:pt x="176293" y="438948"/>
                      <a:pt x="177149" y="436523"/>
                    </a:cubicBezTo>
                    <a:lnTo>
                      <a:pt x="191804" y="406627"/>
                    </a:lnTo>
                    <a:cubicBezTo>
                      <a:pt x="192061" y="406540"/>
                      <a:pt x="192317" y="406437"/>
                      <a:pt x="192574" y="406326"/>
                    </a:cubicBezTo>
                    <a:cubicBezTo>
                      <a:pt x="198106" y="403931"/>
                      <a:pt x="200649" y="397504"/>
                      <a:pt x="198253" y="391972"/>
                    </a:cubicBezTo>
                    <a:cubicBezTo>
                      <a:pt x="196054" y="387870"/>
                      <a:pt x="191219" y="385671"/>
                      <a:pt x="188288" y="382007"/>
                    </a:cubicBezTo>
                    <a:cubicBezTo>
                      <a:pt x="180886" y="372702"/>
                      <a:pt x="187555" y="358633"/>
                      <a:pt x="184184" y="347201"/>
                    </a:cubicBezTo>
                    <a:cubicBezTo>
                      <a:pt x="183077" y="344739"/>
                      <a:pt x="182521" y="342065"/>
                      <a:pt x="182572" y="339361"/>
                    </a:cubicBezTo>
                    <a:cubicBezTo>
                      <a:pt x="183656" y="336137"/>
                      <a:pt x="186016" y="333492"/>
                      <a:pt x="189093" y="332033"/>
                    </a:cubicBezTo>
                    <a:cubicBezTo>
                      <a:pt x="200305" y="325000"/>
                      <a:pt x="213347" y="317671"/>
                      <a:pt x="225731" y="321775"/>
                    </a:cubicBezTo>
                    <a:cubicBezTo>
                      <a:pt x="232764" y="324047"/>
                      <a:pt x="239140" y="329909"/>
                      <a:pt x="246467" y="328151"/>
                    </a:cubicBezTo>
                    <a:cubicBezTo>
                      <a:pt x="248130" y="320947"/>
                      <a:pt x="248746" y="313547"/>
                      <a:pt x="248299" y="306168"/>
                    </a:cubicBezTo>
                    <a:cubicBezTo>
                      <a:pt x="247713" y="297082"/>
                      <a:pt x="250131" y="284259"/>
                      <a:pt x="250131" y="275100"/>
                    </a:cubicBezTo>
                    <a:lnTo>
                      <a:pt x="262074" y="267772"/>
                    </a:lnTo>
                    <a:cubicBezTo>
                      <a:pt x="260830" y="263551"/>
                      <a:pt x="262112" y="258994"/>
                      <a:pt x="265372" y="256048"/>
                    </a:cubicBezTo>
                    <a:cubicBezTo>
                      <a:pt x="269476" y="253410"/>
                      <a:pt x="274677" y="256122"/>
                      <a:pt x="279221" y="257880"/>
                    </a:cubicBezTo>
                    <a:cubicBezTo>
                      <a:pt x="288688" y="260855"/>
                      <a:pt x="298661" y="261852"/>
                      <a:pt x="308531" y="260812"/>
                    </a:cubicBezTo>
                    <a:cubicBezTo>
                      <a:pt x="313954" y="260592"/>
                      <a:pt x="320548" y="259639"/>
                      <a:pt x="322673" y="254583"/>
                    </a:cubicBezTo>
                    <a:cubicBezTo>
                      <a:pt x="324065" y="251139"/>
                      <a:pt x="322746" y="247036"/>
                      <a:pt x="324505" y="243812"/>
                    </a:cubicBezTo>
                    <a:cubicBezTo>
                      <a:pt x="325677" y="241760"/>
                      <a:pt x="327801" y="240514"/>
                      <a:pt x="329048" y="238536"/>
                    </a:cubicBezTo>
                    <a:cubicBezTo>
                      <a:pt x="330711" y="234784"/>
                      <a:pt x="331172" y="230615"/>
                      <a:pt x="330366" y="226592"/>
                    </a:cubicBezTo>
                    <a:cubicBezTo>
                      <a:pt x="329964" y="213102"/>
                      <a:pt x="337548" y="200638"/>
                      <a:pt x="349711" y="194791"/>
                    </a:cubicBezTo>
                    <a:cubicBezTo>
                      <a:pt x="352319" y="193810"/>
                      <a:pt x="354781" y="192475"/>
                      <a:pt x="357039" y="190835"/>
                    </a:cubicBezTo>
                    <a:cubicBezTo>
                      <a:pt x="359867" y="187412"/>
                      <a:pt x="361852" y="183368"/>
                      <a:pt x="362827" y="179036"/>
                    </a:cubicBezTo>
                    <a:cubicBezTo>
                      <a:pt x="364732" y="174861"/>
                      <a:pt x="367590" y="170610"/>
                      <a:pt x="372060" y="170610"/>
                    </a:cubicBezTo>
                    <a:cubicBezTo>
                      <a:pt x="379900" y="170830"/>
                      <a:pt x="380340" y="182481"/>
                      <a:pt x="385102" y="188636"/>
                    </a:cubicBezTo>
                    <a:cubicBezTo>
                      <a:pt x="388033" y="192447"/>
                      <a:pt x="391917" y="193398"/>
                      <a:pt x="396387" y="197575"/>
                    </a:cubicBezTo>
                    <a:cubicBezTo>
                      <a:pt x="400856" y="201752"/>
                      <a:pt x="402835" y="208273"/>
                      <a:pt x="408184" y="211204"/>
                    </a:cubicBezTo>
                    <a:cubicBezTo>
                      <a:pt x="415511" y="215235"/>
                      <a:pt x="425403" y="210398"/>
                      <a:pt x="432731" y="213916"/>
                    </a:cubicBezTo>
                    <a:cubicBezTo>
                      <a:pt x="442109" y="218239"/>
                      <a:pt x="444894" y="233700"/>
                      <a:pt x="455226" y="233700"/>
                    </a:cubicBezTo>
                    <a:cubicBezTo>
                      <a:pt x="452940" y="247460"/>
                      <a:pt x="461615" y="260672"/>
                      <a:pt x="475157" y="264035"/>
                    </a:cubicBezTo>
                    <a:lnTo>
                      <a:pt x="458010" y="305948"/>
                    </a:lnTo>
                    <a:cubicBezTo>
                      <a:pt x="456399" y="309978"/>
                      <a:pt x="454128" y="313935"/>
                      <a:pt x="457644" y="318259"/>
                    </a:cubicBezTo>
                    <a:cubicBezTo>
                      <a:pt x="461161" y="322581"/>
                      <a:pt x="469735" y="320529"/>
                      <a:pt x="472299" y="325586"/>
                    </a:cubicBezTo>
                    <a:cubicBezTo>
                      <a:pt x="473178" y="327198"/>
                      <a:pt x="473178" y="329250"/>
                      <a:pt x="474424" y="330569"/>
                    </a:cubicBezTo>
                    <a:cubicBezTo>
                      <a:pt x="475634" y="331448"/>
                      <a:pt x="477098" y="331916"/>
                      <a:pt x="478601" y="331887"/>
                    </a:cubicBezTo>
                    <a:lnTo>
                      <a:pt x="539785" y="337310"/>
                    </a:lnTo>
                    <a:cubicBezTo>
                      <a:pt x="540077" y="342439"/>
                      <a:pt x="540517" y="347568"/>
                      <a:pt x="540517" y="352697"/>
                    </a:cubicBezTo>
                    <a:cubicBezTo>
                      <a:pt x="553633" y="355555"/>
                      <a:pt x="568728" y="360024"/>
                      <a:pt x="573637" y="372554"/>
                    </a:cubicBezTo>
                    <a:cubicBezTo>
                      <a:pt x="574297" y="375552"/>
                      <a:pt x="575689" y="378359"/>
                      <a:pt x="577595" y="380761"/>
                    </a:cubicBezTo>
                    <a:cubicBezTo>
                      <a:pt x="580892" y="383473"/>
                      <a:pt x="585728" y="383253"/>
                      <a:pt x="588219" y="386477"/>
                    </a:cubicBezTo>
                    <a:cubicBezTo>
                      <a:pt x="589318" y="388389"/>
                      <a:pt x="589978" y="390558"/>
                      <a:pt x="590051" y="392778"/>
                    </a:cubicBezTo>
                    <a:cubicBezTo>
                      <a:pt x="591517" y="402157"/>
                      <a:pt x="595912" y="410834"/>
                      <a:pt x="602581" y="417545"/>
                    </a:cubicBezTo>
                    <a:cubicBezTo>
                      <a:pt x="606465" y="422066"/>
                      <a:pt x="612326" y="424323"/>
                      <a:pt x="618188" y="423554"/>
                    </a:cubicBezTo>
                    <a:lnTo>
                      <a:pt x="733595" y="424433"/>
                    </a:lnTo>
                    <a:cubicBezTo>
                      <a:pt x="738871" y="430962"/>
                      <a:pt x="746198" y="435505"/>
                      <a:pt x="754405" y="437329"/>
                    </a:cubicBezTo>
                    <a:cubicBezTo>
                      <a:pt x="757776" y="437754"/>
                      <a:pt x="761146" y="438494"/>
                      <a:pt x="764372" y="439528"/>
                    </a:cubicBezTo>
                    <a:cubicBezTo>
                      <a:pt x="770086" y="441800"/>
                      <a:pt x="774337" y="447001"/>
                      <a:pt x="780271" y="448467"/>
                    </a:cubicBezTo>
                    <a:cubicBezTo>
                      <a:pt x="784082" y="449639"/>
                      <a:pt x="788112" y="448613"/>
                      <a:pt x="791923" y="449639"/>
                    </a:cubicBezTo>
                    <a:cubicBezTo>
                      <a:pt x="797051" y="450885"/>
                      <a:pt x="800935" y="455209"/>
                      <a:pt x="805917" y="456967"/>
                    </a:cubicBezTo>
                    <a:cubicBezTo>
                      <a:pt x="814491" y="459971"/>
                      <a:pt x="824676" y="454989"/>
                      <a:pt x="832735" y="459165"/>
                    </a:cubicBezTo>
                    <a:cubicBezTo>
                      <a:pt x="838378" y="462169"/>
                      <a:pt x="844166" y="469424"/>
                      <a:pt x="849442" y="465760"/>
                    </a:cubicBezTo>
                    <a:cubicBezTo>
                      <a:pt x="848196" y="455868"/>
                      <a:pt x="858088" y="448394"/>
                      <a:pt x="867175" y="444436"/>
                    </a:cubicBezTo>
                    <a:cubicBezTo>
                      <a:pt x="890915" y="435058"/>
                      <a:pt x="916269" y="430668"/>
                      <a:pt x="941769" y="431540"/>
                    </a:cubicBezTo>
                    <a:cubicBezTo>
                      <a:pt x="951147" y="431540"/>
                      <a:pt x="960454" y="431907"/>
                      <a:pt x="969832" y="432639"/>
                    </a:cubicBezTo>
                    <a:cubicBezTo>
                      <a:pt x="973642" y="433416"/>
                      <a:pt x="977599" y="432734"/>
                      <a:pt x="980897" y="430734"/>
                    </a:cubicBezTo>
                    <a:cubicBezTo>
                      <a:pt x="983242" y="428060"/>
                      <a:pt x="985001" y="424873"/>
                      <a:pt x="985953" y="421429"/>
                    </a:cubicBezTo>
                    <a:cubicBezTo>
                      <a:pt x="990422" y="411830"/>
                      <a:pt x="1001266" y="407360"/>
                      <a:pt x="1010793" y="402963"/>
                    </a:cubicBezTo>
                    <a:cubicBezTo>
                      <a:pt x="1020318" y="398567"/>
                      <a:pt x="1030576" y="391459"/>
                      <a:pt x="1031236" y="380981"/>
                    </a:cubicBezTo>
                    <a:cubicBezTo>
                      <a:pt x="1032042" y="368745"/>
                      <a:pt x="1019219" y="357900"/>
                      <a:pt x="1022150" y="346029"/>
                    </a:cubicBezTo>
                    <a:cubicBezTo>
                      <a:pt x="1024934" y="338211"/>
                      <a:pt x="1032408" y="333031"/>
                      <a:pt x="1040688" y="333133"/>
                    </a:cubicBezTo>
                    <a:cubicBezTo>
                      <a:pt x="1048749" y="333455"/>
                      <a:pt x="1056662" y="335499"/>
                      <a:pt x="1063844" y="339142"/>
                    </a:cubicBezTo>
                    <a:cubicBezTo>
                      <a:pt x="1067873" y="341178"/>
                      <a:pt x="1072270" y="342329"/>
                      <a:pt x="1076740" y="342513"/>
                    </a:cubicBezTo>
                    <a:cubicBezTo>
                      <a:pt x="1081356" y="342556"/>
                      <a:pt x="1085386" y="339574"/>
                      <a:pt x="1086778" y="335184"/>
                    </a:cubicBezTo>
                    <a:cubicBezTo>
                      <a:pt x="1089123" y="324194"/>
                      <a:pt x="1110373" y="324487"/>
                      <a:pt x="1121584" y="324706"/>
                    </a:cubicBezTo>
                    <a:cubicBezTo>
                      <a:pt x="1132795" y="324926"/>
                      <a:pt x="1146057" y="323827"/>
                      <a:pt x="1151773" y="314155"/>
                    </a:cubicBezTo>
                    <a:cubicBezTo>
                      <a:pt x="1154483" y="309465"/>
                      <a:pt x="1154850" y="303896"/>
                      <a:pt x="1157708" y="299500"/>
                    </a:cubicBezTo>
                    <a:cubicBezTo>
                      <a:pt x="1159466" y="297082"/>
                      <a:pt x="1161592" y="294927"/>
                      <a:pt x="1163935" y="293125"/>
                    </a:cubicBezTo>
                    <a:cubicBezTo>
                      <a:pt x="1173682" y="284845"/>
                      <a:pt x="1184892" y="276053"/>
                      <a:pt x="1197642" y="276784"/>
                    </a:cubicBezTo>
                    <a:cubicBezTo>
                      <a:pt x="1201746" y="277416"/>
                      <a:pt x="1205850" y="277759"/>
                      <a:pt x="1209952" y="277810"/>
                    </a:cubicBezTo>
                    <a:cubicBezTo>
                      <a:pt x="1216914" y="277151"/>
                      <a:pt x="1222848" y="271949"/>
                      <a:pt x="1229737" y="271436"/>
                    </a:cubicBezTo>
                    <a:cubicBezTo>
                      <a:pt x="1240947" y="270630"/>
                      <a:pt x="1253331" y="282427"/>
                      <a:pt x="1262929" y="275978"/>
                    </a:cubicBezTo>
                    <a:cubicBezTo>
                      <a:pt x="1264028" y="267487"/>
                      <a:pt x="1260071" y="259140"/>
                      <a:pt x="1252818" y="254583"/>
                    </a:cubicBezTo>
                    <a:cubicBezTo>
                      <a:pt x="1245711" y="250180"/>
                      <a:pt x="1238969" y="245284"/>
                      <a:pt x="1232520" y="239928"/>
                    </a:cubicBezTo>
                    <a:cubicBezTo>
                      <a:pt x="1225633" y="232308"/>
                      <a:pt x="1221016" y="220218"/>
                      <a:pt x="1210538" y="218825"/>
                    </a:cubicBezTo>
                    <a:cubicBezTo>
                      <a:pt x="1202405" y="217726"/>
                      <a:pt x="1195077" y="223954"/>
                      <a:pt x="1187750" y="226812"/>
                    </a:cubicBezTo>
                    <a:cubicBezTo>
                      <a:pt x="1177784" y="229523"/>
                      <a:pt x="1167381" y="229523"/>
                      <a:pt x="1157415" y="226812"/>
                    </a:cubicBezTo>
                    <a:cubicBezTo>
                      <a:pt x="1150014" y="225493"/>
                      <a:pt x="1141001" y="221609"/>
                      <a:pt x="1141001" y="214282"/>
                    </a:cubicBezTo>
                    <a:cubicBezTo>
                      <a:pt x="1141148" y="212721"/>
                      <a:pt x="1141587" y="211190"/>
                      <a:pt x="1142173" y="209739"/>
                    </a:cubicBezTo>
                    <a:lnTo>
                      <a:pt x="1150528" y="186877"/>
                    </a:lnTo>
                    <a:cubicBezTo>
                      <a:pt x="1155070" y="174861"/>
                      <a:pt x="1161372" y="160792"/>
                      <a:pt x="1174121" y="157568"/>
                    </a:cubicBezTo>
                    <a:cubicBezTo>
                      <a:pt x="1180642" y="156506"/>
                      <a:pt x="1187311" y="156506"/>
                      <a:pt x="1193833" y="157568"/>
                    </a:cubicBezTo>
                    <a:cubicBezTo>
                      <a:pt x="1208340" y="158417"/>
                      <a:pt x="1222628" y="154020"/>
                      <a:pt x="1234134" y="145184"/>
                    </a:cubicBezTo>
                    <a:cubicBezTo>
                      <a:pt x="1251720" y="131555"/>
                      <a:pt x="1260292" y="109572"/>
                      <a:pt x="1264543" y="87590"/>
                    </a:cubicBezTo>
                    <a:cubicBezTo>
                      <a:pt x="1265054" y="83069"/>
                      <a:pt x="1266447" y="78695"/>
                      <a:pt x="1268572" y="74694"/>
                    </a:cubicBezTo>
                    <a:cubicBezTo>
                      <a:pt x="1271503" y="70444"/>
                      <a:pt x="1276340" y="67293"/>
                      <a:pt x="1279709" y="63117"/>
                    </a:cubicBezTo>
                    <a:cubicBezTo>
                      <a:pt x="1280222" y="62442"/>
                      <a:pt x="1280662" y="61739"/>
                      <a:pt x="1281102" y="61014"/>
                    </a:cubicBezTo>
                    <a:cubicBezTo>
                      <a:pt x="1287111" y="50477"/>
                      <a:pt x="1283447" y="37046"/>
                      <a:pt x="1272894" y="31022"/>
                    </a:cubicBezTo>
                    <a:cubicBezTo>
                      <a:pt x="1268938" y="23417"/>
                      <a:pt x="1271137" y="14068"/>
                      <a:pt x="1278098" y="9041"/>
                    </a:cubicBezTo>
                    <a:cubicBezTo>
                      <a:pt x="1284986" y="5032"/>
                      <a:pt x="1292827" y="2841"/>
                      <a:pt x="1300813" y="2665"/>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19" name="Freihandform: Form 435">
                <a:extLst>
                  <a:ext uri="{FF2B5EF4-FFF2-40B4-BE49-F238E27FC236}">
                    <a16:creationId xmlns:a16="http://schemas.microsoft.com/office/drawing/2014/main" id="{A55A13CE-5C94-7CA6-BE03-B76EB6D261FB}"/>
                  </a:ext>
                </a:extLst>
              </p:cNvPr>
              <p:cNvSpPr/>
              <p:nvPr/>
            </p:nvSpPr>
            <p:spPr>
              <a:xfrm>
                <a:off x="6501858" y="3304388"/>
                <a:ext cx="76108" cy="109300"/>
              </a:xfrm>
              <a:custGeom>
                <a:avLst/>
                <a:gdLst>
                  <a:gd name="connsiteX0" fmla="*/ 47005 w 97708"/>
                  <a:gd name="connsiteY0" fmla="*/ 0 h 140321"/>
                  <a:gd name="connsiteX1" fmla="*/ 53765 w 97708"/>
                  <a:gd name="connsiteY1" fmla="*/ 1002 h 140321"/>
                  <a:gd name="connsiteX2" fmla="*/ 57794 w 97708"/>
                  <a:gd name="connsiteY2" fmla="*/ 17414 h 140321"/>
                  <a:gd name="connsiteX3" fmla="*/ 66295 w 97708"/>
                  <a:gd name="connsiteY3" fmla="*/ 22544 h 140321"/>
                  <a:gd name="connsiteX4" fmla="*/ 86812 w 97708"/>
                  <a:gd name="connsiteY4" fmla="*/ 54492 h 140321"/>
                  <a:gd name="connsiteX5" fmla="*/ 88571 w 97708"/>
                  <a:gd name="connsiteY5" fmla="*/ 84535 h 140321"/>
                  <a:gd name="connsiteX6" fmla="*/ 96631 w 97708"/>
                  <a:gd name="connsiteY6" fmla="*/ 99190 h 140321"/>
                  <a:gd name="connsiteX7" fmla="*/ 69445 w 97708"/>
                  <a:gd name="connsiteY7" fmla="*/ 100727 h 140321"/>
                  <a:gd name="connsiteX8" fmla="*/ 58527 w 97708"/>
                  <a:gd name="connsiteY8" fmla="*/ 115382 h 140321"/>
                  <a:gd name="connsiteX9" fmla="*/ 43066 w 97708"/>
                  <a:gd name="connsiteY9" fmla="*/ 119779 h 140321"/>
                  <a:gd name="connsiteX10" fmla="*/ 5038 w 97708"/>
                  <a:gd name="connsiteY10" fmla="*/ 140150 h 140321"/>
                  <a:gd name="connsiteX11" fmla="*/ 9580 w 97708"/>
                  <a:gd name="connsiteY11" fmla="*/ 120292 h 140321"/>
                  <a:gd name="connsiteX12" fmla="*/ 495 w 97708"/>
                  <a:gd name="connsiteY12" fmla="*/ 105455 h 140321"/>
                  <a:gd name="connsiteX13" fmla="*/ 15296 w 97708"/>
                  <a:gd name="connsiteY13" fmla="*/ 96332 h 140321"/>
                  <a:gd name="connsiteX14" fmla="*/ 7968 w 97708"/>
                  <a:gd name="connsiteY14" fmla="*/ 80504 h 140321"/>
                  <a:gd name="connsiteX15" fmla="*/ 2107 w 97708"/>
                  <a:gd name="connsiteY15" fmla="*/ 64677 h 140321"/>
                  <a:gd name="connsiteX16" fmla="*/ 14930 w 97708"/>
                  <a:gd name="connsiteY16" fmla="*/ 63211 h 140321"/>
                  <a:gd name="connsiteX17" fmla="*/ 19472 w 97708"/>
                  <a:gd name="connsiteY17" fmla="*/ 46358 h 140321"/>
                  <a:gd name="connsiteX18" fmla="*/ 2692 w 97708"/>
                  <a:gd name="connsiteY18" fmla="*/ 35440 h 140321"/>
                  <a:gd name="connsiteX19" fmla="*/ 1852 w 97708"/>
                  <a:gd name="connsiteY19" fmla="*/ 19401 h 140321"/>
                  <a:gd name="connsiteX20" fmla="*/ 2299 w 97708"/>
                  <a:gd name="connsiteY20" fmla="*/ 18730 h 140321"/>
                  <a:gd name="connsiteX21" fmla="*/ 16587 w 97708"/>
                  <a:gd name="connsiteY21" fmla="*/ 11586 h 140321"/>
                  <a:gd name="connsiteX22" fmla="*/ 23731 w 97708"/>
                  <a:gd name="connsiteY22" fmla="*/ 6824 h 140321"/>
                  <a:gd name="connsiteX23" fmla="*/ 40399 w 97708"/>
                  <a:gd name="connsiteY23" fmla="*/ 2061 h 140321"/>
                  <a:gd name="connsiteX24" fmla="*/ 47005 w 97708"/>
                  <a:gd name="connsiteY24" fmla="*/ 0 h 14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7708" h="140321">
                    <a:moveTo>
                      <a:pt x="47005" y="0"/>
                    </a:moveTo>
                    <a:lnTo>
                      <a:pt x="53765" y="1002"/>
                    </a:lnTo>
                    <a:cubicBezTo>
                      <a:pt x="58309" y="4665"/>
                      <a:pt x="54718" y="12506"/>
                      <a:pt x="57794" y="17414"/>
                    </a:cubicBezTo>
                    <a:cubicBezTo>
                      <a:pt x="60067" y="19928"/>
                      <a:pt x="62999" y="21708"/>
                      <a:pt x="66295" y="22544"/>
                    </a:cubicBezTo>
                    <a:cubicBezTo>
                      <a:pt x="78971" y="28076"/>
                      <a:pt x="87031" y="40679"/>
                      <a:pt x="86812" y="54492"/>
                    </a:cubicBezTo>
                    <a:cubicBezTo>
                      <a:pt x="86446" y="64823"/>
                      <a:pt x="81756" y="76840"/>
                      <a:pt x="88571" y="84535"/>
                    </a:cubicBezTo>
                    <a:cubicBezTo>
                      <a:pt x="92674" y="89443"/>
                      <a:pt x="100587" y="94500"/>
                      <a:pt x="96631" y="99190"/>
                    </a:cubicBezTo>
                    <a:cubicBezTo>
                      <a:pt x="88130" y="102853"/>
                      <a:pt x="77579" y="96405"/>
                      <a:pt x="69445" y="100727"/>
                    </a:cubicBezTo>
                    <a:cubicBezTo>
                      <a:pt x="64023" y="103585"/>
                      <a:pt x="61973" y="110254"/>
                      <a:pt x="58527" y="115382"/>
                    </a:cubicBezTo>
                    <a:cubicBezTo>
                      <a:pt x="55084" y="120512"/>
                      <a:pt x="47244" y="124396"/>
                      <a:pt x="43066" y="119779"/>
                    </a:cubicBezTo>
                    <a:cubicBezTo>
                      <a:pt x="35666" y="133592"/>
                      <a:pt x="20645" y="141616"/>
                      <a:pt x="5038" y="140150"/>
                    </a:cubicBezTo>
                    <a:cubicBezTo>
                      <a:pt x="3426" y="133182"/>
                      <a:pt x="5112" y="125876"/>
                      <a:pt x="9580" y="120292"/>
                    </a:cubicBezTo>
                    <a:cubicBezTo>
                      <a:pt x="2986" y="118717"/>
                      <a:pt x="-1117" y="112071"/>
                      <a:pt x="495" y="105455"/>
                    </a:cubicBezTo>
                    <a:cubicBezTo>
                      <a:pt x="2034" y="98838"/>
                      <a:pt x="8701" y="94756"/>
                      <a:pt x="15296" y="96332"/>
                    </a:cubicBezTo>
                    <a:cubicBezTo>
                      <a:pt x="19767" y="91422"/>
                      <a:pt x="13464" y="84168"/>
                      <a:pt x="7968" y="80504"/>
                    </a:cubicBezTo>
                    <a:cubicBezTo>
                      <a:pt x="2474" y="76840"/>
                      <a:pt x="-3169" y="68707"/>
                      <a:pt x="2107" y="64677"/>
                    </a:cubicBezTo>
                    <a:cubicBezTo>
                      <a:pt x="5623" y="62039"/>
                      <a:pt x="10680" y="64311"/>
                      <a:pt x="14930" y="63211"/>
                    </a:cubicBezTo>
                    <a:cubicBezTo>
                      <a:pt x="21451" y="61599"/>
                      <a:pt x="23136" y="52147"/>
                      <a:pt x="19472" y="46358"/>
                    </a:cubicBezTo>
                    <a:cubicBezTo>
                      <a:pt x="15150" y="41032"/>
                      <a:pt x="9287" y="37207"/>
                      <a:pt x="2692" y="35440"/>
                    </a:cubicBezTo>
                    <a:lnTo>
                      <a:pt x="1852" y="19401"/>
                    </a:lnTo>
                    <a:lnTo>
                      <a:pt x="2299" y="18730"/>
                    </a:lnTo>
                    <a:cubicBezTo>
                      <a:pt x="9123" y="11905"/>
                      <a:pt x="8840" y="15459"/>
                      <a:pt x="16587" y="11586"/>
                    </a:cubicBezTo>
                    <a:cubicBezTo>
                      <a:pt x="19147" y="10306"/>
                      <a:pt x="21171" y="8104"/>
                      <a:pt x="23731" y="6824"/>
                    </a:cubicBezTo>
                    <a:cubicBezTo>
                      <a:pt x="27739" y="4820"/>
                      <a:pt x="36575" y="3208"/>
                      <a:pt x="40399" y="2061"/>
                    </a:cubicBezTo>
                    <a:lnTo>
                      <a:pt x="47005" y="0"/>
                    </a:ln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20" name="Freihandform: Form 436">
                <a:extLst>
                  <a:ext uri="{FF2B5EF4-FFF2-40B4-BE49-F238E27FC236}">
                    <a16:creationId xmlns:a16="http://schemas.microsoft.com/office/drawing/2014/main" id="{94B1194B-F800-7FEC-D0FB-FAF17A9836CC}"/>
                  </a:ext>
                </a:extLst>
              </p:cNvPr>
              <p:cNvSpPr/>
              <p:nvPr/>
            </p:nvSpPr>
            <p:spPr>
              <a:xfrm>
                <a:off x="6458467" y="3174009"/>
                <a:ext cx="146796" cy="149309"/>
              </a:xfrm>
              <a:custGeom>
                <a:avLst/>
                <a:gdLst>
                  <a:gd name="connsiteX0" fmla="*/ 188458 w 188458"/>
                  <a:gd name="connsiteY0" fmla="*/ 0 h 191684"/>
                  <a:gd name="connsiteX1" fmla="*/ 180520 w 188458"/>
                  <a:gd name="connsiteY1" fmla="*/ 7937 h 191684"/>
                  <a:gd name="connsiteX2" fmla="*/ 173660 w 188458"/>
                  <a:gd name="connsiteY2" fmla="*/ 25791 h 191684"/>
                  <a:gd name="connsiteX3" fmla="*/ 100386 w 188458"/>
                  <a:gd name="connsiteY3" fmla="*/ 103974 h 191684"/>
                  <a:gd name="connsiteX4" fmla="*/ 80821 w 188458"/>
                  <a:gd name="connsiteY4" fmla="*/ 124711 h 191684"/>
                  <a:gd name="connsiteX5" fmla="*/ 96648 w 188458"/>
                  <a:gd name="connsiteY5" fmla="*/ 140978 h 191684"/>
                  <a:gd name="connsiteX6" fmla="*/ 97601 w 188458"/>
                  <a:gd name="connsiteY6" fmla="*/ 166624 h 191684"/>
                  <a:gd name="connsiteX7" fmla="*/ 102711 w 188458"/>
                  <a:gd name="connsiteY7" fmla="*/ 167381 h 191684"/>
                  <a:gd name="connsiteX8" fmla="*/ 96105 w 188458"/>
                  <a:gd name="connsiteY8" fmla="*/ 169442 h 191684"/>
                  <a:gd name="connsiteX9" fmla="*/ 79437 w 188458"/>
                  <a:gd name="connsiteY9" fmla="*/ 174205 h 191684"/>
                  <a:gd name="connsiteX10" fmla="*/ 72293 w 188458"/>
                  <a:gd name="connsiteY10" fmla="*/ 178967 h 191684"/>
                  <a:gd name="connsiteX11" fmla="*/ 58005 w 188458"/>
                  <a:gd name="connsiteY11" fmla="*/ 186111 h 191684"/>
                  <a:gd name="connsiteX12" fmla="*/ 57558 w 188458"/>
                  <a:gd name="connsiteY12" fmla="*/ 186782 h 191684"/>
                  <a:gd name="connsiteX13" fmla="*/ 57446 w 188458"/>
                  <a:gd name="connsiteY13" fmla="*/ 184650 h 191684"/>
                  <a:gd name="connsiteX14" fmla="*/ 29015 w 188458"/>
                  <a:gd name="connsiteY14" fmla="*/ 189559 h 191684"/>
                  <a:gd name="connsiteX15" fmla="*/ 25865 w 188458"/>
                  <a:gd name="connsiteY15" fmla="*/ 191684 h 191684"/>
                  <a:gd name="connsiteX16" fmla="*/ 23227 w 188458"/>
                  <a:gd name="connsiteY16" fmla="*/ 190145 h 191684"/>
                  <a:gd name="connsiteX17" fmla="*/ 0 w 188458"/>
                  <a:gd name="connsiteY17" fmla="*/ 166771 h 191684"/>
                  <a:gd name="connsiteX18" fmla="*/ 13555 w 188458"/>
                  <a:gd name="connsiteY18" fmla="*/ 163327 h 191684"/>
                  <a:gd name="connsiteX19" fmla="*/ 17218 w 188458"/>
                  <a:gd name="connsiteY19" fmla="*/ 145960 h 191684"/>
                  <a:gd name="connsiteX20" fmla="*/ 31434 w 188458"/>
                  <a:gd name="connsiteY20" fmla="*/ 142949 h 191684"/>
                  <a:gd name="connsiteX21" fmla="*/ 28796 w 188458"/>
                  <a:gd name="connsiteY21" fmla="*/ 128154 h 191684"/>
                  <a:gd name="connsiteX22" fmla="*/ 9012 w 188458"/>
                  <a:gd name="connsiteY22" fmla="*/ 119215 h 191684"/>
                  <a:gd name="connsiteX23" fmla="*/ 6530 w 188458"/>
                  <a:gd name="connsiteY23" fmla="*/ 110844 h 191684"/>
                  <a:gd name="connsiteX24" fmla="*/ 4402 w 188458"/>
                  <a:gd name="connsiteY24" fmla="*/ 105908 h 191684"/>
                  <a:gd name="connsiteX25" fmla="*/ 5618 w 188458"/>
                  <a:gd name="connsiteY25" fmla="*/ 105148 h 191684"/>
                  <a:gd name="connsiteX26" fmla="*/ 15143 w 188458"/>
                  <a:gd name="connsiteY26" fmla="*/ 90861 h 191684"/>
                  <a:gd name="connsiteX27" fmla="*/ 22287 w 188458"/>
                  <a:gd name="connsiteY27" fmla="*/ 86098 h 191684"/>
                  <a:gd name="connsiteX28" fmla="*/ 38955 w 188458"/>
                  <a:gd name="connsiteY28" fmla="*/ 69430 h 191684"/>
                  <a:gd name="connsiteX29" fmla="*/ 55624 w 188458"/>
                  <a:gd name="connsiteY29" fmla="*/ 64667 h 191684"/>
                  <a:gd name="connsiteX30" fmla="*/ 72293 w 188458"/>
                  <a:gd name="connsiteY30" fmla="*/ 57523 h 191684"/>
                  <a:gd name="connsiteX31" fmla="*/ 79437 w 188458"/>
                  <a:gd name="connsiteY31" fmla="*/ 55142 h 191684"/>
                  <a:gd name="connsiteX32" fmla="*/ 122299 w 188458"/>
                  <a:gd name="connsiteY32" fmla="*/ 45617 h 191684"/>
                  <a:gd name="connsiteX33" fmla="*/ 138968 w 188458"/>
                  <a:gd name="connsiteY33" fmla="*/ 31330 h 191684"/>
                  <a:gd name="connsiteX34" fmla="*/ 155637 w 188458"/>
                  <a:gd name="connsiteY34" fmla="*/ 19423 h 191684"/>
                  <a:gd name="connsiteX35" fmla="*/ 162780 w 188458"/>
                  <a:gd name="connsiteY35" fmla="*/ 17042 h 191684"/>
                  <a:gd name="connsiteX36" fmla="*/ 169924 w 188458"/>
                  <a:gd name="connsiteY36" fmla="*/ 12280 h 191684"/>
                  <a:gd name="connsiteX37" fmla="*/ 179449 w 188458"/>
                  <a:gd name="connsiteY37" fmla="*/ 7517 h 191684"/>
                  <a:gd name="connsiteX38" fmla="*/ 186593 w 188458"/>
                  <a:gd name="connsiteY38" fmla="*/ 373 h 191684"/>
                  <a:gd name="connsiteX39" fmla="*/ 188458 w 188458"/>
                  <a:gd name="connsiteY39" fmla="*/ 0 h 19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8458" h="191684">
                    <a:moveTo>
                      <a:pt x="188458" y="0"/>
                    </a:moveTo>
                    <a:lnTo>
                      <a:pt x="180520" y="7937"/>
                    </a:lnTo>
                    <a:cubicBezTo>
                      <a:pt x="177048" y="13283"/>
                      <a:pt x="174686" y="19354"/>
                      <a:pt x="173660" y="25791"/>
                    </a:cubicBezTo>
                    <a:cubicBezTo>
                      <a:pt x="168604" y="61255"/>
                      <a:pt x="129696" y="83604"/>
                      <a:pt x="100386" y="103974"/>
                    </a:cubicBezTo>
                    <a:cubicBezTo>
                      <a:pt x="92398" y="109470"/>
                      <a:pt x="83312" y="115405"/>
                      <a:pt x="80821" y="124711"/>
                    </a:cubicBezTo>
                    <a:cubicBezTo>
                      <a:pt x="78329" y="134017"/>
                      <a:pt x="88296" y="145960"/>
                      <a:pt x="96648" y="140978"/>
                    </a:cubicBezTo>
                    <a:cubicBezTo>
                      <a:pt x="97821" y="149470"/>
                      <a:pt x="98187" y="158066"/>
                      <a:pt x="97601" y="166624"/>
                    </a:cubicBezTo>
                    <a:lnTo>
                      <a:pt x="102711" y="167381"/>
                    </a:lnTo>
                    <a:lnTo>
                      <a:pt x="96105" y="169442"/>
                    </a:lnTo>
                    <a:cubicBezTo>
                      <a:pt x="92281" y="170589"/>
                      <a:pt x="83445" y="172201"/>
                      <a:pt x="79437" y="174205"/>
                    </a:cubicBezTo>
                    <a:cubicBezTo>
                      <a:pt x="76877" y="175485"/>
                      <a:pt x="74853" y="177687"/>
                      <a:pt x="72293" y="178967"/>
                    </a:cubicBezTo>
                    <a:cubicBezTo>
                      <a:pt x="64546" y="182840"/>
                      <a:pt x="64829" y="179286"/>
                      <a:pt x="58005" y="186111"/>
                    </a:cubicBezTo>
                    <a:lnTo>
                      <a:pt x="57558" y="186782"/>
                    </a:lnTo>
                    <a:lnTo>
                      <a:pt x="57446" y="184650"/>
                    </a:lnTo>
                    <a:cubicBezTo>
                      <a:pt x="47554" y="183111"/>
                      <a:pt x="35830" y="182232"/>
                      <a:pt x="29015" y="189559"/>
                    </a:cubicBezTo>
                    <a:cubicBezTo>
                      <a:pt x="28136" y="190511"/>
                      <a:pt x="27184" y="191684"/>
                      <a:pt x="25865" y="191684"/>
                    </a:cubicBezTo>
                    <a:cubicBezTo>
                      <a:pt x="24839" y="191530"/>
                      <a:pt x="23886" y="190981"/>
                      <a:pt x="23227" y="190145"/>
                    </a:cubicBezTo>
                    <a:lnTo>
                      <a:pt x="0" y="166771"/>
                    </a:lnTo>
                    <a:lnTo>
                      <a:pt x="13555" y="163327"/>
                    </a:lnTo>
                    <a:cubicBezTo>
                      <a:pt x="13262" y="157318"/>
                      <a:pt x="14581" y="151346"/>
                      <a:pt x="17218" y="145960"/>
                    </a:cubicBezTo>
                    <a:cubicBezTo>
                      <a:pt x="21981" y="148862"/>
                      <a:pt x="28210" y="147543"/>
                      <a:pt x="31434" y="142949"/>
                    </a:cubicBezTo>
                    <a:cubicBezTo>
                      <a:pt x="34804" y="138135"/>
                      <a:pt x="33632" y="131511"/>
                      <a:pt x="28796" y="128154"/>
                    </a:cubicBezTo>
                    <a:cubicBezTo>
                      <a:pt x="23007" y="123612"/>
                      <a:pt x="13042" y="125444"/>
                      <a:pt x="9012" y="119215"/>
                    </a:cubicBezTo>
                    <a:cubicBezTo>
                      <a:pt x="7474" y="116871"/>
                      <a:pt x="7052" y="113757"/>
                      <a:pt x="6530" y="110844"/>
                    </a:cubicBezTo>
                    <a:lnTo>
                      <a:pt x="4402" y="105908"/>
                    </a:lnTo>
                    <a:lnTo>
                      <a:pt x="5618" y="105148"/>
                    </a:lnTo>
                    <a:cubicBezTo>
                      <a:pt x="9837" y="101280"/>
                      <a:pt x="10381" y="94036"/>
                      <a:pt x="15143" y="90861"/>
                    </a:cubicBezTo>
                    <a:cubicBezTo>
                      <a:pt x="17524" y="89273"/>
                      <a:pt x="20263" y="88122"/>
                      <a:pt x="22287" y="86098"/>
                    </a:cubicBezTo>
                    <a:cubicBezTo>
                      <a:pt x="29336" y="79049"/>
                      <a:pt x="29984" y="73019"/>
                      <a:pt x="38955" y="69430"/>
                    </a:cubicBezTo>
                    <a:cubicBezTo>
                      <a:pt x="44320" y="67284"/>
                      <a:pt x="50182" y="66611"/>
                      <a:pt x="55624" y="64667"/>
                    </a:cubicBezTo>
                    <a:cubicBezTo>
                      <a:pt x="61317" y="62634"/>
                      <a:pt x="66680" y="59768"/>
                      <a:pt x="72293" y="57523"/>
                    </a:cubicBezTo>
                    <a:cubicBezTo>
                      <a:pt x="74624" y="56591"/>
                      <a:pt x="76995" y="55723"/>
                      <a:pt x="79437" y="55142"/>
                    </a:cubicBezTo>
                    <a:cubicBezTo>
                      <a:pt x="93675" y="51752"/>
                      <a:pt x="108012" y="48792"/>
                      <a:pt x="122299" y="45617"/>
                    </a:cubicBezTo>
                    <a:cubicBezTo>
                      <a:pt x="136696" y="31220"/>
                      <a:pt x="126272" y="40398"/>
                      <a:pt x="138968" y="31330"/>
                    </a:cubicBezTo>
                    <a:cubicBezTo>
                      <a:pt x="141485" y="29532"/>
                      <a:pt x="151896" y="21294"/>
                      <a:pt x="155637" y="19423"/>
                    </a:cubicBezTo>
                    <a:cubicBezTo>
                      <a:pt x="157882" y="18301"/>
                      <a:pt x="160535" y="18164"/>
                      <a:pt x="162780" y="17042"/>
                    </a:cubicBezTo>
                    <a:cubicBezTo>
                      <a:pt x="165340" y="15762"/>
                      <a:pt x="167439" y="13700"/>
                      <a:pt x="169924" y="12280"/>
                    </a:cubicBezTo>
                    <a:cubicBezTo>
                      <a:pt x="173006" y="10519"/>
                      <a:pt x="176560" y="9580"/>
                      <a:pt x="179449" y="7517"/>
                    </a:cubicBezTo>
                    <a:cubicBezTo>
                      <a:pt x="182189" y="5559"/>
                      <a:pt x="183581" y="1879"/>
                      <a:pt x="186593" y="373"/>
                    </a:cubicBezTo>
                    <a:lnTo>
                      <a:pt x="188458" y="0"/>
                    </a:ln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722" name="Gruppieren 599">
              <a:extLst>
                <a:ext uri="{FF2B5EF4-FFF2-40B4-BE49-F238E27FC236}">
                  <a16:creationId xmlns:a16="http://schemas.microsoft.com/office/drawing/2014/main" id="{81E55AE2-A4E8-1F74-3852-98598ADEB331}"/>
                </a:ext>
              </a:extLst>
            </p:cNvPr>
            <p:cNvGrpSpPr/>
            <p:nvPr/>
          </p:nvGrpSpPr>
          <p:grpSpPr>
            <a:xfrm>
              <a:off x="1568292" y="1377534"/>
              <a:ext cx="9055416" cy="4813466"/>
              <a:chOff x="85660" y="1555992"/>
              <a:chExt cx="7850377" cy="4172920"/>
            </a:xfrm>
          </p:grpSpPr>
          <p:sp>
            <p:nvSpPr>
              <p:cNvPr id="806" name="Freihandform: Form 600">
                <a:extLst>
                  <a:ext uri="{FF2B5EF4-FFF2-40B4-BE49-F238E27FC236}">
                    <a16:creationId xmlns:a16="http://schemas.microsoft.com/office/drawing/2014/main" id="{D833BB07-3763-678C-4538-CA04656A4D5A}"/>
                  </a:ext>
                </a:extLst>
              </p:cNvPr>
              <p:cNvSpPr/>
              <p:nvPr/>
            </p:nvSpPr>
            <p:spPr>
              <a:xfrm>
                <a:off x="4219609" y="1687343"/>
                <a:ext cx="3716428" cy="1528729"/>
              </a:xfrm>
              <a:custGeom>
                <a:avLst/>
                <a:gdLst>
                  <a:gd name="connsiteX0" fmla="*/ 609559 w 3716428"/>
                  <a:gd name="connsiteY0" fmla="*/ 47778 h 1528729"/>
                  <a:gd name="connsiteX1" fmla="*/ 614859 w 3716428"/>
                  <a:gd name="connsiteY1" fmla="*/ 46695 h 1528729"/>
                  <a:gd name="connsiteX2" fmla="*/ 638569 w 3716428"/>
                  <a:gd name="connsiteY2" fmla="*/ 35752 h 1528729"/>
                  <a:gd name="connsiteX3" fmla="*/ 664559 w 3716428"/>
                  <a:gd name="connsiteY3" fmla="*/ 28229 h 1528729"/>
                  <a:gd name="connsiteX4" fmla="*/ 669004 w 3716428"/>
                  <a:gd name="connsiteY4" fmla="*/ 28628 h 1528729"/>
                  <a:gd name="connsiteX5" fmla="*/ 669688 w 3716428"/>
                  <a:gd name="connsiteY5" fmla="*/ 41110 h 1528729"/>
                  <a:gd name="connsiteX6" fmla="*/ 655439 w 3716428"/>
                  <a:gd name="connsiteY6" fmla="*/ 44359 h 1528729"/>
                  <a:gd name="connsiteX7" fmla="*/ 639823 w 3716428"/>
                  <a:gd name="connsiteY7" fmla="*/ 48120 h 1528729"/>
                  <a:gd name="connsiteX8" fmla="*/ 634693 w 3716428"/>
                  <a:gd name="connsiteY8" fmla="*/ 58379 h 1528729"/>
                  <a:gd name="connsiteX9" fmla="*/ 625004 w 3716428"/>
                  <a:gd name="connsiteY9" fmla="*/ 62369 h 1528729"/>
                  <a:gd name="connsiteX10" fmla="*/ 608362 w 3716428"/>
                  <a:gd name="connsiteY10" fmla="*/ 71089 h 1528729"/>
                  <a:gd name="connsiteX11" fmla="*/ 580605 w 3716428"/>
                  <a:gd name="connsiteY11" fmla="*/ 69550 h 1528729"/>
                  <a:gd name="connsiteX12" fmla="*/ 583398 w 3716428"/>
                  <a:gd name="connsiteY12" fmla="*/ 60089 h 1528729"/>
                  <a:gd name="connsiteX13" fmla="*/ 594797 w 3716428"/>
                  <a:gd name="connsiteY13" fmla="*/ 55245 h 1528729"/>
                  <a:gd name="connsiteX14" fmla="*/ 606652 w 3716428"/>
                  <a:gd name="connsiteY14" fmla="*/ 51825 h 1528729"/>
                  <a:gd name="connsiteX15" fmla="*/ 609559 w 3716428"/>
                  <a:gd name="connsiteY15" fmla="*/ 47778 h 1528729"/>
                  <a:gd name="connsiteX16" fmla="*/ 720641 w 3716428"/>
                  <a:gd name="connsiteY16" fmla="*/ 65960 h 1528729"/>
                  <a:gd name="connsiteX17" fmla="*/ 719843 w 3716428"/>
                  <a:gd name="connsiteY17" fmla="*/ 56498 h 1528729"/>
                  <a:gd name="connsiteX18" fmla="*/ 718647 w 3716428"/>
                  <a:gd name="connsiteY18" fmla="*/ 53706 h 1528729"/>
                  <a:gd name="connsiteX19" fmla="*/ 716139 w 3716428"/>
                  <a:gd name="connsiteY19" fmla="*/ 52851 h 1528729"/>
                  <a:gd name="connsiteX20" fmla="*/ 699895 w 3716428"/>
                  <a:gd name="connsiteY20" fmla="*/ 53535 h 1528729"/>
                  <a:gd name="connsiteX21" fmla="*/ 697330 w 3716428"/>
                  <a:gd name="connsiteY21" fmla="*/ 60317 h 1528729"/>
                  <a:gd name="connsiteX22" fmla="*/ 702403 w 3716428"/>
                  <a:gd name="connsiteY22" fmla="*/ 67555 h 1528729"/>
                  <a:gd name="connsiteX23" fmla="*/ 716538 w 3716428"/>
                  <a:gd name="connsiteY23" fmla="*/ 70234 h 1528729"/>
                  <a:gd name="connsiteX24" fmla="*/ 720015 w 3716428"/>
                  <a:gd name="connsiteY24" fmla="*/ 68695 h 1528729"/>
                  <a:gd name="connsiteX25" fmla="*/ 720641 w 3716428"/>
                  <a:gd name="connsiteY25" fmla="*/ 65960 h 1528729"/>
                  <a:gd name="connsiteX26" fmla="*/ 782823 w 3716428"/>
                  <a:gd name="connsiteY26" fmla="*/ 22815 h 1528729"/>
                  <a:gd name="connsiteX27" fmla="*/ 777123 w 3716428"/>
                  <a:gd name="connsiteY27" fmla="*/ 21960 h 1528729"/>
                  <a:gd name="connsiteX28" fmla="*/ 772792 w 3716428"/>
                  <a:gd name="connsiteY28" fmla="*/ 16260 h 1528729"/>
                  <a:gd name="connsiteX29" fmla="*/ 766636 w 3716428"/>
                  <a:gd name="connsiteY29" fmla="*/ 13524 h 1528729"/>
                  <a:gd name="connsiteX30" fmla="*/ 763901 w 3716428"/>
                  <a:gd name="connsiteY30" fmla="*/ 15690 h 1528729"/>
                  <a:gd name="connsiteX31" fmla="*/ 760025 w 3716428"/>
                  <a:gd name="connsiteY31" fmla="*/ 15690 h 1528729"/>
                  <a:gd name="connsiteX32" fmla="*/ 754325 w 3716428"/>
                  <a:gd name="connsiteY32" fmla="*/ 26063 h 1528729"/>
                  <a:gd name="connsiteX33" fmla="*/ 746631 w 3716428"/>
                  <a:gd name="connsiteY33" fmla="*/ 28856 h 1528729"/>
                  <a:gd name="connsiteX34" fmla="*/ 738766 w 3716428"/>
                  <a:gd name="connsiteY34" fmla="*/ 31307 h 1528729"/>
                  <a:gd name="connsiteX35" fmla="*/ 739906 w 3716428"/>
                  <a:gd name="connsiteY35" fmla="*/ 37975 h 1528729"/>
                  <a:gd name="connsiteX36" fmla="*/ 788066 w 3716428"/>
                  <a:gd name="connsiteY36" fmla="*/ 42820 h 1528729"/>
                  <a:gd name="connsiteX37" fmla="*/ 799750 w 3716428"/>
                  <a:gd name="connsiteY37" fmla="*/ 38488 h 1528729"/>
                  <a:gd name="connsiteX38" fmla="*/ 802486 w 3716428"/>
                  <a:gd name="connsiteY38" fmla="*/ 35239 h 1528729"/>
                  <a:gd name="connsiteX39" fmla="*/ 809382 w 3716428"/>
                  <a:gd name="connsiteY39" fmla="*/ 32789 h 1528729"/>
                  <a:gd name="connsiteX40" fmla="*/ 814113 w 3716428"/>
                  <a:gd name="connsiteY40" fmla="*/ 27830 h 1528729"/>
                  <a:gd name="connsiteX41" fmla="*/ 809553 w 3716428"/>
                  <a:gd name="connsiteY41" fmla="*/ 23043 h 1528729"/>
                  <a:gd name="connsiteX42" fmla="*/ 803854 w 3716428"/>
                  <a:gd name="connsiteY42" fmla="*/ 21960 h 1528729"/>
                  <a:gd name="connsiteX43" fmla="*/ 784988 w 3716428"/>
                  <a:gd name="connsiteY43" fmla="*/ 15234 h 1528729"/>
                  <a:gd name="connsiteX44" fmla="*/ 802087 w 3716428"/>
                  <a:gd name="connsiteY44" fmla="*/ 15234 h 1528729"/>
                  <a:gd name="connsiteX45" fmla="*/ 811206 w 3716428"/>
                  <a:gd name="connsiteY45" fmla="*/ 13923 h 1528729"/>
                  <a:gd name="connsiteX46" fmla="*/ 816906 w 3716428"/>
                  <a:gd name="connsiteY46" fmla="*/ 11473 h 1528729"/>
                  <a:gd name="connsiteX47" fmla="*/ 820952 w 3716428"/>
                  <a:gd name="connsiteY47" fmla="*/ 7426 h 1528729"/>
                  <a:gd name="connsiteX48" fmla="*/ 813999 w 3716428"/>
                  <a:gd name="connsiteY48" fmla="*/ 245 h 1528729"/>
                  <a:gd name="connsiteX49" fmla="*/ 804082 w 3716428"/>
                  <a:gd name="connsiteY49" fmla="*/ 1328 h 1528729"/>
                  <a:gd name="connsiteX50" fmla="*/ 791201 w 3716428"/>
                  <a:gd name="connsiteY50" fmla="*/ 5146 h 1528729"/>
                  <a:gd name="connsiteX51" fmla="*/ 786527 w 3716428"/>
                  <a:gd name="connsiteY51" fmla="*/ 7198 h 1528729"/>
                  <a:gd name="connsiteX52" fmla="*/ 784761 w 3716428"/>
                  <a:gd name="connsiteY52" fmla="*/ 15234 h 1528729"/>
                  <a:gd name="connsiteX53" fmla="*/ 820097 w 3716428"/>
                  <a:gd name="connsiteY53" fmla="*/ 66530 h 1528729"/>
                  <a:gd name="connsiteX54" fmla="*/ 827108 w 3716428"/>
                  <a:gd name="connsiteY54" fmla="*/ 65846 h 1528729"/>
                  <a:gd name="connsiteX55" fmla="*/ 839931 w 3716428"/>
                  <a:gd name="connsiteY55" fmla="*/ 64022 h 1528729"/>
                  <a:gd name="connsiteX56" fmla="*/ 845631 w 3716428"/>
                  <a:gd name="connsiteY56" fmla="*/ 58322 h 1528729"/>
                  <a:gd name="connsiteX57" fmla="*/ 839589 w 3716428"/>
                  <a:gd name="connsiteY57" fmla="*/ 52623 h 1528729"/>
                  <a:gd name="connsiteX58" fmla="*/ 818730 w 3716428"/>
                  <a:gd name="connsiteY58" fmla="*/ 48177 h 1528729"/>
                  <a:gd name="connsiteX59" fmla="*/ 815196 w 3716428"/>
                  <a:gd name="connsiteY59" fmla="*/ 48519 h 1528729"/>
                  <a:gd name="connsiteX60" fmla="*/ 809496 w 3716428"/>
                  <a:gd name="connsiteY60" fmla="*/ 55416 h 1528729"/>
                  <a:gd name="connsiteX61" fmla="*/ 796958 w 3716428"/>
                  <a:gd name="connsiteY61" fmla="*/ 57980 h 1528729"/>
                  <a:gd name="connsiteX62" fmla="*/ 779517 w 3716428"/>
                  <a:gd name="connsiteY62" fmla="*/ 63680 h 1528729"/>
                  <a:gd name="connsiteX63" fmla="*/ 775243 w 3716428"/>
                  <a:gd name="connsiteY63" fmla="*/ 73540 h 1528729"/>
                  <a:gd name="connsiteX64" fmla="*/ 783450 w 3716428"/>
                  <a:gd name="connsiteY64" fmla="*/ 76333 h 1528729"/>
                  <a:gd name="connsiteX65" fmla="*/ 801517 w 3716428"/>
                  <a:gd name="connsiteY65" fmla="*/ 76333 h 1528729"/>
                  <a:gd name="connsiteX66" fmla="*/ 816792 w 3716428"/>
                  <a:gd name="connsiteY66" fmla="*/ 71602 h 1528729"/>
                  <a:gd name="connsiteX67" fmla="*/ 820097 w 3716428"/>
                  <a:gd name="connsiteY67" fmla="*/ 66587 h 1528729"/>
                  <a:gd name="connsiteX68" fmla="*/ 902170 w 3716428"/>
                  <a:gd name="connsiteY68" fmla="*/ 30623 h 1528729"/>
                  <a:gd name="connsiteX69" fmla="*/ 894989 w 3716428"/>
                  <a:gd name="connsiteY69" fmla="*/ 24923 h 1528729"/>
                  <a:gd name="connsiteX70" fmla="*/ 889688 w 3716428"/>
                  <a:gd name="connsiteY70" fmla="*/ 24638 h 1528729"/>
                  <a:gd name="connsiteX71" fmla="*/ 874812 w 3716428"/>
                  <a:gd name="connsiteY71" fmla="*/ 25436 h 1528729"/>
                  <a:gd name="connsiteX72" fmla="*/ 871393 w 3716428"/>
                  <a:gd name="connsiteY72" fmla="*/ 26063 h 1528729"/>
                  <a:gd name="connsiteX73" fmla="*/ 867346 w 3716428"/>
                  <a:gd name="connsiteY73" fmla="*/ 32789 h 1528729"/>
                  <a:gd name="connsiteX74" fmla="*/ 852356 w 3716428"/>
                  <a:gd name="connsiteY74" fmla="*/ 41680 h 1528729"/>
                  <a:gd name="connsiteX75" fmla="*/ 858398 w 3716428"/>
                  <a:gd name="connsiteY75" fmla="*/ 50799 h 1528729"/>
                  <a:gd name="connsiteX76" fmla="*/ 869797 w 3716428"/>
                  <a:gd name="connsiteY76" fmla="*/ 53364 h 1528729"/>
                  <a:gd name="connsiteX77" fmla="*/ 887579 w 3716428"/>
                  <a:gd name="connsiteY77" fmla="*/ 50001 h 1528729"/>
                  <a:gd name="connsiteX78" fmla="*/ 894647 w 3716428"/>
                  <a:gd name="connsiteY78" fmla="*/ 44302 h 1528729"/>
                  <a:gd name="connsiteX79" fmla="*/ 898351 w 3716428"/>
                  <a:gd name="connsiteY79" fmla="*/ 43561 h 1528729"/>
                  <a:gd name="connsiteX80" fmla="*/ 906330 w 3716428"/>
                  <a:gd name="connsiteY80" fmla="*/ 41566 h 1528729"/>
                  <a:gd name="connsiteX81" fmla="*/ 912657 w 3716428"/>
                  <a:gd name="connsiteY81" fmla="*/ 36436 h 1528729"/>
                  <a:gd name="connsiteX82" fmla="*/ 904621 w 3716428"/>
                  <a:gd name="connsiteY82" fmla="*/ 33872 h 1528729"/>
                  <a:gd name="connsiteX83" fmla="*/ 902170 w 3716428"/>
                  <a:gd name="connsiteY83" fmla="*/ 30680 h 1528729"/>
                  <a:gd name="connsiteX84" fmla="*/ 956144 w 3716428"/>
                  <a:gd name="connsiteY84" fmla="*/ 20991 h 1528729"/>
                  <a:gd name="connsiteX85" fmla="*/ 952097 w 3716428"/>
                  <a:gd name="connsiteY85" fmla="*/ 21789 h 1528729"/>
                  <a:gd name="connsiteX86" fmla="*/ 928387 w 3716428"/>
                  <a:gd name="connsiteY86" fmla="*/ 31535 h 1528729"/>
                  <a:gd name="connsiteX87" fmla="*/ 930029 w 3716428"/>
                  <a:gd name="connsiteY87" fmla="*/ 38518 h 1528729"/>
                  <a:gd name="connsiteX88" fmla="*/ 930268 w 3716428"/>
                  <a:gd name="connsiteY88" fmla="*/ 38659 h 1528729"/>
                  <a:gd name="connsiteX89" fmla="*/ 939558 w 3716428"/>
                  <a:gd name="connsiteY89" fmla="*/ 37747 h 1528729"/>
                  <a:gd name="connsiteX90" fmla="*/ 946113 w 3716428"/>
                  <a:gd name="connsiteY90" fmla="*/ 37291 h 1528729"/>
                  <a:gd name="connsiteX91" fmla="*/ 967543 w 3716428"/>
                  <a:gd name="connsiteY91" fmla="*/ 37291 h 1528729"/>
                  <a:gd name="connsiteX92" fmla="*/ 965605 w 3716428"/>
                  <a:gd name="connsiteY92" fmla="*/ 28628 h 1528729"/>
                  <a:gd name="connsiteX93" fmla="*/ 958879 w 3716428"/>
                  <a:gd name="connsiteY93" fmla="*/ 22359 h 1528729"/>
                  <a:gd name="connsiteX94" fmla="*/ 956144 w 3716428"/>
                  <a:gd name="connsiteY94" fmla="*/ 21048 h 1528729"/>
                  <a:gd name="connsiteX95" fmla="*/ 608476 w 3716428"/>
                  <a:gd name="connsiteY95" fmla="*/ 574581 h 1528729"/>
                  <a:gd name="connsiteX96" fmla="*/ 599699 w 3716428"/>
                  <a:gd name="connsiteY96" fmla="*/ 582845 h 1528729"/>
                  <a:gd name="connsiteX97" fmla="*/ 595025 w 3716428"/>
                  <a:gd name="connsiteY97" fmla="*/ 585011 h 1528729"/>
                  <a:gd name="connsiteX98" fmla="*/ 594569 w 3716428"/>
                  <a:gd name="connsiteY98" fmla="*/ 594016 h 1528729"/>
                  <a:gd name="connsiteX99" fmla="*/ 601294 w 3716428"/>
                  <a:gd name="connsiteY99" fmla="*/ 601197 h 1528729"/>
                  <a:gd name="connsiteX100" fmla="*/ 604429 w 3716428"/>
                  <a:gd name="connsiteY100" fmla="*/ 610031 h 1528729"/>
                  <a:gd name="connsiteX101" fmla="*/ 618849 w 3716428"/>
                  <a:gd name="connsiteY101" fmla="*/ 610031 h 1528729"/>
                  <a:gd name="connsiteX102" fmla="*/ 626486 w 3716428"/>
                  <a:gd name="connsiteY102" fmla="*/ 608150 h 1528729"/>
                  <a:gd name="connsiteX103" fmla="*/ 626087 w 3716428"/>
                  <a:gd name="connsiteY103" fmla="*/ 601539 h 1528729"/>
                  <a:gd name="connsiteX104" fmla="*/ 638683 w 3716428"/>
                  <a:gd name="connsiteY104" fmla="*/ 597948 h 1528729"/>
                  <a:gd name="connsiteX105" fmla="*/ 641419 w 3716428"/>
                  <a:gd name="connsiteY105" fmla="*/ 596239 h 1528729"/>
                  <a:gd name="connsiteX106" fmla="*/ 642160 w 3716428"/>
                  <a:gd name="connsiteY106" fmla="*/ 593503 h 1528729"/>
                  <a:gd name="connsiteX107" fmla="*/ 642958 w 3716428"/>
                  <a:gd name="connsiteY107" fmla="*/ 585125 h 1528729"/>
                  <a:gd name="connsiteX108" fmla="*/ 640507 w 3716428"/>
                  <a:gd name="connsiteY108" fmla="*/ 579425 h 1528729"/>
                  <a:gd name="connsiteX109" fmla="*/ 625004 w 3716428"/>
                  <a:gd name="connsiteY109" fmla="*/ 571845 h 1528729"/>
                  <a:gd name="connsiteX110" fmla="*/ 608077 w 3716428"/>
                  <a:gd name="connsiteY110" fmla="*/ 574638 h 1528729"/>
                  <a:gd name="connsiteX111" fmla="*/ 772564 w 3716428"/>
                  <a:gd name="connsiteY111" fmla="*/ 343980 h 1528729"/>
                  <a:gd name="connsiteX112" fmla="*/ 760253 w 3716428"/>
                  <a:gd name="connsiteY112" fmla="*/ 369685 h 1528729"/>
                  <a:gd name="connsiteX113" fmla="*/ 742242 w 3716428"/>
                  <a:gd name="connsiteY113" fmla="*/ 377835 h 1528729"/>
                  <a:gd name="connsiteX114" fmla="*/ 740989 w 3716428"/>
                  <a:gd name="connsiteY114" fmla="*/ 393109 h 1528729"/>
                  <a:gd name="connsiteX115" fmla="*/ 733180 w 3716428"/>
                  <a:gd name="connsiteY115" fmla="*/ 404508 h 1528729"/>
                  <a:gd name="connsiteX116" fmla="*/ 732382 w 3716428"/>
                  <a:gd name="connsiteY116" fmla="*/ 413855 h 1528729"/>
                  <a:gd name="connsiteX117" fmla="*/ 722237 w 3716428"/>
                  <a:gd name="connsiteY117" fmla="*/ 415109 h 1528729"/>
                  <a:gd name="connsiteX118" fmla="*/ 717963 w 3716428"/>
                  <a:gd name="connsiteY118" fmla="*/ 423488 h 1528729"/>
                  <a:gd name="connsiteX119" fmla="*/ 705196 w 3716428"/>
                  <a:gd name="connsiteY119" fmla="*/ 426337 h 1528729"/>
                  <a:gd name="connsiteX120" fmla="*/ 706165 w 3716428"/>
                  <a:gd name="connsiteY120" fmla="*/ 437223 h 1528729"/>
                  <a:gd name="connsiteX121" fmla="*/ 710610 w 3716428"/>
                  <a:gd name="connsiteY121" fmla="*/ 437793 h 1528729"/>
                  <a:gd name="connsiteX122" fmla="*/ 707362 w 3716428"/>
                  <a:gd name="connsiteY122" fmla="*/ 448679 h 1528729"/>
                  <a:gd name="connsiteX123" fmla="*/ 695165 w 3716428"/>
                  <a:gd name="connsiteY123" fmla="*/ 455804 h 1528729"/>
                  <a:gd name="connsiteX124" fmla="*/ 693569 w 3716428"/>
                  <a:gd name="connsiteY124" fmla="*/ 461959 h 1528729"/>
                  <a:gd name="connsiteX125" fmla="*/ 687129 w 3716428"/>
                  <a:gd name="connsiteY125" fmla="*/ 465436 h 1528729"/>
                  <a:gd name="connsiteX126" fmla="*/ 674419 w 3716428"/>
                  <a:gd name="connsiteY126" fmla="*/ 479912 h 1528729"/>
                  <a:gd name="connsiteX127" fmla="*/ 688838 w 3716428"/>
                  <a:gd name="connsiteY127" fmla="*/ 487493 h 1528729"/>
                  <a:gd name="connsiteX128" fmla="*/ 691175 w 3716428"/>
                  <a:gd name="connsiteY128" fmla="*/ 500259 h 1528729"/>
                  <a:gd name="connsiteX129" fmla="*/ 702973 w 3716428"/>
                  <a:gd name="connsiteY129" fmla="*/ 502140 h 1528729"/>
                  <a:gd name="connsiteX130" fmla="*/ 705424 w 3716428"/>
                  <a:gd name="connsiteY130" fmla="*/ 492109 h 1528729"/>
                  <a:gd name="connsiteX131" fmla="*/ 714007 w 3716428"/>
                  <a:gd name="connsiteY131" fmla="*/ 490228 h 1528729"/>
                  <a:gd name="connsiteX132" fmla="*/ 714486 w 3716428"/>
                  <a:gd name="connsiteY132" fmla="*/ 490570 h 1528729"/>
                  <a:gd name="connsiteX133" fmla="*/ 722579 w 3716428"/>
                  <a:gd name="connsiteY133" fmla="*/ 519068 h 1528729"/>
                  <a:gd name="connsiteX134" fmla="*/ 742299 w 3716428"/>
                  <a:gd name="connsiteY134" fmla="*/ 528928 h 1528729"/>
                  <a:gd name="connsiteX135" fmla="*/ 794222 w 3716428"/>
                  <a:gd name="connsiteY135" fmla="*/ 529384 h 1528729"/>
                  <a:gd name="connsiteX136" fmla="*/ 798724 w 3716428"/>
                  <a:gd name="connsiteY136" fmla="*/ 527389 h 1528729"/>
                  <a:gd name="connsiteX137" fmla="*/ 791999 w 3716428"/>
                  <a:gd name="connsiteY137" fmla="*/ 515192 h 1528729"/>
                  <a:gd name="connsiteX138" fmla="*/ 786699 w 3716428"/>
                  <a:gd name="connsiteY138" fmla="*/ 502824 h 1528729"/>
                  <a:gd name="connsiteX139" fmla="*/ 756890 w 3716428"/>
                  <a:gd name="connsiteY139" fmla="*/ 461275 h 1528729"/>
                  <a:gd name="connsiteX140" fmla="*/ 756890 w 3716428"/>
                  <a:gd name="connsiteY140" fmla="*/ 454949 h 1528729"/>
                  <a:gd name="connsiteX141" fmla="*/ 765040 w 3716428"/>
                  <a:gd name="connsiteY141" fmla="*/ 450218 h 1528729"/>
                  <a:gd name="connsiteX142" fmla="*/ 779403 w 3716428"/>
                  <a:gd name="connsiteY142" fmla="*/ 419498 h 1528729"/>
                  <a:gd name="connsiteX143" fmla="*/ 785843 w 3716428"/>
                  <a:gd name="connsiteY143" fmla="*/ 416534 h 1528729"/>
                  <a:gd name="connsiteX144" fmla="*/ 788351 w 3716428"/>
                  <a:gd name="connsiteY144" fmla="*/ 394477 h 1528729"/>
                  <a:gd name="connsiteX145" fmla="*/ 804823 w 3716428"/>
                  <a:gd name="connsiteY145" fmla="*/ 364042 h 1528729"/>
                  <a:gd name="connsiteX146" fmla="*/ 817191 w 3716428"/>
                  <a:gd name="connsiteY146" fmla="*/ 359767 h 1528729"/>
                  <a:gd name="connsiteX147" fmla="*/ 879885 w 3716428"/>
                  <a:gd name="connsiteY147" fmla="*/ 335716 h 1528729"/>
                  <a:gd name="connsiteX148" fmla="*/ 885014 w 3716428"/>
                  <a:gd name="connsiteY148" fmla="*/ 331954 h 1528729"/>
                  <a:gd name="connsiteX149" fmla="*/ 887237 w 3716428"/>
                  <a:gd name="connsiteY149" fmla="*/ 326824 h 1528729"/>
                  <a:gd name="connsiteX150" fmla="*/ 898636 w 3716428"/>
                  <a:gd name="connsiteY150" fmla="*/ 319244 h 1528729"/>
                  <a:gd name="connsiteX151" fmla="*/ 924569 w 3716428"/>
                  <a:gd name="connsiteY151" fmla="*/ 309954 h 1528729"/>
                  <a:gd name="connsiteX152" fmla="*/ 941268 w 3716428"/>
                  <a:gd name="connsiteY152" fmla="*/ 305053 h 1528729"/>
                  <a:gd name="connsiteX153" fmla="*/ 950159 w 3716428"/>
                  <a:gd name="connsiteY153" fmla="*/ 302887 h 1528729"/>
                  <a:gd name="connsiteX154" fmla="*/ 955859 w 3716428"/>
                  <a:gd name="connsiteY154" fmla="*/ 299182 h 1528729"/>
                  <a:gd name="connsiteX155" fmla="*/ 972957 w 3716428"/>
                  <a:gd name="connsiteY155" fmla="*/ 292799 h 1528729"/>
                  <a:gd name="connsiteX156" fmla="*/ 1003791 w 3716428"/>
                  <a:gd name="connsiteY156" fmla="*/ 284648 h 1528729"/>
                  <a:gd name="connsiteX157" fmla="*/ 1037304 w 3716428"/>
                  <a:gd name="connsiteY157" fmla="*/ 272680 h 1528729"/>
                  <a:gd name="connsiteX158" fmla="*/ 1047221 w 3716428"/>
                  <a:gd name="connsiteY158" fmla="*/ 266068 h 1528729"/>
                  <a:gd name="connsiteX159" fmla="*/ 1050128 w 3716428"/>
                  <a:gd name="connsiteY159" fmla="*/ 260996 h 1528729"/>
                  <a:gd name="connsiteX160" fmla="*/ 1055828 w 3716428"/>
                  <a:gd name="connsiteY160" fmla="*/ 257690 h 1528729"/>
                  <a:gd name="connsiteX161" fmla="*/ 1058962 w 3716428"/>
                  <a:gd name="connsiteY161" fmla="*/ 240591 h 1528729"/>
                  <a:gd name="connsiteX162" fmla="*/ 1006299 w 3716428"/>
                  <a:gd name="connsiteY162" fmla="*/ 243384 h 1528729"/>
                  <a:gd name="connsiteX163" fmla="*/ 995755 w 3716428"/>
                  <a:gd name="connsiteY163" fmla="*/ 248343 h 1528729"/>
                  <a:gd name="connsiteX164" fmla="*/ 991025 w 3716428"/>
                  <a:gd name="connsiteY164" fmla="*/ 252845 h 1528729"/>
                  <a:gd name="connsiteX165" fmla="*/ 959677 w 3716428"/>
                  <a:gd name="connsiteY165" fmla="*/ 259115 h 1528729"/>
                  <a:gd name="connsiteX166" fmla="*/ 953978 w 3716428"/>
                  <a:gd name="connsiteY166" fmla="*/ 261452 h 1528729"/>
                  <a:gd name="connsiteX167" fmla="*/ 952724 w 3716428"/>
                  <a:gd name="connsiteY167" fmla="*/ 265669 h 1528729"/>
                  <a:gd name="connsiteX168" fmla="*/ 937164 w 3716428"/>
                  <a:gd name="connsiteY168" fmla="*/ 273135 h 1528729"/>
                  <a:gd name="connsiteX169" fmla="*/ 901372 w 3716428"/>
                  <a:gd name="connsiteY169" fmla="*/ 274503 h 1528729"/>
                  <a:gd name="connsiteX170" fmla="*/ 886724 w 3716428"/>
                  <a:gd name="connsiteY170" fmla="*/ 277581 h 1528729"/>
                  <a:gd name="connsiteX171" fmla="*/ 878859 w 3716428"/>
                  <a:gd name="connsiteY171" fmla="*/ 283622 h 1528729"/>
                  <a:gd name="connsiteX172" fmla="*/ 849678 w 3716428"/>
                  <a:gd name="connsiteY172" fmla="*/ 287384 h 1528729"/>
                  <a:gd name="connsiteX173" fmla="*/ 838279 w 3716428"/>
                  <a:gd name="connsiteY173" fmla="*/ 294964 h 1528729"/>
                  <a:gd name="connsiteX174" fmla="*/ 808983 w 3716428"/>
                  <a:gd name="connsiteY174" fmla="*/ 320327 h 1528729"/>
                  <a:gd name="connsiteX175" fmla="*/ 786185 w 3716428"/>
                  <a:gd name="connsiteY175" fmla="*/ 318788 h 1528729"/>
                  <a:gd name="connsiteX176" fmla="*/ 772564 w 3716428"/>
                  <a:gd name="connsiteY176" fmla="*/ 343980 h 1528729"/>
                  <a:gd name="connsiteX177" fmla="*/ 1534013 w 3716428"/>
                  <a:gd name="connsiteY177" fmla="*/ 4462 h 1528729"/>
                  <a:gd name="connsiteX178" fmla="*/ 1523070 w 3716428"/>
                  <a:gd name="connsiteY178" fmla="*/ 9022 h 1528729"/>
                  <a:gd name="connsiteX179" fmla="*/ 1515718 w 3716428"/>
                  <a:gd name="connsiteY179" fmla="*/ 13353 h 1528729"/>
                  <a:gd name="connsiteX180" fmla="*/ 1520335 w 3716428"/>
                  <a:gd name="connsiteY180" fmla="*/ 20934 h 1528729"/>
                  <a:gd name="connsiteX181" fmla="*/ 1529910 w 3716428"/>
                  <a:gd name="connsiteY181" fmla="*/ 21675 h 1528729"/>
                  <a:gd name="connsiteX182" fmla="*/ 1541309 w 3716428"/>
                  <a:gd name="connsiteY182" fmla="*/ 20307 h 1528729"/>
                  <a:gd name="connsiteX183" fmla="*/ 1544215 w 3716428"/>
                  <a:gd name="connsiteY183" fmla="*/ 19110 h 1528729"/>
                  <a:gd name="connsiteX184" fmla="*/ 1544956 w 3716428"/>
                  <a:gd name="connsiteY184" fmla="*/ 16032 h 1528729"/>
                  <a:gd name="connsiteX185" fmla="*/ 1543988 w 3716428"/>
                  <a:gd name="connsiteY185" fmla="*/ 8965 h 1528729"/>
                  <a:gd name="connsiteX186" fmla="*/ 1534013 w 3716428"/>
                  <a:gd name="connsiteY186" fmla="*/ 4462 h 1528729"/>
                  <a:gd name="connsiteX187" fmla="*/ 1579609 w 3716428"/>
                  <a:gd name="connsiteY187" fmla="*/ 21561 h 1528729"/>
                  <a:gd name="connsiteX188" fmla="*/ 1565816 w 3716428"/>
                  <a:gd name="connsiteY188" fmla="*/ 23100 h 1528729"/>
                  <a:gd name="connsiteX189" fmla="*/ 1570091 w 3716428"/>
                  <a:gd name="connsiteY189" fmla="*/ 36265 h 1528729"/>
                  <a:gd name="connsiteX190" fmla="*/ 1574309 w 3716428"/>
                  <a:gd name="connsiteY190" fmla="*/ 49431 h 1528729"/>
                  <a:gd name="connsiteX191" fmla="*/ 1569407 w 3716428"/>
                  <a:gd name="connsiteY191" fmla="*/ 53079 h 1528729"/>
                  <a:gd name="connsiteX192" fmla="*/ 1558008 w 3716428"/>
                  <a:gd name="connsiteY192" fmla="*/ 55074 h 1528729"/>
                  <a:gd name="connsiteX193" fmla="*/ 1551397 w 3716428"/>
                  <a:gd name="connsiteY193" fmla="*/ 56555 h 1528729"/>
                  <a:gd name="connsiteX194" fmla="*/ 1552138 w 3716428"/>
                  <a:gd name="connsiteY194" fmla="*/ 62711 h 1528729"/>
                  <a:gd name="connsiteX195" fmla="*/ 1557837 w 3716428"/>
                  <a:gd name="connsiteY195" fmla="*/ 65789 h 1528729"/>
                  <a:gd name="connsiteX196" fmla="*/ 1565246 w 3716428"/>
                  <a:gd name="connsiteY196" fmla="*/ 68182 h 1528729"/>
                  <a:gd name="connsiteX197" fmla="*/ 1569464 w 3716428"/>
                  <a:gd name="connsiteY197" fmla="*/ 70918 h 1528729"/>
                  <a:gd name="connsiteX198" fmla="*/ 1563765 w 3716428"/>
                  <a:gd name="connsiteY198" fmla="*/ 77587 h 1528729"/>
                  <a:gd name="connsiteX199" fmla="*/ 1547521 w 3716428"/>
                  <a:gd name="connsiteY199" fmla="*/ 75193 h 1528729"/>
                  <a:gd name="connsiteX200" fmla="*/ 1536692 w 3716428"/>
                  <a:gd name="connsiteY200" fmla="*/ 84426 h 1528729"/>
                  <a:gd name="connsiteX201" fmla="*/ 1546951 w 3716428"/>
                  <a:gd name="connsiteY201" fmla="*/ 87219 h 1528729"/>
                  <a:gd name="connsiteX202" fmla="*/ 1549858 w 3716428"/>
                  <a:gd name="connsiteY202" fmla="*/ 98618 h 1528729"/>
                  <a:gd name="connsiteX203" fmla="*/ 1569179 w 3716428"/>
                  <a:gd name="connsiteY203" fmla="*/ 96395 h 1528729"/>
                  <a:gd name="connsiteX204" fmla="*/ 1575505 w 3716428"/>
                  <a:gd name="connsiteY204" fmla="*/ 93488 h 1528729"/>
                  <a:gd name="connsiteX205" fmla="*/ 1576418 w 3716428"/>
                  <a:gd name="connsiteY205" fmla="*/ 90239 h 1528729"/>
                  <a:gd name="connsiteX206" fmla="*/ 1579609 w 3716428"/>
                  <a:gd name="connsiteY206" fmla="*/ 84825 h 1528729"/>
                  <a:gd name="connsiteX207" fmla="*/ 1590495 w 3716428"/>
                  <a:gd name="connsiteY207" fmla="*/ 71203 h 1528729"/>
                  <a:gd name="connsiteX208" fmla="*/ 1594599 w 3716428"/>
                  <a:gd name="connsiteY208" fmla="*/ 67783 h 1528729"/>
                  <a:gd name="connsiteX209" fmla="*/ 1601438 w 3716428"/>
                  <a:gd name="connsiteY209" fmla="*/ 68980 h 1528729"/>
                  <a:gd name="connsiteX210" fmla="*/ 1615687 w 3716428"/>
                  <a:gd name="connsiteY210" fmla="*/ 66359 h 1528729"/>
                  <a:gd name="connsiteX211" fmla="*/ 1617283 w 3716428"/>
                  <a:gd name="connsiteY211" fmla="*/ 52623 h 1528729"/>
                  <a:gd name="connsiteX212" fmla="*/ 1604573 w 3716428"/>
                  <a:gd name="connsiteY212" fmla="*/ 42706 h 1528729"/>
                  <a:gd name="connsiteX213" fmla="*/ 1603205 w 3716428"/>
                  <a:gd name="connsiteY213" fmla="*/ 33815 h 1528729"/>
                  <a:gd name="connsiteX214" fmla="*/ 1598702 w 3716428"/>
                  <a:gd name="connsiteY214" fmla="*/ 26633 h 1528729"/>
                  <a:gd name="connsiteX215" fmla="*/ 1594371 w 3716428"/>
                  <a:gd name="connsiteY215" fmla="*/ 26633 h 1528729"/>
                  <a:gd name="connsiteX216" fmla="*/ 1579723 w 3716428"/>
                  <a:gd name="connsiteY216" fmla="*/ 21732 h 1528729"/>
                  <a:gd name="connsiteX217" fmla="*/ 1669490 w 3716428"/>
                  <a:gd name="connsiteY217" fmla="*/ 139141 h 1528729"/>
                  <a:gd name="connsiteX218" fmla="*/ 1671713 w 3716428"/>
                  <a:gd name="connsiteY218" fmla="*/ 141649 h 1528729"/>
                  <a:gd name="connsiteX219" fmla="*/ 1676785 w 3716428"/>
                  <a:gd name="connsiteY219" fmla="*/ 142903 h 1528729"/>
                  <a:gd name="connsiteX220" fmla="*/ 1686759 w 3716428"/>
                  <a:gd name="connsiteY220" fmla="*/ 141934 h 1528729"/>
                  <a:gd name="connsiteX221" fmla="*/ 1692459 w 3716428"/>
                  <a:gd name="connsiteY221" fmla="*/ 134410 h 1528729"/>
                  <a:gd name="connsiteX222" fmla="*/ 1689666 w 3716428"/>
                  <a:gd name="connsiteY222" fmla="*/ 120048 h 1528729"/>
                  <a:gd name="connsiteX223" fmla="*/ 1692744 w 3716428"/>
                  <a:gd name="connsiteY223" fmla="*/ 117540 h 1528729"/>
                  <a:gd name="connsiteX224" fmla="*/ 1693998 w 3716428"/>
                  <a:gd name="connsiteY224" fmla="*/ 113892 h 1528729"/>
                  <a:gd name="connsiteX225" fmla="*/ 1702433 w 3716428"/>
                  <a:gd name="connsiteY225" fmla="*/ 104374 h 1528729"/>
                  <a:gd name="connsiteX226" fmla="*/ 1702433 w 3716428"/>
                  <a:gd name="connsiteY226" fmla="*/ 89099 h 1528729"/>
                  <a:gd name="connsiteX227" fmla="*/ 1691547 w 3716428"/>
                  <a:gd name="connsiteY227" fmla="*/ 77302 h 1528729"/>
                  <a:gd name="connsiteX228" fmla="*/ 1683625 w 3716428"/>
                  <a:gd name="connsiteY228" fmla="*/ 74224 h 1528729"/>
                  <a:gd name="connsiteX229" fmla="*/ 1677925 w 3716428"/>
                  <a:gd name="connsiteY229" fmla="*/ 81861 h 1528729"/>
                  <a:gd name="connsiteX230" fmla="*/ 1664132 w 3716428"/>
                  <a:gd name="connsiteY230" fmla="*/ 87561 h 1528729"/>
                  <a:gd name="connsiteX231" fmla="*/ 1659345 w 3716428"/>
                  <a:gd name="connsiteY231" fmla="*/ 73255 h 1528729"/>
                  <a:gd name="connsiteX232" fmla="*/ 1644070 w 3716428"/>
                  <a:gd name="connsiteY232" fmla="*/ 69322 h 1528729"/>
                  <a:gd name="connsiteX233" fmla="*/ 1610899 w 3716428"/>
                  <a:gd name="connsiteY233" fmla="*/ 82716 h 1528729"/>
                  <a:gd name="connsiteX234" fmla="*/ 1599500 w 3716428"/>
                  <a:gd name="connsiteY234" fmla="*/ 93374 h 1528729"/>
                  <a:gd name="connsiteX235" fmla="*/ 1603490 w 3716428"/>
                  <a:gd name="connsiteY235" fmla="*/ 106319 h 1528729"/>
                  <a:gd name="connsiteX236" fmla="*/ 1604174 w 3716428"/>
                  <a:gd name="connsiteY236" fmla="*/ 106654 h 1528729"/>
                  <a:gd name="connsiteX237" fmla="*/ 1607651 w 3716428"/>
                  <a:gd name="connsiteY237" fmla="*/ 118053 h 1528729"/>
                  <a:gd name="connsiteX238" fmla="*/ 1619050 w 3716428"/>
                  <a:gd name="connsiteY238" fmla="*/ 124094 h 1528729"/>
                  <a:gd name="connsiteX239" fmla="*/ 1627029 w 3716428"/>
                  <a:gd name="connsiteY239" fmla="*/ 130706 h 1528729"/>
                  <a:gd name="connsiteX240" fmla="*/ 1636433 w 3716428"/>
                  <a:gd name="connsiteY240" fmla="*/ 133726 h 1528729"/>
                  <a:gd name="connsiteX241" fmla="*/ 1660257 w 3716428"/>
                  <a:gd name="connsiteY241" fmla="*/ 137089 h 1528729"/>
                  <a:gd name="connsiteX242" fmla="*/ 1669604 w 3716428"/>
                  <a:gd name="connsiteY242" fmla="*/ 139312 h 1528729"/>
                  <a:gd name="connsiteX243" fmla="*/ 1702604 w 3716428"/>
                  <a:gd name="connsiteY243" fmla="*/ 169462 h 1528729"/>
                  <a:gd name="connsiteX244" fmla="*/ 1692231 w 3716428"/>
                  <a:gd name="connsiteY244" fmla="*/ 183863 h 1528729"/>
                  <a:gd name="connsiteX245" fmla="*/ 1692345 w 3716428"/>
                  <a:gd name="connsiteY245" fmla="*/ 184338 h 1528729"/>
                  <a:gd name="connsiteX246" fmla="*/ 1751448 w 3716428"/>
                  <a:gd name="connsiteY246" fmla="*/ 180975 h 1528729"/>
                  <a:gd name="connsiteX247" fmla="*/ 1775443 w 3716428"/>
                  <a:gd name="connsiteY247" fmla="*/ 178524 h 1528729"/>
                  <a:gd name="connsiteX248" fmla="*/ 1782283 w 3716428"/>
                  <a:gd name="connsiteY248" fmla="*/ 175617 h 1528729"/>
                  <a:gd name="connsiteX249" fmla="*/ 1785360 w 3716428"/>
                  <a:gd name="connsiteY249" fmla="*/ 170887 h 1528729"/>
                  <a:gd name="connsiteX250" fmla="*/ 1807303 w 3716428"/>
                  <a:gd name="connsiteY250" fmla="*/ 158291 h 1528729"/>
                  <a:gd name="connsiteX251" fmla="*/ 1832495 w 3716428"/>
                  <a:gd name="connsiteY251" fmla="*/ 152079 h 1528729"/>
                  <a:gd name="connsiteX252" fmla="*/ 1831412 w 3716428"/>
                  <a:gd name="connsiteY252" fmla="*/ 141307 h 1528729"/>
                  <a:gd name="connsiteX253" fmla="*/ 1774417 w 3716428"/>
                  <a:gd name="connsiteY253" fmla="*/ 135607 h 1528729"/>
                  <a:gd name="connsiteX254" fmla="*/ 1759428 w 3716428"/>
                  <a:gd name="connsiteY254" fmla="*/ 133612 h 1528729"/>
                  <a:gd name="connsiteX255" fmla="*/ 1758060 w 3716428"/>
                  <a:gd name="connsiteY255" fmla="*/ 126203 h 1528729"/>
                  <a:gd name="connsiteX256" fmla="*/ 1754697 w 3716428"/>
                  <a:gd name="connsiteY256" fmla="*/ 123296 h 1528729"/>
                  <a:gd name="connsiteX257" fmla="*/ 1730475 w 3716428"/>
                  <a:gd name="connsiteY257" fmla="*/ 132824 h 1528729"/>
                  <a:gd name="connsiteX258" fmla="*/ 1729619 w 3716428"/>
                  <a:gd name="connsiteY258" fmla="*/ 135208 h 1528729"/>
                  <a:gd name="connsiteX259" fmla="*/ 1726029 w 3716428"/>
                  <a:gd name="connsiteY259" fmla="*/ 143928 h 1528729"/>
                  <a:gd name="connsiteX260" fmla="*/ 1716567 w 3716428"/>
                  <a:gd name="connsiteY260" fmla="*/ 145011 h 1528729"/>
                  <a:gd name="connsiteX261" fmla="*/ 1708759 w 3716428"/>
                  <a:gd name="connsiteY261" fmla="*/ 167809 h 1528729"/>
                  <a:gd name="connsiteX262" fmla="*/ 1702718 w 3716428"/>
                  <a:gd name="connsiteY262" fmla="*/ 169633 h 1528729"/>
                  <a:gd name="connsiteX263" fmla="*/ 1993049 w 3716428"/>
                  <a:gd name="connsiteY263" fmla="*/ 355607 h 1528729"/>
                  <a:gd name="connsiteX264" fmla="*/ 1984557 w 3716428"/>
                  <a:gd name="connsiteY264" fmla="*/ 356690 h 1528729"/>
                  <a:gd name="connsiteX265" fmla="*/ 1979712 w 3716428"/>
                  <a:gd name="connsiteY265" fmla="*/ 356291 h 1528729"/>
                  <a:gd name="connsiteX266" fmla="*/ 1975552 w 3716428"/>
                  <a:gd name="connsiteY266" fmla="*/ 358286 h 1528729"/>
                  <a:gd name="connsiteX267" fmla="*/ 1975552 w 3716428"/>
                  <a:gd name="connsiteY267" fmla="*/ 362845 h 1528729"/>
                  <a:gd name="connsiteX268" fmla="*/ 1965748 w 3716428"/>
                  <a:gd name="connsiteY268" fmla="*/ 364669 h 1528729"/>
                  <a:gd name="connsiteX269" fmla="*/ 1965007 w 3716428"/>
                  <a:gd name="connsiteY269" fmla="*/ 365068 h 1528729"/>
                  <a:gd name="connsiteX270" fmla="*/ 1965007 w 3716428"/>
                  <a:gd name="connsiteY270" fmla="*/ 366037 h 1528729"/>
                  <a:gd name="connsiteX271" fmla="*/ 1965007 w 3716428"/>
                  <a:gd name="connsiteY271" fmla="*/ 369229 h 1528729"/>
                  <a:gd name="connsiteX272" fmla="*/ 1965805 w 3716428"/>
                  <a:gd name="connsiteY272" fmla="*/ 372135 h 1528729"/>
                  <a:gd name="connsiteX273" fmla="*/ 1968940 w 3716428"/>
                  <a:gd name="connsiteY273" fmla="*/ 373218 h 1528729"/>
                  <a:gd name="connsiteX274" fmla="*/ 1997950 w 3716428"/>
                  <a:gd name="connsiteY274" fmla="*/ 370710 h 1528729"/>
                  <a:gd name="connsiteX275" fmla="*/ 2000914 w 3716428"/>
                  <a:gd name="connsiteY275" fmla="*/ 366835 h 1528729"/>
                  <a:gd name="connsiteX276" fmla="*/ 1998406 w 3716428"/>
                  <a:gd name="connsiteY276" fmla="*/ 366835 h 1528729"/>
                  <a:gd name="connsiteX277" fmla="*/ 2000572 w 3716428"/>
                  <a:gd name="connsiteY277" fmla="*/ 359425 h 1528729"/>
                  <a:gd name="connsiteX278" fmla="*/ 1993049 w 3716428"/>
                  <a:gd name="connsiteY278" fmla="*/ 355607 h 1528729"/>
                  <a:gd name="connsiteX279" fmla="*/ 2603862 w 3716428"/>
                  <a:gd name="connsiteY279" fmla="*/ 398695 h 1528729"/>
                  <a:gd name="connsiteX280" fmla="*/ 2595426 w 3716428"/>
                  <a:gd name="connsiteY280" fmla="*/ 401488 h 1528729"/>
                  <a:gd name="connsiteX281" fmla="*/ 2605628 w 3716428"/>
                  <a:gd name="connsiteY281" fmla="*/ 407757 h 1528729"/>
                  <a:gd name="connsiteX282" fmla="*/ 2602893 w 3716428"/>
                  <a:gd name="connsiteY282" fmla="*/ 414026 h 1528729"/>
                  <a:gd name="connsiteX283" fmla="*/ 2607851 w 3716428"/>
                  <a:gd name="connsiteY283" fmla="*/ 416876 h 1528729"/>
                  <a:gd name="connsiteX284" fmla="*/ 2656183 w 3716428"/>
                  <a:gd name="connsiteY284" fmla="*/ 416876 h 1528729"/>
                  <a:gd name="connsiteX285" fmla="*/ 2664333 w 3716428"/>
                  <a:gd name="connsiteY285" fmla="*/ 415679 h 1528729"/>
                  <a:gd name="connsiteX286" fmla="*/ 2668437 w 3716428"/>
                  <a:gd name="connsiteY286" fmla="*/ 409068 h 1528729"/>
                  <a:gd name="connsiteX287" fmla="*/ 2658805 w 3716428"/>
                  <a:gd name="connsiteY287" fmla="*/ 403881 h 1528729"/>
                  <a:gd name="connsiteX288" fmla="*/ 2653675 w 3716428"/>
                  <a:gd name="connsiteY288" fmla="*/ 397726 h 1528729"/>
                  <a:gd name="connsiteX289" fmla="*/ 2649058 w 3716428"/>
                  <a:gd name="connsiteY289" fmla="*/ 396187 h 1528729"/>
                  <a:gd name="connsiteX290" fmla="*/ 2650369 w 3716428"/>
                  <a:gd name="connsiteY290" fmla="*/ 393451 h 1528729"/>
                  <a:gd name="connsiteX291" fmla="*/ 2648546 w 3716428"/>
                  <a:gd name="connsiteY291" fmla="*/ 389006 h 1528729"/>
                  <a:gd name="connsiteX292" fmla="*/ 2643416 w 3716428"/>
                  <a:gd name="connsiteY292" fmla="*/ 387980 h 1528729"/>
                  <a:gd name="connsiteX293" fmla="*/ 2619877 w 3716428"/>
                  <a:gd name="connsiteY293" fmla="*/ 389177 h 1528729"/>
                  <a:gd name="connsiteX294" fmla="*/ 2608478 w 3716428"/>
                  <a:gd name="connsiteY294" fmla="*/ 392710 h 1528729"/>
                  <a:gd name="connsiteX295" fmla="*/ 2606369 w 3716428"/>
                  <a:gd name="connsiteY295" fmla="*/ 394306 h 1528729"/>
                  <a:gd name="connsiteX296" fmla="*/ 2606369 w 3716428"/>
                  <a:gd name="connsiteY296" fmla="*/ 396586 h 1528729"/>
                  <a:gd name="connsiteX297" fmla="*/ 2603862 w 3716428"/>
                  <a:gd name="connsiteY297" fmla="*/ 398695 h 1528729"/>
                  <a:gd name="connsiteX298" fmla="*/ 2595654 w 3716428"/>
                  <a:gd name="connsiteY298" fmla="*/ 370539 h 1528729"/>
                  <a:gd name="connsiteX299" fmla="*/ 2587675 w 3716428"/>
                  <a:gd name="connsiteY299" fmla="*/ 372762 h 1528729"/>
                  <a:gd name="connsiteX300" fmla="*/ 2585339 w 3716428"/>
                  <a:gd name="connsiteY300" fmla="*/ 376809 h 1528729"/>
                  <a:gd name="connsiteX301" fmla="*/ 2585965 w 3716428"/>
                  <a:gd name="connsiteY301" fmla="*/ 381596 h 1528729"/>
                  <a:gd name="connsiteX302" fmla="*/ 2588986 w 3716428"/>
                  <a:gd name="connsiteY302" fmla="*/ 384332 h 1528729"/>
                  <a:gd name="connsiteX303" fmla="*/ 2600385 w 3716428"/>
                  <a:gd name="connsiteY303" fmla="*/ 384332 h 1528729"/>
                  <a:gd name="connsiteX304" fmla="*/ 2602950 w 3716428"/>
                  <a:gd name="connsiteY304" fmla="*/ 382964 h 1528729"/>
                  <a:gd name="connsiteX305" fmla="*/ 2602950 w 3716428"/>
                  <a:gd name="connsiteY305" fmla="*/ 378177 h 1528729"/>
                  <a:gd name="connsiteX306" fmla="*/ 2605857 w 3716428"/>
                  <a:gd name="connsiteY306" fmla="*/ 374700 h 1528729"/>
                  <a:gd name="connsiteX307" fmla="*/ 2610530 w 3716428"/>
                  <a:gd name="connsiteY307" fmla="*/ 374187 h 1528729"/>
                  <a:gd name="connsiteX308" fmla="*/ 2612012 w 3716428"/>
                  <a:gd name="connsiteY308" fmla="*/ 374187 h 1528729"/>
                  <a:gd name="connsiteX309" fmla="*/ 2612639 w 3716428"/>
                  <a:gd name="connsiteY309" fmla="*/ 372990 h 1528729"/>
                  <a:gd name="connsiteX310" fmla="*/ 2606939 w 3716428"/>
                  <a:gd name="connsiteY310" fmla="*/ 365524 h 1528729"/>
                  <a:gd name="connsiteX311" fmla="*/ 2596908 w 3716428"/>
                  <a:gd name="connsiteY311" fmla="*/ 366037 h 1528729"/>
                  <a:gd name="connsiteX312" fmla="*/ 2595654 w 3716428"/>
                  <a:gd name="connsiteY312" fmla="*/ 370596 h 1528729"/>
                  <a:gd name="connsiteX313" fmla="*/ 2606540 w 3716428"/>
                  <a:gd name="connsiteY313" fmla="*/ 297985 h 1528729"/>
                  <a:gd name="connsiteX314" fmla="*/ 2597364 w 3716428"/>
                  <a:gd name="connsiteY314" fmla="*/ 300664 h 1528729"/>
                  <a:gd name="connsiteX315" fmla="*/ 2595141 w 3716428"/>
                  <a:gd name="connsiteY315" fmla="*/ 293426 h 1528729"/>
                  <a:gd name="connsiteX316" fmla="*/ 2587960 w 3716428"/>
                  <a:gd name="connsiteY316" fmla="*/ 289835 h 1528729"/>
                  <a:gd name="connsiteX317" fmla="*/ 2575934 w 3716428"/>
                  <a:gd name="connsiteY317" fmla="*/ 286985 h 1528729"/>
                  <a:gd name="connsiteX318" fmla="*/ 2562654 w 3716428"/>
                  <a:gd name="connsiteY318" fmla="*/ 287441 h 1528729"/>
                  <a:gd name="connsiteX319" fmla="*/ 2546354 w 3716428"/>
                  <a:gd name="connsiteY319" fmla="*/ 293141 h 1528729"/>
                  <a:gd name="connsiteX320" fmla="*/ 2542706 w 3716428"/>
                  <a:gd name="connsiteY320" fmla="*/ 308073 h 1528729"/>
                  <a:gd name="connsiteX321" fmla="*/ 2538431 w 3716428"/>
                  <a:gd name="connsiteY321" fmla="*/ 313773 h 1528729"/>
                  <a:gd name="connsiteX322" fmla="*/ 2544131 w 3716428"/>
                  <a:gd name="connsiteY322" fmla="*/ 330415 h 1528729"/>
                  <a:gd name="connsiteX323" fmla="*/ 2544587 w 3716428"/>
                  <a:gd name="connsiteY323" fmla="*/ 336115 h 1528729"/>
                  <a:gd name="connsiteX324" fmla="*/ 2549146 w 3716428"/>
                  <a:gd name="connsiteY324" fmla="*/ 339021 h 1528729"/>
                  <a:gd name="connsiteX325" fmla="*/ 2561743 w 3716428"/>
                  <a:gd name="connsiteY325" fmla="*/ 343182 h 1528729"/>
                  <a:gd name="connsiteX326" fmla="*/ 2567442 w 3716428"/>
                  <a:gd name="connsiteY326" fmla="*/ 343866 h 1528729"/>
                  <a:gd name="connsiteX327" fmla="*/ 2576504 w 3716428"/>
                  <a:gd name="connsiteY327" fmla="*/ 333721 h 1528729"/>
                  <a:gd name="connsiteX328" fmla="*/ 2585339 w 3716428"/>
                  <a:gd name="connsiteY328" fmla="*/ 332581 h 1528729"/>
                  <a:gd name="connsiteX329" fmla="*/ 2587561 w 3716428"/>
                  <a:gd name="connsiteY329" fmla="*/ 333322 h 1528729"/>
                  <a:gd name="connsiteX330" fmla="*/ 2588530 w 3716428"/>
                  <a:gd name="connsiteY330" fmla="*/ 335545 h 1528729"/>
                  <a:gd name="connsiteX331" fmla="*/ 2599473 w 3716428"/>
                  <a:gd name="connsiteY331" fmla="*/ 340316 h 1528729"/>
                  <a:gd name="connsiteX332" fmla="*/ 2602437 w 3716428"/>
                  <a:gd name="connsiteY332" fmla="*/ 338337 h 1528729"/>
                  <a:gd name="connsiteX333" fmla="*/ 2605001 w 3716428"/>
                  <a:gd name="connsiteY333" fmla="*/ 335146 h 1528729"/>
                  <a:gd name="connsiteX334" fmla="*/ 2611100 w 3716428"/>
                  <a:gd name="connsiteY334" fmla="*/ 334006 h 1528729"/>
                  <a:gd name="connsiteX335" fmla="*/ 2636292 w 3716428"/>
                  <a:gd name="connsiteY335" fmla="*/ 335488 h 1528729"/>
                  <a:gd name="connsiteX336" fmla="*/ 2640680 w 3716428"/>
                  <a:gd name="connsiteY336" fmla="*/ 334975 h 1528729"/>
                  <a:gd name="connsiteX337" fmla="*/ 2643359 w 3716428"/>
                  <a:gd name="connsiteY337" fmla="*/ 327736 h 1528729"/>
                  <a:gd name="connsiteX338" fmla="*/ 2633499 w 3716428"/>
                  <a:gd name="connsiteY338" fmla="*/ 319700 h 1528729"/>
                  <a:gd name="connsiteX339" fmla="*/ 2634525 w 3716428"/>
                  <a:gd name="connsiteY339" fmla="*/ 299581 h 1528729"/>
                  <a:gd name="connsiteX340" fmla="*/ 2625519 w 3716428"/>
                  <a:gd name="connsiteY340" fmla="*/ 297073 h 1528729"/>
                  <a:gd name="connsiteX341" fmla="*/ 2622442 w 3716428"/>
                  <a:gd name="connsiteY341" fmla="*/ 298042 h 1528729"/>
                  <a:gd name="connsiteX342" fmla="*/ 2615147 w 3716428"/>
                  <a:gd name="connsiteY342" fmla="*/ 293329 h 1528729"/>
                  <a:gd name="connsiteX343" fmla="*/ 2615033 w 3716428"/>
                  <a:gd name="connsiteY343" fmla="*/ 292799 h 1528729"/>
                  <a:gd name="connsiteX344" fmla="*/ 2606540 w 3716428"/>
                  <a:gd name="connsiteY344" fmla="*/ 298042 h 1528729"/>
                  <a:gd name="connsiteX345" fmla="*/ 2648488 w 3716428"/>
                  <a:gd name="connsiteY345" fmla="*/ 294110 h 1528729"/>
                  <a:gd name="connsiteX346" fmla="*/ 2639882 w 3716428"/>
                  <a:gd name="connsiteY346" fmla="*/ 306477 h 1528729"/>
                  <a:gd name="connsiteX347" fmla="*/ 2648033 w 3716428"/>
                  <a:gd name="connsiteY347" fmla="*/ 310752 h 1528729"/>
                  <a:gd name="connsiteX348" fmla="*/ 2658463 w 3716428"/>
                  <a:gd name="connsiteY348" fmla="*/ 329161 h 1528729"/>
                  <a:gd name="connsiteX349" fmla="*/ 2656582 w 3716428"/>
                  <a:gd name="connsiteY349" fmla="*/ 336457 h 1528729"/>
                  <a:gd name="connsiteX350" fmla="*/ 2680348 w 3716428"/>
                  <a:gd name="connsiteY350" fmla="*/ 334804 h 1528729"/>
                  <a:gd name="connsiteX351" fmla="*/ 2681944 w 3716428"/>
                  <a:gd name="connsiteY351" fmla="*/ 334063 h 1528729"/>
                  <a:gd name="connsiteX352" fmla="*/ 2682856 w 3716428"/>
                  <a:gd name="connsiteY352" fmla="*/ 332239 h 1528729"/>
                  <a:gd name="connsiteX353" fmla="*/ 2685763 w 3716428"/>
                  <a:gd name="connsiteY353" fmla="*/ 319358 h 1528729"/>
                  <a:gd name="connsiteX354" fmla="*/ 2686447 w 3716428"/>
                  <a:gd name="connsiteY354" fmla="*/ 316052 h 1528729"/>
                  <a:gd name="connsiteX355" fmla="*/ 2688499 w 3716428"/>
                  <a:gd name="connsiteY355" fmla="*/ 314628 h 1528729"/>
                  <a:gd name="connsiteX356" fmla="*/ 2695623 w 3716428"/>
                  <a:gd name="connsiteY356" fmla="*/ 312234 h 1528729"/>
                  <a:gd name="connsiteX357" fmla="*/ 2700923 w 3716428"/>
                  <a:gd name="connsiteY357" fmla="*/ 308586 h 1528729"/>
                  <a:gd name="connsiteX358" fmla="*/ 2699670 w 3716428"/>
                  <a:gd name="connsiteY358" fmla="*/ 305565 h 1528729"/>
                  <a:gd name="connsiteX359" fmla="*/ 2690551 w 3716428"/>
                  <a:gd name="connsiteY359" fmla="*/ 298327 h 1528729"/>
                  <a:gd name="connsiteX360" fmla="*/ 2686789 w 3716428"/>
                  <a:gd name="connsiteY360" fmla="*/ 297985 h 1528729"/>
                  <a:gd name="connsiteX361" fmla="*/ 2683939 w 3716428"/>
                  <a:gd name="connsiteY361" fmla="*/ 295363 h 1528729"/>
                  <a:gd name="connsiteX362" fmla="*/ 2658748 w 3716428"/>
                  <a:gd name="connsiteY362" fmla="*/ 291431 h 1528729"/>
                  <a:gd name="connsiteX363" fmla="*/ 2654302 w 3716428"/>
                  <a:gd name="connsiteY363" fmla="*/ 293825 h 1528729"/>
                  <a:gd name="connsiteX364" fmla="*/ 2648488 w 3716428"/>
                  <a:gd name="connsiteY364" fmla="*/ 294167 h 1528729"/>
                  <a:gd name="connsiteX365" fmla="*/ 2736032 w 3716428"/>
                  <a:gd name="connsiteY365" fmla="*/ 336001 h 1528729"/>
                  <a:gd name="connsiteX366" fmla="*/ 2738768 w 3716428"/>
                  <a:gd name="connsiteY366" fmla="*/ 336001 h 1528729"/>
                  <a:gd name="connsiteX367" fmla="*/ 2755866 w 3716428"/>
                  <a:gd name="connsiteY367" fmla="*/ 335431 h 1528729"/>
                  <a:gd name="connsiteX368" fmla="*/ 2766012 w 3716428"/>
                  <a:gd name="connsiteY368" fmla="*/ 339534 h 1528729"/>
                  <a:gd name="connsiteX369" fmla="*/ 2768349 w 3716428"/>
                  <a:gd name="connsiteY369" fmla="*/ 342099 h 1528729"/>
                  <a:gd name="connsiteX370" fmla="*/ 2771084 w 3716428"/>
                  <a:gd name="connsiteY370" fmla="*/ 342099 h 1528729"/>
                  <a:gd name="connsiteX371" fmla="*/ 2795991 w 3716428"/>
                  <a:gd name="connsiteY371" fmla="*/ 345405 h 1528729"/>
                  <a:gd name="connsiteX372" fmla="*/ 2803970 w 3716428"/>
                  <a:gd name="connsiteY372" fmla="*/ 349565 h 1528729"/>
                  <a:gd name="connsiteX373" fmla="*/ 2808586 w 3716428"/>
                  <a:gd name="connsiteY373" fmla="*/ 341928 h 1528729"/>
                  <a:gd name="connsiteX374" fmla="*/ 2821867 w 3716428"/>
                  <a:gd name="connsiteY374" fmla="*/ 340902 h 1528729"/>
                  <a:gd name="connsiteX375" fmla="*/ 2826939 w 3716428"/>
                  <a:gd name="connsiteY375" fmla="*/ 329845 h 1528729"/>
                  <a:gd name="connsiteX376" fmla="*/ 2814229 w 3716428"/>
                  <a:gd name="connsiteY376" fmla="*/ 324545 h 1528729"/>
                  <a:gd name="connsiteX377" fmla="*/ 2786302 w 3716428"/>
                  <a:gd name="connsiteY377" fmla="*/ 323633 h 1528729"/>
                  <a:gd name="connsiteX378" fmla="*/ 2776555 w 3716428"/>
                  <a:gd name="connsiteY378" fmla="*/ 318446 h 1528729"/>
                  <a:gd name="connsiteX379" fmla="*/ 2748058 w 3716428"/>
                  <a:gd name="connsiteY379" fmla="*/ 316679 h 1528729"/>
                  <a:gd name="connsiteX380" fmla="*/ 2743726 w 3716428"/>
                  <a:gd name="connsiteY380" fmla="*/ 315768 h 1528729"/>
                  <a:gd name="connsiteX381" fmla="*/ 2739281 w 3716428"/>
                  <a:gd name="connsiteY381" fmla="*/ 311493 h 1528729"/>
                  <a:gd name="connsiteX382" fmla="*/ 2727255 w 3716428"/>
                  <a:gd name="connsiteY382" fmla="*/ 314001 h 1528729"/>
                  <a:gd name="connsiteX383" fmla="*/ 2724121 w 3716428"/>
                  <a:gd name="connsiteY383" fmla="*/ 316110 h 1528729"/>
                  <a:gd name="connsiteX384" fmla="*/ 2721214 w 3716428"/>
                  <a:gd name="connsiteY384" fmla="*/ 319016 h 1528729"/>
                  <a:gd name="connsiteX385" fmla="*/ 2725774 w 3716428"/>
                  <a:gd name="connsiteY385" fmla="*/ 326483 h 1528729"/>
                  <a:gd name="connsiteX386" fmla="*/ 2733638 w 3716428"/>
                  <a:gd name="connsiteY386" fmla="*/ 331783 h 1528729"/>
                  <a:gd name="connsiteX387" fmla="*/ 2736032 w 3716428"/>
                  <a:gd name="connsiteY387" fmla="*/ 336001 h 1528729"/>
                  <a:gd name="connsiteX388" fmla="*/ 3229208 w 3716428"/>
                  <a:gd name="connsiteY388" fmla="*/ 567741 h 1528729"/>
                  <a:gd name="connsiteX389" fmla="*/ 3226814 w 3716428"/>
                  <a:gd name="connsiteY389" fmla="*/ 575037 h 1528729"/>
                  <a:gd name="connsiteX390" fmla="*/ 3221114 w 3716428"/>
                  <a:gd name="connsiteY390" fmla="*/ 577658 h 1528729"/>
                  <a:gd name="connsiteX391" fmla="*/ 3214617 w 3716428"/>
                  <a:gd name="connsiteY391" fmla="*/ 578000 h 1528729"/>
                  <a:gd name="connsiteX392" fmla="*/ 3226643 w 3716428"/>
                  <a:gd name="connsiteY392" fmla="*/ 581363 h 1528729"/>
                  <a:gd name="connsiteX393" fmla="*/ 3236161 w 3716428"/>
                  <a:gd name="connsiteY393" fmla="*/ 578684 h 1528729"/>
                  <a:gd name="connsiteX394" fmla="*/ 3235990 w 3716428"/>
                  <a:gd name="connsiteY394" fmla="*/ 569172 h 1528729"/>
                  <a:gd name="connsiteX395" fmla="*/ 3231374 w 3716428"/>
                  <a:gd name="connsiteY395" fmla="*/ 567285 h 1528729"/>
                  <a:gd name="connsiteX396" fmla="*/ 3229208 w 3716428"/>
                  <a:gd name="connsiteY396" fmla="*/ 567798 h 1528729"/>
                  <a:gd name="connsiteX397" fmla="*/ 3444021 w 3716428"/>
                  <a:gd name="connsiteY397" fmla="*/ 528757 h 1528729"/>
                  <a:gd name="connsiteX398" fmla="*/ 3455420 w 3716428"/>
                  <a:gd name="connsiteY398" fmla="*/ 524653 h 1528729"/>
                  <a:gd name="connsiteX399" fmla="*/ 3467788 w 3716428"/>
                  <a:gd name="connsiteY399" fmla="*/ 518954 h 1528729"/>
                  <a:gd name="connsiteX400" fmla="*/ 3470580 w 3716428"/>
                  <a:gd name="connsiteY400" fmla="*/ 515705 h 1528729"/>
                  <a:gd name="connsiteX401" fmla="*/ 3485570 w 3716428"/>
                  <a:gd name="connsiteY401" fmla="*/ 512798 h 1528729"/>
                  <a:gd name="connsiteX402" fmla="*/ 3509907 w 3716428"/>
                  <a:gd name="connsiteY402" fmla="*/ 515192 h 1528729"/>
                  <a:gd name="connsiteX403" fmla="*/ 3517316 w 3716428"/>
                  <a:gd name="connsiteY403" fmla="*/ 515192 h 1528729"/>
                  <a:gd name="connsiteX404" fmla="*/ 3522617 w 3716428"/>
                  <a:gd name="connsiteY404" fmla="*/ 510462 h 1528729"/>
                  <a:gd name="connsiteX405" fmla="*/ 3517943 w 3716428"/>
                  <a:gd name="connsiteY405" fmla="*/ 501969 h 1528729"/>
                  <a:gd name="connsiteX406" fmla="*/ 3488648 w 3716428"/>
                  <a:gd name="connsiteY406" fmla="*/ 498037 h 1528729"/>
                  <a:gd name="connsiteX407" fmla="*/ 3468700 w 3716428"/>
                  <a:gd name="connsiteY407" fmla="*/ 499917 h 1528729"/>
                  <a:gd name="connsiteX408" fmla="*/ 3460151 w 3716428"/>
                  <a:gd name="connsiteY408" fmla="*/ 502653 h 1528729"/>
                  <a:gd name="connsiteX409" fmla="*/ 3456959 w 3716428"/>
                  <a:gd name="connsiteY409" fmla="*/ 506358 h 1528729"/>
                  <a:gd name="connsiteX410" fmla="*/ 3443850 w 3716428"/>
                  <a:gd name="connsiteY410" fmla="*/ 511487 h 1528729"/>
                  <a:gd name="connsiteX411" fmla="*/ 3441342 w 3716428"/>
                  <a:gd name="connsiteY411" fmla="*/ 526021 h 1528729"/>
                  <a:gd name="connsiteX412" fmla="*/ 3444021 w 3716428"/>
                  <a:gd name="connsiteY412" fmla="*/ 528814 h 1528729"/>
                  <a:gd name="connsiteX413" fmla="*/ 3681005 w 3716428"/>
                  <a:gd name="connsiteY413" fmla="*/ 819430 h 1528729"/>
                  <a:gd name="connsiteX414" fmla="*/ 3668296 w 3716428"/>
                  <a:gd name="connsiteY414" fmla="*/ 821311 h 1528729"/>
                  <a:gd name="connsiteX415" fmla="*/ 3649373 w 3716428"/>
                  <a:gd name="connsiteY415" fmla="*/ 822451 h 1528729"/>
                  <a:gd name="connsiteX416" fmla="*/ 3649373 w 3716428"/>
                  <a:gd name="connsiteY416" fmla="*/ 829461 h 1528729"/>
                  <a:gd name="connsiteX417" fmla="*/ 3684881 w 3716428"/>
                  <a:gd name="connsiteY417" fmla="*/ 832710 h 1528729"/>
                  <a:gd name="connsiteX418" fmla="*/ 3698218 w 3716428"/>
                  <a:gd name="connsiteY418" fmla="*/ 838010 h 1528729"/>
                  <a:gd name="connsiteX419" fmla="*/ 3713036 w 3716428"/>
                  <a:gd name="connsiteY419" fmla="*/ 838010 h 1528729"/>
                  <a:gd name="connsiteX420" fmla="*/ 3715829 w 3716428"/>
                  <a:gd name="connsiteY420" fmla="*/ 837326 h 1528729"/>
                  <a:gd name="connsiteX421" fmla="*/ 3715829 w 3716428"/>
                  <a:gd name="connsiteY421" fmla="*/ 834932 h 1528729"/>
                  <a:gd name="connsiteX422" fmla="*/ 3701466 w 3716428"/>
                  <a:gd name="connsiteY422" fmla="*/ 828093 h 1528729"/>
                  <a:gd name="connsiteX423" fmla="*/ 3694741 w 3716428"/>
                  <a:gd name="connsiteY423" fmla="*/ 827580 h 1528729"/>
                  <a:gd name="connsiteX424" fmla="*/ 3693202 w 3716428"/>
                  <a:gd name="connsiteY424" fmla="*/ 821881 h 1528729"/>
                  <a:gd name="connsiteX425" fmla="*/ 3681005 w 3716428"/>
                  <a:gd name="connsiteY425" fmla="*/ 819373 h 1528729"/>
                  <a:gd name="connsiteX426" fmla="*/ 2645867 w 3716428"/>
                  <a:gd name="connsiteY426" fmla="*/ 1217538 h 1528729"/>
                  <a:gd name="connsiteX427" fmla="*/ 2641706 w 3716428"/>
                  <a:gd name="connsiteY427" fmla="*/ 1213719 h 1528729"/>
                  <a:gd name="connsiteX428" fmla="*/ 2638970 w 3716428"/>
                  <a:gd name="connsiteY428" fmla="*/ 1197818 h 1528729"/>
                  <a:gd name="connsiteX429" fmla="*/ 2629509 w 3716428"/>
                  <a:gd name="connsiteY429" fmla="*/ 1187559 h 1528729"/>
                  <a:gd name="connsiteX430" fmla="*/ 2623468 w 3716428"/>
                  <a:gd name="connsiteY430" fmla="*/ 1216512 h 1528729"/>
                  <a:gd name="connsiteX431" fmla="*/ 2624380 w 3716428"/>
                  <a:gd name="connsiteY431" fmla="*/ 1226201 h 1528729"/>
                  <a:gd name="connsiteX432" fmla="*/ 2627401 w 3716428"/>
                  <a:gd name="connsiteY432" fmla="*/ 1232813 h 1528729"/>
                  <a:gd name="connsiteX433" fmla="*/ 2633442 w 3716428"/>
                  <a:gd name="connsiteY433" fmla="*/ 1274761 h 1528729"/>
                  <a:gd name="connsiteX434" fmla="*/ 2628883 w 3716428"/>
                  <a:gd name="connsiteY434" fmla="*/ 1295051 h 1528729"/>
                  <a:gd name="connsiteX435" fmla="*/ 2629224 w 3716428"/>
                  <a:gd name="connsiteY435" fmla="*/ 1324004 h 1528729"/>
                  <a:gd name="connsiteX436" fmla="*/ 2623525 w 3716428"/>
                  <a:gd name="connsiteY436" fmla="*/ 1381683 h 1528729"/>
                  <a:gd name="connsiteX437" fmla="*/ 2624608 w 3716428"/>
                  <a:gd name="connsiteY437" fmla="*/ 1393367 h 1528729"/>
                  <a:gd name="connsiteX438" fmla="*/ 2634696 w 3716428"/>
                  <a:gd name="connsiteY438" fmla="*/ 1388066 h 1528729"/>
                  <a:gd name="connsiteX439" fmla="*/ 2638343 w 3716428"/>
                  <a:gd name="connsiteY439" fmla="*/ 1376667 h 1528729"/>
                  <a:gd name="connsiteX440" fmla="*/ 2649742 w 3716428"/>
                  <a:gd name="connsiteY440" fmla="*/ 1384305 h 1528729"/>
                  <a:gd name="connsiteX441" fmla="*/ 2661540 w 3716428"/>
                  <a:gd name="connsiteY441" fmla="*/ 1391486 h 1528729"/>
                  <a:gd name="connsiteX442" fmla="*/ 2664219 w 3716428"/>
                  <a:gd name="connsiteY442" fmla="*/ 1384077 h 1528729"/>
                  <a:gd name="connsiteX443" fmla="*/ 2659659 w 3716428"/>
                  <a:gd name="connsiteY443" fmla="*/ 1377009 h 1528729"/>
                  <a:gd name="connsiteX444" fmla="*/ 2644442 w 3716428"/>
                  <a:gd name="connsiteY444" fmla="*/ 1360538 h 1528729"/>
                  <a:gd name="connsiteX445" fmla="*/ 2642846 w 3716428"/>
                  <a:gd name="connsiteY445" fmla="*/ 1323947 h 1528729"/>
                  <a:gd name="connsiteX446" fmla="*/ 2646437 w 3716428"/>
                  <a:gd name="connsiteY446" fmla="*/ 1305709 h 1528729"/>
                  <a:gd name="connsiteX447" fmla="*/ 2647805 w 3716428"/>
                  <a:gd name="connsiteY447" fmla="*/ 1301947 h 1528729"/>
                  <a:gd name="connsiteX448" fmla="*/ 2660857 w 3716428"/>
                  <a:gd name="connsiteY448" fmla="*/ 1296818 h 1528729"/>
                  <a:gd name="connsiteX449" fmla="*/ 2659204 w 3716428"/>
                  <a:gd name="connsiteY449" fmla="*/ 1285134 h 1528729"/>
                  <a:gd name="connsiteX450" fmla="*/ 2652193 w 3716428"/>
                  <a:gd name="connsiteY450" fmla="*/ 1274647 h 1528729"/>
                  <a:gd name="connsiteX451" fmla="*/ 2652763 w 3716428"/>
                  <a:gd name="connsiteY451" fmla="*/ 1262792 h 1528729"/>
                  <a:gd name="connsiteX452" fmla="*/ 2646323 w 3716428"/>
                  <a:gd name="connsiteY452" fmla="*/ 1222896 h 1528729"/>
                  <a:gd name="connsiteX453" fmla="*/ 2645867 w 3716428"/>
                  <a:gd name="connsiteY453" fmla="*/ 1217481 h 1528729"/>
                  <a:gd name="connsiteX454" fmla="*/ 46907 w 3716428"/>
                  <a:gd name="connsiteY454" fmla="*/ 1126347 h 1528729"/>
                  <a:gd name="connsiteX455" fmla="*/ 45368 w 3716428"/>
                  <a:gd name="connsiteY455" fmla="*/ 1120020 h 1528729"/>
                  <a:gd name="connsiteX456" fmla="*/ 38357 w 3716428"/>
                  <a:gd name="connsiteY456" fmla="*/ 1107538 h 1528729"/>
                  <a:gd name="connsiteX457" fmla="*/ 16357 w 3716428"/>
                  <a:gd name="connsiteY457" fmla="*/ 1099274 h 1528729"/>
                  <a:gd name="connsiteX458" fmla="*/ 11741 w 3716428"/>
                  <a:gd name="connsiteY458" fmla="*/ 1092093 h 1528729"/>
                  <a:gd name="connsiteX459" fmla="*/ 6611 w 3716428"/>
                  <a:gd name="connsiteY459" fmla="*/ 1088901 h 1528729"/>
                  <a:gd name="connsiteX460" fmla="*/ 0 w 3716428"/>
                  <a:gd name="connsiteY460" fmla="*/ 1097963 h 1528729"/>
                  <a:gd name="connsiteX461" fmla="*/ 10829 w 3716428"/>
                  <a:gd name="connsiteY461" fmla="*/ 1102466 h 1528729"/>
                  <a:gd name="connsiteX462" fmla="*/ 1197 w 3716428"/>
                  <a:gd name="connsiteY462" fmla="*/ 1107481 h 1528729"/>
                  <a:gd name="connsiteX463" fmla="*/ 2166 w 3716428"/>
                  <a:gd name="connsiteY463" fmla="*/ 1118880 h 1528729"/>
                  <a:gd name="connsiteX464" fmla="*/ 456 w 3716428"/>
                  <a:gd name="connsiteY464" fmla="*/ 1123440 h 1528729"/>
                  <a:gd name="connsiteX465" fmla="*/ 2451 w 3716428"/>
                  <a:gd name="connsiteY465" fmla="*/ 1125948 h 1528729"/>
                  <a:gd name="connsiteX466" fmla="*/ 5300 w 3716428"/>
                  <a:gd name="connsiteY466" fmla="*/ 1128398 h 1528729"/>
                  <a:gd name="connsiteX467" fmla="*/ 10544 w 3716428"/>
                  <a:gd name="connsiteY467" fmla="*/ 1129310 h 1528729"/>
                  <a:gd name="connsiteX468" fmla="*/ 23653 w 3716428"/>
                  <a:gd name="connsiteY468" fmla="*/ 1129652 h 1528729"/>
                  <a:gd name="connsiteX469" fmla="*/ 41834 w 3716428"/>
                  <a:gd name="connsiteY469" fmla="*/ 1133984 h 1528729"/>
                  <a:gd name="connsiteX470" fmla="*/ 47932 w 3716428"/>
                  <a:gd name="connsiteY470" fmla="*/ 1138486 h 1528729"/>
                  <a:gd name="connsiteX471" fmla="*/ 47135 w 3716428"/>
                  <a:gd name="connsiteY471" fmla="*/ 1133243 h 1528729"/>
                  <a:gd name="connsiteX472" fmla="*/ 46736 w 3716428"/>
                  <a:gd name="connsiteY472" fmla="*/ 1126347 h 1528729"/>
                  <a:gd name="connsiteX473" fmla="*/ 3678213 w 3716428"/>
                  <a:gd name="connsiteY473" fmla="*/ 736446 h 1528729"/>
                  <a:gd name="connsiteX474" fmla="*/ 3665730 w 3716428"/>
                  <a:gd name="connsiteY474" fmla="*/ 739637 h 1528729"/>
                  <a:gd name="connsiteX475" fmla="*/ 3660088 w 3716428"/>
                  <a:gd name="connsiteY475" fmla="*/ 733875 h 1528729"/>
                  <a:gd name="connsiteX476" fmla="*/ 3659176 w 3716428"/>
                  <a:gd name="connsiteY476" fmla="*/ 733938 h 1528729"/>
                  <a:gd name="connsiteX477" fmla="*/ 3651254 w 3716428"/>
                  <a:gd name="connsiteY477" fmla="*/ 742031 h 1528729"/>
                  <a:gd name="connsiteX478" fmla="*/ 3638829 w 3716428"/>
                  <a:gd name="connsiteY478" fmla="*/ 737414 h 1528729"/>
                  <a:gd name="connsiteX479" fmla="*/ 3626233 w 3716428"/>
                  <a:gd name="connsiteY479" fmla="*/ 737699 h 1528729"/>
                  <a:gd name="connsiteX480" fmla="*/ 3636606 w 3716428"/>
                  <a:gd name="connsiteY480" fmla="*/ 751891 h 1528729"/>
                  <a:gd name="connsiteX481" fmla="*/ 3634269 w 3716428"/>
                  <a:gd name="connsiteY481" fmla="*/ 769793 h 1528729"/>
                  <a:gd name="connsiteX482" fmla="*/ 3623668 w 3716428"/>
                  <a:gd name="connsiteY482" fmla="*/ 772124 h 1528729"/>
                  <a:gd name="connsiteX483" fmla="*/ 3623668 w 3716428"/>
                  <a:gd name="connsiteY483" fmla="*/ 779876 h 1528729"/>
                  <a:gd name="connsiteX484" fmla="*/ 3630565 w 3716428"/>
                  <a:gd name="connsiteY484" fmla="*/ 785575 h 1528729"/>
                  <a:gd name="connsiteX485" fmla="*/ 3608394 w 3716428"/>
                  <a:gd name="connsiteY485" fmla="*/ 785951 h 1528729"/>
                  <a:gd name="connsiteX486" fmla="*/ 3605088 w 3716428"/>
                  <a:gd name="connsiteY486" fmla="*/ 781300 h 1528729"/>
                  <a:gd name="connsiteX487" fmla="*/ 3595171 w 3716428"/>
                  <a:gd name="connsiteY487" fmla="*/ 779477 h 1528729"/>
                  <a:gd name="connsiteX488" fmla="*/ 3595171 w 3716428"/>
                  <a:gd name="connsiteY488" fmla="*/ 771668 h 1528729"/>
                  <a:gd name="connsiteX489" fmla="*/ 3562855 w 3716428"/>
                  <a:gd name="connsiteY489" fmla="*/ 765969 h 1528729"/>
                  <a:gd name="connsiteX490" fmla="*/ 3554306 w 3716428"/>
                  <a:gd name="connsiteY490" fmla="*/ 747446 h 1528729"/>
                  <a:gd name="connsiteX491" fmla="*/ 3519197 w 3716428"/>
                  <a:gd name="connsiteY491" fmla="*/ 745223 h 1528729"/>
                  <a:gd name="connsiteX492" fmla="*/ 3510249 w 3716428"/>
                  <a:gd name="connsiteY492" fmla="*/ 746648 h 1528729"/>
                  <a:gd name="connsiteX493" fmla="*/ 3503410 w 3716428"/>
                  <a:gd name="connsiteY493" fmla="*/ 737928 h 1528729"/>
                  <a:gd name="connsiteX494" fmla="*/ 3498964 w 3716428"/>
                  <a:gd name="connsiteY494" fmla="*/ 735819 h 1528729"/>
                  <a:gd name="connsiteX495" fmla="*/ 3502270 w 3716428"/>
                  <a:gd name="connsiteY495" fmla="*/ 721456 h 1528729"/>
                  <a:gd name="connsiteX496" fmla="*/ 3505006 w 3716428"/>
                  <a:gd name="connsiteY496" fmla="*/ 707093 h 1528729"/>
                  <a:gd name="connsiteX497" fmla="*/ 3499306 w 3716428"/>
                  <a:gd name="connsiteY497" fmla="*/ 706466 h 1528729"/>
                  <a:gd name="connsiteX498" fmla="*/ 3469782 w 3716428"/>
                  <a:gd name="connsiteY498" fmla="*/ 720658 h 1528729"/>
                  <a:gd name="connsiteX499" fmla="*/ 3473715 w 3716428"/>
                  <a:gd name="connsiteY499" fmla="*/ 731202 h 1528729"/>
                  <a:gd name="connsiteX500" fmla="*/ 3483690 w 3716428"/>
                  <a:gd name="connsiteY500" fmla="*/ 739181 h 1528729"/>
                  <a:gd name="connsiteX501" fmla="*/ 3469782 w 3716428"/>
                  <a:gd name="connsiteY501" fmla="*/ 751606 h 1528729"/>
                  <a:gd name="connsiteX502" fmla="*/ 3435586 w 3716428"/>
                  <a:gd name="connsiteY502" fmla="*/ 751606 h 1528729"/>
                  <a:gd name="connsiteX503" fmla="*/ 3431767 w 3716428"/>
                  <a:gd name="connsiteY503" fmla="*/ 759472 h 1528729"/>
                  <a:gd name="connsiteX504" fmla="*/ 3417974 w 3716428"/>
                  <a:gd name="connsiteY504" fmla="*/ 765741 h 1528729"/>
                  <a:gd name="connsiteX505" fmla="*/ 3409083 w 3716428"/>
                  <a:gd name="connsiteY505" fmla="*/ 755824 h 1528729"/>
                  <a:gd name="connsiteX506" fmla="*/ 3389078 w 3716428"/>
                  <a:gd name="connsiteY506" fmla="*/ 761523 h 1528729"/>
                  <a:gd name="connsiteX507" fmla="*/ 3392099 w 3716428"/>
                  <a:gd name="connsiteY507" fmla="*/ 778622 h 1528729"/>
                  <a:gd name="connsiteX508" fmla="*/ 3400762 w 3716428"/>
                  <a:gd name="connsiteY508" fmla="*/ 779876 h 1528729"/>
                  <a:gd name="connsiteX509" fmla="*/ 3401959 w 3716428"/>
                  <a:gd name="connsiteY509" fmla="*/ 787456 h 1528729"/>
                  <a:gd name="connsiteX510" fmla="*/ 3403099 w 3716428"/>
                  <a:gd name="connsiteY510" fmla="*/ 799596 h 1528729"/>
                  <a:gd name="connsiteX511" fmla="*/ 3413130 w 3716428"/>
                  <a:gd name="connsiteY511" fmla="*/ 805295 h 1528729"/>
                  <a:gd name="connsiteX512" fmla="*/ 3412218 w 3716428"/>
                  <a:gd name="connsiteY512" fmla="*/ 817891 h 1528729"/>
                  <a:gd name="connsiteX513" fmla="*/ 3422591 w 3716428"/>
                  <a:gd name="connsiteY513" fmla="*/ 823078 h 1528729"/>
                  <a:gd name="connsiteX514" fmla="*/ 3422990 w 3716428"/>
                  <a:gd name="connsiteY514" fmla="*/ 826440 h 1528729"/>
                  <a:gd name="connsiteX515" fmla="*/ 3428689 w 3716428"/>
                  <a:gd name="connsiteY515" fmla="*/ 827181 h 1528729"/>
                  <a:gd name="connsiteX516" fmla="*/ 3440715 w 3716428"/>
                  <a:gd name="connsiteY516" fmla="*/ 842513 h 1528729"/>
                  <a:gd name="connsiteX517" fmla="*/ 3460778 w 3716428"/>
                  <a:gd name="connsiteY517" fmla="*/ 844508 h 1528729"/>
                  <a:gd name="connsiteX518" fmla="*/ 3448581 w 3716428"/>
                  <a:gd name="connsiteY518" fmla="*/ 853684 h 1528729"/>
                  <a:gd name="connsiteX519" fmla="*/ 3449436 w 3716428"/>
                  <a:gd name="connsiteY519" fmla="*/ 858129 h 1528729"/>
                  <a:gd name="connsiteX520" fmla="*/ 3448581 w 3716428"/>
                  <a:gd name="connsiteY520" fmla="*/ 862347 h 1528729"/>
                  <a:gd name="connsiteX521" fmla="*/ 3433933 w 3716428"/>
                  <a:gd name="connsiteY521" fmla="*/ 860865 h 1528729"/>
                  <a:gd name="connsiteX522" fmla="*/ 3431881 w 3716428"/>
                  <a:gd name="connsiteY522" fmla="*/ 857445 h 1528729"/>
                  <a:gd name="connsiteX523" fmla="*/ 3425783 w 3716428"/>
                  <a:gd name="connsiteY523" fmla="*/ 854539 h 1528729"/>
                  <a:gd name="connsiteX524" fmla="*/ 3412104 w 3716428"/>
                  <a:gd name="connsiteY524" fmla="*/ 851404 h 1528729"/>
                  <a:gd name="connsiteX525" fmla="*/ 3406063 w 3716428"/>
                  <a:gd name="connsiteY525" fmla="*/ 849010 h 1528729"/>
                  <a:gd name="connsiteX526" fmla="*/ 3403213 w 3716428"/>
                  <a:gd name="connsiteY526" fmla="*/ 846958 h 1528729"/>
                  <a:gd name="connsiteX527" fmla="*/ 3398539 w 3716428"/>
                  <a:gd name="connsiteY527" fmla="*/ 852316 h 1528729"/>
                  <a:gd name="connsiteX528" fmla="*/ 3395689 w 3716428"/>
                  <a:gd name="connsiteY528" fmla="*/ 859497 h 1528729"/>
                  <a:gd name="connsiteX529" fmla="*/ 3388280 w 3716428"/>
                  <a:gd name="connsiteY529" fmla="*/ 859098 h 1528729"/>
                  <a:gd name="connsiteX530" fmla="*/ 3376539 w 3716428"/>
                  <a:gd name="connsiteY530" fmla="*/ 869699 h 1528729"/>
                  <a:gd name="connsiteX531" fmla="*/ 3368902 w 3716428"/>
                  <a:gd name="connsiteY531" fmla="*/ 871352 h 1528729"/>
                  <a:gd name="connsiteX532" fmla="*/ 3365197 w 3716428"/>
                  <a:gd name="connsiteY532" fmla="*/ 877052 h 1528729"/>
                  <a:gd name="connsiteX533" fmla="*/ 3358472 w 3716428"/>
                  <a:gd name="connsiteY533" fmla="*/ 878134 h 1528729"/>
                  <a:gd name="connsiteX534" fmla="*/ 3340405 w 3716428"/>
                  <a:gd name="connsiteY534" fmla="*/ 876824 h 1528729"/>
                  <a:gd name="connsiteX535" fmla="*/ 3326840 w 3716428"/>
                  <a:gd name="connsiteY535" fmla="*/ 887311 h 1528729"/>
                  <a:gd name="connsiteX536" fmla="*/ 3310368 w 3716428"/>
                  <a:gd name="connsiteY536" fmla="*/ 889647 h 1528729"/>
                  <a:gd name="connsiteX537" fmla="*/ 3308886 w 3716428"/>
                  <a:gd name="connsiteY537" fmla="*/ 894549 h 1528729"/>
                  <a:gd name="connsiteX538" fmla="*/ 3296006 w 3716428"/>
                  <a:gd name="connsiteY538" fmla="*/ 898596 h 1528729"/>
                  <a:gd name="connsiteX539" fmla="*/ 3284037 w 3716428"/>
                  <a:gd name="connsiteY539" fmla="*/ 910793 h 1528729"/>
                  <a:gd name="connsiteX540" fmla="*/ 3277254 w 3716428"/>
                  <a:gd name="connsiteY540" fmla="*/ 912730 h 1528729"/>
                  <a:gd name="connsiteX541" fmla="*/ 3267793 w 3716428"/>
                  <a:gd name="connsiteY541" fmla="*/ 925440 h 1528729"/>
                  <a:gd name="connsiteX542" fmla="*/ 3259757 w 3716428"/>
                  <a:gd name="connsiteY542" fmla="*/ 926124 h 1528729"/>
                  <a:gd name="connsiteX543" fmla="*/ 3253602 w 3716428"/>
                  <a:gd name="connsiteY543" fmla="*/ 936440 h 1528729"/>
                  <a:gd name="connsiteX544" fmla="*/ 3241576 w 3716428"/>
                  <a:gd name="connsiteY544" fmla="*/ 939917 h 1528729"/>
                  <a:gd name="connsiteX545" fmla="*/ 3238270 w 3716428"/>
                  <a:gd name="connsiteY545" fmla="*/ 939347 h 1528729"/>
                  <a:gd name="connsiteX546" fmla="*/ 3236617 w 3716428"/>
                  <a:gd name="connsiteY546" fmla="*/ 934103 h 1528729"/>
                  <a:gd name="connsiteX547" fmla="*/ 3229265 w 3716428"/>
                  <a:gd name="connsiteY547" fmla="*/ 931425 h 1528729"/>
                  <a:gd name="connsiteX548" fmla="*/ 3226073 w 3716428"/>
                  <a:gd name="connsiteY548" fmla="*/ 925326 h 1528729"/>
                  <a:gd name="connsiteX549" fmla="*/ 3221457 w 3716428"/>
                  <a:gd name="connsiteY549" fmla="*/ 923388 h 1528729"/>
                  <a:gd name="connsiteX550" fmla="*/ 3200653 w 3716428"/>
                  <a:gd name="connsiteY550" fmla="*/ 925098 h 1528729"/>
                  <a:gd name="connsiteX551" fmla="*/ 3194441 w 3716428"/>
                  <a:gd name="connsiteY551" fmla="*/ 929601 h 1528729"/>
                  <a:gd name="connsiteX552" fmla="*/ 3185607 w 3716428"/>
                  <a:gd name="connsiteY552" fmla="*/ 931995 h 1528729"/>
                  <a:gd name="connsiteX553" fmla="*/ 3180705 w 3716428"/>
                  <a:gd name="connsiteY553" fmla="*/ 939917 h 1528729"/>
                  <a:gd name="connsiteX554" fmla="*/ 3173239 w 3716428"/>
                  <a:gd name="connsiteY554" fmla="*/ 943792 h 1528729"/>
                  <a:gd name="connsiteX555" fmla="*/ 3168508 w 3716428"/>
                  <a:gd name="connsiteY555" fmla="*/ 933932 h 1528729"/>
                  <a:gd name="connsiteX556" fmla="*/ 3159788 w 3716428"/>
                  <a:gd name="connsiteY556" fmla="*/ 929544 h 1528729"/>
                  <a:gd name="connsiteX557" fmla="*/ 3158763 w 3716428"/>
                  <a:gd name="connsiteY557" fmla="*/ 926979 h 1528729"/>
                  <a:gd name="connsiteX558" fmla="*/ 3151296 w 3716428"/>
                  <a:gd name="connsiteY558" fmla="*/ 930627 h 1528729"/>
                  <a:gd name="connsiteX559" fmla="*/ 3135053 w 3716428"/>
                  <a:gd name="connsiteY559" fmla="*/ 946471 h 1528729"/>
                  <a:gd name="connsiteX560" fmla="*/ 3120576 w 3716428"/>
                  <a:gd name="connsiteY560" fmla="*/ 943165 h 1528729"/>
                  <a:gd name="connsiteX561" fmla="*/ 3106612 w 3716428"/>
                  <a:gd name="connsiteY561" fmla="*/ 945331 h 1528729"/>
                  <a:gd name="connsiteX562" fmla="*/ 3100514 w 3716428"/>
                  <a:gd name="connsiteY562" fmla="*/ 958497 h 1528729"/>
                  <a:gd name="connsiteX563" fmla="*/ 3092363 w 3716428"/>
                  <a:gd name="connsiteY563" fmla="*/ 967787 h 1528729"/>
                  <a:gd name="connsiteX564" fmla="*/ 3090084 w 3716428"/>
                  <a:gd name="connsiteY564" fmla="*/ 971435 h 1528729"/>
                  <a:gd name="connsiteX565" fmla="*/ 3089628 w 3716428"/>
                  <a:gd name="connsiteY565" fmla="*/ 975311 h 1528729"/>
                  <a:gd name="connsiteX566" fmla="*/ 3079027 w 3716428"/>
                  <a:gd name="connsiteY566" fmla="*/ 984544 h 1528729"/>
                  <a:gd name="connsiteX567" fmla="*/ 3079027 w 3716428"/>
                  <a:gd name="connsiteY567" fmla="*/ 988077 h 1528729"/>
                  <a:gd name="connsiteX568" fmla="*/ 3072814 w 3716428"/>
                  <a:gd name="connsiteY568" fmla="*/ 992580 h 1528729"/>
                  <a:gd name="connsiteX569" fmla="*/ 3065861 w 3716428"/>
                  <a:gd name="connsiteY569" fmla="*/ 1002212 h 1528729"/>
                  <a:gd name="connsiteX570" fmla="*/ 3065861 w 3716428"/>
                  <a:gd name="connsiteY570" fmla="*/ 1014466 h 1528729"/>
                  <a:gd name="connsiteX571" fmla="*/ 3069167 w 3716428"/>
                  <a:gd name="connsiteY571" fmla="*/ 1022730 h 1528729"/>
                  <a:gd name="connsiteX572" fmla="*/ 3074866 w 3716428"/>
                  <a:gd name="connsiteY572" fmla="*/ 1024668 h 1528729"/>
                  <a:gd name="connsiteX573" fmla="*/ 3078343 w 3716428"/>
                  <a:gd name="connsiteY573" fmla="*/ 1029000 h 1528729"/>
                  <a:gd name="connsiteX574" fmla="*/ 3082675 w 3716428"/>
                  <a:gd name="connsiteY574" fmla="*/ 1023699 h 1528729"/>
                  <a:gd name="connsiteX575" fmla="*/ 3088716 w 3716428"/>
                  <a:gd name="connsiteY575" fmla="*/ 1025637 h 1528729"/>
                  <a:gd name="connsiteX576" fmla="*/ 3091908 w 3716428"/>
                  <a:gd name="connsiteY576" fmla="*/ 1025067 h 1528729"/>
                  <a:gd name="connsiteX577" fmla="*/ 3095783 w 3716428"/>
                  <a:gd name="connsiteY577" fmla="*/ 1031393 h 1528729"/>
                  <a:gd name="connsiteX578" fmla="*/ 3088944 w 3716428"/>
                  <a:gd name="connsiteY578" fmla="*/ 1036466 h 1528729"/>
                  <a:gd name="connsiteX579" fmla="*/ 3084555 w 3716428"/>
                  <a:gd name="connsiteY579" fmla="*/ 1037834 h 1528729"/>
                  <a:gd name="connsiteX580" fmla="*/ 3082959 w 3716428"/>
                  <a:gd name="connsiteY580" fmla="*/ 1041709 h 1528729"/>
                  <a:gd name="connsiteX581" fmla="*/ 3084612 w 3716428"/>
                  <a:gd name="connsiteY581" fmla="*/ 1043818 h 1528729"/>
                  <a:gd name="connsiteX582" fmla="*/ 3081306 w 3716428"/>
                  <a:gd name="connsiteY582" fmla="*/ 1057725 h 1528729"/>
                  <a:gd name="connsiteX583" fmla="*/ 3092705 w 3716428"/>
                  <a:gd name="connsiteY583" fmla="*/ 1062057 h 1528729"/>
                  <a:gd name="connsiteX584" fmla="*/ 3097664 w 3716428"/>
                  <a:gd name="connsiteY584" fmla="*/ 1072715 h 1528729"/>
                  <a:gd name="connsiteX585" fmla="*/ 3084669 w 3716428"/>
                  <a:gd name="connsiteY585" fmla="*/ 1072715 h 1528729"/>
                  <a:gd name="connsiteX586" fmla="*/ 3082959 w 3716428"/>
                  <a:gd name="connsiteY586" fmla="*/ 1075906 h 1528729"/>
                  <a:gd name="connsiteX587" fmla="*/ 3079483 w 3716428"/>
                  <a:gd name="connsiteY587" fmla="*/ 1077502 h 1528729"/>
                  <a:gd name="connsiteX588" fmla="*/ 3058395 w 3716428"/>
                  <a:gd name="connsiteY588" fmla="*/ 1098248 h 1528729"/>
                  <a:gd name="connsiteX589" fmla="*/ 3049732 w 3716428"/>
                  <a:gd name="connsiteY589" fmla="*/ 1100072 h 1528729"/>
                  <a:gd name="connsiteX590" fmla="*/ 3042721 w 3716428"/>
                  <a:gd name="connsiteY590" fmla="*/ 1106968 h 1528729"/>
                  <a:gd name="connsiteX591" fmla="*/ 3034001 w 3716428"/>
                  <a:gd name="connsiteY591" fmla="*/ 1108450 h 1528729"/>
                  <a:gd name="connsiteX592" fmla="*/ 3031208 w 3716428"/>
                  <a:gd name="connsiteY592" fmla="*/ 1116999 h 1528729"/>
                  <a:gd name="connsiteX593" fmla="*/ 3026534 w 3716428"/>
                  <a:gd name="connsiteY593" fmla="*/ 1118025 h 1528729"/>
                  <a:gd name="connsiteX594" fmla="*/ 3024426 w 3716428"/>
                  <a:gd name="connsiteY594" fmla="*/ 1120875 h 1528729"/>
                  <a:gd name="connsiteX595" fmla="*/ 3018726 w 3716428"/>
                  <a:gd name="connsiteY595" fmla="*/ 1139455 h 1528729"/>
                  <a:gd name="connsiteX596" fmla="*/ 3023286 w 3716428"/>
                  <a:gd name="connsiteY596" fmla="*/ 1169321 h 1528729"/>
                  <a:gd name="connsiteX597" fmla="*/ 3022203 w 3716428"/>
                  <a:gd name="connsiteY597" fmla="*/ 1174051 h 1528729"/>
                  <a:gd name="connsiteX598" fmla="*/ 3012856 w 3716428"/>
                  <a:gd name="connsiteY598" fmla="*/ 1178440 h 1528729"/>
                  <a:gd name="connsiteX599" fmla="*/ 2988975 w 3716428"/>
                  <a:gd name="connsiteY599" fmla="*/ 1185108 h 1528729"/>
                  <a:gd name="connsiteX600" fmla="*/ 2986923 w 3716428"/>
                  <a:gd name="connsiteY600" fmla="*/ 1186476 h 1528729"/>
                  <a:gd name="connsiteX601" fmla="*/ 2988348 w 3716428"/>
                  <a:gd name="connsiteY601" fmla="*/ 1195994 h 1528729"/>
                  <a:gd name="connsiteX602" fmla="*/ 2986296 w 3716428"/>
                  <a:gd name="connsiteY602" fmla="*/ 1204999 h 1528729"/>
                  <a:gd name="connsiteX603" fmla="*/ 2986296 w 3716428"/>
                  <a:gd name="connsiteY603" fmla="*/ 1213549 h 1528729"/>
                  <a:gd name="connsiteX604" fmla="*/ 2983275 w 3716428"/>
                  <a:gd name="connsiteY604" fmla="*/ 1221300 h 1528729"/>
                  <a:gd name="connsiteX605" fmla="*/ 2976664 w 3716428"/>
                  <a:gd name="connsiteY605" fmla="*/ 1224150 h 1528729"/>
                  <a:gd name="connsiteX606" fmla="*/ 2971535 w 3716428"/>
                  <a:gd name="connsiteY606" fmla="*/ 1228766 h 1528729"/>
                  <a:gd name="connsiteX607" fmla="*/ 2971193 w 3716428"/>
                  <a:gd name="connsiteY607" fmla="*/ 1233041 h 1528729"/>
                  <a:gd name="connsiteX608" fmla="*/ 2963556 w 3716428"/>
                  <a:gd name="connsiteY608" fmla="*/ 1235093 h 1528729"/>
                  <a:gd name="connsiteX609" fmla="*/ 2960933 w 3716428"/>
                  <a:gd name="connsiteY609" fmla="*/ 1241875 h 1528729"/>
                  <a:gd name="connsiteX610" fmla="*/ 2954094 w 3716428"/>
                  <a:gd name="connsiteY610" fmla="*/ 1242331 h 1528729"/>
                  <a:gd name="connsiteX611" fmla="*/ 2951359 w 3716428"/>
                  <a:gd name="connsiteY611" fmla="*/ 1229678 h 1528729"/>
                  <a:gd name="connsiteX612" fmla="*/ 2945260 w 3716428"/>
                  <a:gd name="connsiteY612" fmla="*/ 1222839 h 1528729"/>
                  <a:gd name="connsiteX613" fmla="*/ 2943835 w 3716428"/>
                  <a:gd name="connsiteY613" fmla="*/ 1216683 h 1528729"/>
                  <a:gd name="connsiteX614" fmla="*/ 2946514 w 3716428"/>
                  <a:gd name="connsiteY614" fmla="*/ 1197989 h 1528729"/>
                  <a:gd name="connsiteX615" fmla="*/ 2948623 w 3716428"/>
                  <a:gd name="connsiteY615" fmla="*/ 1152393 h 1528729"/>
                  <a:gd name="connsiteX616" fmla="*/ 2950218 w 3716428"/>
                  <a:gd name="connsiteY616" fmla="*/ 1143787 h 1528729"/>
                  <a:gd name="connsiteX617" fmla="*/ 2952612 w 3716428"/>
                  <a:gd name="connsiteY617" fmla="*/ 1141849 h 1528729"/>
                  <a:gd name="connsiteX618" fmla="*/ 2954094 w 3716428"/>
                  <a:gd name="connsiteY618" fmla="*/ 1136150 h 1528729"/>
                  <a:gd name="connsiteX619" fmla="*/ 2954094 w 3716428"/>
                  <a:gd name="connsiteY619" fmla="*/ 1119051 h 1528729"/>
                  <a:gd name="connsiteX620" fmla="*/ 2957856 w 3716428"/>
                  <a:gd name="connsiteY620" fmla="*/ 1101953 h 1528729"/>
                  <a:gd name="connsiteX621" fmla="*/ 2963840 w 3716428"/>
                  <a:gd name="connsiteY621" fmla="*/ 1096521 h 1528729"/>
                  <a:gd name="connsiteX622" fmla="*/ 2963556 w 3716428"/>
                  <a:gd name="connsiteY622" fmla="*/ 1094543 h 1528729"/>
                  <a:gd name="connsiteX623" fmla="*/ 2968286 w 3716428"/>
                  <a:gd name="connsiteY623" fmla="*/ 1080580 h 1528729"/>
                  <a:gd name="connsiteX624" fmla="*/ 2958767 w 3716428"/>
                  <a:gd name="connsiteY624" fmla="*/ 1072316 h 1528729"/>
                  <a:gd name="connsiteX625" fmla="*/ 2953581 w 3716428"/>
                  <a:gd name="connsiteY625" fmla="*/ 1062398 h 1528729"/>
                  <a:gd name="connsiteX626" fmla="*/ 2944063 w 3716428"/>
                  <a:gd name="connsiteY626" fmla="*/ 1059167 h 1528729"/>
                  <a:gd name="connsiteX627" fmla="*/ 2947255 w 3716428"/>
                  <a:gd name="connsiteY627" fmla="*/ 1049626 h 1528729"/>
                  <a:gd name="connsiteX628" fmla="*/ 2954208 w 3716428"/>
                  <a:gd name="connsiteY628" fmla="*/ 1049974 h 1528729"/>
                  <a:gd name="connsiteX629" fmla="*/ 2966519 w 3716428"/>
                  <a:gd name="connsiteY629" fmla="*/ 1022445 h 1528729"/>
                  <a:gd name="connsiteX630" fmla="*/ 2978203 w 3716428"/>
                  <a:gd name="connsiteY630" fmla="*/ 1020564 h 1528729"/>
                  <a:gd name="connsiteX631" fmla="*/ 2984302 w 3716428"/>
                  <a:gd name="connsiteY631" fmla="*/ 1013554 h 1528729"/>
                  <a:gd name="connsiteX632" fmla="*/ 2990742 w 3716428"/>
                  <a:gd name="connsiteY632" fmla="*/ 1010248 h 1528729"/>
                  <a:gd name="connsiteX633" fmla="*/ 3018726 w 3716428"/>
                  <a:gd name="connsiteY633" fmla="*/ 982549 h 1528729"/>
                  <a:gd name="connsiteX634" fmla="*/ 3023571 w 3716428"/>
                  <a:gd name="connsiteY634" fmla="*/ 975880 h 1528729"/>
                  <a:gd name="connsiteX635" fmla="*/ 3034343 w 3716428"/>
                  <a:gd name="connsiteY635" fmla="*/ 974912 h 1528729"/>
                  <a:gd name="connsiteX636" fmla="*/ 3040042 w 3716428"/>
                  <a:gd name="connsiteY636" fmla="*/ 964709 h 1528729"/>
                  <a:gd name="connsiteX637" fmla="*/ 3045742 w 3716428"/>
                  <a:gd name="connsiteY637" fmla="*/ 962886 h 1528729"/>
                  <a:gd name="connsiteX638" fmla="*/ 3053094 w 3716428"/>
                  <a:gd name="connsiteY638" fmla="*/ 952741 h 1528729"/>
                  <a:gd name="connsiteX639" fmla="*/ 3063353 w 3716428"/>
                  <a:gd name="connsiteY639" fmla="*/ 949093 h 1528729"/>
                  <a:gd name="connsiteX640" fmla="*/ 3100001 w 3716428"/>
                  <a:gd name="connsiteY640" fmla="*/ 922533 h 1528729"/>
                  <a:gd name="connsiteX641" fmla="*/ 3103877 w 3716428"/>
                  <a:gd name="connsiteY641" fmla="*/ 914383 h 1528729"/>
                  <a:gd name="connsiteX642" fmla="*/ 3111400 w 3716428"/>
                  <a:gd name="connsiteY642" fmla="*/ 911248 h 1528729"/>
                  <a:gd name="connsiteX643" fmla="*/ 3113167 w 3716428"/>
                  <a:gd name="connsiteY643" fmla="*/ 906176 h 1528729"/>
                  <a:gd name="connsiteX644" fmla="*/ 3114819 w 3716428"/>
                  <a:gd name="connsiteY644" fmla="*/ 892326 h 1528729"/>
                  <a:gd name="connsiteX645" fmla="*/ 3120519 w 3716428"/>
                  <a:gd name="connsiteY645" fmla="*/ 871466 h 1528729"/>
                  <a:gd name="connsiteX646" fmla="*/ 3138472 w 3716428"/>
                  <a:gd name="connsiteY646" fmla="*/ 861948 h 1528729"/>
                  <a:gd name="connsiteX647" fmla="*/ 3144172 w 3716428"/>
                  <a:gd name="connsiteY647" fmla="*/ 861948 h 1528729"/>
                  <a:gd name="connsiteX648" fmla="*/ 3140809 w 3716428"/>
                  <a:gd name="connsiteY648" fmla="*/ 854653 h 1528729"/>
                  <a:gd name="connsiteX649" fmla="*/ 3100913 w 3716428"/>
                  <a:gd name="connsiteY649" fmla="*/ 854083 h 1528729"/>
                  <a:gd name="connsiteX650" fmla="*/ 3093446 w 3716428"/>
                  <a:gd name="connsiteY650" fmla="*/ 883264 h 1528729"/>
                  <a:gd name="connsiteX651" fmla="*/ 3091680 w 3716428"/>
                  <a:gd name="connsiteY651" fmla="*/ 887254 h 1528729"/>
                  <a:gd name="connsiteX652" fmla="*/ 3084384 w 3716428"/>
                  <a:gd name="connsiteY652" fmla="*/ 889590 h 1528729"/>
                  <a:gd name="connsiteX653" fmla="*/ 3044488 w 3716428"/>
                  <a:gd name="connsiteY653" fmla="*/ 916948 h 1528729"/>
                  <a:gd name="connsiteX654" fmla="*/ 3035255 w 3716428"/>
                  <a:gd name="connsiteY654" fmla="*/ 918487 h 1528729"/>
                  <a:gd name="connsiteX655" fmla="*/ 3030638 w 3716428"/>
                  <a:gd name="connsiteY655" fmla="*/ 914326 h 1528729"/>
                  <a:gd name="connsiteX656" fmla="*/ 3021633 w 3716428"/>
                  <a:gd name="connsiteY656" fmla="*/ 913072 h 1528729"/>
                  <a:gd name="connsiteX657" fmla="*/ 3024711 w 3716428"/>
                  <a:gd name="connsiteY657" fmla="*/ 900134 h 1528729"/>
                  <a:gd name="connsiteX658" fmla="*/ 3035597 w 3716428"/>
                  <a:gd name="connsiteY658" fmla="*/ 889191 h 1528729"/>
                  <a:gd name="connsiteX659" fmla="*/ 3017985 w 3716428"/>
                  <a:gd name="connsiteY659" fmla="*/ 880528 h 1528729"/>
                  <a:gd name="connsiteX660" fmla="*/ 2992509 w 3716428"/>
                  <a:gd name="connsiteY660" fmla="*/ 883150 h 1528729"/>
                  <a:gd name="connsiteX661" fmla="*/ 2962302 w 3716428"/>
                  <a:gd name="connsiteY661" fmla="*/ 886171 h 1528729"/>
                  <a:gd name="connsiteX662" fmla="*/ 2957172 w 3716428"/>
                  <a:gd name="connsiteY662" fmla="*/ 887653 h 1528729"/>
                  <a:gd name="connsiteX663" fmla="*/ 2953125 w 3716428"/>
                  <a:gd name="connsiteY663" fmla="*/ 901787 h 1528729"/>
                  <a:gd name="connsiteX664" fmla="*/ 2948737 w 3716428"/>
                  <a:gd name="connsiteY664" fmla="*/ 907487 h 1528729"/>
                  <a:gd name="connsiteX665" fmla="*/ 2924628 w 3716428"/>
                  <a:gd name="connsiteY665" fmla="*/ 924585 h 1528729"/>
                  <a:gd name="connsiteX666" fmla="*/ 2914882 w 3716428"/>
                  <a:gd name="connsiteY666" fmla="*/ 931767 h 1528729"/>
                  <a:gd name="connsiteX667" fmla="*/ 2911177 w 3716428"/>
                  <a:gd name="connsiteY667" fmla="*/ 938777 h 1528729"/>
                  <a:gd name="connsiteX668" fmla="*/ 2901374 w 3716428"/>
                  <a:gd name="connsiteY668" fmla="*/ 945331 h 1528729"/>
                  <a:gd name="connsiteX669" fmla="*/ 2901089 w 3716428"/>
                  <a:gd name="connsiteY669" fmla="*/ 961449 h 1528729"/>
                  <a:gd name="connsiteX670" fmla="*/ 2909638 w 3716428"/>
                  <a:gd name="connsiteY670" fmla="*/ 964938 h 1528729"/>
                  <a:gd name="connsiteX671" fmla="*/ 2909638 w 3716428"/>
                  <a:gd name="connsiteY671" fmla="*/ 981523 h 1528729"/>
                  <a:gd name="connsiteX672" fmla="*/ 2861193 w 3716428"/>
                  <a:gd name="connsiteY672" fmla="*/ 980440 h 1528729"/>
                  <a:gd name="connsiteX673" fmla="*/ 2837141 w 3716428"/>
                  <a:gd name="connsiteY673" fmla="*/ 998450 h 1528729"/>
                  <a:gd name="connsiteX674" fmla="*/ 2832809 w 3716428"/>
                  <a:gd name="connsiteY674" fmla="*/ 986140 h 1528729"/>
                  <a:gd name="connsiteX675" fmla="*/ 2844208 w 3716428"/>
                  <a:gd name="connsiteY675" fmla="*/ 975823 h 1528729"/>
                  <a:gd name="connsiteX676" fmla="*/ 2841301 w 3716428"/>
                  <a:gd name="connsiteY676" fmla="*/ 972176 h 1528729"/>
                  <a:gd name="connsiteX677" fmla="*/ 2841301 w 3716428"/>
                  <a:gd name="connsiteY677" fmla="*/ 962430 h 1528729"/>
                  <a:gd name="connsiteX678" fmla="*/ 2821410 w 3716428"/>
                  <a:gd name="connsiteY678" fmla="*/ 964653 h 1528729"/>
                  <a:gd name="connsiteX679" fmla="*/ 2818048 w 3716428"/>
                  <a:gd name="connsiteY679" fmla="*/ 964368 h 1528729"/>
                  <a:gd name="connsiteX680" fmla="*/ 2815312 w 3716428"/>
                  <a:gd name="connsiteY680" fmla="*/ 960036 h 1528729"/>
                  <a:gd name="connsiteX681" fmla="*/ 2792856 w 3716428"/>
                  <a:gd name="connsiteY681" fmla="*/ 949691 h 1528729"/>
                  <a:gd name="connsiteX682" fmla="*/ 2782711 w 3716428"/>
                  <a:gd name="connsiteY682" fmla="*/ 959466 h 1528729"/>
                  <a:gd name="connsiteX683" fmla="*/ 2779178 w 3716428"/>
                  <a:gd name="connsiteY683" fmla="*/ 970865 h 1528729"/>
                  <a:gd name="connsiteX684" fmla="*/ 2769773 w 3716428"/>
                  <a:gd name="connsiteY684" fmla="*/ 975766 h 1528729"/>
                  <a:gd name="connsiteX685" fmla="*/ 2766126 w 3716428"/>
                  <a:gd name="connsiteY685" fmla="*/ 972803 h 1528729"/>
                  <a:gd name="connsiteX686" fmla="*/ 2734493 w 3716428"/>
                  <a:gd name="connsiteY686" fmla="*/ 966305 h 1528729"/>
                  <a:gd name="connsiteX687" fmla="*/ 2725488 w 3716428"/>
                  <a:gd name="connsiteY687" fmla="*/ 976792 h 1528729"/>
                  <a:gd name="connsiteX688" fmla="*/ 2711069 w 3716428"/>
                  <a:gd name="connsiteY688" fmla="*/ 974399 h 1528729"/>
                  <a:gd name="connsiteX689" fmla="*/ 2681432 w 3716428"/>
                  <a:gd name="connsiteY689" fmla="*/ 963000 h 1528729"/>
                  <a:gd name="connsiteX690" fmla="*/ 2642732 w 3716428"/>
                  <a:gd name="connsiteY690" fmla="*/ 961290 h 1528729"/>
                  <a:gd name="connsiteX691" fmla="*/ 2632473 w 3716428"/>
                  <a:gd name="connsiteY691" fmla="*/ 962829 h 1528729"/>
                  <a:gd name="connsiteX692" fmla="*/ 2623810 w 3716428"/>
                  <a:gd name="connsiteY692" fmla="*/ 974912 h 1528729"/>
                  <a:gd name="connsiteX693" fmla="*/ 2591949 w 3716428"/>
                  <a:gd name="connsiteY693" fmla="*/ 999875 h 1528729"/>
                  <a:gd name="connsiteX694" fmla="*/ 2584312 w 3716428"/>
                  <a:gd name="connsiteY694" fmla="*/ 1012756 h 1528729"/>
                  <a:gd name="connsiteX695" fmla="*/ 2561514 w 3716428"/>
                  <a:gd name="connsiteY695" fmla="*/ 1022445 h 1528729"/>
                  <a:gd name="connsiteX696" fmla="*/ 2548577 w 3716428"/>
                  <a:gd name="connsiteY696" fmla="*/ 1043248 h 1528729"/>
                  <a:gd name="connsiteX697" fmla="*/ 2529369 w 3716428"/>
                  <a:gd name="connsiteY697" fmla="*/ 1057383 h 1528729"/>
                  <a:gd name="connsiteX698" fmla="*/ 2523670 w 3716428"/>
                  <a:gd name="connsiteY698" fmla="*/ 1074880 h 1528729"/>
                  <a:gd name="connsiteX699" fmla="*/ 2492779 w 3716428"/>
                  <a:gd name="connsiteY699" fmla="*/ 1106740 h 1528729"/>
                  <a:gd name="connsiteX700" fmla="*/ 2483261 w 3716428"/>
                  <a:gd name="connsiteY700" fmla="*/ 1119051 h 1528729"/>
                  <a:gd name="connsiteX701" fmla="*/ 2493178 w 3716428"/>
                  <a:gd name="connsiteY701" fmla="*/ 1131533 h 1528729"/>
                  <a:gd name="connsiteX702" fmla="*/ 2510276 w 3716428"/>
                  <a:gd name="connsiteY702" fmla="*/ 1131533 h 1528729"/>
                  <a:gd name="connsiteX703" fmla="*/ 2508908 w 3716428"/>
                  <a:gd name="connsiteY703" fmla="*/ 1149600 h 1528729"/>
                  <a:gd name="connsiteX704" fmla="*/ 2522587 w 3716428"/>
                  <a:gd name="connsiteY704" fmla="*/ 1158777 h 1528729"/>
                  <a:gd name="connsiteX705" fmla="*/ 2527261 w 3716428"/>
                  <a:gd name="connsiteY705" fmla="*/ 1143388 h 1528729"/>
                  <a:gd name="connsiteX706" fmla="*/ 2532960 w 3716428"/>
                  <a:gd name="connsiteY706" fmla="*/ 1157979 h 1528729"/>
                  <a:gd name="connsiteX707" fmla="*/ 2541338 w 3716428"/>
                  <a:gd name="connsiteY707" fmla="*/ 1169891 h 1528729"/>
                  <a:gd name="connsiteX708" fmla="*/ 2543447 w 3716428"/>
                  <a:gd name="connsiteY708" fmla="*/ 1159290 h 1528729"/>
                  <a:gd name="connsiteX709" fmla="*/ 2559804 w 3716428"/>
                  <a:gd name="connsiteY709" fmla="*/ 1143103 h 1528729"/>
                  <a:gd name="connsiteX710" fmla="*/ 2579639 w 3716428"/>
                  <a:gd name="connsiteY710" fmla="*/ 1145839 h 1528729"/>
                  <a:gd name="connsiteX711" fmla="*/ 2588929 w 3716428"/>
                  <a:gd name="connsiteY711" fmla="*/ 1162424 h 1528729"/>
                  <a:gd name="connsiteX712" fmla="*/ 2603634 w 3716428"/>
                  <a:gd name="connsiteY712" fmla="*/ 1172512 h 1528729"/>
                  <a:gd name="connsiteX713" fmla="*/ 2609960 w 3716428"/>
                  <a:gd name="connsiteY713" fmla="*/ 1191036 h 1528729"/>
                  <a:gd name="connsiteX714" fmla="*/ 2603919 w 3716428"/>
                  <a:gd name="connsiteY714" fmla="*/ 1221015 h 1528729"/>
                  <a:gd name="connsiteX715" fmla="*/ 2594001 w 3716428"/>
                  <a:gd name="connsiteY715" fmla="*/ 1231331 h 1528729"/>
                  <a:gd name="connsiteX716" fmla="*/ 2591665 w 3716428"/>
                  <a:gd name="connsiteY716" fmla="*/ 1311123 h 1528729"/>
                  <a:gd name="connsiteX717" fmla="*/ 2584255 w 3716428"/>
                  <a:gd name="connsiteY717" fmla="*/ 1326911 h 1528729"/>
                  <a:gd name="connsiteX718" fmla="*/ 2574794 w 3716428"/>
                  <a:gd name="connsiteY718" fmla="*/ 1330844 h 1528729"/>
                  <a:gd name="connsiteX719" fmla="*/ 2565390 w 3716428"/>
                  <a:gd name="connsiteY719" fmla="*/ 1348284 h 1528729"/>
                  <a:gd name="connsiteX720" fmla="*/ 2553991 w 3716428"/>
                  <a:gd name="connsiteY720" fmla="*/ 1354382 h 1528729"/>
                  <a:gd name="connsiteX721" fmla="*/ 2551654 w 3716428"/>
                  <a:gd name="connsiteY721" fmla="*/ 1368289 h 1528729"/>
                  <a:gd name="connsiteX722" fmla="*/ 2543504 w 3716428"/>
                  <a:gd name="connsiteY722" fmla="*/ 1384305 h 1528729"/>
                  <a:gd name="connsiteX723" fmla="*/ 2511302 w 3716428"/>
                  <a:gd name="connsiteY723" fmla="*/ 1426709 h 1528729"/>
                  <a:gd name="connsiteX724" fmla="*/ 2494660 w 3716428"/>
                  <a:gd name="connsiteY724" fmla="*/ 1446486 h 1528729"/>
                  <a:gd name="connsiteX725" fmla="*/ 2484002 w 3716428"/>
                  <a:gd name="connsiteY725" fmla="*/ 1455035 h 1528729"/>
                  <a:gd name="connsiteX726" fmla="*/ 2471121 w 3716428"/>
                  <a:gd name="connsiteY726" fmla="*/ 1463014 h 1528729"/>
                  <a:gd name="connsiteX727" fmla="*/ 2457271 w 3716428"/>
                  <a:gd name="connsiteY727" fmla="*/ 1482564 h 1528729"/>
                  <a:gd name="connsiteX728" fmla="*/ 2436639 w 3716428"/>
                  <a:gd name="connsiteY728" fmla="*/ 1490543 h 1528729"/>
                  <a:gd name="connsiteX729" fmla="*/ 2430598 w 3716428"/>
                  <a:gd name="connsiteY729" fmla="*/ 1485869 h 1528729"/>
                  <a:gd name="connsiteX730" fmla="*/ 2395660 w 3716428"/>
                  <a:gd name="connsiteY730" fmla="*/ 1479771 h 1528729"/>
                  <a:gd name="connsiteX731" fmla="*/ 2389334 w 3716428"/>
                  <a:gd name="connsiteY731" fmla="*/ 1483077 h 1528729"/>
                  <a:gd name="connsiteX732" fmla="*/ 2384147 w 3716428"/>
                  <a:gd name="connsiteY732" fmla="*/ 1459025 h 1528729"/>
                  <a:gd name="connsiteX733" fmla="*/ 2394520 w 3716428"/>
                  <a:gd name="connsiteY733" fmla="*/ 1427621 h 1528729"/>
                  <a:gd name="connsiteX734" fmla="*/ 2401872 w 3716428"/>
                  <a:gd name="connsiteY734" fmla="*/ 1422776 h 1528729"/>
                  <a:gd name="connsiteX735" fmla="*/ 2421250 w 3716428"/>
                  <a:gd name="connsiteY735" fmla="*/ 1421807 h 1528729"/>
                  <a:gd name="connsiteX736" fmla="*/ 2449748 w 3716428"/>
                  <a:gd name="connsiteY736" fmla="*/ 1390061 h 1528729"/>
                  <a:gd name="connsiteX737" fmla="*/ 2463598 w 3716428"/>
                  <a:gd name="connsiteY737" fmla="*/ 1355579 h 1528729"/>
                  <a:gd name="connsiteX738" fmla="*/ 2466846 w 3716428"/>
                  <a:gd name="connsiteY738" fmla="*/ 1340875 h 1528729"/>
                  <a:gd name="connsiteX739" fmla="*/ 2457328 w 3716428"/>
                  <a:gd name="connsiteY739" fmla="*/ 1330787 h 1528729"/>
                  <a:gd name="connsiteX740" fmla="*/ 2449976 w 3716428"/>
                  <a:gd name="connsiteY740" fmla="*/ 1333294 h 1528729"/>
                  <a:gd name="connsiteX741" fmla="*/ 2416634 w 3716428"/>
                  <a:gd name="connsiteY741" fmla="*/ 1345149 h 1528729"/>
                  <a:gd name="connsiteX742" fmla="*/ 2394235 w 3716428"/>
                  <a:gd name="connsiteY742" fmla="*/ 1344294 h 1528729"/>
                  <a:gd name="connsiteX743" fmla="*/ 2371437 w 3716428"/>
                  <a:gd name="connsiteY743" fmla="*/ 1318476 h 1528729"/>
                  <a:gd name="connsiteX744" fmla="*/ 2344422 w 3716428"/>
                  <a:gd name="connsiteY744" fmla="*/ 1301947 h 1528729"/>
                  <a:gd name="connsiteX745" fmla="*/ 2323049 w 3716428"/>
                  <a:gd name="connsiteY745" fmla="*/ 1292657 h 1528729"/>
                  <a:gd name="connsiteX746" fmla="*/ 2317919 w 3716428"/>
                  <a:gd name="connsiteY746" fmla="*/ 1289352 h 1528729"/>
                  <a:gd name="connsiteX747" fmla="*/ 2315069 w 3716428"/>
                  <a:gd name="connsiteY747" fmla="*/ 1280631 h 1528729"/>
                  <a:gd name="connsiteX748" fmla="*/ 2311193 w 3716428"/>
                  <a:gd name="connsiteY748" fmla="*/ 1273222 h 1528729"/>
                  <a:gd name="connsiteX749" fmla="*/ 2298313 w 3716428"/>
                  <a:gd name="connsiteY749" fmla="*/ 1239025 h 1528729"/>
                  <a:gd name="connsiteX750" fmla="*/ 2296603 w 3716428"/>
                  <a:gd name="connsiteY750" fmla="*/ 1231559 h 1528729"/>
                  <a:gd name="connsiteX751" fmla="*/ 2290618 w 3716428"/>
                  <a:gd name="connsiteY751" fmla="*/ 1221984 h 1528729"/>
                  <a:gd name="connsiteX752" fmla="*/ 2277680 w 3716428"/>
                  <a:gd name="connsiteY752" fmla="*/ 1198160 h 1528729"/>
                  <a:gd name="connsiteX753" fmla="*/ 2230261 w 3716428"/>
                  <a:gd name="connsiteY753" fmla="*/ 1169036 h 1528729"/>
                  <a:gd name="connsiteX754" fmla="*/ 2173266 w 3716428"/>
                  <a:gd name="connsiteY754" fmla="*/ 1169036 h 1528729"/>
                  <a:gd name="connsiteX755" fmla="*/ 2155598 w 3716428"/>
                  <a:gd name="connsiteY755" fmla="*/ 1173994 h 1528729"/>
                  <a:gd name="connsiteX756" fmla="*/ 2151552 w 3716428"/>
                  <a:gd name="connsiteY756" fmla="*/ 1191093 h 1528729"/>
                  <a:gd name="connsiteX757" fmla="*/ 2157935 w 3716428"/>
                  <a:gd name="connsiteY757" fmla="*/ 1214421 h 1528729"/>
                  <a:gd name="connsiteX758" fmla="*/ 2156852 w 3716428"/>
                  <a:gd name="connsiteY758" fmla="*/ 1216056 h 1528729"/>
                  <a:gd name="connsiteX759" fmla="*/ 2148189 w 3716428"/>
                  <a:gd name="connsiteY759" fmla="*/ 1225061 h 1528729"/>
                  <a:gd name="connsiteX760" fmla="*/ 2145054 w 3716428"/>
                  <a:gd name="connsiteY760" fmla="*/ 1235093 h 1528729"/>
                  <a:gd name="connsiteX761" fmla="*/ 2121401 w 3716428"/>
                  <a:gd name="connsiteY761" fmla="*/ 1279890 h 1528729"/>
                  <a:gd name="connsiteX762" fmla="*/ 2090054 w 3716428"/>
                  <a:gd name="connsiteY762" fmla="*/ 1289522 h 1528729"/>
                  <a:gd name="connsiteX763" fmla="*/ 2075122 w 3716428"/>
                  <a:gd name="connsiteY763" fmla="*/ 1289181 h 1528729"/>
                  <a:gd name="connsiteX764" fmla="*/ 2067541 w 3716428"/>
                  <a:gd name="connsiteY764" fmla="*/ 1281372 h 1528729"/>
                  <a:gd name="connsiteX765" fmla="*/ 2055173 w 3716428"/>
                  <a:gd name="connsiteY765" fmla="*/ 1279947 h 1528729"/>
                  <a:gd name="connsiteX766" fmla="*/ 2046795 w 3716428"/>
                  <a:gd name="connsiteY766" fmla="*/ 1274875 h 1528729"/>
                  <a:gd name="connsiteX767" fmla="*/ 2005246 w 3716428"/>
                  <a:gd name="connsiteY767" fmla="*/ 1278409 h 1528729"/>
                  <a:gd name="connsiteX768" fmla="*/ 1965350 w 3716428"/>
                  <a:gd name="connsiteY768" fmla="*/ 1294709 h 1528729"/>
                  <a:gd name="connsiteX769" fmla="*/ 1950930 w 3716428"/>
                  <a:gd name="connsiteY769" fmla="*/ 1296077 h 1528729"/>
                  <a:gd name="connsiteX770" fmla="*/ 1940842 w 3716428"/>
                  <a:gd name="connsiteY770" fmla="*/ 1302346 h 1528729"/>
                  <a:gd name="connsiteX771" fmla="*/ 1907158 w 3716428"/>
                  <a:gd name="connsiteY771" fmla="*/ 1294481 h 1528729"/>
                  <a:gd name="connsiteX772" fmla="*/ 1893878 w 3716428"/>
                  <a:gd name="connsiteY772" fmla="*/ 1294766 h 1528729"/>
                  <a:gd name="connsiteX773" fmla="*/ 1884759 w 3716428"/>
                  <a:gd name="connsiteY773" fmla="*/ 1287813 h 1528729"/>
                  <a:gd name="connsiteX774" fmla="*/ 1813060 w 3716428"/>
                  <a:gd name="connsiteY774" fmla="*/ 1262165 h 1528729"/>
                  <a:gd name="connsiteX775" fmla="*/ 1797956 w 3716428"/>
                  <a:gd name="connsiteY775" fmla="*/ 1268605 h 1528729"/>
                  <a:gd name="connsiteX776" fmla="*/ 1794992 w 3716428"/>
                  <a:gd name="connsiteY776" fmla="*/ 1273564 h 1528729"/>
                  <a:gd name="connsiteX777" fmla="*/ 1779604 w 3716428"/>
                  <a:gd name="connsiteY777" fmla="*/ 1272538 h 1528729"/>
                  <a:gd name="connsiteX778" fmla="*/ 1764671 w 3716428"/>
                  <a:gd name="connsiteY778" fmla="*/ 1265642 h 1528729"/>
                  <a:gd name="connsiteX779" fmla="*/ 1757717 w 3716428"/>
                  <a:gd name="connsiteY779" fmla="*/ 1258118 h 1528729"/>
                  <a:gd name="connsiteX780" fmla="*/ 1756122 w 3716428"/>
                  <a:gd name="connsiteY780" fmla="*/ 1258232 h 1528729"/>
                  <a:gd name="connsiteX781" fmla="*/ 1752303 w 3716428"/>
                  <a:gd name="connsiteY781" fmla="*/ 1231559 h 1528729"/>
                  <a:gd name="connsiteX782" fmla="*/ 1683910 w 3716428"/>
                  <a:gd name="connsiteY782" fmla="*/ 1207963 h 1528729"/>
                  <a:gd name="connsiteX783" fmla="*/ 1655412 w 3716428"/>
                  <a:gd name="connsiteY783" fmla="*/ 1246206 h 1528729"/>
                  <a:gd name="connsiteX784" fmla="*/ 1656210 w 3716428"/>
                  <a:gd name="connsiteY784" fmla="*/ 1252932 h 1528729"/>
                  <a:gd name="connsiteX785" fmla="*/ 1662707 w 3716428"/>
                  <a:gd name="connsiteY785" fmla="*/ 1258631 h 1528729"/>
                  <a:gd name="connsiteX786" fmla="*/ 1651308 w 3716428"/>
                  <a:gd name="connsiteY786" fmla="*/ 1281087 h 1528729"/>
                  <a:gd name="connsiteX787" fmla="*/ 1620417 w 3716428"/>
                  <a:gd name="connsiteY787" fmla="*/ 1279548 h 1528729"/>
                  <a:gd name="connsiteX788" fmla="*/ 1610272 w 3716428"/>
                  <a:gd name="connsiteY788" fmla="*/ 1279548 h 1528729"/>
                  <a:gd name="connsiteX789" fmla="*/ 1590096 w 3716428"/>
                  <a:gd name="connsiteY789" fmla="*/ 1272595 h 1528729"/>
                  <a:gd name="connsiteX790" fmla="*/ 1585081 w 3716428"/>
                  <a:gd name="connsiteY790" fmla="*/ 1255497 h 1528729"/>
                  <a:gd name="connsiteX791" fmla="*/ 1538174 w 3716428"/>
                  <a:gd name="connsiteY791" fmla="*/ 1255497 h 1528729"/>
                  <a:gd name="connsiteX792" fmla="*/ 1516231 w 3716428"/>
                  <a:gd name="connsiteY792" fmla="*/ 1267978 h 1528729"/>
                  <a:gd name="connsiteX793" fmla="*/ 1506770 w 3716428"/>
                  <a:gd name="connsiteY793" fmla="*/ 1267978 h 1528729"/>
                  <a:gd name="connsiteX794" fmla="*/ 1506086 w 3716428"/>
                  <a:gd name="connsiteY794" fmla="*/ 1272937 h 1528729"/>
                  <a:gd name="connsiteX795" fmla="*/ 1497480 w 3716428"/>
                  <a:gd name="connsiteY795" fmla="*/ 1282740 h 1528729"/>
                  <a:gd name="connsiteX796" fmla="*/ 1456729 w 3716428"/>
                  <a:gd name="connsiteY796" fmla="*/ 1300750 h 1528729"/>
                  <a:gd name="connsiteX797" fmla="*/ 1455988 w 3716428"/>
                  <a:gd name="connsiteY797" fmla="*/ 1303657 h 1528729"/>
                  <a:gd name="connsiteX798" fmla="*/ 1450744 w 3716428"/>
                  <a:gd name="connsiteY798" fmla="*/ 1299782 h 1528729"/>
                  <a:gd name="connsiteX799" fmla="*/ 1450117 w 3716428"/>
                  <a:gd name="connsiteY799" fmla="*/ 1299782 h 1528729"/>
                  <a:gd name="connsiteX800" fmla="*/ 1434957 w 3716428"/>
                  <a:gd name="connsiteY800" fmla="*/ 1288383 h 1528729"/>
                  <a:gd name="connsiteX801" fmla="*/ 1405490 w 3716428"/>
                  <a:gd name="connsiteY801" fmla="*/ 1282227 h 1528729"/>
                  <a:gd name="connsiteX802" fmla="*/ 1400817 w 3716428"/>
                  <a:gd name="connsiteY802" fmla="*/ 1273051 h 1528729"/>
                  <a:gd name="connsiteX803" fmla="*/ 1390672 w 3716428"/>
                  <a:gd name="connsiteY803" fmla="*/ 1267352 h 1528729"/>
                  <a:gd name="connsiteX804" fmla="*/ 1374542 w 3716428"/>
                  <a:gd name="connsiteY804" fmla="*/ 1245409 h 1528729"/>
                  <a:gd name="connsiteX805" fmla="*/ 1352884 w 3716428"/>
                  <a:gd name="connsiteY805" fmla="*/ 1247859 h 1528729"/>
                  <a:gd name="connsiteX806" fmla="*/ 1333278 w 3716428"/>
                  <a:gd name="connsiteY806" fmla="*/ 1250652 h 1528729"/>
                  <a:gd name="connsiteX807" fmla="*/ 1323133 w 3716428"/>
                  <a:gd name="connsiteY807" fmla="*/ 1235719 h 1528729"/>
                  <a:gd name="connsiteX808" fmla="*/ 1311734 w 3716428"/>
                  <a:gd name="connsiteY808" fmla="*/ 1238512 h 1528729"/>
                  <a:gd name="connsiteX809" fmla="*/ 1302501 w 3716428"/>
                  <a:gd name="connsiteY809" fmla="*/ 1248657 h 1528729"/>
                  <a:gd name="connsiteX810" fmla="*/ 1290190 w 3716428"/>
                  <a:gd name="connsiteY810" fmla="*/ 1239880 h 1528729"/>
                  <a:gd name="connsiteX811" fmla="*/ 1269444 w 3716428"/>
                  <a:gd name="connsiteY811" fmla="*/ 1205683 h 1528729"/>
                  <a:gd name="connsiteX812" fmla="*/ 1264656 w 3716428"/>
                  <a:gd name="connsiteY812" fmla="*/ 1195367 h 1528729"/>
                  <a:gd name="connsiteX813" fmla="*/ 1262832 w 3716428"/>
                  <a:gd name="connsiteY813" fmla="*/ 1188129 h 1528729"/>
                  <a:gd name="connsiteX814" fmla="*/ 1253371 w 3716428"/>
                  <a:gd name="connsiteY814" fmla="*/ 1180264 h 1528729"/>
                  <a:gd name="connsiteX815" fmla="*/ 1247672 w 3716428"/>
                  <a:gd name="connsiteY815" fmla="*/ 1165046 h 1528729"/>
                  <a:gd name="connsiteX816" fmla="*/ 1229320 w 3716428"/>
                  <a:gd name="connsiteY816" fmla="*/ 1155471 h 1528729"/>
                  <a:gd name="connsiteX817" fmla="*/ 1225900 w 3716428"/>
                  <a:gd name="connsiteY817" fmla="*/ 1138372 h 1528729"/>
                  <a:gd name="connsiteX818" fmla="*/ 1213361 w 3716428"/>
                  <a:gd name="connsiteY818" fmla="*/ 1141450 h 1528729"/>
                  <a:gd name="connsiteX819" fmla="*/ 1164459 w 3716428"/>
                  <a:gd name="connsiteY819" fmla="*/ 1164248 h 1528729"/>
                  <a:gd name="connsiteX820" fmla="*/ 1160584 w 3716428"/>
                  <a:gd name="connsiteY820" fmla="*/ 1152507 h 1528729"/>
                  <a:gd name="connsiteX821" fmla="*/ 1138812 w 3716428"/>
                  <a:gd name="connsiteY821" fmla="*/ 1143331 h 1528729"/>
                  <a:gd name="connsiteX822" fmla="*/ 1115330 w 3716428"/>
                  <a:gd name="connsiteY822" fmla="*/ 1147207 h 1528729"/>
                  <a:gd name="connsiteX823" fmla="*/ 1111682 w 3716428"/>
                  <a:gd name="connsiteY823" fmla="*/ 1126689 h 1528729"/>
                  <a:gd name="connsiteX824" fmla="*/ 1097434 w 3716428"/>
                  <a:gd name="connsiteY824" fmla="*/ 1107082 h 1528729"/>
                  <a:gd name="connsiteX825" fmla="*/ 1072812 w 3716428"/>
                  <a:gd name="connsiteY825" fmla="*/ 1101383 h 1528729"/>
                  <a:gd name="connsiteX826" fmla="*/ 1059133 w 3716428"/>
                  <a:gd name="connsiteY826" fmla="*/ 1102352 h 1528729"/>
                  <a:gd name="connsiteX827" fmla="*/ 1048076 w 3716428"/>
                  <a:gd name="connsiteY827" fmla="*/ 1112611 h 1528729"/>
                  <a:gd name="connsiteX828" fmla="*/ 1017413 w 3716428"/>
                  <a:gd name="connsiteY828" fmla="*/ 1123440 h 1528729"/>
                  <a:gd name="connsiteX829" fmla="*/ 962470 w 3716428"/>
                  <a:gd name="connsiteY829" fmla="*/ 1133870 h 1528729"/>
                  <a:gd name="connsiteX830" fmla="*/ 931237 w 3716428"/>
                  <a:gd name="connsiteY830" fmla="*/ 1144699 h 1528729"/>
                  <a:gd name="connsiteX831" fmla="*/ 908439 w 3716428"/>
                  <a:gd name="connsiteY831" fmla="*/ 1146580 h 1528729"/>
                  <a:gd name="connsiteX832" fmla="*/ 886154 w 3716428"/>
                  <a:gd name="connsiteY832" fmla="*/ 1149885 h 1528729"/>
                  <a:gd name="connsiteX833" fmla="*/ 893222 w 3716428"/>
                  <a:gd name="connsiteY833" fmla="*/ 1165103 h 1528729"/>
                  <a:gd name="connsiteX834" fmla="*/ 901942 w 3716428"/>
                  <a:gd name="connsiteY834" fmla="*/ 1179865 h 1528729"/>
                  <a:gd name="connsiteX835" fmla="*/ 889232 w 3716428"/>
                  <a:gd name="connsiteY835" fmla="*/ 1176844 h 1528729"/>
                  <a:gd name="connsiteX836" fmla="*/ 879828 w 3716428"/>
                  <a:gd name="connsiteY836" fmla="*/ 1184595 h 1528729"/>
                  <a:gd name="connsiteX837" fmla="*/ 879828 w 3716428"/>
                  <a:gd name="connsiteY837" fmla="*/ 1190922 h 1528729"/>
                  <a:gd name="connsiteX838" fmla="*/ 876180 w 3716428"/>
                  <a:gd name="connsiteY838" fmla="*/ 1196621 h 1528729"/>
                  <a:gd name="connsiteX839" fmla="*/ 875952 w 3716428"/>
                  <a:gd name="connsiteY839" fmla="*/ 1208020 h 1528729"/>
                  <a:gd name="connsiteX840" fmla="*/ 863356 w 3716428"/>
                  <a:gd name="connsiteY840" fmla="*/ 1213719 h 1528729"/>
                  <a:gd name="connsiteX841" fmla="*/ 863356 w 3716428"/>
                  <a:gd name="connsiteY841" fmla="*/ 1222269 h 1528729"/>
                  <a:gd name="connsiteX842" fmla="*/ 886154 w 3716428"/>
                  <a:gd name="connsiteY842" fmla="*/ 1233668 h 1528729"/>
                  <a:gd name="connsiteX843" fmla="*/ 885505 w 3716428"/>
                  <a:gd name="connsiteY843" fmla="*/ 1256067 h 1528729"/>
                  <a:gd name="connsiteX844" fmla="*/ 881879 w 3716428"/>
                  <a:gd name="connsiteY844" fmla="*/ 1258631 h 1528729"/>
                  <a:gd name="connsiteX845" fmla="*/ 872019 w 3716428"/>
                  <a:gd name="connsiteY845" fmla="*/ 1249797 h 1528729"/>
                  <a:gd name="connsiteX846" fmla="*/ 845859 w 3716428"/>
                  <a:gd name="connsiteY846" fmla="*/ 1258574 h 1528729"/>
                  <a:gd name="connsiteX847" fmla="*/ 841356 w 3716428"/>
                  <a:gd name="connsiteY847" fmla="*/ 1246548 h 1528729"/>
                  <a:gd name="connsiteX848" fmla="*/ 822206 w 3716428"/>
                  <a:gd name="connsiteY848" fmla="*/ 1238911 h 1528729"/>
                  <a:gd name="connsiteX849" fmla="*/ 797242 w 3716428"/>
                  <a:gd name="connsiteY849" fmla="*/ 1246206 h 1528729"/>
                  <a:gd name="connsiteX850" fmla="*/ 794906 w 3716428"/>
                  <a:gd name="connsiteY850" fmla="*/ 1239595 h 1528729"/>
                  <a:gd name="connsiteX851" fmla="*/ 769201 w 3716428"/>
                  <a:gd name="connsiteY851" fmla="*/ 1247745 h 1528729"/>
                  <a:gd name="connsiteX852" fmla="*/ 760424 w 3716428"/>
                  <a:gd name="connsiteY852" fmla="*/ 1255383 h 1528729"/>
                  <a:gd name="connsiteX853" fmla="*/ 750792 w 3716428"/>
                  <a:gd name="connsiteY853" fmla="*/ 1252134 h 1528729"/>
                  <a:gd name="connsiteX854" fmla="*/ 740020 w 3716428"/>
                  <a:gd name="connsiteY854" fmla="*/ 1253673 h 1528729"/>
                  <a:gd name="connsiteX855" fmla="*/ 740020 w 3716428"/>
                  <a:gd name="connsiteY855" fmla="*/ 1242274 h 1528729"/>
                  <a:gd name="connsiteX856" fmla="*/ 720185 w 3716428"/>
                  <a:gd name="connsiteY856" fmla="*/ 1233440 h 1528729"/>
                  <a:gd name="connsiteX857" fmla="*/ 670144 w 3716428"/>
                  <a:gd name="connsiteY857" fmla="*/ 1224264 h 1528729"/>
                  <a:gd name="connsiteX858" fmla="*/ 655611 w 3716428"/>
                  <a:gd name="connsiteY858" fmla="*/ 1229678 h 1528729"/>
                  <a:gd name="connsiteX859" fmla="*/ 641305 w 3716428"/>
                  <a:gd name="connsiteY859" fmla="*/ 1231046 h 1528729"/>
                  <a:gd name="connsiteX860" fmla="*/ 629621 w 3716428"/>
                  <a:gd name="connsiteY860" fmla="*/ 1245409 h 1528729"/>
                  <a:gd name="connsiteX861" fmla="*/ 613548 w 3716428"/>
                  <a:gd name="connsiteY861" fmla="*/ 1247460 h 1528729"/>
                  <a:gd name="connsiteX862" fmla="*/ 609160 w 3716428"/>
                  <a:gd name="connsiteY862" fmla="*/ 1258859 h 1528729"/>
                  <a:gd name="connsiteX863" fmla="*/ 608647 w 3716428"/>
                  <a:gd name="connsiteY863" fmla="*/ 1271398 h 1528729"/>
                  <a:gd name="connsiteX864" fmla="*/ 598673 w 3716428"/>
                  <a:gd name="connsiteY864" fmla="*/ 1275787 h 1528729"/>
                  <a:gd name="connsiteX865" fmla="*/ 594683 w 3716428"/>
                  <a:gd name="connsiteY865" fmla="*/ 1265357 h 1528729"/>
                  <a:gd name="connsiteX866" fmla="*/ 580263 w 3716428"/>
                  <a:gd name="connsiteY866" fmla="*/ 1259657 h 1528729"/>
                  <a:gd name="connsiteX867" fmla="*/ 566357 w 3716428"/>
                  <a:gd name="connsiteY867" fmla="*/ 1269004 h 1528729"/>
                  <a:gd name="connsiteX868" fmla="*/ 566357 w 3716428"/>
                  <a:gd name="connsiteY868" fmla="*/ 1286787 h 1528729"/>
                  <a:gd name="connsiteX869" fmla="*/ 560201 w 3716428"/>
                  <a:gd name="connsiteY869" fmla="*/ 1294994 h 1528729"/>
                  <a:gd name="connsiteX870" fmla="*/ 565160 w 3716428"/>
                  <a:gd name="connsiteY870" fmla="*/ 1305196 h 1528729"/>
                  <a:gd name="connsiteX871" fmla="*/ 554901 w 3716428"/>
                  <a:gd name="connsiteY871" fmla="*/ 1314486 h 1528729"/>
                  <a:gd name="connsiteX872" fmla="*/ 568352 w 3716428"/>
                  <a:gd name="connsiteY872" fmla="*/ 1325885 h 1528729"/>
                  <a:gd name="connsiteX873" fmla="*/ 579751 w 3716428"/>
                  <a:gd name="connsiteY873" fmla="*/ 1340305 h 1528729"/>
                  <a:gd name="connsiteX874" fmla="*/ 588015 w 3716428"/>
                  <a:gd name="connsiteY874" fmla="*/ 1340875 h 1528729"/>
                  <a:gd name="connsiteX875" fmla="*/ 597305 w 3716428"/>
                  <a:gd name="connsiteY875" fmla="*/ 1353528 h 1528729"/>
                  <a:gd name="connsiteX876" fmla="*/ 608704 w 3716428"/>
                  <a:gd name="connsiteY876" fmla="*/ 1362647 h 1528729"/>
                  <a:gd name="connsiteX877" fmla="*/ 606538 w 3716428"/>
                  <a:gd name="connsiteY877" fmla="*/ 1386186 h 1528729"/>
                  <a:gd name="connsiteX878" fmla="*/ 566243 w 3716428"/>
                  <a:gd name="connsiteY878" fmla="*/ 1416906 h 1528729"/>
                  <a:gd name="connsiteX879" fmla="*/ 559403 w 3716428"/>
                  <a:gd name="connsiteY879" fmla="*/ 1430242 h 1528729"/>
                  <a:gd name="connsiteX880" fmla="*/ 571258 w 3716428"/>
                  <a:gd name="connsiteY880" fmla="*/ 1446942 h 1528729"/>
                  <a:gd name="connsiteX881" fmla="*/ 575305 w 3716428"/>
                  <a:gd name="connsiteY881" fmla="*/ 1478460 h 1528729"/>
                  <a:gd name="connsiteX882" fmla="*/ 581004 w 3716428"/>
                  <a:gd name="connsiteY882" fmla="*/ 1489232 h 1528729"/>
                  <a:gd name="connsiteX883" fmla="*/ 581403 w 3716428"/>
                  <a:gd name="connsiteY883" fmla="*/ 1496527 h 1528729"/>
                  <a:gd name="connsiteX884" fmla="*/ 590180 w 3716428"/>
                  <a:gd name="connsiteY884" fmla="*/ 1502854 h 1528729"/>
                  <a:gd name="connsiteX885" fmla="*/ 597932 w 3716428"/>
                  <a:gd name="connsiteY885" fmla="*/ 1514823 h 1528729"/>
                  <a:gd name="connsiteX886" fmla="*/ 609331 w 3716428"/>
                  <a:gd name="connsiteY886" fmla="*/ 1521548 h 1528729"/>
                  <a:gd name="connsiteX887" fmla="*/ 601010 w 3716428"/>
                  <a:gd name="connsiteY887" fmla="*/ 1527248 h 1528729"/>
                  <a:gd name="connsiteX888" fmla="*/ 597761 w 3716428"/>
                  <a:gd name="connsiteY888" fmla="*/ 1528729 h 1528729"/>
                  <a:gd name="connsiteX889" fmla="*/ 593714 w 3716428"/>
                  <a:gd name="connsiteY889" fmla="*/ 1527931 h 1528729"/>
                  <a:gd name="connsiteX890" fmla="*/ 583797 w 3716428"/>
                  <a:gd name="connsiteY890" fmla="*/ 1527931 h 1528729"/>
                  <a:gd name="connsiteX891" fmla="*/ 574735 w 3716428"/>
                  <a:gd name="connsiteY891" fmla="*/ 1524683 h 1528729"/>
                  <a:gd name="connsiteX892" fmla="*/ 572284 w 3716428"/>
                  <a:gd name="connsiteY892" fmla="*/ 1521776 h 1528729"/>
                  <a:gd name="connsiteX893" fmla="*/ 568637 w 3716428"/>
                  <a:gd name="connsiteY893" fmla="*/ 1521149 h 1528729"/>
                  <a:gd name="connsiteX894" fmla="*/ 556725 w 3716428"/>
                  <a:gd name="connsiteY894" fmla="*/ 1520351 h 1528729"/>
                  <a:gd name="connsiteX895" fmla="*/ 556098 w 3716428"/>
                  <a:gd name="connsiteY895" fmla="*/ 1517159 h 1528729"/>
                  <a:gd name="connsiteX896" fmla="*/ 555243 w 3716428"/>
                  <a:gd name="connsiteY896" fmla="*/ 1515393 h 1528729"/>
                  <a:gd name="connsiteX897" fmla="*/ 553077 w 3716428"/>
                  <a:gd name="connsiteY897" fmla="*/ 1514652 h 1528729"/>
                  <a:gd name="connsiteX898" fmla="*/ 543673 w 3716428"/>
                  <a:gd name="connsiteY898" fmla="*/ 1502626 h 1528729"/>
                  <a:gd name="connsiteX899" fmla="*/ 543673 w 3716428"/>
                  <a:gd name="connsiteY899" fmla="*/ 1499263 h 1528729"/>
                  <a:gd name="connsiteX900" fmla="*/ 541108 w 3716428"/>
                  <a:gd name="connsiteY900" fmla="*/ 1497211 h 1528729"/>
                  <a:gd name="connsiteX901" fmla="*/ 510388 w 3716428"/>
                  <a:gd name="connsiteY901" fmla="*/ 1489859 h 1528729"/>
                  <a:gd name="connsiteX902" fmla="*/ 500072 w 3716428"/>
                  <a:gd name="connsiteY902" fmla="*/ 1488035 h 1528729"/>
                  <a:gd name="connsiteX903" fmla="*/ 497507 w 3716428"/>
                  <a:gd name="connsiteY903" fmla="*/ 1486268 h 1528729"/>
                  <a:gd name="connsiteX904" fmla="*/ 486108 w 3716428"/>
                  <a:gd name="connsiteY904" fmla="*/ 1484786 h 1528729"/>
                  <a:gd name="connsiteX905" fmla="*/ 484056 w 3716428"/>
                  <a:gd name="connsiteY905" fmla="*/ 1481652 h 1528729"/>
                  <a:gd name="connsiteX906" fmla="*/ 467984 w 3716428"/>
                  <a:gd name="connsiteY906" fmla="*/ 1475211 h 1528729"/>
                  <a:gd name="connsiteX907" fmla="*/ 450031 w 3716428"/>
                  <a:gd name="connsiteY907" fmla="*/ 1474413 h 1528729"/>
                  <a:gd name="connsiteX908" fmla="*/ 443818 w 3716428"/>
                  <a:gd name="connsiteY908" fmla="*/ 1473159 h 1528729"/>
                  <a:gd name="connsiteX909" fmla="*/ 440398 w 3716428"/>
                  <a:gd name="connsiteY909" fmla="*/ 1476180 h 1528729"/>
                  <a:gd name="connsiteX910" fmla="*/ 435953 w 3716428"/>
                  <a:gd name="connsiteY910" fmla="*/ 1481025 h 1528729"/>
                  <a:gd name="connsiteX911" fmla="*/ 420849 w 3716428"/>
                  <a:gd name="connsiteY911" fmla="*/ 1469056 h 1528729"/>
                  <a:gd name="connsiteX912" fmla="*/ 396911 w 3716428"/>
                  <a:gd name="connsiteY912" fmla="*/ 1456118 h 1528729"/>
                  <a:gd name="connsiteX913" fmla="*/ 393036 w 3716428"/>
                  <a:gd name="connsiteY913" fmla="*/ 1450989 h 1528729"/>
                  <a:gd name="connsiteX914" fmla="*/ 380839 w 3716428"/>
                  <a:gd name="connsiteY914" fmla="*/ 1438678 h 1528729"/>
                  <a:gd name="connsiteX915" fmla="*/ 362828 w 3716428"/>
                  <a:gd name="connsiteY915" fmla="*/ 1432408 h 1528729"/>
                  <a:gd name="connsiteX916" fmla="*/ 350005 w 3716428"/>
                  <a:gd name="connsiteY916" fmla="*/ 1419527 h 1528729"/>
                  <a:gd name="connsiteX917" fmla="*/ 362201 w 3716428"/>
                  <a:gd name="connsiteY917" fmla="*/ 1410978 h 1528729"/>
                  <a:gd name="connsiteX918" fmla="*/ 363399 w 3716428"/>
                  <a:gd name="connsiteY918" fmla="*/ 1395419 h 1528729"/>
                  <a:gd name="connsiteX919" fmla="*/ 370637 w 3716428"/>
                  <a:gd name="connsiteY919" fmla="*/ 1393709 h 1528729"/>
                  <a:gd name="connsiteX920" fmla="*/ 382036 w 3716428"/>
                  <a:gd name="connsiteY920" fmla="*/ 1383792 h 1528729"/>
                  <a:gd name="connsiteX921" fmla="*/ 367388 w 3716428"/>
                  <a:gd name="connsiteY921" fmla="*/ 1379460 h 1528729"/>
                  <a:gd name="connsiteX922" fmla="*/ 367388 w 3716428"/>
                  <a:gd name="connsiteY922" fmla="*/ 1372678 h 1528729"/>
                  <a:gd name="connsiteX923" fmla="*/ 381865 w 3716428"/>
                  <a:gd name="connsiteY923" fmla="*/ 1363616 h 1528729"/>
                  <a:gd name="connsiteX924" fmla="*/ 394119 w 3716428"/>
                  <a:gd name="connsiteY924" fmla="*/ 1360424 h 1528729"/>
                  <a:gd name="connsiteX925" fmla="*/ 398621 w 3716428"/>
                  <a:gd name="connsiteY925" fmla="*/ 1357346 h 1528729"/>
                  <a:gd name="connsiteX926" fmla="*/ 395600 w 3716428"/>
                  <a:gd name="connsiteY926" fmla="*/ 1352331 h 1528729"/>
                  <a:gd name="connsiteX927" fmla="*/ 380098 w 3716428"/>
                  <a:gd name="connsiteY927" fmla="*/ 1348398 h 1528729"/>
                  <a:gd name="connsiteX928" fmla="*/ 373373 w 3716428"/>
                  <a:gd name="connsiteY928" fmla="*/ 1349823 h 1528729"/>
                  <a:gd name="connsiteX929" fmla="*/ 379984 w 3716428"/>
                  <a:gd name="connsiteY929" fmla="*/ 1342813 h 1528729"/>
                  <a:gd name="connsiteX930" fmla="*/ 384714 w 3716428"/>
                  <a:gd name="connsiteY930" fmla="*/ 1340818 h 1528729"/>
                  <a:gd name="connsiteX931" fmla="*/ 386424 w 3716428"/>
                  <a:gd name="connsiteY931" fmla="*/ 1336429 h 1528729"/>
                  <a:gd name="connsiteX932" fmla="*/ 397196 w 3716428"/>
                  <a:gd name="connsiteY932" fmla="*/ 1333522 h 1528729"/>
                  <a:gd name="connsiteX933" fmla="*/ 408595 w 3716428"/>
                  <a:gd name="connsiteY933" fmla="*/ 1329704 h 1528729"/>
                  <a:gd name="connsiteX934" fmla="*/ 410875 w 3716428"/>
                  <a:gd name="connsiteY934" fmla="*/ 1318305 h 1528729"/>
                  <a:gd name="connsiteX935" fmla="*/ 407626 w 3716428"/>
                  <a:gd name="connsiteY935" fmla="*/ 1313574 h 1528729"/>
                  <a:gd name="connsiteX936" fmla="*/ 413326 w 3716428"/>
                  <a:gd name="connsiteY936" fmla="*/ 1298414 h 1528729"/>
                  <a:gd name="connsiteX937" fmla="*/ 411388 w 3716428"/>
                  <a:gd name="connsiteY937" fmla="*/ 1280745 h 1528729"/>
                  <a:gd name="connsiteX938" fmla="*/ 388590 w 3716428"/>
                  <a:gd name="connsiteY938" fmla="*/ 1276984 h 1528729"/>
                  <a:gd name="connsiteX939" fmla="*/ 385797 w 3716428"/>
                  <a:gd name="connsiteY939" fmla="*/ 1272310 h 1528729"/>
                  <a:gd name="connsiteX940" fmla="*/ 375709 w 3716428"/>
                  <a:gd name="connsiteY940" fmla="*/ 1268491 h 1528729"/>
                  <a:gd name="connsiteX941" fmla="*/ 364709 w 3716428"/>
                  <a:gd name="connsiteY941" fmla="*/ 1266953 h 1528729"/>
                  <a:gd name="connsiteX942" fmla="*/ 361689 w 3716428"/>
                  <a:gd name="connsiteY942" fmla="*/ 1257719 h 1528729"/>
                  <a:gd name="connsiteX943" fmla="*/ 339404 w 3716428"/>
                  <a:gd name="connsiteY943" fmla="*/ 1259543 h 1528729"/>
                  <a:gd name="connsiteX944" fmla="*/ 319455 w 3716428"/>
                  <a:gd name="connsiteY944" fmla="*/ 1252305 h 1528729"/>
                  <a:gd name="connsiteX945" fmla="*/ 316891 w 3716428"/>
                  <a:gd name="connsiteY945" fmla="*/ 1246605 h 1528729"/>
                  <a:gd name="connsiteX946" fmla="*/ 287709 w 3716428"/>
                  <a:gd name="connsiteY946" fmla="*/ 1227512 h 1528729"/>
                  <a:gd name="connsiteX947" fmla="*/ 277393 w 3716428"/>
                  <a:gd name="connsiteY947" fmla="*/ 1196222 h 1528729"/>
                  <a:gd name="connsiteX948" fmla="*/ 251575 w 3716428"/>
                  <a:gd name="connsiteY948" fmla="*/ 1195082 h 1528729"/>
                  <a:gd name="connsiteX949" fmla="*/ 231570 w 3716428"/>
                  <a:gd name="connsiteY949" fmla="*/ 1200782 h 1528729"/>
                  <a:gd name="connsiteX950" fmla="*/ 229917 w 3716428"/>
                  <a:gd name="connsiteY950" fmla="*/ 1184994 h 1528729"/>
                  <a:gd name="connsiteX951" fmla="*/ 232995 w 3716428"/>
                  <a:gd name="connsiteY951" fmla="*/ 1170461 h 1528729"/>
                  <a:gd name="connsiteX952" fmla="*/ 247813 w 3716428"/>
                  <a:gd name="connsiteY952" fmla="*/ 1169264 h 1528729"/>
                  <a:gd name="connsiteX953" fmla="*/ 254026 w 3716428"/>
                  <a:gd name="connsiteY953" fmla="*/ 1157124 h 1528729"/>
                  <a:gd name="connsiteX954" fmla="*/ 245533 w 3716428"/>
                  <a:gd name="connsiteY954" fmla="*/ 1145326 h 1528729"/>
                  <a:gd name="connsiteX955" fmla="*/ 232995 w 3716428"/>
                  <a:gd name="connsiteY955" fmla="*/ 1137176 h 1528729"/>
                  <a:gd name="connsiteX956" fmla="*/ 218233 w 3716428"/>
                  <a:gd name="connsiteY956" fmla="*/ 1112839 h 1528729"/>
                  <a:gd name="connsiteX957" fmla="*/ 218233 w 3716428"/>
                  <a:gd name="connsiteY957" fmla="*/ 1092948 h 1528729"/>
                  <a:gd name="connsiteX958" fmla="*/ 206207 w 3716428"/>
                  <a:gd name="connsiteY958" fmla="*/ 1079212 h 1528729"/>
                  <a:gd name="connsiteX959" fmla="*/ 195606 w 3716428"/>
                  <a:gd name="connsiteY959" fmla="*/ 1082632 h 1528729"/>
                  <a:gd name="connsiteX960" fmla="*/ 185005 w 3716428"/>
                  <a:gd name="connsiteY960" fmla="*/ 1082632 h 1528729"/>
                  <a:gd name="connsiteX961" fmla="*/ 180844 w 3716428"/>
                  <a:gd name="connsiteY961" fmla="*/ 1076932 h 1528729"/>
                  <a:gd name="connsiteX962" fmla="*/ 165228 w 3716428"/>
                  <a:gd name="connsiteY962" fmla="*/ 1073114 h 1528729"/>
                  <a:gd name="connsiteX963" fmla="*/ 158958 w 3716428"/>
                  <a:gd name="connsiteY963" fmla="*/ 1070549 h 1528729"/>
                  <a:gd name="connsiteX964" fmla="*/ 158559 w 3716428"/>
                  <a:gd name="connsiteY964" fmla="*/ 1064849 h 1528729"/>
                  <a:gd name="connsiteX965" fmla="*/ 149611 w 3716428"/>
                  <a:gd name="connsiteY965" fmla="*/ 1053108 h 1528729"/>
                  <a:gd name="connsiteX966" fmla="*/ 146876 w 3716428"/>
                  <a:gd name="connsiteY966" fmla="*/ 1028202 h 1528729"/>
                  <a:gd name="connsiteX967" fmla="*/ 140435 w 3716428"/>
                  <a:gd name="connsiteY967" fmla="*/ 1024725 h 1528729"/>
                  <a:gd name="connsiteX968" fmla="*/ 145394 w 3716428"/>
                  <a:gd name="connsiteY968" fmla="*/ 1014979 h 1528729"/>
                  <a:gd name="connsiteX969" fmla="*/ 148186 w 3716428"/>
                  <a:gd name="connsiteY969" fmla="*/ 1003979 h 1528729"/>
                  <a:gd name="connsiteX970" fmla="*/ 142487 w 3716428"/>
                  <a:gd name="connsiteY970" fmla="*/ 984715 h 1528729"/>
                  <a:gd name="connsiteX971" fmla="*/ 150295 w 3716428"/>
                  <a:gd name="connsiteY971" fmla="*/ 970808 h 1528729"/>
                  <a:gd name="connsiteX972" fmla="*/ 156337 w 3716428"/>
                  <a:gd name="connsiteY972" fmla="*/ 958611 h 1528729"/>
                  <a:gd name="connsiteX973" fmla="*/ 158103 w 3716428"/>
                  <a:gd name="connsiteY973" fmla="*/ 956559 h 1528729"/>
                  <a:gd name="connsiteX974" fmla="*/ 159414 w 3716428"/>
                  <a:gd name="connsiteY974" fmla="*/ 949264 h 1528729"/>
                  <a:gd name="connsiteX975" fmla="*/ 165456 w 3716428"/>
                  <a:gd name="connsiteY975" fmla="*/ 945787 h 1528729"/>
                  <a:gd name="connsiteX976" fmla="*/ 193953 w 3716428"/>
                  <a:gd name="connsiteY976" fmla="*/ 941285 h 1528729"/>
                  <a:gd name="connsiteX977" fmla="*/ 200108 w 3716428"/>
                  <a:gd name="connsiteY977" fmla="*/ 938036 h 1528729"/>
                  <a:gd name="connsiteX978" fmla="*/ 197601 w 3716428"/>
                  <a:gd name="connsiteY978" fmla="*/ 935243 h 1528729"/>
                  <a:gd name="connsiteX979" fmla="*/ 186202 w 3716428"/>
                  <a:gd name="connsiteY979" fmla="*/ 933647 h 1528729"/>
                  <a:gd name="connsiteX980" fmla="*/ 176570 w 3716428"/>
                  <a:gd name="connsiteY980" fmla="*/ 928233 h 1528729"/>
                  <a:gd name="connsiteX981" fmla="*/ 175487 w 3716428"/>
                  <a:gd name="connsiteY981" fmla="*/ 925155 h 1528729"/>
                  <a:gd name="connsiteX982" fmla="*/ 167565 w 3716428"/>
                  <a:gd name="connsiteY982" fmla="*/ 922476 h 1528729"/>
                  <a:gd name="connsiteX983" fmla="*/ 159186 w 3716428"/>
                  <a:gd name="connsiteY983" fmla="*/ 910394 h 1528729"/>
                  <a:gd name="connsiteX984" fmla="*/ 158844 w 3716428"/>
                  <a:gd name="connsiteY984" fmla="*/ 910394 h 1528729"/>
                  <a:gd name="connsiteX985" fmla="*/ 166824 w 3716428"/>
                  <a:gd name="connsiteY985" fmla="*/ 901901 h 1528729"/>
                  <a:gd name="connsiteX986" fmla="*/ 173777 w 3716428"/>
                  <a:gd name="connsiteY986" fmla="*/ 894207 h 1528729"/>
                  <a:gd name="connsiteX987" fmla="*/ 183580 w 3716428"/>
                  <a:gd name="connsiteY987" fmla="*/ 888964 h 1528729"/>
                  <a:gd name="connsiteX988" fmla="*/ 189280 w 3716428"/>
                  <a:gd name="connsiteY988" fmla="*/ 877565 h 1528729"/>
                  <a:gd name="connsiteX989" fmla="*/ 194979 w 3716428"/>
                  <a:gd name="connsiteY989" fmla="*/ 875513 h 1528729"/>
                  <a:gd name="connsiteX990" fmla="*/ 204440 w 3716428"/>
                  <a:gd name="connsiteY990" fmla="*/ 861834 h 1528729"/>
                  <a:gd name="connsiteX991" fmla="*/ 214414 w 3716428"/>
                  <a:gd name="connsiteY991" fmla="*/ 858642 h 1528729"/>
                  <a:gd name="connsiteX992" fmla="*/ 220912 w 3716428"/>
                  <a:gd name="connsiteY992" fmla="*/ 848896 h 1528729"/>
                  <a:gd name="connsiteX993" fmla="*/ 226041 w 3716428"/>
                  <a:gd name="connsiteY993" fmla="*/ 845704 h 1528729"/>
                  <a:gd name="connsiteX994" fmla="*/ 228663 w 3716428"/>
                  <a:gd name="connsiteY994" fmla="*/ 831741 h 1528729"/>
                  <a:gd name="connsiteX995" fmla="*/ 219430 w 3716428"/>
                  <a:gd name="connsiteY995" fmla="*/ 819772 h 1528729"/>
                  <a:gd name="connsiteX996" fmla="*/ 203072 w 3716428"/>
                  <a:gd name="connsiteY996" fmla="*/ 803813 h 1528729"/>
                  <a:gd name="connsiteX997" fmla="*/ 199596 w 3716428"/>
                  <a:gd name="connsiteY997" fmla="*/ 796404 h 1528729"/>
                  <a:gd name="connsiteX998" fmla="*/ 210995 w 3716428"/>
                  <a:gd name="connsiteY998" fmla="*/ 788596 h 1528729"/>
                  <a:gd name="connsiteX999" fmla="*/ 194922 w 3716428"/>
                  <a:gd name="connsiteY999" fmla="*/ 774119 h 1528729"/>
                  <a:gd name="connsiteX1000" fmla="*/ 197202 w 3716428"/>
                  <a:gd name="connsiteY1000" fmla="*/ 755026 h 1528729"/>
                  <a:gd name="connsiteX1001" fmla="*/ 190762 w 3716428"/>
                  <a:gd name="connsiteY1001" fmla="*/ 750067 h 1528729"/>
                  <a:gd name="connsiteX1002" fmla="*/ 197373 w 3716428"/>
                  <a:gd name="connsiteY1002" fmla="*/ 735990 h 1528729"/>
                  <a:gd name="connsiteX1003" fmla="*/ 193497 w 3716428"/>
                  <a:gd name="connsiteY1003" fmla="*/ 724933 h 1528729"/>
                  <a:gd name="connsiteX1004" fmla="*/ 198570 w 3716428"/>
                  <a:gd name="connsiteY1004" fmla="*/ 720088 h 1528729"/>
                  <a:gd name="connsiteX1005" fmla="*/ 198570 w 3716428"/>
                  <a:gd name="connsiteY1005" fmla="*/ 709886 h 1528729"/>
                  <a:gd name="connsiteX1006" fmla="*/ 190762 w 3716428"/>
                  <a:gd name="connsiteY1006" fmla="*/ 702135 h 1528729"/>
                  <a:gd name="connsiteX1007" fmla="*/ 181129 w 3716428"/>
                  <a:gd name="connsiteY1007" fmla="*/ 685948 h 1528729"/>
                  <a:gd name="connsiteX1008" fmla="*/ 181129 w 3716428"/>
                  <a:gd name="connsiteY1008" fmla="*/ 678710 h 1528729"/>
                  <a:gd name="connsiteX1009" fmla="*/ 185803 w 3716428"/>
                  <a:gd name="connsiteY1009" fmla="*/ 669591 h 1528729"/>
                  <a:gd name="connsiteX1010" fmla="*/ 185176 w 3716428"/>
                  <a:gd name="connsiteY1010" fmla="*/ 665088 h 1528729"/>
                  <a:gd name="connsiteX1011" fmla="*/ 198513 w 3716428"/>
                  <a:gd name="connsiteY1011" fmla="*/ 654943 h 1528729"/>
                  <a:gd name="connsiteX1012" fmla="*/ 194295 w 3716428"/>
                  <a:gd name="connsiteY1012" fmla="*/ 645710 h 1528729"/>
                  <a:gd name="connsiteX1013" fmla="*/ 176627 w 3716428"/>
                  <a:gd name="connsiteY1013" fmla="*/ 629182 h 1528729"/>
                  <a:gd name="connsiteX1014" fmla="*/ 168020 w 3716428"/>
                  <a:gd name="connsiteY1014" fmla="*/ 618524 h 1528729"/>
                  <a:gd name="connsiteX1015" fmla="*/ 169958 w 3716428"/>
                  <a:gd name="connsiteY1015" fmla="*/ 605757 h 1528729"/>
                  <a:gd name="connsiteX1016" fmla="*/ 172466 w 3716428"/>
                  <a:gd name="connsiteY1016" fmla="*/ 603648 h 1528729"/>
                  <a:gd name="connsiteX1017" fmla="*/ 177595 w 3716428"/>
                  <a:gd name="connsiteY1017" fmla="*/ 588943 h 1528729"/>
                  <a:gd name="connsiteX1018" fmla="*/ 183694 w 3716428"/>
                  <a:gd name="connsiteY1018" fmla="*/ 579938 h 1528729"/>
                  <a:gd name="connsiteX1019" fmla="*/ 194067 w 3716428"/>
                  <a:gd name="connsiteY1019" fmla="*/ 580793 h 1528729"/>
                  <a:gd name="connsiteX1020" fmla="*/ 204839 w 3716428"/>
                  <a:gd name="connsiteY1020" fmla="*/ 565290 h 1528729"/>
                  <a:gd name="connsiteX1021" fmla="*/ 208544 w 3716428"/>
                  <a:gd name="connsiteY1021" fmla="*/ 563866 h 1528729"/>
                  <a:gd name="connsiteX1022" fmla="*/ 209627 w 3716428"/>
                  <a:gd name="connsiteY1022" fmla="*/ 560731 h 1528729"/>
                  <a:gd name="connsiteX1023" fmla="*/ 212419 w 3716428"/>
                  <a:gd name="connsiteY1023" fmla="*/ 558337 h 1528729"/>
                  <a:gd name="connsiteX1024" fmla="*/ 216352 w 3716428"/>
                  <a:gd name="connsiteY1024" fmla="*/ 558337 h 1528729"/>
                  <a:gd name="connsiteX1025" fmla="*/ 222052 w 3716428"/>
                  <a:gd name="connsiteY1025" fmla="*/ 563695 h 1528729"/>
                  <a:gd name="connsiteX1026" fmla="*/ 235274 w 3716428"/>
                  <a:gd name="connsiteY1026" fmla="*/ 565974 h 1528729"/>
                  <a:gd name="connsiteX1027" fmla="*/ 241755 w 3716428"/>
                  <a:gd name="connsiteY1027" fmla="*/ 556052 h 1528729"/>
                  <a:gd name="connsiteX1028" fmla="*/ 241715 w 3716428"/>
                  <a:gd name="connsiteY1028" fmla="*/ 555886 h 1528729"/>
                  <a:gd name="connsiteX1029" fmla="*/ 258243 w 3716428"/>
                  <a:gd name="connsiteY1029" fmla="*/ 559933 h 1528729"/>
                  <a:gd name="connsiteX1030" fmla="*/ 247471 w 3716428"/>
                  <a:gd name="connsiteY1030" fmla="*/ 564777 h 1528729"/>
                  <a:gd name="connsiteX1031" fmla="*/ 252544 w 3716428"/>
                  <a:gd name="connsiteY1031" fmla="*/ 578000 h 1528729"/>
                  <a:gd name="connsiteX1032" fmla="*/ 267875 w 3716428"/>
                  <a:gd name="connsiteY1032" fmla="*/ 580565 h 1528729"/>
                  <a:gd name="connsiteX1033" fmla="*/ 304979 w 3716428"/>
                  <a:gd name="connsiteY1033" fmla="*/ 580565 h 1528729"/>
                  <a:gd name="connsiteX1034" fmla="*/ 304979 w 3716428"/>
                  <a:gd name="connsiteY1034" fmla="*/ 587746 h 1528729"/>
                  <a:gd name="connsiteX1035" fmla="*/ 318315 w 3716428"/>
                  <a:gd name="connsiteY1035" fmla="*/ 591109 h 1528729"/>
                  <a:gd name="connsiteX1036" fmla="*/ 323046 w 3716428"/>
                  <a:gd name="connsiteY1036" fmla="*/ 594301 h 1528729"/>
                  <a:gd name="connsiteX1037" fmla="*/ 340828 w 3716428"/>
                  <a:gd name="connsiteY1037" fmla="*/ 595897 h 1528729"/>
                  <a:gd name="connsiteX1038" fmla="*/ 356958 w 3716428"/>
                  <a:gd name="connsiteY1038" fmla="*/ 601596 h 1528729"/>
                  <a:gd name="connsiteX1039" fmla="*/ 360663 w 3716428"/>
                  <a:gd name="connsiteY1039" fmla="*/ 608036 h 1528729"/>
                  <a:gd name="connsiteX1040" fmla="*/ 368072 w 3716428"/>
                  <a:gd name="connsiteY1040" fmla="*/ 609461 h 1528729"/>
                  <a:gd name="connsiteX1041" fmla="*/ 370751 w 3716428"/>
                  <a:gd name="connsiteY1041" fmla="*/ 615161 h 1528729"/>
                  <a:gd name="connsiteX1042" fmla="*/ 380725 w 3716428"/>
                  <a:gd name="connsiteY1042" fmla="*/ 623311 h 1528729"/>
                  <a:gd name="connsiteX1043" fmla="*/ 392124 w 3716428"/>
                  <a:gd name="connsiteY1043" fmla="*/ 636363 h 1528729"/>
                  <a:gd name="connsiteX1044" fmla="*/ 410533 w 3716428"/>
                  <a:gd name="connsiteY1044" fmla="*/ 639498 h 1528729"/>
                  <a:gd name="connsiteX1045" fmla="*/ 424155 w 3716428"/>
                  <a:gd name="connsiteY1045" fmla="*/ 650897 h 1528729"/>
                  <a:gd name="connsiteX1046" fmla="*/ 436580 w 3716428"/>
                  <a:gd name="connsiteY1046" fmla="*/ 658990 h 1528729"/>
                  <a:gd name="connsiteX1047" fmla="*/ 443818 w 3716428"/>
                  <a:gd name="connsiteY1047" fmla="*/ 663378 h 1528729"/>
                  <a:gd name="connsiteX1048" fmla="*/ 443248 w 3716428"/>
                  <a:gd name="connsiteY1048" fmla="*/ 676088 h 1528729"/>
                  <a:gd name="connsiteX1049" fmla="*/ 431450 w 3716428"/>
                  <a:gd name="connsiteY1049" fmla="*/ 683213 h 1528729"/>
                  <a:gd name="connsiteX1050" fmla="*/ 431450 w 3716428"/>
                  <a:gd name="connsiteY1050" fmla="*/ 691021 h 1528729"/>
                  <a:gd name="connsiteX1051" fmla="*/ 421191 w 3716428"/>
                  <a:gd name="connsiteY1051" fmla="*/ 691534 h 1528729"/>
                  <a:gd name="connsiteX1052" fmla="*/ 415947 w 3716428"/>
                  <a:gd name="connsiteY1052" fmla="*/ 699513 h 1528729"/>
                  <a:gd name="connsiteX1053" fmla="*/ 404549 w 3716428"/>
                  <a:gd name="connsiteY1053" fmla="*/ 704415 h 1528729"/>
                  <a:gd name="connsiteX1054" fmla="*/ 402839 w 3716428"/>
                  <a:gd name="connsiteY1054" fmla="*/ 708689 h 1528729"/>
                  <a:gd name="connsiteX1055" fmla="*/ 398621 w 3716428"/>
                  <a:gd name="connsiteY1055" fmla="*/ 709886 h 1528729"/>
                  <a:gd name="connsiteX1056" fmla="*/ 379300 w 3716428"/>
                  <a:gd name="connsiteY1056" fmla="*/ 710285 h 1528729"/>
                  <a:gd name="connsiteX1057" fmla="*/ 369212 w 3716428"/>
                  <a:gd name="connsiteY1057" fmla="*/ 708632 h 1528729"/>
                  <a:gd name="connsiteX1058" fmla="*/ 363968 w 3716428"/>
                  <a:gd name="connsiteY1058" fmla="*/ 704814 h 1528729"/>
                  <a:gd name="connsiteX1059" fmla="*/ 353539 w 3716428"/>
                  <a:gd name="connsiteY1059" fmla="*/ 704187 h 1528729"/>
                  <a:gd name="connsiteX1060" fmla="*/ 332279 w 3716428"/>
                  <a:gd name="connsiteY1060" fmla="*/ 700710 h 1528729"/>
                  <a:gd name="connsiteX1061" fmla="*/ 309481 w 3716428"/>
                  <a:gd name="connsiteY1061" fmla="*/ 692788 h 1528729"/>
                  <a:gd name="connsiteX1062" fmla="*/ 282694 w 3716428"/>
                  <a:gd name="connsiteY1062" fmla="*/ 684637 h 1528729"/>
                  <a:gd name="connsiteX1063" fmla="*/ 275114 w 3716428"/>
                  <a:gd name="connsiteY1063" fmla="*/ 681959 h 1528729"/>
                  <a:gd name="connsiteX1064" fmla="*/ 273347 w 3716428"/>
                  <a:gd name="connsiteY1064" fmla="*/ 678539 h 1528729"/>
                  <a:gd name="connsiteX1065" fmla="*/ 266565 w 3716428"/>
                  <a:gd name="connsiteY1065" fmla="*/ 675119 h 1528729"/>
                  <a:gd name="connsiteX1066" fmla="*/ 257616 w 3716428"/>
                  <a:gd name="connsiteY1066" fmla="*/ 666057 h 1528729"/>
                  <a:gd name="connsiteX1067" fmla="*/ 246217 w 3716428"/>
                  <a:gd name="connsiteY1067" fmla="*/ 661270 h 1528729"/>
                  <a:gd name="connsiteX1068" fmla="*/ 242837 w 3716428"/>
                  <a:gd name="connsiteY1068" fmla="*/ 672629 h 1528729"/>
                  <a:gd name="connsiteX1069" fmla="*/ 243026 w 3716428"/>
                  <a:gd name="connsiteY1069" fmla="*/ 672953 h 1528729"/>
                  <a:gd name="connsiteX1070" fmla="*/ 254026 w 3716428"/>
                  <a:gd name="connsiteY1070" fmla="*/ 680534 h 1528729"/>
                  <a:gd name="connsiteX1071" fmla="*/ 256875 w 3716428"/>
                  <a:gd name="connsiteY1071" fmla="*/ 689824 h 1528729"/>
                  <a:gd name="connsiteX1072" fmla="*/ 267476 w 3716428"/>
                  <a:gd name="connsiteY1072" fmla="*/ 693130 h 1528729"/>
                  <a:gd name="connsiteX1073" fmla="*/ 272834 w 3716428"/>
                  <a:gd name="connsiteY1073" fmla="*/ 701679 h 1528729"/>
                  <a:gd name="connsiteX1074" fmla="*/ 287481 w 3716428"/>
                  <a:gd name="connsiteY1074" fmla="*/ 708404 h 1528729"/>
                  <a:gd name="connsiteX1075" fmla="*/ 302699 w 3716428"/>
                  <a:gd name="connsiteY1075" fmla="*/ 711482 h 1528729"/>
                  <a:gd name="connsiteX1076" fmla="*/ 302015 w 3716428"/>
                  <a:gd name="connsiteY1076" fmla="*/ 728580 h 1528729"/>
                  <a:gd name="connsiteX1077" fmla="*/ 300932 w 3716428"/>
                  <a:gd name="connsiteY1077" fmla="*/ 732342 h 1528729"/>
                  <a:gd name="connsiteX1078" fmla="*/ 296088 w 3716428"/>
                  <a:gd name="connsiteY1078" fmla="*/ 734394 h 1528729"/>
                  <a:gd name="connsiteX1079" fmla="*/ 293922 w 3716428"/>
                  <a:gd name="connsiteY1079" fmla="*/ 745793 h 1528729"/>
                  <a:gd name="connsiteX1080" fmla="*/ 295290 w 3716428"/>
                  <a:gd name="connsiteY1080" fmla="*/ 757762 h 1528729"/>
                  <a:gd name="connsiteX1081" fmla="*/ 304466 w 3716428"/>
                  <a:gd name="connsiteY1081" fmla="*/ 766083 h 1528729"/>
                  <a:gd name="connsiteX1082" fmla="*/ 304124 w 3716428"/>
                  <a:gd name="connsiteY1082" fmla="*/ 780104 h 1528729"/>
                  <a:gd name="connsiteX1083" fmla="*/ 305264 w 3716428"/>
                  <a:gd name="connsiteY1083" fmla="*/ 783067 h 1528729"/>
                  <a:gd name="connsiteX1084" fmla="*/ 308797 w 3716428"/>
                  <a:gd name="connsiteY1084" fmla="*/ 784093 h 1528729"/>
                  <a:gd name="connsiteX1085" fmla="*/ 330228 w 3716428"/>
                  <a:gd name="connsiteY1085" fmla="*/ 785005 h 1528729"/>
                  <a:gd name="connsiteX1086" fmla="*/ 339233 w 3716428"/>
                  <a:gd name="connsiteY1086" fmla="*/ 798627 h 1528729"/>
                  <a:gd name="connsiteX1087" fmla="*/ 342196 w 3716428"/>
                  <a:gd name="connsiteY1087" fmla="*/ 801591 h 1528729"/>
                  <a:gd name="connsiteX1088" fmla="*/ 345787 w 3716428"/>
                  <a:gd name="connsiteY1088" fmla="*/ 801591 h 1528729"/>
                  <a:gd name="connsiteX1089" fmla="*/ 362259 w 3716428"/>
                  <a:gd name="connsiteY1089" fmla="*/ 804896 h 1528729"/>
                  <a:gd name="connsiteX1090" fmla="*/ 377704 w 3716428"/>
                  <a:gd name="connsiteY1090" fmla="*/ 800964 h 1528729"/>
                  <a:gd name="connsiteX1091" fmla="*/ 376507 w 3716428"/>
                  <a:gd name="connsiteY1091" fmla="*/ 783523 h 1528729"/>
                  <a:gd name="connsiteX1092" fmla="*/ 352798 w 3716428"/>
                  <a:gd name="connsiteY1092" fmla="*/ 778565 h 1528729"/>
                  <a:gd name="connsiteX1093" fmla="*/ 350461 w 3716428"/>
                  <a:gd name="connsiteY1093" fmla="*/ 772352 h 1528729"/>
                  <a:gd name="connsiteX1094" fmla="*/ 342709 w 3716428"/>
                  <a:gd name="connsiteY1094" fmla="*/ 769218 h 1528729"/>
                  <a:gd name="connsiteX1095" fmla="*/ 342709 w 3716428"/>
                  <a:gd name="connsiteY1095" fmla="*/ 766368 h 1528729"/>
                  <a:gd name="connsiteX1096" fmla="*/ 356046 w 3716428"/>
                  <a:gd name="connsiteY1096" fmla="*/ 747275 h 1528729"/>
                  <a:gd name="connsiteX1097" fmla="*/ 374284 w 3716428"/>
                  <a:gd name="connsiteY1097" fmla="*/ 759984 h 1528729"/>
                  <a:gd name="connsiteX1098" fmla="*/ 377305 w 3716428"/>
                  <a:gd name="connsiteY1098" fmla="*/ 763176 h 1528729"/>
                  <a:gd name="connsiteX1099" fmla="*/ 380839 w 3716428"/>
                  <a:gd name="connsiteY1099" fmla="*/ 763917 h 1528729"/>
                  <a:gd name="connsiteX1100" fmla="*/ 427176 w 3716428"/>
                  <a:gd name="connsiteY1100" fmla="*/ 773663 h 1528729"/>
                  <a:gd name="connsiteX1101" fmla="*/ 431336 w 3716428"/>
                  <a:gd name="connsiteY1101" fmla="*/ 771554 h 1528729"/>
                  <a:gd name="connsiteX1102" fmla="*/ 429683 w 3716428"/>
                  <a:gd name="connsiteY1102" fmla="*/ 762150 h 1528729"/>
                  <a:gd name="connsiteX1103" fmla="*/ 421590 w 3716428"/>
                  <a:gd name="connsiteY1103" fmla="*/ 755425 h 1528729"/>
                  <a:gd name="connsiteX1104" fmla="*/ 418227 w 3716428"/>
                  <a:gd name="connsiteY1104" fmla="*/ 746363 h 1528729"/>
                  <a:gd name="connsiteX1105" fmla="*/ 436751 w 3716428"/>
                  <a:gd name="connsiteY1105" fmla="*/ 718891 h 1528729"/>
                  <a:gd name="connsiteX1106" fmla="*/ 443362 w 3716428"/>
                  <a:gd name="connsiteY1106" fmla="*/ 715130 h 1528729"/>
                  <a:gd name="connsiteX1107" fmla="*/ 445129 w 3716428"/>
                  <a:gd name="connsiteY1107" fmla="*/ 708974 h 1528729"/>
                  <a:gd name="connsiteX1108" fmla="*/ 449632 w 3716428"/>
                  <a:gd name="connsiteY1108" fmla="*/ 707378 h 1528729"/>
                  <a:gd name="connsiteX1109" fmla="*/ 464621 w 3716428"/>
                  <a:gd name="connsiteY1109" fmla="*/ 694953 h 1528729"/>
                  <a:gd name="connsiteX1110" fmla="*/ 486678 w 3716428"/>
                  <a:gd name="connsiteY1110" fmla="*/ 693985 h 1528729"/>
                  <a:gd name="connsiteX1111" fmla="*/ 496823 w 3716428"/>
                  <a:gd name="connsiteY1111" fmla="*/ 702249 h 1528729"/>
                  <a:gd name="connsiteX1112" fmla="*/ 503435 w 3716428"/>
                  <a:gd name="connsiteY1112" fmla="*/ 718435 h 1528729"/>
                  <a:gd name="connsiteX1113" fmla="*/ 508849 w 3716428"/>
                  <a:gd name="connsiteY1113" fmla="*/ 718435 h 1528729"/>
                  <a:gd name="connsiteX1114" fmla="*/ 517512 w 3716428"/>
                  <a:gd name="connsiteY1114" fmla="*/ 700767 h 1528729"/>
                  <a:gd name="connsiteX1115" fmla="*/ 518880 w 3716428"/>
                  <a:gd name="connsiteY1115" fmla="*/ 692389 h 1528729"/>
                  <a:gd name="connsiteX1116" fmla="*/ 516372 w 3716428"/>
                  <a:gd name="connsiteY1116" fmla="*/ 677513 h 1528729"/>
                  <a:gd name="connsiteX1117" fmla="*/ 504346 w 3716428"/>
                  <a:gd name="connsiteY1117" fmla="*/ 673865 h 1528729"/>
                  <a:gd name="connsiteX1118" fmla="*/ 495512 w 3716428"/>
                  <a:gd name="connsiteY1118" fmla="*/ 666285 h 1528729"/>
                  <a:gd name="connsiteX1119" fmla="*/ 509704 w 3716428"/>
                  <a:gd name="connsiteY1119" fmla="*/ 654088 h 1528729"/>
                  <a:gd name="connsiteX1120" fmla="*/ 508792 w 3716428"/>
                  <a:gd name="connsiteY1120" fmla="*/ 634254 h 1528729"/>
                  <a:gd name="connsiteX1121" fmla="*/ 513180 w 3716428"/>
                  <a:gd name="connsiteY1121" fmla="*/ 615959 h 1528729"/>
                  <a:gd name="connsiteX1122" fmla="*/ 519678 w 3716428"/>
                  <a:gd name="connsiteY1122" fmla="*/ 614021 h 1528729"/>
                  <a:gd name="connsiteX1123" fmla="*/ 535978 w 3716428"/>
                  <a:gd name="connsiteY1123" fmla="*/ 612938 h 1528729"/>
                  <a:gd name="connsiteX1124" fmla="*/ 546181 w 3716428"/>
                  <a:gd name="connsiteY1124" fmla="*/ 614819 h 1528729"/>
                  <a:gd name="connsiteX1125" fmla="*/ 548620 w 3716428"/>
                  <a:gd name="connsiteY1125" fmla="*/ 623596 h 1528729"/>
                  <a:gd name="connsiteX1126" fmla="*/ 548517 w 3716428"/>
                  <a:gd name="connsiteY1126" fmla="*/ 623767 h 1528729"/>
                  <a:gd name="connsiteX1127" fmla="*/ 557979 w 3716428"/>
                  <a:gd name="connsiteY1127" fmla="*/ 628384 h 1528729"/>
                  <a:gd name="connsiteX1128" fmla="*/ 561512 w 3716428"/>
                  <a:gd name="connsiteY1128" fmla="*/ 637788 h 1528729"/>
                  <a:gd name="connsiteX1129" fmla="*/ 566813 w 3716428"/>
                  <a:gd name="connsiteY1129" fmla="*/ 644456 h 1528729"/>
                  <a:gd name="connsiteX1130" fmla="*/ 546238 w 3716428"/>
                  <a:gd name="connsiteY1130" fmla="*/ 642176 h 1528729"/>
                  <a:gd name="connsiteX1131" fmla="*/ 538429 w 3716428"/>
                  <a:gd name="connsiteY1131" fmla="*/ 645995 h 1528729"/>
                  <a:gd name="connsiteX1132" fmla="*/ 532274 w 3716428"/>
                  <a:gd name="connsiteY1132" fmla="*/ 646508 h 1528729"/>
                  <a:gd name="connsiteX1133" fmla="*/ 531020 w 3716428"/>
                  <a:gd name="connsiteY1133" fmla="*/ 649472 h 1528729"/>
                  <a:gd name="connsiteX1134" fmla="*/ 529481 w 3716428"/>
                  <a:gd name="connsiteY1134" fmla="*/ 665430 h 1528729"/>
                  <a:gd name="connsiteX1135" fmla="*/ 530621 w 3716428"/>
                  <a:gd name="connsiteY1135" fmla="*/ 670332 h 1528729"/>
                  <a:gd name="connsiteX1136" fmla="*/ 536320 w 3716428"/>
                  <a:gd name="connsiteY1136" fmla="*/ 672896 h 1528729"/>
                  <a:gd name="connsiteX1137" fmla="*/ 542704 w 3716428"/>
                  <a:gd name="connsiteY1137" fmla="*/ 682985 h 1528729"/>
                  <a:gd name="connsiteX1138" fmla="*/ 553191 w 3716428"/>
                  <a:gd name="connsiteY1138" fmla="*/ 686005 h 1528729"/>
                  <a:gd name="connsiteX1139" fmla="*/ 588870 w 3716428"/>
                  <a:gd name="connsiteY1139" fmla="*/ 685663 h 1528729"/>
                  <a:gd name="connsiteX1140" fmla="*/ 591776 w 3716428"/>
                  <a:gd name="connsiteY1140" fmla="*/ 664062 h 1528729"/>
                  <a:gd name="connsiteX1141" fmla="*/ 592802 w 3716428"/>
                  <a:gd name="connsiteY1141" fmla="*/ 659959 h 1528729"/>
                  <a:gd name="connsiteX1142" fmla="*/ 603175 w 3716428"/>
                  <a:gd name="connsiteY1142" fmla="*/ 655570 h 1528729"/>
                  <a:gd name="connsiteX1143" fmla="*/ 615030 w 3716428"/>
                  <a:gd name="connsiteY1143" fmla="*/ 656026 h 1528729"/>
                  <a:gd name="connsiteX1144" fmla="*/ 618849 w 3716428"/>
                  <a:gd name="connsiteY1144" fmla="*/ 647933 h 1528729"/>
                  <a:gd name="connsiteX1145" fmla="*/ 623294 w 3716428"/>
                  <a:gd name="connsiteY1145" fmla="*/ 645596 h 1528729"/>
                  <a:gd name="connsiteX1146" fmla="*/ 637657 w 3716428"/>
                  <a:gd name="connsiteY1146" fmla="*/ 634197 h 1528729"/>
                  <a:gd name="connsiteX1147" fmla="*/ 642502 w 3716428"/>
                  <a:gd name="connsiteY1147" fmla="*/ 629467 h 1528729"/>
                  <a:gd name="connsiteX1148" fmla="*/ 647802 w 3716428"/>
                  <a:gd name="connsiteY1148" fmla="*/ 628612 h 1528729"/>
                  <a:gd name="connsiteX1149" fmla="*/ 679605 w 3716428"/>
                  <a:gd name="connsiteY1149" fmla="*/ 614705 h 1528729"/>
                  <a:gd name="connsiteX1150" fmla="*/ 686331 w 3716428"/>
                  <a:gd name="connsiteY1150" fmla="*/ 614705 h 1528729"/>
                  <a:gd name="connsiteX1151" fmla="*/ 687927 w 3716428"/>
                  <a:gd name="connsiteY1151" fmla="*/ 618239 h 1528729"/>
                  <a:gd name="connsiteX1152" fmla="*/ 701867 w 3716428"/>
                  <a:gd name="connsiteY1152" fmla="*/ 623750 h 1528729"/>
                  <a:gd name="connsiteX1153" fmla="*/ 703600 w 3716428"/>
                  <a:gd name="connsiteY1153" fmla="*/ 622798 h 1528729"/>
                  <a:gd name="connsiteX1154" fmla="*/ 711112 w 3716428"/>
                  <a:gd name="connsiteY1154" fmla="*/ 604184 h 1528729"/>
                  <a:gd name="connsiteX1155" fmla="*/ 712605 w 3716428"/>
                  <a:gd name="connsiteY1155" fmla="*/ 603648 h 1528729"/>
                  <a:gd name="connsiteX1156" fmla="*/ 718305 w 3716428"/>
                  <a:gd name="connsiteY1156" fmla="*/ 601710 h 1528729"/>
                  <a:gd name="connsiteX1157" fmla="*/ 725657 w 3716428"/>
                  <a:gd name="connsiteY1157" fmla="*/ 596011 h 1528729"/>
                  <a:gd name="connsiteX1158" fmla="*/ 727481 w 3716428"/>
                  <a:gd name="connsiteY1158" fmla="*/ 598803 h 1528729"/>
                  <a:gd name="connsiteX1159" fmla="*/ 729875 w 3716428"/>
                  <a:gd name="connsiteY1159" fmla="*/ 610202 h 1528729"/>
                  <a:gd name="connsiteX1160" fmla="*/ 724175 w 3716428"/>
                  <a:gd name="connsiteY1160" fmla="*/ 619948 h 1528729"/>
                  <a:gd name="connsiteX1161" fmla="*/ 715740 w 3716428"/>
                  <a:gd name="connsiteY1161" fmla="*/ 621715 h 1528729"/>
                  <a:gd name="connsiteX1162" fmla="*/ 712719 w 3716428"/>
                  <a:gd name="connsiteY1162" fmla="*/ 628384 h 1528729"/>
                  <a:gd name="connsiteX1163" fmla="*/ 718943 w 3716428"/>
                  <a:gd name="connsiteY1163" fmla="*/ 634471 h 1528729"/>
                  <a:gd name="connsiteX1164" fmla="*/ 718761 w 3716428"/>
                  <a:gd name="connsiteY1164" fmla="*/ 636021 h 1528729"/>
                  <a:gd name="connsiteX1165" fmla="*/ 743952 w 3716428"/>
                  <a:gd name="connsiteY1165" fmla="*/ 639042 h 1528729"/>
                  <a:gd name="connsiteX1166" fmla="*/ 746859 w 3716428"/>
                  <a:gd name="connsiteY1166" fmla="*/ 637959 h 1528729"/>
                  <a:gd name="connsiteX1167" fmla="*/ 748569 w 3716428"/>
                  <a:gd name="connsiteY1167" fmla="*/ 629524 h 1528729"/>
                  <a:gd name="connsiteX1168" fmla="*/ 754269 w 3716428"/>
                  <a:gd name="connsiteY1168" fmla="*/ 625420 h 1528729"/>
                  <a:gd name="connsiteX1169" fmla="*/ 755693 w 3716428"/>
                  <a:gd name="connsiteY1169" fmla="*/ 622570 h 1528729"/>
                  <a:gd name="connsiteX1170" fmla="*/ 775356 w 3716428"/>
                  <a:gd name="connsiteY1170" fmla="*/ 613679 h 1528729"/>
                  <a:gd name="connsiteX1171" fmla="*/ 786755 w 3716428"/>
                  <a:gd name="connsiteY1171" fmla="*/ 620746 h 1528729"/>
                  <a:gd name="connsiteX1172" fmla="*/ 799237 w 3716428"/>
                  <a:gd name="connsiteY1172" fmla="*/ 624223 h 1528729"/>
                  <a:gd name="connsiteX1173" fmla="*/ 803968 w 3716428"/>
                  <a:gd name="connsiteY1173" fmla="*/ 614021 h 1528729"/>
                  <a:gd name="connsiteX1174" fmla="*/ 811605 w 3716428"/>
                  <a:gd name="connsiteY1174" fmla="*/ 608891 h 1528729"/>
                  <a:gd name="connsiteX1175" fmla="*/ 818615 w 3716428"/>
                  <a:gd name="connsiteY1175" fmla="*/ 602394 h 1528729"/>
                  <a:gd name="connsiteX1176" fmla="*/ 833434 w 3716428"/>
                  <a:gd name="connsiteY1176" fmla="*/ 599487 h 1528729"/>
                  <a:gd name="connsiteX1177" fmla="*/ 846429 w 3716428"/>
                  <a:gd name="connsiteY1177" fmla="*/ 608207 h 1528729"/>
                  <a:gd name="connsiteX1178" fmla="*/ 833377 w 3716428"/>
                  <a:gd name="connsiteY1178" fmla="*/ 620290 h 1528729"/>
                  <a:gd name="connsiteX1179" fmla="*/ 861875 w 3716428"/>
                  <a:gd name="connsiteY1179" fmla="*/ 629068 h 1528729"/>
                  <a:gd name="connsiteX1180" fmla="*/ 861875 w 3716428"/>
                  <a:gd name="connsiteY1180" fmla="*/ 615731 h 1528729"/>
                  <a:gd name="connsiteX1181" fmla="*/ 886439 w 3716428"/>
                  <a:gd name="connsiteY1181" fmla="*/ 603192 h 1528729"/>
                  <a:gd name="connsiteX1182" fmla="*/ 879885 w 3716428"/>
                  <a:gd name="connsiteY1182" fmla="*/ 596923 h 1528729"/>
                  <a:gd name="connsiteX1183" fmla="*/ 869911 w 3716428"/>
                  <a:gd name="connsiteY1183" fmla="*/ 582845 h 1528729"/>
                  <a:gd name="connsiteX1184" fmla="*/ 866434 w 3716428"/>
                  <a:gd name="connsiteY1184" fmla="*/ 565746 h 1528729"/>
                  <a:gd name="connsiteX1185" fmla="*/ 843636 w 3716428"/>
                  <a:gd name="connsiteY1185" fmla="*/ 562612 h 1528729"/>
                  <a:gd name="connsiteX1186" fmla="*/ 830641 w 3716428"/>
                  <a:gd name="connsiteY1186" fmla="*/ 545513 h 1528729"/>
                  <a:gd name="connsiteX1187" fmla="*/ 866719 w 3716428"/>
                  <a:gd name="connsiteY1187" fmla="*/ 556912 h 1528729"/>
                  <a:gd name="connsiteX1188" fmla="*/ 892195 w 3716428"/>
                  <a:gd name="connsiteY1188" fmla="*/ 566145 h 1528729"/>
                  <a:gd name="connsiteX1189" fmla="*/ 907185 w 3716428"/>
                  <a:gd name="connsiteY1189" fmla="*/ 568596 h 1528729"/>
                  <a:gd name="connsiteX1190" fmla="*/ 911859 w 3716428"/>
                  <a:gd name="connsiteY1190" fmla="*/ 574923 h 1528729"/>
                  <a:gd name="connsiteX1191" fmla="*/ 930496 w 3716428"/>
                  <a:gd name="connsiteY1191" fmla="*/ 579368 h 1528729"/>
                  <a:gd name="connsiteX1192" fmla="*/ 964693 w 3716428"/>
                  <a:gd name="connsiteY1192" fmla="*/ 581819 h 1528729"/>
                  <a:gd name="connsiteX1193" fmla="*/ 986693 w 3716428"/>
                  <a:gd name="connsiteY1193" fmla="*/ 591508 h 1528729"/>
                  <a:gd name="connsiteX1194" fmla="*/ 1034170 w 3716428"/>
                  <a:gd name="connsiteY1194" fmla="*/ 620005 h 1528729"/>
                  <a:gd name="connsiteX1195" fmla="*/ 1055543 w 3716428"/>
                  <a:gd name="connsiteY1195" fmla="*/ 629296 h 1528729"/>
                  <a:gd name="connsiteX1196" fmla="*/ 1063562 w 3716428"/>
                  <a:gd name="connsiteY1196" fmla="*/ 615309 h 1528729"/>
                  <a:gd name="connsiteX1197" fmla="*/ 1063693 w 3716428"/>
                  <a:gd name="connsiteY1197" fmla="*/ 615275 h 1528729"/>
                  <a:gd name="connsiteX1198" fmla="*/ 1051667 w 3716428"/>
                  <a:gd name="connsiteY1198" fmla="*/ 597321 h 1528729"/>
                  <a:gd name="connsiteX1199" fmla="*/ 1043573 w 3716428"/>
                  <a:gd name="connsiteY1199" fmla="*/ 590881 h 1528729"/>
                  <a:gd name="connsiteX1200" fmla="*/ 1041636 w 3716428"/>
                  <a:gd name="connsiteY1200" fmla="*/ 579083 h 1528729"/>
                  <a:gd name="connsiteX1201" fmla="*/ 1022941 w 3716428"/>
                  <a:gd name="connsiteY1201" fmla="*/ 572415 h 1528729"/>
                  <a:gd name="connsiteX1202" fmla="*/ 1012455 w 3716428"/>
                  <a:gd name="connsiteY1202" fmla="*/ 558964 h 1528729"/>
                  <a:gd name="connsiteX1203" fmla="*/ 1019579 w 3716428"/>
                  <a:gd name="connsiteY1203" fmla="*/ 543803 h 1528729"/>
                  <a:gd name="connsiteX1204" fmla="*/ 1017983 w 3716428"/>
                  <a:gd name="connsiteY1204" fmla="*/ 525508 h 1528729"/>
                  <a:gd name="connsiteX1205" fmla="*/ 1027786 w 3716428"/>
                  <a:gd name="connsiteY1205" fmla="*/ 514109 h 1528729"/>
                  <a:gd name="connsiteX1206" fmla="*/ 1053035 w 3716428"/>
                  <a:gd name="connsiteY1206" fmla="*/ 494503 h 1528729"/>
                  <a:gd name="connsiteX1207" fmla="*/ 1073382 w 3716428"/>
                  <a:gd name="connsiteY1207" fmla="*/ 475296 h 1528729"/>
                  <a:gd name="connsiteX1208" fmla="*/ 1085522 w 3716428"/>
                  <a:gd name="connsiteY1208" fmla="*/ 444576 h 1528729"/>
                  <a:gd name="connsiteX1209" fmla="*/ 1091221 w 3716428"/>
                  <a:gd name="connsiteY1209" fmla="*/ 433177 h 1528729"/>
                  <a:gd name="connsiteX1210" fmla="*/ 1096921 w 3716428"/>
                  <a:gd name="connsiteY1210" fmla="*/ 430783 h 1528729"/>
                  <a:gd name="connsiteX1211" fmla="*/ 1139667 w 3716428"/>
                  <a:gd name="connsiteY1211" fmla="*/ 433918 h 1528729"/>
                  <a:gd name="connsiteX1212" fmla="*/ 1145366 w 3716428"/>
                  <a:gd name="connsiteY1212" fmla="*/ 437793 h 1528729"/>
                  <a:gd name="connsiteX1213" fmla="*/ 1141035 w 3716428"/>
                  <a:gd name="connsiteY1213" fmla="*/ 471477 h 1528729"/>
                  <a:gd name="connsiteX1214" fmla="*/ 1122796 w 3716428"/>
                  <a:gd name="connsiteY1214" fmla="*/ 499291 h 1528729"/>
                  <a:gd name="connsiteX1215" fmla="*/ 1149071 w 3716428"/>
                  <a:gd name="connsiteY1215" fmla="*/ 524653 h 1528729"/>
                  <a:gd name="connsiteX1216" fmla="*/ 1150097 w 3716428"/>
                  <a:gd name="connsiteY1216" fmla="*/ 531778 h 1528729"/>
                  <a:gd name="connsiteX1217" fmla="*/ 1144796 w 3716428"/>
                  <a:gd name="connsiteY1217" fmla="*/ 540840 h 1528729"/>
                  <a:gd name="connsiteX1218" fmla="*/ 1138185 w 3716428"/>
                  <a:gd name="connsiteY1218" fmla="*/ 582674 h 1528729"/>
                  <a:gd name="connsiteX1219" fmla="*/ 1147589 w 3716428"/>
                  <a:gd name="connsiteY1219" fmla="*/ 608891 h 1528729"/>
                  <a:gd name="connsiteX1220" fmla="*/ 1160584 w 3716428"/>
                  <a:gd name="connsiteY1220" fmla="*/ 623311 h 1528729"/>
                  <a:gd name="connsiteX1221" fmla="*/ 1155398 w 3716428"/>
                  <a:gd name="connsiteY1221" fmla="*/ 630264 h 1528729"/>
                  <a:gd name="connsiteX1222" fmla="*/ 1130206 w 3716428"/>
                  <a:gd name="connsiteY1222" fmla="*/ 665031 h 1528729"/>
                  <a:gd name="connsiteX1223" fmla="*/ 1122682 w 3716428"/>
                  <a:gd name="connsiteY1223" fmla="*/ 679394 h 1528729"/>
                  <a:gd name="connsiteX1224" fmla="*/ 1116014 w 3716428"/>
                  <a:gd name="connsiteY1224" fmla="*/ 687487 h 1528729"/>
                  <a:gd name="connsiteX1225" fmla="*/ 1115501 w 3716428"/>
                  <a:gd name="connsiteY1225" fmla="*/ 695865 h 1528729"/>
                  <a:gd name="connsiteX1226" fmla="*/ 1119092 w 3716428"/>
                  <a:gd name="connsiteY1226" fmla="*/ 709886 h 1528729"/>
                  <a:gd name="connsiteX1227" fmla="*/ 1131517 w 3716428"/>
                  <a:gd name="connsiteY1227" fmla="*/ 715187 h 1528729"/>
                  <a:gd name="connsiteX1228" fmla="*/ 1141206 w 3716428"/>
                  <a:gd name="connsiteY1228" fmla="*/ 703788 h 1528729"/>
                  <a:gd name="connsiteX1229" fmla="*/ 1157905 w 3716428"/>
                  <a:gd name="connsiteY1229" fmla="*/ 692389 h 1528729"/>
                  <a:gd name="connsiteX1230" fmla="*/ 1178024 w 3716428"/>
                  <a:gd name="connsiteY1230" fmla="*/ 666570 h 1528729"/>
                  <a:gd name="connsiteX1231" fmla="*/ 1183382 w 3716428"/>
                  <a:gd name="connsiteY1231" fmla="*/ 657394 h 1528729"/>
                  <a:gd name="connsiteX1232" fmla="*/ 1189651 w 3716428"/>
                  <a:gd name="connsiteY1232" fmla="*/ 630549 h 1528729"/>
                  <a:gd name="connsiteX1233" fmla="*/ 1183610 w 3716428"/>
                  <a:gd name="connsiteY1233" fmla="*/ 616643 h 1528729"/>
                  <a:gd name="connsiteX1234" fmla="*/ 1193755 w 3716428"/>
                  <a:gd name="connsiteY1234" fmla="*/ 605244 h 1528729"/>
                  <a:gd name="connsiteX1235" fmla="*/ 1210055 w 3716428"/>
                  <a:gd name="connsiteY1235" fmla="*/ 606042 h 1528729"/>
                  <a:gd name="connsiteX1236" fmla="*/ 1212221 w 3716428"/>
                  <a:gd name="connsiteY1236" fmla="*/ 606441 h 1528729"/>
                  <a:gd name="connsiteX1237" fmla="*/ 1236102 w 3716428"/>
                  <a:gd name="connsiteY1237" fmla="*/ 611171 h 1528729"/>
                  <a:gd name="connsiteX1238" fmla="*/ 1238154 w 3716428"/>
                  <a:gd name="connsiteY1238" fmla="*/ 623881 h 1528729"/>
                  <a:gd name="connsiteX1239" fmla="*/ 1241915 w 3716428"/>
                  <a:gd name="connsiteY1239" fmla="*/ 658933 h 1528729"/>
                  <a:gd name="connsiteX1240" fmla="*/ 1271552 w 3716428"/>
                  <a:gd name="connsiteY1240" fmla="*/ 672270 h 1528729"/>
                  <a:gd name="connsiteX1241" fmla="*/ 1276568 w 3716428"/>
                  <a:gd name="connsiteY1241" fmla="*/ 664062 h 1528729"/>
                  <a:gd name="connsiteX1242" fmla="*/ 1271439 w 3716428"/>
                  <a:gd name="connsiteY1242" fmla="*/ 660187 h 1528729"/>
                  <a:gd name="connsiteX1243" fmla="*/ 1253200 w 3716428"/>
                  <a:gd name="connsiteY1243" fmla="*/ 648332 h 1528729"/>
                  <a:gd name="connsiteX1244" fmla="*/ 1251718 w 3716428"/>
                  <a:gd name="connsiteY1244" fmla="*/ 627985 h 1528729"/>
                  <a:gd name="connsiteX1245" fmla="*/ 1256563 w 3716428"/>
                  <a:gd name="connsiteY1245" fmla="*/ 622285 h 1528729"/>
                  <a:gd name="connsiteX1246" fmla="*/ 1249667 w 3716428"/>
                  <a:gd name="connsiteY1246" fmla="*/ 606099 h 1528729"/>
                  <a:gd name="connsiteX1247" fmla="*/ 1233138 w 3716428"/>
                  <a:gd name="connsiteY1247" fmla="*/ 596125 h 1528729"/>
                  <a:gd name="connsiteX1248" fmla="*/ 1226926 w 3716428"/>
                  <a:gd name="connsiteY1248" fmla="*/ 589570 h 1528729"/>
                  <a:gd name="connsiteX1249" fmla="*/ 1219003 w 3716428"/>
                  <a:gd name="connsiteY1249" fmla="*/ 587461 h 1528729"/>
                  <a:gd name="connsiteX1250" fmla="*/ 1167708 w 3716428"/>
                  <a:gd name="connsiteY1250" fmla="*/ 600684 h 1528729"/>
                  <a:gd name="connsiteX1251" fmla="*/ 1165542 w 3716428"/>
                  <a:gd name="connsiteY1251" fmla="*/ 551270 h 1528729"/>
                  <a:gd name="connsiteX1252" fmla="*/ 1180087 w 3716428"/>
                  <a:gd name="connsiteY1252" fmla="*/ 529680 h 1528729"/>
                  <a:gd name="connsiteX1253" fmla="*/ 1172382 w 3716428"/>
                  <a:gd name="connsiteY1253" fmla="*/ 517985 h 1528729"/>
                  <a:gd name="connsiteX1254" fmla="*/ 1165485 w 3716428"/>
                  <a:gd name="connsiteY1254" fmla="*/ 512285 h 1528729"/>
                  <a:gd name="connsiteX1255" fmla="*/ 1162180 w 3716428"/>
                  <a:gd name="connsiteY1255" fmla="*/ 502539 h 1528729"/>
                  <a:gd name="connsiteX1256" fmla="*/ 1154657 w 3716428"/>
                  <a:gd name="connsiteY1256" fmla="*/ 497809 h 1528729"/>
                  <a:gd name="connsiteX1257" fmla="*/ 1160356 w 3716428"/>
                  <a:gd name="connsiteY1257" fmla="*/ 485954 h 1528729"/>
                  <a:gd name="connsiteX1258" fmla="*/ 1187770 w 3716428"/>
                  <a:gd name="connsiteY1258" fmla="*/ 466804 h 1528729"/>
                  <a:gd name="connsiteX1259" fmla="*/ 1194610 w 3716428"/>
                  <a:gd name="connsiteY1259" fmla="*/ 459052 h 1528729"/>
                  <a:gd name="connsiteX1260" fmla="*/ 1194610 w 3716428"/>
                  <a:gd name="connsiteY1260" fmla="*/ 453353 h 1528729"/>
                  <a:gd name="connsiteX1261" fmla="*/ 1191817 w 3716428"/>
                  <a:gd name="connsiteY1261" fmla="*/ 435456 h 1528729"/>
                  <a:gd name="connsiteX1262" fmla="*/ 1209941 w 3716428"/>
                  <a:gd name="connsiteY1262" fmla="*/ 446855 h 1528729"/>
                  <a:gd name="connsiteX1263" fmla="*/ 1199226 w 3716428"/>
                  <a:gd name="connsiteY1263" fmla="*/ 469653 h 1528729"/>
                  <a:gd name="connsiteX1264" fmla="*/ 1204014 w 3716428"/>
                  <a:gd name="connsiteY1264" fmla="*/ 479741 h 1528729"/>
                  <a:gd name="connsiteX1265" fmla="*/ 1203387 w 3716428"/>
                  <a:gd name="connsiteY1265" fmla="*/ 491596 h 1528729"/>
                  <a:gd name="connsiteX1266" fmla="*/ 1215698 w 3716428"/>
                  <a:gd name="connsiteY1266" fmla="*/ 502425 h 1528729"/>
                  <a:gd name="connsiteX1267" fmla="*/ 1232796 w 3716428"/>
                  <a:gd name="connsiteY1267" fmla="*/ 501798 h 1528729"/>
                  <a:gd name="connsiteX1268" fmla="*/ 1276625 w 3716428"/>
                  <a:gd name="connsiteY1268" fmla="*/ 521803 h 1528729"/>
                  <a:gd name="connsiteX1269" fmla="*/ 1266651 w 3716428"/>
                  <a:gd name="connsiteY1269" fmla="*/ 512741 h 1528729"/>
                  <a:gd name="connsiteX1270" fmla="*/ 1257988 w 3716428"/>
                  <a:gd name="connsiteY1270" fmla="*/ 503052 h 1528729"/>
                  <a:gd name="connsiteX1271" fmla="*/ 1224304 w 3716428"/>
                  <a:gd name="connsiteY1271" fmla="*/ 482021 h 1528729"/>
                  <a:gd name="connsiteX1272" fmla="*/ 1220998 w 3716428"/>
                  <a:gd name="connsiteY1272" fmla="*/ 474441 h 1528729"/>
                  <a:gd name="connsiteX1273" fmla="*/ 1235931 w 3716428"/>
                  <a:gd name="connsiteY1273" fmla="*/ 472446 h 1528729"/>
                  <a:gd name="connsiteX1274" fmla="*/ 1266936 w 3716428"/>
                  <a:gd name="connsiteY1274" fmla="*/ 487835 h 1528729"/>
                  <a:gd name="connsiteX1275" fmla="*/ 1268931 w 3716428"/>
                  <a:gd name="connsiteY1275" fmla="*/ 472674 h 1528729"/>
                  <a:gd name="connsiteX1276" fmla="*/ 1253941 w 3716428"/>
                  <a:gd name="connsiteY1276" fmla="*/ 463954 h 1528729"/>
                  <a:gd name="connsiteX1277" fmla="*/ 1239807 w 3716428"/>
                  <a:gd name="connsiteY1277" fmla="*/ 454037 h 1528729"/>
                  <a:gd name="connsiteX1278" fmla="*/ 1239237 w 3716428"/>
                  <a:gd name="connsiteY1278" fmla="*/ 450275 h 1528729"/>
                  <a:gd name="connsiteX1279" fmla="*/ 1242485 w 3716428"/>
                  <a:gd name="connsiteY1279" fmla="*/ 447539 h 1528729"/>
                  <a:gd name="connsiteX1280" fmla="*/ 1250465 w 3716428"/>
                  <a:gd name="connsiteY1280" fmla="*/ 443835 h 1528729"/>
                  <a:gd name="connsiteX1281" fmla="*/ 1256164 w 3716428"/>
                  <a:gd name="connsiteY1281" fmla="*/ 442581 h 1528729"/>
                  <a:gd name="connsiteX1282" fmla="*/ 1261009 w 3716428"/>
                  <a:gd name="connsiteY1282" fmla="*/ 446000 h 1528729"/>
                  <a:gd name="connsiteX1283" fmla="*/ 1302330 w 3716428"/>
                  <a:gd name="connsiteY1283" fmla="*/ 453410 h 1528729"/>
                  <a:gd name="connsiteX1284" fmla="*/ 1340801 w 3716428"/>
                  <a:gd name="connsiteY1284" fmla="*/ 483446 h 1528729"/>
                  <a:gd name="connsiteX1285" fmla="*/ 1351231 w 3716428"/>
                  <a:gd name="connsiteY1285" fmla="*/ 484301 h 1528729"/>
                  <a:gd name="connsiteX1286" fmla="*/ 1357729 w 3716428"/>
                  <a:gd name="connsiteY1286" fmla="*/ 458311 h 1528729"/>
                  <a:gd name="connsiteX1287" fmla="*/ 1323874 w 3716428"/>
                  <a:gd name="connsiteY1287" fmla="*/ 446399 h 1528729"/>
                  <a:gd name="connsiteX1288" fmla="*/ 1319884 w 3716428"/>
                  <a:gd name="connsiteY1288" fmla="*/ 440700 h 1528729"/>
                  <a:gd name="connsiteX1289" fmla="*/ 1321822 w 3716428"/>
                  <a:gd name="connsiteY1289" fmla="*/ 433975 h 1528729"/>
                  <a:gd name="connsiteX1290" fmla="*/ 1314698 w 3716428"/>
                  <a:gd name="connsiteY1290" fmla="*/ 420866 h 1528729"/>
                  <a:gd name="connsiteX1291" fmla="*/ 1323475 w 3716428"/>
                  <a:gd name="connsiteY1291" fmla="*/ 405420 h 1528729"/>
                  <a:gd name="connsiteX1292" fmla="*/ 1343138 w 3716428"/>
                  <a:gd name="connsiteY1292" fmla="*/ 405933 h 1528729"/>
                  <a:gd name="connsiteX1293" fmla="*/ 1362744 w 3716428"/>
                  <a:gd name="connsiteY1293" fmla="*/ 405933 h 1528729"/>
                  <a:gd name="connsiteX1294" fmla="*/ 1374998 w 3716428"/>
                  <a:gd name="connsiteY1294" fmla="*/ 398866 h 1528729"/>
                  <a:gd name="connsiteX1295" fmla="*/ 1397112 w 3716428"/>
                  <a:gd name="connsiteY1295" fmla="*/ 394648 h 1528729"/>
                  <a:gd name="connsiteX1296" fmla="*/ 1445273 w 3716428"/>
                  <a:gd name="connsiteY1296" fmla="*/ 387980 h 1528729"/>
                  <a:gd name="connsiteX1297" fmla="*/ 1450972 w 3716428"/>
                  <a:gd name="connsiteY1297" fmla="*/ 385529 h 1528729"/>
                  <a:gd name="connsiteX1298" fmla="*/ 1453138 w 3716428"/>
                  <a:gd name="connsiteY1298" fmla="*/ 378120 h 1528729"/>
                  <a:gd name="connsiteX1299" fmla="*/ 1457298 w 3716428"/>
                  <a:gd name="connsiteY1299" fmla="*/ 343923 h 1528729"/>
                  <a:gd name="connsiteX1300" fmla="*/ 1459692 w 3716428"/>
                  <a:gd name="connsiteY1300" fmla="*/ 337027 h 1528729"/>
                  <a:gd name="connsiteX1301" fmla="*/ 1472573 w 3716428"/>
                  <a:gd name="connsiteY1301" fmla="*/ 330586 h 1528729"/>
                  <a:gd name="connsiteX1302" fmla="*/ 1525521 w 3716428"/>
                  <a:gd name="connsiteY1302" fmla="*/ 311607 h 1528729"/>
                  <a:gd name="connsiteX1303" fmla="*/ 1558407 w 3716428"/>
                  <a:gd name="connsiteY1303" fmla="*/ 293768 h 1528729"/>
                  <a:gd name="connsiteX1304" fmla="*/ 1585024 w 3716428"/>
                  <a:gd name="connsiteY1304" fmla="*/ 291203 h 1528729"/>
                  <a:gd name="connsiteX1305" fmla="*/ 1608220 w 3716428"/>
                  <a:gd name="connsiteY1305" fmla="*/ 293996 h 1528729"/>
                  <a:gd name="connsiteX1306" fmla="*/ 1623666 w 3716428"/>
                  <a:gd name="connsiteY1306" fmla="*/ 300607 h 1528729"/>
                  <a:gd name="connsiteX1307" fmla="*/ 1657863 w 3716428"/>
                  <a:gd name="connsiteY1307" fmla="*/ 285503 h 1528729"/>
                  <a:gd name="connsiteX1308" fmla="*/ 1692744 w 3716428"/>
                  <a:gd name="connsiteY1308" fmla="*/ 276213 h 1528729"/>
                  <a:gd name="connsiteX1309" fmla="*/ 1694283 w 3716428"/>
                  <a:gd name="connsiteY1309" fmla="*/ 312006 h 1528729"/>
                  <a:gd name="connsiteX1310" fmla="*/ 1657977 w 3716428"/>
                  <a:gd name="connsiteY1310" fmla="*/ 330187 h 1528729"/>
                  <a:gd name="connsiteX1311" fmla="*/ 1646236 w 3716428"/>
                  <a:gd name="connsiteY1311" fmla="*/ 344778 h 1528729"/>
                  <a:gd name="connsiteX1312" fmla="*/ 1651308 w 3716428"/>
                  <a:gd name="connsiteY1312" fmla="*/ 351047 h 1528729"/>
                  <a:gd name="connsiteX1313" fmla="*/ 1651308 w 3716428"/>
                  <a:gd name="connsiteY1313" fmla="*/ 362446 h 1528729"/>
                  <a:gd name="connsiteX1314" fmla="*/ 1657008 w 3716428"/>
                  <a:gd name="connsiteY1314" fmla="*/ 364498 h 1528729"/>
                  <a:gd name="connsiteX1315" fmla="*/ 1679806 w 3716428"/>
                  <a:gd name="connsiteY1315" fmla="*/ 359311 h 1528729"/>
                  <a:gd name="connsiteX1316" fmla="*/ 1691205 w 3716428"/>
                  <a:gd name="connsiteY1316" fmla="*/ 343467 h 1528729"/>
                  <a:gd name="connsiteX1317" fmla="*/ 1705340 w 3716428"/>
                  <a:gd name="connsiteY1317" fmla="*/ 337369 h 1528729"/>
                  <a:gd name="connsiteX1318" fmla="*/ 1711780 w 3716428"/>
                  <a:gd name="connsiteY1318" fmla="*/ 330529 h 1528729"/>
                  <a:gd name="connsiteX1319" fmla="*/ 1728080 w 3716428"/>
                  <a:gd name="connsiteY1319" fmla="*/ 288923 h 1528729"/>
                  <a:gd name="connsiteX1320" fmla="*/ 1695992 w 3716428"/>
                  <a:gd name="connsiteY1320" fmla="*/ 265156 h 1528729"/>
                  <a:gd name="connsiteX1321" fmla="*/ 1709386 w 3716428"/>
                  <a:gd name="connsiteY1321" fmla="*/ 262591 h 1528729"/>
                  <a:gd name="connsiteX1322" fmla="*/ 1731557 w 3716428"/>
                  <a:gd name="connsiteY1322" fmla="*/ 260483 h 1528729"/>
                  <a:gd name="connsiteX1323" fmla="*/ 1732925 w 3716428"/>
                  <a:gd name="connsiteY1323" fmla="*/ 235861 h 1528729"/>
                  <a:gd name="connsiteX1324" fmla="*/ 1742272 w 3716428"/>
                  <a:gd name="connsiteY1324" fmla="*/ 228281 h 1528729"/>
                  <a:gd name="connsiteX1325" fmla="*/ 1744495 w 3716428"/>
                  <a:gd name="connsiteY1325" fmla="*/ 217566 h 1528729"/>
                  <a:gd name="connsiteX1326" fmla="*/ 1760624 w 3716428"/>
                  <a:gd name="connsiteY1326" fmla="*/ 208959 h 1528729"/>
                  <a:gd name="connsiteX1327" fmla="*/ 1762334 w 3716428"/>
                  <a:gd name="connsiteY1327" fmla="*/ 204913 h 1528729"/>
                  <a:gd name="connsiteX1328" fmla="*/ 1766381 w 3716428"/>
                  <a:gd name="connsiteY1328" fmla="*/ 203146 h 1528729"/>
                  <a:gd name="connsiteX1329" fmla="*/ 1791630 w 3716428"/>
                  <a:gd name="connsiteY1329" fmla="*/ 198130 h 1528729"/>
                  <a:gd name="connsiteX1330" fmla="*/ 1801547 w 3716428"/>
                  <a:gd name="connsiteY1330" fmla="*/ 197560 h 1528729"/>
                  <a:gd name="connsiteX1331" fmla="*/ 1812091 w 3716428"/>
                  <a:gd name="connsiteY1331" fmla="*/ 202405 h 1528729"/>
                  <a:gd name="connsiteX1332" fmla="*/ 1825827 w 3716428"/>
                  <a:gd name="connsiteY1332" fmla="*/ 205597 h 1528729"/>
                  <a:gd name="connsiteX1333" fmla="*/ 1831811 w 3716428"/>
                  <a:gd name="connsiteY1333" fmla="*/ 216540 h 1528729"/>
                  <a:gd name="connsiteX1334" fmla="*/ 1815795 w 3716428"/>
                  <a:gd name="connsiteY1334" fmla="*/ 220985 h 1528729"/>
                  <a:gd name="connsiteX1335" fmla="*/ 1800122 w 3716428"/>
                  <a:gd name="connsiteY1335" fmla="*/ 226229 h 1528729"/>
                  <a:gd name="connsiteX1336" fmla="*/ 1806220 w 3716428"/>
                  <a:gd name="connsiteY1336" fmla="*/ 237172 h 1528729"/>
                  <a:gd name="connsiteX1337" fmla="*/ 1814028 w 3716428"/>
                  <a:gd name="connsiteY1337" fmla="*/ 229591 h 1528729"/>
                  <a:gd name="connsiteX1338" fmla="*/ 1820811 w 3716428"/>
                  <a:gd name="connsiteY1338" fmla="*/ 230674 h 1528729"/>
                  <a:gd name="connsiteX1339" fmla="*/ 1858427 w 3716428"/>
                  <a:gd name="connsiteY1339" fmla="*/ 237001 h 1528729"/>
                  <a:gd name="connsiteX1340" fmla="*/ 1857744 w 3716428"/>
                  <a:gd name="connsiteY1340" fmla="*/ 245550 h 1528729"/>
                  <a:gd name="connsiteX1341" fmla="*/ 1853184 w 3716428"/>
                  <a:gd name="connsiteY1341" fmla="*/ 248571 h 1528729"/>
                  <a:gd name="connsiteX1342" fmla="*/ 1844749 w 3716428"/>
                  <a:gd name="connsiteY1342" fmla="*/ 263617 h 1528729"/>
                  <a:gd name="connsiteX1343" fmla="*/ 1880086 w 3716428"/>
                  <a:gd name="connsiteY1343" fmla="*/ 264757 h 1528729"/>
                  <a:gd name="connsiteX1344" fmla="*/ 1902884 w 3716428"/>
                  <a:gd name="connsiteY1344" fmla="*/ 249654 h 1528729"/>
                  <a:gd name="connsiteX1345" fmla="*/ 1932692 w 3716428"/>
                  <a:gd name="connsiteY1345" fmla="*/ 258260 h 1528729"/>
                  <a:gd name="connsiteX1346" fmla="*/ 1962557 w 3716428"/>
                  <a:gd name="connsiteY1346" fmla="*/ 261167 h 1528729"/>
                  <a:gd name="connsiteX1347" fmla="*/ 1978686 w 3716428"/>
                  <a:gd name="connsiteY1347" fmla="*/ 268519 h 1528729"/>
                  <a:gd name="connsiteX1348" fmla="*/ 1978288 w 3716428"/>
                  <a:gd name="connsiteY1348" fmla="*/ 278493 h 1528729"/>
                  <a:gd name="connsiteX1349" fmla="*/ 1996127 w 3716428"/>
                  <a:gd name="connsiteY1349" fmla="*/ 288296 h 1528729"/>
                  <a:gd name="connsiteX1350" fmla="*/ 2007526 w 3716428"/>
                  <a:gd name="connsiteY1350" fmla="*/ 291773 h 1528729"/>
                  <a:gd name="connsiteX1351" fmla="*/ 2007526 w 3716428"/>
                  <a:gd name="connsiteY1351" fmla="*/ 298441 h 1528729"/>
                  <a:gd name="connsiteX1352" fmla="*/ 1998977 w 3716428"/>
                  <a:gd name="connsiteY1352" fmla="*/ 308928 h 1528729"/>
                  <a:gd name="connsiteX1353" fmla="*/ 2003593 w 3716428"/>
                  <a:gd name="connsiteY1353" fmla="*/ 313317 h 1528729"/>
                  <a:gd name="connsiteX1354" fmla="*/ 1997893 w 3716428"/>
                  <a:gd name="connsiteY1354" fmla="*/ 321809 h 1528729"/>
                  <a:gd name="connsiteX1355" fmla="*/ 1986494 w 3716428"/>
                  <a:gd name="connsiteY1355" fmla="*/ 324260 h 1528729"/>
                  <a:gd name="connsiteX1356" fmla="*/ 1976008 w 3716428"/>
                  <a:gd name="connsiteY1356" fmla="*/ 335659 h 1528729"/>
                  <a:gd name="connsiteX1357" fmla="*/ 1969567 w 3716428"/>
                  <a:gd name="connsiteY1357" fmla="*/ 337881 h 1528729"/>
                  <a:gd name="connsiteX1358" fmla="*/ 1963868 w 3716428"/>
                  <a:gd name="connsiteY1358" fmla="*/ 345348 h 1528729"/>
                  <a:gd name="connsiteX1359" fmla="*/ 1953039 w 3716428"/>
                  <a:gd name="connsiteY1359" fmla="*/ 352016 h 1528729"/>
                  <a:gd name="connsiteX1360" fmla="*/ 1930355 w 3716428"/>
                  <a:gd name="connsiteY1360" fmla="*/ 360565 h 1528729"/>
                  <a:gd name="connsiteX1361" fmla="*/ 1912230 w 3716428"/>
                  <a:gd name="connsiteY1361" fmla="*/ 371964 h 1528729"/>
                  <a:gd name="connsiteX1362" fmla="*/ 1906018 w 3716428"/>
                  <a:gd name="connsiteY1362" fmla="*/ 378405 h 1528729"/>
                  <a:gd name="connsiteX1363" fmla="*/ 1900318 w 3716428"/>
                  <a:gd name="connsiteY1363" fmla="*/ 379602 h 1528729"/>
                  <a:gd name="connsiteX1364" fmla="*/ 1894163 w 3716428"/>
                  <a:gd name="connsiteY1364" fmla="*/ 383591 h 1528729"/>
                  <a:gd name="connsiteX1365" fmla="*/ 1869712 w 3716428"/>
                  <a:gd name="connsiteY1365" fmla="*/ 392026 h 1528729"/>
                  <a:gd name="connsiteX1366" fmla="*/ 1860821 w 3716428"/>
                  <a:gd name="connsiteY1366" fmla="*/ 394306 h 1528729"/>
                  <a:gd name="connsiteX1367" fmla="*/ 1858656 w 3716428"/>
                  <a:gd name="connsiteY1367" fmla="*/ 399151 h 1528729"/>
                  <a:gd name="connsiteX1368" fmla="*/ 1842640 w 3716428"/>
                  <a:gd name="connsiteY1368" fmla="*/ 408954 h 1528729"/>
                  <a:gd name="connsiteX1369" fmla="*/ 1830101 w 3716428"/>
                  <a:gd name="connsiteY1369" fmla="*/ 427876 h 1528729"/>
                  <a:gd name="connsiteX1370" fmla="*/ 1833178 w 3716428"/>
                  <a:gd name="connsiteY1370" fmla="*/ 437850 h 1528729"/>
                  <a:gd name="connsiteX1371" fmla="*/ 1839334 w 3716428"/>
                  <a:gd name="connsiteY1371" fmla="*/ 425026 h 1528729"/>
                  <a:gd name="connsiteX1372" fmla="*/ 1843951 w 3716428"/>
                  <a:gd name="connsiteY1372" fmla="*/ 424001 h 1528729"/>
                  <a:gd name="connsiteX1373" fmla="*/ 1864868 w 3716428"/>
                  <a:gd name="connsiteY1373" fmla="*/ 423374 h 1528729"/>
                  <a:gd name="connsiteX1374" fmla="*/ 1922888 w 3716428"/>
                  <a:gd name="connsiteY1374" fmla="*/ 404109 h 1528729"/>
                  <a:gd name="connsiteX1375" fmla="*/ 1930412 w 3716428"/>
                  <a:gd name="connsiteY1375" fmla="*/ 405021 h 1528729"/>
                  <a:gd name="connsiteX1376" fmla="*/ 1935370 w 3716428"/>
                  <a:gd name="connsiteY1376" fmla="*/ 400120 h 1528729"/>
                  <a:gd name="connsiteX1377" fmla="*/ 1922375 w 3716428"/>
                  <a:gd name="connsiteY1377" fmla="*/ 394420 h 1528729"/>
                  <a:gd name="connsiteX1378" fmla="*/ 1917987 w 3716428"/>
                  <a:gd name="connsiteY1378" fmla="*/ 383648 h 1528729"/>
                  <a:gd name="connsiteX1379" fmla="*/ 1939531 w 3716428"/>
                  <a:gd name="connsiteY1379" fmla="*/ 378747 h 1528729"/>
                  <a:gd name="connsiteX1380" fmla="*/ 1943064 w 3716428"/>
                  <a:gd name="connsiteY1380" fmla="*/ 378747 h 1528729"/>
                  <a:gd name="connsiteX1381" fmla="*/ 1946997 w 3716428"/>
                  <a:gd name="connsiteY1381" fmla="*/ 381311 h 1528729"/>
                  <a:gd name="connsiteX1382" fmla="*/ 1968484 w 3716428"/>
                  <a:gd name="connsiteY1382" fmla="*/ 393907 h 1528729"/>
                  <a:gd name="connsiteX1383" fmla="*/ 1977033 w 3716428"/>
                  <a:gd name="connsiteY1383" fmla="*/ 402680 h 1528729"/>
                  <a:gd name="connsiteX1384" fmla="*/ 1984614 w 3716428"/>
                  <a:gd name="connsiteY1384" fmla="*/ 398410 h 1528729"/>
                  <a:gd name="connsiteX1385" fmla="*/ 1987407 w 3716428"/>
                  <a:gd name="connsiteY1385" fmla="*/ 389120 h 1528729"/>
                  <a:gd name="connsiteX1386" fmla="*/ 1994872 w 3716428"/>
                  <a:gd name="connsiteY1386" fmla="*/ 385073 h 1528729"/>
                  <a:gd name="connsiteX1387" fmla="*/ 1996070 w 3716428"/>
                  <a:gd name="connsiteY1387" fmla="*/ 399721 h 1528729"/>
                  <a:gd name="connsiteX1388" fmla="*/ 1996070 w 3716428"/>
                  <a:gd name="connsiteY1388" fmla="*/ 414539 h 1528729"/>
                  <a:gd name="connsiteX1389" fmla="*/ 2008267 w 3716428"/>
                  <a:gd name="connsiteY1389" fmla="*/ 417332 h 1528729"/>
                  <a:gd name="connsiteX1390" fmla="*/ 2009578 w 3716428"/>
                  <a:gd name="connsiteY1390" fmla="*/ 402513 h 1528729"/>
                  <a:gd name="connsiteX1391" fmla="*/ 2019893 w 3716428"/>
                  <a:gd name="connsiteY1391" fmla="*/ 397327 h 1528729"/>
                  <a:gd name="connsiteX1392" fmla="*/ 2032033 w 3716428"/>
                  <a:gd name="connsiteY1392" fmla="*/ 399151 h 1528729"/>
                  <a:gd name="connsiteX1393" fmla="*/ 2044173 w 3716428"/>
                  <a:gd name="connsiteY1393" fmla="*/ 397897 h 1528729"/>
                  <a:gd name="connsiteX1394" fmla="*/ 2089769 w 3716428"/>
                  <a:gd name="connsiteY1394" fmla="*/ 412317 h 1528729"/>
                  <a:gd name="connsiteX1395" fmla="*/ 2106867 w 3716428"/>
                  <a:gd name="connsiteY1395" fmla="*/ 411291 h 1528729"/>
                  <a:gd name="connsiteX1396" fmla="*/ 2113365 w 3716428"/>
                  <a:gd name="connsiteY1396" fmla="*/ 415280 h 1528729"/>
                  <a:gd name="connsiteX1397" fmla="*/ 2122940 w 3716428"/>
                  <a:gd name="connsiteY1397" fmla="*/ 420068 h 1528729"/>
                  <a:gd name="connsiteX1398" fmla="*/ 2157137 w 3716428"/>
                  <a:gd name="connsiteY1398" fmla="*/ 430042 h 1528729"/>
                  <a:gd name="connsiteX1399" fmla="*/ 2219261 w 3716428"/>
                  <a:gd name="connsiteY1399" fmla="*/ 431752 h 1528729"/>
                  <a:gd name="connsiteX1400" fmla="*/ 2218406 w 3716428"/>
                  <a:gd name="connsiteY1400" fmla="*/ 414653 h 1528729"/>
                  <a:gd name="connsiteX1401" fmla="*/ 2231971 w 3716428"/>
                  <a:gd name="connsiteY1401" fmla="*/ 407472 h 1528729"/>
                  <a:gd name="connsiteX1402" fmla="*/ 2285204 w 3716428"/>
                  <a:gd name="connsiteY1402" fmla="*/ 420467 h 1528729"/>
                  <a:gd name="connsiteX1403" fmla="*/ 2302131 w 3716428"/>
                  <a:gd name="connsiteY1403" fmla="*/ 435542 h 1528729"/>
                  <a:gd name="connsiteX1404" fmla="*/ 2306976 w 3716428"/>
                  <a:gd name="connsiteY1404" fmla="*/ 434488 h 1528729"/>
                  <a:gd name="connsiteX1405" fmla="*/ 2320598 w 3716428"/>
                  <a:gd name="connsiteY1405" fmla="*/ 429244 h 1528729"/>
                  <a:gd name="connsiteX1406" fmla="*/ 2327722 w 3716428"/>
                  <a:gd name="connsiteY1406" fmla="*/ 435684 h 1528729"/>
                  <a:gd name="connsiteX1407" fmla="*/ 2334960 w 3716428"/>
                  <a:gd name="connsiteY1407" fmla="*/ 443037 h 1528729"/>
                  <a:gd name="connsiteX1408" fmla="*/ 2333421 w 3716428"/>
                  <a:gd name="connsiteY1408" fmla="*/ 452042 h 1528729"/>
                  <a:gd name="connsiteX1409" fmla="*/ 2348012 w 3716428"/>
                  <a:gd name="connsiteY1409" fmla="*/ 457171 h 1528729"/>
                  <a:gd name="connsiteX1410" fmla="*/ 2343567 w 3716428"/>
                  <a:gd name="connsiteY1410" fmla="*/ 464752 h 1528729"/>
                  <a:gd name="connsiteX1411" fmla="*/ 2332909 w 3716428"/>
                  <a:gd name="connsiteY1411" fmla="*/ 460819 h 1528729"/>
                  <a:gd name="connsiteX1412" fmla="*/ 2323276 w 3716428"/>
                  <a:gd name="connsiteY1412" fmla="*/ 463840 h 1528729"/>
                  <a:gd name="connsiteX1413" fmla="*/ 2328976 w 3716428"/>
                  <a:gd name="connsiteY1413" fmla="*/ 471990 h 1528729"/>
                  <a:gd name="connsiteX1414" fmla="*/ 2360095 w 3716428"/>
                  <a:gd name="connsiteY1414" fmla="*/ 510747 h 1528729"/>
                  <a:gd name="connsiteX1415" fmla="*/ 2378561 w 3716428"/>
                  <a:gd name="connsiteY1415" fmla="*/ 518099 h 1528729"/>
                  <a:gd name="connsiteX1416" fmla="*/ 2381639 w 3716428"/>
                  <a:gd name="connsiteY1416" fmla="*/ 524767 h 1528729"/>
                  <a:gd name="connsiteX1417" fmla="*/ 2400733 w 3716428"/>
                  <a:gd name="connsiteY1417" fmla="*/ 529726 h 1528729"/>
                  <a:gd name="connsiteX1418" fmla="*/ 2396857 w 3716428"/>
                  <a:gd name="connsiteY1418" fmla="*/ 519182 h 1528729"/>
                  <a:gd name="connsiteX1419" fmla="*/ 2413328 w 3716428"/>
                  <a:gd name="connsiteY1419" fmla="*/ 495985 h 1528729"/>
                  <a:gd name="connsiteX1420" fmla="*/ 2437437 w 3716428"/>
                  <a:gd name="connsiteY1420" fmla="*/ 497581 h 1528729"/>
                  <a:gd name="connsiteX1421" fmla="*/ 2491183 w 3716428"/>
                  <a:gd name="connsiteY1421" fmla="*/ 512285 h 1528729"/>
                  <a:gd name="connsiteX1422" fmla="*/ 2524126 w 3716428"/>
                  <a:gd name="connsiteY1422" fmla="*/ 509493 h 1528729"/>
                  <a:gd name="connsiteX1423" fmla="*/ 2531022 w 3716428"/>
                  <a:gd name="connsiteY1423" fmla="*/ 506358 h 1528729"/>
                  <a:gd name="connsiteX1424" fmla="*/ 2544245 w 3716428"/>
                  <a:gd name="connsiteY1424" fmla="*/ 509151 h 1528729"/>
                  <a:gd name="connsiteX1425" fmla="*/ 2548462 w 3716428"/>
                  <a:gd name="connsiteY1425" fmla="*/ 504135 h 1528729"/>
                  <a:gd name="connsiteX1426" fmla="*/ 2569095 w 3716428"/>
                  <a:gd name="connsiteY1426" fmla="*/ 502425 h 1528729"/>
                  <a:gd name="connsiteX1427" fmla="*/ 2581007 w 3716428"/>
                  <a:gd name="connsiteY1427" fmla="*/ 494389 h 1528729"/>
                  <a:gd name="connsiteX1428" fmla="*/ 2588359 w 3716428"/>
                  <a:gd name="connsiteY1428" fmla="*/ 486809 h 1528729"/>
                  <a:gd name="connsiteX1429" fmla="*/ 2572856 w 3716428"/>
                  <a:gd name="connsiteY1429" fmla="*/ 474954 h 1528729"/>
                  <a:gd name="connsiteX1430" fmla="*/ 2582147 w 3716428"/>
                  <a:gd name="connsiteY1430" fmla="*/ 464923 h 1528729"/>
                  <a:gd name="connsiteX1431" fmla="*/ 2575136 w 3716428"/>
                  <a:gd name="connsiteY1431" fmla="*/ 460990 h 1528729"/>
                  <a:gd name="connsiteX1432" fmla="*/ 2577017 w 3716428"/>
                  <a:gd name="connsiteY1432" fmla="*/ 449990 h 1528729"/>
                  <a:gd name="connsiteX1433" fmla="*/ 2589499 w 3716428"/>
                  <a:gd name="connsiteY1433" fmla="*/ 447881 h 1528729"/>
                  <a:gd name="connsiteX1434" fmla="*/ 2603805 w 3716428"/>
                  <a:gd name="connsiteY1434" fmla="*/ 448394 h 1528729"/>
                  <a:gd name="connsiteX1435" fmla="*/ 2600214 w 3716428"/>
                  <a:gd name="connsiteY1435" fmla="*/ 439617 h 1528729"/>
                  <a:gd name="connsiteX1436" fmla="*/ 2607167 w 3716428"/>
                  <a:gd name="connsiteY1436" fmla="*/ 431467 h 1528729"/>
                  <a:gd name="connsiteX1437" fmla="*/ 2618566 w 3716428"/>
                  <a:gd name="connsiteY1437" fmla="*/ 433918 h 1528729"/>
                  <a:gd name="connsiteX1438" fmla="*/ 2629623 w 3716428"/>
                  <a:gd name="connsiteY1438" fmla="*/ 438021 h 1528729"/>
                  <a:gd name="connsiteX1439" fmla="*/ 2638857 w 3716428"/>
                  <a:gd name="connsiteY1439" fmla="*/ 437394 h 1528729"/>
                  <a:gd name="connsiteX1440" fmla="*/ 2654188 w 3716428"/>
                  <a:gd name="connsiteY1440" fmla="*/ 436710 h 1528729"/>
                  <a:gd name="connsiteX1441" fmla="*/ 2665929 w 3716428"/>
                  <a:gd name="connsiteY1441" fmla="*/ 439959 h 1528729"/>
                  <a:gd name="connsiteX1442" fmla="*/ 2668779 w 3716428"/>
                  <a:gd name="connsiteY1442" fmla="*/ 450845 h 1528729"/>
                  <a:gd name="connsiteX1443" fmla="*/ 2677271 w 3716428"/>
                  <a:gd name="connsiteY1443" fmla="*/ 451586 h 1528729"/>
                  <a:gd name="connsiteX1444" fmla="*/ 2681830 w 3716428"/>
                  <a:gd name="connsiteY1444" fmla="*/ 458197 h 1528729"/>
                  <a:gd name="connsiteX1445" fmla="*/ 2681830 w 3716428"/>
                  <a:gd name="connsiteY1445" fmla="*/ 460705 h 1528729"/>
                  <a:gd name="connsiteX1446" fmla="*/ 2683882 w 3716428"/>
                  <a:gd name="connsiteY1446" fmla="*/ 462244 h 1528729"/>
                  <a:gd name="connsiteX1447" fmla="*/ 2709587 w 3716428"/>
                  <a:gd name="connsiteY1447" fmla="*/ 467943 h 1528729"/>
                  <a:gd name="connsiteX1448" fmla="*/ 2707136 w 3716428"/>
                  <a:gd name="connsiteY1448" fmla="*/ 476151 h 1528729"/>
                  <a:gd name="connsiteX1449" fmla="*/ 2696478 w 3716428"/>
                  <a:gd name="connsiteY1449" fmla="*/ 476778 h 1528729"/>
                  <a:gd name="connsiteX1450" fmla="*/ 2690152 w 3716428"/>
                  <a:gd name="connsiteY1450" fmla="*/ 483674 h 1528729"/>
                  <a:gd name="connsiteX1451" fmla="*/ 2702976 w 3716428"/>
                  <a:gd name="connsiteY1451" fmla="*/ 488234 h 1528729"/>
                  <a:gd name="connsiteX1452" fmla="*/ 2704287 w 3716428"/>
                  <a:gd name="connsiteY1452" fmla="*/ 497695 h 1528729"/>
                  <a:gd name="connsiteX1453" fmla="*/ 2706794 w 3716428"/>
                  <a:gd name="connsiteY1453" fmla="*/ 498094 h 1528729"/>
                  <a:gd name="connsiteX1454" fmla="*/ 2714318 w 3716428"/>
                  <a:gd name="connsiteY1454" fmla="*/ 496954 h 1528729"/>
                  <a:gd name="connsiteX1455" fmla="*/ 2718421 w 3716428"/>
                  <a:gd name="connsiteY1455" fmla="*/ 491254 h 1528729"/>
                  <a:gd name="connsiteX1456" fmla="*/ 2718079 w 3716428"/>
                  <a:gd name="connsiteY1456" fmla="*/ 487607 h 1528729"/>
                  <a:gd name="connsiteX1457" fmla="*/ 2728053 w 3716428"/>
                  <a:gd name="connsiteY1457" fmla="*/ 483731 h 1528729"/>
                  <a:gd name="connsiteX1458" fmla="*/ 2729877 w 3716428"/>
                  <a:gd name="connsiteY1458" fmla="*/ 480596 h 1528729"/>
                  <a:gd name="connsiteX1459" fmla="*/ 2732670 w 3716428"/>
                  <a:gd name="connsiteY1459" fmla="*/ 468342 h 1528729"/>
                  <a:gd name="connsiteX1460" fmla="*/ 2733582 w 3716428"/>
                  <a:gd name="connsiteY1460" fmla="*/ 464125 h 1528729"/>
                  <a:gd name="connsiteX1461" fmla="*/ 2742245 w 3716428"/>
                  <a:gd name="connsiteY1461" fmla="*/ 461982 h 1528729"/>
                  <a:gd name="connsiteX1462" fmla="*/ 2744410 w 3716428"/>
                  <a:gd name="connsiteY1462" fmla="*/ 464125 h 1528729"/>
                  <a:gd name="connsiteX1463" fmla="*/ 2747831 w 3716428"/>
                  <a:gd name="connsiteY1463" fmla="*/ 476208 h 1528729"/>
                  <a:gd name="connsiteX1464" fmla="*/ 2753530 w 3716428"/>
                  <a:gd name="connsiteY1464" fmla="*/ 477177 h 1528729"/>
                  <a:gd name="connsiteX1465" fmla="*/ 2763219 w 3716428"/>
                  <a:gd name="connsiteY1465" fmla="*/ 483902 h 1528729"/>
                  <a:gd name="connsiteX1466" fmla="*/ 2775815 w 3716428"/>
                  <a:gd name="connsiteY1466" fmla="*/ 480368 h 1528729"/>
                  <a:gd name="connsiteX1467" fmla="*/ 2800494 w 3716428"/>
                  <a:gd name="connsiteY1467" fmla="*/ 474669 h 1528729"/>
                  <a:gd name="connsiteX1468" fmla="*/ 2799126 w 3716428"/>
                  <a:gd name="connsiteY1468" fmla="*/ 482614 h 1528729"/>
                  <a:gd name="connsiteX1469" fmla="*/ 2798727 w 3716428"/>
                  <a:gd name="connsiteY1469" fmla="*/ 482876 h 1528729"/>
                  <a:gd name="connsiteX1470" fmla="*/ 2793426 w 3716428"/>
                  <a:gd name="connsiteY1470" fmla="*/ 484187 h 1528729"/>
                  <a:gd name="connsiteX1471" fmla="*/ 2790747 w 3716428"/>
                  <a:gd name="connsiteY1471" fmla="*/ 488348 h 1528729"/>
                  <a:gd name="connsiteX1472" fmla="*/ 2792742 w 3716428"/>
                  <a:gd name="connsiteY1472" fmla="*/ 490000 h 1528729"/>
                  <a:gd name="connsiteX1473" fmla="*/ 2809841 w 3716428"/>
                  <a:gd name="connsiteY1473" fmla="*/ 491482 h 1528729"/>
                  <a:gd name="connsiteX1474" fmla="*/ 2812918 w 3716428"/>
                  <a:gd name="connsiteY1474" fmla="*/ 498778 h 1528729"/>
                  <a:gd name="connsiteX1475" fmla="*/ 2826654 w 3716428"/>
                  <a:gd name="connsiteY1475" fmla="*/ 500544 h 1528729"/>
                  <a:gd name="connsiteX1476" fmla="*/ 2831841 w 3716428"/>
                  <a:gd name="connsiteY1476" fmla="*/ 506871 h 1528729"/>
                  <a:gd name="connsiteX1477" fmla="*/ 2835089 w 3716428"/>
                  <a:gd name="connsiteY1477" fmla="*/ 505047 h 1528729"/>
                  <a:gd name="connsiteX1478" fmla="*/ 2847799 w 3716428"/>
                  <a:gd name="connsiteY1478" fmla="*/ 506643 h 1528729"/>
                  <a:gd name="connsiteX1479" fmla="*/ 2850706 w 3716428"/>
                  <a:gd name="connsiteY1479" fmla="*/ 509949 h 1528729"/>
                  <a:gd name="connsiteX1480" fmla="*/ 2854182 w 3716428"/>
                  <a:gd name="connsiteY1480" fmla="*/ 511373 h 1528729"/>
                  <a:gd name="connsiteX1481" fmla="*/ 2855266 w 3716428"/>
                  <a:gd name="connsiteY1481" fmla="*/ 519752 h 1528729"/>
                  <a:gd name="connsiteX1482" fmla="*/ 2862846 w 3716428"/>
                  <a:gd name="connsiteY1482" fmla="*/ 524972 h 1528729"/>
                  <a:gd name="connsiteX1483" fmla="*/ 2864613 w 3716428"/>
                  <a:gd name="connsiteY1483" fmla="*/ 524368 h 1528729"/>
                  <a:gd name="connsiteX1484" fmla="*/ 2933462 w 3716428"/>
                  <a:gd name="connsiteY1484" fmla="*/ 527845 h 1528729"/>
                  <a:gd name="connsiteX1485" fmla="*/ 2951130 w 3716428"/>
                  <a:gd name="connsiteY1485" fmla="*/ 531265 h 1528729"/>
                  <a:gd name="connsiteX1486" fmla="*/ 2961447 w 3716428"/>
                  <a:gd name="connsiteY1486" fmla="*/ 535425 h 1528729"/>
                  <a:gd name="connsiteX1487" fmla="*/ 2984586 w 3716428"/>
                  <a:gd name="connsiteY1487" fmla="*/ 535425 h 1528729"/>
                  <a:gd name="connsiteX1488" fmla="*/ 3018042 w 3716428"/>
                  <a:gd name="connsiteY1488" fmla="*/ 540099 h 1528729"/>
                  <a:gd name="connsiteX1489" fmla="*/ 3026079 w 3716428"/>
                  <a:gd name="connsiteY1489" fmla="*/ 553778 h 1528729"/>
                  <a:gd name="connsiteX1490" fmla="*/ 3022317 w 3716428"/>
                  <a:gd name="connsiteY1490" fmla="*/ 557197 h 1528729"/>
                  <a:gd name="connsiteX1491" fmla="*/ 3023685 w 3716428"/>
                  <a:gd name="connsiteY1491" fmla="*/ 577715 h 1528729"/>
                  <a:gd name="connsiteX1492" fmla="*/ 3044545 w 3716428"/>
                  <a:gd name="connsiteY1492" fmla="*/ 574695 h 1528729"/>
                  <a:gd name="connsiteX1493" fmla="*/ 3050928 w 3716428"/>
                  <a:gd name="connsiteY1493" fmla="*/ 588316 h 1528729"/>
                  <a:gd name="connsiteX1494" fmla="*/ 3053436 w 3716428"/>
                  <a:gd name="connsiteY1494" fmla="*/ 603876 h 1528729"/>
                  <a:gd name="connsiteX1495" fmla="*/ 3061814 w 3716428"/>
                  <a:gd name="connsiteY1495" fmla="*/ 599601 h 1528729"/>
                  <a:gd name="connsiteX1496" fmla="*/ 3063524 w 3716428"/>
                  <a:gd name="connsiteY1496" fmla="*/ 587461 h 1528729"/>
                  <a:gd name="connsiteX1497" fmla="*/ 3069223 w 3716428"/>
                  <a:gd name="connsiteY1497" fmla="*/ 583928 h 1528729"/>
                  <a:gd name="connsiteX1498" fmla="*/ 3141835 w 3716428"/>
                  <a:gd name="connsiteY1498" fmla="*/ 593446 h 1528729"/>
                  <a:gd name="connsiteX1499" fmla="*/ 3147535 w 3716428"/>
                  <a:gd name="connsiteY1499" fmla="*/ 596923 h 1528729"/>
                  <a:gd name="connsiteX1500" fmla="*/ 3155628 w 3716428"/>
                  <a:gd name="connsiteY1500" fmla="*/ 598461 h 1528729"/>
                  <a:gd name="connsiteX1501" fmla="*/ 3197918 w 3716428"/>
                  <a:gd name="connsiteY1501" fmla="*/ 591793 h 1528729"/>
                  <a:gd name="connsiteX1502" fmla="*/ 3207436 w 3716428"/>
                  <a:gd name="connsiteY1502" fmla="*/ 589057 h 1528729"/>
                  <a:gd name="connsiteX1503" fmla="*/ 3210229 w 3716428"/>
                  <a:gd name="connsiteY1503" fmla="*/ 592705 h 1528729"/>
                  <a:gd name="connsiteX1504" fmla="*/ 3217980 w 3716428"/>
                  <a:gd name="connsiteY1504" fmla="*/ 594301 h 1528729"/>
                  <a:gd name="connsiteX1505" fmla="*/ 3237985 w 3716428"/>
                  <a:gd name="connsiteY1505" fmla="*/ 609176 h 1528729"/>
                  <a:gd name="connsiteX1506" fmla="*/ 3252063 w 3716428"/>
                  <a:gd name="connsiteY1506" fmla="*/ 612311 h 1528729"/>
                  <a:gd name="connsiteX1507" fmla="*/ 3270700 w 3716428"/>
                  <a:gd name="connsiteY1507" fmla="*/ 607638 h 1528729"/>
                  <a:gd name="connsiteX1508" fmla="*/ 3273094 w 3716428"/>
                  <a:gd name="connsiteY1508" fmla="*/ 598917 h 1528729"/>
                  <a:gd name="connsiteX1509" fmla="*/ 3260783 w 3716428"/>
                  <a:gd name="connsiteY1509" fmla="*/ 584384 h 1528729"/>
                  <a:gd name="connsiteX1510" fmla="*/ 3250980 w 3716428"/>
                  <a:gd name="connsiteY1510" fmla="*/ 573897 h 1528729"/>
                  <a:gd name="connsiteX1511" fmla="*/ 3265456 w 3716428"/>
                  <a:gd name="connsiteY1511" fmla="*/ 553436 h 1528729"/>
                  <a:gd name="connsiteX1512" fmla="*/ 3269446 w 3716428"/>
                  <a:gd name="connsiteY1512" fmla="*/ 553208 h 1528729"/>
                  <a:gd name="connsiteX1513" fmla="*/ 3279249 w 3716428"/>
                  <a:gd name="connsiteY1513" fmla="*/ 564037 h 1528729"/>
                  <a:gd name="connsiteX1514" fmla="*/ 3290933 w 3716428"/>
                  <a:gd name="connsiteY1514" fmla="*/ 573669 h 1528729"/>
                  <a:gd name="connsiteX1515" fmla="*/ 3330145 w 3716428"/>
                  <a:gd name="connsiteY1515" fmla="*/ 577829 h 1528729"/>
                  <a:gd name="connsiteX1516" fmla="*/ 3386456 w 3716428"/>
                  <a:gd name="connsiteY1516" fmla="*/ 564892 h 1528729"/>
                  <a:gd name="connsiteX1517" fmla="*/ 3389648 w 3716428"/>
                  <a:gd name="connsiteY1517" fmla="*/ 574695 h 1528729"/>
                  <a:gd name="connsiteX1518" fmla="*/ 3434161 w 3716428"/>
                  <a:gd name="connsiteY1518" fmla="*/ 583700 h 1528729"/>
                  <a:gd name="connsiteX1519" fmla="*/ 3442311 w 3716428"/>
                  <a:gd name="connsiteY1519" fmla="*/ 593674 h 1528729"/>
                  <a:gd name="connsiteX1520" fmla="*/ 3457700 w 3716428"/>
                  <a:gd name="connsiteY1520" fmla="*/ 599031 h 1528729"/>
                  <a:gd name="connsiteX1521" fmla="*/ 3463057 w 3716428"/>
                  <a:gd name="connsiteY1521" fmla="*/ 601653 h 1528729"/>
                  <a:gd name="connsiteX1522" fmla="*/ 3465622 w 3716428"/>
                  <a:gd name="connsiteY1522" fmla="*/ 610202 h 1528729"/>
                  <a:gd name="connsiteX1523" fmla="*/ 3475653 w 3716428"/>
                  <a:gd name="connsiteY1523" fmla="*/ 612254 h 1528729"/>
                  <a:gd name="connsiteX1524" fmla="*/ 3479073 w 3716428"/>
                  <a:gd name="connsiteY1524" fmla="*/ 621031 h 1528729"/>
                  <a:gd name="connsiteX1525" fmla="*/ 3475026 w 3716428"/>
                  <a:gd name="connsiteY1525" fmla="*/ 625705 h 1528729"/>
                  <a:gd name="connsiteX1526" fmla="*/ 3480726 w 3716428"/>
                  <a:gd name="connsiteY1526" fmla="*/ 633114 h 1528729"/>
                  <a:gd name="connsiteX1527" fmla="*/ 3482435 w 3716428"/>
                  <a:gd name="connsiteY1527" fmla="*/ 641492 h 1528729"/>
                  <a:gd name="connsiteX1528" fmla="*/ 3491441 w 3716428"/>
                  <a:gd name="connsiteY1528" fmla="*/ 642974 h 1528729"/>
                  <a:gd name="connsiteX1529" fmla="*/ 3500617 w 3716428"/>
                  <a:gd name="connsiteY1529" fmla="*/ 651637 h 1528729"/>
                  <a:gd name="connsiteX1530" fmla="*/ 3507855 w 3716428"/>
                  <a:gd name="connsiteY1530" fmla="*/ 654658 h 1528729"/>
                  <a:gd name="connsiteX1531" fmla="*/ 3558808 w 3716428"/>
                  <a:gd name="connsiteY1531" fmla="*/ 660358 h 1528729"/>
                  <a:gd name="connsiteX1532" fmla="*/ 3569523 w 3716428"/>
                  <a:gd name="connsiteY1532" fmla="*/ 663948 h 1528729"/>
                  <a:gd name="connsiteX1533" fmla="*/ 3574710 w 3716428"/>
                  <a:gd name="connsiteY1533" fmla="*/ 670446 h 1528729"/>
                  <a:gd name="connsiteX1534" fmla="*/ 3578585 w 3716428"/>
                  <a:gd name="connsiteY1534" fmla="*/ 695124 h 1528729"/>
                  <a:gd name="connsiteX1535" fmla="*/ 3584285 w 3716428"/>
                  <a:gd name="connsiteY1535" fmla="*/ 705554 h 1528729"/>
                  <a:gd name="connsiteX1536" fmla="*/ 3601270 w 3716428"/>
                  <a:gd name="connsiteY1536" fmla="*/ 703748 h 1528729"/>
                  <a:gd name="connsiteX1537" fmla="*/ 3601383 w 3716428"/>
                  <a:gd name="connsiteY1537" fmla="*/ 703617 h 1528729"/>
                  <a:gd name="connsiteX1538" fmla="*/ 3602523 w 3716428"/>
                  <a:gd name="connsiteY1538" fmla="*/ 700197 h 1528729"/>
                  <a:gd name="connsiteX1539" fmla="*/ 3596824 w 3716428"/>
                  <a:gd name="connsiteY1539" fmla="*/ 694782 h 1528729"/>
                  <a:gd name="connsiteX1540" fmla="*/ 3594943 w 3716428"/>
                  <a:gd name="connsiteY1540" fmla="*/ 682352 h 1528729"/>
                  <a:gd name="connsiteX1541" fmla="*/ 3607368 w 3716428"/>
                  <a:gd name="connsiteY1541" fmla="*/ 680471 h 1528729"/>
                  <a:gd name="connsiteX1542" fmla="*/ 3610389 w 3716428"/>
                  <a:gd name="connsiteY1542" fmla="*/ 684409 h 1528729"/>
                  <a:gd name="connsiteX1543" fmla="*/ 3612440 w 3716428"/>
                  <a:gd name="connsiteY1543" fmla="*/ 689368 h 1528729"/>
                  <a:gd name="connsiteX1544" fmla="*/ 3621559 w 3716428"/>
                  <a:gd name="connsiteY1544" fmla="*/ 690793 h 1528729"/>
                  <a:gd name="connsiteX1545" fmla="*/ 3631021 w 3716428"/>
                  <a:gd name="connsiteY1545" fmla="*/ 698772 h 1528729"/>
                  <a:gd name="connsiteX1546" fmla="*/ 3669435 w 3716428"/>
                  <a:gd name="connsiteY1546" fmla="*/ 710171 h 1528729"/>
                  <a:gd name="connsiteX1547" fmla="*/ 3675135 w 3716428"/>
                  <a:gd name="connsiteY1547" fmla="*/ 715016 h 1528729"/>
                  <a:gd name="connsiteX1548" fmla="*/ 3675135 w 3716428"/>
                  <a:gd name="connsiteY1548" fmla="*/ 718207 h 1528729"/>
                  <a:gd name="connsiteX1549" fmla="*/ 3678839 w 3716428"/>
                  <a:gd name="connsiteY1549" fmla="*/ 723907 h 1528729"/>
                  <a:gd name="connsiteX1550" fmla="*/ 3678041 w 3716428"/>
                  <a:gd name="connsiteY1550" fmla="*/ 736446 h 1528729"/>
                  <a:gd name="connsiteX1551" fmla="*/ 1926194 w 3716428"/>
                  <a:gd name="connsiteY1551" fmla="*/ 1106569 h 1528729"/>
                  <a:gd name="connsiteX1552" fmla="*/ 1915365 w 3716428"/>
                  <a:gd name="connsiteY1552" fmla="*/ 1088388 h 1528729"/>
                  <a:gd name="connsiteX1553" fmla="*/ 1899749 w 3716428"/>
                  <a:gd name="connsiteY1553" fmla="*/ 1105999 h 1528729"/>
                  <a:gd name="connsiteX1554" fmla="*/ 1890230 w 3716428"/>
                  <a:gd name="connsiteY1554" fmla="*/ 1129424 h 1528729"/>
                  <a:gd name="connsiteX1555" fmla="*/ 1882194 w 3716428"/>
                  <a:gd name="connsiteY1555" fmla="*/ 1133414 h 1528729"/>
                  <a:gd name="connsiteX1556" fmla="*/ 1876039 w 3716428"/>
                  <a:gd name="connsiteY1556" fmla="*/ 1143103 h 1528729"/>
                  <a:gd name="connsiteX1557" fmla="*/ 1826738 w 3716428"/>
                  <a:gd name="connsiteY1557" fmla="*/ 1189839 h 1528729"/>
                  <a:gd name="connsiteX1558" fmla="*/ 1818474 w 3716428"/>
                  <a:gd name="connsiteY1558" fmla="*/ 1209445 h 1528729"/>
                  <a:gd name="connsiteX1559" fmla="*/ 1804909 w 3716428"/>
                  <a:gd name="connsiteY1559" fmla="*/ 1212580 h 1528729"/>
                  <a:gd name="connsiteX1560" fmla="*/ 1792712 w 3716428"/>
                  <a:gd name="connsiteY1560" fmla="*/ 1218735 h 1528729"/>
                  <a:gd name="connsiteX1561" fmla="*/ 1794137 w 3716428"/>
                  <a:gd name="connsiteY1561" fmla="*/ 1229684 h 1528729"/>
                  <a:gd name="connsiteX1562" fmla="*/ 1795391 w 3716428"/>
                  <a:gd name="connsiteY1562" fmla="*/ 1230476 h 1528729"/>
                  <a:gd name="connsiteX1563" fmla="*/ 1801090 w 3716428"/>
                  <a:gd name="connsiteY1563" fmla="*/ 1230476 h 1528729"/>
                  <a:gd name="connsiteX1564" fmla="*/ 1840987 w 3716428"/>
                  <a:gd name="connsiteY1564" fmla="*/ 1215144 h 1528729"/>
                  <a:gd name="connsiteX1565" fmla="*/ 1864355 w 3716428"/>
                  <a:gd name="connsiteY1565" fmla="*/ 1193771 h 1528729"/>
                  <a:gd name="connsiteX1566" fmla="*/ 1872961 w 3716428"/>
                  <a:gd name="connsiteY1566" fmla="*/ 1190238 h 1528729"/>
                  <a:gd name="connsiteX1567" fmla="*/ 1876438 w 3716428"/>
                  <a:gd name="connsiteY1567" fmla="*/ 1182429 h 1528729"/>
                  <a:gd name="connsiteX1568" fmla="*/ 1898038 w 3716428"/>
                  <a:gd name="connsiteY1568" fmla="*/ 1180378 h 1528729"/>
                  <a:gd name="connsiteX1569" fmla="*/ 1926023 w 3716428"/>
                  <a:gd name="connsiteY1569" fmla="*/ 1106569 h 1528729"/>
                  <a:gd name="connsiteX1570" fmla="*/ 2986980 w 3716428"/>
                  <a:gd name="connsiteY1570" fmla="*/ 1186989 h 1528729"/>
                  <a:gd name="connsiteX1571" fmla="*/ 2986353 w 3716428"/>
                  <a:gd name="connsiteY1571" fmla="*/ 1189440 h 1528729"/>
                  <a:gd name="connsiteX1572" fmla="*/ 2986809 w 3716428"/>
                  <a:gd name="connsiteY1572" fmla="*/ 1186989 h 15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Lst>
                <a:rect l="l" t="t" r="r" b="b"/>
                <a:pathLst>
                  <a:path w="3716428" h="1528729">
                    <a:moveTo>
                      <a:pt x="609559" y="47778"/>
                    </a:moveTo>
                    <a:cubicBezTo>
                      <a:pt x="611189" y="46930"/>
                      <a:pt x="613024" y="46555"/>
                      <a:pt x="614859" y="46695"/>
                    </a:cubicBezTo>
                    <a:cubicBezTo>
                      <a:pt x="623636" y="46068"/>
                      <a:pt x="630875" y="39970"/>
                      <a:pt x="638569" y="35752"/>
                    </a:cubicBezTo>
                    <a:cubicBezTo>
                      <a:pt x="646554" y="31318"/>
                      <a:pt x="655439" y="28745"/>
                      <a:pt x="664559" y="28229"/>
                    </a:cubicBezTo>
                    <a:cubicBezTo>
                      <a:pt x="666052" y="28045"/>
                      <a:pt x="667568" y="28181"/>
                      <a:pt x="669004" y="28628"/>
                    </a:cubicBezTo>
                    <a:cubicBezTo>
                      <a:pt x="673621" y="30509"/>
                      <a:pt x="673450" y="37861"/>
                      <a:pt x="669688" y="41110"/>
                    </a:cubicBezTo>
                    <a:cubicBezTo>
                      <a:pt x="665539" y="43994"/>
                      <a:pt x="660432" y="45158"/>
                      <a:pt x="655439" y="44359"/>
                    </a:cubicBezTo>
                    <a:cubicBezTo>
                      <a:pt x="649740" y="44359"/>
                      <a:pt x="643243" y="43732"/>
                      <a:pt x="639823" y="48120"/>
                    </a:cubicBezTo>
                    <a:cubicBezTo>
                      <a:pt x="637429" y="51141"/>
                      <a:pt x="637372" y="55587"/>
                      <a:pt x="634693" y="58379"/>
                    </a:cubicBezTo>
                    <a:cubicBezTo>
                      <a:pt x="631815" y="60444"/>
                      <a:pt x="628498" y="61809"/>
                      <a:pt x="625004" y="62369"/>
                    </a:cubicBezTo>
                    <a:cubicBezTo>
                      <a:pt x="619305" y="64478"/>
                      <a:pt x="614460" y="69436"/>
                      <a:pt x="608362" y="71089"/>
                    </a:cubicBezTo>
                    <a:cubicBezTo>
                      <a:pt x="599357" y="73483"/>
                      <a:pt x="589838" y="67897"/>
                      <a:pt x="580605" y="69550"/>
                    </a:cubicBezTo>
                    <a:cubicBezTo>
                      <a:pt x="583056" y="67270"/>
                      <a:pt x="582030" y="63110"/>
                      <a:pt x="583398" y="60089"/>
                    </a:cubicBezTo>
                    <a:cubicBezTo>
                      <a:pt x="585222" y="56214"/>
                      <a:pt x="590237" y="55359"/>
                      <a:pt x="594797" y="55245"/>
                    </a:cubicBezTo>
                    <a:cubicBezTo>
                      <a:pt x="599055" y="55830"/>
                      <a:pt x="603358" y="54587"/>
                      <a:pt x="606652" y="51825"/>
                    </a:cubicBezTo>
                    <a:cubicBezTo>
                      <a:pt x="607507" y="50514"/>
                      <a:pt x="608077" y="48747"/>
                      <a:pt x="609559" y="47778"/>
                    </a:cubicBezTo>
                    <a:close/>
                    <a:moveTo>
                      <a:pt x="720641" y="65960"/>
                    </a:moveTo>
                    <a:cubicBezTo>
                      <a:pt x="720636" y="62790"/>
                      <a:pt x="720368" y="59625"/>
                      <a:pt x="719843" y="56498"/>
                    </a:cubicBezTo>
                    <a:cubicBezTo>
                      <a:pt x="719786" y="55456"/>
                      <a:pt x="719359" y="54467"/>
                      <a:pt x="718647" y="53706"/>
                    </a:cubicBezTo>
                    <a:cubicBezTo>
                      <a:pt x="717911" y="53188"/>
                      <a:pt x="717039" y="52891"/>
                      <a:pt x="716139" y="52851"/>
                    </a:cubicBezTo>
                    <a:cubicBezTo>
                      <a:pt x="710724" y="52136"/>
                      <a:pt x="705230" y="52368"/>
                      <a:pt x="699895" y="53535"/>
                    </a:cubicBezTo>
                    <a:cubicBezTo>
                      <a:pt x="699895" y="55986"/>
                      <a:pt x="697729" y="57923"/>
                      <a:pt x="697330" y="60317"/>
                    </a:cubicBezTo>
                    <a:cubicBezTo>
                      <a:pt x="696932" y="62711"/>
                      <a:pt x="699610" y="66017"/>
                      <a:pt x="702403" y="67555"/>
                    </a:cubicBezTo>
                    <a:cubicBezTo>
                      <a:pt x="706735" y="69856"/>
                      <a:pt x="711665" y="70790"/>
                      <a:pt x="716538" y="70234"/>
                    </a:cubicBezTo>
                    <a:cubicBezTo>
                      <a:pt x="717866" y="70260"/>
                      <a:pt x="719137" y="69696"/>
                      <a:pt x="720015" y="68695"/>
                    </a:cubicBezTo>
                    <a:cubicBezTo>
                      <a:pt x="720476" y="67860"/>
                      <a:pt x="720693" y="66913"/>
                      <a:pt x="720641" y="65960"/>
                    </a:cubicBezTo>
                    <a:close/>
                    <a:moveTo>
                      <a:pt x="782823" y="22815"/>
                    </a:moveTo>
                    <a:cubicBezTo>
                      <a:pt x="780879" y="23090"/>
                      <a:pt x="778901" y="22793"/>
                      <a:pt x="777123" y="21960"/>
                    </a:cubicBezTo>
                    <a:cubicBezTo>
                      <a:pt x="774958" y="20706"/>
                      <a:pt x="774103" y="18141"/>
                      <a:pt x="772792" y="16260"/>
                    </a:cubicBezTo>
                    <a:cubicBezTo>
                      <a:pt x="771481" y="14379"/>
                      <a:pt x="768802" y="12328"/>
                      <a:pt x="766636" y="13524"/>
                    </a:cubicBezTo>
                    <a:cubicBezTo>
                      <a:pt x="766636" y="14835"/>
                      <a:pt x="765211" y="15690"/>
                      <a:pt x="763901" y="15690"/>
                    </a:cubicBezTo>
                    <a:cubicBezTo>
                      <a:pt x="762612" y="15576"/>
                      <a:pt x="761313" y="15576"/>
                      <a:pt x="760025" y="15690"/>
                    </a:cubicBezTo>
                    <a:cubicBezTo>
                      <a:pt x="756035" y="16659"/>
                      <a:pt x="756776" y="22872"/>
                      <a:pt x="754325" y="26063"/>
                    </a:cubicBezTo>
                    <a:cubicBezTo>
                      <a:pt x="752251" y="28010"/>
                      <a:pt x="749469" y="29019"/>
                      <a:pt x="746631" y="28856"/>
                    </a:cubicBezTo>
                    <a:cubicBezTo>
                      <a:pt x="743804" y="28736"/>
                      <a:pt x="741023" y="29603"/>
                      <a:pt x="738766" y="31307"/>
                    </a:cubicBezTo>
                    <a:cubicBezTo>
                      <a:pt x="736771" y="33245"/>
                      <a:pt x="737170" y="37519"/>
                      <a:pt x="739906" y="37975"/>
                    </a:cubicBezTo>
                    <a:cubicBezTo>
                      <a:pt x="755465" y="33074"/>
                      <a:pt x="771766" y="43219"/>
                      <a:pt x="788066" y="42820"/>
                    </a:cubicBezTo>
                    <a:cubicBezTo>
                      <a:pt x="792387" y="43032"/>
                      <a:pt x="796610" y="41467"/>
                      <a:pt x="799750" y="38488"/>
                    </a:cubicBezTo>
                    <a:cubicBezTo>
                      <a:pt x="800571" y="37329"/>
                      <a:pt x="801483" y="36243"/>
                      <a:pt x="802486" y="35239"/>
                    </a:cubicBezTo>
                    <a:cubicBezTo>
                      <a:pt x="804601" y="33971"/>
                      <a:pt x="806943" y="33137"/>
                      <a:pt x="809382" y="32789"/>
                    </a:cubicBezTo>
                    <a:cubicBezTo>
                      <a:pt x="811776" y="32105"/>
                      <a:pt x="814284" y="30281"/>
                      <a:pt x="814113" y="27830"/>
                    </a:cubicBezTo>
                    <a:cubicBezTo>
                      <a:pt x="811890" y="27374"/>
                      <a:pt x="811320" y="24467"/>
                      <a:pt x="809553" y="23043"/>
                    </a:cubicBezTo>
                    <a:cubicBezTo>
                      <a:pt x="807849" y="22005"/>
                      <a:pt x="805820" y="21620"/>
                      <a:pt x="803854" y="21960"/>
                    </a:cubicBezTo>
                    <a:close/>
                    <a:moveTo>
                      <a:pt x="784988" y="15234"/>
                    </a:moveTo>
                    <a:cubicBezTo>
                      <a:pt x="790682" y="15567"/>
                      <a:pt x="796393" y="15567"/>
                      <a:pt x="802087" y="15234"/>
                    </a:cubicBezTo>
                    <a:cubicBezTo>
                      <a:pt x="805153" y="14997"/>
                      <a:pt x="808197" y="14559"/>
                      <a:pt x="811206" y="13923"/>
                    </a:cubicBezTo>
                    <a:cubicBezTo>
                      <a:pt x="813321" y="13741"/>
                      <a:pt x="815321" y="12882"/>
                      <a:pt x="816906" y="11473"/>
                    </a:cubicBezTo>
                    <a:cubicBezTo>
                      <a:pt x="818273" y="10048"/>
                      <a:pt x="819014" y="7768"/>
                      <a:pt x="820952" y="7426"/>
                    </a:cubicBezTo>
                    <a:cubicBezTo>
                      <a:pt x="820143" y="3929"/>
                      <a:pt x="817470" y="1166"/>
                      <a:pt x="813999" y="245"/>
                    </a:cubicBezTo>
                    <a:cubicBezTo>
                      <a:pt x="810659" y="-302"/>
                      <a:pt x="807228" y="72"/>
                      <a:pt x="804082" y="1328"/>
                    </a:cubicBezTo>
                    <a:lnTo>
                      <a:pt x="791201" y="5146"/>
                    </a:lnTo>
                    <a:cubicBezTo>
                      <a:pt x="789520" y="5509"/>
                      <a:pt x="787930" y="6206"/>
                      <a:pt x="786527" y="7198"/>
                    </a:cubicBezTo>
                    <a:cubicBezTo>
                      <a:pt x="784156" y="9151"/>
                      <a:pt x="783427" y="12468"/>
                      <a:pt x="784761" y="15234"/>
                    </a:cubicBezTo>
                    <a:close/>
                    <a:moveTo>
                      <a:pt x="820097" y="66530"/>
                    </a:moveTo>
                    <a:cubicBezTo>
                      <a:pt x="822292" y="65527"/>
                      <a:pt x="824759" y="65286"/>
                      <a:pt x="827108" y="65846"/>
                    </a:cubicBezTo>
                    <a:cubicBezTo>
                      <a:pt x="831462" y="66187"/>
                      <a:pt x="835845" y="65564"/>
                      <a:pt x="839931" y="64022"/>
                    </a:cubicBezTo>
                    <a:cubicBezTo>
                      <a:pt x="842667" y="62996"/>
                      <a:pt x="845631" y="61001"/>
                      <a:pt x="845631" y="58322"/>
                    </a:cubicBezTo>
                    <a:cubicBezTo>
                      <a:pt x="845631" y="55644"/>
                      <a:pt x="842382" y="53478"/>
                      <a:pt x="839589" y="52623"/>
                    </a:cubicBezTo>
                    <a:cubicBezTo>
                      <a:pt x="832893" y="50121"/>
                      <a:pt x="825865" y="48624"/>
                      <a:pt x="818730" y="48177"/>
                    </a:cubicBezTo>
                    <a:cubicBezTo>
                      <a:pt x="817538" y="48034"/>
                      <a:pt x="816336" y="48150"/>
                      <a:pt x="815196" y="48519"/>
                    </a:cubicBezTo>
                    <a:cubicBezTo>
                      <a:pt x="812346" y="49659"/>
                      <a:pt x="811491" y="53307"/>
                      <a:pt x="809496" y="55416"/>
                    </a:cubicBezTo>
                    <a:cubicBezTo>
                      <a:pt x="806305" y="58493"/>
                      <a:pt x="801289" y="57923"/>
                      <a:pt x="796958" y="57980"/>
                    </a:cubicBezTo>
                    <a:cubicBezTo>
                      <a:pt x="790722" y="58181"/>
                      <a:pt x="784669" y="60158"/>
                      <a:pt x="779517" y="63680"/>
                    </a:cubicBezTo>
                    <a:cubicBezTo>
                      <a:pt x="776211" y="65903"/>
                      <a:pt x="773134" y="70177"/>
                      <a:pt x="775243" y="73540"/>
                    </a:cubicBezTo>
                    <a:cubicBezTo>
                      <a:pt x="777351" y="76903"/>
                      <a:pt x="780429" y="76390"/>
                      <a:pt x="783450" y="76333"/>
                    </a:cubicBezTo>
                    <a:lnTo>
                      <a:pt x="801517" y="76333"/>
                    </a:lnTo>
                    <a:cubicBezTo>
                      <a:pt x="807051" y="77051"/>
                      <a:pt x="812631" y="75324"/>
                      <a:pt x="816792" y="71602"/>
                    </a:cubicBezTo>
                    <a:cubicBezTo>
                      <a:pt x="817573" y="69741"/>
                      <a:pt x="818695" y="68040"/>
                      <a:pt x="820097" y="66587"/>
                    </a:cubicBezTo>
                    <a:close/>
                    <a:moveTo>
                      <a:pt x="902170" y="30623"/>
                    </a:moveTo>
                    <a:cubicBezTo>
                      <a:pt x="900488" y="27969"/>
                      <a:pt x="897958" y="25961"/>
                      <a:pt x="894989" y="24923"/>
                    </a:cubicBezTo>
                    <a:cubicBezTo>
                      <a:pt x="893244" y="24572"/>
                      <a:pt x="891460" y="24476"/>
                      <a:pt x="889688" y="24638"/>
                    </a:cubicBezTo>
                    <a:lnTo>
                      <a:pt x="874812" y="25436"/>
                    </a:lnTo>
                    <a:cubicBezTo>
                      <a:pt x="873644" y="25407"/>
                      <a:pt x="872476" y="25620"/>
                      <a:pt x="871393" y="26063"/>
                    </a:cubicBezTo>
                    <a:cubicBezTo>
                      <a:pt x="868999" y="27317"/>
                      <a:pt x="868372" y="30338"/>
                      <a:pt x="867346" y="32789"/>
                    </a:cubicBezTo>
                    <a:cubicBezTo>
                      <a:pt x="864696" y="38592"/>
                      <a:pt x="858717" y="42137"/>
                      <a:pt x="852356" y="41680"/>
                    </a:cubicBezTo>
                    <a:cubicBezTo>
                      <a:pt x="852886" y="45478"/>
                      <a:pt x="855103" y="48832"/>
                      <a:pt x="858398" y="50799"/>
                    </a:cubicBezTo>
                    <a:cubicBezTo>
                      <a:pt x="861943" y="52536"/>
                      <a:pt x="865847" y="53414"/>
                      <a:pt x="869797" y="53364"/>
                    </a:cubicBezTo>
                    <a:cubicBezTo>
                      <a:pt x="875935" y="54441"/>
                      <a:pt x="882256" y="53245"/>
                      <a:pt x="887579" y="50001"/>
                    </a:cubicBezTo>
                    <a:cubicBezTo>
                      <a:pt x="889973" y="48063"/>
                      <a:pt x="891740" y="45214"/>
                      <a:pt x="894647" y="44302"/>
                    </a:cubicBezTo>
                    <a:cubicBezTo>
                      <a:pt x="895849" y="43913"/>
                      <a:pt x="897091" y="43664"/>
                      <a:pt x="898351" y="43561"/>
                    </a:cubicBezTo>
                    <a:cubicBezTo>
                      <a:pt x="901076" y="43200"/>
                      <a:pt x="903754" y="42530"/>
                      <a:pt x="906330" y="41566"/>
                    </a:cubicBezTo>
                    <a:cubicBezTo>
                      <a:pt x="909095" y="40876"/>
                      <a:pt x="911409" y="38998"/>
                      <a:pt x="912657" y="36436"/>
                    </a:cubicBezTo>
                    <a:cubicBezTo>
                      <a:pt x="909778" y="36427"/>
                      <a:pt x="906974" y="35531"/>
                      <a:pt x="904621" y="33872"/>
                    </a:cubicBezTo>
                    <a:cubicBezTo>
                      <a:pt x="903680" y="32908"/>
                      <a:pt x="902859" y="31836"/>
                      <a:pt x="902170" y="30680"/>
                    </a:cubicBezTo>
                    <a:close/>
                    <a:moveTo>
                      <a:pt x="956144" y="20991"/>
                    </a:moveTo>
                    <a:cubicBezTo>
                      <a:pt x="954747" y="20884"/>
                      <a:pt x="953351" y="21159"/>
                      <a:pt x="952097" y="21789"/>
                    </a:cubicBezTo>
                    <a:lnTo>
                      <a:pt x="928387" y="31535"/>
                    </a:lnTo>
                    <a:cubicBezTo>
                      <a:pt x="926911" y="33916"/>
                      <a:pt x="927646" y="37043"/>
                      <a:pt x="930029" y="38518"/>
                    </a:cubicBezTo>
                    <a:cubicBezTo>
                      <a:pt x="930109" y="38567"/>
                      <a:pt x="930188" y="38615"/>
                      <a:pt x="930268" y="38659"/>
                    </a:cubicBezTo>
                    <a:cubicBezTo>
                      <a:pt x="933118" y="40027"/>
                      <a:pt x="936423" y="38374"/>
                      <a:pt x="939558" y="37747"/>
                    </a:cubicBezTo>
                    <a:cubicBezTo>
                      <a:pt x="941718" y="37343"/>
                      <a:pt x="943918" y="37190"/>
                      <a:pt x="946113" y="37291"/>
                    </a:cubicBezTo>
                    <a:lnTo>
                      <a:pt x="967543" y="37291"/>
                    </a:lnTo>
                    <a:cubicBezTo>
                      <a:pt x="968238" y="34259"/>
                      <a:pt x="967526" y="31076"/>
                      <a:pt x="965605" y="28628"/>
                    </a:cubicBezTo>
                    <a:cubicBezTo>
                      <a:pt x="963690" y="26211"/>
                      <a:pt x="961427" y="24097"/>
                      <a:pt x="958879" y="22359"/>
                    </a:cubicBezTo>
                    <a:cubicBezTo>
                      <a:pt x="958059" y="21752"/>
                      <a:pt x="957130" y="21307"/>
                      <a:pt x="956144" y="21048"/>
                    </a:cubicBezTo>
                    <a:close/>
                    <a:moveTo>
                      <a:pt x="608476" y="574581"/>
                    </a:moveTo>
                    <a:cubicBezTo>
                      <a:pt x="605398" y="577145"/>
                      <a:pt x="603346" y="581078"/>
                      <a:pt x="599699" y="582845"/>
                    </a:cubicBezTo>
                    <a:cubicBezTo>
                      <a:pt x="598063" y="583392"/>
                      <a:pt x="596496" y="584116"/>
                      <a:pt x="595025" y="585011"/>
                    </a:cubicBezTo>
                    <a:cubicBezTo>
                      <a:pt x="592774" y="587530"/>
                      <a:pt x="592586" y="591280"/>
                      <a:pt x="594569" y="594016"/>
                    </a:cubicBezTo>
                    <a:cubicBezTo>
                      <a:pt x="596570" y="596626"/>
                      <a:pt x="598821" y="599031"/>
                      <a:pt x="601294" y="601197"/>
                    </a:cubicBezTo>
                    <a:cubicBezTo>
                      <a:pt x="603779" y="603414"/>
                      <a:pt x="604959" y="606743"/>
                      <a:pt x="604429" y="610031"/>
                    </a:cubicBezTo>
                    <a:lnTo>
                      <a:pt x="618849" y="610031"/>
                    </a:lnTo>
                    <a:cubicBezTo>
                      <a:pt x="621539" y="610328"/>
                      <a:pt x="624246" y="609667"/>
                      <a:pt x="626486" y="608150"/>
                    </a:cubicBezTo>
                    <a:cubicBezTo>
                      <a:pt x="628538" y="606384"/>
                      <a:pt x="628595" y="602451"/>
                      <a:pt x="626087" y="601539"/>
                    </a:cubicBezTo>
                    <a:cubicBezTo>
                      <a:pt x="630373" y="600684"/>
                      <a:pt x="634585" y="599482"/>
                      <a:pt x="638683" y="597948"/>
                    </a:cubicBezTo>
                    <a:cubicBezTo>
                      <a:pt x="639754" y="597686"/>
                      <a:pt x="640712" y="597088"/>
                      <a:pt x="641419" y="596239"/>
                    </a:cubicBezTo>
                    <a:cubicBezTo>
                      <a:pt x="641875" y="595395"/>
                      <a:pt x="642131" y="594460"/>
                      <a:pt x="642160" y="593503"/>
                    </a:cubicBezTo>
                    <a:lnTo>
                      <a:pt x="642958" y="585125"/>
                    </a:lnTo>
                    <a:cubicBezTo>
                      <a:pt x="643756" y="582873"/>
                      <a:pt x="642690" y="580388"/>
                      <a:pt x="640507" y="579425"/>
                    </a:cubicBezTo>
                    <a:cubicBezTo>
                      <a:pt x="635765" y="576114"/>
                      <a:pt x="630533" y="573555"/>
                      <a:pt x="625004" y="571845"/>
                    </a:cubicBezTo>
                    <a:cubicBezTo>
                      <a:pt x="619236" y="570027"/>
                      <a:pt x="612956" y="571064"/>
                      <a:pt x="608077" y="574638"/>
                    </a:cubicBezTo>
                    <a:close/>
                    <a:moveTo>
                      <a:pt x="772564" y="343980"/>
                    </a:moveTo>
                    <a:cubicBezTo>
                      <a:pt x="775391" y="354414"/>
                      <a:pt x="770153" y="365347"/>
                      <a:pt x="760253" y="369685"/>
                    </a:cubicBezTo>
                    <a:cubicBezTo>
                      <a:pt x="753983" y="372192"/>
                      <a:pt x="745833" y="372135"/>
                      <a:pt x="742242" y="377835"/>
                    </a:cubicBezTo>
                    <a:cubicBezTo>
                      <a:pt x="739450" y="382223"/>
                      <a:pt x="740817" y="387923"/>
                      <a:pt x="740989" y="393109"/>
                    </a:cubicBezTo>
                    <a:cubicBezTo>
                      <a:pt x="741159" y="398296"/>
                      <a:pt x="738367" y="404508"/>
                      <a:pt x="733180" y="404508"/>
                    </a:cubicBezTo>
                    <a:lnTo>
                      <a:pt x="732382" y="413855"/>
                    </a:lnTo>
                    <a:cubicBezTo>
                      <a:pt x="728951" y="413458"/>
                      <a:pt x="725469" y="413888"/>
                      <a:pt x="722237" y="415109"/>
                    </a:cubicBezTo>
                    <a:cubicBezTo>
                      <a:pt x="718926" y="416450"/>
                      <a:pt x="717108" y="420021"/>
                      <a:pt x="717963" y="423488"/>
                    </a:cubicBezTo>
                    <a:cubicBezTo>
                      <a:pt x="713500" y="422853"/>
                      <a:pt x="708963" y="423867"/>
                      <a:pt x="705196" y="426337"/>
                    </a:cubicBezTo>
                    <a:cubicBezTo>
                      <a:pt x="701776" y="429244"/>
                      <a:pt x="701833" y="436083"/>
                      <a:pt x="706165" y="437223"/>
                    </a:cubicBezTo>
                    <a:cubicBezTo>
                      <a:pt x="707658" y="437325"/>
                      <a:pt x="709140" y="437516"/>
                      <a:pt x="710610" y="437793"/>
                    </a:cubicBezTo>
                    <a:cubicBezTo>
                      <a:pt x="715113" y="439617"/>
                      <a:pt x="711864" y="446855"/>
                      <a:pt x="707362" y="448679"/>
                    </a:cubicBezTo>
                    <a:cubicBezTo>
                      <a:pt x="702859" y="450503"/>
                      <a:pt x="696875" y="451244"/>
                      <a:pt x="695165" y="455804"/>
                    </a:cubicBezTo>
                    <a:cubicBezTo>
                      <a:pt x="694424" y="457798"/>
                      <a:pt x="694709" y="460135"/>
                      <a:pt x="693569" y="461959"/>
                    </a:cubicBezTo>
                    <a:cubicBezTo>
                      <a:pt x="691899" y="463840"/>
                      <a:pt x="689619" y="465071"/>
                      <a:pt x="687129" y="465436"/>
                    </a:cubicBezTo>
                    <a:cubicBezTo>
                      <a:pt x="680266" y="467100"/>
                      <a:pt x="675182" y="472891"/>
                      <a:pt x="674419" y="479912"/>
                    </a:cubicBezTo>
                    <a:cubicBezTo>
                      <a:pt x="674419" y="486809"/>
                      <a:pt x="683937" y="492394"/>
                      <a:pt x="688838" y="487493"/>
                    </a:cubicBezTo>
                    <a:cubicBezTo>
                      <a:pt x="687858" y="491887"/>
                      <a:pt x="688702" y="496498"/>
                      <a:pt x="691175" y="500259"/>
                    </a:cubicBezTo>
                    <a:cubicBezTo>
                      <a:pt x="693928" y="504015"/>
                      <a:pt x="699189" y="504853"/>
                      <a:pt x="702973" y="502140"/>
                    </a:cubicBezTo>
                    <a:cubicBezTo>
                      <a:pt x="702734" y="498624"/>
                      <a:pt x="703594" y="495119"/>
                      <a:pt x="705424" y="492109"/>
                    </a:cubicBezTo>
                    <a:cubicBezTo>
                      <a:pt x="707276" y="489220"/>
                      <a:pt x="711118" y="488376"/>
                      <a:pt x="714007" y="490228"/>
                    </a:cubicBezTo>
                    <a:cubicBezTo>
                      <a:pt x="714173" y="490337"/>
                      <a:pt x="714332" y="490451"/>
                      <a:pt x="714486" y="490570"/>
                    </a:cubicBezTo>
                    <a:cubicBezTo>
                      <a:pt x="714999" y="500544"/>
                      <a:pt x="715854" y="511430"/>
                      <a:pt x="722579" y="519068"/>
                    </a:cubicBezTo>
                    <a:cubicBezTo>
                      <a:pt x="728017" y="524254"/>
                      <a:pt x="734890" y="527685"/>
                      <a:pt x="742299" y="528928"/>
                    </a:cubicBezTo>
                    <a:cubicBezTo>
                      <a:pt x="759358" y="532952"/>
                      <a:pt x="777095" y="533111"/>
                      <a:pt x="794222" y="529384"/>
                    </a:cubicBezTo>
                    <a:cubicBezTo>
                      <a:pt x="795886" y="529184"/>
                      <a:pt x="797459" y="528489"/>
                      <a:pt x="798724" y="527389"/>
                    </a:cubicBezTo>
                    <a:cubicBezTo>
                      <a:pt x="802429" y="523456"/>
                      <a:pt x="796729" y="517757"/>
                      <a:pt x="791999" y="515192"/>
                    </a:cubicBezTo>
                    <a:cubicBezTo>
                      <a:pt x="787268" y="512627"/>
                      <a:pt x="782253" y="505902"/>
                      <a:pt x="786699" y="502824"/>
                    </a:cubicBezTo>
                    <a:cubicBezTo>
                      <a:pt x="772176" y="492919"/>
                      <a:pt x="761621" y="478202"/>
                      <a:pt x="756890" y="461275"/>
                    </a:cubicBezTo>
                    <a:cubicBezTo>
                      <a:pt x="756064" y="459246"/>
                      <a:pt x="756064" y="456978"/>
                      <a:pt x="756890" y="454949"/>
                    </a:cubicBezTo>
                    <a:cubicBezTo>
                      <a:pt x="758429" y="452156"/>
                      <a:pt x="762248" y="451757"/>
                      <a:pt x="765040" y="450218"/>
                    </a:cubicBezTo>
                    <a:cubicBezTo>
                      <a:pt x="775300" y="444519"/>
                      <a:pt x="769258" y="425425"/>
                      <a:pt x="779403" y="419498"/>
                    </a:cubicBezTo>
                    <a:cubicBezTo>
                      <a:pt x="781455" y="418301"/>
                      <a:pt x="783905" y="417845"/>
                      <a:pt x="785843" y="416534"/>
                    </a:cubicBezTo>
                    <a:cubicBezTo>
                      <a:pt x="792284" y="412089"/>
                      <a:pt x="789206" y="402286"/>
                      <a:pt x="788351" y="394477"/>
                    </a:cubicBezTo>
                    <a:cubicBezTo>
                      <a:pt x="787206" y="381940"/>
                      <a:pt x="793697" y="369940"/>
                      <a:pt x="804823" y="364042"/>
                    </a:cubicBezTo>
                    <a:cubicBezTo>
                      <a:pt x="808790" y="362195"/>
                      <a:pt x="812933" y="360763"/>
                      <a:pt x="817191" y="359767"/>
                    </a:cubicBezTo>
                    <a:cubicBezTo>
                      <a:pt x="838803" y="353749"/>
                      <a:pt x="859794" y="345695"/>
                      <a:pt x="879885" y="335716"/>
                    </a:cubicBezTo>
                    <a:cubicBezTo>
                      <a:pt x="881885" y="334919"/>
                      <a:pt x="883652" y="333625"/>
                      <a:pt x="885014" y="331954"/>
                    </a:cubicBezTo>
                    <a:cubicBezTo>
                      <a:pt x="885847" y="330286"/>
                      <a:pt x="886588" y="328574"/>
                      <a:pt x="887237" y="326824"/>
                    </a:cubicBezTo>
                    <a:cubicBezTo>
                      <a:pt x="889893" y="322900"/>
                      <a:pt x="893991" y="320178"/>
                      <a:pt x="898636" y="319244"/>
                    </a:cubicBezTo>
                    <a:lnTo>
                      <a:pt x="924569" y="309954"/>
                    </a:lnTo>
                    <a:cubicBezTo>
                      <a:pt x="929983" y="307846"/>
                      <a:pt x="935574" y="306207"/>
                      <a:pt x="941268" y="305053"/>
                    </a:cubicBezTo>
                    <a:cubicBezTo>
                      <a:pt x="944323" y="304771"/>
                      <a:pt x="947315" y="304041"/>
                      <a:pt x="950159" y="302887"/>
                    </a:cubicBezTo>
                    <a:cubicBezTo>
                      <a:pt x="952148" y="301799"/>
                      <a:pt x="954058" y="300560"/>
                      <a:pt x="955859" y="299182"/>
                    </a:cubicBezTo>
                    <a:cubicBezTo>
                      <a:pt x="961125" y="296038"/>
                      <a:pt x="966921" y="293875"/>
                      <a:pt x="972957" y="292799"/>
                    </a:cubicBezTo>
                    <a:cubicBezTo>
                      <a:pt x="983273" y="290291"/>
                      <a:pt x="993646" y="287783"/>
                      <a:pt x="1003791" y="284648"/>
                    </a:cubicBezTo>
                    <a:cubicBezTo>
                      <a:pt x="1015190" y="281172"/>
                      <a:pt x="1026247" y="276897"/>
                      <a:pt x="1037304" y="272680"/>
                    </a:cubicBezTo>
                    <a:cubicBezTo>
                      <a:pt x="1041254" y="271637"/>
                      <a:pt x="1044742" y="269311"/>
                      <a:pt x="1047221" y="266068"/>
                    </a:cubicBezTo>
                    <a:cubicBezTo>
                      <a:pt x="1047996" y="264273"/>
                      <a:pt x="1048971" y="262572"/>
                      <a:pt x="1050128" y="260996"/>
                    </a:cubicBezTo>
                    <a:cubicBezTo>
                      <a:pt x="1051667" y="259400"/>
                      <a:pt x="1054118" y="258944"/>
                      <a:pt x="1055828" y="257690"/>
                    </a:cubicBezTo>
                    <a:cubicBezTo>
                      <a:pt x="1060957" y="254327"/>
                      <a:pt x="1060216" y="246690"/>
                      <a:pt x="1058962" y="240591"/>
                    </a:cubicBezTo>
                    <a:cubicBezTo>
                      <a:pt x="1042890" y="232384"/>
                      <a:pt x="1023455" y="237799"/>
                      <a:pt x="1006299" y="243384"/>
                    </a:cubicBezTo>
                    <a:cubicBezTo>
                      <a:pt x="1002503" y="244353"/>
                      <a:pt x="998924" y="246036"/>
                      <a:pt x="995755" y="248343"/>
                    </a:cubicBezTo>
                    <a:cubicBezTo>
                      <a:pt x="994045" y="249711"/>
                      <a:pt x="992677" y="251420"/>
                      <a:pt x="991025" y="252845"/>
                    </a:cubicBezTo>
                    <a:cubicBezTo>
                      <a:pt x="982760" y="259913"/>
                      <a:pt x="970507" y="258032"/>
                      <a:pt x="959677" y="259115"/>
                    </a:cubicBezTo>
                    <a:cubicBezTo>
                      <a:pt x="957517" y="258964"/>
                      <a:pt x="955408" y="259828"/>
                      <a:pt x="953978" y="261452"/>
                    </a:cubicBezTo>
                    <a:cubicBezTo>
                      <a:pt x="953328" y="262779"/>
                      <a:pt x="952906" y="264204"/>
                      <a:pt x="952724" y="265669"/>
                    </a:cubicBezTo>
                    <a:cubicBezTo>
                      <a:pt x="950900" y="271369"/>
                      <a:pt x="943320" y="272907"/>
                      <a:pt x="937164" y="273135"/>
                    </a:cubicBezTo>
                    <a:lnTo>
                      <a:pt x="901372" y="274503"/>
                    </a:lnTo>
                    <a:cubicBezTo>
                      <a:pt x="896311" y="274299"/>
                      <a:pt x="891278" y="275357"/>
                      <a:pt x="886724" y="277581"/>
                    </a:cubicBezTo>
                    <a:cubicBezTo>
                      <a:pt x="883874" y="279348"/>
                      <a:pt x="881652" y="281913"/>
                      <a:pt x="878859" y="283622"/>
                    </a:cubicBezTo>
                    <a:cubicBezTo>
                      <a:pt x="870310" y="288695"/>
                      <a:pt x="859025" y="284135"/>
                      <a:pt x="849678" y="287384"/>
                    </a:cubicBezTo>
                    <a:cubicBezTo>
                      <a:pt x="845432" y="289168"/>
                      <a:pt x="841567" y="291740"/>
                      <a:pt x="838279" y="294964"/>
                    </a:cubicBezTo>
                    <a:lnTo>
                      <a:pt x="808983" y="320327"/>
                    </a:lnTo>
                    <a:cubicBezTo>
                      <a:pt x="801357" y="320327"/>
                      <a:pt x="793743" y="319812"/>
                      <a:pt x="786185" y="318788"/>
                    </a:cubicBezTo>
                    <a:cubicBezTo>
                      <a:pt x="789035" y="329468"/>
                      <a:pt x="783062" y="340518"/>
                      <a:pt x="772564" y="343980"/>
                    </a:cubicBezTo>
                    <a:close/>
                    <a:moveTo>
                      <a:pt x="1534013" y="4462"/>
                    </a:moveTo>
                    <a:cubicBezTo>
                      <a:pt x="1530092" y="5219"/>
                      <a:pt x="1526370" y="6771"/>
                      <a:pt x="1523070" y="9022"/>
                    </a:cubicBezTo>
                    <a:lnTo>
                      <a:pt x="1515718" y="13353"/>
                    </a:lnTo>
                    <a:cubicBezTo>
                      <a:pt x="1515256" y="16657"/>
                      <a:pt x="1517188" y="19827"/>
                      <a:pt x="1520335" y="20934"/>
                    </a:cubicBezTo>
                    <a:cubicBezTo>
                      <a:pt x="1523424" y="21924"/>
                      <a:pt x="1526707" y="22178"/>
                      <a:pt x="1529910" y="21675"/>
                    </a:cubicBezTo>
                    <a:cubicBezTo>
                      <a:pt x="1533785" y="21333"/>
                      <a:pt x="1537718" y="20991"/>
                      <a:pt x="1541309" y="20307"/>
                    </a:cubicBezTo>
                    <a:cubicBezTo>
                      <a:pt x="1542386" y="20246"/>
                      <a:pt x="1543406" y="19825"/>
                      <a:pt x="1544215" y="19110"/>
                    </a:cubicBezTo>
                    <a:cubicBezTo>
                      <a:pt x="1544814" y="18201"/>
                      <a:pt x="1545076" y="17113"/>
                      <a:pt x="1544956" y="16032"/>
                    </a:cubicBezTo>
                    <a:cubicBezTo>
                      <a:pt x="1545213" y="13633"/>
                      <a:pt x="1544882" y="11206"/>
                      <a:pt x="1543988" y="8965"/>
                    </a:cubicBezTo>
                    <a:cubicBezTo>
                      <a:pt x="1541844" y="5623"/>
                      <a:pt x="1537935" y="3858"/>
                      <a:pt x="1534013" y="4462"/>
                    </a:cubicBezTo>
                    <a:close/>
                    <a:moveTo>
                      <a:pt x="1579609" y="21561"/>
                    </a:moveTo>
                    <a:cubicBezTo>
                      <a:pt x="1574993" y="19395"/>
                      <a:pt x="1568210" y="18654"/>
                      <a:pt x="1565816" y="23100"/>
                    </a:cubicBezTo>
                    <a:cubicBezTo>
                      <a:pt x="1563423" y="27545"/>
                      <a:pt x="1566785" y="32561"/>
                      <a:pt x="1570091" y="36265"/>
                    </a:cubicBezTo>
                    <a:cubicBezTo>
                      <a:pt x="1573397" y="39970"/>
                      <a:pt x="1576873" y="45214"/>
                      <a:pt x="1574309" y="49431"/>
                    </a:cubicBezTo>
                    <a:cubicBezTo>
                      <a:pt x="1573112" y="51132"/>
                      <a:pt x="1571402" y="52409"/>
                      <a:pt x="1569407" y="53079"/>
                    </a:cubicBezTo>
                    <a:cubicBezTo>
                      <a:pt x="1565816" y="54556"/>
                      <a:pt x="1561907" y="55236"/>
                      <a:pt x="1558008" y="55074"/>
                    </a:cubicBezTo>
                    <a:cubicBezTo>
                      <a:pt x="1555671" y="55074"/>
                      <a:pt x="1552936" y="54789"/>
                      <a:pt x="1551397" y="56555"/>
                    </a:cubicBezTo>
                    <a:cubicBezTo>
                      <a:pt x="1550103" y="58512"/>
                      <a:pt x="1550417" y="61118"/>
                      <a:pt x="1552138" y="62711"/>
                    </a:cubicBezTo>
                    <a:cubicBezTo>
                      <a:pt x="1553750" y="64196"/>
                      <a:pt x="1555711" y="65253"/>
                      <a:pt x="1557837" y="65789"/>
                    </a:cubicBezTo>
                    <a:lnTo>
                      <a:pt x="1565246" y="68182"/>
                    </a:lnTo>
                    <a:cubicBezTo>
                      <a:pt x="1566956" y="68485"/>
                      <a:pt x="1568495" y="69473"/>
                      <a:pt x="1569464" y="70918"/>
                    </a:cubicBezTo>
                    <a:cubicBezTo>
                      <a:pt x="1571117" y="74053"/>
                      <a:pt x="1567013" y="77302"/>
                      <a:pt x="1563765" y="77587"/>
                    </a:cubicBezTo>
                    <a:cubicBezTo>
                      <a:pt x="1558310" y="77096"/>
                      <a:pt x="1552884" y="76297"/>
                      <a:pt x="1547521" y="75193"/>
                    </a:cubicBezTo>
                    <a:cubicBezTo>
                      <a:pt x="1541822" y="75193"/>
                      <a:pt x="1535495" y="79068"/>
                      <a:pt x="1536692" y="84426"/>
                    </a:cubicBezTo>
                    <a:lnTo>
                      <a:pt x="1546951" y="87219"/>
                    </a:lnTo>
                    <a:cubicBezTo>
                      <a:pt x="1546541" y="91242"/>
                      <a:pt x="1547572" y="95281"/>
                      <a:pt x="1549858" y="98618"/>
                    </a:cubicBezTo>
                    <a:lnTo>
                      <a:pt x="1569179" y="96395"/>
                    </a:lnTo>
                    <a:cubicBezTo>
                      <a:pt x="1571573" y="96110"/>
                      <a:pt x="1574366" y="95597"/>
                      <a:pt x="1575505" y="93488"/>
                    </a:cubicBezTo>
                    <a:cubicBezTo>
                      <a:pt x="1575904" y="92442"/>
                      <a:pt x="1576246" y="91352"/>
                      <a:pt x="1576418" y="90239"/>
                    </a:cubicBezTo>
                    <a:cubicBezTo>
                      <a:pt x="1577101" y="88239"/>
                      <a:pt x="1578184" y="86399"/>
                      <a:pt x="1579609" y="84825"/>
                    </a:cubicBezTo>
                    <a:lnTo>
                      <a:pt x="1590495" y="71203"/>
                    </a:lnTo>
                    <a:cubicBezTo>
                      <a:pt x="1591464" y="69654"/>
                      <a:pt x="1592889" y="68456"/>
                      <a:pt x="1594599" y="67783"/>
                    </a:cubicBezTo>
                    <a:cubicBezTo>
                      <a:pt x="1596936" y="67505"/>
                      <a:pt x="1599329" y="67921"/>
                      <a:pt x="1601438" y="68980"/>
                    </a:cubicBezTo>
                    <a:cubicBezTo>
                      <a:pt x="1606340" y="70693"/>
                      <a:pt x="1611754" y="69696"/>
                      <a:pt x="1615687" y="66359"/>
                    </a:cubicBezTo>
                    <a:cubicBezTo>
                      <a:pt x="1619562" y="62805"/>
                      <a:pt x="1620247" y="56966"/>
                      <a:pt x="1617283" y="52623"/>
                    </a:cubicBezTo>
                    <a:cubicBezTo>
                      <a:pt x="1613920" y="48348"/>
                      <a:pt x="1607081" y="47550"/>
                      <a:pt x="1604573" y="42706"/>
                    </a:cubicBezTo>
                    <a:cubicBezTo>
                      <a:pt x="1603547" y="39861"/>
                      <a:pt x="1603091" y="36839"/>
                      <a:pt x="1603205" y="33815"/>
                    </a:cubicBezTo>
                    <a:cubicBezTo>
                      <a:pt x="1603205" y="30794"/>
                      <a:pt x="1601609" y="27374"/>
                      <a:pt x="1598702" y="26633"/>
                    </a:cubicBezTo>
                    <a:cubicBezTo>
                      <a:pt x="1597278" y="26434"/>
                      <a:pt x="1595796" y="26434"/>
                      <a:pt x="1594371" y="26633"/>
                    </a:cubicBezTo>
                    <a:cubicBezTo>
                      <a:pt x="1589184" y="26190"/>
                      <a:pt x="1584169" y="24509"/>
                      <a:pt x="1579723" y="21732"/>
                    </a:cubicBezTo>
                    <a:close/>
                    <a:moveTo>
                      <a:pt x="1669490" y="139141"/>
                    </a:moveTo>
                    <a:cubicBezTo>
                      <a:pt x="1670174" y="140015"/>
                      <a:pt x="1670915" y="140852"/>
                      <a:pt x="1671713" y="141649"/>
                    </a:cubicBezTo>
                    <a:cubicBezTo>
                      <a:pt x="1673252" y="142579"/>
                      <a:pt x="1675018" y="143016"/>
                      <a:pt x="1676785" y="142903"/>
                    </a:cubicBezTo>
                    <a:cubicBezTo>
                      <a:pt x="1680148" y="143272"/>
                      <a:pt x="1683511" y="142942"/>
                      <a:pt x="1686759" y="141934"/>
                    </a:cubicBezTo>
                    <a:cubicBezTo>
                      <a:pt x="1690008" y="140823"/>
                      <a:pt x="1692288" y="137846"/>
                      <a:pt x="1692459" y="134410"/>
                    </a:cubicBezTo>
                    <a:cubicBezTo>
                      <a:pt x="1692459" y="129281"/>
                      <a:pt x="1686246" y="123866"/>
                      <a:pt x="1689666" y="120048"/>
                    </a:cubicBezTo>
                    <a:cubicBezTo>
                      <a:pt x="1690578" y="119079"/>
                      <a:pt x="1691946" y="118623"/>
                      <a:pt x="1692744" y="117540"/>
                    </a:cubicBezTo>
                    <a:cubicBezTo>
                      <a:pt x="1693371" y="116396"/>
                      <a:pt x="1693770" y="115165"/>
                      <a:pt x="1693998" y="113892"/>
                    </a:cubicBezTo>
                    <a:cubicBezTo>
                      <a:pt x="1695366" y="109846"/>
                      <a:pt x="1699697" y="107851"/>
                      <a:pt x="1702433" y="104374"/>
                    </a:cubicBezTo>
                    <a:cubicBezTo>
                      <a:pt x="1705340" y="99689"/>
                      <a:pt x="1705340" y="93784"/>
                      <a:pt x="1702433" y="89099"/>
                    </a:cubicBezTo>
                    <a:cubicBezTo>
                      <a:pt x="1699583" y="84528"/>
                      <a:pt x="1695878" y="80529"/>
                      <a:pt x="1691547" y="77302"/>
                    </a:cubicBezTo>
                    <a:cubicBezTo>
                      <a:pt x="1689609" y="75024"/>
                      <a:pt x="1686588" y="73871"/>
                      <a:pt x="1683625" y="74224"/>
                    </a:cubicBezTo>
                    <a:cubicBezTo>
                      <a:pt x="1680490" y="75193"/>
                      <a:pt x="1679464" y="79011"/>
                      <a:pt x="1677925" y="81861"/>
                    </a:cubicBezTo>
                    <a:cubicBezTo>
                      <a:pt x="1675018" y="86489"/>
                      <a:pt x="1669490" y="88771"/>
                      <a:pt x="1664132" y="87561"/>
                    </a:cubicBezTo>
                    <a:cubicBezTo>
                      <a:pt x="1665728" y="82260"/>
                      <a:pt x="1663790" y="76536"/>
                      <a:pt x="1659345" y="73255"/>
                    </a:cubicBezTo>
                    <a:cubicBezTo>
                      <a:pt x="1654899" y="70169"/>
                      <a:pt x="1649485" y="68774"/>
                      <a:pt x="1644070" y="69322"/>
                    </a:cubicBezTo>
                    <a:cubicBezTo>
                      <a:pt x="1632044" y="70006"/>
                      <a:pt x="1621272" y="76447"/>
                      <a:pt x="1610899" y="82716"/>
                    </a:cubicBezTo>
                    <a:cubicBezTo>
                      <a:pt x="1606169" y="85105"/>
                      <a:pt x="1602179" y="88804"/>
                      <a:pt x="1599500" y="93374"/>
                    </a:cubicBezTo>
                    <a:cubicBezTo>
                      <a:pt x="1597050" y="98047"/>
                      <a:pt x="1598816" y="103842"/>
                      <a:pt x="1603490" y="106319"/>
                    </a:cubicBezTo>
                    <a:cubicBezTo>
                      <a:pt x="1603718" y="106440"/>
                      <a:pt x="1603946" y="106552"/>
                      <a:pt x="1604174" y="106654"/>
                    </a:cubicBezTo>
                    <a:cubicBezTo>
                      <a:pt x="1601609" y="110131"/>
                      <a:pt x="1604174" y="115317"/>
                      <a:pt x="1607651" y="118053"/>
                    </a:cubicBezTo>
                    <a:cubicBezTo>
                      <a:pt x="1611127" y="120789"/>
                      <a:pt x="1615687" y="121586"/>
                      <a:pt x="1619050" y="124094"/>
                    </a:cubicBezTo>
                    <a:cubicBezTo>
                      <a:pt x="1622412" y="126602"/>
                      <a:pt x="1624065" y="128882"/>
                      <a:pt x="1627029" y="130706"/>
                    </a:cubicBezTo>
                    <a:cubicBezTo>
                      <a:pt x="1629935" y="132262"/>
                      <a:pt x="1633127" y="133285"/>
                      <a:pt x="1636433" y="133726"/>
                    </a:cubicBezTo>
                    <a:cubicBezTo>
                      <a:pt x="1644298" y="135472"/>
                      <a:pt x="1652221" y="136596"/>
                      <a:pt x="1660257" y="137089"/>
                    </a:cubicBezTo>
                    <a:cubicBezTo>
                      <a:pt x="1663562" y="136675"/>
                      <a:pt x="1666868" y="137465"/>
                      <a:pt x="1669604" y="139312"/>
                    </a:cubicBezTo>
                    <a:close/>
                    <a:moveTo>
                      <a:pt x="1702604" y="169462"/>
                    </a:moveTo>
                    <a:cubicBezTo>
                      <a:pt x="1695765" y="170582"/>
                      <a:pt x="1691148" y="177030"/>
                      <a:pt x="1692231" y="183863"/>
                    </a:cubicBezTo>
                    <a:cubicBezTo>
                      <a:pt x="1692288" y="184022"/>
                      <a:pt x="1692288" y="184180"/>
                      <a:pt x="1692345" y="184338"/>
                    </a:cubicBezTo>
                    <a:lnTo>
                      <a:pt x="1751448" y="180975"/>
                    </a:lnTo>
                    <a:cubicBezTo>
                      <a:pt x="1759485" y="180701"/>
                      <a:pt x="1767521" y="179882"/>
                      <a:pt x="1775443" y="178524"/>
                    </a:cubicBezTo>
                    <a:cubicBezTo>
                      <a:pt x="1777951" y="178220"/>
                      <a:pt x="1780345" y="177212"/>
                      <a:pt x="1782283" y="175617"/>
                    </a:cubicBezTo>
                    <a:cubicBezTo>
                      <a:pt x="1783536" y="174181"/>
                      <a:pt x="1784562" y="172590"/>
                      <a:pt x="1785360" y="170887"/>
                    </a:cubicBezTo>
                    <a:cubicBezTo>
                      <a:pt x="1790661" y="163881"/>
                      <a:pt x="1798583" y="159333"/>
                      <a:pt x="1807303" y="158291"/>
                    </a:cubicBezTo>
                    <a:cubicBezTo>
                      <a:pt x="1815910" y="157343"/>
                      <a:pt x="1824402" y="155254"/>
                      <a:pt x="1832495" y="152079"/>
                    </a:cubicBezTo>
                    <a:cubicBezTo>
                      <a:pt x="1832153" y="148488"/>
                      <a:pt x="1831811" y="144897"/>
                      <a:pt x="1831412" y="141307"/>
                    </a:cubicBezTo>
                    <a:cubicBezTo>
                      <a:pt x="1812889" y="135607"/>
                      <a:pt x="1792883" y="129908"/>
                      <a:pt x="1774417" y="135607"/>
                    </a:cubicBezTo>
                    <a:cubicBezTo>
                      <a:pt x="1769116" y="137146"/>
                      <a:pt x="1761650" y="138742"/>
                      <a:pt x="1759428" y="133612"/>
                    </a:cubicBezTo>
                    <a:cubicBezTo>
                      <a:pt x="1758458" y="131333"/>
                      <a:pt x="1759428" y="128426"/>
                      <a:pt x="1758060" y="126203"/>
                    </a:cubicBezTo>
                    <a:cubicBezTo>
                      <a:pt x="1757262" y="124933"/>
                      <a:pt x="1756065" y="123924"/>
                      <a:pt x="1754697" y="123296"/>
                    </a:cubicBezTo>
                    <a:cubicBezTo>
                      <a:pt x="1745350" y="119237"/>
                      <a:pt x="1734521" y="123502"/>
                      <a:pt x="1730475" y="132824"/>
                    </a:cubicBezTo>
                    <a:cubicBezTo>
                      <a:pt x="1730132" y="133598"/>
                      <a:pt x="1729847" y="134395"/>
                      <a:pt x="1729619" y="135208"/>
                    </a:cubicBezTo>
                    <a:cubicBezTo>
                      <a:pt x="1728936" y="138400"/>
                      <a:pt x="1728821" y="142276"/>
                      <a:pt x="1726029" y="143928"/>
                    </a:cubicBezTo>
                    <a:cubicBezTo>
                      <a:pt x="1723236" y="145581"/>
                      <a:pt x="1719588" y="143928"/>
                      <a:pt x="1716567" y="145011"/>
                    </a:cubicBezTo>
                    <a:cubicBezTo>
                      <a:pt x="1708588" y="148032"/>
                      <a:pt x="1715998" y="163250"/>
                      <a:pt x="1708759" y="167809"/>
                    </a:cubicBezTo>
                    <a:cubicBezTo>
                      <a:pt x="1706879" y="168787"/>
                      <a:pt x="1704827" y="169405"/>
                      <a:pt x="1702718" y="169633"/>
                    </a:cubicBezTo>
                    <a:close/>
                    <a:moveTo>
                      <a:pt x="1993049" y="355607"/>
                    </a:moveTo>
                    <a:cubicBezTo>
                      <a:pt x="1990199" y="355607"/>
                      <a:pt x="1987349" y="356747"/>
                      <a:pt x="1984557" y="356690"/>
                    </a:cubicBezTo>
                    <a:cubicBezTo>
                      <a:pt x="1982904" y="356690"/>
                      <a:pt x="1981308" y="356234"/>
                      <a:pt x="1979712" y="356291"/>
                    </a:cubicBezTo>
                    <a:cubicBezTo>
                      <a:pt x="1978059" y="356230"/>
                      <a:pt x="1976520" y="356976"/>
                      <a:pt x="1975552" y="358286"/>
                    </a:cubicBezTo>
                    <a:cubicBezTo>
                      <a:pt x="1974981" y="359757"/>
                      <a:pt x="1974981" y="361374"/>
                      <a:pt x="1975552" y="362845"/>
                    </a:cubicBezTo>
                    <a:cubicBezTo>
                      <a:pt x="1972246" y="363139"/>
                      <a:pt x="1968940" y="363749"/>
                      <a:pt x="1965748" y="364669"/>
                    </a:cubicBezTo>
                    <a:cubicBezTo>
                      <a:pt x="1965464" y="364708"/>
                      <a:pt x="1965178" y="364850"/>
                      <a:pt x="1965007" y="365068"/>
                    </a:cubicBezTo>
                    <a:cubicBezTo>
                      <a:pt x="1964894" y="365380"/>
                      <a:pt x="1964894" y="365725"/>
                      <a:pt x="1965007" y="366037"/>
                    </a:cubicBezTo>
                    <a:lnTo>
                      <a:pt x="1965007" y="369229"/>
                    </a:lnTo>
                    <a:cubicBezTo>
                      <a:pt x="1964950" y="370260"/>
                      <a:pt x="1965236" y="371285"/>
                      <a:pt x="1965805" y="372135"/>
                    </a:cubicBezTo>
                    <a:cubicBezTo>
                      <a:pt x="1966660" y="372867"/>
                      <a:pt x="1967800" y="373252"/>
                      <a:pt x="1968940" y="373218"/>
                    </a:cubicBezTo>
                    <a:cubicBezTo>
                      <a:pt x="1978686" y="374572"/>
                      <a:pt x="1988603" y="373715"/>
                      <a:pt x="1997950" y="370710"/>
                    </a:cubicBezTo>
                    <a:cubicBezTo>
                      <a:pt x="1999603" y="370027"/>
                      <a:pt x="2001541" y="368545"/>
                      <a:pt x="2000914" y="366835"/>
                    </a:cubicBezTo>
                    <a:lnTo>
                      <a:pt x="1998406" y="366835"/>
                    </a:lnTo>
                    <a:cubicBezTo>
                      <a:pt x="2000230" y="364832"/>
                      <a:pt x="2001028" y="362097"/>
                      <a:pt x="2000572" y="359425"/>
                    </a:cubicBezTo>
                    <a:cubicBezTo>
                      <a:pt x="1999261" y="356558"/>
                      <a:pt x="1996127" y="354975"/>
                      <a:pt x="1993049" y="355607"/>
                    </a:cubicBezTo>
                    <a:close/>
                    <a:moveTo>
                      <a:pt x="2603862" y="398695"/>
                    </a:moveTo>
                    <a:lnTo>
                      <a:pt x="2595426" y="401488"/>
                    </a:lnTo>
                    <a:cubicBezTo>
                      <a:pt x="2597649" y="405040"/>
                      <a:pt x="2601468" y="407354"/>
                      <a:pt x="2605628" y="407757"/>
                    </a:cubicBezTo>
                    <a:cubicBezTo>
                      <a:pt x="2607167" y="409695"/>
                      <a:pt x="2602950" y="411576"/>
                      <a:pt x="2602893" y="414026"/>
                    </a:cubicBezTo>
                    <a:cubicBezTo>
                      <a:pt x="2602836" y="416477"/>
                      <a:pt x="2605685" y="416876"/>
                      <a:pt x="2607851" y="416876"/>
                    </a:cubicBezTo>
                    <a:lnTo>
                      <a:pt x="2656183" y="416876"/>
                    </a:lnTo>
                    <a:cubicBezTo>
                      <a:pt x="2658975" y="417061"/>
                      <a:pt x="2661711" y="416653"/>
                      <a:pt x="2664333" y="415679"/>
                    </a:cubicBezTo>
                    <a:cubicBezTo>
                      <a:pt x="2667012" y="414599"/>
                      <a:pt x="2668665" y="411928"/>
                      <a:pt x="2668437" y="409068"/>
                    </a:cubicBezTo>
                    <a:cubicBezTo>
                      <a:pt x="2667696" y="405135"/>
                      <a:pt x="2662737" y="403767"/>
                      <a:pt x="2658805" y="403881"/>
                    </a:cubicBezTo>
                    <a:cubicBezTo>
                      <a:pt x="2659089" y="400771"/>
                      <a:pt x="2656809" y="398027"/>
                      <a:pt x="2653675" y="397726"/>
                    </a:cubicBezTo>
                    <a:cubicBezTo>
                      <a:pt x="2651851" y="397726"/>
                      <a:pt x="2649229" y="397726"/>
                      <a:pt x="2649058" y="396187"/>
                    </a:cubicBezTo>
                    <a:cubicBezTo>
                      <a:pt x="2648887" y="394648"/>
                      <a:pt x="2649970" y="394363"/>
                      <a:pt x="2650369" y="393451"/>
                    </a:cubicBezTo>
                    <a:cubicBezTo>
                      <a:pt x="2650940" y="391723"/>
                      <a:pt x="2650142" y="389839"/>
                      <a:pt x="2648546" y="389006"/>
                    </a:cubicBezTo>
                    <a:cubicBezTo>
                      <a:pt x="2646950" y="388270"/>
                      <a:pt x="2645183" y="387919"/>
                      <a:pt x="2643416" y="387980"/>
                    </a:cubicBezTo>
                    <a:cubicBezTo>
                      <a:pt x="2635551" y="387378"/>
                      <a:pt x="2627628" y="387780"/>
                      <a:pt x="2619877" y="389177"/>
                    </a:cubicBezTo>
                    <a:cubicBezTo>
                      <a:pt x="2616002" y="390085"/>
                      <a:pt x="2612183" y="391266"/>
                      <a:pt x="2608478" y="392710"/>
                    </a:cubicBezTo>
                    <a:cubicBezTo>
                      <a:pt x="2607566" y="392710"/>
                      <a:pt x="2606597" y="393451"/>
                      <a:pt x="2606369" y="394306"/>
                    </a:cubicBezTo>
                    <a:cubicBezTo>
                      <a:pt x="2606141" y="395161"/>
                      <a:pt x="2606369" y="395845"/>
                      <a:pt x="2606369" y="396586"/>
                    </a:cubicBezTo>
                    <a:cubicBezTo>
                      <a:pt x="2606369" y="397327"/>
                      <a:pt x="2605001" y="398353"/>
                      <a:pt x="2603862" y="398695"/>
                    </a:cubicBezTo>
                    <a:close/>
                    <a:moveTo>
                      <a:pt x="2595654" y="370539"/>
                    </a:moveTo>
                    <a:cubicBezTo>
                      <a:pt x="2593945" y="372819"/>
                      <a:pt x="2589955" y="371337"/>
                      <a:pt x="2587675" y="372762"/>
                    </a:cubicBezTo>
                    <a:cubicBezTo>
                      <a:pt x="2586307" y="373664"/>
                      <a:pt x="2585452" y="375166"/>
                      <a:pt x="2585339" y="376809"/>
                    </a:cubicBezTo>
                    <a:cubicBezTo>
                      <a:pt x="2585282" y="378428"/>
                      <a:pt x="2585509" y="380044"/>
                      <a:pt x="2585965" y="381596"/>
                    </a:cubicBezTo>
                    <a:cubicBezTo>
                      <a:pt x="2586706" y="382775"/>
                      <a:pt x="2587732" y="383723"/>
                      <a:pt x="2588986" y="384332"/>
                    </a:cubicBezTo>
                    <a:cubicBezTo>
                      <a:pt x="2592633" y="385757"/>
                      <a:pt x="2596738" y="385757"/>
                      <a:pt x="2600385" y="384332"/>
                    </a:cubicBezTo>
                    <a:cubicBezTo>
                      <a:pt x="2601354" y="384194"/>
                      <a:pt x="2602266" y="383710"/>
                      <a:pt x="2602950" y="382964"/>
                    </a:cubicBezTo>
                    <a:cubicBezTo>
                      <a:pt x="2603862" y="381653"/>
                      <a:pt x="2602950" y="379830"/>
                      <a:pt x="2602950" y="378177"/>
                    </a:cubicBezTo>
                    <a:cubicBezTo>
                      <a:pt x="2603235" y="376589"/>
                      <a:pt x="2604375" y="375271"/>
                      <a:pt x="2605857" y="374700"/>
                    </a:cubicBezTo>
                    <a:cubicBezTo>
                      <a:pt x="2607338" y="374157"/>
                      <a:pt x="2608934" y="373981"/>
                      <a:pt x="2610530" y="374187"/>
                    </a:cubicBezTo>
                    <a:cubicBezTo>
                      <a:pt x="2610986" y="374333"/>
                      <a:pt x="2611556" y="374333"/>
                      <a:pt x="2612012" y="374187"/>
                    </a:cubicBezTo>
                    <a:cubicBezTo>
                      <a:pt x="2612411" y="373906"/>
                      <a:pt x="2612639" y="373464"/>
                      <a:pt x="2612639" y="372990"/>
                    </a:cubicBezTo>
                    <a:cubicBezTo>
                      <a:pt x="2612867" y="369432"/>
                      <a:pt x="2610416" y="366253"/>
                      <a:pt x="2606939" y="365524"/>
                    </a:cubicBezTo>
                    <a:cubicBezTo>
                      <a:pt x="2603577" y="364868"/>
                      <a:pt x="2600157" y="365045"/>
                      <a:pt x="2596908" y="366037"/>
                    </a:cubicBezTo>
                    <a:cubicBezTo>
                      <a:pt x="2595997" y="367368"/>
                      <a:pt x="2595540" y="368978"/>
                      <a:pt x="2595654" y="370596"/>
                    </a:cubicBezTo>
                    <a:close/>
                    <a:moveTo>
                      <a:pt x="2606540" y="297985"/>
                    </a:moveTo>
                    <a:cubicBezTo>
                      <a:pt x="2604146" y="300607"/>
                      <a:pt x="2599986" y="303001"/>
                      <a:pt x="2597364" y="300664"/>
                    </a:cubicBezTo>
                    <a:cubicBezTo>
                      <a:pt x="2598105" y="298024"/>
                      <a:pt x="2597250" y="295204"/>
                      <a:pt x="2595141" y="293426"/>
                    </a:cubicBezTo>
                    <a:cubicBezTo>
                      <a:pt x="2593033" y="291718"/>
                      <a:pt x="2590582" y="290493"/>
                      <a:pt x="2587960" y="289835"/>
                    </a:cubicBezTo>
                    <a:cubicBezTo>
                      <a:pt x="2584027" y="288630"/>
                      <a:pt x="2579981" y="287678"/>
                      <a:pt x="2575934" y="286985"/>
                    </a:cubicBezTo>
                    <a:cubicBezTo>
                      <a:pt x="2571546" y="286020"/>
                      <a:pt x="2566986" y="286176"/>
                      <a:pt x="2562654" y="287441"/>
                    </a:cubicBezTo>
                    <a:cubicBezTo>
                      <a:pt x="2556955" y="289379"/>
                      <a:pt x="2552110" y="294508"/>
                      <a:pt x="2546354" y="293141"/>
                    </a:cubicBezTo>
                    <a:cubicBezTo>
                      <a:pt x="2547665" y="298415"/>
                      <a:pt x="2546297" y="303984"/>
                      <a:pt x="2542706" y="308073"/>
                    </a:cubicBezTo>
                    <a:cubicBezTo>
                      <a:pt x="2540939" y="309666"/>
                      <a:pt x="2539458" y="311605"/>
                      <a:pt x="2538431" y="313773"/>
                    </a:cubicBezTo>
                    <a:cubicBezTo>
                      <a:pt x="2536551" y="319472"/>
                      <a:pt x="2544131" y="324374"/>
                      <a:pt x="2544131" y="330415"/>
                    </a:cubicBezTo>
                    <a:cubicBezTo>
                      <a:pt x="2544131" y="332467"/>
                      <a:pt x="2543675" y="334576"/>
                      <a:pt x="2544587" y="336115"/>
                    </a:cubicBezTo>
                    <a:cubicBezTo>
                      <a:pt x="2545670" y="337627"/>
                      <a:pt x="2547323" y="338667"/>
                      <a:pt x="2549146" y="339021"/>
                    </a:cubicBezTo>
                    <a:lnTo>
                      <a:pt x="2561743" y="343182"/>
                    </a:lnTo>
                    <a:cubicBezTo>
                      <a:pt x="2563566" y="343930"/>
                      <a:pt x="2565504" y="344166"/>
                      <a:pt x="2567442" y="343866"/>
                    </a:cubicBezTo>
                    <a:cubicBezTo>
                      <a:pt x="2571944" y="342612"/>
                      <a:pt x="2572685" y="336286"/>
                      <a:pt x="2576504" y="333721"/>
                    </a:cubicBezTo>
                    <a:cubicBezTo>
                      <a:pt x="2579240" y="332312"/>
                      <a:pt x="2582375" y="331908"/>
                      <a:pt x="2585339" y="332581"/>
                    </a:cubicBezTo>
                    <a:cubicBezTo>
                      <a:pt x="2586137" y="332554"/>
                      <a:pt x="2586934" y="332816"/>
                      <a:pt x="2587561" y="333322"/>
                    </a:cubicBezTo>
                    <a:cubicBezTo>
                      <a:pt x="2588074" y="333957"/>
                      <a:pt x="2588416" y="334727"/>
                      <a:pt x="2588530" y="335545"/>
                    </a:cubicBezTo>
                    <a:cubicBezTo>
                      <a:pt x="2590240" y="339881"/>
                      <a:pt x="2595141" y="342018"/>
                      <a:pt x="2599473" y="340316"/>
                    </a:cubicBezTo>
                    <a:cubicBezTo>
                      <a:pt x="2600613" y="339876"/>
                      <a:pt x="2601582" y="339201"/>
                      <a:pt x="2602437" y="338337"/>
                    </a:cubicBezTo>
                    <a:cubicBezTo>
                      <a:pt x="2603178" y="337187"/>
                      <a:pt x="2604032" y="336117"/>
                      <a:pt x="2605001" y="335146"/>
                    </a:cubicBezTo>
                    <a:cubicBezTo>
                      <a:pt x="2606825" y="333994"/>
                      <a:pt x="2608991" y="333585"/>
                      <a:pt x="2611100" y="334006"/>
                    </a:cubicBezTo>
                    <a:lnTo>
                      <a:pt x="2636292" y="335488"/>
                    </a:lnTo>
                    <a:cubicBezTo>
                      <a:pt x="2637773" y="335724"/>
                      <a:pt x="2639312" y="335546"/>
                      <a:pt x="2640680" y="334975"/>
                    </a:cubicBezTo>
                    <a:cubicBezTo>
                      <a:pt x="2642960" y="333345"/>
                      <a:pt x="2644043" y="330470"/>
                      <a:pt x="2643359" y="327736"/>
                    </a:cubicBezTo>
                    <a:cubicBezTo>
                      <a:pt x="2642675" y="322892"/>
                      <a:pt x="2638002" y="317819"/>
                      <a:pt x="2633499" y="319700"/>
                    </a:cubicBezTo>
                    <a:lnTo>
                      <a:pt x="2634525" y="299581"/>
                    </a:lnTo>
                    <a:cubicBezTo>
                      <a:pt x="2631390" y="300322"/>
                      <a:pt x="2628826" y="296674"/>
                      <a:pt x="2625519" y="297073"/>
                    </a:cubicBezTo>
                    <a:cubicBezTo>
                      <a:pt x="2624494" y="297310"/>
                      <a:pt x="2623411" y="297634"/>
                      <a:pt x="2622442" y="298042"/>
                    </a:cubicBezTo>
                    <a:cubicBezTo>
                      <a:pt x="2619136" y="298761"/>
                      <a:pt x="2615831" y="296651"/>
                      <a:pt x="2615147" y="293329"/>
                    </a:cubicBezTo>
                    <a:cubicBezTo>
                      <a:pt x="2615090" y="293153"/>
                      <a:pt x="2615033" y="292976"/>
                      <a:pt x="2615033" y="292799"/>
                    </a:cubicBezTo>
                    <a:cubicBezTo>
                      <a:pt x="2611841" y="292172"/>
                      <a:pt x="2608934" y="295420"/>
                      <a:pt x="2606540" y="298042"/>
                    </a:cubicBezTo>
                    <a:close/>
                    <a:moveTo>
                      <a:pt x="2648488" y="294110"/>
                    </a:moveTo>
                    <a:cubicBezTo>
                      <a:pt x="2643188" y="294964"/>
                      <a:pt x="2641022" y="301234"/>
                      <a:pt x="2639882" y="306477"/>
                    </a:cubicBezTo>
                    <a:lnTo>
                      <a:pt x="2648033" y="310752"/>
                    </a:lnTo>
                    <a:cubicBezTo>
                      <a:pt x="2646494" y="318618"/>
                      <a:pt x="2650940" y="326422"/>
                      <a:pt x="2658463" y="329161"/>
                    </a:cubicBezTo>
                    <a:cubicBezTo>
                      <a:pt x="2658691" y="331736"/>
                      <a:pt x="2658007" y="334308"/>
                      <a:pt x="2656582" y="336457"/>
                    </a:cubicBezTo>
                    <a:cubicBezTo>
                      <a:pt x="2664447" y="338495"/>
                      <a:pt x="2672825" y="337915"/>
                      <a:pt x="2680348" y="334804"/>
                    </a:cubicBezTo>
                    <a:cubicBezTo>
                      <a:pt x="2680918" y="334675"/>
                      <a:pt x="2681489" y="334422"/>
                      <a:pt x="2681944" y="334063"/>
                    </a:cubicBezTo>
                    <a:cubicBezTo>
                      <a:pt x="2682400" y="333560"/>
                      <a:pt x="2682742" y="332925"/>
                      <a:pt x="2682856" y="332239"/>
                    </a:cubicBezTo>
                    <a:cubicBezTo>
                      <a:pt x="2684395" y="328100"/>
                      <a:pt x="2685421" y="323766"/>
                      <a:pt x="2685763" y="319358"/>
                    </a:cubicBezTo>
                    <a:cubicBezTo>
                      <a:pt x="2685649" y="318213"/>
                      <a:pt x="2685877" y="317060"/>
                      <a:pt x="2686447" y="316052"/>
                    </a:cubicBezTo>
                    <a:cubicBezTo>
                      <a:pt x="2687017" y="315404"/>
                      <a:pt x="2687701" y="314913"/>
                      <a:pt x="2688499" y="314628"/>
                    </a:cubicBezTo>
                    <a:cubicBezTo>
                      <a:pt x="2690779" y="313542"/>
                      <a:pt x="2693172" y="312738"/>
                      <a:pt x="2695623" y="312234"/>
                    </a:cubicBezTo>
                    <a:cubicBezTo>
                      <a:pt x="2697903" y="311721"/>
                      <a:pt x="2700810" y="310866"/>
                      <a:pt x="2700923" y="308586"/>
                    </a:cubicBezTo>
                    <a:cubicBezTo>
                      <a:pt x="2700866" y="307468"/>
                      <a:pt x="2700411" y="306406"/>
                      <a:pt x="2699670" y="305565"/>
                    </a:cubicBezTo>
                    <a:cubicBezTo>
                      <a:pt x="2697390" y="302317"/>
                      <a:pt x="2694540" y="298669"/>
                      <a:pt x="2690551" y="298327"/>
                    </a:cubicBezTo>
                    <a:cubicBezTo>
                      <a:pt x="2689297" y="298417"/>
                      <a:pt x="2688042" y="298301"/>
                      <a:pt x="2686789" y="297985"/>
                    </a:cubicBezTo>
                    <a:cubicBezTo>
                      <a:pt x="2685649" y="297382"/>
                      <a:pt x="2684623" y="296477"/>
                      <a:pt x="2683939" y="295363"/>
                    </a:cubicBezTo>
                    <a:cubicBezTo>
                      <a:pt x="2677556" y="288199"/>
                      <a:pt x="2667012" y="286551"/>
                      <a:pt x="2658748" y="291431"/>
                    </a:cubicBezTo>
                    <a:cubicBezTo>
                      <a:pt x="2657380" y="292449"/>
                      <a:pt x="2655898" y="293256"/>
                      <a:pt x="2654302" y="293825"/>
                    </a:cubicBezTo>
                    <a:cubicBezTo>
                      <a:pt x="2652421" y="294394"/>
                      <a:pt x="2650369" y="293825"/>
                      <a:pt x="2648488" y="294167"/>
                    </a:cubicBezTo>
                    <a:close/>
                    <a:moveTo>
                      <a:pt x="2736032" y="336001"/>
                    </a:moveTo>
                    <a:cubicBezTo>
                      <a:pt x="2736944" y="336257"/>
                      <a:pt x="2737857" y="336257"/>
                      <a:pt x="2738768" y="336001"/>
                    </a:cubicBezTo>
                    <a:cubicBezTo>
                      <a:pt x="2744410" y="335208"/>
                      <a:pt x="2750167" y="335017"/>
                      <a:pt x="2755866" y="335431"/>
                    </a:cubicBezTo>
                    <a:cubicBezTo>
                      <a:pt x="2759685" y="335269"/>
                      <a:pt x="2763390" y="336766"/>
                      <a:pt x="2766012" y="339534"/>
                    </a:cubicBezTo>
                    <a:cubicBezTo>
                      <a:pt x="2766696" y="340503"/>
                      <a:pt x="2767265" y="341700"/>
                      <a:pt x="2768349" y="342099"/>
                    </a:cubicBezTo>
                    <a:cubicBezTo>
                      <a:pt x="2769260" y="342383"/>
                      <a:pt x="2770172" y="342383"/>
                      <a:pt x="2771084" y="342099"/>
                    </a:cubicBezTo>
                    <a:cubicBezTo>
                      <a:pt x="2779462" y="339284"/>
                      <a:pt x="2788638" y="340505"/>
                      <a:pt x="2795991" y="345405"/>
                    </a:cubicBezTo>
                    <a:cubicBezTo>
                      <a:pt x="2798385" y="347400"/>
                      <a:pt x="2800892" y="350249"/>
                      <a:pt x="2803970" y="349565"/>
                    </a:cubicBezTo>
                    <a:cubicBezTo>
                      <a:pt x="2807048" y="348881"/>
                      <a:pt x="2808131" y="345063"/>
                      <a:pt x="2808586" y="341928"/>
                    </a:cubicBezTo>
                    <a:cubicBezTo>
                      <a:pt x="2813032" y="342853"/>
                      <a:pt x="2817649" y="342497"/>
                      <a:pt x="2821867" y="340902"/>
                    </a:cubicBezTo>
                    <a:cubicBezTo>
                      <a:pt x="2826141" y="339088"/>
                      <a:pt x="2828364" y="334289"/>
                      <a:pt x="2826939" y="329845"/>
                    </a:cubicBezTo>
                    <a:cubicBezTo>
                      <a:pt x="2824944" y="325457"/>
                      <a:pt x="2819074" y="324659"/>
                      <a:pt x="2814229" y="324545"/>
                    </a:cubicBezTo>
                    <a:lnTo>
                      <a:pt x="2786302" y="323633"/>
                    </a:lnTo>
                    <a:cubicBezTo>
                      <a:pt x="2782255" y="323633"/>
                      <a:pt x="2777125" y="322379"/>
                      <a:pt x="2776555" y="318446"/>
                    </a:cubicBezTo>
                    <a:lnTo>
                      <a:pt x="2748058" y="316679"/>
                    </a:lnTo>
                    <a:cubicBezTo>
                      <a:pt x="2746576" y="316724"/>
                      <a:pt x="2745094" y="316412"/>
                      <a:pt x="2743726" y="315768"/>
                    </a:cubicBezTo>
                    <a:cubicBezTo>
                      <a:pt x="2741960" y="314742"/>
                      <a:pt x="2740991" y="312690"/>
                      <a:pt x="2739281" y="311493"/>
                    </a:cubicBezTo>
                    <a:cubicBezTo>
                      <a:pt x="2735634" y="309099"/>
                      <a:pt x="2730846" y="311493"/>
                      <a:pt x="2727255" y="314001"/>
                    </a:cubicBezTo>
                    <a:lnTo>
                      <a:pt x="2724121" y="316110"/>
                    </a:lnTo>
                    <a:cubicBezTo>
                      <a:pt x="2722924" y="316806"/>
                      <a:pt x="2721898" y="317808"/>
                      <a:pt x="2721214" y="319016"/>
                    </a:cubicBezTo>
                    <a:cubicBezTo>
                      <a:pt x="2719903" y="321980"/>
                      <a:pt x="2722810" y="325058"/>
                      <a:pt x="2725774" y="326483"/>
                    </a:cubicBezTo>
                    <a:cubicBezTo>
                      <a:pt x="2728737" y="327907"/>
                      <a:pt x="2732213" y="328876"/>
                      <a:pt x="2733638" y="331783"/>
                    </a:cubicBezTo>
                    <a:cubicBezTo>
                      <a:pt x="2734379" y="333379"/>
                      <a:pt x="2734607" y="335317"/>
                      <a:pt x="2736032" y="336001"/>
                    </a:cubicBezTo>
                    <a:close/>
                    <a:moveTo>
                      <a:pt x="3229208" y="567741"/>
                    </a:moveTo>
                    <a:cubicBezTo>
                      <a:pt x="3227099" y="569280"/>
                      <a:pt x="3228125" y="572757"/>
                      <a:pt x="3226814" y="575037"/>
                    </a:cubicBezTo>
                    <a:cubicBezTo>
                      <a:pt x="3225503" y="576849"/>
                      <a:pt x="3223337" y="577841"/>
                      <a:pt x="3221114" y="577658"/>
                    </a:cubicBezTo>
                    <a:cubicBezTo>
                      <a:pt x="3218949" y="577482"/>
                      <a:pt x="3216783" y="577601"/>
                      <a:pt x="3214617" y="578000"/>
                    </a:cubicBezTo>
                    <a:cubicBezTo>
                      <a:pt x="3217980" y="580765"/>
                      <a:pt x="3222312" y="581984"/>
                      <a:pt x="3226643" y="581363"/>
                    </a:cubicBezTo>
                    <a:cubicBezTo>
                      <a:pt x="3230063" y="581722"/>
                      <a:pt x="3233425" y="580765"/>
                      <a:pt x="3236161" y="578684"/>
                    </a:cubicBezTo>
                    <a:cubicBezTo>
                      <a:pt x="3238726" y="576011"/>
                      <a:pt x="3238669" y="571754"/>
                      <a:pt x="3235990" y="569172"/>
                    </a:cubicBezTo>
                    <a:cubicBezTo>
                      <a:pt x="3234736" y="567975"/>
                      <a:pt x="3233083" y="567297"/>
                      <a:pt x="3231374" y="567285"/>
                    </a:cubicBezTo>
                    <a:cubicBezTo>
                      <a:pt x="3230633" y="567257"/>
                      <a:pt x="3229892" y="567433"/>
                      <a:pt x="3229208" y="567798"/>
                    </a:cubicBezTo>
                    <a:close/>
                    <a:moveTo>
                      <a:pt x="3444021" y="528757"/>
                    </a:moveTo>
                    <a:cubicBezTo>
                      <a:pt x="3447840" y="530695"/>
                      <a:pt x="3451716" y="526705"/>
                      <a:pt x="3455420" y="524653"/>
                    </a:cubicBezTo>
                    <a:cubicBezTo>
                      <a:pt x="3459124" y="522601"/>
                      <a:pt x="3464482" y="522031"/>
                      <a:pt x="3467788" y="518954"/>
                    </a:cubicBezTo>
                    <a:cubicBezTo>
                      <a:pt x="3468814" y="517928"/>
                      <a:pt x="3469555" y="516731"/>
                      <a:pt x="3470580" y="515705"/>
                    </a:cubicBezTo>
                    <a:cubicBezTo>
                      <a:pt x="3474912" y="512610"/>
                      <a:pt x="3480383" y="511550"/>
                      <a:pt x="3485570" y="512798"/>
                    </a:cubicBezTo>
                    <a:lnTo>
                      <a:pt x="3509907" y="515192"/>
                    </a:lnTo>
                    <a:cubicBezTo>
                      <a:pt x="3512357" y="515620"/>
                      <a:pt x="3514865" y="515620"/>
                      <a:pt x="3517316" y="515192"/>
                    </a:cubicBezTo>
                    <a:cubicBezTo>
                      <a:pt x="3519767" y="514651"/>
                      <a:pt x="3521819" y="512855"/>
                      <a:pt x="3522617" y="510462"/>
                    </a:cubicBezTo>
                    <a:cubicBezTo>
                      <a:pt x="3522959" y="506945"/>
                      <a:pt x="3521078" y="503582"/>
                      <a:pt x="3517943" y="501969"/>
                    </a:cubicBezTo>
                    <a:cubicBezTo>
                      <a:pt x="3509622" y="496270"/>
                      <a:pt x="3498679" y="497125"/>
                      <a:pt x="3488648" y="498037"/>
                    </a:cubicBezTo>
                    <a:lnTo>
                      <a:pt x="3468700" y="499917"/>
                    </a:lnTo>
                    <a:cubicBezTo>
                      <a:pt x="3465622" y="499923"/>
                      <a:pt x="3462658" y="500881"/>
                      <a:pt x="3460151" y="502653"/>
                    </a:cubicBezTo>
                    <a:cubicBezTo>
                      <a:pt x="3458953" y="503793"/>
                      <a:pt x="3458156" y="505275"/>
                      <a:pt x="3456959" y="506358"/>
                    </a:cubicBezTo>
                    <a:cubicBezTo>
                      <a:pt x="3453482" y="509607"/>
                      <a:pt x="3447726" y="508809"/>
                      <a:pt x="3443850" y="511487"/>
                    </a:cubicBezTo>
                    <a:cubicBezTo>
                      <a:pt x="3439576" y="515067"/>
                      <a:pt x="3438492" y="521216"/>
                      <a:pt x="3441342" y="526021"/>
                    </a:cubicBezTo>
                    <a:cubicBezTo>
                      <a:pt x="3441912" y="527201"/>
                      <a:pt x="3442881" y="528175"/>
                      <a:pt x="3444021" y="528814"/>
                    </a:cubicBezTo>
                    <a:close/>
                    <a:moveTo>
                      <a:pt x="3681005" y="819430"/>
                    </a:moveTo>
                    <a:cubicBezTo>
                      <a:pt x="3676731" y="819886"/>
                      <a:pt x="3672570" y="821140"/>
                      <a:pt x="3668296" y="821311"/>
                    </a:cubicBezTo>
                    <a:cubicBezTo>
                      <a:pt x="3661912" y="821653"/>
                      <a:pt x="3655129" y="819715"/>
                      <a:pt x="3649373" y="822451"/>
                    </a:cubicBezTo>
                    <a:cubicBezTo>
                      <a:pt x="3649373" y="824787"/>
                      <a:pt x="3649373" y="827124"/>
                      <a:pt x="3649373" y="829461"/>
                    </a:cubicBezTo>
                    <a:cubicBezTo>
                      <a:pt x="3661171" y="831171"/>
                      <a:pt x="3672969" y="832254"/>
                      <a:pt x="3684881" y="832710"/>
                    </a:cubicBezTo>
                    <a:cubicBezTo>
                      <a:pt x="3686875" y="837440"/>
                      <a:pt x="3693145" y="838067"/>
                      <a:pt x="3698218" y="838010"/>
                    </a:cubicBezTo>
                    <a:lnTo>
                      <a:pt x="3713036" y="838010"/>
                    </a:lnTo>
                    <a:cubicBezTo>
                      <a:pt x="3714005" y="838079"/>
                      <a:pt x="3714974" y="837845"/>
                      <a:pt x="3715829" y="837326"/>
                    </a:cubicBezTo>
                    <a:cubicBezTo>
                      <a:pt x="3716570" y="836699"/>
                      <a:pt x="3716684" y="835331"/>
                      <a:pt x="3715829" y="834932"/>
                    </a:cubicBezTo>
                    <a:cubicBezTo>
                      <a:pt x="3712295" y="830607"/>
                      <a:pt x="3707052" y="828099"/>
                      <a:pt x="3701466" y="828093"/>
                    </a:cubicBezTo>
                    <a:cubicBezTo>
                      <a:pt x="3699186" y="828384"/>
                      <a:pt x="3696906" y="828213"/>
                      <a:pt x="3694741" y="827580"/>
                    </a:cubicBezTo>
                    <a:cubicBezTo>
                      <a:pt x="3692689" y="826611"/>
                      <a:pt x="3691435" y="823534"/>
                      <a:pt x="3693202" y="821881"/>
                    </a:cubicBezTo>
                    <a:cubicBezTo>
                      <a:pt x="3689612" y="819544"/>
                      <a:pt x="3685223" y="818643"/>
                      <a:pt x="3681005" y="819373"/>
                    </a:cubicBezTo>
                    <a:close/>
                    <a:moveTo>
                      <a:pt x="2645867" y="1217538"/>
                    </a:moveTo>
                    <a:cubicBezTo>
                      <a:pt x="2644898" y="1215885"/>
                      <a:pt x="2643074" y="1215030"/>
                      <a:pt x="2641706" y="1213719"/>
                    </a:cubicBezTo>
                    <a:cubicBezTo>
                      <a:pt x="2637716" y="1209844"/>
                      <a:pt x="2639027" y="1203403"/>
                      <a:pt x="2638970" y="1197818"/>
                    </a:cubicBezTo>
                    <a:cubicBezTo>
                      <a:pt x="2638913" y="1192232"/>
                      <a:pt x="2634582" y="1185336"/>
                      <a:pt x="2629509" y="1187559"/>
                    </a:cubicBezTo>
                    <a:cubicBezTo>
                      <a:pt x="2623810" y="1195823"/>
                      <a:pt x="2623525" y="1206538"/>
                      <a:pt x="2623468" y="1216512"/>
                    </a:cubicBezTo>
                    <a:cubicBezTo>
                      <a:pt x="2623240" y="1219772"/>
                      <a:pt x="2623582" y="1223038"/>
                      <a:pt x="2624380" y="1226201"/>
                    </a:cubicBezTo>
                    <a:cubicBezTo>
                      <a:pt x="2625178" y="1228498"/>
                      <a:pt x="2626203" y="1230715"/>
                      <a:pt x="2627401" y="1232813"/>
                    </a:cubicBezTo>
                    <a:cubicBezTo>
                      <a:pt x="2633841" y="1245785"/>
                      <a:pt x="2636007" y="1260489"/>
                      <a:pt x="2633442" y="1274761"/>
                    </a:cubicBezTo>
                    <a:cubicBezTo>
                      <a:pt x="2632188" y="1281543"/>
                      <a:pt x="2629908" y="1288155"/>
                      <a:pt x="2628883" y="1295051"/>
                    </a:cubicBezTo>
                    <a:cubicBezTo>
                      <a:pt x="2628085" y="1304689"/>
                      <a:pt x="2628198" y="1314389"/>
                      <a:pt x="2629224" y="1324004"/>
                    </a:cubicBezTo>
                    <a:cubicBezTo>
                      <a:pt x="2630193" y="1343405"/>
                      <a:pt x="2628312" y="1362846"/>
                      <a:pt x="2623525" y="1381683"/>
                    </a:cubicBezTo>
                    <a:cubicBezTo>
                      <a:pt x="2622556" y="1385673"/>
                      <a:pt x="2621644" y="1390517"/>
                      <a:pt x="2624608" y="1393367"/>
                    </a:cubicBezTo>
                    <a:cubicBezTo>
                      <a:pt x="2628711" y="1393743"/>
                      <a:pt x="2632644" y="1391663"/>
                      <a:pt x="2634696" y="1388066"/>
                    </a:cubicBezTo>
                    <a:cubicBezTo>
                      <a:pt x="2636634" y="1384533"/>
                      <a:pt x="2637888" y="1380663"/>
                      <a:pt x="2638343" y="1376667"/>
                    </a:cubicBezTo>
                    <a:cubicBezTo>
                      <a:pt x="2643017" y="1374502"/>
                      <a:pt x="2647519" y="1379802"/>
                      <a:pt x="2649742" y="1384305"/>
                    </a:cubicBezTo>
                    <a:cubicBezTo>
                      <a:pt x="2651965" y="1388807"/>
                      <a:pt x="2656981" y="1393994"/>
                      <a:pt x="2661540" y="1391486"/>
                    </a:cubicBezTo>
                    <a:cubicBezTo>
                      <a:pt x="2663934" y="1389862"/>
                      <a:pt x="2665017" y="1386864"/>
                      <a:pt x="2664219" y="1384077"/>
                    </a:cubicBezTo>
                    <a:cubicBezTo>
                      <a:pt x="2663364" y="1381364"/>
                      <a:pt x="2661768" y="1378924"/>
                      <a:pt x="2659659" y="1377009"/>
                    </a:cubicBezTo>
                    <a:cubicBezTo>
                      <a:pt x="2653903" y="1372170"/>
                      <a:pt x="2648831" y="1366642"/>
                      <a:pt x="2644442" y="1360538"/>
                    </a:cubicBezTo>
                    <a:cubicBezTo>
                      <a:pt x="2638229" y="1349709"/>
                      <a:pt x="2640452" y="1336201"/>
                      <a:pt x="2642846" y="1323947"/>
                    </a:cubicBezTo>
                    <a:lnTo>
                      <a:pt x="2646437" y="1305709"/>
                    </a:lnTo>
                    <a:cubicBezTo>
                      <a:pt x="2646551" y="1304358"/>
                      <a:pt x="2647007" y="1303059"/>
                      <a:pt x="2647805" y="1301947"/>
                    </a:cubicBezTo>
                    <a:cubicBezTo>
                      <a:pt x="2650996" y="1298186"/>
                      <a:pt x="2659204" y="1301491"/>
                      <a:pt x="2660857" y="1296818"/>
                    </a:cubicBezTo>
                    <a:cubicBezTo>
                      <a:pt x="2662851" y="1292971"/>
                      <a:pt x="2662224" y="1288274"/>
                      <a:pt x="2659204" y="1285134"/>
                    </a:cubicBezTo>
                    <a:cubicBezTo>
                      <a:pt x="2656240" y="1282079"/>
                      <a:pt x="2653903" y="1278528"/>
                      <a:pt x="2652193" y="1274647"/>
                    </a:cubicBezTo>
                    <a:cubicBezTo>
                      <a:pt x="2651681" y="1270691"/>
                      <a:pt x="2651851" y="1266679"/>
                      <a:pt x="2652763" y="1262792"/>
                    </a:cubicBezTo>
                    <a:cubicBezTo>
                      <a:pt x="2654074" y="1249341"/>
                      <a:pt x="2646209" y="1236403"/>
                      <a:pt x="2646323" y="1222896"/>
                    </a:cubicBezTo>
                    <a:cubicBezTo>
                      <a:pt x="2646665" y="1221083"/>
                      <a:pt x="2646551" y="1219208"/>
                      <a:pt x="2645867" y="1217481"/>
                    </a:cubicBezTo>
                    <a:close/>
                    <a:moveTo>
                      <a:pt x="46907" y="1126347"/>
                    </a:moveTo>
                    <a:cubicBezTo>
                      <a:pt x="46593" y="1124192"/>
                      <a:pt x="46080" y="1122078"/>
                      <a:pt x="45368" y="1120020"/>
                    </a:cubicBezTo>
                    <a:cubicBezTo>
                      <a:pt x="44433" y="1115215"/>
                      <a:pt x="41971" y="1110838"/>
                      <a:pt x="38357" y="1107538"/>
                    </a:cubicBezTo>
                    <a:cubicBezTo>
                      <a:pt x="31974" y="1102808"/>
                      <a:pt x="21601" y="1105259"/>
                      <a:pt x="16357" y="1099274"/>
                    </a:cubicBezTo>
                    <a:cubicBezTo>
                      <a:pt x="14477" y="1097108"/>
                      <a:pt x="13622" y="1094259"/>
                      <a:pt x="11741" y="1092093"/>
                    </a:cubicBezTo>
                    <a:cubicBezTo>
                      <a:pt x="10362" y="1090571"/>
                      <a:pt x="8583" y="1089471"/>
                      <a:pt x="6611" y="1088901"/>
                    </a:cubicBezTo>
                    <a:cubicBezTo>
                      <a:pt x="4748" y="1092155"/>
                      <a:pt x="2531" y="1095193"/>
                      <a:pt x="0" y="1097963"/>
                    </a:cubicBezTo>
                    <a:cubicBezTo>
                      <a:pt x="3061" y="1100545"/>
                      <a:pt x="6839" y="1102118"/>
                      <a:pt x="10829" y="1102466"/>
                    </a:cubicBezTo>
                    <a:cubicBezTo>
                      <a:pt x="11570" y="1106626"/>
                      <a:pt x="5415" y="1108165"/>
                      <a:pt x="1197" y="1107481"/>
                    </a:cubicBezTo>
                    <a:cubicBezTo>
                      <a:pt x="1539" y="1111357"/>
                      <a:pt x="1824" y="1115176"/>
                      <a:pt x="2166" y="1118880"/>
                    </a:cubicBezTo>
                    <a:cubicBezTo>
                      <a:pt x="2166" y="1120647"/>
                      <a:pt x="2166" y="1122870"/>
                      <a:pt x="456" y="1123440"/>
                    </a:cubicBezTo>
                    <a:cubicBezTo>
                      <a:pt x="1140" y="1124295"/>
                      <a:pt x="1710" y="1125150"/>
                      <a:pt x="2451" y="1125948"/>
                    </a:cubicBezTo>
                    <a:cubicBezTo>
                      <a:pt x="3266" y="1126911"/>
                      <a:pt x="4223" y="1127737"/>
                      <a:pt x="5300" y="1128398"/>
                    </a:cubicBezTo>
                    <a:cubicBezTo>
                      <a:pt x="6959" y="1129077"/>
                      <a:pt x="8749" y="1129390"/>
                      <a:pt x="10544" y="1129310"/>
                    </a:cubicBezTo>
                    <a:lnTo>
                      <a:pt x="23653" y="1129652"/>
                    </a:lnTo>
                    <a:cubicBezTo>
                      <a:pt x="30019" y="1129128"/>
                      <a:pt x="36385" y="1130650"/>
                      <a:pt x="41834" y="1133984"/>
                    </a:cubicBezTo>
                    <a:cubicBezTo>
                      <a:pt x="43635" y="1135774"/>
                      <a:pt x="45693" y="1137290"/>
                      <a:pt x="47932" y="1138486"/>
                    </a:cubicBezTo>
                    <a:cubicBezTo>
                      <a:pt x="47471" y="1136777"/>
                      <a:pt x="47203" y="1135015"/>
                      <a:pt x="47135" y="1133243"/>
                    </a:cubicBezTo>
                    <a:cubicBezTo>
                      <a:pt x="46850" y="1131020"/>
                      <a:pt x="47021" y="1128683"/>
                      <a:pt x="46736" y="1126347"/>
                    </a:cubicBezTo>
                    <a:close/>
                    <a:moveTo>
                      <a:pt x="3678213" y="736446"/>
                    </a:moveTo>
                    <a:cubicBezTo>
                      <a:pt x="3675192" y="740076"/>
                      <a:pt x="3670119" y="741359"/>
                      <a:pt x="3665730" y="739637"/>
                    </a:cubicBezTo>
                    <a:cubicBezTo>
                      <a:pt x="3665787" y="736491"/>
                      <a:pt x="3663223" y="733909"/>
                      <a:pt x="3660088" y="733875"/>
                    </a:cubicBezTo>
                    <a:cubicBezTo>
                      <a:pt x="3659803" y="733869"/>
                      <a:pt x="3659461" y="733892"/>
                      <a:pt x="3659176" y="733938"/>
                    </a:cubicBezTo>
                    <a:cubicBezTo>
                      <a:pt x="3660658" y="738155"/>
                      <a:pt x="3655699" y="742202"/>
                      <a:pt x="3651254" y="742031"/>
                    </a:cubicBezTo>
                    <a:cubicBezTo>
                      <a:pt x="3646865" y="741319"/>
                      <a:pt x="3642648" y="739751"/>
                      <a:pt x="3638829" y="737414"/>
                    </a:cubicBezTo>
                    <a:cubicBezTo>
                      <a:pt x="3634953" y="735072"/>
                      <a:pt x="3630052" y="735180"/>
                      <a:pt x="3626233" y="737699"/>
                    </a:cubicBezTo>
                    <a:cubicBezTo>
                      <a:pt x="3625321" y="743741"/>
                      <a:pt x="3632844" y="747104"/>
                      <a:pt x="3636606" y="751891"/>
                    </a:cubicBezTo>
                    <a:cubicBezTo>
                      <a:pt x="3640881" y="757482"/>
                      <a:pt x="3639855" y="765496"/>
                      <a:pt x="3634269" y="769793"/>
                    </a:cubicBezTo>
                    <a:cubicBezTo>
                      <a:pt x="3631249" y="772107"/>
                      <a:pt x="3627373" y="772962"/>
                      <a:pt x="3623668" y="772124"/>
                    </a:cubicBezTo>
                    <a:cubicBezTo>
                      <a:pt x="3623668" y="774689"/>
                      <a:pt x="3623668" y="777311"/>
                      <a:pt x="3623668" y="779876"/>
                    </a:cubicBezTo>
                    <a:cubicBezTo>
                      <a:pt x="3626689" y="780674"/>
                      <a:pt x="3629197" y="782754"/>
                      <a:pt x="3630565" y="785575"/>
                    </a:cubicBezTo>
                    <a:cubicBezTo>
                      <a:pt x="3624523" y="791799"/>
                      <a:pt x="3614606" y="791970"/>
                      <a:pt x="3608394" y="785951"/>
                    </a:cubicBezTo>
                    <a:cubicBezTo>
                      <a:pt x="3607026" y="784618"/>
                      <a:pt x="3605886" y="783039"/>
                      <a:pt x="3605088" y="781300"/>
                    </a:cubicBezTo>
                    <a:lnTo>
                      <a:pt x="3595171" y="779477"/>
                    </a:lnTo>
                    <a:lnTo>
                      <a:pt x="3595171" y="771668"/>
                    </a:lnTo>
                    <a:cubicBezTo>
                      <a:pt x="3584171" y="771640"/>
                      <a:pt x="3573228" y="769713"/>
                      <a:pt x="3562855" y="765969"/>
                    </a:cubicBezTo>
                    <a:cubicBezTo>
                      <a:pt x="3562912" y="758827"/>
                      <a:pt x="3559777" y="752028"/>
                      <a:pt x="3554306" y="747446"/>
                    </a:cubicBezTo>
                    <a:cubicBezTo>
                      <a:pt x="3543591" y="741245"/>
                      <a:pt x="3530596" y="740424"/>
                      <a:pt x="3519197" y="745223"/>
                    </a:cubicBezTo>
                    <a:cubicBezTo>
                      <a:pt x="3516290" y="746477"/>
                      <a:pt x="3513041" y="748073"/>
                      <a:pt x="3510249" y="746648"/>
                    </a:cubicBezTo>
                    <a:cubicBezTo>
                      <a:pt x="3507456" y="745223"/>
                      <a:pt x="3506487" y="739979"/>
                      <a:pt x="3503410" y="737928"/>
                    </a:cubicBezTo>
                    <a:cubicBezTo>
                      <a:pt x="3502042" y="737016"/>
                      <a:pt x="3500275" y="736788"/>
                      <a:pt x="3498964" y="735819"/>
                    </a:cubicBezTo>
                    <a:cubicBezTo>
                      <a:pt x="3494405" y="732513"/>
                      <a:pt x="3498337" y="725446"/>
                      <a:pt x="3502270" y="721456"/>
                    </a:cubicBezTo>
                    <a:cubicBezTo>
                      <a:pt x="3506202" y="717466"/>
                      <a:pt x="3509793" y="710057"/>
                      <a:pt x="3505006" y="707093"/>
                    </a:cubicBezTo>
                    <a:cubicBezTo>
                      <a:pt x="3503238" y="706278"/>
                      <a:pt x="3501244" y="706056"/>
                      <a:pt x="3499306" y="706466"/>
                    </a:cubicBezTo>
                    <a:cubicBezTo>
                      <a:pt x="3488249" y="708091"/>
                      <a:pt x="3477933" y="713038"/>
                      <a:pt x="3469782" y="720658"/>
                    </a:cubicBezTo>
                    <a:cubicBezTo>
                      <a:pt x="3466648" y="723736"/>
                      <a:pt x="3469782" y="729036"/>
                      <a:pt x="3473715" y="731202"/>
                    </a:cubicBezTo>
                    <a:cubicBezTo>
                      <a:pt x="3477648" y="733368"/>
                      <a:pt x="3482379" y="734964"/>
                      <a:pt x="3483690" y="739181"/>
                    </a:cubicBezTo>
                    <a:cubicBezTo>
                      <a:pt x="3485855" y="745964"/>
                      <a:pt x="3476850" y="750580"/>
                      <a:pt x="3469782" y="751606"/>
                    </a:cubicBezTo>
                    <a:cubicBezTo>
                      <a:pt x="3458441" y="753122"/>
                      <a:pt x="3446928" y="753122"/>
                      <a:pt x="3435586" y="751606"/>
                    </a:cubicBezTo>
                    <a:cubicBezTo>
                      <a:pt x="3436783" y="754513"/>
                      <a:pt x="3434161" y="757306"/>
                      <a:pt x="3431767" y="759472"/>
                    </a:cubicBezTo>
                    <a:cubicBezTo>
                      <a:pt x="3428006" y="763074"/>
                      <a:pt x="3423161" y="765285"/>
                      <a:pt x="3417974" y="765741"/>
                    </a:cubicBezTo>
                    <a:cubicBezTo>
                      <a:pt x="3412845" y="765741"/>
                      <a:pt x="3407601" y="760725"/>
                      <a:pt x="3409083" y="755824"/>
                    </a:cubicBezTo>
                    <a:cubicBezTo>
                      <a:pt x="3401959" y="755242"/>
                      <a:pt x="3394834" y="757271"/>
                      <a:pt x="3389078" y="761523"/>
                    </a:cubicBezTo>
                    <a:cubicBezTo>
                      <a:pt x="3384063" y="766539"/>
                      <a:pt x="3385088" y="777368"/>
                      <a:pt x="3392099" y="778622"/>
                    </a:cubicBezTo>
                    <a:cubicBezTo>
                      <a:pt x="3395062" y="779078"/>
                      <a:pt x="3398539" y="777881"/>
                      <a:pt x="3400762" y="779876"/>
                    </a:cubicBezTo>
                    <a:cubicBezTo>
                      <a:pt x="3402985" y="781870"/>
                      <a:pt x="3402358" y="784834"/>
                      <a:pt x="3401959" y="787456"/>
                    </a:cubicBezTo>
                    <a:cubicBezTo>
                      <a:pt x="3401104" y="791525"/>
                      <a:pt x="3401503" y="795754"/>
                      <a:pt x="3403099" y="799596"/>
                    </a:cubicBezTo>
                    <a:cubicBezTo>
                      <a:pt x="3404751" y="803551"/>
                      <a:pt x="3408855" y="805888"/>
                      <a:pt x="3413130" y="805295"/>
                    </a:cubicBezTo>
                    <a:cubicBezTo>
                      <a:pt x="3412218" y="809427"/>
                      <a:pt x="3411933" y="813668"/>
                      <a:pt x="3412218" y="817891"/>
                    </a:cubicBezTo>
                    <a:cubicBezTo>
                      <a:pt x="3416493" y="816455"/>
                      <a:pt x="3421166" y="818775"/>
                      <a:pt x="3422591" y="823078"/>
                    </a:cubicBezTo>
                    <a:cubicBezTo>
                      <a:pt x="3422990" y="824160"/>
                      <a:pt x="3423104" y="825306"/>
                      <a:pt x="3422990" y="826440"/>
                    </a:cubicBezTo>
                    <a:lnTo>
                      <a:pt x="3428689" y="827181"/>
                    </a:lnTo>
                    <a:cubicBezTo>
                      <a:pt x="3430228" y="833815"/>
                      <a:pt x="3434674" y="839424"/>
                      <a:pt x="3440715" y="842513"/>
                    </a:cubicBezTo>
                    <a:cubicBezTo>
                      <a:pt x="3446870" y="845773"/>
                      <a:pt x="3454109" y="846485"/>
                      <a:pt x="3460778" y="844508"/>
                    </a:cubicBezTo>
                    <a:cubicBezTo>
                      <a:pt x="3462431" y="850207"/>
                      <a:pt x="3454451" y="853285"/>
                      <a:pt x="3448581" y="853684"/>
                    </a:cubicBezTo>
                    <a:lnTo>
                      <a:pt x="3449436" y="858129"/>
                    </a:lnTo>
                    <a:cubicBezTo>
                      <a:pt x="3449379" y="859577"/>
                      <a:pt x="3449093" y="861002"/>
                      <a:pt x="3448581" y="862347"/>
                    </a:cubicBezTo>
                    <a:cubicBezTo>
                      <a:pt x="3443565" y="863943"/>
                      <a:pt x="3437182" y="865140"/>
                      <a:pt x="3433933" y="860865"/>
                    </a:cubicBezTo>
                    <a:cubicBezTo>
                      <a:pt x="3433192" y="859782"/>
                      <a:pt x="3432736" y="858471"/>
                      <a:pt x="3431881" y="857445"/>
                    </a:cubicBezTo>
                    <a:cubicBezTo>
                      <a:pt x="3430228" y="855815"/>
                      <a:pt x="3428063" y="854789"/>
                      <a:pt x="3425783" y="854539"/>
                    </a:cubicBezTo>
                    <a:lnTo>
                      <a:pt x="3412104" y="851404"/>
                    </a:lnTo>
                    <a:cubicBezTo>
                      <a:pt x="3409938" y="851108"/>
                      <a:pt x="3407829" y="850281"/>
                      <a:pt x="3406063" y="849010"/>
                    </a:cubicBezTo>
                    <a:cubicBezTo>
                      <a:pt x="3405265" y="848132"/>
                      <a:pt x="3404296" y="847431"/>
                      <a:pt x="3403213" y="846958"/>
                    </a:cubicBezTo>
                    <a:cubicBezTo>
                      <a:pt x="3400591" y="846274"/>
                      <a:pt x="3398824" y="849637"/>
                      <a:pt x="3398539" y="852316"/>
                    </a:cubicBezTo>
                    <a:cubicBezTo>
                      <a:pt x="3398254" y="854995"/>
                      <a:pt x="3398140" y="858357"/>
                      <a:pt x="3395689" y="859497"/>
                    </a:cubicBezTo>
                    <a:cubicBezTo>
                      <a:pt x="3393239" y="860637"/>
                      <a:pt x="3390788" y="858870"/>
                      <a:pt x="3388280" y="859098"/>
                    </a:cubicBezTo>
                    <a:cubicBezTo>
                      <a:pt x="3382581" y="859554"/>
                      <a:pt x="3381669" y="867989"/>
                      <a:pt x="3376539" y="869699"/>
                    </a:cubicBezTo>
                    <a:cubicBezTo>
                      <a:pt x="3374032" y="870554"/>
                      <a:pt x="3370840" y="869699"/>
                      <a:pt x="3368902" y="871352"/>
                    </a:cubicBezTo>
                    <a:cubicBezTo>
                      <a:pt x="3366964" y="873005"/>
                      <a:pt x="3366907" y="875570"/>
                      <a:pt x="3365197" y="877052"/>
                    </a:cubicBezTo>
                    <a:cubicBezTo>
                      <a:pt x="3363203" y="878380"/>
                      <a:pt x="3360752" y="878773"/>
                      <a:pt x="3358472" y="878134"/>
                    </a:cubicBezTo>
                    <a:cubicBezTo>
                      <a:pt x="3352545" y="876824"/>
                      <a:pt x="3346446" y="876385"/>
                      <a:pt x="3340405" y="876824"/>
                    </a:cubicBezTo>
                    <a:cubicBezTo>
                      <a:pt x="3334249" y="877371"/>
                      <a:pt x="3328949" y="881469"/>
                      <a:pt x="3326840" y="887311"/>
                    </a:cubicBezTo>
                    <a:cubicBezTo>
                      <a:pt x="3321140" y="885088"/>
                      <a:pt x="3312705" y="883891"/>
                      <a:pt x="3310368" y="889647"/>
                    </a:cubicBezTo>
                    <a:cubicBezTo>
                      <a:pt x="3309970" y="891306"/>
                      <a:pt x="3309456" y="892947"/>
                      <a:pt x="3308886" y="894549"/>
                    </a:cubicBezTo>
                    <a:cubicBezTo>
                      <a:pt x="3306492" y="898596"/>
                      <a:pt x="3300280" y="896829"/>
                      <a:pt x="3296006" y="898596"/>
                    </a:cubicBezTo>
                    <a:cubicBezTo>
                      <a:pt x="3290705" y="900875"/>
                      <a:pt x="3289224" y="908228"/>
                      <a:pt x="3284037" y="910793"/>
                    </a:cubicBezTo>
                    <a:cubicBezTo>
                      <a:pt x="3281928" y="911818"/>
                      <a:pt x="3279420" y="911875"/>
                      <a:pt x="3277254" y="912730"/>
                    </a:cubicBezTo>
                    <a:cubicBezTo>
                      <a:pt x="3272467" y="915472"/>
                      <a:pt x="3269047" y="920077"/>
                      <a:pt x="3267793" y="925440"/>
                    </a:cubicBezTo>
                    <a:lnTo>
                      <a:pt x="3259757" y="926124"/>
                    </a:lnTo>
                    <a:cubicBezTo>
                      <a:pt x="3259700" y="930422"/>
                      <a:pt x="3257363" y="934365"/>
                      <a:pt x="3253602" y="936440"/>
                    </a:cubicBezTo>
                    <a:cubicBezTo>
                      <a:pt x="3249897" y="938452"/>
                      <a:pt x="3245794" y="939637"/>
                      <a:pt x="3241576" y="939917"/>
                    </a:cubicBezTo>
                    <a:cubicBezTo>
                      <a:pt x="3240436" y="940202"/>
                      <a:pt x="3239239" y="939991"/>
                      <a:pt x="3238270" y="939347"/>
                    </a:cubicBezTo>
                    <a:cubicBezTo>
                      <a:pt x="3236902" y="938150"/>
                      <a:pt x="3237643" y="935699"/>
                      <a:pt x="3236617" y="934103"/>
                    </a:cubicBezTo>
                    <a:cubicBezTo>
                      <a:pt x="3235591" y="932507"/>
                      <a:pt x="3231374" y="933134"/>
                      <a:pt x="3229265" y="931425"/>
                    </a:cubicBezTo>
                    <a:cubicBezTo>
                      <a:pt x="3227156" y="929715"/>
                      <a:pt x="3227612" y="927093"/>
                      <a:pt x="3226073" y="925326"/>
                    </a:cubicBezTo>
                    <a:cubicBezTo>
                      <a:pt x="3224762" y="924192"/>
                      <a:pt x="3223166" y="923514"/>
                      <a:pt x="3221457" y="923388"/>
                    </a:cubicBezTo>
                    <a:cubicBezTo>
                      <a:pt x="3214560" y="921308"/>
                      <a:pt x="3207094" y="921918"/>
                      <a:pt x="3200653" y="925098"/>
                    </a:cubicBezTo>
                    <a:cubicBezTo>
                      <a:pt x="3198716" y="926797"/>
                      <a:pt x="3196664" y="928307"/>
                      <a:pt x="3194441" y="929601"/>
                    </a:cubicBezTo>
                    <a:cubicBezTo>
                      <a:pt x="3191592" y="930798"/>
                      <a:pt x="3188171" y="930342"/>
                      <a:pt x="3185607" y="931995"/>
                    </a:cubicBezTo>
                    <a:cubicBezTo>
                      <a:pt x="3183042" y="933647"/>
                      <a:pt x="3182130" y="937124"/>
                      <a:pt x="3180705" y="939917"/>
                    </a:cubicBezTo>
                    <a:cubicBezTo>
                      <a:pt x="3179280" y="942710"/>
                      <a:pt x="3175975" y="945616"/>
                      <a:pt x="3173239" y="943792"/>
                    </a:cubicBezTo>
                    <a:cubicBezTo>
                      <a:pt x="3170503" y="941969"/>
                      <a:pt x="3171244" y="936497"/>
                      <a:pt x="3168508" y="933932"/>
                    </a:cubicBezTo>
                    <a:cubicBezTo>
                      <a:pt x="3165773" y="931368"/>
                      <a:pt x="3161270" y="932507"/>
                      <a:pt x="3159788" y="929544"/>
                    </a:cubicBezTo>
                    <a:cubicBezTo>
                      <a:pt x="3159332" y="928746"/>
                      <a:pt x="3159275" y="927720"/>
                      <a:pt x="3158763" y="926979"/>
                    </a:cubicBezTo>
                    <a:cubicBezTo>
                      <a:pt x="3156824" y="924243"/>
                      <a:pt x="3153063" y="927606"/>
                      <a:pt x="3151296" y="930627"/>
                    </a:cubicBezTo>
                    <a:cubicBezTo>
                      <a:pt x="3147762" y="937694"/>
                      <a:pt x="3142918" y="945559"/>
                      <a:pt x="3135053" y="946471"/>
                    </a:cubicBezTo>
                    <a:cubicBezTo>
                      <a:pt x="3130037" y="946408"/>
                      <a:pt x="3125135" y="945280"/>
                      <a:pt x="3120576" y="943165"/>
                    </a:cubicBezTo>
                    <a:cubicBezTo>
                      <a:pt x="3115902" y="941085"/>
                      <a:pt x="3110431" y="941934"/>
                      <a:pt x="3106612" y="945331"/>
                    </a:cubicBezTo>
                    <a:cubicBezTo>
                      <a:pt x="3103477" y="949093"/>
                      <a:pt x="3104332" y="955419"/>
                      <a:pt x="3100514" y="958497"/>
                    </a:cubicBezTo>
                    <a:cubicBezTo>
                      <a:pt x="3097550" y="961352"/>
                      <a:pt x="3094815" y="964459"/>
                      <a:pt x="3092363" y="967787"/>
                    </a:cubicBezTo>
                    <a:cubicBezTo>
                      <a:pt x="3091337" y="968807"/>
                      <a:pt x="3090540" y="970056"/>
                      <a:pt x="3090084" y="971435"/>
                    </a:cubicBezTo>
                    <a:cubicBezTo>
                      <a:pt x="3090084" y="972746"/>
                      <a:pt x="3090084" y="974057"/>
                      <a:pt x="3089628" y="975311"/>
                    </a:cubicBezTo>
                    <a:cubicBezTo>
                      <a:pt x="3088203" y="980041"/>
                      <a:pt x="3079369" y="979642"/>
                      <a:pt x="3079027" y="984544"/>
                    </a:cubicBezTo>
                    <a:cubicBezTo>
                      <a:pt x="3079027" y="985741"/>
                      <a:pt x="3079483" y="986880"/>
                      <a:pt x="3079027" y="988077"/>
                    </a:cubicBezTo>
                    <a:cubicBezTo>
                      <a:pt x="3078571" y="990699"/>
                      <a:pt x="3075265" y="991440"/>
                      <a:pt x="3072814" y="992580"/>
                    </a:cubicBezTo>
                    <a:cubicBezTo>
                      <a:pt x="3069167" y="994569"/>
                      <a:pt x="3066602" y="998114"/>
                      <a:pt x="3065861" y="1002212"/>
                    </a:cubicBezTo>
                    <a:cubicBezTo>
                      <a:pt x="3065234" y="1006276"/>
                      <a:pt x="3065234" y="1010402"/>
                      <a:pt x="3065861" y="1014466"/>
                    </a:cubicBezTo>
                    <a:cubicBezTo>
                      <a:pt x="3065747" y="1017566"/>
                      <a:pt x="3066944" y="1020576"/>
                      <a:pt x="3069167" y="1022730"/>
                    </a:cubicBezTo>
                    <a:cubicBezTo>
                      <a:pt x="3070933" y="1023665"/>
                      <a:pt x="3072871" y="1024320"/>
                      <a:pt x="3074866" y="1024668"/>
                    </a:cubicBezTo>
                    <a:cubicBezTo>
                      <a:pt x="3076804" y="1025295"/>
                      <a:pt x="3078742" y="1027005"/>
                      <a:pt x="3078343" y="1029000"/>
                    </a:cubicBezTo>
                    <a:cubicBezTo>
                      <a:pt x="3080793" y="1029285"/>
                      <a:pt x="3080452" y="1024668"/>
                      <a:pt x="3082675" y="1023699"/>
                    </a:cubicBezTo>
                    <a:cubicBezTo>
                      <a:pt x="3084897" y="1022730"/>
                      <a:pt x="3086550" y="1025523"/>
                      <a:pt x="3088716" y="1025637"/>
                    </a:cubicBezTo>
                    <a:cubicBezTo>
                      <a:pt x="3089799" y="1025557"/>
                      <a:pt x="3090882" y="1025369"/>
                      <a:pt x="3091908" y="1025067"/>
                    </a:cubicBezTo>
                    <a:cubicBezTo>
                      <a:pt x="3094815" y="1025067"/>
                      <a:pt x="3096809" y="1028658"/>
                      <a:pt x="3095783" y="1031393"/>
                    </a:cubicBezTo>
                    <a:cubicBezTo>
                      <a:pt x="3094472" y="1034095"/>
                      <a:pt x="3091908" y="1035987"/>
                      <a:pt x="3088944" y="1036466"/>
                    </a:cubicBezTo>
                    <a:cubicBezTo>
                      <a:pt x="3087405" y="1036660"/>
                      <a:pt x="3085923" y="1037121"/>
                      <a:pt x="3084555" y="1037834"/>
                    </a:cubicBezTo>
                    <a:cubicBezTo>
                      <a:pt x="3083130" y="1038563"/>
                      <a:pt x="3082504" y="1040199"/>
                      <a:pt x="3082959" y="1041709"/>
                    </a:cubicBezTo>
                    <a:cubicBezTo>
                      <a:pt x="3083416" y="1042462"/>
                      <a:pt x="3083985" y="1043168"/>
                      <a:pt x="3084612" y="1043818"/>
                    </a:cubicBezTo>
                    <a:cubicBezTo>
                      <a:pt x="3087462" y="1047979"/>
                      <a:pt x="3079597" y="1052994"/>
                      <a:pt x="3081306" y="1057725"/>
                    </a:cubicBezTo>
                    <a:cubicBezTo>
                      <a:pt x="3083016" y="1062456"/>
                      <a:pt x="3088659" y="1060689"/>
                      <a:pt x="3092705" y="1062057"/>
                    </a:cubicBezTo>
                    <a:cubicBezTo>
                      <a:pt x="3096923" y="1063704"/>
                      <a:pt x="3099146" y="1068406"/>
                      <a:pt x="3097664" y="1072715"/>
                    </a:cubicBezTo>
                    <a:cubicBezTo>
                      <a:pt x="3093788" y="1075165"/>
                      <a:pt x="3087519" y="1069238"/>
                      <a:pt x="3084669" y="1072715"/>
                    </a:cubicBezTo>
                    <a:cubicBezTo>
                      <a:pt x="3083928" y="1073683"/>
                      <a:pt x="3083757" y="1074994"/>
                      <a:pt x="3082959" y="1075906"/>
                    </a:cubicBezTo>
                    <a:cubicBezTo>
                      <a:pt x="3081991" y="1076738"/>
                      <a:pt x="3080736" y="1077291"/>
                      <a:pt x="3079483" y="1077502"/>
                    </a:cubicBezTo>
                    <a:cubicBezTo>
                      <a:pt x="3069907" y="1080694"/>
                      <a:pt x="3068084" y="1095341"/>
                      <a:pt x="3058395" y="1098248"/>
                    </a:cubicBezTo>
                    <a:cubicBezTo>
                      <a:pt x="3055488" y="1098619"/>
                      <a:pt x="3052581" y="1099228"/>
                      <a:pt x="3049732" y="1100072"/>
                    </a:cubicBezTo>
                    <a:cubicBezTo>
                      <a:pt x="3046768" y="1101497"/>
                      <a:pt x="3045058" y="1104632"/>
                      <a:pt x="3042721" y="1106968"/>
                    </a:cubicBezTo>
                    <a:cubicBezTo>
                      <a:pt x="3040384" y="1109305"/>
                      <a:pt x="3036338" y="1110787"/>
                      <a:pt x="3034001" y="1108450"/>
                    </a:cubicBezTo>
                    <a:cubicBezTo>
                      <a:pt x="3034343" y="1111642"/>
                      <a:pt x="3034001" y="1115803"/>
                      <a:pt x="3031208" y="1116999"/>
                    </a:cubicBezTo>
                    <a:cubicBezTo>
                      <a:pt x="3029726" y="1117569"/>
                      <a:pt x="3027902" y="1116999"/>
                      <a:pt x="3026534" y="1118025"/>
                    </a:cubicBezTo>
                    <a:cubicBezTo>
                      <a:pt x="3025566" y="1118726"/>
                      <a:pt x="3024825" y="1119724"/>
                      <a:pt x="3024426" y="1120875"/>
                    </a:cubicBezTo>
                    <a:cubicBezTo>
                      <a:pt x="3021348" y="1126649"/>
                      <a:pt x="3019410" y="1132958"/>
                      <a:pt x="3018726" y="1139455"/>
                    </a:cubicBezTo>
                    <a:cubicBezTo>
                      <a:pt x="3018156" y="1149543"/>
                      <a:pt x="3023571" y="1159233"/>
                      <a:pt x="3023286" y="1169321"/>
                    </a:cubicBezTo>
                    <a:cubicBezTo>
                      <a:pt x="3023343" y="1170962"/>
                      <a:pt x="3022944" y="1172592"/>
                      <a:pt x="3022203" y="1174051"/>
                    </a:cubicBezTo>
                    <a:cubicBezTo>
                      <a:pt x="3019866" y="1176781"/>
                      <a:pt x="3016447" y="1178383"/>
                      <a:pt x="3012856" y="1178440"/>
                    </a:cubicBezTo>
                    <a:cubicBezTo>
                      <a:pt x="3004706" y="1179865"/>
                      <a:pt x="2996669" y="1182099"/>
                      <a:pt x="2988975" y="1185108"/>
                    </a:cubicBezTo>
                    <a:cubicBezTo>
                      <a:pt x="2988234" y="1185422"/>
                      <a:pt x="2987493" y="1185889"/>
                      <a:pt x="2986923" y="1186476"/>
                    </a:cubicBezTo>
                    <a:cubicBezTo>
                      <a:pt x="2988690" y="1189309"/>
                      <a:pt x="2989260" y="1192763"/>
                      <a:pt x="2988348" y="1195994"/>
                    </a:cubicBezTo>
                    <a:cubicBezTo>
                      <a:pt x="2987778" y="1199015"/>
                      <a:pt x="2986638" y="1201694"/>
                      <a:pt x="2986296" y="1204999"/>
                    </a:cubicBezTo>
                    <a:cubicBezTo>
                      <a:pt x="2985954" y="1208305"/>
                      <a:pt x="2986296" y="1210699"/>
                      <a:pt x="2986296" y="1213549"/>
                    </a:cubicBezTo>
                    <a:cubicBezTo>
                      <a:pt x="2986410" y="1216438"/>
                      <a:pt x="2985327" y="1219237"/>
                      <a:pt x="2983275" y="1221300"/>
                    </a:cubicBezTo>
                    <a:cubicBezTo>
                      <a:pt x="2981281" y="1222662"/>
                      <a:pt x="2979001" y="1223625"/>
                      <a:pt x="2976664" y="1224150"/>
                    </a:cubicBezTo>
                    <a:cubicBezTo>
                      <a:pt x="2974271" y="1224702"/>
                      <a:pt x="2972332" y="1226446"/>
                      <a:pt x="2971535" y="1228766"/>
                    </a:cubicBezTo>
                    <a:cubicBezTo>
                      <a:pt x="2971535" y="1230197"/>
                      <a:pt x="2971421" y="1231627"/>
                      <a:pt x="2971193" y="1233041"/>
                    </a:cubicBezTo>
                    <a:cubicBezTo>
                      <a:pt x="2970166" y="1235719"/>
                      <a:pt x="2966348" y="1235662"/>
                      <a:pt x="2963556" y="1235093"/>
                    </a:cubicBezTo>
                    <a:cubicBezTo>
                      <a:pt x="2963670" y="1237623"/>
                      <a:pt x="2962700" y="1240085"/>
                      <a:pt x="2960933" y="1241875"/>
                    </a:cubicBezTo>
                    <a:cubicBezTo>
                      <a:pt x="2959053" y="1243659"/>
                      <a:pt x="2956203" y="1243847"/>
                      <a:pt x="2954094" y="1242331"/>
                    </a:cubicBezTo>
                    <a:cubicBezTo>
                      <a:pt x="2950675" y="1239481"/>
                      <a:pt x="2953239" y="1233668"/>
                      <a:pt x="2951359" y="1229678"/>
                    </a:cubicBezTo>
                    <a:cubicBezTo>
                      <a:pt x="2950048" y="1226885"/>
                      <a:pt x="2946913" y="1225460"/>
                      <a:pt x="2945260" y="1222839"/>
                    </a:cubicBezTo>
                    <a:cubicBezTo>
                      <a:pt x="2944234" y="1220952"/>
                      <a:pt x="2943779" y="1218826"/>
                      <a:pt x="2943835" y="1216683"/>
                    </a:cubicBezTo>
                    <a:cubicBezTo>
                      <a:pt x="2944063" y="1210374"/>
                      <a:pt x="2944975" y="1204110"/>
                      <a:pt x="2946514" y="1197989"/>
                    </a:cubicBezTo>
                    <a:cubicBezTo>
                      <a:pt x="2949478" y="1182982"/>
                      <a:pt x="2950218" y="1167611"/>
                      <a:pt x="2948623" y="1152393"/>
                    </a:cubicBezTo>
                    <a:cubicBezTo>
                      <a:pt x="2947882" y="1149429"/>
                      <a:pt x="2948452" y="1146278"/>
                      <a:pt x="2950218" y="1143787"/>
                    </a:cubicBezTo>
                    <a:cubicBezTo>
                      <a:pt x="2950959" y="1143103"/>
                      <a:pt x="2951928" y="1142590"/>
                      <a:pt x="2952612" y="1141849"/>
                    </a:cubicBezTo>
                    <a:cubicBezTo>
                      <a:pt x="2953753" y="1140191"/>
                      <a:pt x="2954322" y="1138167"/>
                      <a:pt x="2954094" y="1136150"/>
                    </a:cubicBezTo>
                    <a:cubicBezTo>
                      <a:pt x="2954094" y="1130450"/>
                      <a:pt x="2954094" y="1124751"/>
                      <a:pt x="2954094" y="1119051"/>
                    </a:cubicBezTo>
                    <a:cubicBezTo>
                      <a:pt x="2953581" y="1113101"/>
                      <a:pt x="2954892" y="1107139"/>
                      <a:pt x="2957856" y="1101953"/>
                    </a:cubicBezTo>
                    <a:cubicBezTo>
                      <a:pt x="2960990" y="1102101"/>
                      <a:pt x="2963670" y="1099667"/>
                      <a:pt x="2963840" y="1096521"/>
                    </a:cubicBezTo>
                    <a:cubicBezTo>
                      <a:pt x="2963840" y="1095854"/>
                      <a:pt x="2963783" y="1095182"/>
                      <a:pt x="2963556" y="1094543"/>
                    </a:cubicBezTo>
                    <a:cubicBezTo>
                      <a:pt x="2961788" y="1090212"/>
                      <a:pt x="2967830" y="1085310"/>
                      <a:pt x="2968286" y="1080580"/>
                    </a:cubicBezTo>
                    <a:cubicBezTo>
                      <a:pt x="2968742" y="1075849"/>
                      <a:pt x="2963099" y="1073854"/>
                      <a:pt x="2958767" y="1072316"/>
                    </a:cubicBezTo>
                    <a:cubicBezTo>
                      <a:pt x="2954437" y="1070777"/>
                      <a:pt x="2950048" y="1065248"/>
                      <a:pt x="2953581" y="1062398"/>
                    </a:cubicBezTo>
                    <a:cubicBezTo>
                      <a:pt x="2950048" y="1064143"/>
                      <a:pt x="2945773" y="1062695"/>
                      <a:pt x="2944063" y="1059167"/>
                    </a:cubicBezTo>
                    <a:cubicBezTo>
                      <a:pt x="2942297" y="1055639"/>
                      <a:pt x="2943721" y="1051364"/>
                      <a:pt x="2947255" y="1049626"/>
                    </a:cubicBezTo>
                    <a:cubicBezTo>
                      <a:pt x="2949478" y="1048526"/>
                      <a:pt x="2952100" y="1048663"/>
                      <a:pt x="2954208" y="1049974"/>
                    </a:cubicBezTo>
                    <a:cubicBezTo>
                      <a:pt x="2952498" y="1038974"/>
                      <a:pt x="2955576" y="1024554"/>
                      <a:pt x="2966519" y="1022445"/>
                    </a:cubicBezTo>
                    <a:cubicBezTo>
                      <a:pt x="2970452" y="1021704"/>
                      <a:pt x="2974840" y="1022787"/>
                      <a:pt x="2978203" y="1020564"/>
                    </a:cubicBezTo>
                    <a:cubicBezTo>
                      <a:pt x="2981565" y="1018342"/>
                      <a:pt x="2981965" y="1015663"/>
                      <a:pt x="2984302" y="1013554"/>
                    </a:cubicBezTo>
                    <a:cubicBezTo>
                      <a:pt x="2986239" y="1012106"/>
                      <a:pt x="2988405" y="1010989"/>
                      <a:pt x="2990742" y="1010248"/>
                    </a:cubicBezTo>
                    <a:cubicBezTo>
                      <a:pt x="3003338" y="1005039"/>
                      <a:pt x="3013369" y="995093"/>
                      <a:pt x="3018726" y="982549"/>
                    </a:cubicBezTo>
                    <a:cubicBezTo>
                      <a:pt x="3019809" y="979927"/>
                      <a:pt x="3020949" y="976849"/>
                      <a:pt x="3023571" y="975880"/>
                    </a:cubicBezTo>
                    <a:cubicBezTo>
                      <a:pt x="3026193" y="974912"/>
                      <a:pt x="3031265" y="976963"/>
                      <a:pt x="3034343" y="974912"/>
                    </a:cubicBezTo>
                    <a:cubicBezTo>
                      <a:pt x="3037420" y="972860"/>
                      <a:pt x="3036622" y="966989"/>
                      <a:pt x="3040042" y="964709"/>
                    </a:cubicBezTo>
                    <a:cubicBezTo>
                      <a:pt x="3041638" y="963513"/>
                      <a:pt x="3043804" y="963627"/>
                      <a:pt x="3045742" y="962886"/>
                    </a:cubicBezTo>
                    <a:cubicBezTo>
                      <a:pt x="3049674" y="961233"/>
                      <a:pt x="3050985" y="956445"/>
                      <a:pt x="3053094" y="952741"/>
                    </a:cubicBezTo>
                    <a:cubicBezTo>
                      <a:pt x="3055203" y="949036"/>
                      <a:pt x="3060504" y="945901"/>
                      <a:pt x="3063353" y="949093"/>
                    </a:cubicBezTo>
                    <a:cubicBezTo>
                      <a:pt x="3068596" y="933305"/>
                      <a:pt x="3083359" y="922630"/>
                      <a:pt x="3100001" y="922533"/>
                    </a:cubicBezTo>
                    <a:cubicBezTo>
                      <a:pt x="3099317" y="919251"/>
                      <a:pt x="3100913" y="915911"/>
                      <a:pt x="3103877" y="914383"/>
                    </a:cubicBezTo>
                    <a:cubicBezTo>
                      <a:pt x="3106327" y="913129"/>
                      <a:pt x="3109576" y="913300"/>
                      <a:pt x="3111400" y="911248"/>
                    </a:cubicBezTo>
                    <a:cubicBezTo>
                      <a:pt x="3112540" y="909789"/>
                      <a:pt x="3113110" y="908011"/>
                      <a:pt x="3113167" y="906176"/>
                    </a:cubicBezTo>
                    <a:cubicBezTo>
                      <a:pt x="3113737" y="901559"/>
                      <a:pt x="3114306" y="896943"/>
                      <a:pt x="3114819" y="892326"/>
                    </a:cubicBezTo>
                    <a:cubicBezTo>
                      <a:pt x="3115275" y="885054"/>
                      <a:pt x="3117213" y="877958"/>
                      <a:pt x="3120519" y="871466"/>
                    </a:cubicBezTo>
                    <a:cubicBezTo>
                      <a:pt x="3123996" y="864912"/>
                      <a:pt x="3131120" y="861133"/>
                      <a:pt x="3138472" y="861948"/>
                    </a:cubicBezTo>
                    <a:cubicBezTo>
                      <a:pt x="3140353" y="862347"/>
                      <a:pt x="3142575" y="863088"/>
                      <a:pt x="3144172" y="861948"/>
                    </a:cubicBezTo>
                    <a:cubicBezTo>
                      <a:pt x="3146623" y="859896"/>
                      <a:pt x="3143659" y="856249"/>
                      <a:pt x="3140809" y="854653"/>
                    </a:cubicBezTo>
                    <a:cubicBezTo>
                      <a:pt x="3128270" y="848412"/>
                      <a:pt x="3113622" y="848201"/>
                      <a:pt x="3100913" y="854083"/>
                    </a:cubicBezTo>
                    <a:cubicBezTo>
                      <a:pt x="3098462" y="863772"/>
                      <a:pt x="3096011" y="873501"/>
                      <a:pt x="3093446" y="883264"/>
                    </a:cubicBezTo>
                    <a:cubicBezTo>
                      <a:pt x="3093162" y="884712"/>
                      <a:pt x="3092535" y="886074"/>
                      <a:pt x="3091680" y="887254"/>
                    </a:cubicBezTo>
                    <a:cubicBezTo>
                      <a:pt x="3089571" y="888850"/>
                      <a:pt x="3087006" y="889676"/>
                      <a:pt x="3084384" y="889590"/>
                    </a:cubicBezTo>
                    <a:cubicBezTo>
                      <a:pt x="3068141" y="891813"/>
                      <a:pt x="3058167" y="908114"/>
                      <a:pt x="3044488" y="916948"/>
                    </a:cubicBezTo>
                    <a:cubicBezTo>
                      <a:pt x="3041923" y="919148"/>
                      <a:pt x="3038390" y="919741"/>
                      <a:pt x="3035255" y="918487"/>
                    </a:cubicBezTo>
                    <a:cubicBezTo>
                      <a:pt x="3033488" y="917404"/>
                      <a:pt x="3032519" y="915295"/>
                      <a:pt x="3030638" y="914326"/>
                    </a:cubicBezTo>
                    <a:cubicBezTo>
                      <a:pt x="3028757" y="913357"/>
                      <a:pt x="3024368" y="914326"/>
                      <a:pt x="3021633" y="913072"/>
                    </a:cubicBezTo>
                    <a:cubicBezTo>
                      <a:pt x="3016903" y="910564"/>
                      <a:pt x="3020151" y="903041"/>
                      <a:pt x="3024711" y="900134"/>
                    </a:cubicBezTo>
                    <a:cubicBezTo>
                      <a:pt x="3029271" y="897228"/>
                      <a:pt x="3035312" y="894435"/>
                      <a:pt x="3035597" y="889191"/>
                    </a:cubicBezTo>
                    <a:cubicBezTo>
                      <a:pt x="3035939" y="881725"/>
                      <a:pt x="3025395" y="879787"/>
                      <a:pt x="3017985" y="880528"/>
                    </a:cubicBezTo>
                    <a:lnTo>
                      <a:pt x="2992509" y="883150"/>
                    </a:lnTo>
                    <a:lnTo>
                      <a:pt x="2962302" y="886171"/>
                    </a:lnTo>
                    <a:cubicBezTo>
                      <a:pt x="2960478" y="886222"/>
                      <a:pt x="2958711" y="886735"/>
                      <a:pt x="2957172" y="887653"/>
                    </a:cubicBezTo>
                    <a:cubicBezTo>
                      <a:pt x="2953068" y="890559"/>
                      <a:pt x="2955006" y="897114"/>
                      <a:pt x="2953125" y="901787"/>
                    </a:cubicBezTo>
                    <a:cubicBezTo>
                      <a:pt x="2952157" y="904004"/>
                      <a:pt x="2950618" y="905959"/>
                      <a:pt x="2948737" y="907487"/>
                    </a:cubicBezTo>
                    <a:cubicBezTo>
                      <a:pt x="2941499" y="914212"/>
                      <a:pt x="2933348" y="919963"/>
                      <a:pt x="2924628" y="924585"/>
                    </a:cubicBezTo>
                    <a:cubicBezTo>
                      <a:pt x="2920809" y="926101"/>
                      <a:pt x="2917446" y="928575"/>
                      <a:pt x="2914882" y="931767"/>
                    </a:cubicBezTo>
                    <a:cubicBezTo>
                      <a:pt x="2913799" y="934166"/>
                      <a:pt x="2912545" y="936509"/>
                      <a:pt x="2911177" y="938777"/>
                    </a:cubicBezTo>
                    <a:cubicBezTo>
                      <a:pt x="2908670" y="941855"/>
                      <a:pt x="2904395" y="942767"/>
                      <a:pt x="2901374" y="945331"/>
                    </a:cubicBezTo>
                    <a:cubicBezTo>
                      <a:pt x="2896814" y="949697"/>
                      <a:pt x="2896701" y="956913"/>
                      <a:pt x="2901089" y="961449"/>
                    </a:cubicBezTo>
                    <a:cubicBezTo>
                      <a:pt x="2903312" y="963769"/>
                      <a:pt x="2906390" y="965040"/>
                      <a:pt x="2909638" y="964938"/>
                    </a:cubicBezTo>
                    <a:cubicBezTo>
                      <a:pt x="2911918" y="970232"/>
                      <a:pt x="2911918" y="976228"/>
                      <a:pt x="2909638" y="981523"/>
                    </a:cubicBezTo>
                    <a:cubicBezTo>
                      <a:pt x="2893623" y="978160"/>
                      <a:pt x="2876582" y="974855"/>
                      <a:pt x="2861193" y="980440"/>
                    </a:cubicBezTo>
                    <a:cubicBezTo>
                      <a:pt x="2851732" y="984185"/>
                      <a:pt x="2843410" y="990403"/>
                      <a:pt x="2837141" y="998450"/>
                    </a:cubicBezTo>
                    <a:cubicBezTo>
                      <a:pt x="2835716" y="994347"/>
                      <a:pt x="2834291" y="990243"/>
                      <a:pt x="2832809" y="986140"/>
                    </a:cubicBezTo>
                    <a:cubicBezTo>
                      <a:pt x="2838908" y="985456"/>
                      <a:pt x="2847058" y="981295"/>
                      <a:pt x="2844208" y="975823"/>
                    </a:cubicBezTo>
                    <a:cubicBezTo>
                      <a:pt x="2843353" y="974524"/>
                      <a:pt x="2842385" y="973299"/>
                      <a:pt x="2841301" y="972176"/>
                    </a:cubicBezTo>
                    <a:cubicBezTo>
                      <a:pt x="2839250" y="969252"/>
                      <a:pt x="2839250" y="965354"/>
                      <a:pt x="2841301" y="962430"/>
                    </a:cubicBezTo>
                    <a:lnTo>
                      <a:pt x="2821410" y="964653"/>
                    </a:lnTo>
                    <a:cubicBezTo>
                      <a:pt x="2820271" y="964932"/>
                      <a:pt x="2819130" y="964829"/>
                      <a:pt x="2818048" y="964368"/>
                    </a:cubicBezTo>
                    <a:cubicBezTo>
                      <a:pt x="2816452" y="963570"/>
                      <a:pt x="2815939" y="961689"/>
                      <a:pt x="2815312" y="960036"/>
                    </a:cubicBezTo>
                    <a:cubicBezTo>
                      <a:pt x="2811950" y="950974"/>
                      <a:pt x="2801919" y="946340"/>
                      <a:pt x="2792856" y="949691"/>
                    </a:cubicBezTo>
                    <a:cubicBezTo>
                      <a:pt x="2788240" y="951390"/>
                      <a:pt x="2784592" y="954935"/>
                      <a:pt x="2782711" y="959466"/>
                    </a:cubicBezTo>
                    <a:cubicBezTo>
                      <a:pt x="2781172" y="963057"/>
                      <a:pt x="2780887" y="967103"/>
                      <a:pt x="2779178" y="970865"/>
                    </a:cubicBezTo>
                    <a:cubicBezTo>
                      <a:pt x="2777753" y="974649"/>
                      <a:pt x="2773706" y="976753"/>
                      <a:pt x="2769773" y="975766"/>
                    </a:cubicBezTo>
                    <a:cubicBezTo>
                      <a:pt x="2768406" y="975026"/>
                      <a:pt x="2767151" y="974017"/>
                      <a:pt x="2766126" y="972803"/>
                    </a:cubicBezTo>
                    <a:cubicBezTo>
                      <a:pt x="2757748" y="964670"/>
                      <a:pt x="2745380" y="962139"/>
                      <a:pt x="2734493" y="966305"/>
                    </a:cubicBezTo>
                    <a:cubicBezTo>
                      <a:pt x="2734209" y="971429"/>
                      <a:pt x="2730504" y="975721"/>
                      <a:pt x="2725488" y="976792"/>
                    </a:cubicBezTo>
                    <a:cubicBezTo>
                      <a:pt x="2720530" y="977773"/>
                      <a:pt x="2715400" y="976918"/>
                      <a:pt x="2711069" y="974399"/>
                    </a:cubicBezTo>
                    <a:cubicBezTo>
                      <a:pt x="2701323" y="969269"/>
                      <a:pt x="2691861" y="959238"/>
                      <a:pt x="2681432" y="963000"/>
                    </a:cubicBezTo>
                    <a:cubicBezTo>
                      <a:pt x="2668151" y="962487"/>
                      <a:pt x="2656011" y="961860"/>
                      <a:pt x="2642732" y="961290"/>
                    </a:cubicBezTo>
                    <a:cubicBezTo>
                      <a:pt x="2639255" y="960834"/>
                      <a:pt x="2635665" y="961370"/>
                      <a:pt x="2632473" y="962829"/>
                    </a:cubicBezTo>
                    <a:cubicBezTo>
                      <a:pt x="2628142" y="965336"/>
                      <a:pt x="2626773" y="970751"/>
                      <a:pt x="2623810" y="974912"/>
                    </a:cubicBezTo>
                    <a:cubicBezTo>
                      <a:pt x="2616229" y="986311"/>
                      <a:pt x="2599359" y="988419"/>
                      <a:pt x="2591949" y="999875"/>
                    </a:cubicBezTo>
                    <a:cubicBezTo>
                      <a:pt x="2589898" y="1004446"/>
                      <a:pt x="2587333" y="1008766"/>
                      <a:pt x="2584312" y="1012756"/>
                    </a:cubicBezTo>
                    <a:cubicBezTo>
                      <a:pt x="2578271" y="1018456"/>
                      <a:pt x="2568012" y="1017259"/>
                      <a:pt x="2561514" y="1022445"/>
                    </a:cubicBezTo>
                    <a:cubicBezTo>
                      <a:pt x="2555017" y="1027632"/>
                      <a:pt x="2554105" y="1037150"/>
                      <a:pt x="2548577" y="1043248"/>
                    </a:cubicBezTo>
                    <a:cubicBezTo>
                      <a:pt x="2543048" y="1049347"/>
                      <a:pt x="2534157" y="1050943"/>
                      <a:pt x="2529369" y="1057383"/>
                    </a:cubicBezTo>
                    <a:cubicBezTo>
                      <a:pt x="2526577" y="1062877"/>
                      <a:pt x="2524639" y="1068782"/>
                      <a:pt x="2523670" y="1074880"/>
                    </a:cubicBezTo>
                    <a:cubicBezTo>
                      <a:pt x="2518940" y="1089243"/>
                      <a:pt x="2505090" y="1098077"/>
                      <a:pt x="2492779" y="1106740"/>
                    </a:cubicBezTo>
                    <a:cubicBezTo>
                      <a:pt x="2487991" y="1109271"/>
                      <a:pt x="2484515" y="1113762"/>
                      <a:pt x="2483261" y="1119051"/>
                    </a:cubicBezTo>
                    <a:cubicBezTo>
                      <a:pt x="2483375" y="1124967"/>
                      <a:pt x="2487421" y="1130074"/>
                      <a:pt x="2493178" y="1131533"/>
                    </a:cubicBezTo>
                    <a:cubicBezTo>
                      <a:pt x="2498820" y="1132804"/>
                      <a:pt x="2504634" y="1132804"/>
                      <a:pt x="2510276" y="1131533"/>
                    </a:cubicBezTo>
                    <a:cubicBezTo>
                      <a:pt x="2508225" y="1137324"/>
                      <a:pt x="2507712" y="1143565"/>
                      <a:pt x="2508908" y="1149600"/>
                    </a:cubicBezTo>
                    <a:cubicBezTo>
                      <a:pt x="2510333" y="1155773"/>
                      <a:pt x="2516318" y="1159780"/>
                      <a:pt x="2522587" y="1158777"/>
                    </a:cubicBezTo>
                    <a:cubicBezTo>
                      <a:pt x="2520593" y="1152735"/>
                      <a:pt x="2520934" y="1143274"/>
                      <a:pt x="2527261" y="1143388"/>
                    </a:cubicBezTo>
                    <a:cubicBezTo>
                      <a:pt x="2533587" y="1143502"/>
                      <a:pt x="2533872" y="1152051"/>
                      <a:pt x="2532960" y="1157979"/>
                    </a:cubicBezTo>
                    <a:cubicBezTo>
                      <a:pt x="2532048" y="1163906"/>
                      <a:pt x="2535981" y="1172626"/>
                      <a:pt x="2541338" y="1169891"/>
                    </a:cubicBezTo>
                    <a:cubicBezTo>
                      <a:pt x="2544758" y="1168067"/>
                      <a:pt x="2544359" y="1163051"/>
                      <a:pt x="2543447" y="1159290"/>
                    </a:cubicBezTo>
                    <a:cubicBezTo>
                      <a:pt x="2551940" y="1158229"/>
                      <a:pt x="2558665" y="1151584"/>
                      <a:pt x="2559804" y="1143103"/>
                    </a:cubicBezTo>
                    <a:cubicBezTo>
                      <a:pt x="2566530" y="1142043"/>
                      <a:pt x="2573426" y="1142995"/>
                      <a:pt x="2579639" y="1145839"/>
                    </a:cubicBezTo>
                    <a:cubicBezTo>
                      <a:pt x="2585908" y="1148865"/>
                      <a:pt x="2589613" y="1155494"/>
                      <a:pt x="2588929" y="1162424"/>
                    </a:cubicBezTo>
                    <a:cubicBezTo>
                      <a:pt x="2594629" y="1159518"/>
                      <a:pt x="2600784" y="1166528"/>
                      <a:pt x="2603634" y="1172512"/>
                    </a:cubicBezTo>
                    <a:cubicBezTo>
                      <a:pt x="2606769" y="1178292"/>
                      <a:pt x="2608877" y="1184550"/>
                      <a:pt x="2609960" y="1191036"/>
                    </a:cubicBezTo>
                    <a:cubicBezTo>
                      <a:pt x="2610359" y="1201369"/>
                      <a:pt x="2608307" y="1211651"/>
                      <a:pt x="2603919" y="1221015"/>
                    </a:cubicBezTo>
                    <a:cubicBezTo>
                      <a:pt x="2602152" y="1225802"/>
                      <a:pt x="2599131" y="1231502"/>
                      <a:pt x="2594001" y="1231331"/>
                    </a:cubicBezTo>
                    <a:cubicBezTo>
                      <a:pt x="2595882" y="1257942"/>
                      <a:pt x="2595084" y="1284672"/>
                      <a:pt x="2591665" y="1311123"/>
                    </a:cubicBezTo>
                    <a:cubicBezTo>
                      <a:pt x="2591722" y="1317239"/>
                      <a:pt x="2588986" y="1323052"/>
                      <a:pt x="2584255" y="1326911"/>
                    </a:cubicBezTo>
                    <a:cubicBezTo>
                      <a:pt x="2581007" y="1328034"/>
                      <a:pt x="2577872" y="1329350"/>
                      <a:pt x="2574794" y="1330844"/>
                    </a:cubicBezTo>
                    <a:cubicBezTo>
                      <a:pt x="2569437" y="1334890"/>
                      <a:pt x="2570519" y="1344009"/>
                      <a:pt x="2565390" y="1348284"/>
                    </a:cubicBezTo>
                    <a:cubicBezTo>
                      <a:pt x="2562027" y="1351077"/>
                      <a:pt x="2556727" y="1351077"/>
                      <a:pt x="2553991" y="1354382"/>
                    </a:cubicBezTo>
                    <a:cubicBezTo>
                      <a:pt x="2551255" y="1357688"/>
                      <a:pt x="2552167" y="1363559"/>
                      <a:pt x="2551654" y="1368289"/>
                    </a:cubicBezTo>
                    <a:cubicBezTo>
                      <a:pt x="2550401" y="1374256"/>
                      <a:pt x="2547608" y="1379791"/>
                      <a:pt x="2543504" y="1384305"/>
                    </a:cubicBezTo>
                    <a:lnTo>
                      <a:pt x="2511302" y="1426709"/>
                    </a:lnTo>
                    <a:cubicBezTo>
                      <a:pt x="2506230" y="1433685"/>
                      <a:pt x="2500644" y="1440291"/>
                      <a:pt x="2494660" y="1446486"/>
                    </a:cubicBezTo>
                    <a:cubicBezTo>
                      <a:pt x="2491411" y="1449706"/>
                      <a:pt x="2487821" y="1452573"/>
                      <a:pt x="2484002" y="1455035"/>
                    </a:cubicBezTo>
                    <a:cubicBezTo>
                      <a:pt x="2479499" y="1457321"/>
                      <a:pt x="2475167" y="1459988"/>
                      <a:pt x="2471121" y="1463014"/>
                    </a:cubicBezTo>
                    <a:cubicBezTo>
                      <a:pt x="2465023" y="1468258"/>
                      <a:pt x="2462059" y="1476123"/>
                      <a:pt x="2457271" y="1482564"/>
                    </a:cubicBezTo>
                    <a:cubicBezTo>
                      <a:pt x="2452483" y="1489004"/>
                      <a:pt x="2443820" y="1493963"/>
                      <a:pt x="2436639" y="1490543"/>
                    </a:cubicBezTo>
                    <a:cubicBezTo>
                      <a:pt x="2434416" y="1489232"/>
                      <a:pt x="2432421" y="1487665"/>
                      <a:pt x="2430598" y="1485869"/>
                    </a:cubicBezTo>
                    <a:cubicBezTo>
                      <a:pt x="2420852" y="1477736"/>
                      <a:pt x="2407572" y="1475411"/>
                      <a:pt x="2395660" y="1479771"/>
                    </a:cubicBezTo>
                    <a:cubicBezTo>
                      <a:pt x="2393437" y="1480643"/>
                      <a:pt x="2391328" y="1481754"/>
                      <a:pt x="2389334" y="1483077"/>
                    </a:cubicBezTo>
                    <a:cubicBezTo>
                      <a:pt x="2386541" y="1475320"/>
                      <a:pt x="2384831" y="1467232"/>
                      <a:pt x="2384147" y="1459025"/>
                    </a:cubicBezTo>
                    <a:cubicBezTo>
                      <a:pt x="2383064" y="1447563"/>
                      <a:pt x="2386825" y="1436170"/>
                      <a:pt x="2394520" y="1427621"/>
                    </a:cubicBezTo>
                    <a:cubicBezTo>
                      <a:pt x="2396572" y="1425472"/>
                      <a:pt x="2399079" y="1423813"/>
                      <a:pt x="2401872" y="1422776"/>
                    </a:cubicBezTo>
                    <a:cubicBezTo>
                      <a:pt x="2407971" y="1420610"/>
                      <a:pt x="2414810" y="1422776"/>
                      <a:pt x="2421250" y="1421807"/>
                    </a:cubicBezTo>
                    <a:cubicBezTo>
                      <a:pt x="2436012" y="1419812"/>
                      <a:pt x="2444048" y="1403911"/>
                      <a:pt x="2449748" y="1390061"/>
                    </a:cubicBezTo>
                    <a:lnTo>
                      <a:pt x="2463598" y="1355579"/>
                    </a:lnTo>
                    <a:cubicBezTo>
                      <a:pt x="2465877" y="1351020"/>
                      <a:pt x="2467017" y="1345970"/>
                      <a:pt x="2466846" y="1340875"/>
                    </a:cubicBezTo>
                    <a:cubicBezTo>
                      <a:pt x="2466618" y="1335626"/>
                      <a:pt x="2462572" y="1331345"/>
                      <a:pt x="2457328" y="1330787"/>
                    </a:cubicBezTo>
                    <a:cubicBezTo>
                      <a:pt x="2454706" y="1331032"/>
                      <a:pt x="2452199" y="1331892"/>
                      <a:pt x="2449976" y="1333294"/>
                    </a:cubicBezTo>
                    <a:cubicBezTo>
                      <a:pt x="2439431" y="1338715"/>
                      <a:pt x="2428204" y="1342704"/>
                      <a:pt x="2416634" y="1345149"/>
                    </a:cubicBezTo>
                    <a:cubicBezTo>
                      <a:pt x="2409282" y="1347275"/>
                      <a:pt x="2401416" y="1346973"/>
                      <a:pt x="2394235" y="1344294"/>
                    </a:cubicBezTo>
                    <a:cubicBezTo>
                      <a:pt x="2383748" y="1339393"/>
                      <a:pt x="2379417" y="1327196"/>
                      <a:pt x="2371437" y="1318476"/>
                    </a:cubicBezTo>
                    <a:cubicBezTo>
                      <a:pt x="2363686" y="1311129"/>
                      <a:pt x="2354510" y="1305498"/>
                      <a:pt x="2344422" y="1301947"/>
                    </a:cubicBezTo>
                    <a:lnTo>
                      <a:pt x="2323049" y="1292657"/>
                    </a:lnTo>
                    <a:cubicBezTo>
                      <a:pt x="2321111" y="1291962"/>
                      <a:pt x="2319344" y="1290828"/>
                      <a:pt x="2317919" y="1289352"/>
                    </a:cubicBezTo>
                    <a:cubicBezTo>
                      <a:pt x="2316437" y="1286650"/>
                      <a:pt x="2315468" y="1283692"/>
                      <a:pt x="2315069" y="1280631"/>
                    </a:cubicBezTo>
                    <a:cubicBezTo>
                      <a:pt x="2314100" y="1278010"/>
                      <a:pt x="2312789" y="1275525"/>
                      <a:pt x="2311193" y="1273222"/>
                    </a:cubicBezTo>
                    <a:cubicBezTo>
                      <a:pt x="2304753" y="1262741"/>
                      <a:pt x="2300422" y="1251137"/>
                      <a:pt x="2298313" y="1239025"/>
                    </a:cubicBezTo>
                    <a:cubicBezTo>
                      <a:pt x="2297971" y="1236489"/>
                      <a:pt x="2297401" y="1233993"/>
                      <a:pt x="2296603" y="1231559"/>
                    </a:cubicBezTo>
                    <a:cubicBezTo>
                      <a:pt x="2294950" y="1228156"/>
                      <a:pt x="2292955" y="1224942"/>
                      <a:pt x="2290618" y="1221984"/>
                    </a:cubicBezTo>
                    <a:cubicBezTo>
                      <a:pt x="2285489" y="1214517"/>
                      <a:pt x="2282583" y="1205740"/>
                      <a:pt x="2277680" y="1198160"/>
                    </a:cubicBezTo>
                    <a:cubicBezTo>
                      <a:pt x="2266453" y="1182446"/>
                      <a:pt x="2249354" y="1171942"/>
                      <a:pt x="2230261" y="1169036"/>
                    </a:cubicBezTo>
                    <a:cubicBezTo>
                      <a:pt x="2211339" y="1166271"/>
                      <a:pt x="2192188" y="1166271"/>
                      <a:pt x="2173266" y="1169036"/>
                    </a:cubicBezTo>
                    <a:cubicBezTo>
                      <a:pt x="2167054" y="1169172"/>
                      <a:pt x="2160955" y="1170877"/>
                      <a:pt x="2155598" y="1173994"/>
                    </a:cubicBezTo>
                    <a:cubicBezTo>
                      <a:pt x="2150183" y="1177904"/>
                      <a:pt x="2148474" y="1185177"/>
                      <a:pt x="2151552" y="1191093"/>
                    </a:cubicBezTo>
                    <a:cubicBezTo>
                      <a:pt x="2159759" y="1195778"/>
                      <a:pt x="2162608" y="1206225"/>
                      <a:pt x="2157935" y="1214421"/>
                    </a:cubicBezTo>
                    <a:cubicBezTo>
                      <a:pt x="2157593" y="1214985"/>
                      <a:pt x="2157251" y="1215532"/>
                      <a:pt x="2156852" y="1216056"/>
                    </a:cubicBezTo>
                    <a:cubicBezTo>
                      <a:pt x="2154230" y="1219305"/>
                      <a:pt x="2150468" y="1221756"/>
                      <a:pt x="2148189" y="1225061"/>
                    </a:cubicBezTo>
                    <a:cubicBezTo>
                      <a:pt x="2146536" y="1228173"/>
                      <a:pt x="2145453" y="1231576"/>
                      <a:pt x="2145054" y="1235093"/>
                    </a:cubicBezTo>
                    <a:cubicBezTo>
                      <a:pt x="2141748" y="1252191"/>
                      <a:pt x="2135080" y="1269289"/>
                      <a:pt x="2121401" y="1279890"/>
                    </a:cubicBezTo>
                    <a:cubicBezTo>
                      <a:pt x="2112453" y="1286764"/>
                      <a:pt x="2101339" y="1290184"/>
                      <a:pt x="2090054" y="1289522"/>
                    </a:cubicBezTo>
                    <a:cubicBezTo>
                      <a:pt x="2085096" y="1288696"/>
                      <a:pt x="2080080" y="1288582"/>
                      <a:pt x="2075122" y="1289181"/>
                    </a:cubicBezTo>
                    <a:cubicBezTo>
                      <a:pt x="2073583" y="1285778"/>
                      <a:pt x="2070904" y="1283014"/>
                      <a:pt x="2067541" y="1281372"/>
                    </a:cubicBezTo>
                    <a:cubicBezTo>
                      <a:pt x="2063608" y="1279890"/>
                      <a:pt x="2059163" y="1281372"/>
                      <a:pt x="2055173" y="1279947"/>
                    </a:cubicBezTo>
                    <a:cubicBezTo>
                      <a:pt x="2052152" y="1278642"/>
                      <a:pt x="2049360" y="1276938"/>
                      <a:pt x="2046795" y="1274875"/>
                    </a:cubicBezTo>
                    <a:cubicBezTo>
                      <a:pt x="2034484" y="1267010"/>
                      <a:pt x="2018298" y="1271626"/>
                      <a:pt x="2005246" y="1278409"/>
                    </a:cubicBezTo>
                    <a:cubicBezTo>
                      <a:pt x="1992194" y="1285191"/>
                      <a:pt x="1979655" y="1294139"/>
                      <a:pt x="1965350" y="1294709"/>
                    </a:cubicBezTo>
                    <a:cubicBezTo>
                      <a:pt x="1960505" y="1294270"/>
                      <a:pt x="1955604" y="1294732"/>
                      <a:pt x="1950930" y="1296077"/>
                    </a:cubicBezTo>
                    <a:cubicBezTo>
                      <a:pt x="1947282" y="1297616"/>
                      <a:pt x="1944546" y="1300807"/>
                      <a:pt x="1940842" y="1302346"/>
                    </a:cubicBezTo>
                    <a:cubicBezTo>
                      <a:pt x="1929899" y="1306792"/>
                      <a:pt x="1918956" y="1294766"/>
                      <a:pt x="1907158" y="1294481"/>
                    </a:cubicBezTo>
                    <a:cubicBezTo>
                      <a:pt x="1902769" y="1295171"/>
                      <a:pt x="1898324" y="1295268"/>
                      <a:pt x="1893878" y="1294766"/>
                    </a:cubicBezTo>
                    <a:cubicBezTo>
                      <a:pt x="1890287" y="1293250"/>
                      <a:pt x="1887153" y="1290862"/>
                      <a:pt x="1884759" y="1287813"/>
                    </a:cubicBezTo>
                    <a:cubicBezTo>
                      <a:pt x="1865438" y="1269694"/>
                      <a:pt x="1839505" y="1260410"/>
                      <a:pt x="1813060" y="1262165"/>
                    </a:cubicBezTo>
                    <a:cubicBezTo>
                      <a:pt x="1807303" y="1261954"/>
                      <a:pt x="1801774" y="1264314"/>
                      <a:pt x="1797956" y="1268605"/>
                    </a:cubicBezTo>
                    <a:cubicBezTo>
                      <a:pt x="1797101" y="1270338"/>
                      <a:pt x="1796132" y="1272002"/>
                      <a:pt x="1794992" y="1273564"/>
                    </a:cubicBezTo>
                    <a:cubicBezTo>
                      <a:pt x="1791173" y="1277725"/>
                      <a:pt x="1784220" y="1275730"/>
                      <a:pt x="1779604" y="1272538"/>
                    </a:cubicBezTo>
                    <a:cubicBezTo>
                      <a:pt x="1774987" y="1269346"/>
                      <a:pt x="1770257" y="1265186"/>
                      <a:pt x="1764671" y="1265642"/>
                    </a:cubicBezTo>
                    <a:cubicBezTo>
                      <a:pt x="1764842" y="1261646"/>
                      <a:pt x="1761708" y="1258278"/>
                      <a:pt x="1757717" y="1258118"/>
                    </a:cubicBezTo>
                    <a:cubicBezTo>
                      <a:pt x="1757205" y="1258096"/>
                      <a:pt x="1756635" y="1258135"/>
                      <a:pt x="1756122" y="1258232"/>
                    </a:cubicBezTo>
                    <a:cubicBezTo>
                      <a:pt x="1754868" y="1249341"/>
                      <a:pt x="1753557" y="1240450"/>
                      <a:pt x="1752303" y="1231559"/>
                    </a:cubicBezTo>
                    <a:cubicBezTo>
                      <a:pt x="1727966" y="1231160"/>
                      <a:pt x="1705397" y="1219419"/>
                      <a:pt x="1683910" y="1207963"/>
                    </a:cubicBezTo>
                    <a:cubicBezTo>
                      <a:pt x="1671143" y="1218165"/>
                      <a:pt x="1657464" y="1230020"/>
                      <a:pt x="1655412" y="1246206"/>
                    </a:cubicBezTo>
                    <a:cubicBezTo>
                      <a:pt x="1654956" y="1248475"/>
                      <a:pt x="1655241" y="1250834"/>
                      <a:pt x="1656210" y="1252932"/>
                    </a:cubicBezTo>
                    <a:cubicBezTo>
                      <a:pt x="1657692" y="1255497"/>
                      <a:pt x="1660656" y="1256637"/>
                      <a:pt x="1662707" y="1258631"/>
                    </a:cubicBezTo>
                    <a:cubicBezTo>
                      <a:pt x="1670003" y="1265984"/>
                      <a:pt x="1661226" y="1279092"/>
                      <a:pt x="1651308" y="1281087"/>
                    </a:cubicBezTo>
                    <a:cubicBezTo>
                      <a:pt x="1641391" y="1283082"/>
                      <a:pt x="1630790" y="1279149"/>
                      <a:pt x="1620417" y="1279548"/>
                    </a:cubicBezTo>
                    <a:cubicBezTo>
                      <a:pt x="1617055" y="1280090"/>
                      <a:pt x="1613635" y="1280090"/>
                      <a:pt x="1610272" y="1279548"/>
                    </a:cubicBezTo>
                    <a:cubicBezTo>
                      <a:pt x="1603034" y="1277440"/>
                      <a:pt x="1596252" y="1268149"/>
                      <a:pt x="1590096" y="1272595"/>
                    </a:cubicBezTo>
                    <a:cubicBezTo>
                      <a:pt x="1588443" y="1266896"/>
                      <a:pt x="1586790" y="1261196"/>
                      <a:pt x="1585081" y="1255497"/>
                    </a:cubicBezTo>
                    <a:cubicBezTo>
                      <a:pt x="1571345" y="1263818"/>
                      <a:pt x="1552480" y="1248087"/>
                      <a:pt x="1538174" y="1255497"/>
                    </a:cubicBezTo>
                    <a:cubicBezTo>
                      <a:pt x="1530423" y="1259429"/>
                      <a:pt x="1524780" y="1269688"/>
                      <a:pt x="1516231" y="1267978"/>
                    </a:cubicBezTo>
                    <a:cubicBezTo>
                      <a:pt x="1512925" y="1267294"/>
                      <a:pt x="1508708" y="1265072"/>
                      <a:pt x="1506770" y="1267978"/>
                    </a:cubicBezTo>
                    <a:cubicBezTo>
                      <a:pt x="1505801" y="1269346"/>
                      <a:pt x="1506200" y="1271284"/>
                      <a:pt x="1506086" y="1272937"/>
                    </a:cubicBezTo>
                    <a:cubicBezTo>
                      <a:pt x="1505687" y="1277440"/>
                      <a:pt x="1501355" y="1280460"/>
                      <a:pt x="1497480" y="1282740"/>
                    </a:cubicBezTo>
                    <a:cubicBezTo>
                      <a:pt x="1485123" y="1291209"/>
                      <a:pt x="1471308" y="1297314"/>
                      <a:pt x="1456729" y="1300750"/>
                    </a:cubicBezTo>
                    <a:cubicBezTo>
                      <a:pt x="1456729" y="1301719"/>
                      <a:pt x="1456216" y="1302688"/>
                      <a:pt x="1455988" y="1303657"/>
                    </a:cubicBezTo>
                    <a:cubicBezTo>
                      <a:pt x="1455104" y="1301486"/>
                      <a:pt x="1453081" y="1299992"/>
                      <a:pt x="1450744" y="1299782"/>
                    </a:cubicBezTo>
                    <a:lnTo>
                      <a:pt x="1450117" y="1299782"/>
                    </a:lnTo>
                    <a:cubicBezTo>
                      <a:pt x="1447022" y="1293911"/>
                      <a:pt x="1441460" y="1289728"/>
                      <a:pt x="1434957" y="1288383"/>
                    </a:cubicBezTo>
                    <a:cubicBezTo>
                      <a:pt x="1424698" y="1286616"/>
                      <a:pt x="1411361" y="1290890"/>
                      <a:pt x="1405490" y="1282227"/>
                    </a:cubicBezTo>
                    <a:cubicBezTo>
                      <a:pt x="1404151" y="1279064"/>
                      <a:pt x="1402589" y="1275998"/>
                      <a:pt x="1400817" y="1273051"/>
                    </a:cubicBezTo>
                    <a:cubicBezTo>
                      <a:pt x="1398195" y="1270144"/>
                      <a:pt x="1393920" y="1269460"/>
                      <a:pt x="1390672" y="1267352"/>
                    </a:cubicBezTo>
                    <a:cubicBezTo>
                      <a:pt x="1383034" y="1262222"/>
                      <a:pt x="1382635" y="1249911"/>
                      <a:pt x="1374542" y="1245409"/>
                    </a:cubicBezTo>
                    <a:cubicBezTo>
                      <a:pt x="1367988" y="1241704"/>
                      <a:pt x="1359894" y="1245409"/>
                      <a:pt x="1352884" y="1247859"/>
                    </a:cubicBezTo>
                    <a:cubicBezTo>
                      <a:pt x="1346814" y="1250852"/>
                      <a:pt x="1339946" y="1251832"/>
                      <a:pt x="1333278" y="1250652"/>
                    </a:cubicBezTo>
                    <a:cubicBezTo>
                      <a:pt x="1326478" y="1249142"/>
                      <a:pt x="1322033" y="1242599"/>
                      <a:pt x="1323133" y="1235719"/>
                    </a:cubicBezTo>
                    <a:cubicBezTo>
                      <a:pt x="1320625" y="1231673"/>
                      <a:pt x="1314185" y="1234580"/>
                      <a:pt x="1311734" y="1238512"/>
                    </a:cubicBezTo>
                    <a:cubicBezTo>
                      <a:pt x="1309283" y="1242445"/>
                      <a:pt x="1307117" y="1247688"/>
                      <a:pt x="1302501" y="1248657"/>
                    </a:cubicBezTo>
                    <a:cubicBezTo>
                      <a:pt x="1297884" y="1249626"/>
                      <a:pt x="1292983" y="1244497"/>
                      <a:pt x="1290190" y="1239880"/>
                    </a:cubicBezTo>
                    <a:lnTo>
                      <a:pt x="1269444" y="1205683"/>
                    </a:lnTo>
                    <a:cubicBezTo>
                      <a:pt x="1267284" y="1202537"/>
                      <a:pt x="1265665" y="1199049"/>
                      <a:pt x="1264656" y="1195367"/>
                    </a:cubicBezTo>
                    <a:cubicBezTo>
                      <a:pt x="1264434" y="1192871"/>
                      <a:pt x="1263818" y="1190431"/>
                      <a:pt x="1262832" y="1188129"/>
                    </a:cubicBezTo>
                    <a:cubicBezTo>
                      <a:pt x="1260724" y="1184595"/>
                      <a:pt x="1255936" y="1183512"/>
                      <a:pt x="1253371" y="1180264"/>
                    </a:cubicBezTo>
                    <a:cubicBezTo>
                      <a:pt x="1249952" y="1175989"/>
                      <a:pt x="1251262" y="1169207"/>
                      <a:pt x="1247672" y="1165046"/>
                    </a:cubicBezTo>
                    <a:cubicBezTo>
                      <a:pt x="1243055" y="1159689"/>
                      <a:pt x="1232739" y="1161683"/>
                      <a:pt x="1229320" y="1155471"/>
                    </a:cubicBezTo>
                    <a:cubicBezTo>
                      <a:pt x="1226470" y="1150227"/>
                      <a:pt x="1230687" y="1142020"/>
                      <a:pt x="1225900" y="1138372"/>
                    </a:cubicBezTo>
                    <a:cubicBezTo>
                      <a:pt x="1222195" y="1135580"/>
                      <a:pt x="1217066" y="1138657"/>
                      <a:pt x="1213361" y="1141450"/>
                    </a:cubicBezTo>
                    <a:cubicBezTo>
                      <a:pt x="1198816" y="1152359"/>
                      <a:pt x="1182162" y="1160122"/>
                      <a:pt x="1164459" y="1164248"/>
                    </a:cubicBezTo>
                    <a:cubicBezTo>
                      <a:pt x="1163149" y="1160315"/>
                      <a:pt x="1161838" y="1156440"/>
                      <a:pt x="1160584" y="1152507"/>
                    </a:cubicBezTo>
                    <a:cubicBezTo>
                      <a:pt x="1152069" y="1155004"/>
                      <a:pt x="1142972" y="1151168"/>
                      <a:pt x="1138812" y="1143331"/>
                    </a:cubicBezTo>
                    <a:cubicBezTo>
                      <a:pt x="1131573" y="1139398"/>
                      <a:pt x="1122739" y="1150854"/>
                      <a:pt x="1115330" y="1147207"/>
                    </a:cubicBezTo>
                    <a:cubicBezTo>
                      <a:pt x="1107921" y="1143559"/>
                      <a:pt x="1111910" y="1134098"/>
                      <a:pt x="1111682" y="1126689"/>
                    </a:cubicBezTo>
                    <a:cubicBezTo>
                      <a:pt x="1110759" y="1118082"/>
                      <a:pt x="1105333" y="1110622"/>
                      <a:pt x="1097434" y="1107082"/>
                    </a:cubicBezTo>
                    <a:cubicBezTo>
                      <a:pt x="1089637" y="1103720"/>
                      <a:pt x="1081293" y="1101793"/>
                      <a:pt x="1072812" y="1101383"/>
                    </a:cubicBezTo>
                    <a:cubicBezTo>
                      <a:pt x="1068247" y="1100465"/>
                      <a:pt x="1063522" y="1100802"/>
                      <a:pt x="1059133" y="1102352"/>
                    </a:cubicBezTo>
                    <a:cubicBezTo>
                      <a:pt x="1054944" y="1105184"/>
                      <a:pt x="1051217" y="1108644"/>
                      <a:pt x="1048076" y="1112611"/>
                    </a:cubicBezTo>
                    <a:cubicBezTo>
                      <a:pt x="1040040" y="1120134"/>
                      <a:pt x="1028299" y="1121787"/>
                      <a:pt x="1017413" y="1123440"/>
                    </a:cubicBezTo>
                    <a:cubicBezTo>
                      <a:pt x="999004" y="1126233"/>
                      <a:pt x="980708" y="1130051"/>
                      <a:pt x="962470" y="1133870"/>
                    </a:cubicBezTo>
                    <a:cubicBezTo>
                      <a:pt x="952382" y="1135979"/>
                      <a:pt x="941268" y="1142590"/>
                      <a:pt x="931237" y="1144699"/>
                    </a:cubicBezTo>
                    <a:cubicBezTo>
                      <a:pt x="926279" y="1151139"/>
                      <a:pt x="916190" y="1149087"/>
                      <a:pt x="908439" y="1146580"/>
                    </a:cubicBezTo>
                    <a:cubicBezTo>
                      <a:pt x="900688" y="1144072"/>
                      <a:pt x="890201" y="1142761"/>
                      <a:pt x="886154" y="1149885"/>
                    </a:cubicBezTo>
                    <a:cubicBezTo>
                      <a:pt x="883304" y="1155243"/>
                      <a:pt x="888434" y="1161284"/>
                      <a:pt x="893222" y="1165103"/>
                    </a:cubicBezTo>
                    <a:cubicBezTo>
                      <a:pt x="898009" y="1168922"/>
                      <a:pt x="903651" y="1173994"/>
                      <a:pt x="901942" y="1179865"/>
                    </a:cubicBezTo>
                    <a:cubicBezTo>
                      <a:pt x="897992" y="1177898"/>
                      <a:pt x="893643" y="1176867"/>
                      <a:pt x="889232" y="1176844"/>
                    </a:cubicBezTo>
                    <a:cubicBezTo>
                      <a:pt x="884684" y="1176947"/>
                      <a:pt x="880797" y="1180150"/>
                      <a:pt x="879828" y="1184595"/>
                    </a:cubicBezTo>
                    <a:cubicBezTo>
                      <a:pt x="879970" y="1186704"/>
                      <a:pt x="879970" y="1188813"/>
                      <a:pt x="879828" y="1190922"/>
                    </a:cubicBezTo>
                    <a:cubicBezTo>
                      <a:pt x="878882" y="1192979"/>
                      <a:pt x="877656" y="1194900"/>
                      <a:pt x="876180" y="1196621"/>
                    </a:cubicBezTo>
                    <a:cubicBezTo>
                      <a:pt x="873963" y="1200075"/>
                      <a:pt x="873872" y="1204481"/>
                      <a:pt x="875952" y="1208020"/>
                    </a:cubicBezTo>
                    <a:lnTo>
                      <a:pt x="863356" y="1213719"/>
                    </a:lnTo>
                    <a:lnTo>
                      <a:pt x="863356" y="1222269"/>
                    </a:lnTo>
                    <a:cubicBezTo>
                      <a:pt x="869455" y="1228253"/>
                      <a:pt x="879657" y="1227968"/>
                      <a:pt x="886154" y="1233668"/>
                    </a:cubicBezTo>
                    <a:cubicBezTo>
                      <a:pt x="892161" y="1240034"/>
                      <a:pt x="891871" y="1250059"/>
                      <a:pt x="885505" y="1256067"/>
                    </a:cubicBezTo>
                    <a:cubicBezTo>
                      <a:pt x="884422" y="1257087"/>
                      <a:pt x="883202" y="1257953"/>
                      <a:pt x="881879" y="1258631"/>
                    </a:cubicBezTo>
                    <a:cubicBezTo>
                      <a:pt x="876779" y="1258740"/>
                      <a:pt x="872470" y="1254881"/>
                      <a:pt x="872019" y="1249797"/>
                    </a:cubicBezTo>
                    <a:lnTo>
                      <a:pt x="845859" y="1258574"/>
                    </a:lnTo>
                    <a:cubicBezTo>
                      <a:pt x="843465" y="1254961"/>
                      <a:pt x="841921" y="1250846"/>
                      <a:pt x="841356" y="1246548"/>
                    </a:cubicBezTo>
                    <a:cubicBezTo>
                      <a:pt x="833959" y="1249689"/>
                      <a:pt x="825415" y="1246281"/>
                      <a:pt x="822206" y="1238911"/>
                    </a:cubicBezTo>
                    <a:lnTo>
                      <a:pt x="797242" y="1246206"/>
                    </a:lnTo>
                    <a:cubicBezTo>
                      <a:pt x="796501" y="1244041"/>
                      <a:pt x="795703" y="1241818"/>
                      <a:pt x="794906" y="1239595"/>
                    </a:cubicBezTo>
                    <a:cubicBezTo>
                      <a:pt x="785542" y="1238204"/>
                      <a:pt x="776058" y="1241214"/>
                      <a:pt x="769201" y="1247745"/>
                    </a:cubicBezTo>
                    <a:cubicBezTo>
                      <a:pt x="766710" y="1250755"/>
                      <a:pt x="763747" y="1253331"/>
                      <a:pt x="760424" y="1255383"/>
                    </a:cubicBezTo>
                    <a:cubicBezTo>
                      <a:pt x="756890" y="1257036"/>
                      <a:pt x="751647" y="1255896"/>
                      <a:pt x="750792" y="1252134"/>
                    </a:cubicBezTo>
                    <a:cubicBezTo>
                      <a:pt x="747452" y="1253775"/>
                      <a:pt x="743685" y="1254311"/>
                      <a:pt x="740020" y="1253673"/>
                    </a:cubicBezTo>
                    <a:lnTo>
                      <a:pt x="740020" y="1242274"/>
                    </a:lnTo>
                    <a:cubicBezTo>
                      <a:pt x="732667" y="1242274"/>
                      <a:pt x="726341" y="1237486"/>
                      <a:pt x="720185" y="1233440"/>
                    </a:cubicBezTo>
                    <a:cubicBezTo>
                      <a:pt x="705481" y="1223694"/>
                      <a:pt x="686559" y="1217766"/>
                      <a:pt x="670144" y="1224264"/>
                    </a:cubicBezTo>
                    <a:cubicBezTo>
                      <a:pt x="665562" y="1226709"/>
                      <a:pt x="660677" y="1228527"/>
                      <a:pt x="655611" y="1229678"/>
                    </a:cubicBezTo>
                    <a:cubicBezTo>
                      <a:pt x="650766" y="1230191"/>
                      <a:pt x="645465" y="1228595"/>
                      <a:pt x="641305" y="1231046"/>
                    </a:cubicBezTo>
                    <a:cubicBezTo>
                      <a:pt x="635605" y="1234295"/>
                      <a:pt x="635263" y="1242445"/>
                      <a:pt x="629621" y="1245409"/>
                    </a:cubicBezTo>
                    <a:cubicBezTo>
                      <a:pt x="623978" y="1248372"/>
                      <a:pt x="618222" y="1244611"/>
                      <a:pt x="613548" y="1247460"/>
                    </a:cubicBezTo>
                    <a:cubicBezTo>
                      <a:pt x="610123" y="1250179"/>
                      <a:pt x="608442" y="1254545"/>
                      <a:pt x="609160" y="1258859"/>
                    </a:cubicBezTo>
                    <a:cubicBezTo>
                      <a:pt x="609821" y="1263031"/>
                      <a:pt x="609650" y="1267294"/>
                      <a:pt x="608647" y="1271398"/>
                    </a:cubicBezTo>
                    <a:cubicBezTo>
                      <a:pt x="607165" y="1275331"/>
                      <a:pt x="602035" y="1278295"/>
                      <a:pt x="598673" y="1275787"/>
                    </a:cubicBezTo>
                    <a:cubicBezTo>
                      <a:pt x="595310" y="1273279"/>
                      <a:pt x="596222" y="1268833"/>
                      <a:pt x="594683" y="1265357"/>
                    </a:cubicBezTo>
                    <a:cubicBezTo>
                      <a:pt x="591873" y="1260233"/>
                      <a:pt x="585815" y="1257839"/>
                      <a:pt x="580263" y="1259657"/>
                    </a:cubicBezTo>
                    <a:cubicBezTo>
                      <a:pt x="574951" y="1261624"/>
                      <a:pt x="570181" y="1264827"/>
                      <a:pt x="566357" y="1269004"/>
                    </a:cubicBezTo>
                    <a:cubicBezTo>
                      <a:pt x="566357" y="1274704"/>
                      <a:pt x="566357" y="1280859"/>
                      <a:pt x="566357" y="1286787"/>
                    </a:cubicBezTo>
                    <a:cubicBezTo>
                      <a:pt x="562401" y="1287374"/>
                      <a:pt x="559660" y="1291033"/>
                      <a:pt x="560201" y="1294994"/>
                    </a:cubicBezTo>
                    <a:cubicBezTo>
                      <a:pt x="560897" y="1298784"/>
                      <a:pt x="562606" y="1302312"/>
                      <a:pt x="565160" y="1305196"/>
                    </a:cubicBezTo>
                    <a:cubicBezTo>
                      <a:pt x="560794" y="1307054"/>
                      <a:pt x="557181" y="1310326"/>
                      <a:pt x="554901" y="1314486"/>
                    </a:cubicBezTo>
                    <a:cubicBezTo>
                      <a:pt x="561170" y="1313175"/>
                      <a:pt x="566300" y="1320186"/>
                      <a:pt x="568352" y="1325885"/>
                    </a:cubicBezTo>
                    <a:cubicBezTo>
                      <a:pt x="570403" y="1331585"/>
                      <a:pt x="573481" y="1338994"/>
                      <a:pt x="579751" y="1340305"/>
                    </a:cubicBezTo>
                    <a:cubicBezTo>
                      <a:pt x="582486" y="1340875"/>
                      <a:pt x="585450" y="1340305"/>
                      <a:pt x="588015" y="1340875"/>
                    </a:cubicBezTo>
                    <a:cubicBezTo>
                      <a:pt x="593258" y="1342357"/>
                      <a:pt x="595310" y="1348455"/>
                      <a:pt x="597305" y="1353528"/>
                    </a:cubicBezTo>
                    <a:cubicBezTo>
                      <a:pt x="599300" y="1358600"/>
                      <a:pt x="603745" y="1364129"/>
                      <a:pt x="608704" y="1362647"/>
                    </a:cubicBezTo>
                    <a:cubicBezTo>
                      <a:pt x="606988" y="1370369"/>
                      <a:pt x="606259" y="1378280"/>
                      <a:pt x="606538" y="1386186"/>
                    </a:cubicBezTo>
                    <a:cubicBezTo>
                      <a:pt x="590465" y="1391486"/>
                      <a:pt x="578041" y="1404424"/>
                      <a:pt x="566243" y="1416906"/>
                    </a:cubicBezTo>
                    <a:cubicBezTo>
                      <a:pt x="562185" y="1420189"/>
                      <a:pt x="559700" y="1425033"/>
                      <a:pt x="559403" y="1430242"/>
                    </a:cubicBezTo>
                    <a:cubicBezTo>
                      <a:pt x="560087" y="1437139"/>
                      <a:pt x="567839" y="1440900"/>
                      <a:pt x="571258" y="1446942"/>
                    </a:cubicBezTo>
                    <a:cubicBezTo>
                      <a:pt x="576502" y="1456289"/>
                      <a:pt x="570232" y="1468999"/>
                      <a:pt x="575305" y="1478460"/>
                    </a:cubicBezTo>
                    <a:cubicBezTo>
                      <a:pt x="577243" y="1482108"/>
                      <a:pt x="581004" y="1485128"/>
                      <a:pt x="581004" y="1489232"/>
                    </a:cubicBezTo>
                    <a:cubicBezTo>
                      <a:pt x="581289" y="1491683"/>
                      <a:pt x="580435" y="1494248"/>
                      <a:pt x="581403" y="1496527"/>
                    </a:cubicBezTo>
                    <a:cubicBezTo>
                      <a:pt x="582771" y="1499947"/>
                      <a:pt x="587103" y="1500745"/>
                      <a:pt x="590180" y="1502854"/>
                    </a:cubicBezTo>
                    <a:cubicBezTo>
                      <a:pt x="593623" y="1506216"/>
                      <a:pt x="596267" y="1510309"/>
                      <a:pt x="597932" y="1514823"/>
                    </a:cubicBezTo>
                    <a:cubicBezTo>
                      <a:pt x="600212" y="1518983"/>
                      <a:pt x="607222" y="1516874"/>
                      <a:pt x="609331" y="1521548"/>
                    </a:cubicBezTo>
                    <a:lnTo>
                      <a:pt x="601010" y="1527248"/>
                    </a:lnTo>
                    <a:cubicBezTo>
                      <a:pt x="600069" y="1528011"/>
                      <a:pt x="598952" y="1528524"/>
                      <a:pt x="597761" y="1528729"/>
                    </a:cubicBezTo>
                    <a:cubicBezTo>
                      <a:pt x="596370" y="1528741"/>
                      <a:pt x="594997" y="1528467"/>
                      <a:pt x="593714" y="1527931"/>
                    </a:cubicBezTo>
                    <a:cubicBezTo>
                      <a:pt x="590426" y="1527475"/>
                      <a:pt x="587086" y="1527475"/>
                      <a:pt x="583797" y="1527931"/>
                    </a:cubicBezTo>
                    <a:cubicBezTo>
                      <a:pt x="580446" y="1528239"/>
                      <a:pt x="577129" y="1527048"/>
                      <a:pt x="574735" y="1524683"/>
                    </a:cubicBezTo>
                    <a:cubicBezTo>
                      <a:pt x="574074" y="1523588"/>
                      <a:pt x="573247" y="1522608"/>
                      <a:pt x="572284" y="1521776"/>
                    </a:cubicBezTo>
                    <a:cubicBezTo>
                      <a:pt x="571156" y="1521223"/>
                      <a:pt x="569885" y="1521001"/>
                      <a:pt x="568637" y="1521149"/>
                    </a:cubicBezTo>
                    <a:cubicBezTo>
                      <a:pt x="564652" y="1521143"/>
                      <a:pt x="560674" y="1520875"/>
                      <a:pt x="556725" y="1520351"/>
                    </a:cubicBezTo>
                    <a:cubicBezTo>
                      <a:pt x="556576" y="1519274"/>
                      <a:pt x="556366" y="1518208"/>
                      <a:pt x="556098" y="1517159"/>
                    </a:cubicBezTo>
                    <a:cubicBezTo>
                      <a:pt x="555967" y="1516510"/>
                      <a:pt x="555670" y="1515900"/>
                      <a:pt x="555243" y="1515393"/>
                    </a:cubicBezTo>
                    <a:cubicBezTo>
                      <a:pt x="554604" y="1514948"/>
                      <a:pt x="553852" y="1514686"/>
                      <a:pt x="553077" y="1514652"/>
                    </a:cubicBezTo>
                    <a:cubicBezTo>
                      <a:pt x="547497" y="1513364"/>
                      <a:pt x="543582" y="1508348"/>
                      <a:pt x="543673" y="1502626"/>
                    </a:cubicBezTo>
                    <a:cubicBezTo>
                      <a:pt x="543958" y="1501526"/>
                      <a:pt x="543958" y="1500363"/>
                      <a:pt x="543673" y="1499263"/>
                    </a:cubicBezTo>
                    <a:cubicBezTo>
                      <a:pt x="543035" y="1498340"/>
                      <a:pt x="542145" y="1497627"/>
                      <a:pt x="541108" y="1497211"/>
                    </a:cubicBezTo>
                    <a:cubicBezTo>
                      <a:pt x="531522" y="1492566"/>
                      <a:pt x="521040" y="1490053"/>
                      <a:pt x="510388" y="1489859"/>
                    </a:cubicBezTo>
                    <a:cubicBezTo>
                      <a:pt x="506849" y="1490224"/>
                      <a:pt x="503275" y="1489591"/>
                      <a:pt x="500072" y="1488035"/>
                    </a:cubicBezTo>
                    <a:cubicBezTo>
                      <a:pt x="499263" y="1487380"/>
                      <a:pt x="498408" y="1486793"/>
                      <a:pt x="497507" y="1486268"/>
                    </a:cubicBezTo>
                    <a:cubicBezTo>
                      <a:pt x="493916" y="1484615"/>
                      <a:pt x="488958" y="1487408"/>
                      <a:pt x="486108" y="1484786"/>
                    </a:cubicBezTo>
                    <a:cubicBezTo>
                      <a:pt x="485270" y="1483852"/>
                      <a:pt x="484575" y="1482797"/>
                      <a:pt x="484056" y="1481652"/>
                    </a:cubicBezTo>
                    <a:cubicBezTo>
                      <a:pt x="480209" y="1476818"/>
                      <a:pt x="474105" y="1474373"/>
                      <a:pt x="467984" y="1475211"/>
                    </a:cubicBezTo>
                    <a:cubicBezTo>
                      <a:pt x="462005" y="1476123"/>
                      <a:pt x="455907" y="1475850"/>
                      <a:pt x="450031" y="1474413"/>
                    </a:cubicBezTo>
                    <a:cubicBezTo>
                      <a:pt x="448155" y="1473325"/>
                      <a:pt x="445972" y="1472880"/>
                      <a:pt x="443818" y="1473159"/>
                    </a:cubicBezTo>
                    <a:cubicBezTo>
                      <a:pt x="442416" y="1473826"/>
                      <a:pt x="441236" y="1474875"/>
                      <a:pt x="440398" y="1476180"/>
                    </a:cubicBezTo>
                    <a:cubicBezTo>
                      <a:pt x="439025" y="1477890"/>
                      <a:pt x="437537" y="1479509"/>
                      <a:pt x="435953" y="1481025"/>
                    </a:cubicBezTo>
                    <a:cubicBezTo>
                      <a:pt x="428937" y="1480523"/>
                      <a:pt x="422941" y="1475776"/>
                      <a:pt x="420849" y="1469056"/>
                    </a:cubicBezTo>
                    <a:cubicBezTo>
                      <a:pt x="411730" y="1472590"/>
                      <a:pt x="402839" y="1463869"/>
                      <a:pt x="396911" y="1456118"/>
                    </a:cubicBezTo>
                    <a:lnTo>
                      <a:pt x="393036" y="1450989"/>
                    </a:lnTo>
                    <a:cubicBezTo>
                      <a:pt x="389793" y="1446144"/>
                      <a:pt x="385655" y="1441966"/>
                      <a:pt x="380839" y="1438678"/>
                    </a:cubicBezTo>
                    <a:cubicBezTo>
                      <a:pt x="375042" y="1436027"/>
                      <a:pt x="369012" y="1433930"/>
                      <a:pt x="362828" y="1432408"/>
                    </a:cubicBezTo>
                    <a:cubicBezTo>
                      <a:pt x="356502" y="1430812"/>
                      <a:pt x="351572" y="1425860"/>
                      <a:pt x="350005" y="1419527"/>
                    </a:cubicBezTo>
                    <a:cubicBezTo>
                      <a:pt x="349207" y="1413144"/>
                      <a:pt x="357357" y="1406818"/>
                      <a:pt x="362201" y="1410978"/>
                    </a:cubicBezTo>
                    <a:lnTo>
                      <a:pt x="363399" y="1395419"/>
                    </a:lnTo>
                    <a:lnTo>
                      <a:pt x="370637" y="1393709"/>
                    </a:lnTo>
                    <a:cubicBezTo>
                      <a:pt x="376336" y="1392341"/>
                      <a:pt x="381352" y="1389548"/>
                      <a:pt x="382036" y="1383792"/>
                    </a:cubicBezTo>
                    <a:cubicBezTo>
                      <a:pt x="376895" y="1383444"/>
                      <a:pt x="371891" y="1381968"/>
                      <a:pt x="367388" y="1379460"/>
                    </a:cubicBezTo>
                    <a:lnTo>
                      <a:pt x="367388" y="1372678"/>
                    </a:lnTo>
                    <a:cubicBezTo>
                      <a:pt x="373942" y="1374730"/>
                      <a:pt x="383119" y="1370341"/>
                      <a:pt x="381865" y="1363616"/>
                    </a:cubicBezTo>
                    <a:lnTo>
                      <a:pt x="394119" y="1360424"/>
                    </a:lnTo>
                    <a:cubicBezTo>
                      <a:pt x="395943" y="1359911"/>
                      <a:pt x="398108" y="1359170"/>
                      <a:pt x="398621" y="1357346"/>
                    </a:cubicBezTo>
                    <a:cubicBezTo>
                      <a:pt x="399134" y="1355522"/>
                      <a:pt x="397367" y="1353470"/>
                      <a:pt x="395600" y="1352331"/>
                    </a:cubicBezTo>
                    <a:cubicBezTo>
                      <a:pt x="390984" y="1349395"/>
                      <a:pt x="385552" y="1348022"/>
                      <a:pt x="380098" y="1348398"/>
                    </a:cubicBezTo>
                    <a:cubicBezTo>
                      <a:pt x="377807" y="1348609"/>
                      <a:pt x="375550" y="1349088"/>
                      <a:pt x="373373" y="1349823"/>
                    </a:cubicBezTo>
                    <a:cubicBezTo>
                      <a:pt x="374358" y="1346580"/>
                      <a:pt x="376804" y="1343987"/>
                      <a:pt x="379984" y="1342813"/>
                    </a:cubicBezTo>
                    <a:cubicBezTo>
                      <a:pt x="381637" y="1342243"/>
                      <a:pt x="383575" y="1342129"/>
                      <a:pt x="384714" y="1340818"/>
                    </a:cubicBezTo>
                    <a:cubicBezTo>
                      <a:pt x="385854" y="1339507"/>
                      <a:pt x="385683" y="1337797"/>
                      <a:pt x="386424" y="1336429"/>
                    </a:cubicBezTo>
                    <a:cubicBezTo>
                      <a:pt x="388191" y="1332895"/>
                      <a:pt x="393207" y="1333408"/>
                      <a:pt x="397196" y="1333522"/>
                    </a:cubicBezTo>
                    <a:cubicBezTo>
                      <a:pt x="401346" y="1333773"/>
                      <a:pt x="405432" y="1332405"/>
                      <a:pt x="408595" y="1329704"/>
                    </a:cubicBezTo>
                    <a:cubicBezTo>
                      <a:pt x="411787" y="1326820"/>
                      <a:pt x="412710" y="1322192"/>
                      <a:pt x="410875" y="1318305"/>
                    </a:cubicBezTo>
                    <a:cubicBezTo>
                      <a:pt x="409963" y="1316652"/>
                      <a:pt x="408424" y="1315341"/>
                      <a:pt x="407626" y="1313574"/>
                    </a:cubicBezTo>
                    <a:cubicBezTo>
                      <a:pt x="405347" y="1308445"/>
                      <a:pt x="410248" y="1303201"/>
                      <a:pt x="413326" y="1298414"/>
                    </a:cubicBezTo>
                    <a:cubicBezTo>
                      <a:pt x="416860" y="1292714"/>
                      <a:pt x="417087" y="1284051"/>
                      <a:pt x="411388" y="1280745"/>
                    </a:cubicBezTo>
                    <a:cubicBezTo>
                      <a:pt x="404492" y="1276813"/>
                      <a:pt x="393720" y="1283139"/>
                      <a:pt x="388590" y="1276984"/>
                    </a:cubicBezTo>
                    <a:cubicBezTo>
                      <a:pt x="387450" y="1275616"/>
                      <a:pt x="386880" y="1273735"/>
                      <a:pt x="385797" y="1272310"/>
                    </a:cubicBezTo>
                    <a:cubicBezTo>
                      <a:pt x="383158" y="1269614"/>
                      <a:pt x="379471" y="1268218"/>
                      <a:pt x="375709" y="1268491"/>
                    </a:cubicBezTo>
                    <a:cubicBezTo>
                      <a:pt x="371976" y="1268799"/>
                      <a:pt x="368214" y="1268275"/>
                      <a:pt x="364709" y="1266953"/>
                    </a:cubicBezTo>
                    <a:cubicBezTo>
                      <a:pt x="361403" y="1265243"/>
                      <a:pt x="359010" y="1260569"/>
                      <a:pt x="361689" y="1257719"/>
                    </a:cubicBezTo>
                    <a:cubicBezTo>
                      <a:pt x="354211" y="1257309"/>
                      <a:pt x="346716" y="1257925"/>
                      <a:pt x="339404" y="1259543"/>
                    </a:cubicBezTo>
                    <a:cubicBezTo>
                      <a:pt x="331937" y="1260341"/>
                      <a:pt x="323217" y="1258745"/>
                      <a:pt x="319455" y="1252305"/>
                    </a:cubicBezTo>
                    <a:cubicBezTo>
                      <a:pt x="318373" y="1250424"/>
                      <a:pt x="317803" y="1248315"/>
                      <a:pt x="316891" y="1246605"/>
                    </a:cubicBezTo>
                    <a:cubicBezTo>
                      <a:pt x="312046" y="1235605"/>
                      <a:pt x="299222" y="1230989"/>
                      <a:pt x="287709" y="1227512"/>
                    </a:cubicBezTo>
                    <a:cubicBezTo>
                      <a:pt x="287709" y="1216113"/>
                      <a:pt x="287082" y="1202435"/>
                      <a:pt x="277393" y="1196222"/>
                    </a:cubicBezTo>
                    <a:cubicBezTo>
                      <a:pt x="269927" y="1191435"/>
                      <a:pt x="260295" y="1193144"/>
                      <a:pt x="251575" y="1195082"/>
                    </a:cubicBezTo>
                    <a:cubicBezTo>
                      <a:pt x="244792" y="1196564"/>
                      <a:pt x="238113" y="1198468"/>
                      <a:pt x="231570" y="1200782"/>
                    </a:cubicBezTo>
                    <a:cubicBezTo>
                      <a:pt x="231228" y="1195538"/>
                      <a:pt x="230715" y="1190238"/>
                      <a:pt x="229917" y="1184994"/>
                    </a:cubicBezTo>
                    <a:cubicBezTo>
                      <a:pt x="229119" y="1179751"/>
                      <a:pt x="228549" y="1173253"/>
                      <a:pt x="232995" y="1170461"/>
                    </a:cubicBezTo>
                    <a:cubicBezTo>
                      <a:pt x="237440" y="1167668"/>
                      <a:pt x="243026" y="1170802"/>
                      <a:pt x="247813" y="1169264"/>
                    </a:cubicBezTo>
                    <a:cubicBezTo>
                      <a:pt x="252555" y="1167263"/>
                      <a:pt x="255177" y="1162139"/>
                      <a:pt x="254026" y="1157124"/>
                    </a:cubicBezTo>
                    <a:cubicBezTo>
                      <a:pt x="252732" y="1152285"/>
                      <a:pt x="249711" y="1148090"/>
                      <a:pt x="245533" y="1145326"/>
                    </a:cubicBezTo>
                    <a:cubicBezTo>
                      <a:pt x="241544" y="1142305"/>
                      <a:pt x="237041" y="1140082"/>
                      <a:pt x="232995" y="1137176"/>
                    </a:cubicBezTo>
                    <a:cubicBezTo>
                      <a:pt x="224907" y="1131465"/>
                      <a:pt x="219555" y="1122648"/>
                      <a:pt x="218233" y="1112839"/>
                    </a:cubicBezTo>
                    <a:cubicBezTo>
                      <a:pt x="217549" y="1106227"/>
                      <a:pt x="219031" y="1099559"/>
                      <a:pt x="218233" y="1092948"/>
                    </a:cubicBezTo>
                    <a:cubicBezTo>
                      <a:pt x="217435" y="1086336"/>
                      <a:pt x="212533" y="1079383"/>
                      <a:pt x="206207" y="1079212"/>
                    </a:cubicBezTo>
                    <a:cubicBezTo>
                      <a:pt x="202480" y="1079628"/>
                      <a:pt x="198872" y="1080791"/>
                      <a:pt x="195606" y="1082632"/>
                    </a:cubicBezTo>
                    <a:cubicBezTo>
                      <a:pt x="192340" y="1084575"/>
                      <a:pt x="188271" y="1084575"/>
                      <a:pt x="185005" y="1082632"/>
                    </a:cubicBezTo>
                    <a:cubicBezTo>
                      <a:pt x="183238" y="1081207"/>
                      <a:pt x="182440" y="1078813"/>
                      <a:pt x="180844" y="1076932"/>
                    </a:cubicBezTo>
                    <a:cubicBezTo>
                      <a:pt x="176969" y="1073114"/>
                      <a:pt x="170414" y="1074823"/>
                      <a:pt x="165228" y="1073114"/>
                    </a:cubicBezTo>
                    <a:cubicBezTo>
                      <a:pt x="163176" y="1072430"/>
                      <a:pt x="161010" y="1071176"/>
                      <a:pt x="158958" y="1070549"/>
                    </a:cubicBezTo>
                    <a:cubicBezTo>
                      <a:pt x="158970" y="1068639"/>
                      <a:pt x="158839" y="1066736"/>
                      <a:pt x="158559" y="1064849"/>
                    </a:cubicBezTo>
                    <a:cubicBezTo>
                      <a:pt x="157875" y="1059492"/>
                      <a:pt x="155026" y="1053450"/>
                      <a:pt x="149611" y="1053108"/>
                    </a:cubicBezTo>
                    <a:cubicBezTo>
                      <a:pt x="147673" y="1044787"/>
                      <a:pt x="152575" y="1034585"/>
                      <a:pt x="146876" y="1028202"/>
                    </a:cubicBezTo>
                    <a:cubicBezTo>
                      <a:pt x="145171" y="1026366"/>
                      <a:pt x="142903" y="1025147"/>
                      <a:pt x="140435" y="1024725"/>
                    </a:cubicBezTo>
                    <a:cubicBezTo>
                      <a:pt x="142390" y="1021642"/>
                      <a:pt x="144048" y="1018376"/>
                      <a:pt x="145394" y="1014979"/>
                    </a:cubicBezTo>
                    <a:cubicBezTo>
                      <a:pt x="147149" y="1011571"/>
                      <a:pt x="148107" y="1007809"/>
                      <a:pt x="148186" y="1003979"/>
                    </a:cubicBezTo>
                    <a:cubicBezTo>
                      <a:pt x="147901" y="997254"/>
                      <a:pt x="142487" y="991440"/>
                      <a:pt x="142487" y="984715"/>
                    </a:cubicBezTo>
                    <a:cubicBezTo>
                      <a:pt x="143519" y="979357"/>
                      <a:pt x="146260" y="974478"/>
                      <a:pt x="150295" y="970808"/>
                    </a:cubicBezTo>
                    <a:cubicBezTo>
                      <a:pt x="153561" y="967491"/>
                      <a:pt x="155676" y="963216"/>
                      <a:pt x="156337" y="958611"/>
                    </a:cubicBezTo>
                    <a:cubicBezTo>
                      <a:pt x="157100" y="958098"/>
                      <a:pt x="157710" y="957391"/>
                      <a:pt x="158103" y="956559"/>
                    </a:cubicBezTo>
                    <a:cubicBezTo>
                      <a:pt x="159129" y="954279"/>
                      <a:pt x="158103" y="951487"/>
                      <a:pt x="159414" y="949264"/>
                    </a:cubicBezTo>
                    <a:cubicBezTo>
                      <a:pt x="160873" y="947332"/>
                      <a:pt x="163051" y="946078"/>
                      <a:pt x="165456" y="945787"/>
                    </a:cubicBezTo>
                    <a:cubicBezTo>
                      <a:pt x="174689" y="942926"/>
                      <a:pt x="184287" y="941410"/>
                      <a:pt x="193953" y="941285"/>
                    </a:cubicBezTo>
                    <a:cubicBezTo>
                      <a:pt x="196632" y="941285"/>
                      <a:pt x="200280" y="940658"/>
                      <a:pt x="200108" y="938036"/>
                    </a:cubicBezTo>
                    <a:cubicBezTo>
                      <a:pt x="200108" y="936725"/>
                      <a:pt x="198798" y="935756"/>
                      <a:pt x="197601" y="935243"/>
                    </a:cubicBezTo>
                    <a:cubicBezTo>
                      <a:pt x="193925" y="934058"/>
                      <a:pt x="190066" y="933516"/>
                      <a:pt x="186202" y="933647"/>
                    </a:cubicBezTo>
                    <a:cubicBezTo>
                      <a:pt x="182246" y="933727"/>
                      <a:pt x="178559" y="931653"/>
                      <a:pt x="176570" y="928233"/>
                    </a:cubicBezTo>
                    <a:cubicBezTo>
                      <a:pt x="176268" y="927184"/>
                      <a:pt x="175909" y="926158"/>
                      <a:pt x="175487" y="925155"/>
                    </a:cubicBezTo>
                    <a:cubicBezTo>
                      <a:pt x="174005" y="922647"/>
                      <a:pt x="170471" y="922419"/>
                      <a:pt x="167565" y="922476"/>
                    </a:cubicBezTo>
                    <a:cubicBezTo>
                      <a:pt x="166447" y="917512"/>
                      <a:pt x="163438" y="913181"/>
                      <a:pt x="159186" y="910394"/>
                    </a:cubicBezTo>
                    <a:lnTo>
                      <a:pt x="158844" y="910394"/>
                    </a:lnTo>
                    <a:cubicBezTo>
                      <a:pt x="161187" y="907282"/>
                      <a:pt x="163865" y="904432"/>
                      <a:pt x="166824" y="901901"/>
                    </a:cubicBezTo>
                    <a:cubicBezTo>
                      <a:pt x="169753" y="899963"/>
                      <a:pt x="172141" y="897319"/>
                      <a:pt x="173777" y="894207"/>
                    </a:cubicBezTo>
                    <a:cubicBezTo>
                      <a:pt x="177083" y="897114"/>
                      <a:pt x="182155" y="893124"/>
                      <a:pt x="183580" y="888964"/>
                    </a:cubicBezTo>
                    <a:cubicBezTo>
                      <a:pt x="185005" y="884803"/>
                      <a:pt x="185404" y="879730"/>
                      <a:pt x="189280" y="877565"/>
                    </a:cubicBezTo>
                    <a:cubicBezTo>
                      <a:pt x="191092" y="876664"/>
                      <a:pt x="193007" y="875974"/>
                      <a:pt x="194979" y="875513"/>
                    </a:cubicBezTo>
                    <a:cubicBezTo>
                      <a:pt x="200656" y="873347"/>
                      <a:pt x="204417" y="867910"/>
                      <a:pt x="204440" y="861834"/>
                    </a:cubicBezTo>
                    <a:cubicBezTo>
                      <a:pt x="207461" y="864342"/>
                      <a:pt x="212135" y="861834"/>
                      <a:pt x="214414" y="858642"/>
                    </a:cubicBezTo>
                    <a:cubicBezTo>
                      <a:pt x="216090" y="855092"/>
                      <a:pt x="218278" y="851809"/>
                      <a:pt x="220912" y="848896"/>
                    </a:cubicBezTo>
                    <a:cubicBezTo>
                      <a:pt x="222507" y="847642"/>
                      <a:pt x="224445" y="846958"/>
                      <a:pt x="226041" y="845704"/>
                    </a:cubicBezTo>
                    <a:cubicBezTo>
                      <a:pt x="229769" y="842068"/>
                      <a:pt x="230817" y="836483"/>
                      <a:pt x="228663" y="831741"/>
                    </a:cubicBezTo>
                    <a:cubicBezTo>
                      <a:pt x="226480" y="827136"/>
                      <a:pt x="223334" y="823049"/>
                      <a:pt x="219430" y="819772"/>
                    </a:cubicBezTo>
                    <a:cubicBezTo>
                      <a:pt x="214015" y="814414"/>
                      <a:pt x="208544" y="809114"/>
                      <a:pt x="203072" y="803813"/>
                    </a:cubicBezTo>
                    <a:cubicBezTo>
                      <a:pt x="201021" y="801819"/>
                      <a:pt x="198798" y="799140"/>
                      <a:pt x="199596" y="796404"/>
                    </a:cubicBezTo>
                    <a:cubicBezTo>
                      <a:pt x="200906" y="791731"/>
                      <a:pt x="208715" y="792699"/>
                      <a:pt x="210995" y="788596"/>
                    </a:cubicBezTo>
                    <a:cubicBezTo>
                      <a:pt x="206195" y="783187"/>
                      <a:pt x="200804" y="778331"/>
                      <a:pt x="194922" y="774119"/>
                    </a:cubicBezTo>
                    <a:cubicBezTo>
                      <a:pt x="199653" y="768705"/>
                      <a:pt x="202844" y="759528"/>
                      <a:pt x="197202" y="755026"/>
                    </a:cubicBezTo>
                    <a:cubicBezTo>
                      <a:pt x="195036" y="753316"/>
                      <a:pt x="191502" y="752632"/>
                      <a:pt x="190762" y="750067"/>
                    </a:cubicBezTo>
                    <a:cubicBezTo>
                      <a:pt x="188767" y="744995"/>
                      <a:pt x="197487" y="741404"/>
                      <a:pt x="197373" y="735990"/>
                    </a:cubicBezTo>
                    <a:cubicBezTo>
                      <a:pt x="197373" y="731943"/>
                      <a:pt x="192129" y="728694"/>
                      <a:pt x="193497" y="724933"/>
                    </a:cubicBezTo>
                    <a:cubicBezTo>
                      <a:pt x="194352" y="722710"/>
                      <a:pt x="196974" y="721855"/>
                      <a:pt x="198570" y="720088"/>
                    </a:cubicBezTo>
                    <a:cubicBezTo>
                      <a:pt x="200787" y="717050"/>
                      <a:pt x="200787" y="712924"/>
                      <a:pt x="198570" y="709886"/>
                    </a:cubicBezTo>
                    <a:cubicBezTo>
                      <a:pt x="196273" y="707008"/>
                      <a:pt x="193651" y="704409"/>
                      <a:pt x="190762" y="702135"/>
                    </a:cubicBezTo>
                    <a:cubicBezTo>
                      <a:pt x="186128" y="697723"/>
                      <a:pt x="182799" y="692126"/>
                      <a:pt x="181129" y="685948"/>
                    </a:cubicBezTo>
                    <a:cubicBezTo>
                      <a:pt x="180388" y="683594"/>
                      <a:pt x="180388" y="681064"/>
                      <a:pt x="181129" y="678710"/>
                    </a:cubicBezTo>
                    <a:cubicBezTo>
                      <a:pt x="182326" y="675461"/>
                      <a:pt x="185860" y="673011"/>
                      <a:pt x="185803" y="669591"/>
                    </a:cubicBezTo>
                    <a:cubicBezTo>
                      <a:pt x="185803" y="668052"/>
                      <a:pt x="185062" y="666627"/>
                      <a:pt x="185176" y="665088"/>
                    </a:cubicBezTo>
                    <a:cubicBezTo>
                      <a:pt x="185689" y="659389"/>
                      <a:pt x="196575" y="660415"/>
                      <a:pt x="198513" y="654943"/>
                    </a:cubicBezTo>
                    <a:cubicBezTo>
                      <a:pt x="199766" y="651580"/>
                      <a:pt x="196917" y="648218"/>
                      <a:pt x="194295" y="645710"/>
                    </a:cubicBezTo>
                    <a:lnTo>
                      <a:pt x="176627" y="629182"/>
                    </a:lnTo>
                    <a:cubicBezTo>
                      <a:pt x="173047" y="626269"/>
                      <a:pt x="170112" y="622639"/>
                      <a:pt x="168020" y="618524"/>
                    </a:cubicBezTo>
                    <a:cubicBezTo>
                      <a:pt x="165963" y="614277"/>
                      <a:pt x="166733" y="609199"/>
                      <a:pt x="169958" y="605757"/>
                    </a:cubicBezTo>
                    <a:cubicBezTo>
                      <a:pt x="170848" y="605118"/>
                      <a:pt x="171685" y="604412"/>
                      <a:pt x="172466" y="603648"/>
                    </a:cubicBezTo>
                    <a:cubicBezTo>
                      <a:pt x="176057" y="599430"/>
                      <a:pt x="172466" y="590197"/>
                      <a:pt x="177595" y="588943"/>
                    </a:cubicBezTo>
                    <a:cubicBezTo>
                      <a:pt x="181534" y="587809"/>
                      <a:pt x="184104" y="584019"/>
                      <a:pt x="183694" y="579938"/>
                    </a:cubicBezTo>
                    <a:cubicBezTo>
                      <a:pt x="187171" y="579938"/>
                      <a:pt x="190647" y="580394"/>
                      <a:pt x="194067" y="580793"/>
                    </a:cubicBezTo>
                    <a:cubicBezTo>
                      <a:pt x="196866" y="575116"/>
                      <a:pt x="200496" y="569890"/>
                      <a:pt x="204839" y="565290"/>
                    </a:cubicBezTo>
                    <a:cubicBezTo>
                      <a:pt x="206224" y="565387"/>
                      <a:pt x="207581" y="564869"/>
                      <a:pt x="208544" y="563866"/>
                    </a:cubicBezTo>
                    <a:cubicBezTo>
                      <a:pt x="209045" y="562874"/>
                      <a:pt x="209410" y="561819"/>
                      <a:pt x="209627" y="560731"/>
                    </a:cubicBezTo>
                    <a:lnTo>
                      <a:pt x="212419" y="558337"/>
                    </a:lnTo>
                    <a:cubicBezTo>
                      <a:pt x="213696" y="557910"/>
                      <a:pt x="215075" y="557910"/>
                      <a:pt x="216352" y="558337"/>
                    </a:cubicBezTo>
                    <a:cubicBezTo>
                      <a:pt x="218689" y="559591"/>
                      <a:pt x="220655" y="561438"/>
                      <a:pt x="222052" y="563695"/>
                    </a:cubicBezTo>
                    <a:cubicBezTo>
                      <a:pt x="226098" y="565860"/>
                      <a:pt x="230738" y="566664"/>
                      <a:pt x="235274" y="565974"/>
                    </a:cubicBezTo>
                    <a:cubicBezTo>
                      <a:pt x="239805" y="565023"/>
                      <a:pt x="242701" y="560583"/>
                      <a:pt x="241755" y="556052"/>
                    </a:cubicBezTo>
                    <a:cubicBezTo>
                      <a:pt x="241737" y="555995"/>
                      <a:pt x="241726" y="555943"/>
                      <a:pt x="241715" y="555886"/>
                    </a:cubicBezTo>
                    <a:cubicBezTo>
                      <a:pt x="247551" y="554769"/>
                      <a:pt x="253581" y="556251"/>
                      <a:pt x="258243" y="559933"/>
                    </a:cubicBezTo>
                    <a:cubicBezTo>
                      <a:pt x="255593" y="563125"/>
                      <a:pt x="251615" y="564909"/>
                      <a:pt x="247471" y="564777"/>
                    </a:cubicBezTo>
                    <a:cubicBezTo>
                      <a:pt x="245482" y="569833"/>
                      <a:pt x="247682" y="575572"/>
                      <a:pt x="252544" y="578000"/>
                    </a:cubicBezTo>
                    <a:cubicBezTo>
                      <a:pt x="257343" y="580172"/>
                      <a:pt x="262632" y="581055"/>
                      <a:pt x="267875" y="580565"/>
                    </a:cubicBezTo>
                    <a:lnTo>
                      <a:pt x="304979" y="580565"/>
                    </a:lnTo>
                    <a:cubicBezTo>
                      <a:pt x="304979" y="582959"/>
                      <a:pt x="304979" y="585353"/>
                      <a:pt x="304979" y="587746"/>
                    </a:cubicBezTo>
                    <a:cubicBezTo>
                      <a:pt x="307258" y="591964"/>
                      <a:pt x="313870" y="589342"/>
                      <a:pt x="318315" y="591109"/>
                    </a:cubicBezTo>
                    <a:cubicBezTo>
                      <a:pt x="319980" y="592032"/>
                      <a:pt x="321564" y="593104"/>
                      <a:pt x="323046" y="594301"/>
                    </a:cubicBezTo>
                    <a:cubicBezTo>
                      <a:pt x="328649" y="596723"/>
                      <a:pt x="334884" y="597282"/>
                      <a:pt x="340828" y="595897"/>
                    </a:cubicBezTo>
                    <a:cubicBezTo>
                      <a:pt x="346870" y="595384"/>
                      <a:pt x="354165" y="596410"/>
                      <a:pt x="356958" y="601596"/>
                    </a:cubicBezTo>
                    <a:cubicBezTo>
                      <a:pt x="358098" y="603876"/>
                      <a:pt x="358497" y="606783"/>
                      <a:pt x="360663" y="608036"/>
                    </a:cubicBezTo>
                    <a:cubicBezTo>
                      <a:pt x="362828" y="609290"/>
                      <a:pt x="365963" y="608036"/>
                      <a:pt x="368072" y="609461"/>
                    </a:cubicBezTo>
                    <a:cubicBezTo>
                      <a:pt x="370181" y="610886"/>
                      <a:pt x="370067" y="613109"/>
                      <a:pt x="370751" y="615161"/>
                    </a:cubicBezTo>
                    <a:cubicBezTo>
                      <a:pt x="372193" y="619595"/>
                      <a:pt x="376091" y="622781"/>
                      <a:pt x="380725" y="623311"/>
                    </a:cubicBezTo>
                    <a:cubicBezTo>
                      <a:pt x="381369" y="629638"/>
                      <a:pt x="385940" y="634870"/>
                      <a:pt x="392124" y="636363"/>
                    </a:cubicBezTo>
                    <a:cubicBezTo>
                      <a:pt x="397823" y="638244"/>
                      <a:pt x="404435" y="638073"/>
                      <a:pt x="410533" y="639498"/>
                    </a:cubicBezTo>
                    <a:cubicBezTo>
                      <a:pt x="416848" y="640455"/>
                      <a:pt x="422097" y="644849"/>
                      <a:pt x="424155" y="650897"/>
                    </a:cubicBezTo>
                    <a:cubicBezTo>
                      <a:pt x="428942" y="648503"/>
                      <a:pt x="432362" y="655741"/>
                      <a:pt x="436580" y="658990"/>
                    </a:cubicBezTo>
                    <a:cubicBezTo>
                      <a:pt x="438859" y="660700"/>
                      <a:pt x="441823" y="661327"/>
                      <a:pt x="443818" y="663378"/>
                    </a:cubicBezTo>
                    <a:cubicBezTo>
                      <a:pt x="446753" y="667186"/>
                      <a:pt x="446514" y="672555"/>
                      <a:pt x="443248" y="676088"/>
                    </a:cubicBezTo>
                    <a:cubicBezTo>
                      <a:pt x="439959" y="679394"/>
                      <a:pt x="435907" y="681839"/>
                      <a:pt x="431450" y="683213"/>
                    </a:cubicBezTo>
                    <a:lnTo>
                      <a:pt x="431450" y="691021"/>
                    </a:lnTo>
                    <a:cubicBezTo>
                      <a:pt x="428042" y="690360"/>
                      <a:pt x="424520" y="690536"/>
                      <a:pt x="421191" y="691534"/>
                    </a:cubicBezTo>
                    <a:cubicBezTo>
                      <a:pt x="417777" y="692622"/>
                      <a:pt x="415588" y="695951"/>
                      <a:pt x="415947" y="699513"/>
                    </a:cubicBezTo>
                    <a:cubicBezTo>
                      <a:pt x="411502" y="699513"/>
                      <a:pt x="406088" y="700311"/>
                      <a:pt x="404549" y="704415"/>
                    </a:cubicBezTo>
                    <a:cubicBezTo>
                      <a:pt x="403979" y="705839"/>
                      <a:pt x="403922" y="707606"/>
                      <a:pt x="402839" y="708689"/>
                    </a:cubicBezTo>
                    <a:cubicBezTo>
                      <a:pt x="401631" y="709601"/>
                      <a:pt x="400126" y="710029"/>
                      <a:pt x="398621" y="709886"/>
                    </a:cubicBezTo>
                    <a:lnTo>
                      <a:pt x="379300" y="710285"/>
                    </a:lnTo>
                    <a:cubicBezTo>
                      <a:pt x="375852" y="710673"/>
                      <a:pt x="372358" y="710103"/>
                      <a:pt x="369212" y="708632"/>
                    </a:cubicBezTo>
                    <a:cubicBezTo>
                      <a:pt x="367331" y="707549"/>
                      <a:pt x="365906" y="705782"/>
                      <a:pt x="363968" y="704814"/>
                    </a:cubicBezTo>
                    <a:cubicBezTo>
                      <a:pt x="360600" y="703742"/>
                      <a:pt x="357015" y="703525"/>
                      <a:pt x="353539" y="704187"/>
                    </a:cubicBezTo>
                    <a:cubicBezTo>
                      <a:pt x="346306" y="704278"/>
                      <a:pt x="339107" y="703098"/>
                      <a:pt x="332279" y="700710"/>
                    </a:cubicBezTo>
                    <a:cubicBezTo>
                      <a:pt x="324585" y="698373"/>
                      <a:pt x="316948" y="695694"/>
                      <a:pt x="309481" y="692788"/>
                    </a:cubicBezTo>
                    <a:cubicBezTo>
                      <a:pt x="300967" y="688861"/>
                      <a:pt x="291955" y="686119"/>
                      <a:pt x="282694" y="684637"/>
                    </a:cubicBezTo>
                    <a:cubicBezTo>
                      <a:pt x="279901" y="684854"/>
                      <a:pt x="277148" y="683879"/>
                      <a:pt x="275114" y="681959"/>
                    </a:cubicBezTo>
                    <a:cubicBezTo>
                      <a:pt x="274373" y="680876"/>
                      <a:pt x="274088" y="679565"/>
                      <a:pt x="273347" y="678539"/>
                    </a:cubicBezTo>
                    <a:cubicBezTo>
                      <a:pt x="271808" y="676487"/>
                      <a:pt x="268901" y="676202"/>
                      <a:pt x="266565" y="675119"/>
                    </a:cubicBezTo>
                    <a:cubicBezTo>
                      <a:pt x="262945" y="672800"/>
                      <a:pt x="259890" y="669705"/>
                      <a:pt x="257616" y="666057"/>
                    </a:cubicBezTo>
                    <a:cubicBezTo>
                      <a:pt x="255188" y="662239"/>
                      <a:pt x="250646" y="660329"/>
                      <a:pt x="246217" y="661270"/>
                    </a:cubicBezTo>
                    <a:cubicBezTo>
                      <a:pt x="242148" y="663475"/>
                      <a:pt x="240638" y="668559"/>
                      <a:pt x="242837" y="672629"/>
                    </a:cubicBezTo>
                    <a:cubicBezTo>
                      <a:pt x="242900" y="672737"/>
                      <a:pt x="242963" y="672845"/>
                      <a:pt x="243026" y="672953"/>
                    </a:cubicBezTo>
                    <a:cubicBezTo>
                      <a:pt x="245608" y="676772"/>
                      <a:pt x="249534" y="679479"/>
                      <a:pt x="254026" y="680534"/>
                    </a:cubicBezTo>
                    <a:cubicBezTo>
                      <a:pt x="251461" y="683213"/>
                      <a:pt x="253627" y="688000"/>
                      <a:pt x="256875" y="689824"/>
                    </a:cubicBezTo>
                    <a:cubicBezTo>
                      <a:pt x="260329" y="691175"/>
                      <a:pt x="263869" y="692275"/>
                      <a:pt x="267476" y="693130"/>
                    </a:cubicBezTo>
                    <a:cubicBezTo>
                      <a:pt x="270953" y="694497"/>
                      <a:pt x="274145" y="698145"/>
                      <a:pt x="272834" y="701679"/>
                    </a:cubicBezTo>
                    <a:cubicBezTo>
                      <a:pt x="278328" y="702237"/>
                      <a:pt x="283475" y="704603"/>
                      <a:pt x="287481" y="708404"/>
                    </a:cubicBezTo>
                    <a:cubicBezTo>
                      <a:pt x="291551" y="712257"/>
                      <a:pt x="297456" y="713448"/>
                      <a:pt x="302699" y="711482"/>
                    </a:cubicBezTo>
                    <a:lnTo>
                      <a:pt x="302015" y="728580"/>
                    </a:lnTo>
                    <a:cubicBezTo>
                      <a:pt x="302112" y="729925"/>
                      <a:pt x="301725" y="731253"/>
                      <a:pt x="300932" y="732342"/>
                    </a:cubicBezTo>
                    <a:cubicBezTo>
                      <a:pt x="299735" y="733653"/>
                      <a:pt x="297683" y="733596"/>
                      <a:pt x="296088" y="734394"/>
                    </a:cubicBezTo>
                    <a:cubicBezTo>
                      <a:pt x="292383" y="736218"/>
                      <a:pt x="292554" y="741632"/>
                      <a:pt x="293922" y="745793"/>
                    </a:cubicBezTo>
                    <a:cubicBezTo>
                      <a:pt x="295290" y="749953"/>
                      <a:pt x="297228" y="754114"/>
                      <a:pt x="295290" y="757762"/>
                    </a:cubicBezTo>
                    <a:cubicBezTo>
                      <a:pt x="299792" y="756508"/>
                      <a:pt x="303839" y="761409"/>
                      <a:pt x="304466" y="766083"/>
                    </a:cubicBezTo>
                    <a:cubicBezTo>
                      <a:pt x="305093" y="770756"/>
                      <a:pt x="303668" y="775430"/>
                      <a:pt x="304124" y="780104"/>
                    </a:cubicBezTo>
                    <a:cubicBezTo>
                      <a:pt x="304135" y="781198"/>
                      <a:pt x="304540" y="782247"/>
                      <a:pt x="305264" y="783067"/>
                    </a:cubicBezTo>
                    <a:cubicBezTo>
                      <a:pt x="306296" y="783791"/>
                      <a:pt x="307538" y="784150"/>
                      <a:pt x="308797" y="784093"/>
                    </a:cubicBezTo>
                    <a:lnTo>
                      <a:pt x="330228" y="785005"/>
                    </a:lnTo>
                    <a:cubicBezTo>
                      <a:pt x="333248" y="789565"/>
                      <a:pt x="336269" y="794067"/>
                      <a:pt x="339233" y="798627"/>
                    </a:cubicBezTo>
                    <a:cubicBezTo>
                      <a:pt x="339934" y="799864"/>
                      <a:pt x="340960" y="800890"/>
                      <a:pt x="342196" y="801591"/>
                    </a:cubicBezTo>
                    <a:cubicBezTo>
                      <a:pt x="343382" y="801819"/>
                      <a:pt x="344601" y="801819"/>
                      <a:pt x="345787" y="801591"/>
                    </a:cubicBezTo>
                    <a:cubicBezTo>
                      <a:pt x="351390" y="802018"/>
                      <a:pt x="356924" y="803129"/>
                      <a:pt x="362259" y="804896"/>
                    </a:cubicBezTo>
                    <a:cubicBezTo>
                      <a:pt x="367736" y="806589"/>
                      <a:pt x="373703" y="805067"/>
                      <a:pt x="377704" y="800964"/>
                    </a:cubicBezTo>
                    <a:cubicBezTo>
                      <a:pt x="373373" y="796689"/>
                      <a:pt x="379813" y="788596"/>
                      <a:pt x="376507" y="783523"/>
                    </a:cubicBezTo>
                    <a:cubicBezTo>
                      <a:pt x="371777" y="776228"/>
                      <a:pt x="356616" y="786373"/>
                      <a:pt x="352798" y="778565"/>
                    </a:cubicBezTo>
                    <a:cubicBezTo>
                      <a:pt x="351828" y="776570"/>
                      <a:pt x="352170" y="773834"/>
                      <a:pt x="350461" y="772352"/>
                    </a:cubicBezTo>
                    <a:cubicBezTo>
                      <a:pt x="348751" y="770870"/>
                      <a:pt x="344134" y="771725"/>
                      <a:pt x="342709" y="769218"/>
                    </a:cubicBezTo>
                    <a:cubicBezTo>
                      <a:pt x="342424" y="768289"/>
                      <a:pt x="342424" y="767297"/>
                      <a:pt x="342709" y="766368"/>
                    </a:cubicBezTo>
                    <a:cubicBezTo>
                      <a:pt x="343787" y="758212"/>
                      <a:pt x="348762" y="751093"/>
                      <a:pt x="356046" y="747275"/>
                    </a:cubicBezTo>
                    <a:cubicBezTo>
                      <a:pt x="363427" y="749247"/>
                      <a:pt x="369879" y="753744"/>
                      <a:pt x="374284" y="759984"/>
                    </a:cubicBezTo>
                    <a:cubicBezTo>
                      <a:pt x="375031" y="761267"/>
                      <a:pt x="376063" y="762361"/>
                      <a:pt x="377305" y="763176"/>
                    </a:cubicBezTo>
                    <a:cubicBezTo>
                      <a:pt x="378422" y="763649"/>
                      <a:pt x="379625" y="763900"/>
                      <a:pt x="380839" y="763917"/>
                    </a:cubicBezTo>
                    <a:cubicBezTo>
                      <a:pt x="396740" y="765342"/>
                      <a:pt x="411616" y="777311"/>
                      <a:pt x="427176" y="773663"/>
                    </a:cubicBezTo>
                    <a:cubicBezTo>
                      <a:pt x="428749" y="773407"/>
                      <a:pt x="430202" y="772671"/>
                      <a:pt x="431336" y="771554"/>
                    </a:cubicBezTo>
                    <a:cubicBezTo>
                      <a:pt x="433200" y="768442"/>
                      <a:pt x="432493" y="764441"/>
                      <a:pt x="429683" y="762150"/>
                    </a:cubicBezTo>
                    <a:cubicBezTo>
                      <a:pt x="427233" y="759699"/>
                      <a:pt x="423984" y="758104"/>
                      <a:pt x="421590" y="755425"/>
                    </a:cubicBezTo>
                    <a:cubicBezTo>
                      <a:pt x="419573" y="752815"/>
                      <a:pt x="418398" y="749657"/>
                      <a:pt x="418227" y="746363"/>
                    </a:cubicBezTo>
                    <a:cubicBezTo>
                      <a:pt x="417338" y="734035"/>
                      <a:pt x="424987" y="722693"/>
                      <a:pt x="436751" y="718891"/>
                    </a:cubicBezTo>
                    <a:cubicBezTo>
                      <a:pt x="439258" y="718150"/>
                      <a:pt x="442450" y="717523"/>
                      <a:pt x="443362" y="715130"/>
                    </a:cubicBezTo>
                    <a:cubicBezTo>
                      <a:pt x="444274" y="712736"/>
                      <a:pt x="443647" y="710570"/>
                      <a:pt x="445129" y="708974"/>
                    </a:cubicBezTo>
                    <a:cubicBezTo>
                      <a:pt x="446462" y="708057"/>
                      <a:pt x="448018" y="707509"/>
                      <a:pt x="449632" y="707378"/>
                    </a:cubicBezTo>
                    <a:cubicBezTo>
                      <a:pt x="456072" y="705896"/>
                      <a:pt x="459093" y="698544"/>
                      <a:pt x="464621" y="694953"/>
                    </a:cubicBezTo>
                    <a:cubicBezTo>
                      <a:pt x="470150" y="691363"/>
                      <a:pt x="479269" y="692332"/>
                      <a:pt x="486678" y="693985"/>
                    </a:cubicBezTo>
                    <a:cubicBezTo>
                      <a:pt x="491511" y="694213"/>
                      <a:pt x="495626" y="697564"/>
                      <a:pt x="496823" y="702249"/>
                    </a:cubicBezTo>
                    <a:cubicBezTo>
                      <a:pt x="499046" y="707606"/>
                      <a:pt x="501212" y="713021"/>
                      <a:pt x="503435" y="718435"/>
                    </a:cubicBezTo>
                    <a:lnTo>
                      <a:pt x="508849" y="718435"/>
                    </a:lnTo>
                    <a:cubicBezTo>
                      <a:pt x="506763" y="711197"/>
                      <a:pt x="510507" y="703548"/>
                      <a:pt x="517512" y="700767"/>
                    </a:cubicBezTo>
                    <a:lnTo>
                      <a:pt x="518880" y="692389"/>
                    </a:lnTo>
                    <a:cubicBezTo>
                      <a:pt x="520470" y="687316"/>
                      <a:pt x="519536" y="681788"/>
                      <a:pt x="516372" y="677513"/>
                    </a:cubicBezTo>
                    <a:cubicBezTo>
                      <a:pt x="512793" y="675171"/>
                      <a:pt x="508621" y="673905"/>
                      <a:pt x="504346" y="673865"/>
                    </a:cubicBezTo>
                    <a:cubicBezTo>
                      <a:pt x="500186" y="673181"/>
                      <a:pt x="495398" y="670560"/>
                      <a:pt x="495512" y="666285"/>
                    </a:cubicBezTo>
                    <a:cubicBezTo>
                      <a:pt x="495512" y="659788"/>
                      <a:pt x="505657" y="659218"/>
                      <a:pt x="509704" y="654088"/>
                    </a:cubicBezTo>
                    <a:cubicBezTo>
                      <a:pt x="513751" y="648959"/>
                      <a:pt x="509989" y="641036"/>
                      <a:pt x="508792" y="634254"/>
                    </a:cubicBezTo>
                    <a:cubicBezTo>
                      <a:pt x="507681" y="627814"/>
                      <a:pt x="509271" y="621197"/>
                      <a:pt x="513180" y="615959"/>
                    </a:cubicBezTo>
                    <a:lnTo>
                      <a:pt x="519678" y="614021"/>
                    </a:lnTo>
                    <a:cubicBezTo>
                      <a:pt x="525036" y="612892"/>
                      <a:pt x="530519" y="612528"/>
                      <a:pt x="535978" y="612938"/>
                    </a:cubicBezTo>
                    <a:cubicBezTo>
                      <a:pt x="539489" y="612590"/>
                      <a:pt x="543023" y="613246"/>
                      <a:pt x="546181" y="614819"/>
                    </a:cubicBezTo>
                    <a:cubicBezTo>
                      <a:pt x="549275" y="616569"/>
                      <a:pt x="550370" y="620496"/>
                      <a:pt x="548620" y="623596"/>
                    </a:cubicBezTo>
                    <a:cubicBezTo>
                      <a:pt x="548586" y="623653"/>
                      <a:pt x="548552" y="623710"/>
                      <a:pt x="548517" y="623767"/>
                    </a:cubicBezTo>
                    <a:cubicBezTo>
                      <a:pt x="551931" y="624696"/>
                      <a:pt x="555146" y="626263"/>
                      <a:pt x="557979" y="628384"/>
                    </a:cubicBezTo>
                    <a:cubicBezTo>
                      <a:pt x="560828" y="630606"/>
                      <a:pt x="562190" y="634237"/>
                      <a:pt x="561512" y="637788"/>
                    </a:cubicBezTo>
                    <a:cubicBezTo>
                      <a:pt x="564750" y="638284"/>
                      <a:pt x="567058" y="641190"/>
                      <a:pt x="566813" y="644456"/>
                    </a:cubicBezTo>
                    <a:cubicBezTo>
                      <a:pt x="560657" y="648047"/>
                      <a:pt x="552963" y="639840"/>
                      <a:pt x="546238" y="642176"/>
                    </a:cubicBezTo>
                    <a:cubicBezTo>
                      <a:pt x="543502" y="643145"/>
                      <a:pt x="541336" y="645767"/>
                      <a:pt x="538429" y="645995"/>
                    </a:cubicBezTo>
                    <a:cubicBezTo>
                      <a:pt x="535523" y="646223"/>
                      <a:pt x="533870" y="645083"/>
                      <a:pt x="532274" y="646508"/>
                    </a:cubicBezTo>
                    <a:cubicBezTo>
                      <a:pt x="531516" y="647317"/>
                      <a:pt x="531077" y="648366"/>
                      <a:pt x="531020" y="649472"/>
                    </a:cubicBezTo>
                    <a:cubicBezTo>
                      <a:pt x="530222" y="654761"/>
                      <a:pt x="529709" y="660090"/>
                      <a:pt x="529481" y="665430"/>
                    </a:cubicBezTo>
                    <a:cubicBezTo>
                      <a:pt x="529202" y="667151"/>
                      <a:pt x="529612" y="668913"/>
                      <a:pt x="530621" y="670332"/>
                    </a:cubicBezTo>
                    <a:cubicBezTo>
                      <a:pt x="532103" y="671985"/>
                      <a:pt x="534611" y="671871"/>
                      <a:pt x="536320" y="672896"/>
                    </a:cubicBezTo>
                    <a:cubicBezTo>
                      <a:pt x="539797" y="674891"/>
                      <a:pt x="539911" y="680021"/>
                      <a:pt x="542704" y="682985"/>
                    </a:cubicBezTo>
                    <a:cubicBezTo>
                      <a:pt x="545645" y="685373"/>
                      <a:pt x="549429" y="686461"/>
                      <a:pt x="553191" y="686005"/>
                    </a:cubicBezTo>
                    <a:cubicBezTo>
                      <a:pt x="565120" y="686005"/>
                      <a:pt x="577015" y="685891"/>
                      <a:pt x="588870" y="685663"/>
                    </a:cubicBezTo>
                    <a:lnTo>
                      <a:pt x="591776" y="664062"/>
                    </a:lnTo>
                    <a:cubicBezTo>
                      <a:pt x="591925" y="662655"/>
                      <a:pt x="592267" y="661270"/>
                      <a:pt x="592802" y="659959"/>
                    </a:cubicBezTo>
                    <a:cubicBezTo>
                      <a:pt x="595133" y="656630"/>
                      <a:pt x="599163" y="654920"/>
                      <a:pt x="603175" y="655570"/>
                    </a:cubicBezTo>
                    <a:cubicBezTo>
                      <a:pt x="607097" y="656203"/>
                      <a:pt x="611075" y="656357"/>
                      <a:pt x="615030" y="656026"/>
                    </a:cubicBezTo>
                    <a:cubicBezTo>
                      <a:pt x="615395" y="652988"/>
                      <a:pt x="616734" y="650150"/>
                      <a:pt x="618849" y="647933"/>
                    </a:cubicBezTo>
                    <a:cubicBezTo>
                      <a:pt x="620217" y="646952"/>
                      <a:pt x="621716" y="646166"/>
                      <a:pt x="623294" y="645596"/>
                    </a:cubicBezTo>
                    <a:cubicBezTo>
                      <a:pt x="628937" y="643020"/>
                      <a:pt x="633867" y="639104"/>
                      <a:pt x="637657" y="634197"/>
                    </a:cubicBezTo>
                    <a:cubicBezTo>
                      <a:pt x="638871" y="632254"/>
                      <a:pt x="640530" y="630629"/>
                      <a:pt x="642502" y="629467"/>
                    </a:cubicBezTo>
                    <a:cubicBezTo>
                      <a:pt x="644212" y="628891"/>
                      <a:pt x="646001" y="628606"/>
                      <a:pt x="647802" y="628612"/>
                    </a:cubicBezTo>
                    <a:cubicBezTo>
                      <a:pt x="659201" y="627757"/>
                      <a:pt x="669004" y="619606"/>
                      <a:pt x="679605" y="614705"/>
                    </a:cubicBezTo>
                    <a:cubicBezTo>
                      <a:pt x="681771" y="613736"/>
                      <a:pt x="684678" y="612995"/>
                      <a:pt x="686331" y="614705"/>
                    </a:cubicBezTo>
                    <a:cubicBezTo>
                      <a:pt x="687129" y="615742"/>
                      <a:pt x="687676" y="616951"/>
                      <a:pt x="687927" y="618239"/>
                    </a:cubicBezTo>
                    <a:cubicBezTo>
                      <a:pt x="690258" y="623607"/>
                      <a:pt x="696498" y="626075"/>
                      <a:pt x="701867" y="623750"/>
                    </a:cubicBezTo>
                    <a:cubicBezTo>
                      <a:pt x="702472" y="623488"/>
                      <a:pt x="703053" y="623169"/>
                      <a:pt x="703600" y="622798"/>
                    </a:cubicBezTo>
                    <a:cubicBezTo>
                      <a:pt x="700534" y="615583"/>
                      <a:pt x="703896" y="607250"/>
                      <a:pt x="711112" y="604184"/>
                    </a:cubicBezTo>
                    <a:cubicBezTo>
                      <a:pt x="711597" y="603979"/>
                      <a:pt x="712098" y="603802"/>
                      <a:pt x="712605" y="603648"/>
                    </a:cubicBezTo>
                    <a:cubicBezTo>
                      <a:pt x="714623" y="603414"/>
                      <a:pt x="716566" y="602753"/>
                      <a:pt x="718305" y="601710"/>
                    </a:cubicBezTo>
                    <a:cubicBezTo>
                      <a:pt x="720926" y="599544"/>
                      <a:pt x="722636" y="594244"/>
                      <a:pt x="725657" y="596011"/>
                    </a:cubicBezTo>
                    <a:cubicBezTo>
                      <a:pt x="726586" y="596683"/>
                      <a:pt x="727236" y="597681"/>
                      <a:pt x="727481" y="598803"/>
                    </a:cubicBezTo>
                    <a:cubicBezTo>
                      <a:pt x="728991" y="602417"/>
                      <a:pt x="729800" y="606287"/>
                      <a:pt x="729875" y="610202"/>
                    </a:cubicBezTo>
                    <a:cubicBezTo>
                      <a:pt x="729937" y="614260"/>
                      <a:pt x="727743" y="618016"/>
                      <a:pt x="724175" y="619948"/>
                    </a:cubicBezTo>
                    <a:cubicBezTo>
                      <a:pt x="721497" y="621088"/>
                      <a:pt x="718476" y="620746"/>
                      <a:pt x="715740" y="621715"/>
                    </a:cubicBezTo>
                    <a:cubicBezTo>
                      <a:pt x="713004" y="622684"/>
                      <a:pt x="710781" y="626275"/>
                      <a:pt x="712719" y="628384"/>
                    </a:cubicBezTo>
                    <a:cubicBezTo>
                      <a:pt x="716116" y="628349"/>
                      <a:pt x="718903" y="631074"/>
                      <a:pt x="718943" y="634471"/>
                    </a:cubicBezTo>
                    <a:cubicBezTo>
                      <a:pt x="718949" y="634995"/>
                      <a:pt x="718886" y="635514"/>
                      <a:pt x="718761" y="636021"/>
                    </a:cubicBezTo>
                    <a:cubicBezTo>
                      <a:pt x="725600" y="641720"/>
                      <a:pt x="735346" y="640352"/>
                      <a:pt x="743952" y="639042"/>
                    </a:cubicBezTo>
                    <a:cubicBezTo>
                      <a:pt x="745007" y="638973"/>
                      <a:pt x="746016" y="638597"/>
                      <a:pt x="746859" y="637959"/>
                    </a:cubicBezTo>
                    <a:cubicBezTo>
                      <a:pt x="749082" y="636021"/>
                      <a:pt x="746859" y="632259"/>
                      <a:pt x="748569" y="629524"/>
                    </a:cubicBezTo>
                    <a:cubicBezTo>
                      <a:pt x="750279" y="626788"/>
                      <a:pt x="752844" y="627244"/>
                      <a:pt x="754269" y="625420"/>
                    </a:cubicBezTo>
                    <a:cubicBezTo>
                      <a:pt x="754889" y="624548"/>
                      <a:pt x="755368" y="623590"/>
                      <a:pt x="755693" y="622570"/>
                    </a:cubicBezTo>
                    <a:cubicBezTo>
                      <a:pt x="759084" y="615092"/>
                      <a:pt x="767497" y="611285"/>
                      <a:pt x="775356" y="613679"/>
                    </a:cubicBezTo>
                    <a:cubicBezTo>
                      <a:pt x="779477" y="615469"/>
                      <a:pt x="783319" y="617851"/>
                      <a:pt x="786755" y="620746"/>
                    </a:cubicBezTo>
                    <a:cubicBezTo>
                      <a:pt x="790243" y="623613"/>
                      <a:pt x="794775" y="624873"/>
                      <a:pt x="799237" y="624223"/>
                    </a:cubicBezTo>
                    <a:cubicBezTo>
                      <a:pt x="803512" y="623140"/>
                      <a:pt x="806703" y="617555"/>
                      <a:pt x="803968" y="614021"/>
                    </a:cubicBezTo>
                    <a:cubicBezTo>
                      <a:pt x="807045" y="615389"/>
                      <a:pt x="810123" y="611969"/>
                      <a:pt x="811605" y="608891"/>
                    </a:cubicBezTo>
                    <a:cubicBezTo>
                      <a:pt x="813087" y="605814"/>
                      <a:pt x="815196" y="602109"/>
                      <a:pt x="818615" y="602394"/>
                    </a:cubicBezTo>
                    <a:cubicBezTo>
                      <a:pt x="824315" y="602907"/>
                      <a:pt x="827792" y="599430"/>
                      <a:pt x="833434" y="599487"/>
                    </a:cubicBezTo>
                    <a:cubicBezTo>
                      <a:pt x="839190" y="599299"/>
                      <a:pt x="844423" y="602810"/>
                      <a:pt x="846429" y="608207"/>
                    </a:cubicBezTo>
                    <a:lnTo>
                      <a:pt x="833377" y="620290"/>
                    </a:lnTo>
                    <a:cubicBezTo>
                      <a:pt x="843750" y="619036"/>
                      <a:pt x="852755" y="633741"/>
                      <a:pt x="861875" y="629068"/>
                    </a:cubicBezTo>
                    <a:lnTo>
                      <a:pt x="861875" y="615731"/>
                    </a:lnTo>
                    <a:cubicBezTo>
                      <a:pt x="871085" y="613964"/>
                      <a:pt x="879605" y="609615"/>
                      <a:pt x="886439" y="603192"/>
                    </a:cubicBezTo>
                    <a:cubicBezTo>
                      <a:pt x="884216" y="601197"/>
                      <a:pt x="881937" y="599145"/>
                      <a:pt x="879885" y="596923"/>
                    </a:cubicBezTo>
                    <a:cubicBezTo>
                      <a:pt x="875895" y="592739"/>
                      <a:pt x="872533" y="587997"/>
                      <a:pt x="869911" y="582845"/>
                    </a:cubicBezTo>
                    <a:cubicBezTo>
                      <a:pt x="866896" y="577687"/>
                      <a:pt x="865676" y="571674"/>
                      <a:pt x="866434" y="565746"/>
                    </a:cubicBezTo>
                    <a:cubicBezTo>
                      <a:pt x="858700" y="566225"/>
                      <a:pt x="850954" y="565165"/>
                      <a:pt x="843636" y="562612"/>
                    </a:cubicBezTo>
                    <a:cubicBezTo>
                      <a:pt x="836329" y="559956"/>
                      <a:pt x="831245" y="553270"/>
                      <a:pt x="830641" y="545513"/>
                    </a:cubicBezTo>
                    <a:cubicBezTo>
                      <a:pt x="842781" y="540270"/>
                      <a:pt x="855662" y="549902"/>
                      <a:pt x="866719" y="556912"/>
                    </a:cubicBezTo>
                    <a:cubicBezTo>
                      <a:pt x="874180" y="562310"/>
                      <a:pt x="883008" y="565507"/>
                      <a:pt x="892195" y="566145"/>
                    </a:cubicBezTo>
                    <a:cubicBezTo>
                      <a:pt x="897382" y="566145"/>
                      <a:pt x="903594" y="565119"/>
                      <a:pt x="907185" y="568596"/>
                    </a:cubicBezTo>
                    <a:cubicBezTo>
                      <a:pt x="908872" y="570608"/>
                      <a:pt x="910428" y="572723"/>
                      <a:pt x="911859" y="574923"/>
                    </a:cubicBezTo>
                    <a:cubicBezTo>
                      <a:pt x="916247" y="579881"/>
                      <a:pt x="923885" y="579710"/>
                      <a:pt x="930496" y="579368"/>
                    </a:cubicBezTo>
                    <a:cubicBezTo>
                      <a:pt x="941952" y="578228"/>
                      <a:pt x="953516" y="579060"/>
                      <a:pt x="964693" y="581819"/>
                    </a:cubicBezTo>
                    <a:cubicBezTo>
                      <a:pt x="972330" y="584315"/>
                      <a:pt x="979700" y="587558"/>
                      <a:pt x="986693" y="591508"/>
                    </a:cubicBezTo>
                    <a:cubicBezTo>
                      <a:pt x="1003290" y="599658"/>
                      <a:pt x="1019174" y="609193"/>
                      <a:pt x="1034170" y="620005"/>
                    </a:cubicBezTo>
                    <a:cubicBezTo>
                      <a:pt x="1040553" y="624850"/>
                      <a:pt x="1047677" y="630492"/>
                      <a:pt x="1055543" y="629296"/>
                    </a:cubicBezTo>
                    <a:cubicBezTo>
                      <a:pt x="1053895" y="623220"/>
                      <a:pt x="1057486" y="616956"/>
                      <a:pt x="1063562" y="615309"/>
                    </a:cubicBezTo>
                    <a:cubicBezTo>
                      <a:pt x="1063602" y="615298"/>
                      <a:pt x="1063647" y="615286"/>
                      <a:pt x="1063693" y="615275"/>
                    </a:cubicBezTo>
                    <a:cubicBezTo>
                      <a:pt x="1059874" y="609176"/>
                      <a:pt x="1055885" y="603192"/>
                      <a:pt x="1051667" y="597321"/>
                    </a:cubicBezTo>
                    <a:cubicBezTo>
                      <a:pt x="1048019" y="599031"/>
                      <a:pt x="1044258" y="594814"/>
                      <a:pt x="1043573" y="590881"/>
                    </a:cubicBezTo>
                    <a:cubicBezTo>
                      <a:pt x="1043556" y="586869"/>
                      <a:pt x="1042901" y="582890"/>
                      <a:pt x="1041636" y="579083"/>
                    </a:cubicBezTo>
                    <a:cubicBezTo>
                      <a:pt x="1038273" y="573042"/>
                      <a:pt x="1029781" y="573384"/>
                      <a:pt x="1022941" y="572415"/>
                    </a:cubicBezTo>
                    <a:cubicBezTo>
                      <a:pt x="1016102" y="571446"/>
                      <a:pt x="1008237" y="564436"/>
                      <a:pt x="1012455" y="558964"/>
                    </a:cubicBezTo>
                    <a:cubicBezTo>
                      <a:pt x="1018553" y="557767"/>
                      <a:pt x="1020548" y="549902"/>
                      <a:pt x="1019579" y="543803"/>
                    </a:cubicBezTo>
                    <a:cubicBezTo>
                      <a:pt x="1018610" y="537705"/>
                      <a:pt x="1016102" y="531379"/>
                      <a:pt x="1017983" y="525508"/>
                    </a:cubicBezTo>
                    <a:cubicBezTo>
                      <a:pt x="1020046" y="520817"/>
                      <a:pt x="1023460" y="516851"/>
                      <a:pt x="1027786" y="514109"/>
                    </a:cubicBezTo>
                    <a:lnTo>
                      <a:pt x="1053035" y="494503"/>
                    </a:lnTo>
                    <a:cubicBezTo>
                      <a:pt x="1060718" y="489128"/>
                      <a:pt x="1067574" y="482659"/>
                      <a:pt x="1073382" y="475296"/>
                    </a:cubicBezTo>
                    <a:cubicBezTo>
                      <a:pt x="1079343" y="465920"/>
                      <a:pt x="1083464" y="455496"/>
                      <a:pt x="1085522" y="444576"/>
                    </a:cubicBezTo>
                    <a:cubicBezTo>
                      <a:pt x="1086035" y="440227"/>
                      <a:pt x="1088047" y="436195"/>
                      <a:pt x="1091221" y="433177"/>
                    </a:cubicBezTo>
                    <a:cubicBezTo>
                      <a:pt x="1092943" y="432011"/>
                      <a:pt x="1094880" y="431197"/>
                      <a:pt x="1096921" y="430783"/>
                    </a:cubicBezTo>
                    <a:cubicBezTo>
                      <a:pt x="1111124" y="427039"/>
                      <a:pt x="1126165" y="428142"/>
                      <a:pt x="1139667" y="433918"/>
                    </a:cubicBezTo>
                    <a:cubicBezTo>
                      <a:pt x="1141850" y="434739"/>
                      <a:pt x="1143799" y="436068"/>
                      <a:pt x="1145366" y="437793"/>
                    </a:cubicBezTo>
                    <a:cubicBezTo>
                      <a:pt x="1152833" y="447140"/>
                      <a:pt x="1134993" y="461161"/>
                      <a:pt x="1141035" y="471477"/>
                    </a:cubicBezTo>
                    <a:cubicBezTo>
                      <a:pt x="1131573" y="478026"/>
                      <a:pt x="1125031" y="488000"/>
                      <a:pt x="1122796" y="499291"/>
                    </a:cubicBezTo>
                    <a:cubicBezTo>
                      <a:pt x="1134970" y="503280"/>
                      <a:pt x="1144654" y="512627"/>
                      <a:pt x="1149071" y="524653"/>
                    </a:cubicBezTo>
                    <a:cubicBezTo>
                      <a:pt x="1150000" y="526905"/>
                      <a:pt x="1150353" y="529355"/>
                      <a:pt x="1150097" y="531778"/>
                    </a:cubicBezTo>
                    <a:cubicBezTo>
                      <a:pt x="1149020" y="535152"/>
                      <a:pt x="1147207" y="538246"/>
                      <a:pt x="1144796" y="540840"/>
                    </a:cubicBezTo>
                    <a:cubicBezTo>
                      <a:pt x="1136304" y="552239"/>
                      <a:pt x="1137045" y="568311"/>
                      <a:pt x="1138185" y="582674"/>
                    </a:cubicBezTo>
                    <a:cubicBezTo>
                      <a:pt x="1138869" y="592249"/>
                      <a:pt x="1140180" y="602850"/>
                      <a:pt x="1147589" y="608891"/>
                    </a:cubicBezTo>
                    <a:cubicBezTo>
                      <a:pt x="1152946" y="613223"/>
                      <a:pt x="1161838" y="616529"/>
                      <a:pt x="1160584" y="623311"/>
                    </a:cubicBezTo>
                    <a:cubicBezTo>
                      <a:pt x="1159672" y="626138"/>
                      <a:pt x="1157848" y="628583"/>
                      <a:pt x="1155398" y="630264"/>
                    </a:cubicBezTo>
                    <a:cubicBezTo>
                      <a:pt x="1144585" y="639897"/>
                      <a:pt x="1135996" y="651757"/>
                      <a:pt x="1130206" y="665031"/>
                    </a:cubicBezTo>
                    <a:cubicBezTo>
                      <a:pt x="1128496" y="670195"/>
                      <a:pt x="1125954" y="675045"/>
                      <a:pt x="1122682" y="679394"/>
                    </a:cubicBezTo>
                    <a:cubicBezTo>
                      <a:pt x="1120044" y="681719"/>
                      <a:pt x="1117792" y="684455"/>
                      <a:pt x="1116014" y="687487"/>
                    </a:cubicBezTo>
                    <a:cubicBezTo>
                      <a:pt x="1115187" y="690200"/>
                      <a:pt x="1115011" y="693073"/>
                      <a:pt x="1115501" y="695865"/>
                    </a:cubicBezTo>
                    <a:cubicBezTo>
                      <a:pt x="1115603" y="700756"/>
                      <a:pt x="1116829" y="705549"/>
                      <a:pt x="1119092" y="709886"/>
                    </a:cubicBezTo>
                    <a:cubicBezTo>
                      <a:pt x="1121520" y="714303"/>
                      <a:pt x="1126649" y="716492"/>
                      <a:pt x="1131517" y="715187"/>
                    </a:cubicBezTo>
                    <a:cubicBezTo>
                      <a:pt x="1136247" y="713306"/>
                      <a:pt x="1138014" y="707663"/>
                      <a:pt x="1141206" y="703788"/>
                    </a:cubicBezTo>
                    <a:cubicBezTo>
                      <a:pt x="1145423" y="698487"/>
                      <a:pt x="1152604" y="696150"/>
                      <a:pt x="1157905" y="692389"/>
                    </a:cubicBezTo>
                    <a:cubicBezTo>
                      <a:pt x="1166523" y="685458"/>
                      <a:pt x="1173408" y="676618"/>
                      <a:pt x="1178024" y="666570"/>
                    </a:cubicBezTo>
                    <a:lnTo>
                      <a:pt x="1183382" y="657394"/>
                    </a:lnTo>
                    <a:cubicBezTo>
                      <a:pt x="1188169" y="649130"/>
                      <a:pt x="1193071" y="639441"/>
                      <a:pt x="1189651" y="630549"/>
                    </a:cubicBezTo>
                    <a:cubicBezTo>
                      <a:pt x="1187827" y="625762"/>
                      <a:pt x="1183952" y="621772"/>
                      <a:pt x="1183610" y="616643"/>
                    </a:cubicBezTo>
                    <a:cubicBezTo>
                      <a:pt x="1184083" y="611012"/>
                      <a:pt x="1188215" y="606367"/>
                      <a:pt x="1193755" y="605244"/>
                    </a:cubicBezTo>
                    <a:cubicBezTo>
                      <a:pt x="1199181" y="604286"/>
                      <a:pt x="1204749" y="604560"/>
                      <a:pt x="1210055" y="606042"/>
                    </a:cubicBezTo>
                    <a:lnTo>
                      <a:pt x="1212221" y="606441"/>
                    </a:lnTo>
                    <a:lnTo>
                      <a:pt x="1236102" y="611171"/>
                    </a:lnTo>
                    <a:cubicBezTo>
                      <a:pt x="1238536" y="614933"/>
                      <a:pt x="1239277" y="619544"/>
                      <a:pt x="1238154" y="623881"/>
                    </a:cubicBezTo>
                    <a:cubicBezTo>
                      <a:pt x="1235959" y="635679"/>
                      <a:pt x="1237270" y="647864"/>
                      <a:pt x="1241915" y="658933"/>
                    </a:cubicBezTo>
                    <a:cubicBezTo>
                      <a:pt x="1247615" y="669477"/>
                      <a:pt x="1260553" y="676943"/>
                      <a:pt x="1271552" y="672270"/>
                    </a:cubicBezTo>
                    <a:cubicBezTo>
                      <a:pt x="1274858" y="670902"/>
                      <a:pt x="1277993" y="667368"/>
                      <a:pt x="1276568" y="664062"/>
                    </a:cubicBezTo>
                    <a:cubicBezTo>
                      <a:pt x="1275417" y="662164"/>
                      <a:pt x="1273582" y="660779"/>
                      <a:pt x="1271439" y="660187"/>
                    </a:cubicBezTo>
                    <a:cubicBezTo>
                      <a:pt x="1264434" y="657884"/>
                      <a:pt x="1258147" y="653798"/>
                      <a:pt x="1253200" y="648332"/>
                    </a:cubicBezTo>
                    <a:cubicBezTo>
                      <a:pt x="1248270" y="642621"/>
                      <a:pt x="1247666" y="634351"/>
                      <a:pt x="1251718" y="627985"/>
                    </a:cubicBezTo>
                    <a:cubicBezTo>
                      <a:pt x="1253474" y="626206"/>
                      <a:pt x="1255092" y="624303"/>
                      <a:pt x="1256563" y="622285"/>
                    </a:cubicBezTo>
                    <a:cubicBezTo>
                      <a:pt x="1259698" y="616586"/>
                      <a:pt x="1255138" y="609575"/>
                      <a:pt x="1249667" y="606099"/>
                    </a:cubicBezTo>
                    <a:cubicBezTo>
                      <a:pt x="1243790" y="603426"/>
                      <a:pt x="1238245" y="600080"/>
                      <a:pt x="1233138" y="596125"/>
                    </a:cubicBezTo>
                    <a:cubicBezTo>
                      <a:pt x="1231309" y="593725"/>
                      <a:pt x="1229222" y="591525"/>
                      <a:pt x="1226926" y="589570"/>
                    </a:cubicBezTo>
                    <a:cubicBezTo>
                      <a:pt x="1224498" y="588237"/>
                      <a:pt x="1221774" y="587513"/>
                      <a:pt x="1219003" y="587461"/>
                    </a:cubicBezTo>
                    <a:cubicBezTo>
                      <a:pt x="1200902" y="585974"/>
                      <a:pt x="1182835" y="590636"/>
                      <a:pt x="1167708" y="600684"/>
                    </a:cubicBezTo>
                    <a:cubicBezTo>
                      <a:pt x="1166984" y="584230"/>
                      <a:pt x="1166266" y="567758"/>
                      <a:pt x="1165542" y="551270"/>
                    </a:cubicBezTo>
                    <a:cubicBezTo>
                      <a:pt x="1175522" y="549326"/>
                      <a:pt x="1182037" y="539654"/>
                      <a:pt x="1180087" y="529680"/>
                    </a:cubicBezTo>
                    <a:cubicBezTo>
                      <a:pt x="1179158" y="524915"/>
                      <a:pt x="1176389" y="520715"/>
                      <a:pt x="1172382" y="517985"/>
                    </a:cubicBezTo>
                    <a:cubicBezTo>
                      <a:pt x="1169674" y="516640"/>
                      <a:pt x="1167315" y="514691"/>
                      <a:pt x="1165485" y="512285"/>
                    </a:cubicBezTo>
                    <a:cubicBezTo>
                      <a:pt x="1163776" y="509265"/>
                      <a:pt x="1164574" y="505104"/>
                      <a:pt x="1162180" y="502539"/>
                    </a:cubicBezTo>
                    <a:cubicBezTo>
                      <a:pt x="1159786" y="499974"/>
                      <a:pt x="1156480" y="500202"/>
                      <a:pt x="1154657" y="497809"/>
                    </a:cubicBezTo>
                    <a:cubicBezTo>
                      <a:pt x="1151693" y="493933"/>
                      <a:pt x="1156138" y="488747"/>
                      <a:pt x="1160356" y="485954"/>
                    </a:cubicBezTo>
                    <a:lnTo>
                      <a:pt x="1187770" y="466804"/>
                    </a:lnTo>
                    <a:cubicBezTo>
                      <a:pt x="1190905" y="465122"/>
                      <a:pt x="1193333" y="462375"/>
                      <a:pt x="1194610" y="459052"/>
                    </a:cubicBezTo>
                    <a:cubicBezTo>
                      <a:pt x="1195009" y="457171"/>
                      <a:pt x="1195009" y="455234"/>
                      <a:pt x="1194610" y="453353"/>
                    </a:cubicBezTo>
                    <a:cubicBezTo>
                      <a:pt x="1193698" y="447368"/>
                      <a:pt x="1192786" y="441441"/>
                      <a:pt x="1191817" y="435456"/>
                    </a:cubicBezTo>
                    <a:cubicBezTo>
                      <a:pt x="1198827" y="430270"/>
                      <a:pt x="1209371" y="438078"/>
                      <a:pt x="1209941" y="446855"/>
                    </a:cubicBezTo>
                    <a:cubicBezTo>
                      <a:pt x="1210511" y="455633"/>
                      <a:pt x="1204869" y="463327"/>
                      <a:pt x="1199226" y="469653"/>
                    </a:cubicBezTo>
                    <a:cubicBezTo>
                      <a:pt x="1202806" y="471654"/>
                      <a:pt x="1204726" y="475700"/>
                      <a:pt x="1204014" y="479741"/>
                    </a:cubicBezTo>
                    <a:cubicBezTo>
                      <a:pt x="1203296" y="483651"/>
                      <a:pt x="1203085" y="487635"/>
                      <a:pt x="1203387" y="491596"/>
                    </a:cubicBezTo>
                    <a:cubicBezTo>
                      <a:pt x="1205114" y="497244"/>
                      <a:pt x="1209879" y="501434"/>
                      <a:pt x="1215698" y="502425"/>
                    </a:cubicBezTo>
                    <a:cubicBezTo>
                      <a:pt x="1221386" y="503263"/>
                      <a:pt x="1227182" y="503052"/>
                      <a:pt x="1232796" y="501798"/>
                    </a:cubicBezTo>
                    <a:cubicBezTo>
                      <a:pt x="1243973" y="514297"/>
                      <a:pt x="1259863" y="521547"/>
                      <a:pt x="1276625" y="521803"/>
                    </a:cubicBezTo>
                    <a:cubicBezTo>
                      <a:pt x="1278791" y="517016"/>
                      <a:pt x="1271781" y="513596"/>
                      <a:pt x="1266651" y="512741"/>
                    </a:cubicBezTo>
                    <a:cubicBezTo>
                      <a:pt x="1261522" y="511886"/>
                      <a:pt x="1254796" y="507042"/>
                      <a:pt x="1257988" y="503052"/>
                    </a:cubicBezTo>
                    <a:cubicBezTo>
                      <a:pt x="1244309" y="503565"/>
                      <a:pt x="1233195" y="492451"/>
                      <a:pt x="1224304" y="482021"/>
                    </a:cubicBezTo>
                    <a:cubicBezTo>
                      <a:pt x="1222133" y="480112"/>
                      <a:pt x="1220918" y="477330"/>
                      <a:pt x="1220998" y="474441"/>
                    </a:cubicBezTo>
                    <a:cubicBezTo>
                      <a:pt x="1222138" y="468741"/>
                      <a:pt x="1230687" y="469881"/>
                      <a:pt x="1235931" y="472446"/>
                    </a:cubicBezTo>
                    <a:lnTo>
                      <a:pt x="1266936" y="487835"/>
                    </a:lnTo>
                    <a:cubicBezTo>
                      <a:pt x="1272293" y="485441"/>
                      <a:pt x="1272635" y="477291"/>
                      <a:pt x="1268931" y="472674"/>
                    </a:cubicBezTo>
                    <a:cubicBezTo>
                      <a:pt x="1264822" y="468456"/>
                      <a:pt x="1259641" y="465436"/>
                      <a:pt x="1253941" y="463954"/>
                    </a:cubicBezTo>
                    <a:cubicBezTo>
                      <a:pt x="1248196" y="462449"/>
                      <a:pt x="1243175" y="458927"/>
                      <a:pt x="1239807" y="454037"/>
                    </a:cubicBezTo>
                    <a:cubicBezTo>
                      <a:pt x="1239060" y="452931"/>
                      <a:pt x="1238855" y="451552"/>
                      <a:pt x="1239237" y="450275"/>
                    </a:cubicBezTo>
                    <a:cubicBezTo>
                      <a:pt x="1239926" y="448981"/>
                      <a:pt x="1241089" y="448001"/>
                      <a:pt x="1242485" y="447539"/>
                    </a:cubicBezTo>
                    <a:lnTo>
                      <a:pt x="1250465" y="443835"/>
                    </a:lnTo>
                    <a:cubicBezTo>
                      <a:pt x="1252192" y="442837"/>
                      <a:pt x="1254181" y="442398"/>
                      <a:pt x="1256164" y="442581"/>
                    </a:cubicBezTo>
                    <a:cubicBezTo>
                      <a:pt x="1258034" y="443310"/>
                      <a:pt x="1259698" y="444484"/>
                      <a:pt x="1261009" y="446000"/>
                    </a:cubicBezTo>
                    <a:cubicBezTo>
                      <a:pt x="1271781" y="455291"/>
                      <a:pt x="1288822" y="448850"/>
                      <a:pt x="1302330" y="453410"/>
                    </a:cubicBezTo>
                    <a:cubicBezTo>
                      <a:pt x="1317889" y="458596"/>
                      <a:pt x="1325584" y="477177"/>
                      <a:pt x="1340801" y="483446"/>
                    </a:cubicBezTo>
                    <a:cubicBezTo>
                      <a:pt x="1344056" y="484996"/>
                      <a:pt x="1347766" y="485298"/>
                      <a:pt x="1351231" y="484301"/>
                    </a:cubicBezTo>
                    <a:cubicBezTo>
                      <a:pt x="1360522" y="481052"/>
                      <a:pt x="1360008" y="467886"/>
                      <a:pt x="1357729" y="458311"/>
                    </a:cubicBezTo>
                    <a:cubicBezTo>
                      <a:pt x="1345441" y="458163"/>
                      <a:pt x="1333546" y="453980"/>
                      <a:pt x="1323874" y="446399"/>
                    </a:cubicBezTo>
                    <a:cubicBezTo>
                      <a:pt x="1321793" y="445151"/>
                      <a:pt x="1320346" y="443077"/>
                      <a:pt x="1319884" y="440700"/>
                    </a:cubicBezTo>
                    <a:cubicBezTo>
                      <a:pt x="1319884" y="438363"/>
                      <a:pt x="1321537" y="436311"/>
                      <a:pt x="1321822" y="433975"/>
                    </a:cubicBezTo>
                    <a:cubicBezTo>
                      <a:pt x="1322449" y="428902"/>
                      <a:pt x="1316635" y="425596"/>
                      <a:pt x="1314698" y="420866"/>
                    </a:cubicBezTo>
                    <a:cubicBezTo>
                      <a:pt x="1312976" y="414192"/>
                      <a:pt x="1316858" y="407355"/>
                      <a:pt x="1323475" y="405420"/>
                    </a:cubicBezTo>
                    <a:cubicBezTo>
                      <a:pt x="1329961" y="403855"/>
                      <a:pt x="1336743" y="404032"/>
                      <a:pt x="1343138" y="405933"/>
                    </a:cubicBezTo>
                    <a:cubicBezTo>
                      <a:pt x="1349550" y="407725"/>
                      <a:pt x="1356332" y="407725"/>
                      <a:pt x="1362744" y="405933"/>
                    </a:cubicBezTo>
                    <a:cubicBezTo>
                      <a:pt x="1366962" y="403821"/>
                      <a:pt x="1371054" y="401461"/>
                      <a:pt x="1374998" y="398866"/>
                    </a:cubicBezTo>
                    <a:cubicBezTo>
                      <a:pt x="1382014" y="396004"/>
                      <a:pt x="1389532" y="394570"/>
                      <a:pt x="1397112" y="394648"/>
                    </a:cubicBezTo>
                    <a:cubicBezTo>
                      <a:pt x="1413310" y="393626"/>
                      <a:pt x="1429405" y="391397"/>
                      <a:pt x="1445273" y="387980"/>
                    </a:cubicBezTo>
                    <a:cubicBezTo>
                      <a:pt x="1447370" y="387736"/>
                      <a:pt x="1449353" y="386884"/>
                      <a:pt x="1450972" y="385529"/>
                    </a:cubicBezTo>
                    <a:cubicBezTo>
                      <a:pt x="1452562" y="383400"/>
                      <a:pt x="1453332" y="380769"/>
                      <a:pt x="1453138" y="378120"/>
                    </a:cubicBezTo>
                    <a:cubicBezTo>
                      <a:pt x="1453731" y="366638"/>
                      <a:pt x="1455121" y="355211"/>
                      <a:pt x="1457298" y="343923"/>
                    </a:cubicBezTo>
                    <a:cubicBezTo>
                      <a:pt x="1457646" y="341492"/>
                      <a:pt x="1458455" y="339150"/>
                      <a:pt x="1459692" y="337027"/>
                    </a:cubicBezTo>
                    <a:cubicBezTo>
                      <a:pt x="1463032" y="333346"/>
                      <a:pt x="1467626" y="331049"/>
                      <a:pt x="1472573" y="330586"/>
                    </a:cubicBezTo>
                    <a:cubicBezTo>
                      <a:pt x="1491079" y="326970"/>
                      <a:pt x="1508930" y="320572"/>
                      <a:pt x="1525521" y="311607"/>
                    </a:cubicBezTo>
                    <a:cubicBezTo>
                      <a:pt x="1536350" y="305338"/>
                      <a:pt x="1546381" y="297301"/>
                      <a:pt x="1558407" y="293768"/>
                    </a:cubicBezTo>
                    <a:cubicBezTo>
                      <a:pt x="1567127" y="291658"/>
                      <a:pt x="1576076" y="290795"/>
                      <a:pt x="1585024" y="291203"/>
                    </a:cubicBezTo>
                    <a:cubicBezTo>
                      <a:pt x="1592889" y="290715"/>
                      <a:pt x="1600697" y="291662"/>
                      <a:pt x="1608220" y="293996"/>
                    </a:cubicBezTo>
                    <a:cubicBezTo>
                      <a:pt x="1613179" y="296622"/>
                      <a:pt x="1618366" y="298833"/>
                      <a:pt x="1623666" y="300607"/>
                    </a:cubicBezTo>
                    <a:cubicBezTo>
                      <a:pt x="1636262" y="303286"/>
                      <a:pt x="1647718" y="293711"/>
                      <a:pt x="1657863" y="285503"/>
                    </a:cubicBezTo>
                    <a:cubicBezTo>
                      <a:pt x="1668008" y="277296"/>
                      <a:pt x="1681630" y="269773"/>
                      <a:pt x="1692744" y="276213"/>
                    </a:cubicBezTo>
                    <a:cubicBezTo>
                      <a:pt x="1703858" y="282654"/>
                      <a:pt x="1703515" y="301861"/>
                      <a:pt x="1694283" y="312006"/>
                    </a:cubicBezTo>
                    <a:cubicBezTo>
                      <a:pt x="1685050" y="322151"/>
                      <a:pt x="1671029" y="326027"/>
                      <a:pt x="1657977" y="330187"/>
                    </a:cubicBezTo>
                    <a:cubicBezTo>
                      <a:pt x="1651081" y="332353"/>
                      <a:pt x="1642645" y="338508"/>
                      <a:pt x="1646236" y="344778"/>
                    </a:cubicBezTo>
                    <a:cubicBezTo>
                      <a:pt x="1647604" y="347115"/>
                      <a:pt x="1650397" y="348483"/>
                      <a:pt x="1651308" y="351047"/>
                    </a:cubicBezTo>
                    <a:cubicBezTo>
                      <a:pt x="1652505" y="354695"/>
                      <a:pt x="1649314" y="359140"/>
                      <a:pt x="1651308" y="362446"/>
                    </a:cubicBezTo>
                    <a:cubicBezTo>
                      <a:pt x="1652847" y="363886"/>
                      <a:pt x="1654899" y="364629"/>
                      <a:pt x="1657008" y="364498"/>
                    </a:cubicBezTo>
                    <a:cubicBezTo>
                      <a:pt x="1665101" y="364897"/>
                      <a:pt x="1674106" y="364954"/>
                      <a:pt x="1679806" y="359311"/>
                    </a:cubicBezTo>
                    <a:cubicBezTo>
                      <a:pt x="1684479" y="354752"/>
                      <a:pt x="1685904" y="347343"/>
                      <a:pt x="1691205" y="343467"/>
                    </a:cubicBezTo>
                    <a:cubicBezTo>
                      <a:pt x="1695366" y="340446"/>
                      <a:pt x="1701008" y="340218"/>
                      <a:pt x="1705340" y="337369"/>
                    </a:cubicBezTo>
                    <a:cubicBezTo>
                      <a:pt x="1707904" y="335493"/>
                      <a:pt x="1710070" y="333177"/>
                      <a:pt x="1711780" y="330529"/>
                    </a:cubicBezTo>
                    <a:cubicBezTo>
                      <a:pt x="1720899" y="318218"/>
                      <a:pt x="1730588" y="304027"/>
                      <a:pt x="1728080" y="288923"/>
                    </a:cubicBezTo>
                    <a:cubicBezTo>
                      <a:pt x="1724946" y="274023"/>
                      <a:pt x="1711153" y="263819"/>
                      <a:pt x="1695992" y="265156"/>
                    </a:cubicBezTo>
                    <a:lnTo>
                      <a:pt x="1709386" y="262591"/>
                    </a:lnTo>
                    <a:cubicBezTo>
                      <a:pt x="1716682" y="261151"/>
                      <a:pt x="1724091" y="260444"/>
                      <a:pt x="1731557" y="260483"/>
                    </a:cubicBezTo>
                    <a:cubicBezTo>
                      <a:pt x="1729505" y="252218"/>
                      <a:pt x="1727738" y="242586"/>
                      <a:pt x="1732925" y="235861"/>
                    </a:cubicBezTo>
                    <a:cubicBezTo>
                      <a:pt x="1735889" y="233175"/>
                      <a:pt x="1739024" y="230645"/>
                      <a:pt x="1742272" y="228281"/>
                    </a:cubicBezTo>
                    <a:cubicBezTo>
                      <a:pt x="1745350" y="225631"/>
                      <a:pt x="1746261" y="221227"/>
                      <a:pt x="1744495" y="217566"/>
                    </a:cubicBezTo>
                    <a:cubicBezTo>
                      <a:pt x="1750878" y="216711"/>
                      <a:pt x="1758458" y="215001"/>
                      <a:pt x="1760624" y="208959"/>
                    </a:cubicBezTo>
                    <a:cubicBezTo>
                      <a:pt x="1760967" y="207518"/>
                      <a:pt x="1761536" y="206147"/>
                      <a:pt x="1762334" y="204913"/>
                    </a:cubicBezTo>
                    <a:cubicBezTo>
                      <a:pt x="1763474" y="203896"/>
                      <a:pt x="1764899" y="203275"/>
                      <a:pt x="1766381" y="203146"/>
                    </a:cubicBezTo>
                    <a:lnTo>
                      <a:pt x="1791630" y="198130"/>
                    </a:lnTo>
                    <a:cubicBezTo>
                      <a:pt x="1794878" y="197234"/>
                      <a:pt x="1798241" y="197040"/>
                      <a:pt x="1801547" y="197560"/>
                    </a:cubicBezTo>
                    <a:cubicBezTo>
                      <a:pt x="1805195" y="198916"/>
                      <a:pt x="1808671" y="200536"/>
                      <a:pt x="1812091" y="202405"/>
                    </a:cubicBezTo>
                    <a:cubicBezTo>
                      <a:pt x="1816479" y="204058"/>
                      <a:pt x="1821438" y="203830"/>
                      <a:pt x="1825827" y="205597"/>
                    </a:cubicBezTo>
                    <a:cubicBezTo>
                      <a:pt x="1830215" y="207364"/>
                      <a:pt x="1834091" y="212379"/>
                      <a:pt x="1831811" y="216540"/>
                    </a:cubicBezTo>
                    <a:cubicBezTo>
                      <a:pt x="1827309" y="220128"/>
                      <a:pt x="1821495" y="221731"/>
                      <a:pt x="1815795" y="220985"/>
                    </a:cubicBezTo>
                    <a:cubicBezTo>
                      <a:pt x="1810039" y="220247"/>
                      <a:pt x="1804282" y="222179"/>
                      <a:pt x="1800122" y="226229"/>
                    </a:cubicBezTo>
                    <a:cubicBezTo>
                      <a:pt x="1796645" y="230788"/>
                      <a:pt x="1801034" y="239509"/>
                      <a:pt x="1806220" y="237172"/>
                    </a:cubicBezTo>
                    <a:cubicBezTo>
                      <a:pt x="1809583" y="235633"/>
                      <a:pt x="1810552" y="230788"/>
                      <a:pt x="1814028" y="229591"/>
                    </a:cubicBezTo>
                    <a:cubicBezTo>
                      <a:pt x="1816365" y="229101"/>
                      <a:pt x="1818759" y="229487"/>
                      <a:pt x="1820811" y="230674"/>
                    </a:cubicBezTo>
                    <a:cubicBezTo>
                      <a:pt x="1832437" y="236568"/>
                      <a:pt x="1845547" y="238775"/>
                      <a:pt x="1858427" y="237001"/>
                    </a:cubicBezTo>
                    <a:cubicBezTo>
                      <a:pt x="1859454" y="239811"/>
                      <a:pt x="1859225" y="242944"/>
                      <a:pt x="1857744" y="245550"/>
                    </a:cubicBezTo>
                    <a:cubicBezTo>
                      <a:pt x="1856376" y="246788"/>
                      <a:pt x="1854837" y="247808"/>
                      <a:pt x="1853184" y="248571"/>
                    </a:cubicBezTo>
                    <a:cubicBezTo>
                      <a:pt x="1848624" y="252364"/>
                      <a:pt x="1845604" y="257728"/>
                      <a:pt x="1844749" y="263617"/>
                    </a:cubicBezTo>
                    <a:lnTo>
                      <a:pt x="1880086" y="264757"/>
                    </a:lnTo>
                    <a:cubicBezTo>
                      <a:pt x="1879572" y="254441"/>
                      <a:pt x="1892396" y="248286"/>
                      <a:pt x="1902884" y="249654"/>
                    </a:cubicBezTo>
                    <a:cubicBezTo>
                      <a:pt x="1913370" y="251021"/>
                      <a:pt x="1922432" y="256778"/>
                      <a:pt x="1932692" y="258260"/>
                    </a:cubicBezTo>
                    <a:cubicBezTo>
                      <a:pt x="1942950" y="259742"/>
                      <a:pt x="1953381" y="257006"/>
                      <a:pt x="1962557" y="261167"/>
                    </a:cubicBezTo>
                    <a:cubicBezTo>
                      <a:pt x="1968256" y="263617"/>
                      <a:pt x="1972702" y="268405"/>
                      <a:pt x="1978686" y="268519"/>
                    </a:cubicBezTo>
                    <a:cubicBezTo>
                      <a:pt x="1978686" y="271882"/>
                      <a:pt x="1978402" y="275187"/>
                      <a:pt x="1978288" y="278493"/>
                    </a:cubicBezTo>
                    <a:cubicBezTo>
                      <a:pt x="1985811" y="277122"/>
                      <a:pt x="1993277" y="281215"/>
                      <a:pt x="1996127" y="288296"/>
                    </a:cubicBezTo>
                    <a:lnTo>
                      <a:pt x="2007526" y="291773"/>
                    </a:lnTo>
                    <a:cubicBezTo>
                      <a:pt x="2007526" y="293996"/>
                      <a:pt x="2007526" y="296218"/>
                      <a:pt x="2007526" y="298441"/>
                    </a:cubicBezTo>
                    <a:cubicBezTo>
                      <a:pt x="2002453" y="299923"/>
                      <a:pt x="1996127" y="304483"/>
                      <a:pt x="1998977" y="308928"/>
                    </a:cubicBezTo>
                    <a:cubicBezTo>
                      <a:pt x="2000116" y="310695"/>
                      <a:pt x="2002510" y="311436"/>
                      <a:pt x="2003593" y="313317"/>
                    </a:cubicBezTo>
                    <a:cubicBezTo>
                      <a:pt x="2005645" y="316736"/>
                      <a:pt x="2001712" y="320897"/>
                      <a:pt x="1997893" y="321809"/>
                    </a:cubicBezTo>
                    <a:cubicBezTo>
                      <a:pt x="1994018" y="322090"/>
                      <a:pt x="1990142" y="322915"/>
                      <a:pt x="1986494" y="324260"/>
                    </a:cubicBezTo>
                    <a:cubicBezTo>
                      <a:pt x="1982106" y="326939"/>
                      <a:pt x="1980795" y="333208"/>
                      <a:pt x="1976008" y="335659"/>
                    </a:cubicBezTo>
                    <a:cubicBezTo>
                      <a:pt x="1973842" y="336279"/>
                      <a:pt x="1971676" y="337021"/>
                      <a:pt x="1969567" y="337881"/>
                    </a:cubicBezTo>
                    <a:cubicBezTo>
                      <a:pt x="1966832" y="339534"/>
                      <a:pt x="1965748" y="342897"/>
                      <a:pt x="1963868" y="345348"/>
                    </a:cubicBezTo>
                    <a:cubicBezTo>
                      <a:pt x="1960904" y="348466"/>
                      <a:pt x="1957142" y="350763"/>
                      <a:pt x="1953039" y="352016"/>
                    </a:cubicBezTo>
                    <a:lnTo>
                      <a:pt x="1930355" y="360565"/>
                    </a:lnTo>
                    <a:cubicBezTo>
                      <a:pt x="1923402" y="362694"/>
                      <a:pt x="1917132" y="366628"/>
                      <a:pt x="1912230" y="371964"/>
                    </a:cubicBezTo>
                    <a:cubicBezTo>
                      <a:pt x="1910350" y="374301"/>
                      <a:pt x="1908811" y="377208"/>
                      <a:pt x="1906018" y="378405"/>
                    </a:cubicBezTo>
                    <a:cubicBezTo>
                      <a:pt x="1904194" y="379146"/>
                      <a:pt x="1902143" y="379032"/>
                      <a:pt x="1900318" y="379602"/>
                    </a:cubicBezTo>
                    <a:cubicBezTo>
                      <a:pt x="1898038" y="380549"/>
                      <a:pt x="1895930" y="381900"/>
                      <a:pt x="1894163" y="383591"/>
                    </a:cubicBezTo>
                    <a:cubicBezTo>
                      <a:pt x="1887153" y="389040"/>
                      <a:pt x="1878547" y="392008"/>
                      <a:pt x="1869712" y="392026"/>
                    </a:cubicBezTo>
                    <a:cubicBezTo>
                      <a:pt x="1866521" y="392026"/>
                      <a:pt x="1862816" y="392026"/>
                      <a:pt x="1860821" y="394306"/>
                    </a:cubicBezTo>
                    <a:cubicBezTo>
                      <a:pt x="1859909" y="395833"/>
                      <a:pt x="1859168" y="397459"/>
                      <a:pt x="1858656" y="399151"/>
                    </a:cubicBezTo>
                    <a:cubicBezTo>
                      <a:pt x="1855919" y="404850"/>
                      <a:pt x="1848168" y="405648"/>
                      <a:pt x="1842640" y="408954"/>
                    </a:cubicBezTo>
                    <a:cubicBezTo>
                      <a:pt x="1836485" y="413705"/>
                      <a:pt x="1832096" y="420358"/>
                      <a:pt x="1830101" y="427876"/>
                    </a:cubicBezTo>
                    <a:cubicBezTo>
                      <a:pt x="1828619" y="431809"/>
                      <a:pt x="1828961" y="438420"/>
                      <a:pt x="1833178" y="437850"/>
                    </a:cubicBezTo>
                    <a:cubicBezTo>
                      <a:pt x="1837396" y="437280"/>
                      <a:pt x="1835231" y="428047"/>
                      <a:pt x="1839334" y="425026"/>
                    </a:cubicBezTo>
                    <a:cubicBezTo>
                      <a:pt x="1840702" y="424197"/>
                      <a:pt x="1842355" y="423838"/>
                      <a:pt x="1843951" y="424001"/>
                    </a:cubicBezTo>
                    <a:cubicBezTo>
                      <a:pt x="1850904" y="424420"/>
                      <a:pt x="1857915" y="424210"/>
                      <a:pt x="1864868" y="423374"/>
                    </a:cubicBezTo>
                    <a:cubicBezTo>
                      <a:pt x="1885215" y="419726"/>
                      <a:pt x="1902541" y="400576"/>
                      <a:pt x="1922888" y="404109"/>
                    </a:cubicBezTo>
                    <a:cubicBezTo>
                      <a:pt x="1925339" y="404804"/>
                      <a:pt x="1927847" y="405112"/>
                      <a:pt x="1930412" y="405021"/>
                    </a:cubicBezTo>
                    <a:cubicBezTo>
                      <a:pt x="1933033" y="404857"/>
                      <a:pt x="1935199" y="402764"/>
                      <a:pt x="1935370" y="400120"/>
                    </a:cubicBezTo>
                    <a:cubicBezTo>
                      <a:pt x="1935028" y="395047"/>
                      <a:pt x="1927163" y="396244"/>
                      <a:pt x="1922375" y="394420"/>
                    </a:cubicBezTo>
                    <a:cubicBezTo>
                      <a:pt x="1918215" y="392618"/>
                      <a:pt x="1916277" y="387835"/>
                      <a:pt x="1917987" y="383648"/>
                    </a:cubicBezTo>
                    <a:lnTo>
                      <a:pt x="1939531" y="378747"/>
                    </a:lnTo>
                    <a:cubicBezTo>
                      <a:pt x="1940671" y="378464"/>
                      <a:pt x="1941925" y="378464"/>
                      <a:pt x="1943064" y="378747"/>
                    </a:cubicBezTo>
                    <a:cubicBezTo>
                      <a:pt x="1944603" y="379234"/>
                      <a:pt x="1945914" y="380120"/>
                      <a:pt x="1946997" y="381311"/>
                    </a:cubicBezTo>
                    <a:cubicBezTo>
                      <a:pt x="1953210" y="386973"/>
                      <a:pt x="1960505" y="391265"/>
                      <a:pt x="1968484" y="393907"/>
                    </a:cubicBezTo>
                    <a:cubicBezTo>
                      <a:pt x="1968428" y="398691"/>
                      <a:pt x="1972246" y="402619"/>
                      <a:pt x="1977033" y="402680"/>
                    </a:cubicBezTo>
                    <a:cubicBezTo>
                      <a:pt x="1980168" y="402719"/>
                      <a:pt x="1983018" y="401090"/>
                      <a:pt x="1984614" y="398410"/>
                    </a:cubicBezTo>
                    <a:cubicBezTo>
                      <a:pt x="1985811" y="395390"/>
                      <a:pt x="1986723" y="392284"/>
                      <a:pt x="1987407" y="389120"/>
                    </a:cubicBezTo>
                    <a:cubicBezTo>
                      <a:pt x="1988546" y="386099"/>
                      <a:pt x="1992137" y="383420"/>
                      <a:pt x="1994872" y="385073"/>
                    </a:cubicBezTo>
                    <a:cubicBezTo>
                      <a:pt x="1997209" y="389608"/>
                      <a:pt x="1997609" y="394871"/>
                      <a:pt x="1996070" y="399721"/>
                    </a:cubicBezTo>
                    <a:cubicBezTo>
                      <a:pt x="1994474" y="404536"/>
                      <a:pt x="1994474" y="409724"/>
                      <a:pt x="1996070" y="414539"/>
                    </a:cubicBezTo>
                    <a:cubicBezTo>
                      <a:pt x="1998236" y="419099"/>
                      <a:pt x="2005303" y="421379"/>
                      <a:pt x="2008267" y="417332"/>
                    </a:cubicBezTo>
                    <a:cubicBezTo>
                      <a:pt x="2011230" y="413285"/>
                      <a:pt x="2007696" y="407244"/>
                      <a:pt x="2009578" y="402513"/>
                    </a:cubicBezTo>
                    <a:cubicBezTo>
                      <a:pt x="2011629" y="398842"/>
                      <a:pt x="2015733" y="396790"/>
                      <a:pt x="2019893" y="397327"/>
                    </a:cubicBezTo>
                    <a:cubicBezTo>
                      <a:pt x="2023997" y="397327"/>
                      <a:pt x="2027930" y="398923"/>
                      <a:pt x="2032033" y="399151"/>
                    </a:cubicBezTo>
                    <a:cubicBezTo>
                      <a:pt x="2036137" y="399104"/>
                      <a:pt x="2040184" y="398683"/>
                      <a:pt x="2044173" y="397897"/>
                    </a:cubicBezTo>
                    <a:cubicBezTo>
                      <a:pt x="2060759" y="395786"/>
                      <a:pt x="2077401" y="401058"/>
                      <a:pt x="2089769" y="412317"/>
                    </a:cubicBezTo>
                    <a:cubicBezTo>
                      <a:pt x="2094215" y="416477"/>
                      <a:pt x="2101168" y="409752"/>
                      <a:pt x="2106867" y="411291"/>
                    </a:cubicBezTo>
                    <a:cubicBezTo>
                      <a:pt x="2109261" y="412224"/>
                      <a:pt x="2111427" y="413574"/>
                      <a:pt x="2113365" y="415280"/>
                    </a:cubicBezTo>
                    <a:cubicBezTo>
                      <a:pt x="2116386" y="417224"/>
                      <a:pt x="2119577" y="418830"/>
                      <a:pt x="2122940" y="420068"/>
                    </a:cubicBezTo>
                    <a:cubicBezTo>
                      <a:pt x="2133712" y="425212"/>
                      <a:pt x="2145282" y="428579"/>
                      <a:pt x="2157137" y="430042"/>
                    </a:cubicBezTo>
                    <a:cubicBezTo>
                      <a:pt x="2178111" y="431467"/>
                      <a:pt x="2201023" y="421265"/>
                      <a:pt x="2219261" y="431752"/>
                    </a:cubicBezTo>
                    <a:cubicBezTo>
                      <a:pt x="2222168" y="426622"/>
                      <a:pt x="2216867" y="420353"/>
                      <a:pt x="2218406" y="414653"/>
                    </a:cubicBezTo>
                    <a:cubicBezTo>
                      <a:pt x="2219945" y="408954"/>
                      <a:pt x="2226442" y="407301"/>
                      <a:pt x="2231971" y="407472"/>
                    </a:cubicBezTo>
                    <a:cubicBezTo>
                      <a:pt x="2250380" y="407871"/>
                      <a:pt x="2266852" y="421436"/>
                      <a:pt x="2285204" y="420467"/>
                    </a:cubicBezTo>
                    <a:cubicBezTo>
                      <a:pt x="2285717" y="429298"/>
                      <a:pt x="2293298" y="436047"/>
                      <a:pt x="2302131" y="435542"/>
                    </a:cubicBezTo>
                    <a:cubicBezTo>
                      <a:pt x="2303784" y="435446"/>
                      <a:pt x="2305438" y="435091"/>
                      <a:pt x="2306976" y="434488"/>
                    </a:cubicBezTo>
                    <a:cubicBezTo>
                      <a:pt x="2311479" y="432322"/>
                      <a:pt x="2315810" y="427819"/>
                      <a:pt x="2320598" y="429244"/>
                    </a:cubicBezTo>
                    <a:cubicBezTo>
                      <a:pt x="2323676" y="430213"/>
                      <a:pt x="2325499" y="433291"/>
                      <a:pt x="2327722" y="435684"/>
                    </a:cubicBezTo>
                    <a:cubicBezTo>
                      <a:pt x="2330344" y="437903"/>
                      <a:pt x="2332795" y="440364"/>
                      <a:pt x="2334960" y="443037"/>
                    </a:cubicBezTo>
                    <a:cubicBezTo>
                      <a:pt x="2336785" y="446000"/>
                      <a:pt x="2336613" y="450674"/>
                      <a:pt x="2333421" y="452042"/>
                    </a:cubicBezTo>
                    <a:lnTo>
                      <a:pt x="2348012" y="457171"/>
                    </a:lnTo>
                    <a:cubicBezTo>
                      <a:pt x="2351033" y="459565"/>
                      <a:pt x="2347443" y="464752"/>
                      <a:pt x="2343567" y="464752"/>
                    </a:cubicBezTo>
                    <a:cubicBezTo>
                      <a:pt x="2339805" y="464113"/>
                      <a:pt x="2336157" y="462780"/>
                      <a:pt x="2332909" y="460819"/>
                    </a:cubicBezTo>
                    <a:cubicBezTo>
                      <a:pt x="2329375" y="459394"/>
                      <a:pt x="2324131" y="460078"/>
                      <a:pt x="2323276" y="463840"/>
                    </a:cubicBezTo>
                    <a:cubicBezTo>
                      <a:pt x="2322422" y="467601"/>
                      <a:pt x="2326013" y="470052"/>
                      <a:pt x="2328976" y="471990"/>
                    </a:cubicBezTo>
                    <a:cubicBezTo>
                      <a:pt x="2343054" y="481451"/>
                      <a:pt x="2353883" y="494970"/>
                      <a:pt x="2360095" y="510747"/>
                    </a:cubicBezTo>
                    <a:cubicBezTo>
                      <a:pt x="2365681" y="514451"/>
                      <a:pt x="2371950" y="516959"/>
                      <a:pt x="2378561" y="518099"/>
                    </a:cubicBezTo>
                    <a:lnTo>
                      <a:pt x="2381639" y="524767"/>
                    </a:lnTo>
                    <a:cubicBezTo>
                      <a:pt x="2387282" y="528535"/>
                      <a:pt x="2394007" y="530284"/>
                      <a:pt x="2400733" y="529726"/>
                    </a:cubicBezTo>
                    <a:cubicBezTo>
                      <a:pt x="2399422" y="526192"/>
                      <a:pt x="2398110" y="522715"/>
                      <a:pt x="2396857" y="519182"/>
                    </a:cubicBezTo>
                    <a:cubicBezTo>
                      <a:pt x="2406546" y="515483"/>
                      <a:pt x="2413043" y="506335"/>
                      <a:pt x="2413328" y="495985"/>
                    </a:cubicBezTo>
                    <a:cubicBezTo>
                      <a:pt x="2420338" y="491425"/>
                      <a:pt x="2429572" y="494617"/>
                      <a:pt x="2437437" y="497581"/>
                    </a:cubicBezTo>
                    <a:cubicBezTo>
                      <a:pt x="2454820" y="504186"/>
                      <a:pt x="2472831" y="509111"/>
                      <a:pt x="2491183" y="512285"/>
                    </a:cubicBezTo>
                    <a:cubicBezTo>
                      <a:pt x="2502582" y="514223"/>
                      <a:pt x="2514494" y="515306"/>
                      <a:pt x="2524126" y="509493"/>
                    </a:cubicBezTo>
                    <a:cubicBezTo>
                      <a:pt x="2526121" y="507902"/>
                      <a:pt x="2528514" y="506825"/>
                      <a:pt x="2531022" y="506358"/>
                    </a:cubicBezTo>
                    <a:cubicBezTo>
                      <a:pt x="2535696" y="506358"/>
                      <a:pt x="2540198" y="511373"/>
                      <a:pt x="2544245" y="509151"/>
                    </a:cubicBezTo>
                    <a:cubicBezTo>
                      <a:pt x="2546183" y="508068"/>
                      <a:pt x="2546981" y="505731"/>
                      <a:pt x="2548462" y="504135"/>
                    </a:cubicBezTo>
                    <a:cubicBezTo>
                      <a:pt x="2553365" y="498949"/>
                      <a:pt x="2562084" y="503679"/>
                      <a:pt x="2569095" y="502425"/>
                    </a:cubicBezTo>
                    <a:cubicBezTo>
                      <a:pt x="2573768" y="501029"/>
                      <a:pt x="2577929" y="498219"/>
                      <a:pt x="2581007" y="494389"/>
                    </a:cubicBezTo>
                    <a:lnTo>
                      <a:pt x="2588359" y="486809"/>
                    </a:lnTo>
                    <a:cubicBezTo>
                      <a:pt x="2581234" y="486484"/>
                      <a:pt x="2575022" y="481753"/>
                      <a:pt x="2572856" y="474954"/>
                    </a:cubicBezTo>
                    <a:cubicBezTo>
                      <a:pt x="2578556" y="474042"/>
                      <a:pt x="2585509" y="469254"/>
                      <a:pt x="2582147" y="464923"/>
                    </a:cubicBezTo>
                    <a:cubicBezTo>
                      <a:pt x="2580493" y="462757"/>
                      <a:pt x="2577245" y="462700"/>
                      <a:pt x="2575136" y="460990"/>
                    </a:cubicBezTo>
                    <a:cubicBezTo>
                      <a:pt x="2571831" y="458254"/>
                      <a:pt x="2573426" y="452384"/>
                      <a:pt x="2577017" y="449990"/>
                    </a:cubicBezTo>
                    <a:cubicBezTo>
                      <a:pt x="2580893" y="448029"/>
                      <a:pt x="2585224" y="447294"/>
                      <a:pt x="2589499" y="447881"/>
                    </a:cubicBezTo>
                    <a:cubicBezTo>
                      <a:pt x="2594629" y="447881"/>
                      <a:pt x="2598960" y="450218"/>
                      <a:pt x="2603805" y="448394"/>
                    </a:cubicBezTo>
                    <a:cubicBezTo>
                      <a:pt x="2603805" y="445203"/>
                      <a:pt x="2600727" y="442695"/>
                      <a:pt x="2600214" y="439617"/>
                    </a:cubicBezTo>
                    <a:cubicBezTo>
                      <a:pt x="2600100" y="435517"/>
                      <a:pt x="2603121" y="431992"/>
                      <a:pt x="2607167" y="431467"/>
                    </a:cubicBezTo>
                    <a:cubicBezTo>
                      <a:pt x="2611100" y="431105"/>
                      <a:pt x="2615090" y="431960"/>
                      <a:pt x="2618566" y="433918"/>
                    </a:cubicBezTo>
                    <a:cubicBezTo>
                      <a:pt x="2621986" y="435858"/>
                      <a:pt x="2625748" y="437243"/>
                      <a:pt x="2629623" y="438021"/>
                    </a:cubicBezTo>
                    <a:cubicBezTo>
                      <a:pt x="2632701" y="438182"/>
                      <a:pt x="2635836" y="437971"/>
                      <a:pt x="2638857" y="437394"/>
                    </a:cubicBezTo>
                    <a:cubicBezTo>
                      <a:pt x="2643929" y="436710"/>
                      <a:pt x="2649058" y="436482"/>
                      <a:pt x="2654188" y="436710"/>
                    </a:cubicBezTo>
                    <a:cubicBezTo>
                      <a:pt x="2658348" y="436608"/>
                      <a:pt x="2662395" y="437739"/>
                      <a:pt x="2665929" y="439959"/>
                    </a:cubicBezTo>
                    <a:cubicBezTo>
                      <a:pt x="2669463" y="442376"/>
                      <a:pt x="2670660" y="447009"/>
                      <a:pt x="2668779" y="450845"/>
                    </a:cubicBezTo>
                    <a:cubicBezTo>
                      <a:pt x="2671629" y="450486"/>
                      <a:pt x="2674535" y="450737"/>
                      <a:pt x="2677271" y="451586"/>
                    </a:cubicBezTo>
                    <a:cubicBezTo>
                      <a:pt x="2680064" y="452543"/>
                      <a:pt x="2681944" y="455228"/>
                      <a:pt x="2681830" y="458197"/>
                    </a:cubicBezTo>
                    <a:cubicBezTo>
                      <a:pt x="2681603" y="459018"/>
                      <a:pt x="2681603" y="459884"/>
                      <a:pt x="2681830" y="460705"/>
                    </a:cubicBezTo>
                    <a:cubicBezTo>
                      <a:pt x="2682173" y="461560"/>
                      <a:pt x="2683084" y="461902"/>
                      <a:pt x="2683882" y="462244"/>
                    </a:cubicBezTo>
                    <a:cubicBezTo>
                      <a:pt x="2692147" y="465253"/>
                      <a:pt x="2700810" y="467168"/>
                      <a:pt x="2709587" y="467943"/>
                    </a:cubicBezTo>
                    <a:cubicBezTo>
                      <a:pt x="2712608" y="469824"/>
                      <a:pt x="2710499" y="474954"/>
                      <a:pt x="2707136" y="476151"/>
                    </a:cubicBezTo>
                    <a:cubicBezTo>
                      <a:pt x="2703603" y="476761"/>
                      <a:pt x="2700069" y="476971"/>
                      <a:pt x="2696478" y="476778"/>
                    </a:cubicBezTo>
                    <a:cubicBezTo>
                      <a:pt x="2692888" y="477177"/>
                      <a:pt x="2689012" y="480254"/>
                      <a:pt x="2690152" y="483674"/>
                    </a:cubicBezTo>
                    <a:cubicBezTo>
                      <a:pt x="2695110" y="482876"/>
                      <a:pt x="2702007" y="483275"/>
                      <a:pt x="2702976" y="488234"/>
                    </a:cubicBezTo>
                    <a:cubicBezTo>
                      <a:pt x="2703603" y="491539"/>
                      <a:pt x="2701323" y="496156"/>
                      <a:pt x="2704287" y="497695"/>
                    </a:cubicBezTo>
                    <a:cubicBezTo>
                      <a:pt x="2705085" y="498031"/>
                      <a:pt x="2705939" y="498168"/>
                      <a:pt x="2706794" y="498094"/>
                    </a:cubicBezTo>
                    <a:cubicBezTo>
                      <a:pt x="2709359" y="498265"/>
                      <a:pt x="2711924" y="497877"/>
                      <a:pt x="2714318" y="496954"/>
                    </a:cubicBezTo>
                    <a:cubicBezTo>
                      <a:pt x="2716711" y="496048"/>
                      <a:pt x="2718307" y="493802"/>
                      <a:pt x="2718421" y="491254"/>
                    </a:cubicBezTo>
                    <a:cubicBezTo>
                      <a:pt x="2718079" y="490069"/>
                      <a:pt x="2717965" y="488832"/>
                      <a:pt x="2718079" y="487607"/>
                    </a:cubicBezTo>
                    <a:cubicBezTo>
                      <a:pt x="2718991" y="483959"/>
                      <a:pt x="2725146" y="486125"/>
                      <a:pt x="2728053" y="483731"/>
                    </a:cubicBezTo>
                    <a:cubicBezTo>
                      <a:pt x="2728908" y="482859"/>
                      <a:pt x="2729535" y="481782"/>
                      <a:pt x="2729877" y="480596"/>
                    </a:cubicBezTo>
                    <a:cubicBezTo>
                      <a:pt x="2731245" y="476618"/>
                      <a:pt x="2732157" y="472514"/>
                      <a:pt x="2732670" y="468342"/>
                    </a:cubicBezTo>
                    <a:cubicBezTo>
                      <a:pt x="2732727" y="466895"/>
                      <a:pt x="2733068" y="465470"/>
                      <a:pt x="2733582" y="464125"/>
                    </a:cubicBezTo>
                    <a:cubicBezTo>
                      <a:pt x="2735405" y="461133"/>
                      <a:pt x="2739281" y="460175"/>
                      <a:pt x="2742245" y="461982"/>
                    </a:cubicBezTo>
                    <a:cubicBezTo>
                      <a:pt x="2743157" y="462512"/>
                      <a:pt x="2743898" y="463247"/>
                      <a:pt x="2744410" y="464125"/>
                    </a:cubicBezTo>
                    <a:cubicBezTo>
                      <a:pt x="2746235" y="468057"/>
                      <a:pt x="2744012" y="474099"/>
                      <a:pt x="2747831" y="476208"/>
                    </a:cubicBezTo>
                    <a:cubicBezTo>
                      <a:pt x="2749654" y="476818"/>
                      <a:pt x="2751592" y="477148"/>
                      <a:pt x="2753530" y="477177"/>
                    </a:cubicBezTo>
                    <a:cubicBezTo>
                      <a:pt x="2757348" y="478146"/>
                      <a:pt x="2759230" y="482534"/>
                      <a:pt x="2763219" y="483902"/>
                    </a:cubicBezTo>
                    <a:cubicBezTo>
                      <a:pt x="2767208" y="485270"/>
                      <a:pt x="2771882" y="482534"/>
                      <a:pt x="2775815" y="480368"/>
                    </a:cubicBezTo>
                    <a:cubicBezTo>
                      <a:pt x="2783338" y="476219"/>
                      <a:pt x="2791887" y="474247"/>
                      <a:pt x="2800494" y="474669"/>
                    </a:cubicBezTo>
                    <a:cubicBezTo>
                      <a:pt x="2802317" y="477239"/>
                      <a:pt x="2801690" y="480796"/>
                      <a:pt x="2799126" y="482614"/>
                    </a:cubicBezTo>
                    <a:cubicBezTo>
                      <a:pt x="2799012" y="482705"/>
                      <a:pt x="2798841" y="482796"/>
                      <a:pt x="2798727" y="482876"/>
                    </a:cubicBezTo>
                    <a:cubicBezTo>
                      <a:pt x="2797017" y="483435"/>
                      <a:pt x="2795193" y="483873"/>
                      <a:pt x="2793426" y="484187"/>
                    </a:cubicBezTo>
                    <a:cubicBezTo>
                      <a:pt x="2791659" y="484814"/>
                      <a:pt x="2790006" y="486638"/>
                      <a:pt x="2790747" y="488348"/>
                    </a:cubicBezTo>
                    <a:cubicBezTo>
                      <a:pt x="2791146" y="489140"/>
                      <a:pt x="2791887" y="489733"/>
                      <a:pt x="2792742" y="490000"/>
                    </a:cubicBezTo>
                    <a:cubicBezTo>
                      <a:pt x="2798442" y="492052"/>
                      <a:pt x="2806421" y="486581"/>
                      <a:pt x="2809841" y="491482"/>
                    </a:cubicBezTo>
                    <a:cubicBezTo>
                      <a:pt x="2811436" y="493648"/>
                      <a:pt x="2810981" y="497182"/>
                      <a:pt x="2812918" y="498778"/>
                    </a:cubicBezTo>
                    <a:cubicBezTo>
                      <a:pt x="2816395" y="502026"/>
                      <a:pt x="2823120" y="497239"/>
                      <a:pt x="2826654" y="500544"/>
                    </a:cubicBezTo>
                    <a:cubicBezTo>
                      <a:pt x="2828706" y="502482"/>
                      <a:pt x="2828991" y="506928"/>
                      <a:pt x="2831841" y="506871"/>
                    </a:cubicBezTo>
                    <a:cubicBezTo>
                      <a:pt x="2833095" y="506871"/>
                      <a:pt x="2834064" y="505788"/>
                      <a:pt x="2835089" y="505047"/>
                    </a:cubicBezTo>
                    <a:cubicBezTo>
                      <a:pt x="2839079" y="502220"/>
                      <a:pt x="2844608" y="502915"/>
                      <a:pt x="2847799" y="506643"/>
                    </a:cubicBezTo>
                    <a:cubicBezTo>
                      <a:pt x="2848540" y="507925"/>
                      <a:pt x="2849509" y="509048"/>
                      <a:pt x="2850706" y="509949"/>
                    </a:cubicBezTo>
                    <a:cubicBezTo>
                      <a:pt x="2851789" y="510575"/>
                      <a:pt x="2853214" y="510632"/>
                      <a:pt x="2854182" y="511373"/>
                    </a:cubicBezTo>
                    <a:cubicBezTo>
                      <a:pt x="2856519" y="513197"/>
                      <a:pt x="2854980" y="517073"/>
                      <a:pt x="2855266" y="519752"/>
                    </a:cubicBezTo>
                    <a:cubicBezTo>
                      <a:pt x="2855892" y="523280"/>
                      <a:pt x="2859312" y="525622"/>
                      <a:pt x="2862846" y="524972"/>
                    </a:cubicBezTo>
                    <a:cubicBezTo>
                      <a:pt x="2863472" y="524858"/>
                      <a:pt x="2864042" y="524653"/>
                      <a:pt x="2864613" y="524368"/>
                    </a:cubicBezTo>
                    <a:cubicBezTo>
                      <a:pt x="2887411" y="524653"/>
                      <a:pt x="2910607" y="525565"/>
                      <a:pt x="2933462" y="527845"/>
                    </a:cubicBezTo>
                    <a:cubicBezTo>
                      <a:pt x="2939447" y="528232"/>
                      <a:pt x="2945431" y="529384"/>
                      <a:pt x="2951130" y="531265"/>
                    </a:cubicBezTo>
                    <a:cubicBezTo>
                      <a:pt x="2954607" y="532519"/>
                      <a:pt x="2957856" y="534399"/>
                      <a:pt x="2961447" y="535425"/>
                    </a:cubicBezTo>
                    <a:cubicBezTo>
                      <a:pt x="2969084" y="536793"/>
                      <a:pt x="2976949" y="536793"/>
                      <a:pt x="2984586" y="535425"/>
                    </a:cubicBezTo>
                    <a:cubicBezTo>
                      <a:pt x="2995928" y="534451"/>
                      <a:pt x="3007384" y="536046"/>
                      <a:pt x="3018042" y="540099"/>
                    </a:cubicBezTo>
                    <a:cubicBezTo>
                      <a:pt x="3023742" y="542436"/>
                      <a:pt x="3029955" y="548990"/>
                      <a:pt x="3026079" y="553778"/>
                    </a:cubicBezTo>
                    <a:cubicBezTo>
                      <a:pt x="3024996" y="555088"/>
                      <a:pt x="3023343" y="555886"/>
                      <a:pt x="3022317" y="557197"/>
                    </a:cubicBezTo>
                    <a:cubicBezTo>
                      <a:pt x="3017815" y="562897"/>
                      <a:pt x="3026820" y="571332"/>
                      <a:pt x="3023685" y="577715"/>
                    </a:cubicBezTo>
                    <a:cubicBezTo>
                      <a:pt x="3029726" y="581819"/>
                      <a:pt x="3037535" y="572586"/>
                      <a:pt x="3044545" y="574695"/>
                    </a:cubicBezTo>
                    <a:cubicBezTo>
                      <a:pt x="3049732" y="576290"/>
                      <a:pt x="3051156" y="582902"/>
                      <a:pt x="3050928" y="588316"/>
                    </a:cubicBezTo>
                    <a:cubicBezTo>
                      <a:pt x="3050700" y="593731"/>
                      <a:pt x="3049846" y="599715"/>
                      <a:pt x="3053436" y="603876"/>
                    </a:cubicBezTo>
                    <a:cubicBezTo>
                      <a:pt x="3055545" y="607467"/>
                      <a:pt x="3061245" y="603876"/>
                      <a:pt x="3061814" y="599601"/>
                    </a:cubicBezTo>
                    <a:cubicBezTo>
                      <a:pt x="3062384" y="595327"/>
                      <a:pt x="3061016" y="590824"/>
                      <a:pt x="3063524" y="587461"/>
                    </a:cubicBezTo>
                    <a:cubicBezTo>
                      <a:pt x="3065063" y="585752"/>
                      <a:pt x="3067001" y="584526"/>
                      <a:pt x="3069223" y="583928"/>
                    </a:cubicBezTo>
                    <a:cubicBezTo>
                      <a:pt x="3093617" y="575760"/>
                      <a:pt x="3120405" y="579271"/>
                      <a:pt x="3141835" y="593446"/>
                    </a:cubicBezTo>
                    <a:cubicBezTo>
                      <a:pt x="3143602" y="594791"/>
                      <a:pt x="3145539" y="595954"/>
                      <a:pt x="3147535" y="596923"/>
                    </a:cubicBezTo>
                    <a:cubicBezTo>
                      <a:pt x="3150156" y="597840"/>
                      <a:pt x="3152892" y="598359"/>
                      <a:pt x="3155628" y="598461"/>
                    </a:cubicBezTo>
                    <a:cubicBezTo>
                      <a:pt x="3170219" y="599772"/>
                      <a:pt x="3186291" y="600684"/>
                      <a:pt x="3197918" y="591793"/>
                    </a:cubicBezTo>
                    <a:cubicBezTo>
                      <a:pt x="3200768" y="589570"/>
                      <a:pt x="3204643" y="586777"/>
                      <a:pt x="3207436" y="589057"/>
                    </a:cubicBezTo>
                    <a:cubicBezTo>
                      <a:pt x="3208633" y="590026"/>
                      <a:pt x="3209089" y="591679"/>
                      <a:pt x="3210229" y="592705"/>
                    </a:cubicBezTo>
                    <a:cubicBezTo>
                      <a:pt x="3211369" y="593731"/>
                      <a:pt x="3215301" y="593959"/>
                      <a:pt x="3217980" y="594301"/>
                    </a:cubicBezTo>
                    <a:cubicBezTo>
                      <a:pt x="3226358" y="595270"/>
                      <a:pt x="3230633" y="604959"/>
                      <a:pt x="3237985" y="609176"/>
                    </a:cubicBezTo>
                    <a:cubicBezTo>
                      <a:pt x="3242373" y="611251"/>
                      <a:pt x="3247218" y="612322"/>
                      <a:pt x="3252063" y="612311"/>
                    </a:cubicBezTo>
                    <a:cubicBezTo>
                      <a:pt x="3258731" y="612767"/>
                      <a:pt x="3266369" y="612710"/>
                      <a:pt x="3270700" y="607638"/>
                    </a:cubicBezTo>
                    <a:cubicBezTo>
                      <a:pt x="3272695" y="605210"/>
                      <a:pt x="3273607" y="602035"/>
                      <a:pt x="3273094" y="598917"/>
                    </a:cubicBezTo>
                    <a:cubicBezTo>
                      <a:pt x="3272068" y="592477"/>
                      <a:pt x="3265855" y="588544"/>
                      <a:pt x="3260783" y="584384"/>
                    </a:cubicBezTo>
                    <a:cubicBezTo>
                      <a:pt x="3257078" y="581329"/>
                      <a:pt x="3253772" y="577807"/>
                      <a:pt x="3250980" y="573897"/>
                    </a:cubicBezTo>
                    <a:cubicBezTo>
                      <a:pt x="3249327" y="564247"/>
                      <a:pt x="3255825" y="555088"/>
                      <a:pt x="3265456" y="553436"/>
                    </a:cubicBezTo>
                    <a:cubicBezTo>
                      <a:pt x="3266767" y="553208"/>
                      <a:pt x="3268135" y="553133"/>
                      <a:pt x="3269446" y="553208"/>
                    </a:cubicBezTo>
                    <a:cubicBezTo>
                      <a:pt x="3267451" y="558337"/>
                      <a:pt x="3273949" y="562612"/>
                      <a:pt x="3279249" y="564037"/>
                    </a:cubicBezTo>
                    <a:cubicBezTo>
                      <a:pt x="3284550" y="565461"/>
                      <a:pt x="3291389" y="568197"/>
                      <a:pt x="3290933" y="573669"/>
                    </a:cubicBezTo>
                    <a:cubicBezTo>
                      <a:pt x="3303700" y="577100"/>
                      <a:pt x="3316923" y="578502"/>
                      <a:pt x="3330145" y="577829"/>
                    </a:cubicBezTo>
                    <a:cubicBezTo>
                      <a:pt x="3349581" y="577066"/>
                      <a:pt x="3368674" y="572677"/>
                      <a:pt x="3386456" y="564892"/>
                    </a:cubicBezTo>
                    <a:cubicBezTo>
                      <a:pt x="3388223" y="567895"/>
                      <a:pt x="3389306" y="571241"/>
                      <a:pt x="3389648" y="574695"/>
                    </a:cubicBezTo>
                    <a:cubicBezTo>
                      <a:pt x="3404922" y="574643"/>
                      <a:pt x="3420083" y="577704"/>
                      <a:pt x="3434161" y="583700"/>
                    </a:cubicBezTo>
                    <a:cubicBezTo>
                      <a:pt x="3431938" y="588088"/>
                      <a:pt x="3437694" y="592078"/>
                      <a:pt x="3442311" y="593674"/>
                    </a:cubicBezTo>
                    <a:lnTo>
                      <a:pt x="3457700" y="599031"/>
                    </a:lnTo>
                    <a:cubicBezTo>
                      <a:pt x="3459637" y="599556"/>
                      <a:pt x="3461461" y="600445"/>
                      <a:pt x="3463057" y="601653"/>
                    </a:cubicBezTo>
                    <a:cubicBezTo>
                      <a:pt x="3465508" y="603762"/>
                      <a:pt x="3466477" y="607096"/>
                      <a:pt x="3465622" y="610202"/>
                    </a:cubicBezTo>
                    <a:cubicBezTo>
                      <a:pt x="3469099" y="610031"/>
                      <a:pt x="3472518" y="610738"/>
                      <a:pt x="3475653" y="612254"/>
                    </a:cubicBezTo>
                    <a:cubicBezTo>
                      <a:pt x="3478844" y="613918"/>
                      <a:pt x="3480269" y="617663"/>
                      <a:pt x="3479073" y="621031"/>
                    </a:cubicBezTo>
                    <a:cubicBezTo>
                      <a:pt x="3477249" y="618467"/>
                      <a:pt x="3473373" y="622969"/>
                      <a:pt x="3475026" y="625705"/>
                    </a:cubicBezTo>
                    <a:cubicBezTo>
                      <a:pt x="3476679" y="628441"/>
                      <a:pt x="3479699" y="630150"/>
                      <a:pt x="3480726" y="633114"/>
                    </a:cubicBezTo>
                    <a:cubicBezTo>
                      <a:pt x="3481751" y="636078"/>
                      <a:pt x="3480383" y="639384"/>
                      <a:pt x="3482435" y="641492"/>
                    </a:cubicBezTo>
                    <a:cubicBezTo>
                      <a:pt x="3484488" y="643601"/>
                      <a:pt x="3488135" y="642233"/>
                      <a:pt x="3491441" y="642974"/>
                    </a:cubicBezTo>
                    <a:cubicBezTo>
                      <a:pt x="3495601" y="644057"/>
                      <a:pt x="3497140" y="648959"/>
                      <a:pt x="3500617" y="651637"/>
                    </a:cubicBezTo>
                    <a:cubicBezTo>
                      <a:pt x="3502783" y="653142"/>
                      <a:pt x="3505233" y="654168"/>
                      <a:pt x="3507855" y="654658"/>
                    </a:cubicBezTo>
                    <a:cubicBezTo>
                      <a:pt x="3524497" y="658767"/>
                      <a:pt x="3541653" y="660682"/>
                      <a:pt x="3558808" y="660358"/>
                    </a:cubicBezTo>
                    <a:cubicBezTo>
                      <a:pt x="3562798" y="660358"/>
                      <a:pt x="3567529" y="660358"/>
                      <a:pt x="3569523" y="663948"/>
                    </a:cubicBezTo>
                    <a:cubicBezTo>
                      <a:pt x="3571518" y="667539"/>
                      <a:pt x="3571746" y="671301"/>
                      <a:pt x="3574710" y="670446"/>
                    </a:cubicBezTo>
                    <a:cubicBezTo>
                      <a:pt x="3574938" y="678801"/>
                      <a:pt x="3576249" y="687094"/>
                      <a:pt x="3578585" y="695124"/>
                    </a:cubicBezTo>
                    <a:cubicBezTo>
                      <a:pt x="3579440" y="699080"/>
                      <a:pt x="3581435" y="702699"/>
                      <a:pt x="3584285" y="705554"/>
                    </a:cubicBezTo>
                    <a:cubicBezTo>
                      <a:pt x="3589471" y="709749"/>
                      <a:pt x="3597109" y="708940"/>
                      <a:pt x="3601270" y="703748"/>
                    </a:cubicBezTo>
                    <a:cubicBezTo>
                      <a:pt x="3601327" y="703708"/>
                      <a:pt x="3601327" y="703662"/>
                      <a:pt x="3601383" y="703617"/>
                    </a:cubicBezTo>
                    <a:cubicBezTo>
                      <a:pt x="3602181" y="702648"/>
                      <a:pt x="3602580" y="701434"/>
                      <a:pt x="3602523" y="700197"/>
                    </a:cubicBezTo>
                    <a:cubicBezTo>
                      <a:pt x="3602523" y="697461"/>
                      <a:pt x="3598990" y="696378"/>
                      <a:pt x="3596824" y="694782"/>
                    </a:cubicBezTo>
                    <a:cubicBezTo>
                      <a:pt x="3592891" y="691870"/>
                      <a:pt x="3592037" y="686302"/>
                      <a:pt x="3594943" y="682352"/>
                    </a:cubicBezTo>
                    <a:cubicBezTo>
                      <a:pt x="3597849" y="678396"/>
                      <a:pt x="3603436" y="677553"/>
                      <a:pt x="3607368" y="680471"/>
                    </a:cubicBezTo>
                    <a:cubicBezTo>
                      <a:pt x="3608736" y="681468"/>
                      <a:pt x="3609762" y="682836"/>
                      <a:pt x="3610389" y="684409"/>
                    </a:cubicBezTo>
                    <a:cubicBezTo>
                      <a:pt x="3610730" y="686182"/>
                      <a:pt x="3611414" y="687869"/>
                      <a:pt x="3612440" y="689368"/>
                    </a:cubicBezTo>
                    <a:cubicBezTo>
                      <a:pt x="3614663" y="691705"/>
                      <a:pt x="3618140" y="690622"/>
                      <a:pt x="3621559" y="690793"/>
                    </a:cubicBezTo>
                    <a:cubicBezTo>
                      <a:pt x="3626119" y="691163"/>
                      <a:pt x="3629880" y="694366"/>
                      <a:pt x="3631021" y="698772"/>
                    </a:cubicBezTo>
                    <a:cubicBezTo>
                      <a:pt x="3644243" y="701012"/>
                      <a:pt x="3657124" y="704836"/>
                      <a:pt x="3669435" y="710171"/>
                    </a:cubicBezTo>
                    <a:cubicBezTo>
                      <a:pt x="3671943" y="711083"/>
                      <a:pt x="3674736" y="712451"/>
                      <a:pt x="3675135" y="715016"/>
                    </a:cubicBezTo>
                    <a:cubicBezTo>
                      <a:pt x="3675135" y="716041"/>
                      <a:pt x="3675135" y="717124"/>
                      <a:pt x="3675135" y="718207"/>
                    </a:cubicBezTo>
                    <a:cubicBezTo>
                      <a:pt x="3675533" y="720487"/>
                      <a:pt x="3677529" y="722083"/>
                      <a:pt x="3678839" y="723907"/>
                    </a:cubicBezTo>
                    <a:cubicBezTo>
                      <a:pt x="3681119" y="727868"/>
                      <a:pt x="3680777" y="732804"/>
                      <a:pt x="3678041" y="736446"/>
                    </a:cubicBezTo>
                    <a:close/>
                    <a:moveTo>
                      <a:pt x="1926194" y="1106569"/>
                    </a:moveTo>
                    <a:cubicBezTo>
                      <a:pt x="1926194" y="1098818"/>
                      <a:pt x="1923059" y="1089471"/>
                      <a:pt x="1915365" y="1088388"/>
                    </a:cubicBezTo>
                    <a:cubicBezTo>
                      <a:pt x="1906759" y="1087191"/>
                      <a:pt x="1901173" y="1097393"/>
                      <a:pt x="1899749" y="1105999"/>
                    </a:cubicBezTo>
                    <a:cubicBezTo>
                      <a:pt x="1898324" y="1114606"/>
                      <a:pt x="1897640" y="1124865"/>
                      <a:pt x="1890230" y="1129424"/>
                    </a:cubicBezTo>
                    <a:cubicBezTo>
                      <a:pt x="1887666" y="1130963"/>
                      <a:pt x="1884531" y="1131647"/>
                      <a:pt x="1882194" y="1133414"/>
                    </a:cubicBezTo>
                    <a:cubicBezTo>
                      <a:pt x="1879402" y="1136087"/>
                      <a:pt x="1877236" y="1139415"/>
                      <a:pt x="1876039" y="1143103"/>
                    </a:cubicBezTo>
                    <a:cubicBezTo>
                      <a:pt x="1866464" y="1164590"/>
                      <a:pt x="1848739" y="1181398"/>
                      <a:pt x="1826738" y="1189839"/>
                    </a:cubicBezTo>
                    <a:cubicBezTo>
                      <a:pt x="1828904" y="1197499"/>
                      <a:pt x="1825427" y="1205626"/>
                      <a:pt x="1818474" y="1209445"/>
                    </a:cubicBezTo>
                    <a:cubicBezTo>
                      <a:pt x="1814142" y="1211155"/>
                      <a:pt x="1809583" y="1212215"/>
                      <a:pt x="1804909" y="1212580"/>
                    </a:cubicBezTo>
                    <a:cubicBezTo>
                      <a:pt x="1800179" y="1212956"/>
                      <a:pt x="1795790" y="1215167"/>
                      <a:pt x="1792712" y="1218735"/>
                    </a:cubicBezTo>
                    <a:cubicBezTo>
                      <a:pt x="1790091" y="1222149"/>
                      <a:pt x="1790718" y="1227056"/>
                      <a:pt x="1794137" y="1229684"/>
                    </a:cubicBezTo>
                    <a:cubicBezTo>
                      <a:pt x="1794537" y="1229986"/>
                      <a:pt x="1794935" y="1230254"/>
                      <a:pt x="1795391" y="1230476"/>
                    </a:cubicBezTo>
                    <a:cubicBezTo>
                      <a:pt x="1797272" y="1230960"/>
                      <a:pt x="1799210" y="1230960"/>
                      <a:pt x="1801090" y="1230476"/>
                    </a:cubicBezTo>
                    <a:cubicBezTo>
                      <a:pt x="1815169" y="1227683"/>
                      <a:pt x="1829930" y="1224776"/>
                      <a:pt x="1840987" y="1215144"/>
                    </a:cubicBezTo>
                    <a:cubicBezTo>
                      <a:pt x="1849023" y="1208134"/>
                      <a:pt x="1854551" y="1198046"/>
                      <a:pt x="1864355" y="1193771"/>
                    </a:cubicBezTo>
                    <a:cubicBezTo>
                      <a:pt x="1867318" y="1192865"/>
                      <a:pt x="1870225" y="1191680"/>
                      <a:pt x="1872961" y="1190238"/>
                    </a:cubicBezTo>
                    <a:cubicBezTo>
                      <a:pt x="1875754" y="1188722"/>
                      <a:pt x="1877179" y="1185519"/>
                      <a:pt x="1876438" y="1182429"/>
                    </a:cubicBezTo>
                    <a:cubicBezTo>
                      <a:pt x="1883562" y="1181010"/>
                      <a:pt x="1890801" y="1180321"/>
                      <a:pt x="1898038" y="1180378"/>
                    </a:cubicBezTo>
                    <a:cubicBezTo>
                      <a:pt x="1902256" y="1154103"/>
                      <a:pt x="1925168" y="1133072"/>
                      <a:pt x="1926023" y="1106569"/>
                    </a:cubicBezTo>
                    <a:close/>
                    <a:moveTo>
                      <a:pt x="2986980" y="1186989"/>
                    </a:moveTo>
                    <a:cubicBezTo>
                      <a:pt x="2986239" y="1187730"/>
                      <a:pt x="2985784" y="1188585"/>
                      <a:pt x="2986353" y="1189440"/>
                    </a:cubicBezTo>
                    <a:cubicBezTo>
                      <a:pt x="2986980" y="1188784"/>
                      <a:pt x="2987151" y="1187827"/>
                      <a:pt x="2986809" y="1186989"/>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07" name="Freihandform: Form 601">
                <a:extLst>
                  <a:ext uri="{FF2B5EF4-FFF2-40B4-BE49-F238E27FC236}">
                    <a16:creationId xmlns:a16="http://schemas.microsoft.com/office/drawing/2014/main" id="{362D2BE8-F9DD-603E-0F1F-1B3095DBFA01}"/>
                  </a:ext>
                </a:extLst>
              </p:cNvPr>
              <p:cNvSpPr/>
              <p:nvPr/>
            </p:nvSpPr>
            <p:spPr>
              <a:xfrm>
                <a:off x="1911322" y="3698019"/>
                <a:ext cx="228274" cy="84303"/>
              </a:xfrm>
              <a:custGeom>
                <a:avLst/>
                <a:gdLst>
                  <a:gd name="connsiteX0" fmla="*/ 14306 w 228274"/>
                  <a:gd name="connsiteY0" fmla="*/ 25591 h 84303"/>
                  <a:gd name="connsiteX1" fmla="*/ 20005 w 228274"/>
                  <a:gd name="connsiteY1" fmla="*/ 17098 h 84303"/>
                  <a:gd name="connsiteX2" fmla="*/ 29409 w 228274"/>
                  <a:gd name="connsiteY2" fmla="*/ 11684 h 84303"/>
                  <a:gd name="connsiteX3" fmla="*/ 32715 w 228274"/>
                  <a:gd name="connsiteY3" fmla="*/ 5699 h 84303"/>
                  <a:gd name="connsiteX4" fmla="*/ 50383 w 228274"/>
                  <a:gd name="connsiteY4" fmla="*/ 0 h 84303"/>
                  <a:gd name="connsiteX5" fmla="*/ 74150 w 228274"/>
                  <a:gd name="connsiteY5" fmla="*/ 342 h 84303"/>
                  <a:gd name="connsiteX6" fmla="*/ 88627 w 228274"/>
                  <a:gd name="connsiteY6" fmla="*/ 3135 h 84303"/>
                  <a:gd name="connsiteX7" fmla="*/ 97005 w 228274"/>
                  <a:gd name="connsiteY7" fmla="*/ 8834 h 84303"/>
                  <a:gd name="connsiteX8" fmla="*/ 111881 w 228274"/>
                  <a:gd name="connsiteY8" fmla="*/ 11285 h 84303"/>
                  <a:gd name="connsiteX9" fmla="*/ 114730 w 228274"/>
                  <a:gd name="connsiteY9" fmla="*/ 16984 h 84303"/>
                  <a:gd name="connsiteX10" fmla="*/ 130347 w 228274"/>
                  <a:gd name="connsiteY10" fmla="*/ 22114 h 84303"/>
                  <a:gd name="connsiteX11" fmla="*/ 134337 w 228274"/>
                  <a:gd name="connsiteY11" fmla="*/ 26731 h 84303"/>
                  <a:gd name="connsiteX12" fmla="*/ 142601 w 228274"/>
                  <a:gd name="connsiteY12" fmla="*/ 28725 h 84303"/>
                  <a:gd name="connsiteX13" fmla="*/ 159699 w 228274"/>
                  <a:gd name="connsiteY13" fmla="*/ 41093 h 84303"/>
                  <a:gd name="connsiteX14" fmla="*/ 161523 w 228274"/>
                  <a:gd name="connsiteY14" fmla="*/ 46166 h 84303"/>
                  <a:gd name="connsiteX15" fmla="*/ 182725 w 228274"/>
                  <a:gd name="connsiteY15" fmla="*/ 51466 h 84303"/>
                  <a:gd name="connsiteX16" fmla="*/ 211222 w 228274"/>
                  <a:gd name="connsiteY16" fmla="*/ 55456 h 84303"/>
                  <a:gd name="connsiteX17" fmla="*/ 217207 w 228274"/>
                  <a:gd name="connsiteY17" fmla="*/ 63264 h 84303"/>
                  <a:gd name="connsiteX18" fmla="*/ 228264 w 228274"/>
                  <a:gd name="connsiteY18" fmla="*/ 72440 h 84303"/>
                  <a:gd name="connsiteX19" fmla="*/ 218917 w 228274"/>
                  <a:gd name="connsiteY19" fmla="*/ 79736 h 84303"/>
                  <a:gd name="connsiteX20" fmla="*/ 166368 w 228274"/>
                  <a:gd name="connsiteY20" fmla="*/ 84238 h 84303"/>
                  <a:gd name="connsiteX21" fmla="*/ 156907 w 228274"/>
                  <a:gd name="connsiteY21" fmla="*/ 81217 h 84303"/>
                  <a:gd name="connsiteX22" fmla="*/ 154684 w 228274"/>
                  <a:gd name="connsiteY22" fmla="*/ 65316 h 84303"/>
                  <a:gd name="connsiteX23" fmla="*/ 129207 w 228274"/>
                  <a:gd name="connsiteY23" fmla="*/ 53404 h 84303"/>
                  <a:gd name="connsiteX24" fmla="*/ 120886 w 228274"/>
                  <a:gd name="connsiteY24" fmla="*/ 40238 h 84303"/>
                  <a:gd name="connsiteX25" fmla="*/ 109487 w 228274"/>
                  <a:gd name="connsiteY25" fmla="*/ 35508 h 84303"/>
                  <a:gd name="connsiteX26" fmla="*/ 82072 w 228274"/>
                  <a:gd name="connsiteY26" fmla="*/ 34140 h 84303"/>
                  <a:gd name="connsiteX27" fmla="*/ 71129 w 228274"/>
                  <a:gd name="connsiteY27" fmla="*/ 33342 h 84303"/>
                  <a:gd name="connsiteX28" fmla="*/ 66376 w 228274"/>
                  <a:gd name="connsiteY28" fmla="*/ 24457 h 84303"/>
                  <a:gd name="connsiteX29" fmla="*/ 66627 w 228274"/>
                  <a:gd name="connsiteY29" fmla="*/ 23767 h 84303"/>
                  <a:gd name="connsiteX30" fmla="*/ 59731 w 228274"/>
                  <a:gd name="connsiteY30" fmla="*/ 20746 h 84303"/>
                  <a:gd name="connsiteX31" fmla="*/ 55627 w 228274"/>
                  <a:gd name="connsiteY31" fmla="*/ 13679 h 84303"/>
                  <a:gd name="connsiteX32" fmla="*/ 41891 w 228274"/>
                  <a:gd name="connsiteY32" fmla="*/ 10829 h 84303"/>
                  <a:gd name="connsiteX33" fmla="*/ 29466 w 228274"/>
                  <a:gd name="connsiteY33" fmla="*/ 18979 h 84303"/>
                  <a:gd name="connsiteX34" fmla="*/ 0 w 228274"/>
                  <a:gd name="connsiteY34" fmla="*/ 33342 h 84303"/>
                  <a:gd name="connsiteX35" fmla="*/ 0 w 228274"/>
                  <a:gd name="connsiteY35" fmla="*/ 28383 h 84303"/>
                  <a:gd name="connsiteX36" fmla="*/ 14306 w 228274"/>
                  <a:gd name="connsiteY36" fmla="*/ 25591 h 8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8274" h="84303">
                    <a:moveTo>
                      <a:pt x="14306" y="25591"/>
                    </a:moveTo>
                    <a:cubicBezTo>
                      <a:pt x="13337" y="22114"/>
                      <a:pt x="16528" y="18751"/>
                      <a:pt x="20005" y="17098"/>
                    </a:cubicBezTo>
                    <a:cubicBezTo>
                      <a:pt x="23488" y="15981"/>
                      <a:pt x="26696" y="14135"/>
                      <a:pt x="29409" y="11684"/>
                    </a:cubicBezTo>
                    <a:cubicBezTo>
                      <a:pt x="30834" y="9860"/>
                      <a:pt x="31404" y="7580"/>
                      <a:pt x="32715" y="5699"/>
                    </a:cubicBezTo>
                    <a:cubicBezTo>
                      <a:pt x="36363" y="342"/>
                      <a:pt x="44114" y="0"/>
                      <a:pt x="50383" y="0"/>
                    </a:cubicBezTo>
                    <a:lnTo>
                      <a:pt x="74150" y="342"/>
                    </a:lnTo>
                    <a:cubicBezTo>
                      <a:pt x="79137" y="-11"/>
                      <a:pt x="84130" y="952"/>
                      <a:pt x="88627" y="3135"/>
                    </a:cubicBezTo>
                    <a:cubicBezTo>
                      <a:pt x="91135" y="5420"/>
                      <a:pt x="93956" y="7341"/>
                      <a:pt x="97005" y="8834"/>
                    </a:cubicBezTo>
                    <a:cubicBezTo>
                      <a:pt x="101964" y="10316"/>
                      <a:pt x="108404" y="7295"/>
                      <a:pt x="111881" y="11285"/>
                    </a:cubicBezTo>
                    <a:cubicBezTo>
                      <a:pt x="113192" y="12881"/>
                      <a:pt x="113477" y="15047"/>
                      <a:pt x="114730" y="16984"/>
                    </a:cubicBezTo>
                    <a:cubicBezTo>
                      <a:pt x="118207" y="21373"/>
                      <a:pt x="126129" y="18409"/>
                      <a:pt x="130347" y="22114"/>
                    </a:cubicBezTo>
                    <a:cubicBezTo>
                      <a:pt x="131886" y="23425"/>
                      <a:pt x="132684" y="25477"/>
                      <a:pt x="134337" y="26731"/>
                    </a:cubicBezTo>
                    <a:cubicBezTo>
                      <a:pt x="136879" y="28081"/>
                      <a:pt x="139723" y="28765"/>
                      <a:pt x="142601" y="28725"/>
                    </a:cubicBezTo>
                    <a:cubicBezTo>
                      <a:pt x="149537" y="30789"/>
                      <a:pt x="155567" y="35149"/>
                      <a:pt x="159699" y="41093"/>
                    </a:cubicBezTo>
                    <a:cubicBezTo>
                      <a:pt x="160953" y="42518"/>
                      <a:pt x="162264" y="44399"/>
                      <a:pt x="161523" y="46166"/>
                    </a:cubicBezTo>
                    <a:cubicBezTo>
                      <a:pt x="167998" y="49779"/>
                      <a:pt x="175310" y="51609"/>
                      <a:pt x="182725" y="51466"/>
                    </a:cubicBezTo>
                    <a:cubicBezTo>
                      <a:pt x="192756" y="51466"/>
                      <a:pt x="204611" y="48104"/>
                      <a:pt x="211222" y="55456"/>
                    </a:cubicBezTo>
                    <a:cubicBezTo>
                      <a:pt x="213041" y="58186"/>
                      <a:pt x="215041" y="60796"/>
                      <a:pt x="217207" y="63264"/>
                    </a:cubicBezTo>
                    <a:cubicBezTo>
                      <a:pt x="221083" y="66456"/>
                      <a:pt x="227979" y="67425"/>
                      <a:pt x="228264" y="72440"/>
                    </a:cubicBezTo>
                    <a:cubicBezTo>
                      <a:pt x="228549" y="77456"/>
                      <a:pt x="223191" y="78938"/>
                      <a:pt x="218917" y="79736"/>
                    </a:cubicBezTo>
                    <a:cubicBezTo>
                      <a:pt x="201608" y="83087"/>
                      <a:pt x="183996" y="84597"/>
                      <a:pt x="166368" y="84238"/>
                    </a:cubicBezTo>
                    <a:cubicBezTo>
                      <a:pt x="162931" y="84592"/>
                      <a:pt x="159505" y="83497"/>
                      <a:pt x="156907" y="81217"/>
                    </a:cubicBezTo>
                    <a:cubicBezTo>
                      <a:pt x="153430" y="77000"/>
                      <a:pt x="156907" y="70389"/>
                      <a:pt x="154684" y="65316"/>
                    </a:cubicBezTo>
                    <a:cubicBezTo>
                      <a:pt x="151150" y="56254"/>
                      <a:pt x="136331" y="60015"/>
                      <a:pt x="129207" y="53404"/>
                    </a:cubicBezTo>
                    <a:cubicBezTo>
                      <a:pt x="125388" y="49870"/>
                      <a:pt x="124591" y="43943"/>
                      <a:pt x="120886" y="40238"/>
                    </a:cubicBezTo>
                    <a:cubicBezTo>
                      <a:pt x="117671" y="37514"/>
                      <a:pt x="113687" y="35861"/>
                      <a:pt x="109487" y="35508"/>
                    </a:cubicBezTo>
                    <a:cubicBezTo>
                      <a:pt x="100442" y="33912"/>
                      <a:pt x="91231" y="33456"/>
                      <a:pt x="82072" y="34140"/>
                    </a:cubicBezTo>
                    <a:cubicBezTo>
                      <a:pt x="78413" y="34710"/>
                      <a:pt x="74669" y="34436"/>
                      <a:pt x="71129" y="33342"/>
                    </a:cubicBezTo>
                    <a:cubicBezTo>
                      <a:pt x="67362" y="32202"/>
                      <a:pt x="65236" y="28224"/>
                      <a:pt x="66376" y="24457"/>
                    </a:cubicBezTo>
                    <a:cubicBezTo>
                      <a:pt x="66450" y="24223"/>
                      <a:pt x="66530" y="23995"/>
                      <a:pt x="66627" y="23767"/>
                    </a:cubicBezTo>
                    <a:cubicBezTo>
                      <a:pt x="63908" y="24468"/>
                      <a:pt x="61059" y="23220"/>
                      <a:pt x="59731" y="20746"/>
                    </a:cubicBezTo>
                    <a:cubicBezTo>
                      <a:pt x="58192" y="18523"/>
                      <a:pt x="57394" y="15788"/>
                      <a:pt x="55627" y="13679"/>
                    </a:cubicBezTo>
                    <a:cubicBezTo>
                      <a:pt x="52019" y="10088"/>
                      <a:pt x="46627" y="8971"/>
                      <a:pt x="41891" y="10829"/>
                    </a:cubicBezTo>
                    <a:cubicBezTo>
                      <a:pt x="37240" y="12676"/>
                      <a:pt x="33011" y="15451"/>
                      <a:pt x="29466" y="18979"/>
                    </a:cubicBezTo>
                    <a:cubicBezTo>
                      <a:pt x="25044" y="30857"/>
                      <a:pt x="12083" y="37178"/>
                      <a:pt x="0" y="33342"/>
                    </a:cubicBezTo>
                    <a:lnTo>
                      <a:pt x="0" y="28383"/>
                    </a:lnTo>
                    <a:cubicBezTo>
                      <a:pt x="4354" y="25967"/>
                      <a:pt x="9364" y="24987"/>
                      <a:pt x="14306" y="2559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08" name="Freihandform: Form 602">
                <a:extLst>
                  <a:ext uri="{FF2B5EF4-FFF2-40B4-BE49-F238E27FC236}">
                    <a16:creationId xmlns:a16="http://schemas.microsoft.com/office/drawing/2014/main" id="{8055939B-FEBC-8983-3D6B-FCFB032ACD86}"/>
                  </a:ext>
                </a:extLst>
              </p:cNvPr>
              <p:cNvSpPr/>
              <p:nvPr/>
            </p:nvSpPr>
            <p:spPr>
              <a:xfrm>
                <a:off x="2048285" y="3650543"/>
                <a:ext cx="17158" cy="33478"/>
              </a:xfrm>
              <a:custGeom>
                <a:avLst/>
                <a:gdLst>
                  <a:gd name="connsiteX0" fmla="*/ 10995 w 17158"/>
                  <a:gd name="connsiteY0" fmla="*/ 4218 h 33478"/>
                  <a:gd name="connsiteX1" fmla="*/ 11793 w 17158"/>
                  <a:gd name="connsiteY1" fmla="*/ 7352 h 33478"/>
                  <a:gd name="connsiteX2" fmla="*/ 15269 w 17158"/>
                  <a:gd name="connsiteY2" fmla="*/ 15161 h 33478"/>
                  <a:gd name="connsiteX3" fmla="*/ 14927 w 17158"/>
                  <a:gd name="connsiteY3" fmla="*/ 33342 h 33478"/>
                  <a:gd name="connsiteX4" fmla="*/ 10254 w 17158"/>
                  <a:gd name="connsiteY4" fmla="*/ 31005 h 33478"/>
                  <a:gd name="connsiteX5" fmla="*/ 9684 w 17158"/>
                  <a:gd name="connsiteY5" fmla="*/ 28554 h 33478"/>
                  <a:gd name="connsiteX6" fmla="*/ 2902 w 17158"/>
                  <a:gd name="connsiteY6" fmla="*/ 20575 h 33478"/>
                  <a:gd name="connsiteX7" fmla="*/ 1990 w 17158"/>
                  <a:gd name="connsiteY7" fmla="*/ 0 h 33478"/>
                  <a:gd name="connsiteX8" fmla="*/ 9741 w 17158"/>
                  <a:gd name="connsiteY8" fmla="*/ 2793 h 33478"/>
                  <a:gd name="connsiteX9" fmla="*/ 10995 w 17158"/>
                  <a:gd name="connsiteY9" fmla="*/ 4218 h 33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58" h="33478">
                    <a:moveTo>
                      <a:pt x="10995" y="4218"/>
                    </a:moveTo>
                    <a:cubicBezTo>
                      <a:pt x="11434" y="5209"/>
                      <a:pt x="11702" y="6269"/>
                      <a:pt x="11793" y="7352"/>
                    </a:cubicBezTo>
                    <a:cubicBezTo>
                      <a:pt x="12631" y="10088"/>
                      <a:pt x="13799" y="12710"/>
                      <a:pt x="15269" y="15161"/>
                    </a:cubicBezTo>
                    <a:cubicBezTo>
                      <a:pt x="17902" y="20963"/>
                      <a:pt x="17777" y="27642"/>
                      <a:pt x="14927" y="33342"/>
                    </a:cubicBezTo>
                    <a:cubicBezTo>
                      <a:pt x="13001" y="33861"/>
                      <a:pt x="10995" y="32858"/>
                      <a:pt x="10254" y="31005"/>
                    </a:cubicBezTo>
                    <a:cubicBezTo>
                      <a:pt x="9969" y="30264"/>
                      <a:pt x="9912" y="29352"/>
                      <a:pt x="9684" y="28554"/>
                    </a:cubicBezTo>
                    <a:cubicBezTo>
                      <a:pt x="8829" y="25135"/>
                      <a:pt x="5181" y="23311"/>
                      <a:pt x="2902" y="20575"/>
                    </a:cubicBezTo>
                    <a:cubicBezTo>
                      <a:pt x="-1658" y="14876"/>
                      <a:pt x="52" y="6896"/>
                      <a:pt x="1990" y="0"/>
                    </a:cubicBezTo>
                    <a:cubicBezTo>
                      <a:pt x="4805" y="86"/>
                      <a:pt x="7518" y="1066"/>
                      <a:pt x="9741" y="2793"/>
                    </a:cubicBezTo>
                    <a:cubicBezTo>
                      <a:pt x="10248" y="3186"/>
                      <a:pt x="10670" y="3665"/>
                      <a:pt x="10995" y="42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09" name="Freihandform: Form 603">
                <a:extLst>
                  <a:ext uri="{FF2B5EF4-FFF2-40B4-BE49-F238E27FC236}">
                    <a16:creationId xmlns:a16="http://schemas.microsoft.com/office/drawing/2014/main" id="{FB80E527-4E09-167C-59DF-1A273C67FD25}"/>
                  </a:ext>
                </a:extLst>
              </p:cNvPr>
              <p:cNvSpPr/>
              <p:nvPr/>
            </p:nvSpPr>
            <p:spPr>
              <a:xfrm>
                <a:off x="2047679" y="3812827"/>
                <a:ext cx="34556" cy="16662"/>
              </a:xfrm>
              <a:custGeom>
                <a:avLst/>
                <a:gdLst>
                  <a:gd name="connsiteX0" fmla="*/ 32176 w 34556"/>
                  <a:gd name="connsiteY0" fmla="*/ 13145 h 16662"/>
                  <a:gd name="connsiteX1" fmla="*/ 27901 w 34556"/>
                  <a:gd name="connsiteY1" fmla="*/ 15425 h 16662"/>
                  <a:gd name="connsiteX2" fmla="*/ 772 w 34556"/>
                  <a:gd name="connsiteY2" fmla="*/ 10011 h 16662"/>
                  <a:gd name="connsiteX3" fmla="*/ 2995 w 34556"/>
                  <a:gd name="connsiteY3" fmla="*/ 1290 h 16662"/>
                  <a:gd name="connsiteX4" fmla="*/ 9663 w 34556"/>
                  <a:gd name="connsiteY4" fmla="*/ 36 h 16662"/>
                  <a:gd name="connsiteX5" fmla="*/ 28015 w 34556"/>
                  <a:gd name="connsiteY5" fmla="*/ 36 h 16662"/>
                  <a:gd name="connsiteX6" fmla="*/ 34057 w 34556"/>
                  <a:gd name="connsiteY6" fmla="*/ 2259 h 16662"/>
                  <a:gd name="connsiteX7" fmla="*/ 34513 w 34556"/>
                  <a:gd name="connsiteY7" fmla="*/ 5166 h 16662"/>
                  <a:gd name="connsiteX8" fmla="*/ 32176 w 34556"/>
                  <a:gd name="connsiteY8" fmla="*/ 13145 h 1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56" h="16662">
                    <a:moveTo>
                      <a:pt x="32176" y="13145"/>
                    </a:moveTo>
                    <a:cubicBezTo>
                      <a:pt x="30945" y="14222"/>
                      <a:pt x="29480" y="15003"/>
                      <a:pt x="27901" y="15425"/>
                    </a:cubicBezTo>
                    <a:cubicBezTo>
                      <a:pt x="18520" y="18229"/>
                      <a:pt x="8358" y="16200"/>
                      <a:pt x="772" y="10011"/>
                    </a:cubicBezTo>
                    <a:cubicBezTo>
                      <a:pt x="-830" y="6961"/>
                      <a:pt x="133" y="3200"/>
                      <a:pt x="2995" y="1290"/>
                    </a:cubicBezTo>
                    <a:cubicBezTo>
                      <a:pt x="5069" y="299"/>
                      <a:pt x="7366" y="-135"/>
                      <a:pt x="9663" y="36"/>
                    </a:cubicBezTo>
                    <a:lnTo>
                      <a:pt x="28015" y="36"/>
                    </a:lnTo>
                    <a:cubicBezTo>
                      <a:pt x="30295" y="36"/>
                      <a:pt x="33031" y="36"/>
                      <a:pt x="34057" y="2259"/>
                    </a:cubicBezTo>
                    <a:cubicBezTo>
                      <a:pt x="34461" y="3171"/>
                      <a:pt x="34615" y="4174"/>
                      <a:pt x="34513" y="5166"/>
                    </a:cubicBezTo>
                    <a:cubicBezTo>
                      <a:pt x="34763" y="8027"/>
                      <a:pt x="33931" y="10877"/>
                      <a:pt x="32176" y="13145"/>
                    </a:cubicBezTo>
                    <a:close/>
                  </a:path>
                </a:pathLst>
              </a:custGeom>
              <a:solidFill>
                <a:schemeClr val="accent5"/>
              </a:solidFill>
              <a:ln w="3175" cap="flat">
                <a:solidFill>
                  <a:schemeClr val="accent2"/>
                </a:solidFill>
                <a:prstDash val="solid"/>
                <a:miter/>
              </a:ln>
            </p:spPr>
            <p:txBody>
              <a:bodyPr rtlCol="0" anchor="ctr"/>
              <a:lstStyle/>
              <a:p>
                <a:endParaRPr lang="en-US"/>
              </a:p>
            </p:txBody>
          </p:sp>
          <p:sp>
            <p:nvSpPr>
              <p:cNvPr id="810" name="Freihandform: Form 604">
                <a:extLst>
                  <a:ext uri="{FF2B5EF4-FFF2-40B4-BE49-F238E27FC236}">
                    <a16:creationId xmlns:a16="http://schemas.microsoft.com/office/drawing/2014/main" id="{F4587F40-CBC7-71BE-A967-D2529BCB0876}"/>
                  </a:ext>
                </a:extLst>
              </p:cNvPr>
              <p:cNvSpPr/>
              <p:nvPr/>
            </p:nvSpPr>
            <p:spPr>
              <a:xfrm>
                <a:off x="2291921" y="3809559"/>
                <a:ext cx="41759" cy="20219"/>
              </a:xfrm>
              <a:custGeom>
                <a:avLst/>
                <a:gdLst>
                  <a:gd name="connsiteX0" fmla="*/ 3204 w 41759"/>
                  <a:gd name="connsiteY0" fmla="*/ 2335 h 20219"/>
                  <a:gd name="connsiteX1" fmla="*/ 16313 w 41759"/>
                  <a:gd name="connsiteY1" fmla="*/ 968 h 20219"/>
                  <a:gd name="connsiteX2" fmla="*/ 35121 w 41759"/>
                  <a:gd name="connsiteY2" fmla="*/ 5413 h 20219"/>
                  <a:gd name="connsiteX3" fmla="*/ 41732 w 41759"/>
                  <a:gd name="connsiteY3" fmla="*/ 10258 h 20219"/>
                  <a:gd name="connsiteX4" fmla="*/ 37401 w 41759"/>
                  <a:gd name="connsiteY4" fmla="*/ 19434 h 20219"/>
                  <a:gd name="connsiteX5" fmla="*/ 26002 w 41759"/>
                  <a:gd name="connsiteY5" fmla="*/ 17496 h 20219"/>
                  <a:gd name="connsiteX6" fmla="*/ 17794 w 41759"/>
                  <a:gd name="connsiteY6" fmla="*/ 11284 h 20219"/>
                  <a:gd name="connsiteX7" fmla="*/ 12437 w 41759"/>
                  <a:gd name="connsiteY7" fmla="*/ 14931 h 20219"/>
                  <a:gd name="connsiteX8" fmla="*/ 10955 w 41759"/>
                  <a:gd name="connsiteY8" fmla="*/ 19320 h 20219"/>
                  <a:gd name="connsiteX9" fmla="*/ 1494 w 41759"/>
                  <a:gd name="connsiteY9" fmla="*/ 16869 h 20219"/>
                  <a:gd name="connsiteX10" fmla="*/ 867 w 41759"/>
                  <a:gd name="connsiteY10" fmla="*/ 6325 h 20219"/>
                  <a:gd name="connsiteX11" fmla="*/ 3204 w 41759"/>
                  <a:gd name="connsiteY11" fmla="*/ 2335 h 2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59" h="20219">
                    <a:moveTo>
                      <a:pt x="3204" y="2335"/>
                    </a:moveTo>
                    <a:cubicBezTo>
                      <a:pt x="6396" y="-970"/>
                      <a:pt x="11867" y="-115"/>
                      <a:pt x="16313" y="968"/>
                    </a:cubicBezTo>
                    <a:lnTo>
                      <a:pt x="35121" y="5413"/>
                    </a:lnTo>
                    <a:cubicBezTo>
                      <a:pt x="37971" y="6097"/>
                      <a:pt x="41333" y="7351"/>
                      <a:pt x="41732" y="10258"/>
                    </a:cubicBezTo>
                    <a:cubicBezTo>
                      <a:pt x="42131" y="13164"/>
                      <a:pt x="38028" y="15957"/>
                      <a:pt x="37401" y="19434"/>
                    </a:cubicBezTo>
                    <a:cubicBezTo>
                      <a:pt x="33525" y="20847"/>
                      <a:pt x="29193" y="20106"/>
                      <a:pt x="26002" y="17496"/>
                    </a:cubicBezTo>
                    <a:cubicBezTo>
                      <a:pt x="23266" y="15273"/>
                      <a:pt x="21271" y="11796"/>
                      <a:pt x="17794" y="11284"/>
                    </a:cubicBezTo>
                    <a:cubicBezTo>
                      <a:pt x="15355" y="11027"/>
                      <a:pt x="13093" y="12572"/>
                      <a:pt x="12437" y="14931"/>
                    </a:cubicBezTo>
                    <a:cubicBezTo>
                      <a:pt x="11924" y="16413"/>
                      <a:pt x="11411" y="17838"/>
                      <a:pt x="10955" y="19320"/>
                    </a:cubicBezTo>
                    <a:cubicBezTo>
                      <a:pt x="7655" y="21166"/>
                      <a:pt x="3483" y="20084"/>
                      <a:pt x="1494" y="16869"/>
                    </a:cubicBezTo>
                    <a:cubicBezTo>
                      <a:pt x="-250" y="13615"/>
                      <a:pt x="-478" y="9762"/>
                      <a:pt x="867" y="6325"/>
                    </a:cubicBezTo>
                    <a:cubicBezTo>
                      <a:pt x="1334" y="4837"/>
                      <a:pt x="2132" y="3470"/>
                      <a:pt x="3204" y="2335"/>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11" name="Freihandform: Form 605">
                <a:extLst>
                  <a:ext uri="{FF2B5EF4-FFF2-40B4-BE49-F238E27FC236}">
                    <a16:creationId xmlns:a16="http://schemas.microsoft.com/office/drawing/2014/main" id="{49A57967-2841-BF75-4AA2-F77C3232D39C}"/>
                  </a:ext>
                </a:extLst>
              </p:cNvPr>
              <p:cNvSpPr/>
              <p:nvPr/>
            </p:nvSpPr>
            <p:spPr>
              <a:xfrm>
                <a:off x="2171066" y="1555992"/>
                <a:ext cx="1331530" cy="1077251"/>
              </a:xfrm>
              <a:custGeom>
                <a:avLst/>
                <a:gdLst>
                  <a:gd name="connsiteX0" fmla="*/ 36572 w 1331530"/>
                  <a:gd name="connsiteY0" fmla="*/ 361911 h 1077251"/>
                  <a:gd name="connsiteX1" fmla="*/ 52416 w 1331530"/>
                  <a:gd name="connsiteY1" fmla="*/ 352621 h 1077251"/>
                  <a:gd name="connsiteX2" fmla="*/ 72137 w 1331530"/>
                  <a:gd name="connsiteY2" fmla="*/ 354672 h 1077251"/>
                  <a:gd name="connsiteX3" fmla="*/ 108784 w 1331530"/>
                  <a:gd name="connsiteY3" fmla="*/ 345895 h 1077251"/>
                  <a:gd name="connsiteX4" fmla="*/ 126680 w 1331530"/>
                  <a:gd name="connsiteY4" fmla="*/ 353361 h 1077251"/>
                  <a:gd name="connsiteX5" fmla="*/ 144577 w 1331530"/>
                  <a:gd name="connsiteY5" fmla="*/ 350512 h 1077251"/>
                  <a:gd name="connsiteX6" fmla="*/ 139333 w 1331530"/>
                  <a:gd name="connsiteY6" fmla="*/ 343102 h 1077251"/>
                  <a:gd name="connsiteX7" fmla="*/ 145489 w 1331530"/>
                  <a:gd name="connsiteY7" fmla="*/ 338999 h 1077251"/>
                  <a:gd name="connsiteX8" fmla="*/ 116022 w 1331530"/>
                  <a:gd name="connsiteY8" fmla="*/ 323211 h 1077251"/>
                  <a:gd name="connsiteX9" fmla="*/ 102629 w 1331530"/>
                  <a:gd name="connsiteY9" fmla="*/ 331020 h 1077251"/>
                  <a:gd name="connsiteX10" fmla="*/ 59655 w 1331530"/>
                  <a:gd name="connsiteY10" fmla="*/ 326859 h 1077251"/>
                  <a:gd name="connsiteX11" fmla="*/ 665 w 1331530"/>
                  <a:gd name="connsiteY11" fmla="*/ 309475 h 1077251"/>
                  <a:gd name="connsiteX12" fmla="*/ 14173 w 1331530"/>
                  <a:gd name="connsiteY12" fmla="*/ 287647 h 1077251"/>
                  <a:gd name="connsiteX13" fmla="*/ 41701 w 1331530"/>
                  <a:gd name="connsiteY13" fmla="*/ 281206 h 1077251"/>
                  <a:gd name="connsiteX14" fmla="*/ 77722 w 1331530"/>
                  <a:gd name="connsiteY14" fmla="*/ 261657 h 1077251"/>
                  <a:gd name="connsiteX15" fmla="*/ 146116 w 1331530"/>
                  <a:gd name="connsiteY15" fmla="*/ 258123 h 1077251"/>
                  <a:gd name="connsiteX16" fmla="*/ 158313 w 1331530"/>
                  <a:gd name="connsiteY16" fmla="*/ 255046 h 1077251"/>
                  <a:gd name="connsiteX17" fmla="*/ 160478 w 1331530"/>
                  <a:gd name="connsiteY17" fmla="*/ 241253 h 1077251"/>
                  <a:gd name="connsiteX18" fmla="*/ 171250 w 1331530"/>
                  <a:gd name="connsiteY18" fmla="*/ 223413 h 1077251"/>
                  <a:gd name="connsiteX19" fmla="*/ 172333 w 1331530"/>
                  <a:gd name="connsiteY19" fmla="*/ 204263 h 1077251"/>
                  <a:gd name="connsiteX20" fmla="*/ 160934 w 1331530"/>
                  <a:gd name="connsiteY20" fmla="*/ 201357 h 1077251"/>
                  <a:gd name="connsiteX21" fmla="*/ 121038 w 1331530"/>
                  <a:gd name="connsiteY21" fmla="*/ 200901 h 1077251"/>
                  <a:gd name="connsiteX22" fmla="*/ 117162 w 1331530"/>
                  <a:gd name="connsiteY22" fmla="*/ 192180 h 1077251"/>
                  <a:gd name="connsiteX23" fmla="*/ 140302 w 1331530"/>
                  <a:gd name="connsiteY23" fmla="*/ 178616 h 1077251"/>
                  <a:gd name="connsiteX24" fmla="*/ 146914 w 1331530"/>
                  <a:gd name="connsiteY24" fmla="*/ 172916 h 1077251"/>
                  <a:gd name="connsiteX25" fmla="*/ 157173 w 1331530"/>
                  <a:gd name="connsiteY25" fmla="*/ 166590 h 1077251"/>
                  <a:gd name="connsiteX26" fmla="*/ 183447 w 1331530"/>
                  <a:gd name="connsiteY26" fmla="*/ 152227 h 1077251"/>
                  <a:gd name="connsiteX27" fmla="*/ 213199 w 1331530"/>
                  <a:gd name="connsiteY27" fmla="*/ 139688 h 1077251"/>
                  <a:gd name="connsiteX28" fmla="*/ 243748 w 1331530"/>
                  <a:gd name="connsiteY28" fmla="*/ 146414 h 1077251"/>
                  <a:gd name="connsiteX29" fmla="*/ 252069 w 1331530"/>
                  <a:gd name="connsiteY29" fmla="*/ 152113 h 1077251"/>
                  <a:gd name="connsiteX30" fmla="*/ 262556 w 1331530"/>
                  <a:gd name="connsiteY30" fmla="*/ 135471 h 1077251"/>
                  <a:gd name="connsiteX31" fmla="*/ 248592 w 1331530"/>
                  <a:gd name="connsiteY31" fmla="*/ 108911 h 1077251"/>
                  <a:gd name="connsiteX32" fmla="*/ 297950 w 1331530"/>
                  <a:gd name="connsiteY32" fmla="*/ 102357 h 1077251"/>
                  <a:gd name="connsiteX33" fmla="*/ 320748 w 1331530"/>
                  <a:gd name="connsiteY33" fmla="*/ 116263 h 1077251"/>
                  <a:gd name="connsiteX34" fmla="*/ 309349 w 1331530"/>
                  <a:gd name="connsiteY34" fmla="*/ 91585 h 1077251"/>
                  <a:gd name="connsiteX35" fmla="*/ 388229 w 1331530"/>
                  <a:gd name="connsiteY35" fmla="*/ 74885 h 1077251"/>
                  <a:gd name="connsiteX36" fmla="*/ 411369 w 1331530"/>
                  <a:gd name="connsiteY36" fmla="*/ 75569 h 1077251"/>
                  <a:gd name="connsiteX37" fmla="*/ 416214 w 1331530"/>
                  <a:gd name="connsiteY37" fmla="*/ 114326 h 1077251"/>
                  <a:gd name="connsiteX38" fmla="*/ 414105 w 1331530"/>
                  <a:gd name="connsiteY38" fmla="*/ 121792 h 1077251"/>
                  <a:gd name="connsiteX39" fmla="*/ 432172 w 1331530"/>
                  <a:gd name="connsiteY39" fmla="*/ 125497 h 1077251"/>
                  <a:gd name="connsiteX40" fmla="*/ 437473 w 1331530"/>
                  <a:gd name="connsiteY40" fmla="*/ 103326 h 1077251"/>
                  <a:gd name="connsiteX41" fmla="*/ 437017 w 1331530"/>
                  <a:gd name="connsiteY41" fmla="*/ 83092 h 1077251"/>
                  <a:gd name="connsiteX42" fmla="*/ 442146 w 1331530"/>
                  <a:gd name="connsiteY42" fmla="*/ 72491 h 1077251"/>
                  <a:gd name="connsiteX43" fmla="*/ 448701 w 1331530"/>
                  <a:gd name="connsiteY43" fmla="*/ 75398 h 1077251"/>
                  <a:gd name="connsiteX44" fmla="*/ 476913 w 1331530"/>
                  <a:gd name="connsiteY44" fmla="*/ 97170 h 1077251"/>
                  <a:gd name="connsiteX45" fmla="*/ 511110 w 1331530"/>
                  <a:gd name="connsiteY45" fmla="*/ 101103 h 1077251"/>
                  <a:gd name="connsiteX46" fmla="*/ 505752 w 1331530"/>
                  <a:gd name="connsiteY46" fmla="*/ 89704 h 1077251"/>
                  <a:gd name="connsiteX47" fmla="*/ 481416 w 1331530"/>
                  <a:gd name="connsiteY47" fmla="*/ 68388 h 1077251"/>
                  <a:gd name="connsiteX48" fmla="*/ 527012 w 1331530"/>
                  <a:gd name="connsiteY48" fmla="*/ 68958 h 1077251"/>
                  <a:gd name="connsiteX49" fmla="*/ 570612 w 1331530"/>
                  <a:gd name="connsiteY49" fmla="*/ 91186 h 1077251"/>
                  <a:gd name="connsiteX50" fmla="*/ 583721 w 1331530"/>
                  <a:gd name="connsiteY50" fmla="*/ 93636 h 1077251"/>
                  <a:gd name="connsiteX51" fmla="*/ 593410 w 1331530"/>
                  <a:gd name="connsiteY51" fmla="*/ 100647 h 1077251"/>
                  <a:gd name="connsiteX52" fmla="*/ 628861 w 1331530"/>
                  <a:gd name="connsiteY52" fmla="*/ 119683 h 1077251"/>
                  <a:gd name="connsiteX53" fmla="*/ 619856 w 1331530"/>
                  <a:gd name="connsiteY53" fmla="*/ 98196 h 1077251"/>
                  <a:gd name="connsiteX54" fmla="*/ 577053 w 1331530"/>
                  <a:gd name="connsiteY54" fmla="*/ 77165 h 1077251"/>
                  <a:gd name="connsiteX55" fmla="*/ 568903 w 1331530"/>
                  <a:gd name="connsiteY55" fmla="*/ 71466 h 1077251"/>
                  <a:gd name="connsiteX56" fmla="*/ 579903 w 1331530"/>
                  <a:gd name="connsiteY56" fmla="*/ 59554 h 1077251"/>
                  <a:gd name="connsiteX57" fmla="*/ 598996 w 1331530"/>
                  <a:gd name="connsiteY57" fmla="*/ 61548 h 1077251"/>
                  <a:gd name="connsiteX58" fmla="*/ 604296 w 1331530"/>
                  <a:gd name="connsiteY58" fmla="*/ 59155 h 1077251"/>
                  <a:gd name="connsiteX59" fmla="*/ 593296 w 1331530"/>
                  <a:gd name="connsiteY59" fmla="*/ 45704 h 1077251"/>
                  <a:gd name="connsiteX60" fmla="*/ 580131 w 1331530"/>
                  <a:gd name="connsiteY60" fmla="*/ 33222 h 1077251"/>
                  <a:gd name="connsiteX61" fmla="*/ 637125 w 1331530"/>
                  <a:gd name="connsiteY61" fmla="*/ 30429 h 1077251"/>
                  <a:gd name="connsiteX62" fmla="*/ 696514 w 1331530"/>
                  <a:gd name="connsiteY62" fmla="*/ 26041 h 1077251"/>
                  <a:gd name="connsiteX63" fmla="*/ 727006 w 1331530"/>
                  <a:gd name="connsiteY63" fmla="*/ 18688 h 1077251"/>
                  <a:gd name="connsiteX64" fmla="*/ 744104 w 1331530"/>
                  <a:gd name="connsiteY64" fmla="*/ 38580 h 1077251"/>
                  <a:gd name="connsiteX65" fmla="*/ 758068 w 1331530"/>
                  <a:gd name="connsiteY65" fmla="*/ 41030 h 1077251"/>
                  <a:gd name="connsiteX66" fmla="*/ 763768 w 1331530"/>
                  <a:gd name="connsiteY66" fmla="*/ 22336 h 1077251"/>
                  <a:gd name="connsiteX67" fmla="*/ 761545 w 1331530"/>
                  <a:gd name="connsiteY67" fmla="*/ 15554 h 1077251"/>
                  <a:gd name="connsiteX68" fmla="*/ 772146 w 1331530"/>
                  <a:gd name="connsiteY68" fmla="*/ 8828 h 1077251"/>
                  <a:gd name="connsiteX69" fmla="*/ 883742 w 1331530"/>
                  <a:gd name="connsiteY69" fmla="*/ 336 h 1077251"/>
                  <a:gd name="connsiteX70" fmla="*/ 956353 w 1331530"/>
                  <a:gd name="connsiteY70" fmla="*/ 6036 h 1077251"/>
                  <a:gd name="connsiteX71" fmla="*/ 980975 w 1331530"/>
                  <a:gd name="connsiteY71" fmla="*/ 13046 h 1077251"/>
                  <a:gd name="connsiteX72" fmla="*/ 1025487 w 1331530"/>
                  <a:gd name="connsiteY72" fmla="*/ 18118 h 1077251"/>
                  <a:gd name="connsiteX73" fmla="*/ 1054783 w 1331530"/>
                  <a:gd name="connsiteY73" fmla="*/ 27466 h 1077251"/>
                  <a:gd name="connsiteX74" fmla="*/ 1058202 w 1331530"/>
                  <a:gd name="connsiteY74" fmla="*/ 43709 h 1077251"/>
                  <a:gd name="connsiteX75" fmla="*/ 1120555 w 1331530"/>
                  <a:gd name="connsiteY75" fmla="*/ 48041 h 1077251"/>
                  <a:gd name="connsiteX76" fmla="*/ 1128819 w 1331530"/>
                  <a:gd name="connsiteY76" fmla="*/ 58642 h 1077251"/>
                  <a:gd name="connsiteX77" fmla="*/ 1074845 w 1331530"/>
                  <a:gd name="connsiteY77" fmla="*/ 71978 h 1077251"/>
                  <a:gd name="connsiteX78" fmla="*/ 1061337 w 1331530"/>
                  <a:gd name="connsiteY78" fmla="*/ 74885 h 1077251"/>
                  <a:gd name="connsiteX79" fmla="*/ 1045265 w 1331530"/>
                  <a:gd name="connsiteY79" fmla="*/ 76139 h 1077251"/>
                  <a:gd name="connsiteX80" fmla="*/ 962166 w 1331530"/>
                  <a:gd name="connsiteY80" fmla="*/ 79388 h 1077251"/>
                  <a:gd name="connsiteX81" fmla="*/ 947690 w 1331530"/>
                  <a:gd name="connsiteY81" fmla="*/ 90787 h 1077251"/>
                  <a:gd name="connsiteX82" fmla="*/ 886876 w 1331530"/>
                  <a:gd name="connsiteY82" fmla="*/ 101445 h 1077251"/>
                  <a:gd name="connsiteX83" fmla="*/ 881177 w 1331530"/>
                  <a:gd name="connsiteY83" fmla="*/ 118543 h 1077251"/>
                  <a:gd name="connsiteX84" fmla="*/ 1026399 w 1331530"/>
                  <a:gd name="connsiteY84" fmla="*/ 94605 h 1077251"/>
                  <a:gd name="connsiteX85" fmla="*/ 1039451 w 1331530"/>
                  <a:gd name="connsiteY85" fmla="*/ 100761 h 1077251"/>
                  <a:gd name="connsiteX86" fmla="*/ 1007990 w 1331530"/>
                  <a:gd name="connsiteY86" fmla="*/ 117859 h 1077251"/>
                  <a:gd name="connsiteX87" fmla="*/ 998700 w 1331530"/>
                  <a:gd name="connsiteY87" fmla="*/ 127092 h 1077251"/>
                  <a:gd name="connsiteX88" fmla="*/ 1010099 w 1331530"/>
                  <a:gd name="connsiteY88" fmla="*/ 138491 h 1077251"/>
                  <a:gd name="connsiteX89" fmla="*/ 1026855 w 1331530"/>
                  <a:gd name="connsiteY89" fmla="*/ 131937 h 1077251"/>
                  <a:gd name="connsiteX90" fmla="*/ 1080601 w 1331530"/>
                  <a:gd name="connsiteY90" fmla="*/ 97740 h 1077251"/>
                  <a:gd name="connsiteX91" fmla="*/ 1105964 w 1331530"/>
                  <a:gd name="connsiteY91" fmla="*/ 91471 h 1077251"/>
                  <a:gd name="connsiteX92" fmla="*/ 1117363 w 1331530"/>
                  <a:gd name="connsiteY92" fmla="*/ 113813 h 1077251"/>
                  <a:gd name="connsiteX93" fmla="*/ 1070172 w 1331530"/>
                  <a:gd name="connsiteY93" fmla="*/ 172745 h 1077251"/>
                  <a:gd name="connsiteX94" fmla="*/ 1092228 w 1331530"/>
                  <a:gd name="connsiteY94" fmla="*/ 167046 h 1077251"/>
                  <a:gd name="connsiteX95" fmla="*/ 1135658 w 1331530"/>
                  <a:gd name="connsiteY95" fmla="*/ 128289 h 1077251"/>
                  <a:gd name="connsiteX96" fmla="*/ 1158057 w 1331530"/>
                  <a:gd name="connsiteY96" fmla="*/ 116092 h 1077251"/>
                  <a:gd name="connsiteX97" fmla="*/ 1161021 w 1331530"/>
                  <a:gd name="connsiteY97" fmla="*/ 128403 h 1077251"/>
                  <a:gd name="connsiteX98" fmla="*/ 1184674 w 1331530"/>
                  <a:gd name="connsiteY98" fmla="*/ 124528 h 1077251"/>
                  <a:gd name="connsiteX99" fmla="*/ 1209410 w 1331530"/>
                  <a:gd name="connsiteY99" fmla="*/ 128061 h 1077251"/>
                  <a:gd name="connsiteX100" fmla="*/ 1217275 w 1331530"/>
                  <a:gd name="connsiteY100" fmla="*/ 108911 h 1077251"/>
                  <a:gd name="connsiteX101" fmla="*/ 1325565 w 1331530"/>
                  <a:gd name="connsiteY101" fmla="*/ 113357 h 1077251"/>
                  <a:gd name="connsiteX102" fmla="*/ 1330580 w 1331530"/>
                  <a:gd name="connsiteY102" fmla="*/ 117574 h 1077251"/>
                  <a:gd name="connsiteX103" fmla="*/ 1319182 w 1331530"/>
                  <a:gd name="connsiteY103" fmla="*/ 133932 h 1077251"/>
                  <a:gd name="connsiteX104" fmla="*/ 1292736 w 1331530"/>
                  <a:gd name="connsiteY104" fmla="*/ 145844 h 1077251"/>
                  <a:gd name="connsiteX105" fmla="*/ 1272731 w 1331530"/>
                  <a:gd name="connsiteY105" fmla="*/ 154393 h 1077251"/>
                  <a:gd name="connsiteX106" fmla="*/ 1184218 w 1331530"/>
                  <a:gd name="connsiteY106" fmla="*/ 170978 h 1077251"/>
                  <a:gd name="connsiteX107" fmla="*/ 1239902 w 1331530"/>
                  <a:gd name="connsiteY107" fmla="*/ 178046 h 1077251"/>
                  <a:gd name="connsiteX108" fmla="*/ 1239645 w 1331530"/>
                  <a:gd name="connsiteY108" fmla="*/ 188279 h 1077251"/>
                  <a:gd name="connsiteX109" fmla="*/ 1238933 w 1331530"/>
                  <a:gd name="connsiteY109" fmla="*/ 188875 h 1077251"/>
                  <a:gd name="connsiteX110" fmla="*/ 1227021 w 1331530"/>
                  <a:gd name="connsiteY110" fmla="*/ 192123 h 1077251"/>
                  <a:gd name="connsiteX111" fmla="*/ 1181425 w 1331530"/>
                  <a:gd name="connsiteY111" fmla="*/ 195201 h 1077251"/>
                  <a:gd name="connsiteX112" fmla="*/ 1146829 w 1331530"/>
                  <a:gd name="connsiteY112" fmla="*/ 214123 h 1077251"/>
                  <a:gd name="connsiteX113" fmla="*/ 1172135 w 1331530"/>
                  <a:gd name="connsiteY113" fmla="*/ 214522 h 1077251"/>
                  <a:gd name="connsiteX114" fmla="*/ 1196529 w 1331530"/>
                  <a:gd name="connsiteY114" fmla="*/ 202781 h 1077251"/>
                  <a:gd name="connsiteX115" fmla="*/ 1212487 w 1331530"/>
                  <a:gd name="connsiteY115" fmla="*/ 218626 h 1077251"/>
                  <a:gd name="connsiteX116" fmla="*/ 1187124 w 1331530"/>
                  <a:gd name="connsiteY116" fmla="*/ 221020 h 1077251"/>
                  <a:gd name="connsiteX117" fmla="*/ 1170767 w 1331530"/>
                  <a:gd name="connsiteY117" fmla="*/ 238973 h 1077251"/>
                  <a:gd name="connsiteX118" fmla="*/ 1170197 w 1331530"/>
                  <a:gd name="connsiteY118" fmla="*/ 253393 h 1077251"/>
                  <a:gd name="connsiteX119" fmla="*/ 1138109 w 1331530"/>
                  <a:gd name="connsiteY119" fmla="*/ 262056 h 1077251"/>
                  <a:gd name="connsiteX120" fmla="*/ 1116223 w 1331530"/>
                  <a:gd name="connsiteY120" fmla="*/ 327429 h 1077251"/>
                  <a:gd name="connsiteX121" fmla="*/ 1140161 w 1331530"/>
                  <a:gd name="connsiteY121" fmla="*/ 317113 h 1077251"/>
                  <a:gd name="connsiteX122" fmla="*/ 1165010 w 1331530"/>
                  <a:gd name="connsiteY122" fmla="*/ 310786 h 1077251"/>
                  <a:gd name="connsiteX123" fmla="*/ 1175726 w 1331530"/>
                  <a:gd name="connsiteY123" fmla="*/ 330507 h 1077251"/>
                  <a:gd name="connsiteX124" fmla="*/ 1157316 w 1331530"/>
                  <a:gd name="connsiteY124" fmla="*/ 329196 h 1077251"/>
                  <a:gd name="connsiteX125" fmla="*/ 1147399 w 1331530"/>
                  <a:gd name="connsiteY125" fmla="*/ 342931 h 1077251"/>
                  <a:gd name="connsiteX126" fmla="*/ 1161021 w 1331530"/>
                  <a:gd name="connsiteY126" fmla="*/ 342931 h 1077251"/>
                  <a:gd name="connsiteX127" fmla="*/ 1163985 w 1331530"/>
                  <a:gd name="connsiteY127" fmla="*/ 355185 h 1077251"/>
                  <a:gd name="connsiteX128" fmla="*/ 1196700 w 1331530"/>
                  <a:gd name="connsiteY128" fmla="*/ 344470 h 1077251"/>
                  <a:gd name="connsiteX129" fmla="*/ 1203539 w 1331530"/>
                  <a:gd name="connsiteY129" fmla="*/ 357750 h 1077251"/>
                  <a:gd name="connsiteX130" fmla="*/ 1197270 w 1331530"/>
                  <a:gd name="connsiteY130" fmla="*/ 370118 h 1077251"/>
                  <a:gd name="connsiteX131" fmla="*/ 1188663 w 1331530"/>
                  <a:gd name="connsiteY131" fmla="*/ 369548 h 1077251"/>
                  <a:gd name="connsiteX132" fmla="*/ 1170710 w 1331530"/>
                  <a:gd name="connsiteY132" fmla="*/ 364988 h 1077251"/>
                  <a:gd name="connsiteX133" fmla="*/ 1148197 w 1331530"/>
                  <a:gd name="connsiteY133" fmla="*/ 363165 h 1077251"/>
                  <a:gd name="connsiteX134" fmla="*/ 1135943 w 1331530"/>
                  <a:gd name="connsiteY134" fmla="*/ 379864 h 1077251"/>
                  <a:gd name="connsiteX135" fmla="*/ 1120441 w 1331530"/>
                  <a:gd name="connsiteY135" fmla="*/ 370460 h 1077251"/>
                  <a:gd name="connsiteX136" fmla="*/ 1108757 w 1331530"/>
                  <a:gd name="connsiteY136" fmla="*/ 380092 h 1077251"/>
                  <a:gd name="connsiteX137" fmla="*/ 1121523 w 1331530"/>
                  <a:gd name="connsiteY137" fmla="*/ 390579 h 1077251"/>
                  <a:gd name="connsiteX138" fmla="*/ 1146715 w 1331530"/>
                  <a:gd name="connsiteY138" fmla="*/ 405968 h 1077251"/>
                  <a:gd name="connsiteX139" fmla="*/ 1171736 w 1331530"/>
                  <a:gd name="connsiteY139" fmla="*/ 405968 h 1077251"/>
                  <a:gd name="connsiteX140" fmla="*/ 1184902 w 1331530"/>
                  <a:gd name="connsiteY140" fmla="*/ 430874 h 1077251"/>
                  <a:gd name="connsiteX141" fmla="*/ 1181368 w 1331530"/>
                  <a:gd name="connsiteY141" fmla="*/ 440677 h 1077251"/>
                  <a:gd name="connsiteX142" fmla="*/ 1173503 w 1331530"/>
                  <a:gd name="connsiteY142" fmla="*/ 444382 h 1077251"/>
                  <a:gd name="connsiteX143" fmla="*/ 1172078 w 1331530"/>
                  <a:gd name="connsiteY143" fmla="*/ 452019 h 1077251"/>
                  <a:gd name="connsiteX144" fmla="*/ 1162218 w 1331530"/>
                  <a:gd name="connsiteY144" fmla="*/ 449284 h 1077251"/>
                  <a:gd name="connsiteX145" fmla="*/ 1135145 w 1331530"/>
                  <a:gd name="connsiteY145" fmla="*/ 446548 h 1077251"/>
                  <a:gd name="connsiteX146" fmla="*/ 1141956 w 1331530"/>
                  <a:gd name="connsiteY146" fmla="*/ 468908 h 1077251"/>
                  <a:gd name="connsiteX147" fmla="*/ 1142840 w 1331530"/>
                  <a:gd name="connsiteY147" fmla="*/ 469346 h 1077251"/>
                  <a:gd name="connsiteX148" fmla="*/ 1150135 w 1331530"/>
                  <a:gd name="connsiteY148" fmla="*/ 473791 h 1077251"/>
                  <a:gd name="connsiteX149" fmla="*/ 1151845 w 1331530"/>
                  <a:gd name="connsiteY149" fmla="*/ 480916 h 1077251"/>
                  <a:gd name="connsiteX150" fmla="*/ 1157145 w 1331530"/>
                  <a:gd name="connsiteY150" fmla="*/ 482625 h 1077251"/>
                  <a:gd name="connsiteX151" fmla="*/ 1183819 w 1331530"/>
                  <a:gd name="connsiteY151" fmla="*/ 483195 h 1077251"/>
                  <a:gd name="connsiteX152" fmla="*/ 1178120 w 1331530"/>
                  <a:gd name="connsiteY152" fmla="*/ 495620 h 1077251"/>
                  <a:gd name="connsiteX153" fmla="*/ 1163301 w 1331530"/>
                  <a:gd name="connsiteY153" fmla="*/ 497216 h 1077251"/>
                  <a:gd name="connsiteX154" fmla="*/ 1121865 w 1331530"/>
                  <a:gd name="connsiteY154" fmla="*/ 488097 h 1077251"/>
                  <a:gd name="connsiteX155" fmla="*/ 1130529 w 1331530"/>
                  <a:gd name="connsiteY155" fmla="*/ 506791 h 1077251"/>
                  <a:gd name="connsiteX156" fmla="*/ 1149679 w 1331530"/>
                  <a:gd name="connsiteY156" fmla="*/ 516309 h 1077251"/>
                  <a:gd name="connsiteX157" fmla="*/ 1151731 w 1331530"/>
                  <a:gd name="connsiteY157" fmla="*/ 530444 h 1077251"/>
                  <a:gd name="connsiteX158" fmla="*/ 1100436 w 1331530"/>
                  <a:gd name="connsiteY158" fmla="*/ 539392 h 1077251"/>
                  <a:gd name="connsiteX159" fmla="*/ 1087789 w 1331530"/>
                  <a:gd name="connsiteY159" fmla="*/ 530899 h 1077251"/>
                  <a:gd name="connsiteX160" fmla="*/ 1085332 w 1331530"/>
                  <a:gd name="connsiteY160" fmla="*/ 531698 h 1077251"/>
                  <a:gd name="connsiteX161" fmla="*/ 1083280 w 1331530"/>
                  <a:gd name="connsiteY161" fmla="*/ 521781 h 1077251"/>
                  <a:gd name="connsiteX162" fmla="*/ 1066524 w 1331530"/>
                  <a:gd name="connsiteY162" fmla="*/ 522921 h 1077251"/>
                  <a:gd name="connsiteX163" fmla="*/ 1062933 w 1331530"/>
                  <a:gd name="connsiteY163" fmla="*/ 538024 h 1077251"/>
                  <a:gd name="connsiteX164" fmla="*/ 1046461 w 1331530"/>
                  <a:gd name="connsiteY164" fmla="*/ 540475 h 1077251"/>
                  <a:gd name="connsiteX165" fmla="*/ 1043897 w 1331530"/>
                  <a:gd name="connsiteY165" fmla="*/ 557574 h 1077251"/>
                  <a:gd name="connsiteX166" fmla="*/ 1060197 w 1331530"/>
                  <a:gd name="connsiteY166" fmla="*/ 562874 h 1077251"/>
                  <a:gd name="connsiteX167" fmla="*/ 1077296 w 1331530"/>
                  <a:gd name="connsiteY167" fmla="*/ 556776 h 1077251"/>
                  <a:gd name="connsiteX168" fmla="*/ 1111207 w 1331530"/>
                  <a:gd name="connsiteY168" fmla="*/ 557517 h 1077251"/>
                  <a:gd name="connsiteX169" fmla="*/ 1117705 w 1331530"/>
                  <a:gd name="connsiteY169" fmla="*/ 560594 h 1077251"/>
                  <a:gd name="connsiteX170" fmla="*/ 1118389 w 1331530"/>
                  <a:gd name="connsiteY170" fmla="*/ 578092 h 1077251"/>
                  <a:gd name="connsiteX171" fmla="*/ 1094964 w 1331530"/>
                  <a:gd name="connsiteY171" fmla="*/ 581568 h 1077251"/>
                  <a:gd name="connsiteX172" fmla="*/ 1077866 w 1331530"/>
                  <a:gd name="connsiteY172" fmla="*/ 571708 h 1077251"/>
                  <a:gd name="connsiteX173" fmla="*/ 1064358 w 1331530"/>
                  <a:gd name="connsiteY173" fmla="*/ 580200 h 1077251"/>
                  <a:gd name="connsiteX174" fmla="*/ 1067664 w 1331530"/>
                  <a:gd name="connsiteY174" fmla="*/ 584760 h 1077251"/>
                  <a:gd name="connsiteX175" fmla="*/ 1092855 w 1331530"/>
                  <a:gd name="connsiteY175" fmla="*/ 599294 h 1077251"/>
                  <a:gd name="connsiteX176" fmla="*/ 1105736 w 1331530"/>
                  <a:gd name="connsiteY176" fmla="*/ 610066 h 1077251"/>
                  <a:gd name="connsiteX177" fmla="*/ 1115425 w 1331530"/>
                  <a:gd name="connsiteY177" fmla="*/ 622947 h 1077251"/>
                  <a:gd name="connsiteX178" fmla="*/ 1123633 w 1331530"/>
                  <a:gd name="connsiteY178" fmla="*/ 624599 h 1077251"/>
                  <a:gd name="connsiteX179" fmla="*/ 1124259 w 1331530"/>
                  <a:gd name="connsiteY179" fmla="*/ 634345 h 1077251"/>
                  <a:gd name="connsiteX180" fmla="*/ 1120327 w 1331530"/>
                  <a:gd name="connsiteY180" fmla="*/ 659822 h 1077251"/>
                  <a:gd name="connsiteX181" fmla="*/ 1116451 w 1331530"/>
                  <a:gd name="connsiteY181" fmla="*/ 668200 h 1077251"/>
                  <a:gd name="connsiteX182" fmla="*/ 1096788 w 1331530"/>
                  <a:gd name="connsiteY182" fmla="*/ 662159 h 1077251"/>
                  <a:gd name="connsiteX183" fmla="*/ 1087042 w 1331530"/>
                  <a:gd name="connsiteY183" fmla="*/ 662159 h 1077251"/>
                  <a:gd name="connsiteX184" fmla="*/ 1079291 w 1331530"/>
                  <a:gd name="connsiteY184" fmla="*/ 650760 h 1077251"/>
                  <a:gd name="connsiteX185" fmla="*/ 1070912 w 1331530"/>
                  <a:gd name="connsiteY185" fmla="*/ 646428 h 1077251"/>
                  <a:gd name="connsiteX186" fmla="*/ 1057404 w 1331530"/>
                  <a:gd name="connsiteY186" fmla="*/ 633605 h 1077251"/>
                  <a:gd name="connsiteX187" fmla="*/ 1040306 w 1331530"/>
                  <a:gd name="connsiteY187" fmla="*/ 629216 h 1077251"/>
                  <a:gd name="connsiteX188" fmla="*/ 1039166 w 1331530"/>
                  <a:gd name="connsiteY188" fmla="*/ 650589 h 1077251"/>
                  <a:gd name="connsiteX189" fmla="*/ 1023436 w 1331530"/>
                  <a:gd name="connsiteY189" fmla="*/ 663185 h 1077251"/>
                  <a:gd name="connsiteX190" fmla="*/ 1019332 w 1331530"/>
                  <a:gd name="connsiteY190" fmla="*/ 676294 h 1077251"/>
                  <a:gd name="connsiteX191" fmla="*/ 1027083 w 1331530"/>
                  <a:gd name="connsiteY191" fmla="*/ 683019 h 1077251"/>
                  <a:gd name="connsiteX192" fmla="*/ 1029078 w 1331530"/>
                  <a:gd name="connsiteY192" fmla="*/ 678060 h 1077251"/>
                  <a:gd name="connsiteX193" fmla="*/ 1038824 w 1331530"/>
                  <a:gd name="connsiteY193" fmla="*/ 674014 h 1077251"/>
                  <a:gd name="connsiteX194" fmla="*/ 1049368 w 1331530"/>
                  <a:gd name="connsiteY194" fmla="*/ 678345 h 1077251"/>
                  <a:gd name="connsiteX195" fmla="*/ 1099866 w 1331530"/>
                  <a:gd name="connsiteY195" fmla="*/ 681195 h 1077251"/>
                  <a:gd name="connsiteX196" fmla="*/ 1108529 w 1331530"/>
                  <a:gd name="connsiteY196" fmla="*/ 688148 h 1077251"/>
                  <a:gd name="connsiteX197" fmla="*/ 1099695 w 1331530"/>
                  <a:gd name="connsiteY197" fmla="*/ 693392 h 1077251"/>
                  <a:gd name="connsiteX198" fmla="*/ 1058829 w 1331530"/>
                  <a:gd name="connsiteY198" fmla="*/ 708952 h 1077251"/>
                  <a:gd name="connsiteX199" fmla="*/ 1048513 w 1331530"/>
                  <a:gd name="connsiteY199" fmla="*/ 723998 h 1077251"/>
                  <a:gd name="connsiteX200" fmla="*/ 1033581 w 1331530"/>
                  <a:gd name="connsiteY200" fmla="*/ 726392 h 1077251"/>
                  <a:gd name="connsiteX201" fmla="*/ 1020244 w 1331530"/>
                  <a:gd name="connsiteY201" fmla="*/ 735397 h 1077251"/>
                  <a:gd name="connsiteX202" fmla="*/ 1008845 w 1331530"/>
                  <a:gd name="connsiteY202" fmla="*/ 736537 h 1077251"/>
                  <a:gd name="connsiteX203" fmla="*/ 996477 w 1331530"/>
                  <a:gd name="connsiteY203" fmla="*/ 741667 h 1077251"/>
                  <a:gd name="connsiteX204" fmla="*/ 959944 w 1331530"/>
                  <a:gd name="connsiteY204" fmla="*/ 741667 h 1077251"/>
                  <a:gd name="connsiteX205" fmla="*/ 953275 w 1331530"/>
                  <a:gd name="connsiteY205" fmla="*/ 743319 h 1077251"/>
                  <a:gd name="connsiteX206" fmla="*/ 943586 w 1331530"/>
                  <a:gd name="connsiteY206" fmla="*/ 761615 h 1077251"/>
                  <a:gd name="connsiteX207" fmla="*/ 912182 w 1331530"/>
                  <a:gd name="connsiteY207" fmla="*/ 763951 h 1077251"/>
                  <a:gd name="connsiteX208" fmla="*/ 908705 w 1331530"/>
                  <a:gd name="connsiteY208" fmla="*/ 755630 h 1077251"/>
                  <a:gd name="connsiteX209" fmla="*/ 892690 w 1331530"/>
                  <a:gd name="connsiteY209" fmla="*/ 753236 h 1077251"/>
                  <a:gd name="connsiteX210" fmla="*/ 889498 w 1331530"/>
                  <a:gd name="connsiteY210" fmla="*/ 772672 h 1077251"/>
                  <a:gd name="connsiteX211" fmla="*/ 863566 w 1331530"/>
                  <a:gd name="connsiteY211" fmla="*/ 789770 h 1077251"/>
                  <a:gd name="connsiteX212" fmla="*/ 859576 w 1331530"/>
                  <a:gd name="connsiteY212" fmla="*/ 813879 h 1077251"/>
                  <a:gd name="connsiteX213" fmla="*/ 831079 w 1331530"/>
                  <a:gd name="connsiteY213" fmla="*/ 837874 h 1077251"/>
                  <a:gd name="connsiteX214" fmla="*/ 793120 w 1331530"/>
                  <a:gd name="connsiteY214" fmla="*/ 851951 h 1077251"/>
                  <a:gd name="connsiteX215" fmla="*/ 772488 w 1331530"/>
                  <a:gd name="connsiteY215" fmla="*/ 857993 h 1077251"/>
                  <a:gd name="connsiteX216" fmla="*/ 760177 w 1331530"/>
                  <a:gd name="connsiteY216" fmla="*/ 831718 h 1077251"/>
                  <a:gd name="connsiteX217" fmla="*/ 752483 w 1331530"/>
                  <a:gd name="connsiteY217" fmla="*/ 858050 h 1077251"/>
                  <a:gd name="connsiteX218" fmla="*/ 723358 w 1331530"/>
                  <a:gd name="connsiteY218" fmla="*/ 860671 h 1077251"/>
                  <a:gd name="connsiteX219" fmla="*/ 719711 w 1331530"/>
                  <a:gd name="connsiteY219" fmla="*/ 886661 h 1077251"/>
                  <a:gd name="connsiteX220" fmla="*/ 695556 w 1331530"/>
                  <a:gd name="connsiteY220" fmla="*/ 872561 h 1077251"/>
                  <a:gd name="connsiteX221" fmla="*/ 691954 w 1331530"/>
                  <a:gd name="connsiteY221" fmla="*/ 873894 h 1077251"/>
                  <a:gd name="connsiteX222" fmla="*/ 704322 w 1331530"/>
                  <a:gd name="connsiteY222" fmla="*/ 887231 h 1077251"/>
                  <a:gd name="connsiteX223" fmla="*/ 712643 w 1331530"/>
                  <a:gd name="connsiteY223" fmla="*/ 902278 h 1077251"/>
                  <a:gd name="connsiteX224" fmla="*/ 703809 w 1331530"/>
                  <a:gd name="connsiteY224" fmla="*/ 899770 h 1077251"/>
                  <a:gd name="connsiteX225" fmla="*/ 714068 w 1331530"/>
                  <a:gd name="connsiteY225" fmla="*/ 912993 h 1077251"/>
                  <a:gd name="connsiteX226" fmla="*/ 696970 w 1331530"/>
                  <a:gd name="connsiteY226" fmla="*/ 918122 h 1077251"/>
                  <a:gd name="connsiteX227" fmla="*/ 705804 w 1331530"/>
                  <a:gd name="connsiteY227" fmla="*/ 929521 h 1077251"/>
                  <a:gd name="connsiteX228" fmla="*/ 690244 w 1331530"/>
                  <a:gd name="connsiteY228" fmla="*/ 941262 h 1077251"/>
                  <a:gd name="connsiteX229" fmla="*/ 692752 w 1331530"/>
                  <a:gd name="connsiteY229" fmla="*/ 959215 h 1077251"/>
                  <a:gd name="connsiteX230" fmla="*/ 674742 w 1331530"/>
                  <a:gd name="connsiteY230" fmla="*/ 969132 h 1077251"/>
                  <a:gd name="connsiteX231" fmla="*/ 658669 w 1331530"/>
                  <a:gd name="connsiteY231" fmla="*/ 974148 h 1077251"/>
                  <a:gd name="connsiteX232" fmla="*/ 662488 w 1331530"/>
                  <a:gd name="connsiteY232" fmla="*/ 991645 h 1077251"/>
                  <a:gd name="connsiteX233" fmla="*/ 670524 w 1331530"/>
                  <a:gd name="connsiteY233" fmla="*/ 1008288 h 1077251"/>
                  <a:gd name="connsiteX234" fmla="*/ 659752 w 1331530"/>
                  <a:gd name="connsiteY234" fmla="*/ 1019972 h 1077251"/>
                  <a:gd name="connsiteX235" fmla="*/ 660835 w 1331530"/>
                  <a:gd name="connsiteY235" fmla="*/ 1047614 h 1077251"/>
                  <a:gd name="connsiteX236" fmla="*/ 642939 w 1331530"/>
                  <a:gd name="connsiteY236" fmla="*/ 1066708 h 1077251"/>
                  <a:gd name="connsiteX237" fmla="*/ 638892 w 1331530"/>
                  <a:gd name="connsiteY237" fmla="*/ 1077251 h 1077251"/>
                  <a:gd name="connsiteX238" fmla="*/ 626581 w 1331530"/>
                  <a:gd name="connsiteY238" fmla="*/ 1065226 h 1077251"/>
                  <a:gd name="connsiteX239" fmla="*/ 602302 w 1331530"/>
                  <a:gd name="connsiteY239" fmla="*/ 1059526 h 1077251"/>
                  <a:gd name="connsiteX240" fmla="*/ 596602 w 1331530"/>
                  <a:gd name="connsiteY240" fmla="*/ 1050692 h 1077251"/>
                  <a:gd name="connsiteX241" fmla="*/ 566452 w 1331530"/>
                  <a:gd name="connsiteY241" fmla="*/ 1045562 h 1077251"/>
                  <a:gd name="connsiteX242" fmla="*/ 546960 w 1331530"/>
                  <a:gd name="connsiteY242" fmla="*/ 1034163 h 1077251"/>
                  <a:gd name="connsiteX243" fmla="*/ 525644 w 1331530"/>
                  <a:gd name="connsiteY243" fmla="*/ 1031257 h 1077251"/>
                  <a:gd name="connsiteX244" fmla="*/ 520856 w 1331530"/>
                  <a:gd name="connsiteY244" fmla="*/ 1008459 h 1077251"/>
                  <a:gd name="connsiteX245" fmla="*/ 503758 w 1331530"/>
                  <a:gd name="connsiteY245" fmla="*/ 990392 h 1077251"/>
                  <a:gd name="connsiteX246" fmla="*/ 500452 w 1331530"/>
                  <a:gd name="connsiteY246" fmla="*/ 953231 h 1077251"/>
                  <a:gd name="connsiteX247" fmla="*/ 484322 w 1331530"/>
                  <a:gd name="connsiteY247" fmla="*/ 948614 h 1077251"/>
                  <a:gd name="connsiteX248" fmla="*/ 479136 w 1331530"/>
                  <a:gd name="connsiteY248" fmla="*/ 933967 h 1077251"/>
                  <a:gd name="connsiteX249" fmla="*/ 466996 w 1331530"/>
                  <a:gd name="connsiteY249" fmla="*/ 926842 h 1077251"/>
                  <a:gd name="connsiteX250" fmla="*/ 459359 w 1331530"/>
                  <a:gd name="connsiteY250" fmla="*/ 913506 h 1077251"/>
                  <a:gd name="connsiteX251" fmla="*/ 449898 w 1331530"/>
                  <a:gd name="connsiteY251" fmla="*/ 906438 h 1077251"/>
                  <a:gd name="connsiteX252" fmla="*/ 457079 w 1331530"/>
                  <a:gd name="connsiteY252" fmla="*/ 891962 h 1077251"/>
                  <a:gd name="connsiteX253" fmla="*/ 448815 w 1331530"/>
                  <a:gd name="connsiteY253" fmla="*/ 867283 h 1077251"/>
                  <a:gd name="connsiteX254" fmla="*/ 426359 w 1331530"/>
                  <a:gd name="connsiteY254" fmla="*/ 850184 h 1077251"/>
                  <a:gd name="connsiteX255" fmla="*/ 429664 w 1331530"/>
                  <a:gd name="connsiteY255" fmla="*/ 826019 h 1077251"/>
                  <a:gd name="connsiteX256" fmla="*/ 443343 w 1331530"/>
                  <a:gd name="connsiteY256" fmla="*/ 822371 h 1077251"/>
                  <a:gd name="connsiteX257" fmla="*/ 431944 w 1331530"/>
                  <a:gd name="connsiteY257" fmla="*/ 805273 h 1077251"/>
                  <a:gd name="connsiteX258" fmla="*/ 415815 w 1331530"/>
                  <a:gd name="connsiteY258" fmla="*/ 789998 h 1077251"/>
                  <a:gd name="connsiteX259" fmla="*/ 422483 w 1331530"/>
                  <a:gd name="connsiteY259" fmla="*/ 782304 h 1077251"/>
                  <a:gd name="connsiteX260" fmla="*/ 433882 w 1331530"/>
                  <a:gd name="connsiteY260" fmla="*/ 757283 h 1077251"/>
                  <a:gd name="connsiteX261" fmla="*/ 469675 w 1331530"/>
                  <a:gd name="connsiteY261" fmla="*/ 744573 h 1077251"/>
                  <a:gd name="connsiteX262" fmla="*/ 479706 w 1331530"/>
                  <a:gd name="connsiteY262" fmla="*/ 748905 h 1077251"/>
                  <a:gd name="connsiteX263" fmla="*/ 491105 w 1331530"/>
                  <a:gd name="connsiteY263" fmla="*/ 706957 h 1077251"/>
                  <a:gd name="connsiteX264" fmla="*/ 456623 w 1331530"/>
                  <a:gd name="connsiteY264" fmla="*/ 675325 h 1077251"/>
                  <a:gd name="connsiteX265" fmla="*/ 413307 w 1331530"/>
                  <a:gd name="connsiteY265" fmla="*/ 652527 h 1077251"/>
                  <a:gd name="connsiteX266" fmla="*/ 482214 w 1331530"/>
                  <a:gd name="connsiteY266" fmla="*/ 669055 h 1077251"/>
                  <a:gd name="connsiteX267" fmla="*/ 471784 w 1331530"/>
                  <a:gd name="connsiteY267" fmla="*/ 648936 h 1077251"/>
                  <a:gd name="connsiteX268" fmla="*/ 437302 w 1331530"/>
                  <a:gd name="connsiteY268" fmla="*/ 631040 h 1077251"/>
                  <a:gd name="connsiteX269" fmla="*/ 433540 w 1331530"/>
                  <a:gd name="connsiteY269" fmla="*/ 603340 h 1077251"/>
                  <a:gd name="connsiteX270" fmla="*/ 405043 w 1331530"/>
                  <a:gd name="connsiteY270" fmla="*/ 609610 h 1077251"/>
                  <a:gd name="connsiteX271" fmla="*/ 392675 w 1331530"/>
                  <a:gd name="connsiteY271" fmla="*/ 616962 h 1077251"/>
                  <a:gd name="connsiteX272" fmla="*/ 386691 w 1331530"/>
                  <a:gd name="connsiteY272" fmla="*/ 609724 h 1077251"/>
                  <a:gd name="connsiteX273" fmla="*/ 381960 w 1331530"/>
                  <a:gd name="connsiteY273" fmla="*/ 584133 h 1077251"/>
                  <a:gd name="connsiteX274" fmla="*/ 383499 w 1331530"/>
                  <a:gd name="connsiteY274" fmla="*/ 577009 h 1077251"/>
                  <a:gd name="connsiteX275" fmla="*/ 401053 w 1331530"/>
                  <a:gd name="connsiteY275" fmla="*/ 564356 h 1077251"/>
                  <a:gd name="connsiteX276" fmla="*/ 385664 w 1331530"/>
                  <a:gd name="connsiteY276" fmla="*/ 552387 h 1077251"/>
                  <a:gd name="connsiteX277" fmla="*/ 386576 w 1331530"/>
                  <a:gd name="connsiteY277" fmla="*/ 546688 h 1077251"/>
                  <a:gd name="connsiteX278" fmla="*/ 370048 w 1331530"/>
                  <a:gd name="connsiteY278" fmla="*/ 517449 h 1077251"/>
                  <a:gd name="connsiteX279" fmla="*/ 363893 w 1331530"/>
                  <a:gd name="connsiteY279" fmla="*/ 488325 h 1077251"/>
                  <a:gd name="connsiteX280" fmla="*/ 350841 w 1331530"/>
                  <a:gd name="connsiteY280" fmla="*/ 476242 h 1077251"/>
                  <a:gd name="connsiteX281" fmla="*/ 330665 w 1331530"/>
                  <a:gd name="connsiteY281" fmla="*/ 460455 h 1077251"/>
                  <a:gd name="connsiteX282" fmla="*/ 320862 w 1331530"/>
                  <a:gd name="connsiteY282" fmla="*/ 448657 h 1077251"/>
                  <a:gd name="connsiteX283" fmla="*/ 319608 w 1331530"/>
                  <a:gd name="connsiteY283" fmla="*/ 440905 h 1077251"/>
                  <a:gd name="connsiteX284" fmla="*/ 283359 w 1331530"/>
                  <a:gd name="connsiteY284" fmla="*/ 416170 h 1077251"/>
                  <a:gd name="connsiteX285" fmla="*/ 279198 w 1331530"/>
                  <a:gd name="connsiteY285" fmla="*/ 409273 h 1077251"/>
                  <a:gd name="connsiteX286" fmla="*/ 273841 w 1331530"/>
                  <a:gd name="connsiteY286" fmla="*/ 408190 h 1077251"/>
                  <a:gd name="connsiteX287" fmla="*/ 199292 w 1331530"/>
                  <a:gd name="connsiteY287" fmla="*/ 390294 h 1077251"/>
                  <a:gd name="connsiteX288" fmla="*/ 195074 w 1331530"/>
                  <a:gd name="connsiteY288" fmla="*/ 401281 h 1077251"/>
                  <a:gd name="connsiteX289" fmla="*/ 193934 w 1331530"/>
                  <a:gd name="connsiteY289" fmla="*/ 401693 h 1077251"/>
                  <a:gd name="connsiteX290" fmla="*/ 181224 w 1331530"/>
                  <a:gd name="connsiteY290" fmla="*/ 398216 h 1077251"/>
                  <a:gd name="connsiteX291" fmla="*/ 168914 w 1331530"/>
                  <a:gd name="connsiteY291" fmla="*/ 399242 h 1077251"/>
                  <a:gd name="connsiteX292" fmla="*/ 166235 w 1331530"/>
                  <a:gd name="connsiteY292" fmla="*/ 407563 h 1077251"/>
                  <a:gd name="connsiteX293" fmla="*/ 152687 w 1331530"/>
                  <a:gd name="connsiteY293" fmla="*/ 409619 h 1077251"/>
                  <a:gd name="connsiteX294" fmla="*/ 152385 w 1331530"/>
                  <a:gd name="connsiteY294" fmla="*/ 409387 h 1077251"/>
                  <a:gd name="connsiteX295" fmla="*/ 144178 w 1331530"/>
                  <a:gd name="connsiteY295" fmla="*/ 396050 h 1077251"/>
                  <a:gd name="connsiteX296" fmla="*/ 132779 w 1331530"/>
                  <a:gd name="connsiteY296" fmla="*/ 396050 h 1077251"/>
                  <a:gd name="connsiteX297" fmla="*/ 131924 w 1331530"/>
                  <a:gd name="connsiteY297" fmla="*/ 417879 h 1077251"/>
                  <a:gd name="connsiteX298" fmla="*/ 105421 w 1331530"/>
                  <a:gd name="connsiteY298" fmla="*/ 410413 h 1077251"/>
                  <a:gd name="connsiteX299" fmla="*/ 76525 w 1331530"/>
                  <a:gd name="connsiteY299" fmla="*/ 398729 h 1077251"/>
                  <a:gd name="connsiteX300" fmla="*/ 65126 w 1331530"/>
                  <a:gd name="connsiteY300" fmla="*/ 385278 h 1077251"/>
                  <a:gd name="connsiteX301" fmla="*/ 79888 w 1331530"/>
                  <a:gd name="connsiteY301" fmla="*/ 384823 h 1077251"/>
                  <a:gd name="connsiteX302" fmla="*/ 80686 w 1331530"/>
                  <a:gd name="connsiteY302" fmla="*/ 372227 h 1077251"/>
                  <a:gd name="connsiteX303" fmla="*/ 36572 w 1331530"/>
                  <a:gd name="connsiteY303" fmla="*/ 361911 h 1077251"/>
                  <a:gd name="connsiteX304" fmla="*/ 397690 w 1331530"/>
                  <a:gd name="connsiteY304" fmla="*/ 686382 h 1077251"/>
                  <a:gd name="connsiteX305" fmla="*/ 395525 w 1331530"/>
                  <a:gd name="connsiteY305" fmla="*/ 693392 h 1077251"/>
                  <a:gd name="connsiteX306" fmla="*/ 409089 w 1331530"/>
                  <a:gd name="connsiteY306" fmla="*/ 708268 h 1077251"/>
                  <a:gd name="connsiteX307" fmla="*/ 428639 w 1331530"/>
                  <a:gd name="connsiteY307" fmla="*/ 725024 h 1077251"/>
                  <a:gd name="connsiteX308" fmla="*/ 444198 w 1331530"/>
                  <a:gd name="connsiteY308" fmla="*/ 721490 h 1077251"/>
                  <a:gd name="connsiteX309" fmla="*/ 451265 w 1331530"/>
                  <a:gd name="connsiteY309" fmla="*/ 716190 h 1077251"/>
                  <a:gd name="connsiteX310" fmla="*/ 452690 w 1331530"/>
                  <a:gd name="connsiteY310" fmla="*/ 707812 h 1077251"/>
                  <a:gd name="connsiteX311" fmla="*/ 446307 w 1331530"/>
                  <a:gd name="connsiteY311" fmla="*/ 697439 h 1077251"/>
                  <a:gd name="connsiteX312" fmla="*/ 439809 w 1331530"/>
                  <a:gd name="connsiteY312" fmla="*/ 689345 h 1077251"/>
                  <a:gd name="connsiteX313" fmla="*/ 421970 w 1331530"/>
                  <a:gd name="connsiteY313" fmla="*/ 677547 h 1077251"/>
                  <a:gd name="connsiteX314" fmla="*/ 409317 w 1331530"/>
                  <a:gd name="connsiteY314" fmla="*/ 674755 h 1077251"/>
                  <a:gd name="connsiteX315" fmla="*/ 397690 w 1331530"/>
                  <a:gd name="connsiteY315" fmla="*/ 686382 h 107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Lst>
                <a:rect l="l" t="t" r="r" b="b"/>
                <a:pathLst>
                  <a:path w="1331530" h="1077251">
                    <a:moveTo>
                      <a:pt x="36572" y="361911"/>
                    </a:moveTo>
                    <a:cubicBezTo>
                      <a:pt x="38111" y="355470"/>
                      <a:pt x="45748" y="352450"/>
                      <a:pt x="52416" y="352621"/>
                    </a:cubicBezTo>
                    <a:cubicBezTo>
                      <a:pt x="59085" y="352792"/>
                      <a:pt x="65525" y="355014"/>
                      <a:pt x="72137" y="354672"/>
                    </a:cubicBezTo>
                    <a:cubicBezTo>
                      <a:pt x="84789" y="353988"/>
                      <a:pt x="96245" y="343900"/>
                      <a:pt x="108784" y="345895"/>
                    </a:cubicBezTo>
                    <a:cubicBezTo>
                      <a:pt x="114997" y="347741"/>
                      <a:pt x="120998" y="350244"/>
                      <a:pt x="126680" y="353361"/>
                    </a:cubicBezTo>
                    <a:cubicBezTo>
                      <a:pt x="132779" y="355755"/>
                      <a:pt x="140872" y="355869"/>
                      <a:pt x="144577" y="350512"/>
                    </a:cubicBezTo>
                    <a:cubicBezTo>
                      <a:pt x="144577" y="347181"/>
                      <a:pt x="142474" y="344213"/>
                      <a:pt x="139333" y="343102"/>
                    </a:cubicBezTo>
                    <a:cubicBezTo>
                      <a:pt x="142582" y="343843"/>
                      <a:pt x="147882" y="341393"/>
                      <a:pt x="145489" y="338999"/>
                    </a:cubicBezTo>
                    <a:cubicBezTo>
                      <a:pt x="137908" y="329880"/>
                      <a:pt x="127364" y="319792"/>
                      <a:pt x="116022" y="323211"/>
                    </a:cubicBezTo>
                    <a:cubicBezTo>
                      <a:pt x="111298" y="325338"/>
                      <a:pt x="106806" y="327955"/>
                      <a:pt x="102629" y="331020"/>
                    </a:cubicBezTo>
                    <a:cubicBezTo>
                      <a:pt x="89520" y="338144"/>
                      <a:pt x="73333" y="332786"/>
                      <a:pt x="59655" y="326859"/>
                    </a:cubicBezTo>
                    <a:cubicBezTo>
                      <a:pt x="40561" y="319165"/>
                      <a:pt x="21468" y="309533"/>
                      <a:pt x="665" y="309475"/>
                    </a:cubicBezTo>
                    <a:cubicBezTo>
                      <a:pt x="-2356" y="300527"/>
                      <a:pt x="5396" y="291180"/>
                      <a:pt x="14173" y="287647"/>
                    </a:cubicBezTo>
                    <a:cubicBezTo>
                      <a:pt x="22950" y="284113"/>
                      <a:pt x="32696" y="284113"/>
                      <a:pt x="41701" y="281206"/>
                    </a:cubicBezTo>
                    <a:cubicBezTo>
                      <a:pt x="54753" y="277102"/>
                      <a:pt x="65183" y="267185"/>
                      <a:pt x="77722" y="261657"/>
                    </a:cubicBezTo>
                    <a:cubicBezTo>
                      <a:pt x="98867" y="252310"/>
                      <a:pt x="123318" y="256299"/>
                      <a:pt x="146116" y="258123"/>
                    </a:cubicBezTo>
                    <a:cubicBezTo>
                      <a:pt x="150442" y="259129"/>
                      <a:pt x="154984" y="257982"/>
                      <a:pt x="158313" y="255046"/>
                    </a:cubicBezTo>
                    <a:cubicBezTo>
                      <a:pt x="161333" y="251341"/>
                      <a:pt x="159794" y="245926"/>
                      <a:pt x="160478" y="241253"/>
                    </a:cubicBezTo>
                    <a:cubicBezTo>
                      <a:pt x="161447" y="234299"/>
                      <a:pt x="167147" y="229113"/>
                      <a:pt x="171250" y="223413"/>
                    </a:cubicBezTo>
                    <a:cubicBezTo>
                      <a:pt x="175354" y="217714"/>
                      <a:pt x="177634" y="208937"/>
                      <a:pt x="172333" y="204263"/>
                    </a:cubicBezTo>
                    <a:cubicBezTo>
                      <a:pt x="168988" y="202003"/>
                      <a:pt x="164958" y="200976"/>
                      <a:pt x="160934" y="201357"/>
                    </a:cubicBezTo>
                    <a:lnTo>
                      <a:pt x="121038" y="200901"/>
                    </a:lnTo>
                    <a:cubicBezTo>
                      <a:pt x="119784" y="197994"/>
                      <a:pt x="118473" y="195201"/>
                      <a:pt x="117162" y="192180"/>
                    </a:cubicBezTo>
                    <a:cubicBezTo>
                      <a:pt x="125603" y="189038"/>
                      <a:pt x="133434" y="184447"/>
                      <a:pt x="140302" y="178616"/>
                    </a:cubicBezTo>
                    <a:cubicBezTo>
                      <a:pt x="142525" y="176735"/>
                      <a:pt x="144634" y="174740"/>
                      <a:pt x="146914" y="172916"/>
                    </a:cubicBezTo>
                    <a:cubicBezTo>
                      <a:pt x="150168" y="170548"/>
                      <a:pt x="153599" y="168433"/>
                      <a:pt x="157173" y="166590"/>
                    </a:cubicBezTo>
                    <a:lnTo>
                      <a:pt x="183447" y="152227"/>
                    </a:lnTo>
                    <a:cubicBezTo>
                      <a:pt x="192669" y="146561"/>
                      <a:pt x="202700" y="142333"/>
                      <a:pt x="213199" y="139688"/>
                    </a:cubicBezTo>
                    <a:cubicBezTo>
                      <a:pt x="223874" y="137109"/>
                      <a:pt x="235142" y="139590"/>
                      <a:pt x="243748" y="146414"/>
                    </a:cubicBezTo>
                    <a:cubicBezTo>
                      <a:pt x="245971" y="149013"/>
                      <a:pt x="248843" y="150979"/>
                      <a:pt x="252069" y="152113"/>
                    </a:cubicBezTo>
                    <a:cubicBezTo>
                      <a:pt x="259649" y="153538"/>
                      <a:pt x="263468" y="143108"/>
                      <a:pt x="262556" y="135471"/>
                    </a:cubicBezTo>
                    <a:cubicBezTo>
                      <a:pt x="261085" y="125278"/>
                      <a:pt x="256155" y="115901"/>
                      <a:pt x="248592" y="108911"/>
                    </a:cubicBezTo>
                    <a:cubicBezTo>
                      <a:pt x="264209" y="101559"/>
                      <a:pt x="282789" y="94263"/>
                      <a:pt x="297950" y="102357"/>
                    </a:cubicBezTo>
                    <a:cubicBezTo>
                      <a:pt x="305872" y="106631"/>
                      <a:pt x="311913" y="114725"/>
                      <a:pt x="320748" y="116263"/>
                    </a:cubicBezTo>
                    <a:cubicBezTo>
                      <a:pt x="320708" y="106773"/>
                      <a:pt x="316547" y="97768"/>
                      <a:pt x="309349" y="91585"/>
                    </a:cubicBezTo>
                    <a:lnTo>
                      <a:pt x="388229" y="74885"/>
                    </a:lnTo>
                    <a:cubicBezTo>
                      <a:pt x="395981" y="73232"/>
                      <a:pt x="404473" y="71693"/>
                      <a:pt x="411369" y="75569"/>
                    </a:cubicBezTo>
                    <a:cubicBezTo>
                      <a:pt x="423908" y="82579"/>
                      <a:pt x="422084" y="101274"/>
                      <a:pt x="416214" y="114326"/>
                    </a:cubicBezTo>
                    <a:cubicBezTo>
                      <a:pt x="414914" y="116605"/>
                      <a:pt x="414190" y="119168"/>
                      <a:pt x="414105" y="121792"/>
                    </a:cubicBezTo>
                    <a:cubicBezTo>
                      <a:pt x="414561" y="129600"/>
                      <a:pt x="426872" y="131196"/>
                      <a:pt x="432172" y="125497"/>
                    </a:cubicBezTo>
                    <a:cubicBezTo>
                      <a:pt x="437473" y="119797"/>
                      <a:pt x="437872" y="111134"/>
                      <a:pt x="437473" y="103326"/>
                    </a:cubicBezTo>
                    <a:cubicBezTo>
                      <a:pt x="437473" y="96600"/>
                      <a:pt x="437473" y="89818"/>
                      <a:pt x="437017" y="83092"/>
                    </a:cubicBezTo>
                    <a:cubicBezTo>
                      <a:pt x="437017" y="78761"/>
                      <a:pt x="437872" y="73118"/>
                      <a:pt x="442146" y="72491"/>
                    </a:cubicBezTo>
                    <a:cubicBezTo>
                      <a:pt x="444643" y="72505"/>
                      <a:pt x="447019" y="73558"/>
                      <a:pt x="448701" y="75398"/>
                    </a:cubicBezTo>
                    <a:cubicBezTo>
                      <a:pt x="457318" y="83623"/>
                      <a:pt x="466774" y="90921"/>
                      <a:pt x="476913" y="97170"/>
                    </a:cubicBezTo>
                    <a:cubicBezTo>
                      <a:pt x="487184" y="103437"/>
                      <a:pt x="499688" y="104875"/>
                      <a:pt x="511110" y="101103"/>
                    </a:cubicBezTo>
                    <a:cubicBezTo>
                      <a:pt x="512763" y="96999"/>
                      <a:pt x="509115" y="92782"/>
                      <a:pt x="505752" y="89704"/>
                    </a:cubicBezTo>
                    <a:lnTo>
                      <a:pt x="481416" y="68388"/>
                    </a:lnTo>
                    <a:cubicBezTo>
                      <a:pt x="493157" y="56989"/>
                      <a:pt x="512991" y="60807"/>
                      <a:pt x="527012" y="68958"/>
                    </a:cubicBezTo>
                    <a:cubicBezTo>
                      <a:pt x="541032" y="77108"/>
                      <a:pt x="554369" y="88792"/>
                      <a:pt x="570612" y="91186"/>
                    </a:cubicBezTo>
                    <a:cubicBezTo>
                      <a:pt x="575070" y="91412"/>
                      <a:pt x="579481" y="92236"/>
                      <a:pt x="583721" y="93636"/>
                    </a:cubicBezTo>
                    <a:cubicBezTo>
                      <a:pt x="587306" y="95434"/>
                      <a:pt x="590583" y="97802"/>
                      <a:pt x="593410" y="100647"/>
                    </a:cubicBezTo>
                    <a:cubicBezTo>
                      <a:pt x="603584" y="109667"/>
                      <a:pt x="615724" y="116186"/>
                      <a:pt x="628861" y="119683"/>
                    </a:cubicBezTo>
                    <a:cubicBezTo>
                      <a:pt x="635586" y="113585"/>
                      <a:pt x="627550" y="102984"/>
                      <a:pt x="619856" y="98196"/>
                    </a:cubicBezTo>
                    <a:cubicBezTo>
                      <a:pt x="606320" y="89785"/>
                      <a:pt x="591980" y="82740"/>
                      <a:pt x="577053" y="77165"/>
                    </a:cubicBezTo>
                    <a:cubicBezTo>
                      <a:pt x="573707" y="76382"/>
                      <a:pt x="570789" y="74341"/>
                      <a:pt x="568903" y="71466"/>
                    </a:cubicBezTo>
                    <a:cubicBezTo>
                      <a:pt x="566224" y="65766"/>
                      <a:pt x="573519" y="59668"/>
                      <a:pt x="579903" y="59554"/>
                    </a:cubicBezTo>
                    <a:cubicBezTo>
                      <a:pt x="586286" y="59440"/>
                      <a:pt x="592612" y="62346"/>
                      <a:pt x="598996" y="61548"/>
                    </a:cubicBezTo>
                    <a:cubicBezTo>
                      <a:pt x="600996" y="61424"/>
                      <a:pt x="602883" y="60573"/>
                      <a:pt x="604296" y="59155"/>
                    </a:cubicBezTo>
                    <a:cubicBezTo>
                      <a:pt x="608799" y="53797"/>
                      <a:pt x="600193" y="47072"/>
                      <a:pt x="593296" y="45704"/>
                    </a:cubicBezTo>
                    <a:cubicBezTo>
                      <a:pt x="586400" y="44336"/>
                      <a:pt x="577167" y="39548"/>
                      <a:pt x="580131" y="33222"/>
                    </a:cubicBezTo>
                    <a:lnTo>
                      <a:pt x="637125" y="30429"/>
                    </a:lnTo>
                    <a:cubicBezTo>
                      <a:pt x="652970" y="17435"/>
                      <a:pt x="676338" y="29631"/>
                      <a:pt x="696514" y="26041"/>
                    </a:cubicBezTo>
                    <a:cubicBezTo>
                      <a:pt x="706830" y="24217"/>
                      <a:pt x="716519" y="18574"/>
                      <a:pt x="727006" y="18688"/>
                    </a:cubicBezTo>
                    <a:cubicBezTo>
                      <a:pt x="737493" y="18802"/>
                      <a:pt x="748949" y="29175"/>
                      <a:pt x="744104" y="38580"/>
                    </a:cubicBezTo>
                    <a:lnTo>
                      <a:pt x="758068" y="41030"/>
                    </a:lnTo>
                    <a:cubicBezTo>
                      <a:pt x="764098" y="36891"/>
                      <a:pt x="766464" y="29134"/>
                      <a:pt x="763768" y="22336"/>
                    </a:cubicBezTo>
                    <a:cubicBezTo>
                      <a:pt x="762525" y="20273"/>
                      <a:pt x="761761" y="17954"/>
                      <a:pt x="761545" y="15554"/>
                    </a:cubicBezTo>
                    <a:cubicBezTo>
                      <a:pt x="761944" y="10994"/>
                      <a:pt x="767643" y="9341"/>
                      <a:pt x="772146" y="8828"/>
                    </a:cubicBezTo>
                    <a:cubicBezTo>
                      <a:pt x="809232" y="4345"/>
                      <a:pt x="846427" y="1514"/>
                      <a:pt x="883742" y="336"/>
                    </a:cubicBezTo>
                    <a:cubicBezTo>
                      <a:pt x="908135" y="-405"/>
                      <a:pt x="932928" y="-462"/>
                      <a:pt x="956353" y="6036"/>
                    </a:cubicBezTo>
                    <a:cubicBezTo>
                      <a:pt x="964395" y="8920"/>
                      <a:pt x="972619" y="11262"/>
                      <a:pt x="980975" y="13046"/>
                    </a:cubicBezTo>
                    <a:cubicBezTo>
                      <a:pt x="995850" y="15269"/>
                      <a:pt x="1011980" y="11507"/>
                      <a:pt x="1025487" y="18118"/>
                    </a:cubicBezTo>
                    <a:cubicBezTo>
                      <a:pt x="1035177" y="22906"/>
                      <a:pt x="1045436" y="32823"/>
                      <a:pt x="1054783" y="27466"/>
                    </a:cubicBezTo>
                    <a:lnTo>
                      <a:pt x="1058202" y="43709"/>
                    </a:lnTo>
                    <a:cubicBezTo>
                      <a:pt x="1079085" y="42239"/>
                      <a:pt x="1100076" y="43697"/>
                      <a:pt x="1120555" y="48041"/>
                    </a:cubicBezTo>
                    <a:cubicBezTo>
                      <a:pt x="1125969" y="49181"/>
                      <a:pt x="1132752" y="54766"/>
                      <a:pt x="1128819" y="58642"/>
                    </a:cubicBezTo>
                    <a:lnTo>
                      <a:pt x="1074845" y="71978"/>
                    </a:lnTo>
                    <a:cubicBezTo>
                      <a:pt x="1070342" y="73118"/>
                      <a:pt x="1065897" y="74201"/>
                      <a:pt x="1061337" y="74885"/>
                    </a:cubicBezTo>
                    <a:cubicBezTo>
                      <a:pt x="1056008" y="75589"/>
                      <a:pt x="1050639" y="76007"/>
                      <a:pt x="1045265" y="76139"/>
                    </a:cubicBezTo>
                    <a:lnTo>
                      <a:pt x="962166" y="79388"/>
                    </a:lnTo>
                    <a:cubicBezTo>
                      <a:pt x="954985" y="79673"/>
                      <a:pt x="945068" y="83890"/>
                      <a:pt x="947690" y="90787"/>
                    </a:cubicBezTo>
                    <a:cubicBezTo>
                      <a:pt x="926807" y="86158"/>
                      <a:pt x="904938" y="89990"/>
                      <a:pt x="886876" y="101445"/>
                    </a:cubicBezTo>
                    <a:cubicBezTo>
                      <a:pt x="880778" y="105320"/>
                      <a:pt x="875135" y="114554"/>
                      <a:pt x="881177" y="118543"/>
                    </a:cubicBezTo>
                    <a:cubicBezTo>
                      <a:pt x="928346" y="104329"/>
                      <a:pt x="977162" y="96283"/>
                      <a:pt x="1026399" y="94605"/>
                    </a:cubicBezTo>
                    <a:cubicBezTo>
                      <a:pt x="1031700" y="94605"/>
                      <a:pt x="1038596" y="95574"/>
                      <a:pt x="1039451" y="100761"/>
                    </a:cubicBezTo>
                    <a:lnTo>
                      <a:pt x="1007990" y="117859"/>
                    </a:lnTo>
                    <a:cubicBezTo>
                      <a:pt x="1004000" y="120025"/>
                      <a:pt x="999612" y="122704"/>
                      <a:pt x="998700" y="127092"/>
                    </a:cubicBezTo>
                    <a:cubicBezTo>
                      <a:pt x="997446" y="133077"/>
                      <a:pt x="1003772" y="138491"/>
                      <a:pt x="1010099" y="138491"/>
                    </a:cubicBezTo>
                    <a:cubicBezTo>
                      <a:pt x="1016209" y="138001"/>
                      <a:pt x="1022033" y="135721"/>
                      <a:pt x="1026855" y="131937"/>
                    </a:cubicBezTo>
                    <a:lnTo>
                      <a:pt x="1080601" y="97740"/>
                    </a:lnTo>
                    <a:cubicBezTo>
                      <a:pt x="1088239" y="92782"/>
                      <a:pt x="1097700" y="87709"/>
                      <a:pt x="1105964" y="91471"/>
                    </a:cubicBezTo>
                    <a:cubicBezTo>
                      <a:pt x="1114228" y="95232"/>
                      <a:pt x="1116622" y="105092"/>
                      <a:pt x="1117363" y="113813"/>
                    </a:cubicBezTo>
                    <a:cubicBezTo>
                      <a:pt x="1098258" y="130500"/>
                      <a:pt x="1082277" y="150456"/>
                      <a:pt x="1070172" y="172745"/>
                    </a:cubicBezTo>
                    <a:cubicBezTo>
                      <a:pt x="1076954" y="177305"/>
                      <a:pt x="1085845" y="172061"/>
                      <a:pt x="1092228" y="167046"/>
                    </a:cubicBezTo>
                    <a:cubicBezTo>
                      <a:pt x="1107856" y="155477"/>
                      <a:pt x="1122390" y="142504"/>
                      <a:pt x="1135658" y="128289"/>
                    </a:cubicBezTo>
                    <a:cubicBezTo>
                      <a:pt x="1141358" y="121450"/>
                      <a:pt x="1149451" y="113357"/>
                      <a:pt x="1158057" y="116092"/>
                    </a:cubicBezTo>
                    <a:cubicBezTo>
                      <a:pt x="1159026" y="120196"/>
                      <a:pt x="1160052" y="124300"/>
                      <a:pt x="1161021" y="128403"/>
                    </a:cubicBezTo>
                    <a:cubicBezTo>
                      <a:pt x="1166721" y="121963"/>
                      <a:pt x="1176524" y="122362"/>
                      <a:pt x="1184674" y="124528"/>
                    </a:cubicBezTo>
                    <a:cubicBezTo>
                      <a:pt x="1192824" y="126693"/>
                      <a:pt x="1201259" y="130227"/>
                      <a:pt x="1209410" y="128061"/>
                    </a:cubicBezTo>
                    <a:cubicBezTo>
                      <a:pt x="1217560" y="125895"/>
                      <a:pt x="1223487" y="114611"/>
                      <a:pt x="1217275" y="108911"/>
                    </a:cubicBezTo>
                    <a:cubicBezTo>
                      <a:pt x="1251996" y="92944"/>
                      <a:pt x="1292268" y="94597"/>
                      <a:pt x="1325565" y="113357"/>
                    </a:cubicBezTo>
                    <a:cubicBezTo>
                      <a:pt x="1327571" y="114309"/>
                      <a:pt x="1329298" y="115761"/>
                      <a:pt x="1330580" y="117574"/>
                    </a:cubicBezTo>
                    <a:cubicBezTo>
                      <a:pt x="1334342" y="124072"/>
                      <a:pt x="1326192" y="130797"/>
                      <a:pt x="1319182" y="133932"/>
                    </a:cubicBezTo>
                    <a:lnTo>
                      <a:pt x="1292736" y="145844"/>
                    </a:lnTo>
                    <a:cubicBezTo>
                      <a:pt x="1286124" y="148864"/>
                      <a:pt x="1279513" y="151828"/>
                      <a:pt x="1272731" y="154393"/>
                    </a:cubicBezTo>
                    <a:cubicBezTo>
                      <a:pt x="1244575" y="165051"/>
                      <a:pt x="1214197" y="168072"/>
                      <a:pt x="1184218" y="170978"/>
                    </a:cubicBezTo>
                    <a:cubicBezTo>
                      <a:pt x="1201043" y="180816"/>
                      <a:pt x="1221151" y="183368"/>
                      <a:pt x="1239902" y="178046"/>
                    </a:cubicBezTo>
                    <a:cubicBezTo>
                      <a:pt x="1242655" y="180942"/>
                      <a:pt x="1242541" y="185524"/>
                      <a:pt x="1239645" y="188279"/>
                    </a:cubicBezTo>
                    <a:cubicBezTo>
                      <a:pt x="1239423" y="188493"/>
                      <a:pt x="1239184" y="188692"/>
                      <a:pt x="1238933" y="188875"/>
                    </a:cubicBezTo>
                    <a:cubicBezTo>
                      <a:pt x="1235382" y="191134"/>
                      <a:pt x="1231227" y="192268"/>
                      <a:pt x="1227021" y="192123"/>
                    </a:cubicBezTo>
                    <a:lnTo>
                      <a:pt x="1181425" y="195201"/>
                    </a:lnTo>
                    <a:cubicBezTo>
                      <a:pt x="1167233" y="196170"/>
                      <a:pt x="1149394" y="200160"/>
                      <a:pt x="1146829" y="214123"/>
                    </a:cubicBezTo>
                    <a:cubicBezTo>
                      <a:pt x="1153042" y="220792"/>
                      <a:pt x="1163928" y="218854"/>
                      <a:pt x="1172135" y="214522"/>
                    </a:cubicBezTo>
                    <a:cubicBezTo>
                      <a:pt x="1180342" y="210191"/>
                      <a:pt x="1187466" y="203807"/>
                      <a:pt x="1196529" y="202781"/>
                    </a:cubicBezTo>
                    <a:cubicBezTo>
                      <a:pt x="1205591" y="201755"/>
                      <a:pt x="1216135" y="210305"/>
                      <a:pt x="1212487" y="218626"/>
                    </a:cubicBezTo>
                    <a:cubicBezTo>
                      <a:pt x="1203955" y="217873"/>
                      <a:pt x="1195360" y="218685"/>
                      <a:pt x="1187124" y="221020"/>
                    </a:cubicBezTo>
                    <a:cubicBezTo>
                      <a:pt x="1178758" y="223501"/>
                      <a:pt x="1172460" y="230415"/>
                      <a:pt x="1170767" y="238973"/>
                    </a:cubicBezTo>
                    <a:cubicBezTo>
                      <a:pt x="1171006" y="243787"/>
                      <a:pt x="1170819" y="248613"/>
                      <a:pt x="1170197" y="253393"/>
                    </a:cubicBezTo>
                    <a:cubicBezTo>
                      <a:pt x="1166664" y="265134"/>
                      <a:pt x="1150078" y="264792"/>
                      <a:pt x="1138109" y="262056"/>
                    </a:cubicBezTo>
                    <a:cubicBezTo>
                      <a:pt x="1132068" y="284247"/>
                      <a:pt x="1124761" y="306073"/>
                      <a:pt x="1116223" y="327429"/>
                    </a:cubicBezTo>
                    <a:cubicBezTo>
                      <a:pt x="1124835" y="325705"/>
                      <a:pt x="1132991" y="322190"/>
                      <a:pt x="1140161" y="317113"/>
                    </a:cubicBezTo>
                    <a:cubicBezTo>
                      <a:pt x="1147382" y="312017"/>
                      <a:pt x="1156233" y="309765"/>
                      <a:pt x="1165010" y="310786"/>
                    </a:cubicBezTo>
                    <a:cubicBezTo>
                      <a:pt x="1173560" y="312724"/>
                      <a:pt x="1180399" y="323097"/>
                      <a:pt x="1175726" y="330507"/>
                    </a:cubicBezTo>
                    <a:cubicBezTo>
                      <a:pt x="1169798" y="328519"/>
                      <a:pt x="1163466" y="328068"/>
                      <a:pt x="1157316" y="329196"/>
                    </a:cubicBezTo>
                    <a:cubicBezTo>
                      <a:pt x="1151013" y="330605"/>
                      <a:pt x="1146755" y="336503"/>
                      <a:pt x="1147399" y="342931"/>
                    </a:cubicBezTo>
                    <a:lnTo>
                      <a:pt x="1161021" y="342931"/>
                    </a:lnTo>
                    <a:cubicBezTo>
                      <a:pt x="1162047" y="347035"/>
                      <a:pt x="1163016" y="351139"/>
                      <a:pt x="1163985" y="355185"/>
                    </a:cubicBezTo>
                    <a:lnTo>
                      <a:pt x="1196700" y="344470"/>
                    </a:lnTo>
                    <a:cubicBezTo>
                      <a:pt x="1199988" y="348300"/>
                      <a:pt x="1202331" y="352848"/>
                      <a:pt x="1203539" y="357750"/>
                    </a:cubicBezTo>
                    <a:cubicBezTo>
                      <a:pt x="1204662" y="362840"/>
                      <a:pt x="1202040" y="368014"/>
                      <a:pt x="1197270" y="370118"/>
                    </a:cubicBezTo>
                    <a:cubicBezTo>
                      <a:pt x="1194403" y="370699"/>
                      <a:pt x="1191428" y="370501"/>
                      <a:pt x="1188663" y="369548"/>
                    </a:cubicBezTo>
                    <a:lnTo>
                      <a:pt x="1170710" y="364988"/>
                    </a:lnTo>
                    <a:cubicBezTo>
                      <a:pt x="1163477" y="362502"/>
                      <a:pt x="1155738" y="361875"/>
                      <a:pt x="1148197" y="363165"/>
                    </a:cubicBezTo>
                    <a:cubicBezTo>
                      <a:pt x="1140463" y="364809"/>
                      <a:pt x="1135191" y="371992"/>
                      <a:pt x="1135943" y="379864"/>
                    </a:cubicBezTo>
                    <a:cubicBezTo>
                      <a:pt x="1131937" y="375125"/>
                      <a:pt x="1126493" y="371823"/>
                      <a:pt x="1120441" y="370460"/>
                    </a:cubicBezTo>
                    <a:cubicBezTo>
                      <a:pt x="1114741" y="369605"/>
                      <a:pt x="1107731" y="374336"/>
                      <a:pt x="1108757" y="380092"/>
                    </a:cubicBezTo>
                    <a:cubicBezTo>
                      <a:pt x="1109783" y="385848"/>
                      <a:pt x="1116508" y="387843"/>
                      <a:pt x="1121523" y="390579"/>
                    </a:cubicBezTo>
                    <a:cubicBezTo>
                      <a:pt x="1130301" y="395310"/>
                      <a:pt x="1136741" y="405113"/>
                      <a:pt x="1146715" y="405968"/>
                    </a:cubicBezTo>
                    <a:cubicBezTo>
                      <a:pt x="1155265" y="406709"/>
                      <a:pt x="1164954" y="400610"/>
                      <a:pt x="1171736" y="405968"/>
                    </a:cubicBezTo>
                    <a:cubicBezTo>
                      <a:pt x="1179653" y="411864"/>
                      <a:pt x="1184486" y="421013"/>
                      <a:pt x="1184902" y="430874"/>
                    </a:cubicBezTo>
                    <a:cubicBezTo>
                      <a:pt x="1185608" y="434542"/>
                      <a:pt x="1184252" y="438303"/>
                      <a:pt x="1181368" y="440677"/>
                    </a:cubicBezTo>
                    <a:cubicBezTo>
                      <a:pt x="1178803" y="442159"/>
                      <a:pt x="1174928" y="441817"/>
                      <a:pt x="1173503" y="444382"/>
                    </a:cubicBezTo>
                    <a:cubicBezTo>
                      <a:pt x="1172078" y="446947"/>
                      <a:pt x="1173503" y="450082"/>
                      <a:pt x="1172078" y="452019"/>
                    </a:cubicBezTo>
                    <a:cubicBezTo>
                      <a:pt x="1170653" y="453957"/>
                      <a:pt x="1165352" y="451335"/>
                      <a:pt x="1162218" y="449284"/>
                    </a:cubicBezTo>
                    <a:cubicBezTo>
                      <a:pt x="1154467" y="444268"/>
                      <a:pt x="1143752" y="449740"/>
                      <a:pt x="1135145" y="446548"/>
                    </a:cubicBezTo>
                    <a:cubicBezTo>
                      <a:pt x="1130854" y="454603"/>
                      <a:pt x="1133903" y="464615"/>
                      <a:pt x="1141956" y="468908"/>
                    </a:cubicBezTo>
                    <a:cubicBezTo>
                      <a:pt x="1142247" y="469063"/>
                      <a:pt x="1142543" y="469209"/>
                      <a:pt x="1142840" y="469346"/>
                    </a:cubicBezTo>
                    <a:cubicBezTo>
                      <a:pt x="1145518" y="470486"/>
                      <a:pt x="1148881" y="471113"/>
                      <a:pt x="1150135" y="473791"/>
                    </a:cubicBezTo>
                    <a:cubicBezTo>
                      <a:pt x="1151389" y="476470"/>
                      <a:pt x="1150135" y="479035"/>
                      <a:pt x="1151845" y="480916"/>
                    </a:cubicBezTo>
                    <a:cubicBezTo>
                      <a:pt x="1153293" y="482205"/>
                      <a:pt x="1155219" y="482826"/>
                      <a:pt x="1157145" y="482625"/>
                    </a:cubicBezTo>
                    <a:lnTo>
                      <a:pt x="1183819" y="483195"/>
                    </a:lnTo>
                    <a:cubicBezTo>
                      <a:pt x="1185358" y="488184"/>
                      <a:pt x="1182901" y="493532"/>
                      <a:pt x="1178120" y="495620"/>
                    </a:cubicBezTo>
                    <a:cubicBezTo>
                      <a:pt x="1173434" y="497550"/>
                      <a:pt x="1168294" y="498103"/>
                      <a:pt x="1163301" y="497216"/>
                    </a:cubicBezTo>
                    <a:cubicBezTo>
                      <a:pt x="1149166" y="495897"/>
                      <a:pt x="1135248" y="492834"/>
                      <a:pt x="1121865" y="488097"/>
                    </a:cubicBezTo>
                    <a:cubicBezTo>
                      <a:pt x="1121427" y="495389"/>
                      <a:pt x="1124681" y="502413"/>
                      <a:pt x="1130529" y="506791"/>
                    </a:cubicBezTo>
                    <a:cubicBezTo>
                      <a:pt x="1136325" y="511025"/>
                      <a:pt x="1142805" y="514243"/>
                      <a:pt x="1149679" y="516309"/>
                    </a:cubicBezTo>
                    <a:lnTo>
                      <a:pt x="1151731" y="530444"/>
                    </a:lnTo>
                    <a:cubicBezTo>
                      <a:pt x="1134975" y="535134"/>
                      <a:pt x="1117791" y="538132"/>
                      <a:pt x="1100436" y="539392"/>
                    </a:cubicBezTo>
                    <a:cubicBezTo>
                      <a:pt x="1099290" y="533555"/>
                      <a:pt x="1093625" y="529752"/>
                      <a:pt x="1087789" y="530899"/>
                    </a:cubicBezTo>
                    <a:cubicBezTo>
                      <a:pt x="1086939" y="531066"/>
                      <a:pt x="1086118" y="531334"/>
                      <a:pt x="1085332" y="531698"/>
                    </a:cubicBezTo>
                    <a:cubicBezTo>
                      <a:pt x="1085719" y="528258"/>
                      <a:pt x="1085001" y="524783"/>
                      <a:pt x="1083280" y="521781"/>
                    </a:cubicBezTo>
                    <a:cubicBezTo>
                      <a:pt x="1077672" y="521161"/>
                      <a:pt x="1071995" y="521547"/>
                      <a:pt x="1066524" y="522921"/>
                    </a:cubicBezTo>
                    <a:cubicBezTo>
                      <a:pt x="1069470" y="528118"/>
                      <a:pt x="1067903" y="534709"/>
                      <a:pt x="1062933" y="538024"/>
                    </a:cubicBezTo>
                    <a:cubicBezTo>
                      <a:pt x="1058026" y="541105"/>
                      <a:pt x="1052053" y="541995"/>
                      <a:pt x="1046461" y="540475"/>
                    </a:cubicBezTo>
                    <a:cubicBezTo>
                      <a:pt x="1043526" y="545663"/>
                      <a:pt x="1042614" y="551753"/>
                      <a:pt x="1043897" y="557574"/>
                    </a:cubicBezTo>
                    <a:cubicBezTo>
                      <a:pt x="1047750" y="562483"/>
                      <a:pt x="1054190" y="564577"/>
                      <a:pt x="1060197" y="562874"/>
                    </a:cubicBezTo>
                    <a:cubicBezTo>
                      <a:pt x="1066182" y="561620"/>
                      <a:pt x="1071596" y="558485"/>
                      <a:pt x="1077296" y="556776"/>
                    </a:cubicBezTo>
                    <a:cubicBezTo>
                      <a:pt x="1088507" y="554430"/>
                      <a:pt x="1100111" y="554683"/>
                      <a:pt x="1111207" y="557517"/>
                    </a:cubicBezTo>
                    <a:cubicBezTo>
                      <a:pt x="1113693" y="557653"/>
                      <a:pt x="1116024" y="558759"/>
                      <a:pt x="1117705" y="560594"/>
                    </a:cubicBezTo>
                    <a:cubicBezTo>
                      <a:pt x="1121239" y="565667"/>
                      <a:pt x="1113659" y="574159"/>
                      <a:pt x="1118389" y="578092"/>
                    </a:cubicBezTo>
                    <a:cubicBezTo>
                      <a:pt x="1110923" y="581055"/>
                      <a:pt x="1102658" y="583791"/>
                      <a:pt x="1094964" y="581568"/>
                    </a:cubicBezTo>
                    <a:cubicBezTo>
                      <a:pt x="1088695" y="579460"/>
                      <a:pt x="1084021" y="573931"/>
                      <a:pt x="1077866" y="571708"/>
                    </a:cubicBezTo>
                    <a:cubicBezTo>
                      <a:pt x="1071710" y="569485"/>
                      <a:pt x="1062363" y="573874"/>
                      <a:pt x="1064358" y="580200"/>
                    </a:cubicBezTo>
                    <a:cubicBezTo>
                      <a:pt x="1065059" y="581973"/>
                      <a:pt x="1066199" y="583540"/>
                      <a:pt x="1067664" y="584760"/>
                    </a:cubicBezTo>
                    <a:cubicBezTo>
                      <a:pt x="1074731" y="591770"/>
                      <a:pt x="1082881" y="599294"/>
                      <a:pt x="1092855" y="599294"/>
                    </a:cubicBezTo>
                    <a:cubicBezTo>
                      <a:pt x="1094337" y="604993"/>
                      <a:pt x="1100549" y="607558"/>
                      <a:pt x="1105736" y="610066"/>
                    </a:cubicBezTo>
                    <a:cubicBezTo>
                      <a:pt x="1110923" y="612573"/>
                      <a:pt x="1116565" y="617247"/>
                      <a:pt x="1115425" y="622947"/>
                    </a:cubicBezTo>
                    <a:cubicBezTo>
                      <a:pt x="1117477" y="620382"/>
                      <a:pt x="1122037" y="621750"/>
                      <a:pt x="1123633" y="624599"/>
                    </a:cubicBezTo>
                    <a:cubicBezTo>
                      <a:pt x="1124898" y="627694"/>
                      <a:pt x="1125120" y="631114"/>
                      <a:pt x="1124259" y="634345"/>
                    </a:cubicBezTo>
                    <a:lnTo>
                      <a:pt x="1120327" y="659822"/>
                    </a:lnTo>
                    <a:cubicBezTo>
                      <a:pt x="1120275" y="663037"/>
                      <a:pt x="1118868" y="666080"/>
                      <a:pt x="1116451" y="668200"/>
                    </a:cubicBezTo>
                    <a:cubicBezTo>
                      <a:pt x="1110410" y="672076"/>
                      <a:pt x="1103912" y="662843"/>
                      <a:pt x="1096788" y="662159"/>
                    </a:cubicBezTo>
                    <a:cubicBezTo>
                      <a:pt x="1093539" y="662159"/>
                      <a:pt x="1090063" y="663413"/>
                      <a:pt x="1087042" y="662159"/>
                    </a:cubicBezTo>
                    <a:cubicBezTo>
                      <a:pt x="1082710" y="660221"/>
                      <a:pt x="1082653" y="653952"/>
                      <a:pt x="1079291" y="650760"/>
                    </a:cubicBezTo>
                    <a:cubicBezTo>
                      <a:pt x="1076743" y="648885"/>
                      <a:pt x="1073916" y="647420"/>
                      <a:pt x="1070912" y="646428"/>
                    </a:cubicBezTo>
                    <a:cubicBezTo>
                      <a:pt x="1065754" y="642900"/>
                      <a:pt x="1061195" y="638569"/>
                      <a:pt x="1057404" y="633605"/>
                    </a:cubicBezTo>
                    <a:cubicBezTo>
                      <a:pt x="1052959" y="629159"/>
                      <a:pt x="1046005" y="625910"/>
                      <a:pt x="1040306" y="629216"/>
                    </a:cubicBezTo>
                    <a:cubicBezTo>
                      <a:pt x="1041446" y="636340"/>
                      <a:pt x="1041058" y="643624"/>
                      <a:pt x="1039166" y="650589"/>
                    </a:cubicBezTo>
                    <a:cubicBezTo>
                      <a:pt x="1037109" y="657691"/>
                      <a:pt x="1030811" y="662729"/>
                      <a:pt x="1023436" y="663185"/>
                    </a:cubicBezTo>
                    <a:cubicBezTo>
                      <a:pt x="1023436" y="667801"/>
                      <a:pt x="1020130" y="671734"/>
                      <a:pt x="1019332" y="676294"/>
                    </a:cubicBezTo>
                    <a:cubicBezTo>
                      <a:pt x="1018534" y="680853"/>
                      <a:pt x="1024006" y="686382"/>
                      <a:pt x="1027083" y="683019"/>
                    </a:cubicBezTo>
                    <a:cubicBezTo>
                      <a:pt x="1028280" y="681708"/>
                      <a:pt x="1028337" y="679713"/>
                      <a:pt x="1029078" y="678060"/>
                    </a:cubicBezTo>
                    <a:cubicBezTo>
                      <a:pt x="1031062" y="674692"/>
                      <a:pt x="1035034" y="673039"/>
                      <a:pt x="1038824" y="674014"/>
                    </a:cubicBezTo>
                    <a:cubicBezTo>
                      <a:pt x="1042495" y="675034"/>
                      <a:pt x="1046034" y="676493"/>
                      <a:pt x="1049368" y="678345"/>
                    </a:cubicBezTo>
                    <a:cubicBezTo>
                      <a:pt x="1064985" y="685014"/>
                      <a:pt x="1082995" y="679371"/>
                      <a:pt x="1099866" y="681195"/>
                    </a:cubicBezTo>
                    <a:cubicBezTo>
                      <a:pt x="1104026" y="681651"/>
                      <a:pt x="1109213" y="683988"/>
                      <a:pt x="1108529" y="688148"/>
                    </a:cubicBezTo>
                    <a:cubicBezTo>
                      <a:pt x="1107845" y="692309"/>
                      <a:pt x="1103399" y="692879"/>
                      <a:pt x="1099695" y="693392"/>
                    </a:cubicBezTo>
                    <a:cubicBezTo>
                      <a:pt x="1085070" y="695410"/>
                      <a:pt x="1071095" y="700733"/>
                      <a:pt x="1058829" y="708952"/>
                    </a:cubicBezTo>
                    <a:cubicBezTo>
                      <a:pt x="1053529" y="712485"/>
                      <a:pt x="1048058" y="717615"/>
                      <a:pt x="1048513" y="723998"/>
                    </a:cubicBezTo>
                    <a:cubicBezTo>
                      <a:pt x="1043532" y="721553"/>
                      <a:pt x="1037548" y="722516"/>
                      <a:pt x="1033581" y="726392"/>
                    </a:cubicBezTo>
                    <a:cubicBezTo>
                      <a:pt x="1029751" y="730216"/>
                      <a:pt x="1025225" y="733277"/>
                      <a:pt x="1020244" y="735397"/>
                    </a:cubicBezTo>
                    <a:cubicBezTo>
                      <a:pt x="1016653" y="736366"/>
                      <a:pt x="1012778" y="735796"/>
                      <a:pt x="1008845" y="736537"/>
                    </a:cubicBezTo>
                    <a:cubicBezTo>
                      <a:pt x="1004582" y="737888"/>
                      <a:pt x="1000444" y="739603"/>
                      <a:pt x="996477" y="741667"/>
                    </a:cubicBezTo>
                    <a:cubicBezTo>
                      <a:pt x="985078" y="745941"/>
                      <a:pt x="972198" y="741382"/>
                      <a:pt x="959944" y="741667"/>
                    </a:cubicBezTo>
                    <a:cubicBezTo>
                      <a:pt x="957612" y="741627"/>
                      <a:pt x="955315" y="742197"/>
                      <a:pt x="953275" y="743319"/>
                    </a:cubicBezTo>
                    <a:cubicBezTo>
                      <a:pt x="947576" y="747081"/>
                      <a:pt x="948488" y="756599"/>
                      <a:pt x="943586" y="761615"/>
                    </a:cubicBezTo>
                    <a:cubicBezTo>
                      <a:pt x="933692" y="755619"/>
                      <a:pt x="921079" y="756554"/>
                      <a:pt x="912182" y="763951"/>
                    </a:cubicBezTo>
                    <a:cubicBezTo>
                      <a:pt x="911042" y="761216"/>
                      <a:pt x="909845" y="758252"/>
                      <a:pt x="908705" y="755630"/>
                    </a:cubicBezTo>
                    <a:lnTo>
                      <a:pt x="892690" y="753236"/>
                    </a:lnTo>
                    <a:cubicBezTo>
                      <a:pt x="891607" y="759734"/>
                      <a:pt x="890524" y="766174"/>
                      <a:pt x="889498" y="772672"/>
                    </a:cubicBezTo>
                    <a:cubicBezTo>
                      <a:pt x="879923" y="778371"/>
                      <a:pt x="873141" y="784071"/>
                      <a:pt x="863566" y="789770"/>
                    </a:cubicBezTo>
                    <a:cubicBezTo>
                      <a:pt x="869265" y="796381"/>
                      <a:pt x="865104" y="806869"/>
                      <a:pt x="859576" y="813879"/>
                    </a:cubicBezTo>
                    <a:cubicBezTo>
                      <a:pt x="851739" y="823665"/>
                      <a:pt x="842055" y="831821"/>
                      <a:pt x="831079" y="837874"/>
                    </a:cubicBezTo>
                    <a:cubicBezTo>
                      <a:pt x="818967" y="843915"/>
                      <a:pt x="806240" y="848634"/>
                      <a:pt x="793120" y="851951"/>
                    </a:cubicBezTo>
                    <a:lnTo>
                      <a:pt x="772488" y="857993"/>
                    </a:lnTo>
                    <a:cubicBezTo>
                      <a:pt x="780752" y="848874"/>
                      <a:pt x="772488" y="831262"/>
                      <a:pt x="760177" y="831718"/>
                    </a:cubicBezTo>
                    <a:cubicBezTo>
                      <a:pt x="764662" y="841174"/>
                      <a:pt x="761357" y="852493"/>
                      <a:pt x="752483" y="858050"/>
                    </a:cubicBezTo>
                    <a:cubicBezTo>
                      <a:pt x="743626" y="863145"/>
                      <a:pt x="732979" y="864108"/>
                      <a:pt x="723358" y="860671"/>
                    </a:cubicBezTo>
                    <a:cubicBezTo>
                      <a:pt x="727029" y="869346"/>
                      <a:pt x="725627" y="879332"/>
                      <a:pt x="719711" y="886661"/>
                    </a:cubicBezTo>
                    <a:cubicBezTo>
                      <a:pt x="716935" y="876100"/>
                      <a:pt x="706117" y="869785"/>
                      <a:pt x="695556" y="872561"/>
                    </a:cubicBezTo>
                    <a:cubicBezTo>
                      <a:pt x="694314" y="872891"/>
                      <a:pt x="693106" y="873336"/>
                      <a:pt x="691954" y="873894"/>
                    </a:cubicBezTo>
                    <a:cubicBezTo>
                      <a:pt x="691954" y="880335"/>
                      <a:pt x="698737" y="884153"/>
                      <a:pt x="704322" y="887231"/>
                    </a:cubicBezTo>
                    <a:cubicBezTo>
                      <a:pt x="709908" y="890309"/>
                      <a:pt x="715721" y="896749"/>
                      <a:pt x="712643" y="902278"/>
                    </a:cubicBezTo>
                    <a:lnTo>
                      <a:pt x="703809" y="899770"/>
                    </a:lnTo>
                    <a:lnTo>
                      <a:pt x="714068" y="912993"/>
                    </a:lnTo>
                    <a:cubicBezTo>
                      <a:pt x="707867" y="910525"/>
                      <a:pt x="700788" y="912651"/>
                      <a:pt x="696970" y="918122"/>
                    </a:cubicBezTo>
                    <a:cubicBezTo>
                      <a:pt x="694006" y="923822"/>
                      <a:pt x="700162" y="932257"/>
                      <a:pt x="705804" y="929521"/>
                    </a:cubicBezTo>
                    <a:cubicBezTo>
                      <a:pt x="703427" y="936190"/>
                      <a:pt x="697312" y="940806"/>
                      <a:pt x="690244" y="941262"/>
                    </a:cubicBezTo>
                    <a:cubicBezTo>
                      <a:pt x="696628" y="944112"/>
                      <a:pt x="697027" y="953744"/>
                      <a:pt x="692752" y="959215"/>
                    </a:cubicBezTo>
                    <a:cubicBezTo>
                      <a:pt x="687896" y="964271"/>
                      <a:pt x="681616" y="967730"/>
                      <a:pt x="674742" y="969132"/>
                    </a:cubicBezTo>
                    <a:lnTo>
                      <a:pt x="658669" y="974148"/>
                    </a:lnTo>
                    <a:cubicBezTo>
                      <a:pt x="657085" y="980258"/>
                      <a:pt x="658504" y="986750"/>
                      <a:pt x="662488" y="991645"/>
                    </a:cubicBezTo>
                    <a:cubicBezTo>
                      <a:pt x="666449" y="996479"/>
                      <a:pt x="669208" y="1002178"/>
                      <a:pt x="670524" y="1008288"/>
                    </a:cubicBezTo>
                    <a:cubicBezTo>
                      <a:pt x="671037" y="1014443"/>
                      <a:pt x="665737" y="1021568"/>
                      <a:pt x="659752" y="1019972"/>
                    </a:cubicBezTo>
                    <a:cubicBezTo>
                      <a:pt x="661958" y="1029023"/>
                      <a:pt x="662328" y="1038421"/>
                      <a:pt x="660835" y="1047614"/>
                    </a:cubicBezTo>
                    <a:cubicBezTo>
                      <a:pt x="659182" y="1056967"/>
                      <a:pt x="652161" y="1064456"/>
                      <a:pt x="642939" y="1066708"/>
                    </a:cubicBezTo>
                    <a:cubicBezTo>
                      <a:pt x="641571" y="1070241"/>
                      <a:pt x="640203" y="1073775"/>
                      <a:pt x="638892" y="1077251"/>
                    </a:cubicBezTo>
                    <a:cubicBezTo>
                      <a:pt x="632611" y="1076345"/>
                      <a:pt x="627630" y="1071484"/>
                      <a:pt x="626581" y="1065226"/>
                    </a:cubicBezTo>
                    <a:cubicBezTo>
                      <a:pt x="617918" y="1066024"/>
                      <a:pt x="607659" y="1066195"/>
                      <a:pt x="602302" y="1059526"/>
                    </a:cubicBezTo>
                    <a:cubicBezTo>
                      <a:pt x="600193" y="1056790"/>
                      <a:pt x="599167" y="1053314"/>
                      <a:pt x="596602" y="1050692"/>
                    </a:cubicBezTo>
                    <a:cubicBezTo>
                      <a:pt x="589592" y="1042884"/>
                      <a:pt x="576711" y="1047899"/>
                      <a:pt x="566452" y="1045562"/>
                    </a:cubicBezTo>
                    <a:cubicBezTo>
                      <a:pt x="559322" y="1042963"/>
                      <a:pt x="552722" y="1039105"/>
                      <a:pt x="546960" y="1034163"/>
                    </a:cubicBezTo>
                    <a:cubicBezTo>
                      <a:pt x="540633" y="1029946"/>
                      <a:pt x="532027" y="1027153"/>
                      <a:pt x="525644" y="1031257"/>
                    </a:cubicBezTo>
                    <a:cubicBezTo>
                      <a:pt x="530032" y="1024132"/>
                      <a:pt x="526385" y="1014614"/>
                      <a:pt x="520856" y="1008459"/>
                    </a:cubicBezTo>
                    <a:cubicBezTo>
                      <a:pt x="514701" y="1002885"/>
                      <a:pt x="508984" y="996843"/>
                      <a:pt x="503758" y="990392"/>
                    </a:cubicBezTo>
                    <a:cubicBezTo>
                      <a:pt x="496918" y="979620"/>
                      <a:pt x="498058" y="965713"/>
                      <a:pt x="500452" y="953231"/>
                    </a:cubicBezTo>
                    <a:cubicBezTo>
                      <a:pt x="494792" y="952969"/>
                      <a:pt x="489270" y="951384"/>
                      <a:pt x="484322" y="948614"/>
                    </a:cubicBezTo>
                    <a:cubicBezTo>
                      <a:pt x="479341" y="945577"/>
                      <a:pt x="477175" y="939461"/>
                      <a:pt x="479136" y="933967"/>
                    </a:cubicBezTo>
                    <a:cubicBezTo>
                      <a:pt x="474348" y="936019"/>
                      <a:pt x="469276" y="931516"/>
                      <a:pt x="466996" y="926842"/>
                    </a:cubicBezTo>
                    <a:cubicBezTo>
                      <a:pt x="465497" y="921872"/>
                      <a:pt x="462881" y="917313"/>
                      <a:pt x="459359" y="913506"/>
                    </a:cubicBezTo>
                    <a:cubicBezTo>
                      <a:pt x="456167" y="911055"/>
                      <a:pt x="451323" y="910200"/>
                      <a:pt x="449898" y="906438"/>
                    </a:cubicBezTo>
                    <a:cubicBezTo>
                      <a:pt x="447846" y="901138"/>
                      <a:pt x="454172" y="896863"/>
                      <a:pt x="457079" y="891962"/>
                    </a:cubicBezTo>
                    <a:cubicBezTo>
                      <a:pt x="461923" y="883811"/>
                      <a:pt x="456224" y="873210"/>
                      <a:pt x="448815" y="867283"/>
                    </a:cubicBezTo>
                    <a:cubicBezTo>
                      <a:pt x="441405" y="861355"/>
                      <a:pt x="432229" y="857480"/>
                      <a:pt x="426359" y="850184"/>
                    </a:cubicBezTo>
                    <a:cubicBezTo>
                      <a:pt x="420488" y="842889"/>
                      <a:pt x="420659" y="829210"/>
                      <a:pt x="429664" y="826019"/>
                    </a:cubicBezTo>
                    <a:cubicBezTo>
                      <a:pt x="434224" y="824423"/>
                      <a:pt x="439980" y="826019"/>
                      <a:pt x="443343" y="822371"/>
                    </a:cubicBezTo>
                    <a:cubicBezTo>
                      <a:pt x="449043" y="816672"/>
                      <a:pt x="439867" y="807552"/>
                      <a:pt x="431944" y="805273"/>
                    </a:cubicBezTo>
                    <a:cubicBezTo>
                      <a:pt x="424022" y="802993"/>
                      <a:pt x="413136" y="797920"/>
                      <a:pt x="415815" y="789998"/>
                    </a:cubicBezTo>
                    <a:cubicBezTo>
                      <a:pt x="416898" y="786749"/>
                      <a:pt x="420089" y="784755"/>
                      <a:pt x="422483" y="782304"/>
                    </a:cubicBezTo>
                    <a:cubicBezTo>
                      <a:pt x="428867" y="775635"/>
                      <a:pt x="429437" y="765205"/>
                      <a:pt x="433882" y="757283"/>
                    </a:cubicBezTo>
                    <a:cubicBezTo>
                      <a:pt x="441143" y="744915"/>
                      <a:pt x="456241" y="739552"/>
                      <a:pt x="469675" y="744573"/>
                    </a:cubicBezTo>
                    <a:lnTo>
                      <a:pt x="479706" y="748905"/>
                    </a:lnTo>
                    <a:cubicBezTo>
                      <a:pt x="483467" y="734941"/>
                      <a:pt x="487172" y="720920"/>
                      <a:pt x="491105" y="706957"/>
                    </a:cubicBezTo>
                    <a:cubicBezTo>
                      <a:pt x="490250" y="690314"/>
                      <a:pt x="472581" y="680112"/>
                      <a:pt x="456623" y="675325"/>
                    </a:cubicBezTo>
                    <a:cubicBezTo>
                      <a:pt x="440665" y="670537"/>
                      <a:pt x="422426" y="666661"/>
                      <a:pt x="413307" y="652527"/>
                    </a:cubicBezTo>
                    <a:cubicBezTo>
                      <a:pt x="437404" y="651142"/>
                      <a:pt x="461371" y="656887"/>
                      <a:pt x="482214" y="669055"/>
                    </a:cubicBezTo>
                    <a:cubicBezTo>
                      <a:pt x="488711" y="662957"/>
                      <a:pt x="479706" y="653040"/>
                      <a:pt x="471784" y="648936"/>
                    </a:cubicBezTo>
                    <a:lnTo>
                      <a:pt x="437302" y="631040"/>
                    </a:lnTo>
                    <a:lnTo>
                      <a:pt x="433540" y="603340"/>
                    </a:lnTo>
                    <a:cubicBezTo>
                      <a:pt x="423629" y="599738"/>
                      <a:pt x="412526" y="602178"/>
                      <a:pt x="405043" y="609610"/>
                    </a:cubicBezTo>
                    <a:cubicBezTo>
                      <a:pt x="401509" y="613200"/>
                      <a:pt x="397577" y="618330"/>
                      <a:pt x="392675" y="616962"/>
                    </a:cubicBezTo>
                    <a:cubicBezTo>
                      <a:pt x="389671" y="615600"/>
                      <a:pt x="387466" y="612927"/>
                      <a:pt x="386691" y="609724"/>
                    </a:cubicBezTo>
                    <a:cubicBezTo>
                      <a:pt x="383619" y="601539"/>
                      <a:pt x="382017" y="592876"/>
                      <a:pt x="381960" y="584133"/>
                    </a:cubicBezTo>
                    <a:cubicBezTo>
                      <a:pt x="381738" y="581660"/>
                      <a:pt x="382273" y="579175"/>
                      <a:pt x="383499" y="577009"/>
                    </a:cubicBezTo>
                    <a:cubicBezTo>
                      <a:pt x="387887" y="570625"/>
                      <a:pt x="402250" y="572050"/>
                      <a:pt x="401053" y="564356"/>
                    </a:cubicBezTo>
                    <a:cubicBezTo>
                      <a:pt x="400027" y="557574"/>
                      <a:pt x="386975" y="559112"/>
                      <a:pt x="385664" y="552387"/>
                    </a:cubicBezTo>
                    <a:cubicBezTo>
                      <a:pt x="385476" y="550441"/>
                      <a:pt x="385790" y="548478"/>
                      <a:pt x="386576" y="546688"/>
                    </a:cubicBezTo>
                    <a:cubicBezTo>
                      <a:pt x="389723" y="534096"/>
                      <a:pt x="382456" y="521247"/>
                      <a:pt x="370048" y="517449"/>
                    </a:cubicBezTo>
                    <a:cubicBezTo>
                      <a:pt x="371729" y="507313"/>
                      <a:pt x="369535" y="496914"/>
                      <a:pt x="363893" y="488325"/>
                    </a:cubicBezTo>
                    <a:cubicBezTo>
                      <a:pt x="360034" y="483795"/>
                      <a:pt x="355657" y="479739"/>
                      <a:pt x="350841" y="476242"/>
                    </a:cubicBezTo>
                    <a:lnTo>
                      <a:pt x="330665" y="460455"/>
                    </a:lnTo>
                    <a:cubicBezTo>
                      <a:pt x="326236" y="457654"/>
                      <a:pt x="322805" y="453525"/>
                      <a:pt x="320862" y="448657"/>
                    </a:cubicBezTo>
                    <a:cubicBezTo>
                      <a:pt x="320178" y="446149"/>
                      <a:pt x="320292" y="443470"/>
                      <a:pt x="319608" y="440905"/>
                    </a:cubicBezTo>
                    <a:cubicBezTo>
                      <a:pt x="315504" y="426315"/>
                      <a:pt x="290084" y="429506"/>
                      <a:pt x="283359" y="416170"/>
                    </a:cubicBezTo>
                    <a:cubicBezTo>
                      <a:pt x="282105" y="413719"/>
                      <a:pt x="281535" y="410470"/>
                      <a:pt x="279198" y="409273"/>
                    </a:cubicBezTo>
                    <a:cubicBezTo>
                      <a:pt x="277545" y="408426"/>
                      <a:pt x="275693" y="408051"/>
                      <a:pt x="273841" y="408190"/>
                    </a:cubicBezTo>
                    <a:cubicBezTo>
                      <a:pt x="248193" y="407449"/>
                      <a:pt x="224996" y="390180"/>
                      <a:pt x="199292" y="390294"/>
                    </a:cubicBezTo>
                    <a:cubicBezTo>
                      <a:pt x="201161" y="394492"/>
                      <a:pt x="199275" y="399411"/>
                      <a:pt x="195074" y="401281"/>
                    </a:cubicBezTo>
                    <a:cubicBezTo>
                      <a:pt x="194704" y="401446"/>
                      <a:pt x="194322" y="401584"/>
                      <a:pt x="193934" y="401693"/>
                    </a:cubicBezTo>
                    <a:cubicBezTo>
                      <a:pt x="189432" y="401933"/>
                      <a:pt x="184975" y="400714"/>
                      <a:pt x="181224" y="398216"/>
                    </a:cubicBezTo>
                    <a:cubicBezTo>
                      <a:pt x="177121" y="396335"/>
                      <a:pt x="171478" y="395595"/>
                      <a:pt x="168914" y="399242"/>
                    </a:cubicBezTo>
                    <a:cubicBezTo>
                      <a:pt x="167204" y="401636"/>
                      <a:pt x="167546" y="404942"/>
                      <a:pt x="166235" y="407563"/>
                    </a:cubicBezTo>
                    <a:cubicBezTo>
                      <a:pt x="163060" y="411872"/>
                      <a:pt x="156996" y="412793"/>
                      <a:pt x="152687" y="409619"/>
                    </a:cubicBezTo>
                    <a:cubicBezTo>
                      <a:pt x="152585" y="409544"/>
                      <a:pt x="152482" y="409466"/>
                      <a:pt x="152385" y="409387"/>
                    </a:cubicBezTo>
                    <a:cubicBezTo>
                      <a:pt x="148430" y="405818"/>
                      <a:pt x="145580" y="401189"/>
                      <a:pt x="144178" y="396050"/>
                    </a:cubicBezTo>
                    <a:lnTo>
                      <a:pt x="132779" y="396050"/>
                    </a:lnTo>
                    <a:cubicBezTo>
                      <a:pt x="131753" y="403279"/>
                      <a:pt x="131468" y="410593"/>
                      <a:pt x="131924" y="417879"/>
                    </a:cubicBezTo>
                    <a:cubicBezTo>
                      <a:pt x="122736" y="416889"/>
                      <a:pt x="113777" y="414365"/>
                      <a:pt x="105421" y="410413"/>
                    </a:cubicBezTo>
                    <a:lnTo>
                      <a:pt x="76525" y="398729"/>
                    </a:lnTo>
                    <a:cubicBezTo>
                      <a:pt x="70484" y="396278"/>
                      <a:pt x="63188" y="391491"/>
                      <a:pt x="65126" y="385278"/>
                    </a:cubicBezTo>
                    <a:cubicBezTo>
                      <a:pt x="70033" y="386011"/>
                      <a:pt x="75032" y="385858"/>
                      <a:pt x="79888" y="384823"/>
                    </a:cubicBezTo>
                    <a:cubicBezTo>
                      <a:pt x="80805" y="380691"/>
                      <a:pt x="81079" y="376441"/>
                      <a:pt x="80686" y="372227"/>
                    </a:cubicBezTo>
                    <a:cubicBezTo>
                      <a:pt x="65981" y="369947"/>
                      <a:pt x="51960" y="362709"/>
                      <a:pt x="36572" y="361911"/>
                    </a:cubicBezTo>
                    <a:close/>
                    <a:moveTo>
                      <a:pt x="397690" y="686382"/>
                    </a:moveTo>
                    <a:cubicBezTo>
                      <a:pt x="396425" y="688513"/>
                      <a:pt x="395684" y="690918"/>
                      <a:pt x="395525" y="693392"/>
                    </a:cubicBezTo>
                    <a:cubicBezTo>
                      <a:pt x="395525" y="700345"/>
                      <a:pt x="403675" y="703822"/>
                      <a:pt x="409089" y="708268"/>
                    </a:cubicBezTo>
                    <a:cubicBezTo>
                      <a:pt x="415815" y="713967"/>
                      <a:pt x="420089" y="723143"/>
                      <a:pt x="428639" y="725024"/>
                    </a:cubicBezTo>
                    <a:cubicBezTo>
                      <a:pt x="434076" y="725697"/>
                      <a:pt x="439582" y="724448"/>
                      <a:pt x="444198" y="721490"/>
                    </a:cubicBezTo>
                    <a:cubicBezTo>
                      <a:pt x="446894" y="720225"/>
                      <a:pt x="449299" y="718418"/>
                      <a:pt x="451265" y="716190"/>
                    </a:cubicBezTo>
                    <a:cubicBezTo>
                      <a:pt x="453203" y="713853"/>
                      <a:pt x="453745" y="710656"/>
                      <a:pt x="452690" y="707812"/>
                    </a:cubicBezTo>
                    <a:cubicBezTo>
                      <a:pt x="450866" y="703993"/>
                      <a:pt x="445224" y="701542"/>
                      <a:pt x="446307" y="697439"/>
                    </a:cubicBezTo>
                    <a:cubicBezTo>
                      <a:pt x="443896" y="694948"/>
                      <a:pt x="441719" y="692241"/>
                      <a:pt x="439809" y="689345"/>
                    </a:cubicBezTo>
                    <a:cubicBezTo>
                      <a:pt x="434845" y="684102"/>
                      <a:pt x="428741" y="680067"/>
                      <a:pt x="421970" y="677547"/>
                    </a:cubicBezTo>
                    <a:cubicBezTo>
                      <a:pt x="418152" y="675302"/>
                      <a:pt x="413723" y="674322"/>
                      <a:pt x="409317" y="674755"/>
                    </a:cubicBezTo>
                    <a:cubicBezTo>
                      <a:pt x="403897" y="676698"/>
                      <a:pt x="399634" y="680961"/>
                      <a:pt x="397690" y="68638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2" name="Freihandform: Form 606">
                <a:extLst>
                  <a:ext uri="{FF2B5EF4-FFF2-40B4-BE49-F238E27FC236}">
                    <a16:creationId xmlns:a16="http://schemas.microsoft.com/office/drawing/2014/main" id="{09B51DBF-7E0E-DD00-083F-2D08C75A9037}"/>
                  </a:ext>
                </a:extLst>
              </p:cNvPr>
              <p:cNvSpPr/>
              <p:nvPr/>
            </p:nvSpPr>
            <p:spPr>
              <a:xfrm>
                <a:off x="3241017" y="2388050"/>
                <a:ext cx="237824" cy="104646"/>
              </a:xfrm>
              <a:custGeom>
                <a:avLst/>
                <a:gdLst>
                  <a:gd name="connsiteX0" fmla="*/ 226261 w 237824"/>
                  <a:gd name="connsiteY0" fmla="*/ 53635 h 104646"/>
                  <a:gd name="connsiteX1" fmla="*/ 223639 w 237824"/>
                  <a:gd name="connsiteY1" fmla="*/ 58651 h 104646"/>
                  <a:gd name="connsiteX2" fmla="*/ 213038 w 237824"/>
                  <a:gd name="connsiteY2" fmla="*/ 63723 h 104646"/>
                  <a:gd name="connsiteX3" fmla="*/ 169551 w 237824"/>
                  <a:gd name="connsiteY3" fmla="*/ 69765 h 104646"/>
                  <a:gd name="connsiteX4" fmla="*/ 154220 w 237824"/>
                  <a:gd name="connsiteY4" fmla="*/ 74666 h 104646"/>
                  <a:gd name="connsiteX5" fmla="*/ 136210 w 237824"/>
                  <a:gd name="connsiteY5" fmla="*/ 99345 h 104646"/>
                  <a:gd name="connsiteX6" fmla="*/ 122930 w 237824"/>
                  <a:gd name="connsiteY6" fmla="*/ 102366 h 104646"/>
                  <a:gd name="connsiteX7" fmla="*/ 91241 w 237824"/>
                  <a:gd name="connsiteY7" fmla="*/ 104417 h 104646"/>
                  <a:gd name="connsiteX8" fmla="*/ 80241 w 237824"/>
                  <a:gd name="connsiteY8" fmla="*/ 103847 h 104646"/>
                  <a:gd name="connsiteX9" fmla="*/ 64054 w 237824"/>
                  <a:gd name="connsiteY9" fmla="*/ 96552 h 104646"/>
                  <a:gd name="connsiteX10" fmla="*/ 52199 w 237824"/>
                  <a:gd name="connsiteY10" fmla="*/ 99402 h 104646"/>
                  <a:gd name="connsiteX11" fmla="*/ 40230 w 237824"/>
                  <a:gd name="connsiteY11" fmla="*/ 101739 h 104646"/>
                  <a:gd name="connsiteX12" fmla="*/ 33790 w 237824"/>
                  <a:gd name="connsiteY12" fmla="*/ 92904 h 104646"/>
                  <a:gd name="connsiteX13" fmla="*/ 43308 w 237824"/>
                  <a:gd name="connsiteY13" fmla="*/ 87946 h 104646"/>
                  <a:gd name="connsiteX14" fmla="*/ 54707 w 237824"/>
                  <a:gd name="connsiteY14" fmla="*/ 88231 h 104646"/>
                  <a:gd name="connsiteX15" fmla="*/ 59723 w 237824"/>
                  <a:gd name="connsiteY15" fmla="*/ 79625 h 104646"/>
                  <a:gd name="connsiteX16" fmla="*/ 44733 w 237824"/>
                  <a:gd name="connsiteY16" fmla="*/ 71474 h 104646"/>
                  <a:gd name="connsiteX17" fmla="*/ 40230 w 237824"/>
                  <a:gd name="connsiteY17" fmla="*/ 69537 h 104646"/>
                  <a:gd name="connsiteX18" fmla="*/ 33619 w 237824"/>
                  <a:gd name="connsiteY18" fmla="*/ 69537 h 104646"/>
                  <a:gd name="connsiteX19" fmla="*/ 5920 w 237824"/>
                  <a:gd name="connsiteY19" fmla="*/ 56998 h 104646"/>
                  <a:gd name="connsiteX20" fmla="*/ 38236 w 237824"/>
                  <a:gd name="connsiteY20" fmla="*/ 57283 h 104646"/>
                  <a:gd name="connsiteX21" fmla="*/ 42795 w 237824"/>
                  <a:gd name="connsiteY21" fmla="*/ 56656 h 104646"/>
                  <a:gd name="connsiteX22" fmla="*/ 46044 w 237824"/>
                  <a:gd name="connsiteY22" fmla="*/ 53863 h 104646"/>
                  <a:gd name="connsiteX23" fmla="*/ 50832 w 237824"/>
                  <a:gd name="connsiteY23" fmla="*/ 36480 h 104646"/>
                  <a:gd name="connsiteX24" fmla="*/ 34075 w 237824"/>
                  <a:gd name="connsiteY24" fmla="*/ 35055 h 104646"/>
                  <a:gd name="connsiteX25" fmla="*/ 11790 w 237824"/>
                  <a:gd name="connsiteY25" fmla="*/ 37734 h 104646"/>
                  <a:gd name="connsiteX26" fmla="*/ 2272 w 237824"/>
                  <a:gd name="connsiteY26" fmla="*/ 35055 h 104646"/>
                  <a:gd name="connsiteX27" fmla="*/ 1149 w 237824"/>
                  <a:gd name="connsiteY27" fmla="*/ 27076 h 104646"/>
                  <a:gd name="connsiteX28" fmla="*/ 1873 w 237824"/>
                  <a:gd name="connsiteY28" fmla="*/ 26278 h 104646"/>
                  <a:gd name="connsiteX29" fmla="*/ 7003 w 237824"/>
                  <a:gd name="connsiteY29" fmla="*/ 24739 h 104646"/>
                  <a:gd name="connsiteX30" fmla="*/ 12263 w 237824"/>
                  <a:gd name="connsiteY30" fmla="*/ 13944 h 104646"/>
                  <a:gd name="connsiteX31" fmla="*/ 12189 w 237824"/>
                  <a:gd name="connsiteY31" fmla="*/ 13739 h 104646"/>
                  <a:gd name="connsiteX32" fmla="*/ 18744 w 237824"/>
                  <a:gd name="connsiteY32" fmla="*/ 8723 h 104646"/>
                  <a:gd name="connsiteX33" fmla="*/ 27065 w 237824"/>
                  <a:gd name="connsiteY33" fmla="*/ 13568 h 104646"/>
                  <a:gd name="connsiteX34" fmla="*/ 35614 w 237824"/>
                  <a:gd name="connsiteY34" fmla="*/ 17386 h 104646"/>
                  <a:gd name="connsiteX35" fmla="*/ 34474 w 237824"/>
                  <a:gd name="connsiteY35" fmla="*/ 2853 h 104646"/>
                  <a:gd name="connsiteX36" fmla="*/ 36868 w 237824"/>
                  <a:gd name="connsiteY36" fmla="*/ 1941 h 104646"/>
                  <a:gd name="connsiteX37" fmla="*/ 48267 w 237824"/>
                  <a:gd name="connsiteY37" fmla="*/ 5418 h 104646"/>
                  <a:gd name="connsiteX38" fmla="*/ 54707 w 237824"/>
                  <a:gd name="connsiteY38" fmla="*/ 13910 h 104646"/>
                  <a:gd name="connsiteX39" fmla="*/ 63883 w 237824"/>
                  <a:gd name="connsiteY39" fmla="*/ 18298 h 104646"/>
                  <a:gd name="connsiteX40" fmla="*/ 63883 w 237824"/>
                  <a:gd name="connsiteY40" fmla="*/ 24625 h 104646"/>
                  <a:gd name="connsiteX41" fmla="*/ 59495 w 237824"/>
                  <a:gd name="connsiteY41" fmla="*/ 30723 h 104646"/>
                  <a:gd name="connsiteX42" fmla="*/ 62914 w 237824"/>
                  <a:gd name="connsiteY42" fmla="*/ 40070 h 104646"/>
                  <a:gd name="connsiteX43" fmla="*/ 72261 w 237824"/>
                  <a:gd name="connsiteY43" fmla="*/ 40070 h 104646"/>
                  <a:gd name="connsiteX44" fmla="*/ 80412 w 237824"/>
                  <a:gd name="connsiteY44" fmla="*/ 36765 h 104646"/>
                  <a:gd name="connsiteX45" fmla="*/ 81780 w 237824"/>
                  <a:gd name="connsiteY45" fmla="*/ 33231 h 104646"/>
                  <a:gd name="connsiteX46" fmla="*/ 89987 w 237824"/>
                  <a:gd name="connsiteY46" fmla="*/ 30495 h 104646"/>
                  <a:gd name="connsiteX47" fmla="*/ 86852 w 237824"/>
                  <a:gd name="connsiteY47" fmla="*/ 17443 h 104646"/>
                  <a:gd name="connsiteX48" fmla="*/ 99773 w 237824"/>
                  <a:gd name="connsiteY48" fmla="*/ 16229 h 104646"/>
                  <a:gd name="connsiteX49" fmla="*/ 100987 w 237824"/>
                  <a:gd name="connsiteY49" fmla="*/ 17443 h 104646"/>
                  <a:gd name="connsiteX50" fmla="*/ 103552 w 237824"/>
                  <a:gd name="connsiteY50" fmla="*/ 20293 h 104646"/>
                  <a:gd name="connsiteX51" fmla="*/ 108681 w 237824"/>
                  <a:gd name="connsiteY51" fmla="*/ 16133 h 104646"/>
                  <a:gd name="connsiteX52" fmla="*/ 111930 w 237824"/>
                  <a:gd name="connsiteY52" fmla="*/ 9635 h 104646"/>
                  <a:gd name="connsiteX53" fmla="*/ 121220 w 237824"/>
                  <a:gd name="connsiteY53" fmla="*/ 13454 h 104646"/>
                  <a:gd name="connsiteX54" fmla="*/ 129997 w 237824"/>
                  <a:gd name="connsiteY54" fmla="*/ 19837 h 104646"/>
                  <a:gd name="connsiteX55" fmla="*/ 139002 w 237824"/>
                  <a:gd name="connsiteY55" fmla="*/ 9863 h 104646"/>
                  <a:gd name="connsiteX56" fmla="*/ 150401 w 237824"/>
                  <a:gd name="connsiteY56" fmla="*/ 17671 h 104646"/>
                  <a:gd name="connsiteX57" fmla="*/ 161800 w 237824"/>
                  <a:gd name="connsiteY57" fmla="*/ 8381 h 104646"/>
                  <a:gd name="connsiteX58" fmla="*/ 173997 w 237824"/>
                  <a:gd name="connsiteY58" fmla="*/ 630 h 104646"/>
                  <a:gd name="connsiteX59" fmla="*/ 180551 w 237824"/>
                  <a:gd name="connsiteY59" fmla="*/ 11573 h 104646"/>
                  <a:gd name="connsiteX60" fmla="*/ 185681 w 237824"/>
                  <a:gd name="connsiteY60" fmla="*/ 15563 h 104646"/>
                  <a:gd name="connsiteX61" fmla="*/ 200272 w 237824"/>
                  <a:gd name="connsiteY61" fmla="*/ 30153 h 104646"/>
                  <a:gd name="connsiteX62" fmla="*/ 222101 w 237824"/>
                  <a:gd name="connsiteY62" fmla="*/ 33858 h 104646"/>
                  <a:gd name="connsiteX63" fmla="*/ 235666 w 237824"/>
                  <a:gd name="connsiteY63" fmla="*/ 39557 h 104646"/>
                  <a:gd name="connsiteX64" fmla="*/ 233842 w 237824"/>
                  <a:gd name="connsiteY64" fmla="*/ 51982 h 104646"/>
                  <a:gd name="connsiteX65" fmla="*/ 226261 w 237824"/>
                  <a:gd name="connsiteY65" fmla="*/ 53635 h 10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37824" h="104646">
                    <a:moveTo>
                      <a:pt x="226261" y="53635"/>
                    </a:moveTo>
                    <a:cubicBezTo>
                      <a:pt x="224779" y="54832"/>
                      <a:pt x="224551" y="56998"/>
                      <a:pt x="223639" y="58651"/>
                    </a:cubicBezTo>
                    <a:cubicBezTo>
                      <a:pt x="221080" y="61894"/>
                      <a:pt x="217165" y="63763"/>
                      <a:pt x="213038" y="63723"/>
                    </a:cubicBezTo>
                    <a:lnTo>
                      <a:pt x="169551" y="69765"/>
                    </a:lnTo>
                    <a:cubicBezTo>
                      <a:pt x="164103" y="70061"/>
                      <a:pt x="158825" y="71748"/>
                      <a:pt x="154220" y="74666"/>
                    </a:cubicBezTo>
                    <a:cubicBezTo>
                      <a:pt x="146013" y="80878"/>
                      <a:pt x="145044" y="94044"/>
                      <a:pt x="136210" y="99345"/>
                    </a:cubicBezTo>
                    <a:cubicBezTo>
                      <a:pt x="132095" y="101408"/>
                      <a:pt x="127535" y="102445"/>
                      <a:pt x="122930" y="102366"/>
                    </a:cubicBezTo>
                    <a:lnTo>
                      <a:pt x="91241" y="104417"/>
                    </a:lnTo>
                    <a:cubicBezTo>
                      <a:pt x="87570" y="104856"/>
                      <a:pt x="83848" y="104662"/>
                      <a:pt x="80241" y="103847"/>
                    </a:cubicBezTo>
                    <a:cubicBezTo>
                      <a:pt x="74541" y="102138"/>
                      <a:pt x="69982" y="97179"/>
                      <a:pt x="64054" y="96552"/>
                    </a:cubicBezTo>
                    <a:cubicBezTo>
                      <a:pt x="59922" y="96478"/>
                      <a:pt x="55841" y="97458"/>
                      <a:pt x="52199" y="99402"/>
                    </a:cubicBezTo>
                    <a:cubicBezTo>
                      <a:pt x="48523" y="101340"/>
                      <a:pt x="44363" y="102155"/>
                      <a:pt x="40230" y="101739"/>
                    </a:cubicBezTo>
                    <a:cubicBezTo>
                      <a:pt x="36019" y="101066"/>
                      <a:pt x="33140" y="97122"/>
                      <a:pt x="33790" y="92904"/>
                    </a:cubicBezTo>
                    <a:cubicBezTo>
                      <a:pt x="35580" y="89388"/>
                      <a:pt x="39404" y="87393"/>
                      <a:pt x="43308" y="87946"/>
                    </a:cubicBezTo>
                    <a:cubicBezTo>
                      <a:pt x="47081" y="88539"/>
                      <a:pt x="50911" y="88635"/>
                      <a:pt x="54707" y="88231"/>
                    </a:cubicBezTo>
                    <a:cubicBezTo>
                      <a:pt x="58469" y="87262"/>
                      <a:pt x="61775" y="82930"/>
                      <a:pt x="59723" y="79625"/>
                    </a:cubicBezTo>
                    <a:lnTo>
                      <a:pt x="44733" y="71474"/>
                    </a:lnTo>
                    <a:cubicBezTo>
                      <a:pt x="43337" y="70608"/>
                      <a:pt x="41820" y="69958"/>
                      <a:pt x="40230" y="69537"/>
                    </a:cubicBezTo>
                    <a:cubicBezTo>
                      <a:pt x="38036" y="69223"/>
                      <a:pt x="35813" y="69223"/>
                      <a:pt x="33619" y="69537"/>
                    </a:cubicBezTo>
                    <a:cubicBezTo>
                      <a:pt x="22910" y="70038"/>
                      <a:pt x="12611" y="65376"/>
                      <a:pt x="5920" y="56998"/>
                    </a:cubicBezTo>
                    <a:lnTo>
                      <a:pt x="38236" y="57283"/>
                    </a:lnTo>
                    <a:cubicBezTo>
                      <a:pt x="39780" y="57385"/>
                      <a:pt x="41336" y="57174"/>
                      <a:pt x="42795" y="56656"/>
                    </a:cubicBezTo>
                    <a:cubicBezTo>
                      <a:pt x="44055" y="55949"/>
                      <a:pt x="45155" y="54997"/>
                      <a:pt x="46044" y="53863"/>
                    </a:cubicBezTo>
                    <a:cubicBezTo>
                      <a:pt x="50376" y="48961"/>
                      <a:pt x="54935" y="41666"/>
                      <a:pt x="50832" y="36480"/>
                    </a:cubicBezTo>
                    <a:cubicBezTo>
                      <a:pt x="46728" y="31293"/>
                      <a:pt x="39831" y="33573"/>
                      <a:pt x="34075" y="35055"/>
                    </a:cubicBezTo>
                    <a:cubicBezTo>
                      <a:pt x="26814" y="36998"/>
                      <a:pt x="19308" y="37899"/>
                      <a:pt x="11790" y="37734"/>
                    </a:cubicBezTo>
                    <a:cubicBezTo>
                      <a:pt x="8405" y="37950"/>
                      <a:pt x="5048" y="37004"/>
                      <a:pt x="2272" y="35055"/>
                    </a:cubicBezTo>
                    <a:cubicBezTo>
                      <a:pt x="-242" y="33163"/>
                      <a:pt x="-749" y="29589"/>
                      <a:pt x="1149" y="27076"/>
                    </a:cubicBezTo>
                    <a:cubicBezTo>
                      <a:pt x="1366" y="26785"/>
                      <a:pt x="1605" y="26517"/>
                      <a:pt x="1873" y="26278"/>
                    </a:cubicBezTo>
                    <a:cubicBezTo>
                      <a:pt x="3503" y="25525"/>
                      <a:pt x="5230" y="25007"/>
                      <a:pt x="7003" y="24739"/>
                    </a:cubicBezTo>
                    <a:cubicBezTo>
                      <a:pt x="11437" y="23211"/>
                      <a:pt x="13791" y="18378"/>
                      <a:pt x="12263" y="13944"/>
                    </a:cubicBezTo>
                    <a:cubicBezTo>
                      <a:pt x="12240" y="13875"/>
                      <a:pt x="12218" y="13807"/>
                      <a:pt x="12189" y="13739"/>
                    </a:cubicBezTo>
                    <a:cubicBezTo>
                      <a:pt x="15261" y="13762"/>
                      <a:pt x="17963" y="11698"/>
                      <a:pt x="18744" y="8723"/>
                    </a:cubicBezTo>
                    <a:cubicBezTo>
                      <a:pt x="21878" y="7127"/>
                      <a:pt x="25070" y="10661"/>
                      <a:pt x="27065" y="13568"/>
                    </a:cubicBezTo>
                    <a:cubicBezTo>
                      <a:pt x="29060" y="16474"/>
                      <a:pt x="32764" y="19666"/>
                      <a:pt x="35614" y="17386"/>
                    </a:cubicBezTo>
                    <a:cubicBezTo>
                      <a:pt x="40117" y="14480"/>
                      <a:pt x="30370" y="6386"/>
                      <a:pt x="34474" y="2853"/>
                    </a:cubicBezTo>
                    <a:cubicBezTo>
                      <a:pt x="35164" y="2317"/>
                      <a:pt x="35996" y="1998"/>
                      <a:pt x="36868" y="1941"/>
                    </a:cubicBezTo>
                    <a:cubicBezTo>
                      <a:pt x="41000" y="1320"/>
                      <a:pt x="45183" y="2602"/>
                      <a:pt x="48267" y="5418"/>
                    </a:cubicBezTo>
                    <a:cubicBezTo>
                      <a:pt x="50603" y="8096"/>
                      <a:pt x="52758" y="10935"/>
                      <a:pt x="54707" y="13910"/>
                    </a:cubicBezTo>
                    <a:cubicBezTo>
                      <a:pt x="56736" y="16942"/>
                      <a:pt x="60253" y="18623"/>
                      <a:pt x="63883" y="18298"/>
                    </a:cubicBezTo>
                    <a:cubicBezTo>
                      <a:pt x="63883" y="20407"/>
                      <a:pt x="63883" y="22516"/>
                      <a:pt x="63883" y="24625"/>
                    </a:cubicBezTo>
                    <a:cubicBezTo>
                      <a:pt x="61204" y="22573"/>
                      <a:pt x="58184" y="27588"/>
                      <a:pt x="59495" y="30723"/>
                    </a:cubicBezTo>
                    <a:cubicBezTo>
                      <a:pt x="60806" y="33858"/>
                      <a:pt x="63598" y="36765"/>
                      <a:pt x="62914" y="40070"/>
                    </a:cubicBezTo>
                    <a:cubicBezTo>
                      <a:pt x="65992" y="39386"/>
                      <a:pt x="69184" y="39386"/>
                      <a:pt x="72261" y="40070"/>
                    </a:cubicBezTo>
                    <a:cubicBezTo>
                      <a:pt x="75339" y="40070"/>
                      <a:pt x="79158" y="39671"/>
                      <a:pt x="80412" y="36765"/>
                    </a:cubicBezTo>
                    <a:cubicBezTo>
                      <a:pt x="80925" y="35625"/>
                      <a:pt x="80925" y="34200"/>
                      <a:pt x="81780" y="33231"/>
                    </a:cubicBezTo>
                    <a:cubicBezTo>
                      <a:pt x="83717" y="30951"/>
                      <a:pt x="88163" y="32832"/>
                      <a:pt x="89987" y="30495"/>
                    </a:cubicBezTo>
                    <a:cubicBezTo>
                      <a:pt x="93008" y="26562"/>
                      <a:pt x="83033" y="20635"/>
                      <a:pt x="86852" y="17443"/>
                    </a:cubicBezTo>
                    <a:cubicBezTo>
                      <a:pt x="90084" y="13539"/>
                      <a:pt x="95869" y="12998"/>
                      <a:pt x="99773" y="16229"/>
                    </a:cubicBezTo>
                    <a:cubicBezTo>
                      <a:pt x="100212" y="16594"/>
                      <a:pt x="100622" y="16999"/>
                      <a:pt x="100987" y="17443"/>
                    </a:cubicBezTo>
                    <a:cubicBezTo>
                      <a:pt x="101785" y="18469"/>
                      <a:pt x="102355" y="19780"/>
                      <a:pt x="103552" y="20293"/>
                    </a:cubicBezTo>
                    <a:cubicBezTo>
                      <a:pt x="105831" y="21262"/>
                      <a:pt x="108054" y="18583"/>
                      <a:pt x="108681" y="16133"/>
                    </a:cubicBezTo>
                    <a:cubicBezTo>
                      <a:pt x="109308" y="13682"/>
                      <a:pt x="109707" y="10775"/>
                      <a:pt x="111930" y="9635"/>
                    </a:cubicBezTo>
                    <a:cubicBezTo>
                      <a:pt x="114438" y="6557"/>
                      <a:pt x="119282" y="9977"/>
                      <a:pt x="121220" y="13454"/>
                    </a:cubicBezTo>
                    <a:cubicBezTo>
                      <a:pt x="123158" y="16930"/>
                      <a:pt x="126350" y="21376"/>
                      <a:pt x="129997" y="19837"/>
                    </a:cubicBezTo>
                    <a:cubicBezTo>
                      <a:pt x="131308" y="15107"/>
                      <a:pt x="134158" y="9293"/>
                      <a:pt x="139002" y="9863"/>
                    </a:cubicBezTo>
                    <a:cubicBezTo>
                      <a:pt x="143847" y="10433"/>
                      <a:pt x="145728" y="16531"/>
                      <a:pt x="150401" y="17671"/>
                    </a:cubicBezTo>
                    <a:cubicBezTo>
                      <a:pt x="155075" y="18811"/>
                      <a:pt x="159577" y="13169"/>
                      <a:pt x="161800" y="8381"/>
                    </a:cubicBezTo>
                    <a:cubicBezTo>
                      <a:pt x="164023" y="3594"/>
                      <a:pt x="169209" y="-1878"/>
                      <a:pt x="173997" y="630"/>
                    </a:cubicBezTo>
                    <a:cubicBezTo>
                      <a:pt x="177816" y="2625"/>
                      <a:pt x="177873" y="8153"/>
                      <a:pt x="180551" y="11573"/>
                    </a:cubicBezTo>
                    <a:cubicBezTo>
                      <a:pt x="182028" y="13180"/>
                      <a:pt x="183760" y="14525"/>
                      <a:pt x="185681" y="15563"/>
                    </a:cubicBezTo>
                    <a:cubicBezTo>
                      <a:pt x="191517" y="19347"/>
                      <a:pt x="196487" y="24317"/>
                      <a:pt x="200272" y="30153"/>
                    </a:cubicBezTo>
                    <a:lnTo>
                      <a:pt x="222101" y="33858"/>
                    </a:lnTo>
                    <a:cubicBezTo>
                      <a:pt x="227127" y="34206"/>
                      <a:pt x="231898" y="36212"/>
                      <a:pt x="235666" y="39557"/>
                    </a:cubicBezTo>
                    <a:cubicBezTo>
                      <a:pt x="238971" y="43262"/>
                      <a:pt x="238572" y="50500"/>
                      <a:pt x="233842" y="51982"/>
                    </a:cubicBezTo>
                    <a:cubicBezTo>
                      <a:pt x="231106" y="52837"/>
                      <a:pt x="228142" y="52039"/>
                      <a:pt x="226261" y="536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3" name="Freihandform: Form 607">
                <a:extLst>
                  <a:ext uri="{FF2B5EF4-FFF2-40B4-BE49-F238E27FC236}">
                    <a16:creationId xmlns:a16="http://schemas.microsoft.com/office/drawing/2014/main" id="{744A3704-7324-3AEC-EE78-2B0237E94BFC}"/>
                  </a:ext>
                </a:extLst>
              </p:cNvPr>
              <p:cNvSpPr/>
              <p:nvPr/>
            </p:nvSpPr>
            <p:spPr>
              <a:xfrm>
                <a:off x="4013972" y="1740797"/>
                <a:ext cx="328648" cy="202329"/>
              </a:xfrm>
              <a:custGeom>
                <a:avLst/>
                <a:gdLst>
                  <a:gd name="connsiteX0" fmla="*/ 21145 w 328648"/>
                  <a:gd name="connsiteY0" fmla="*/ 36557 h 202329"/>
                  <a:gd name="connsiteX1" fmla="*/ 24166 w 328648"/>
                  <a:gd name="connsiteY1" fmla="*/ 42257 h 202329"/>
                  <a:gd name="connsiteX2" fmla="*/ 30720 w 328648"/>
                  <a:gd name="connsiteY2" fmla="*/ 39977 h 202329"/>
                  <a:gd name="connsiteX3" fmla="*/ 35736 w 328648"/>
                  <a:gd name="connsiteY3" fmla="*/ 34278 h 202329"/>
                  <a:gd name="connsiteX4" fmla="*/ 41435 w 328648"/>
                  <a:gd name="connsiteY4" fmla="*/ 33480 h 202329"/>
                  <a:gd name="connsiteX5" fmla="*/ 59332 w 328648"/>
                  <a:gd name="connsiteY5" fmla="*/ 28179 h 202329"/>
                  <a:gd name="connsiteX6" fmla="*/ 57679 w 328648"/>
                  <a:gd name="connsiteY6" fmla="*/ 36614 h 202329"/>
                  <a:gd name="connsiteX7" fmla="*/ 48731 w 328648"/>
                  <a:gd name="connsiteY7" fmla="*/ 40604 h 202329"/>
                  <a:gd name="connsiteX8" fmla="*/ 44684 w 328648"/>
                  <a:gd name="connsiteY8" fmla="*/ 48583 h 202329"/>
                  <a:gd name="connsiteX9" fmla="*/ 59047 w 328648"/>
                  <a:gd name="connsiteY9" fmla="*/ 47614 h 202329"/>
                  <a:gd name="connsiteX10" fmla="*/ 60472 w 328648"/>
                  <a:gd name="connsiteY10" fmla="*/ 57190 h 202329"/>
                  <a:gd name="connsiteX11" fmla="*/ 68394 w 328648"/>
                  <a:gd name="connsiteY11" fmla="*/ 61407 h 202329"/>
                  <a:gd name="connsiteX12" fmla="*/ 72497 w 328648"/>
                  <a:gd name="connsiteY12" fmla="*/ 35133 h 202329"/>
                  <a:gd name="connsiteX13" fmla="*/ 74492 w 328648"/>
                  <a:gd name="connsiteY13" fmla="*/ 32226 h 202329"/>
                  <a:gd name="connsiteX14" fmla="*/ 83041 w 328648"/>
                  <a:gd name="connsiteY14" fmla="*/ 35532 h 202329"/>
                  <a:gd name="connsiteX15" fmla="*/ 86803 w 328648"/>
                  <a:gd name="connsiteY15" fmla="*/ 45221 h 202329"/>
                  <a:gd name="connsiteX16" fmla="*/ 91705 w 328648"/>
                  <a:gd name="connsiteY16" fmla="*/ 45620 h 202329"/>
                  <a:gd name="connsiteX17" fmla="*/ 92161 w 328648"/>
                  <a:gd name="connsiteY17" fmla="*/ 56278 h 202329"/>
                  <a:gd name="connsiteX18" fmla="*/ 98538 w 328648"/>
                  <a:gd name="connsiteY18" fmla="*/ 61962 h 202329"/>
                  <a:gd name="connsiteX19" fmla="*/ 97860 w 328648"/>
                  <a:gd name="connsiteY19" fmla="*/ 65112 h 202329"/>
                  <a:gd name="connsiteX20" fmla="*/ 108290 w 328648"/>
                  <a:gd name="connsiteY20" fmla="*/ 71666 h 202329"/>
                  <a:gd name="connsiteX21" fmla="*/ 108290 w 328648"/>
                  <a:gd name="connsiteY21" fmla="*/ 76910 h 202329"/>
                  <a:gd name="connsiteX22" fmla="*/ 118378 w 328648"/>
                  <a:gd name="connsiteY22" fmla="*/ 76910 h 202329"/>
                  <a:gd name="connsiteX23" fmla="*/ 110513 w 328648"/>
                  <a:gd name="connsiteY23" fmla="*/ 62262 h 202329"/>
                  <a:gd name="connsiteX24" fmla="*/ 110513 w 328648"/>
                  <a:gd name="connsiteY24" fmla="*/ 50407 h 202329"/>
                  <a:gd name="connsiteX25" fmla="*/ 103104 w 328648"/>
                  <a:gd name="connsiteY25" fmla="*/ 40376 h 202329"/>
                  <a:gd name="connsiteX26" fmla="*/ 100539 w 328648"/>
                  <a:gd name="connsiteY26" fmla="*/ 28977 h 202329"/>
                  <a:gd name="connsiteX27" fmla="*/ 103845 w 328648"/>
                  <a:gd name="connsiteY27" fmla="*/ 26469 h 202329"/>
                  <a:gd name="connsiteX28" fmla="*/ 115756 w 328648"/>
                  <a:gd name="connsiteY28" fmla="*/ 22765 h 202329"/>
                  <a:gd name="connsiteX29" fmla="*/ 121456 w 328648"/>
                  <a:gd name="connsiteY29" fmla="*/ 31884 h 202329"/>
                  <a:gd name="connsiteX30" fmla="*/ 143627 w 328648"/>
                  <a:gd name="connsiteY30" fmla="*/ 34392 h 202329"/>
                  <a:gd name="connsiteX31" fmla="*/ 132627 w 328648"/>
                  <a:gd name="connsiteY31" fmla="*/ 45791 h 202329"/>
                  <a:gd name="connsiteX32" fmla="*/ 132969 w 328648"/>
                  <a:gd name="connsiteY32" fmla="*/ 50521 h 202329"/>
                  <a:gd name="connsiteX33" fmla="*/ 140663 w 328648"/>
                  <a:gd name="connsiteY33" fmla="*/ 61920 h 202329"/>
                  <a:gd name="connsiteX34" fmla="*/ 145565 w 328648"/>
                  <a:gd name="connsiteY34" fmla="*/ 46304 h 202329"/>
                  <a:gd name="connsiteX35" fmla="*/ 156764 w 328648"/>
                  <a:gd name="connsiteY35" fmla="*/ 53472 h 202329"/>
                  <a:gd name="connsiteX36" fmla="*/ 156964 w 328648"/>
                  <a:gd name="connsiteY36" fmla="*/ 54853 h 202329"/>
                  <a:gd name="connsiteX37" fmla="*/ 157534 w 328648"/>
                  <a:gd name="connsiteY37" fmla="*/ 59754 h 202329"/>
                  <a:gd name="connsiteX38" fmla="*/ 161808 w 328648"/>
                  <a:gd name="connsiteY38" fmla="*/ 61692 h 202329"/>
                  <a:gd name="connsiteX39" fmla="*/ 183751 w 328648"/>
                  <a:gd name="connsiteY39" fmla="*/ 64884 h 202329"/>
                  <a:gd name="connsiteX40" fmla="*/ 190248 w 328648"/>
                  <a:gd name="connsiteY40" fmla="*/ 73319 h 202329"/>
                  <a:gd name="connsiteX41" fmla="*/ 203072 w 328648"/>
                  <a:gd name="connsiteY41" fmla="*/ 72863 h 202329"/>
                  <a:gd name="connsiteX42" fmla="*/ 213388 w 328648"/>
                  <a:gd name="connsiteY42" fmla="*/ 80044 h 202329"/>
                  <a:gd name="connsiteX43" fmla="*/ 224787 w 328648"/>
                  <a:gd name="connsiteY43" fmla="*/ 83863 h 202329"/>
                  <a:gd name="connsiteX44" fmla="*/ 225756 w 328648"/>
                  <a:gd name="connsiteY44" fmla="*/ 96288 h 202329"/>
                  <a:gd name="connsiteX45" fmla="*/ 237155 w 328648"/>
                  <a:gd name="connsiteY45" fmla="*/ 100785 h 202329"/>
                  <a:gd name="connsiteX46" fmla="*/ 237155 w 328648"/>
                  <a:gd name="connsiteY46" fmla="*/ 100791 h 202329"/>
                  <a:gd name="connsiteX47" fmla="*/ 237782 w 328648"/>
                  <a:gd name="connsiteY47" fmla="*/ 113956 h 202329"/>
                  <a:gd name="connsiteX48" fmla="*/ 251347 w 328648"/>
                  <a:gd name="connsiteY48" fmla="*/ 113272 h 202329"/>
                  <a:gd name="connsiteX49" fmla="*/ 260067 w 328648"/>
                  <a:gd name="connsiteY49" fmla="*/ 120739 h 202329"/>
                  <a:gd name="connsiteX50" fmla="*/ 259269 w 328648"/>
                  <a:gd name="connsiteY50" fmla="*/ 122961 h 202329"/>
                  <a:gd name="connsiteX51" fmla="*/ 262689 w 328648"/>
                  <a:gd name="connsiteY51" fmla="*/ 125412 h 202329"/>
                  <a:gd name="connsiteX52" fmla="*/ 288222 w 328648"/>
                  <a:gd name="connsiteY52" fmla="*/ 130143 h 202329"/>
                  <a:gd name="connsiteX53" fmla="*/ 284290 w 328648"/>
                  <a:gd name="connsiteY53" fmla="*/ 140459 h 202329"/>
                  <a:gd name="connsiteX54" fmla="*/ 272891 w 328648"/>
                  <a:gd name="connsiteY54" fmla="*/ 146671 h 202329"/>
                  <a:gd name="connsiteX55" fmla="*/ 270839 w 328648"/>
                  <a:gd name="connsiteY55" fmla="*/ 151345 h 202329"/>
                  <a:gd name="connsiteX56" fmla="*/ 254767 w 328648"/>
                  <a:gd name="connsiteY56" fmla="*/ 154480 h 202329"/>
                  <a:gd name="connsiteX57" fmla="*/ 253000 w 328648"/>
                  <a:gd name="connsiteY57" fmla="*/ 147013 h 202329"/>
                  <a:gd name="connsiteX58" fmla="*/ 245077 w 328648"/>
                  <a:gd name="connsiteY58" fmla="*/ 144676 h 202329"/>
                  <a:gd name="connsiteX59" fmla="*/ 225585 w 328648"/>
                  <a:gd name="connsiteY59" fmla="*/ 149749 h 202329"/>
                  <a:gd name="connsiteX60" fmla="*/ 213218 w 328648"/>
                  <a:gd name="connsiteY60" fmla="*/ 155448 h 202329"/>
                  <a:gd name="connsiteX61" fmla="*/ 207518 w 328648"/>
                  <a:gd name="connsiteY61" fmla="*/ 146386 h 202329"/>
                  <a:gd name="connsiteX62" fmla="*/ 222451 w 328648"/>
                  <a:gd name="connsiteY62" fmla="*/ 138977 h 202329"/>
                  <a:gd name="connsiteX63" fmla="*/ 220028 w 328648"/>
                  <a:gd name="connsiteY63" fmla="*/ 124427 h 202329"/>
                  <a:gd name="connsiteX64" fmla="*/ 219544 w 328648"/>
                  <a:gd name="connsiteY64" fmla="*/ 124101 h 202329"/>
                  <a:gd name="connsiteX65" fmla="*/ 210767 w 328648"/>
                  <a:gd name="connsiteY65" fmla="*/ 122050 h 202329"/>
                  <a:gd name="connsiteX66" fmla="*/ 208145 w 328648"/>
                  <a:gd name="connsiteY66" fmla="*/ 115039 h 202329"/>
                  <a:gd name="connsiteX67" fmla="*/ 198171 w 328648"/>
                  <a:gd name="connsiteY67" fmla="*/ 114526 h 202329"/>
                  <a:gd name="connsiteX68" fmla="*/ 196746 w 328648"/>
                  <a:gd name="connsiteY68" fmla="*/ 103526 h 202329"/>
                  <a:gd name="connsiteX69" fmla="*/ 197316 w 328648"/>
                  <a:gd name="connsiteY69" fmla="*/ 100563 h 202329"/>
                  <a:gd name="connsiteX70" fmla="*/ 201876 w 328648"/>
                  <a:gd name="connsiteY70" fmla="*/ 98283 h 202329"/>
                  <a:gd name="connsiteX71" fmla="*/ 212192 w 328648"/>
                  <a:gd name="connsiteY71" fmla="*/ 98796 h 202329"/>
                  <a:gd name="connsiteX72" fmla="*/ 217891 w 328648"/>
                  <a:gd name="connsiteY72" fmla="*/ 91728 h 202329"/>
                  <a:gd name="connsiteX73" fmla="*/ 214699 w 328648"/>
                  <a:gd name="connsiteY73" fmla="*/ 88765 h 202329"/>
                  <a:gd name="connsiteX74" fmla="*/ 195321 w 328648"/>
                  <a:gd name="connsiteY74" fmla="*/ 85972 h 202329"/>
                  <a:gd name="connsiteX75" fmla="*/ 192015 w 328648"/>
                  <a:gd name="connsiteY75" fmla="*/ 89392 h 202329"/>
                  <a:gd name="connsiteX76" fmla="*/ 166026 w 328648"/>
                  <a:gd name="connsiteY76" fmla="*/ 96459 h 202329"/>
                  <a:gd name="connsiteX77" fmla="*/ 163461 w 328648"/>
                  <a:gd name="connsiteY77" fmla="*/ 110594 h 202329"/>
                  <a:gd name="connsiteX78" fmla="*/ 155425 w 328648"/>
                  <a:gd name="connsiteY78" fmla="*/ 120910 h 202329"/>
                  <a:gd name="connsiteX79" fmla="*/ 157021 w 328648"/>
                  <a:gd name="connsiteY79" fmla="*/ 136754 h 202329"/>
                  <a:gd name="connsiteX80" fmla="*/ 144083 w 328648"/>
                  <a:gd name="connsiteY80" fmla="*/ 146101 h 202329"/>
                  <a:gd name="connsiteX81" fmla="*/ 142658 w 328648"/>
                  <a:gd name="connsiteY81" fmla="*/ 152542 h 202329"/>
                  <a:gd name="connsiteX82" fmla="*/ 126585 w 328648"/>
                  <a:gd name="connsiteY82" fmla="*/ 175739 h 202329"/>
                  <a:gd name="connsiteX83" fmla="*/ 123850 w 328648"/>
                  <a:gd name="connsiteY83" fmla="*/ 193578 h 202329"/>
                  <a:gd name="connsiteX84" fmla="*/ 109544 w 328648"/>
                  <a:gd name="connsiteY84" fmla="*/ 202184 h 202329"/>
                  <a:gd name="connsiteX85" fmla="*/ 107891 w 328648"/>
                  <a:gd name="connsiteY85" fmla="*/ 194091 h 202329"/>
                  <a:gd name="connsiteX86" fmla="*/ 98487 w 328648"/>
                  <a:gd name="connsiteY86" fmla="*/ 194091 h 202329"/>
                  <a:gd name="connsiteX87" fmla="*/ 93073 w 328648"/>
                  <a:gd name="connsiteY87" fmla="*/ 187194 h 202329"/>
                  <a:gd name="connsiteX88" fmla="*/ 95238 w 328648"/>
                  <a:gd name="connsiteY88" fmla="*/ 179272 h 202329"/>
                  <a:gd name="connsiteX89" fmla="*/ 89026 w 328648"/>
                  <a:gd name="connsiteY89" fmla="*/ 173573 h 202329"/>
                  <a:gd name="connsiteX90" fmla="*/ 80591 w 328648"/>
                  <a:gd name="connsiteY90" fmla="*/ 171065 h 202329"/>
                  <a:gd name="connsiteX91" fmla="*/ 79223 w 328648"/>
                  <a:gd name="connsiteY91" fmla="*/ 163599 h 202329"/>
                  <a:gd name="connsiteX92" fmla="*/ 67824 w 328648"/>
                  <a:gd name="connsiteY92" fmla="*/ 163029 h 202329"/>
                  <a:gd name="connsiteX93" fmla="*/ 63812 w 328648"/>
                  <a:gd name="connsiteY93" fmla="*/ 153874 h 202329"/>
                  <a:gd name="connsiteX94" fmla="*/ 63891 w 328648"/>
                  <a:gd name="connsiteY94" fmla="*/ 153682 h 202329"/>
                  <a:gd name="connsiteX95" fmla="*/ 66684 w 328648"/>
                  <a:gd name="connsiteY95" fmla="*/ 151060 h 202329"/>
                  <a:gd name="connsiteX96" fmla="*/ 99114 w 328648"/>
                  <a:gd name="connsiteY96" fmla="*/ 143138 h 202329"/>
                  <a:gd name="connsiteX97" fmla="*/ 114673 w 328648"/>
                  <a:gd name="connsiteY97" fmla="*/ 144505 h 202329"/>
                  <a:gd name="connsiteX98" fmla="*/ 124306 w 328648"/>
                  <a:gd name="connsiteY98" fmla="*/ 134075 h 202329"/>
                  <a:gd name="connsiteX99" fmla="*/ 90109 w 328648"/>
                  <a:gd name="connsiteY99" fmla="*/ 130371 h 202329"/>
                  <a:gd name="connsiteX100" fmla="*/ 74891 w 328648"/>
                  <a:gd name="connsiteY100" fmla="*/ 138464 h 202329"/>
                  <a:gd name="connsiteX101" fmla="*/ 48104 w 328648"/>
                  <a:gd name="connsiteY101" fmla="*/ 133448 h 202329"/>
                  <a:gd name="connsiteX102" fmla="*/ 75860 w 328648"/>
                  <a:gd name="connsiteY102" fmla="*/ 122904 h 202329"/>
                  <a:gd name="connsiteX103" fmla="*/ 100254 w 328648"/>
                  <a:gd name="connsiteY103" fmla="*/ 107972 h 202329"/>
                  <a:gd name="connsiteX104" fmla="*/ 108290 w 328648"/>
                  <a:gd name="connsiteY104" fmla="*/ 107972 h 202329"/>
                  <a:gd name="connsiteX105" fmla="*/ 116611 w 328648"/>
                  <a:gd name="connsiteY105" fmla="*/ 93894 h 202329"/>
                  <a:gd name="connsiteX106" fmla="*/ 101223 w 328648"/>
                  <a:gd name="connsiteY106" fmla="*/ 95490 h 202329"/>
                  <a:gd name="connsiteX107" fmla="*/ 94611 w 328648"/>
                  <a:gd name="connsiteY107" fmla="*/ 98853 h 202329"/>
                  <a:gd name="connsiteX108" fmla="*/ 84717 w 328648"/>
                  <a:gd name="connsiteY108" fmla="*/ 80469 h 202329"/>
                  <a:gd name="connsiteX109" fmla="*/ 83213 w 328648"/>
                  <a:gd name="connsiteY109" fmla="*/ 80101 h 202329"/>
                  <a:gd name="connsiteX110" fmla="*/ 77513 w 328648"/>
                  <a:gd name="connsiteY110" fmla="*/ 92925 h 202329"/>
                  <a:gd name="connsiteX111" fmla="*/ 64119 w 328648"/>
                  <a:gd name="connsiteY111" fmla="*/ 95661 h 202329"/>
                  <a:gd name="connsiteX112" fmla="*/ 60243 w 328648"/>
                  <a:gd name="connsiteY112" fmla="*/ 112759 h 202329"/>
                  <a:gd name="connsiteX113" fmla="*/ 53689 w 328648"/>
                  <a:gd name="connsiteY113" fmla="*/ 113785 h 202329"/>
                  <a:gd name="connsiteX114" fmla="*/ 30891 w 328648"/>
                  <a:gd name="connsiteY114" fmla="*/ 109340 h 202329"/>
                  <a:gd name="connsiteX115" fmla="*/ 15161 w 328648"/>
                  <a:gd name="connsiteY115" fmla="*/ 100164 h 202329"/>
                  <a:gd name="connsiteX116" fmla="*/ 15617 w 328648"/>
                  <a:gd name="connsiteY116" fmla="*/ 94464 h 202329"/>
                  <a:gd name="connsiteX117" fmla="*/ 9461 w 328648"/>
                  <a:gd name="connsiteY117" fmla="*/ 82552 h 202329"/>
                  <a:gd name="connsiteX118" fmla="*/ 12710 w 328648"/>
                  <a:gd name="connsiteY118" fmla="*/ 76853 h 202329"/>
                  <a:gd name="connsiteX119" fmla="*/ 17213 w 328648"/>
                  <a:gd name="connsiteY119" fmla="*/ 74915 h 202329"/>
                  <a:gd name="connsiteX120" fmla="*/ 29238 w 328648"/>
                  <a:gd name="connsiteY120" fmla="*/ 62832 h 202329"/>
                  <a:gd name="connsiteX121" fmla="*/ 13052 w 328648"/>
                  <a:gd name="connsiteY121" fmla="*/ 61749 h 202329"/>
                  <a:gd name="connsiteX122" fmla="*/ 4446 w 328648"/>
                  <a:gd name="connsiteY122" fmla="*/ 65112 h 202329"/>
                  <a:gd name="connsiteX123" fmla="*/ 1767 w 328648"/>
                  <a:gd name="connsiteY123" fmla="*/ 59412 h 202329"/>
                  <a:gd name="connsiteX124" fmla="*/ 0 w 328648"/>
                  <a:gd name="connsiteY124" fmla="*/ 43511 h 202329"/>
                  <a:gd name="connsiteX125" fmla="*/ 10487 w 328648"/>
                  <a:gd name="connsiteY125" fmla="*/ 32511 h 202329"/>
                  <a:gd name="connsiteX126" fmla="*/ 21077 w 328648"/>
                  <a:gd name="connsiteY126" fmla="*/ 36407 h 202329"/>
                  <a:gd name="connsiteX127" fmla="*/ 21145 w 328648"/>
                  <a:gd name="connsiteY127" fmla="*/ 36557 h 202329"/>
                  <a:gd name="connsiteX128" fmla="*/ 286684 w 328648"/>
                  <a:gd name="connsiteY128" fmla="*/ 13418 h 202329"/>
                  <a:gd name="connsiteX129" fmla="*/ 282637 w 328648"/>
                  <a:gd name="connsiteY129" fmla="*/ 9257 h 202329"/>
                  <a:gd name="connsiteX130" fmla="*/ 269129 w 328648"/>
                  <a:gd name="connsiteY130" fmla="*/ 10739 h 202329"/>
                  <a:gd name="connsiteX131" fmla="*/ 255849 w 328648"/>
                  <a:gd name="connsiteY131" fmla="*/ 10055 h 202329"/>
                  <a:gd name="connsiteX132" fmla="*/ 251575 w 328648"/>
                  <a:gd name="connsiteY132" fmla="*/ 3444 h 202329"/>
                  <a:gd name="connsiteX133" fmla="*/ 240176 w 328648"/>
                  <a:gd name="connsiteY133" fmla="*/ 879 h 202329"/>
                  <a:gd name="connsiteX134" fmla="*/ 240176 w 328648"/>
                  <a:gd name="connsiteY134" fmla="*/ 7262 h 202329"/>
                  <a:gd name="connsiteX135" fmla="*/ 244792 w 328648"/>
                  <a:gd name="connsiteY135" fmla="*/ 12563 h 202329"/>
                  <a:gd name="connsiteX136" fmla="*/ 243881 w 328648"/>
                  <a:gd name="connsiteY136" fmla="*/ 18775 h 202329"/>
                  <a:gd name="connsiteX137" fmla="*/ 241829 w 328648"/>
                  <a:gd name="connsiteY137" fmla="*/ 15127 h 202329"/>
                  <a:gd name="connsiteX138" fmla="*/ 231114 w 328648"/>
                  <a:gd name="connsiteY138" fmla="*/ 12563 h 202329"/>
                  <a:gd name="connsiteX139" fmla="*/ 220969 w 328648"/>
                  <a:gd name="connsiteY139" fmla="*/ 6863 h 202329"/>
                  <a:gd name="connsiteX140" fmla="*/ 213275 w 328648"/>
                  <a:gd name="connsiteY140" fmla="*/ 10682 h 202329"/>
                  <a:gd name="connsiteX141" fmla="*/ 205580 w 328648"/>
                  <a:gd name="connsiteY141" fmla="*/ 9827 h 202329"/>
                  <a:gd name="connsiteX142" fmla="*/ 203984 w 328648"/>
                  <a:gd name="connsiteY142" fmla="*/ 1962 h 202329"/>
                  <a:gd name="connsiteX143" fmla="*/ 184834 w 328648"/>
                  <a:gd name="connsiteY143" fmla="*/ 3785 h 202329"/>
                  <a:gd name="connsiteX144" fmla="*/ 173435 w 328648"/>
                  <a:gd name="connsiteY144" fmla="*/ 7604 h 202329"/>
                  <a:gd name="connsiteX145" fmla="*/ 172181 w 328648"/>
                  <a:gd name="connsiteY145" fmla="*/ 13703 h 202329"/>
                  <a:gd name="connsiteX146" fmla="*/ 167964 w 328648"/>
                  <a:gd name="connsiteY146" fmla="*/ 13076 h 202329"/>
                  <a:gd name="connsiteX147" fmla="*/ 166083 w 328648"/>
                  <a:gd name="connsiteY147" fmla="*/ 8801 h 202329"/>
                  <a:gd name="connsiteX148" fmla="*/ 160098 w 328648"/>
                  <a:gd name="connsiteY148" fmla="*/ 6521 h 202329"/>
                  <a:gd name="connsiteX149" fmla="*/ 157476 w 328648"/>
                  <a:gd name="connsiteY149" fmla="*/ 252 h 202329"/>
                  <a:gd name="connsiteX150" fmla="*/ 149155 w 328648"/>
                  <a:gd name="connsiteY150" fmla="*/ 1791 h 202329"/>
                  <a:gd name="connsiteX151" fmla="*/ 154855 w 328648"/>
                  <a:gd name="connsiteY151" fmla="*/ 17464 h 202329"/>
                  <a:gd name="connsiteX152" fmla="*/ 158788 w 328648"/>
                  <a:gd name="connsiteY152" fmla="*/ 19858 h 202329"/>
                  <a:gd name="connsiteX153" fmla="*/ 158788 w 328648"/>
                  <a:gd name="connsiteY153" fmla="*/ 30174 h 202329"/>
                  <a:gd name="connsiteX154" fmla="*/ 168762 w 328648"/>
                  <a:gd name="connsiteY154" fmla="*/ 34392 h 202329"/>
                  <a:gd name="connsiteX155" fmla="*/ 201876 w 328648"/>
                  <a:gd name="connsiteY155" fmla="*/ 28692 h 202329"/>
                  <a:gd name="connsiteX156" fmla="*/ 230373 w 328648"/>
                  <a:gd name="connsiteY156" fmla="*/ 28122 h 202329"/>
                  <a:gd name="connsiteX157" fmla="*/ 231855 w 328648"/>
                  <a:gd name="connsiteY157" fmla="*/ 30117 h 202329"/>
                  <a:gd name="connsiteX158" fmla="*/ 229176 w 328648"/>
                  <a:gd name="connsiteY158" fmla="*/ 33024 h 202329"/>
                  <a:gd name="connsiteX159" fmla="*/ 224844 w 328648"/>
                  <a:gd name="connsiteY159" fmla="*/ 33651 h 202329"/>
                  <a:gd name="connsiteX160" fmla="*/ 218860 w 328648"/>
                  <a:gd name="connsiteY160" fmla="*/ 39977 h 202329"/>
                  <a:gd name="connsiteX161" fmla="*/ 211222 w 328648"/>
                  <a:gd name="connsiteY161" fmla="*/ 41630 h 202329"/>
                  <a:gd name="connsiteX162" fmla="*/ 196803 w 328648"/>
                  <a:gd name="connsiteY162" fmla="*/ 41630 h 202329"/>
                  <a:gd name="connsiteX163" fmla="*/ 188482 w 328648"/>
                  <a:gd name="connsiteY163" fmla="*/ 46475 h 202329"/>
                  <a:gd name="connsiteX164" fmla="*/ 190191 w 328648"/>
                  <a:gd name="connsiteY164" fmla="*/ 49666 h 202329"/>
                  <a:gd name="connsiteX165" fmla="*/ 213559 w 328648"/>
                  <a:gd name="connsiteY165" fmla="*/ 56392 h 202329"/>
                  <a:gd name="connsiteX166" fmla="*/ 232425 w 328648"/>
                  <a:gd name="connsiteY166" fmla="*/ 54682 h 202329"/>
                  <a:gd name="connsiteX167" fmla="*/ 249067 w 328648"/>
                  <a:gd name="connsiteY167" fmla="*/ 56335 h 202329"/>
                  <a:gd name="connsiteX168" fmla="*/ 256306 w 328648"/>
                  <a:gd name="connsiteY168" fmla="*/ 63801 h 202329"/>
                  <a:gd name="connsiteX169" fmla="*/ 262974 w 328648"/>
                  <a:gd name="connsiteY169" fmla="*/ 65283 h 202329"/>
                  <a:gd name="connsiteX170" fmla="*/ 272207 w 328648"/>
                  <a:gd name="connsiteY170" fmla="*/ 64827 h 202329"/>
                  <a:gd name="connsiteX171" fmla="*/ 278647 w 328648"/>
                  <a:gd name="connsiteY171" fmla="*/ 58728 h 202329"/>
                  <a:gd name="connsiteX172" fmla="*/ 279787 w 328648"/>
                  <a:gd name="connsiteY172" fmla="*/ 55765 h 202329"/>
                  <a:gd name="connsiteX173" fmla="*/ 281896 w 328648"/>
                  <a:gd name="connsiteY173" fmla="*/ 55366 h 202329"/>
                  <a:gd name="connsiteX174" fmla="*/ 297057 w 328648"/>
                  <a:gd name="connsiteY174" fmla="*/ 56620 h 202329"/>
                  <a:gd name="connsiteX175" fmla="*/ 308000 w 328648"/>
                  <a:gd name="connsiteY175" fmla="*/ 47671 h 202329"/>
                  <a:gd name="connsiteX176" fmla="*/ 315922 w 328648"/>
                  <a:gd name="connsiteY176" fmla="*/ 45620 h 202329"/>
                  <a:gd name="connsiteX177" fmla="*/ 318487 w 328648"/>
                  <a:gd name="connsiteY177" fmla="*/ 37013 h 202329"/>
                  <a:gd name="connsiteX178" fmla="*/ 325839 w 328648"/>
                  <a:gd name="connsiteY178" fmla="*/ 34677 h 202329"/>
                  <a:gd name="connsiteX179" fmla="*/ 328461 w 328648"/>
                  <a:gd name="connsiteY179" fmla="*/ 27894 h 202329"/>
                  <a:gd name="connsiteX180" fmla="*/ 322761 w 328648"/>
                  <a:gd name="connsiteY180" fmla="*/ 22480 h 202329"/>
                  <a:gd name="connsiteX181" fmla="*/ 320482 w 328648"/>
                  <a:gd name="connsiteY181" fmla="*/ 22480 h 202329"/>
                  <a:gd name="connsiteX182" fmla="*/ 310621 w 328648"/>
                  <a:gd name="connsiteY182" fmla="*/ 23734 h 202329"/>
                  <a:gd name="connsiteX183" fmla="*/ 308797 w 328648"/>
                  <a:gd name="connsiteY183" fmla="*/ 17578 h 202329"/>
                  <a:gd name="connsiteX184" fmla="*/ 293466 w 328648"/>
                  <a:gd name="connsiteY184" fmla="*/ 13076 h 202329"/>
                  <a:gd name="connsiteX185" fmla="*/ 286684 w 328648"/>
                  <a:gd name="connsiteY185" fmla="*/ 13418 h 20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328648" h="202329">
                    <a:moveTo>
                      <a:pt x="21145" y="36557"/>
                    </a:moveTo>
                    <a:cubicBezTo>
                      <a:pt x="22057" y="38609"/>
                      <a:pt x="22228" y="41231"/>
                      <a:pt x="24166" y="42257"/>
                    </a:cubicBezTo>
                    <a:cubicBezTo>
                      <a:pt x="26104" y="43283"/>
                      <a:pt x="29125" y="42257"/>
                      <a:pt x="30720" y="39977"/>
                    </a:cubicBezTo>
                    <a:cubicBezTo>
                      <a:pt x="32316" y="37697"/>
                      <a:pt x="33513" y="35646"/>
                      <a:pt x="35736" y="34278"/>
                    </a:cubicBezTo>
                    <a:cubicBezTo>
                      <a:pt x="37554" y="33593"/>
                      <a:pt x="39497" y="33320"/>
                      <a:pt x="41435" y="33480"/>
                    </a:cubicBezTo>
                    <a:cubicBezTo>
                      <a:pt x="47762" y="33308"/>
                      <a:pt x="53934" y="31480"/>
                      <a:pt x="59332" y="28179"/>
                    </a:cubicBezTo>
                    <a:cubicBezTo>
                      <a:pt x="61782" y="30345"/>
                      <a:pt x="60358" y="34677"/>
                      <a:pt x="57679" y="36614"/>
                    </a:cubicBezTo>
                    <a:cubicBezTo>
                      <a:pt x="54800" y="38162"/>
                      <a:pt x="51808" y="39496"/>
                      <a:pt x="48731" y="40604"/>
                    </a:cubicBezTo>
                    <a:cubicBezTo>
                      <a:pt x="45824" y="42143"/>
                      <a:pt x="43316" y="45563"/>
                      <a:pt x="44684" y="48583"/>
                    </a:cubicBezTo>
                    <a:lnTo>
                      <a:pt x="59047" y="47614"/>
                    </a:lnTo>
                    <a:cubicBezTo>
                      <a:pt x="58762" y="50874"/>
                      <a:pt x="59252" y="54153"/>
                      <a:pt x="60472" y="57190"/>
                    </a:cubicBezTo>
                    <a:cubicBezTo>
                      <a:pt x="61799" y="60276"/>
                      <a:pt x="65094" y="62028"/>
                      <a:pt x="68394" y="61407"/>
                    </a:cubicBezTo>
                    <a:cubicBezTo>
                      <a:pt x="67339" y="52438"/>
                      <a:pt x="68759" y="43352"/>
                      <a:pt x="72497" y="35133"/>
                    </a:cubicBezTo>
                    <a:cubicBezTo>
                      <a:pt x="72936" y="34028"/>
                      <a:pt x="73620" y="33035"/>
                      <a:pt x="74492" y="32226"/>
                    </a:cubicBezTo>
                    <a:cubicBezTo>
                      <a:pt x="77285" y="30117"/>
                      <a:pt x="81389" y="32226"/>
                      <a:pt x="83041" y="35532"/>
                    </a:cubicBezTo>
                    <a:cubicBezTo>
                      <a:pt x="84694" y="38837"/>
                      <a:pt x="84979" y="42257"/>
                      <a:pt x="86803" y="45221"/>
                    </a:cubicBezTo>
                    <a:lnTo>
                      <a:pt x="91705" y="45620"/>
                    </a:lnTo>
                    <a:cubicBezTo>
                      <a:pt x="91705" y="49210"/>
                      <a:pt x="91705" y="52744"/>
                      <a:pt x="92161" y="56278"/>
                    </a:cubicBezTo>
                    <a:cubicBezTo>
                      <a:pt x="95489" y="56086"/>
                      <a:pt x="98350" y="58630"/>
                      <a:pt x="98538" y="61962"/>
                    </a:cubicBezTo>
                    <a:cubicBezTo>
                      <a:pt x="98601" y="63054"/>
                      <a:pt x="98367" y="64143"/>
                      <a:pt x="97860" y="65112"/>
                    </a:cubicBezTo>
                    <a:cubicBezTo>
                      <a:pt x="100995" y="67800"/>
                      <a:pt x="104511" y="70009"/>
                      <a:pt x="108290" y="71666"/>
                    </a:cubicBezTo>
                    <a:lnTo>
                      <a:pt x="108290" y="76910"/>
                    </a:lnTo>
                    <a:lnTo>
                      <a:pt x="118378" y="76910"/>
                    </a:lnTo>
                    <a:cubicBezTo>
                      <a:pt x="120373" y="71210"/>
                      <a:pt x="112223" y="67791"/>
                      <a:pt x="110513" y="62262"/>
                    </a:cubicBezTo>
                    <a:cubicBezTo>
                      <a:pt x="109373" y="58443"/>
                      <a:pt x="111482" y="54283"/>
                      <a:pt x="110513" y="50407"/>
                    </a:cubicBezTo>
                    <a:cubicBezTo>
                      <a:pt x="109544" y="46532"/>
                      <a:pt x="106010" y="43454"/>
                      <a:pt x="103104" y="40376"/>
                    </a:cubicBezTo>
                    <a:cubicBezTo>
                      <a:pt x="100197" y="37298"/>
                      <a:pt x="97974" y="32454"/>
                      <a:pt x="100539" y="28977"/>
                    </a:cubicBezTo>
                    <a:cubicBezTo>
                      <a:pt x="101456" y="27923"/>
                      <a:pt x="102585" y="27070"/>
                      <a:pt x="103845" y="26469"/>
                    </a:cubicBezTo>
                    <a:cubicBezTo>
                      <a:pt x="107310" y="23974"/>
                      <a:pt x="111488" y="22674"/>
                      <a:pt x="115756" y="22765"/>
                    </a:cubicBezTo>
                    <a:cubicBezTo>
                      <a:pt x="119917" y="23392"/>
                      <a:pt x="123565" y="28464"/>
                      <a:pt x="121456" y="31884"/>
                    </a:cubicBezTo>
                    <a:cubicBezTo>
                      <a:pt x="128449" y="27119"/>
                      <a:pt x="137876" y="28184"/>
                      <a:pt x="143627" y="34392"/>
                    </a:cubicBezTo>
                    <a:cubicBezTo>
                      <a:pt x="143627" y="40091"/>
                      <a:pt x="134166" y="40490"/>
                      <a:pt x="132627" y="45791"/>
                    </a:cubicBezTo>
                    <a:cubicBezTo>
                      <a:pt x="132348" y="47371"/>
                      <a:pt x="132462" y="48998"/>
                      <a:pt x="132969" y="50521"/>
                    </a:cubicBezTo>
                    <a:cubicBezTo>
                      <a:pt x="134052" y="55195"/>
                      <a:pt x="135990" y="60780"/>
                      <a:pt x="140663" y="61920"/>
                    </a:cubicBezTo>
                    <a:cubicBezTo>
                      <a:pt x="142316" y="56734"/>
                      <a:pt x="143912" y="51547"/>
                      <a:pt x="145565" y="46304"/>
                    </a:cubicBezTo>
                    <a:cubicBezTo>
                      <a:pt x="150637" y="45190"/>
                      <a:pt x="155653" y="48400"/>
                      <a:pt x="156764" y="53472"/>
                    </a:cubicBezTo>
                    <a:cubicBezTo>
                      <a:pt x="156867" y="53927"/>
                      <a:pt x="156929" y="54388"/>
                      <a:pt x="156964" y="54853"/>
                    </a:cubicBezTo>
                    <a:cubicBezTo>
                      <a:pt x="156964" y="56506"/>
                      <a:pt x="156565" y="58386"/>
                      <a:pt x="157534" y="59754"/>
                    </a:cubicBezTo>
                    <a:cubicBezTo>
                      <a:pt x="158616" y="60984"/>
                      <a:pt x="160172" y="61690"/>
                      <a:pt x="161808" y="61692"/>
                    </a:cubicBezTo>
                    <a:lnTo>
                      <a:pt x="183751" y="64884"/>
                    </a:lnTo>
                    <a:cubicBezTo>
                      <a:pt x="181357" y="68418"/>
                      <a:pt x="185917" y="72977"/>
                      <a:pt x="190248" y="73319"/>
                    </a:cubicBezTo>
                    <a:cubicBezTo>
                      <a:pt x="194500" y="72799"/>
                      <a:pt x="198792" y="72646"/>
                      <a:pt x="203072" y="72863"/>
                    </a:cubicBezTo>
                    <a:cubicBezTo>
                      <a:pt x="207039" y="74393"/>
                      <a:pt x="210579" y="76856"/>
                      <a:pt x="213388" y="80044"/>
                    </a:cubicBezTo>
                    <a:cubicBezTo>
                      <a:pt x="216261" y="83222"/>
                      <a:pt x="220581" y="84670"/>
                      <a:pt x="224787" y="83863"/>
                    </a:cubicBezTo>
                    <a:lnTo>
                      <a:pt x="225756" y="96288"/>
                    </a:lnTo>
                    <a:cubicBezTo>
                      <a:pt x="230145" y="94383"/>
                      <a:pt x="235246" y="96396"/>
                      <a:pt x="237155" y="100785"/>
                    </a:cubicBezTo>
                    <a:cubicBezTo>
                      <a:pt x="237155" y="100787"/>
                      <a:pt x="237155" y="100789"/>
                      <a:pt x="237155" y="100791"/>
                    </a:cubicBezTo>
                    <a:cubicBezTo>
                      <a:pt x="238820" y="104988"/>
                      <a:pt x="239042" y="109620"/>
                      <a:pt x="237782" y="113956"/>
                    </a:cubicBezTo>
                    <a:cubicBezTo>
                      <a:pt x="242000" y="115837"/>
                      <a:pt x="246787" y="113671"/>
                      <a:pt x="251347" y="113272"/>
                    </a:cubicBezTo>
                    <a:cubicBezTo>
                      <a:pt x="255907" y="112873"/>
                      <a:pt x="261777" y="116464"/>
                      <a:pt x="260067" y="120739"/>
                    </a:cubicBezTo>
                    <a:cubicBezTo>
                      <a:pt x="259782" y="121480"/>
                      <a:pt x="259212" y="122164"/>
                      <a:pt x="259269" y="122961"/>
                    </a:cubicBezTo>
                    <a:cubicBezTo>
                      <a:pt x="259326" y="123759"/>
                      <a:pt x="261207" y="125184"/>
                      <a:pt x="262689" y="125412"/>
                    </a:cubicBezTo>
                    <a:lnTo>
                      <a:pt x="288222" y="130143"/>
                    </a:lnTo>
                    <a:cubicBezTo>
                      <a:pt x="291699" y="132822"/>
                      <a:pt x="288222" y="138635"/>
                      <a:pt x="284290" y="140459"/>
                    </a:cubicBezTo>
                    <a:cubicBezTo>
                      <a:pt x="280357" y="142283"/>
                      <a:pt x="275114" y="142910"/>
                      <a:pt x="272891" y="146671"/>
                    </a:cubicBezTo>
                    <a:cubicBezTo>
                      <a:pt x="272036" y="148153"/>
                      <a:pt x="271694" y="149863"/>
                      <a:pt x="270839" y="151345"/>
                    </a:cubicBezTo>
                    <a:cubicBezTo>
                      <a:pt x="267818" y="156360"/>
                      <a:pt x="260466" y="155733"/>
                      <a:pt x="254767" y="154480"/>
                    </a:cubicBezTo>
                    <a:cubicBezTo>
                      <a:pt x="256191" y="151907"/>
                      <a:pt x="255428" y="148673"/>
                      <a:pt x="253000" y="147013"/>
                    </a:cubicBezTo>
                    <a:cubicBezTo>
                      <a:pt x="250680" y="145401"/>
                      <a:pt x="247899" y="144581"/>
                      <a:pt x="245077" y="144676"/>
                    </a:cubicBezTo>
                    <a:cubicBezTo>
                      <a:pt x="238232" y="144479"/>
                      <a:pt x="231467" y="146239"/>
                      <a:pt x="225585" y="149749"/>
                    </a:cubicBezTo>
                    <a:cubicBezTo>
                      <a:pt x="222023" y="152685"/>
                      <a:pt x="217766" y="154648"/>
                      <a:pt x="213218" y="155448"/>
                    </a:cubicBezTo>
                    <a:cubicBezTo>
                      <a:pt x="208658" y="155448"/>
                      <a:pt x="204212" y="149749"/>
                      <a:pt x="207518" y="146386"/>
                    </a:cubicBezTo>
                    <a:cubicBezTo>
                      <a:pt x="213331" y="146192"/>
                      <a:pt x="218780" y="143490"/>
                      <a:pt x="222451" y="138977"/>
                    </a:cubicBezTo>
                    <a:cubicBezTo>
                      <a:pt x="225802" y="134290"/>
                      <a:pt x="224713" y="127776"/>
                      <a:pt x="220028" y="124427"/>
                    </a:cubicBezTo>
                    <a:cubicBezTo>
                      <a:pt x="219869" y="124314"/>
                      <a:pt x="219709" y="124206"/>
                      <a:pt x="219544" y="124101"/>
                    </a:cubicBezTo>
                    <a:cubicBezTo>
                      <a:pt x="216808" y="122790"/>
                      <a:pt x="213844" y="123189"/>
                      <a:pt x="210767" y="122050"/>
                    </a:cubicBezTo>
                    <a:cubicBezTo>
                      <a:pt x="207689" y="120910"/>
                      <a:pt x="205865" y="116977"/>
                      <a:pt x="208145" y="115039"/>
                    </a:cubicBezTo>
                    <a:lnTo>
                      <a:pt x="198171" y="114526"/>
                    </a:lnTo>
                    <a:cubicBezTo>
                      <a:pt x="197185" y="110944"/>
                      <a:pt x="196706" y="107241"/>
                      <a:pt x="196746" y="103526"/>
                    </a:cubicBezTo>
                    <a:cubicBezTo>
                      <a:pt x="196729" y="102509"/>
                      <a:pt x="196923" y="101501"/>
                      <a:pt x="197316" y="100563"/>
                    </a:cubicBezTo>
                    <a:cubicBezTo>
                      <a:pt x="198393" y="99127"/>
                      <a:pt x="200080" y="98283"/>
                      <a:pt x="201876" y="98283"/>
                    </a:cubicBezTo>
                    <a:cubicBezTo>
                      <a:pt x="205295" y="98283"/>
                      <a:pt x="208772" y="99252"/>
                      <a:pt x="212192" y="98796"/>
                    </a:cubicBezTo>
                    <a:cubicBezTo>
                      <a:pt x="215611" y="98340"/>
                      <a:pt x="219088" y="94863"/>
                      <a:pt x="217891" y="91728"/>
                    </a:cubicBezTo>
                    <a:cubicBezTo>
                      <a:pt x="217122" y="90465"/>
                      <a:pt x="216016" y="89440"/>
                      <a:pt x="214699" y="88765"/>
                    </a:cubicBezTo>
                    <a:cubicBezTo>
                      <a:pt x="209000" y="85117"/>
                      <a:pt x="200679" y="81469"/>
                      <a:pt x="195321" y="85972"/>
                    </a:cubicBezTo>
                    <a:cubicBezTo>
                      <a:pt x="194124" y="86998"/>
                      <a:pt x="193212" y="88309"/>
                      <a:pt x="192015" y="89392"/>
                    </a:cubicBezTo>
                    <a:cubicBezTo>
                      <a:pt x="185062" y="95433"/>
                      <a:pt x="171896" y="89392"/>
                      <a:pt x="166026" y="96459"/>
                    </a:cubicBezTo>
                    <a:cubicBezTo>
                      <a:pt x="163689" y="100778"/>
                      <a:pt x="162788" y="105729"/>
                      <a:pt x="163461" y="110594"/>
                    </a:cubicBezTo>
                    <a:cubicBezTo>
                      <a:pt x="163461" y="115495"/>
                      <a:pt x="160269" y="121366"/>
                      <a:pt x="155425" y="120910"/>
                    </a:cubicBezTo>
                    <a:cubicBezTo>
                      <a:pt x="158685" y="125550"/>
                      <a:pt x="159289" y="131556"/>
                      <a:pt x="157021" y="136754"/>
                    </a:cubicBezTo>
                    <a:cubicBezTo>
                      <a:pt x="154615" y="141898"/>
                      <a:pt x="149720" y="145433"/>
                      <a:pt x="144083" y="146101"/>
                    </a:cubicBezTo>
                    <a:lnTo>
                      <a:pt x="142658" y="152542"/>
                    </a:lnTo>
                    <a:cubicBezTo>
                      <a:pt x="132513" y="153625"/>
                      <a:pt x="127440" y="165537"/>
                      <a:pt x="126585" y="175739"/>
                    </a:cubicBezTo>
                    <a:cubicBezTo>
                      <a:pt x="126637" y="181793"/>
                      <a:pt x="125713" y="187817"/>
                      <a:pt x="123850" y="193578"/>
                    </a:cubicBezTo>
                    <a:cubicBezTo>
                      <a:pt x="121758" y="199505"/>
                      <a:pt x="115756" y="203115"/>
                      <a:pt x="109544" y="202184"/>
                    </a:cubicBezTo>
                    <a:cubicBezTo>
                      <a:pt x="108290" y="199679"/>
                      <a:pt x="107720" y="196887"/>
                      <a:pt x="107891" y="194091"/>
                    </a:cubicBezTo>
                    <a:cubicBezTo>
                      <a:pt x="104796" y="194804"/>
                      <a:pt x="101582" y="194804"/>
                      <a:pt x="98487" y="194091"/>
                    </a:cubicBezTo>
                    <a:cubicBezTo>
                      <a:pt x="95358" y="193238"/>
                      <a:pt x="93158" y="190436"/>
                      <a:pt x="93073" y="187194"/>
                    </a:cubicBezTo>
                    <a:cubicBezTo>
                      <a:pt x="93073" y="184459"/>
                      <a:pt x="95523" y="182008"/>
                      <a:pt x="95238" y="179272"/>
                    </a:cubicBezTo>
                    <a:cubicBezTo>
                      <a:pt x="94953" y="176537"/>
                      <a:pt x="91875" y="174542"/>
                      <a:pt x="89026" y="173573"/>
                    </a:cubicBezTo>
                    <a:cubicBezTo>
                      <a:pt x="86091" y="173216"/>
                      <a:pt x="83241" y="172368"/>
                      <a:pt x="80591" y="171065"/>
                    </a:cubicBezTo>
                    <a:cubicBezTo>
                      <a:pt x="78140" y="169469"/>
                      <a:pt x="76943" y="165366"/>
                      <a:pt x="79223" y="163599"/>
                    </a:cubicBezTo>
                    <a:cubicBezTo>
                      <a:pt x="75450" y="164503"/>
                      <a:pt x="71489" y="164305"/>
                      <a:pt x="67824" y="163029"/>
                    </a:cubicBezTo>
                    <a:cubicBezTo>
                      <a:pt x="64188" y="161608"/>
                      <a:pt x="62392" y="157510"/>
                      <a:pt x="63812" y="153874"/>
                    </a:cubicBezTo>
                    <a:cubicBezTo>
                      <a:pt x="63840" y="153810"/>
                      <a:pt x="63863" y="153745"/>
                      <a:pt x="63891" y="153682"/>
                    </a:cubicBezTo>
                    <a:cubicBezTo>
                      <a:pt x="64621" y="152614"/>
                      <a:pt x="65572" y="151719"/>
                      <a:pt x="66684" y="151060"/>
                    </a:cubicBezTo>
                    <a:cubicBezTo>
                      <a:pt x="76151" y="144521"/>
                      <a:pt x="87698" y="141701"/>
                      <a:pt x="99114" y="143138"/>
                    </a:cubicBezTo>
                    <a:cubicBezTo>
                      <a:pt x="104215" y="144299"/>
                      <a:pt x="109447" y="144759"/>
                      <a:pt x="114673" y="144505"/>
                    </a:cubicBezTo>
                    <a:cubicBezTo>
                      <a:pt x="119860" y="143651"/>
                      <a:pt x="124989" y="139262"/>
                      <a:pt x="124306" y="134075"/>
                    </a:cubicBezTo>
                    <a:cubicBezTo>
                      <a:pt x="114400" y="126781"/>
                      <a:pt x="101342" y="125366"/>
                      <a:pt x="90109" y="130371"/>
                    </a:cubicBezTo>
                    <a:cubicBezTo>
                      <a:pt x="84865" y="132765"/>
                      <a:pt x="80306" y="136469"/>
                      <a:pt x="74891" y="138464"/>
                    </a:cubicBezTo>
                    <a:cubicBezTo>
                      <a:pt x="65709" y="141761"/>
                      <a:pt x="55467" y="139843"/>
                      <a:pt x="48104" y="133448"/>
                    </a:cubicBezTo>
                    <a:cubicBezTo>
                      <a:pt x="55627" y="126837"/>
                      <a:pt x="67140" y="127749"/>
                      <a:pt x="75860" y="122904"/>
                    </a:cubicBezTo>
                    <a:cubicBezTo>
                      <a:pt x="84580" y="118060"/>
                      <a:pt x="90565" y="108086"/>
                      <a:pt x="100254" y="107972"/>
                    </a:cubicBezTo>
                    <a:cubicBezTo>
                      <a:pt x="102921" y="108288"/>
                      <a:pt x="105623" y="108288"/>
                      <a:pt x="108290" y="107972"/>
                    </a:cubicBezTo>
                    <a:cubicBezTo>
                      <a:pt x="113989" y="106547"/>
                      <a:pt x="115756" y="99651"/>
                      <a:pt x="116611" y="93894"/>
                    </a:cubicBezTo>
                    <a:cubicBezTo>
                      <a:pt x="112223" y="90702"/>
                      <a:pt x="106067" y="93039"/>
                      <a:pt x="101223" y="95490"/>
                    </a:cubicBezTo>
                    <a:lnTo>
                      <a:pt x="94611" y="98853"/>
                    </a:lnTo>
                    <a:cubicBezTo>
                      <a:pt x="96954" y="91044"/>
                      <a:pt x="92525" y="82814"/>
                      <a:pt x="84717" y="80469"/>
                    </a:cubicBezTo>
                    <a:cubicBezTo>
                      <a:pt x="84221" y="80320"/>
                      <a:pt x="83720" y="80197"/>
                      <a:pt x="83213" y="80101"/>
                    </a:cubicBezTo>
                    <a:cubicBezTo>
                      <a:pt x="83133" y="84972"/>
                      <a:pt x="81075" y="89601"/>
                      <a:pt x="77513" y="92925"/>
                    </a:cubicBezTo>
                    <a:cubicBezTo>
                      <a:pt x="73905" y="96253"/>
                      <a:pt x="68747" y="97306"/>
                      <a:pt x="64119" y="95661"/>
                    </a:cubicBezTo>
                    <a:cubicBezTo>
                      <a:pt x="65430" y="101816"/>
                      <a:pt x="65886" y="109910"/>
                      <a:pt x="60243" y="112759"/>
                    </a:cubicBezTo>
                    <a:cubicBezTo>
                      <a:pt x="58163" y="113586"/>
                      <a:pt x="55923" y="113937"/>
                      <a:pt x="53689" y="113785"/>
                    </a:cubicBezTo>
                    <a:cubicBezTo>
                      <a:pt x="45818" y="114567"/>
                      <a:pt x="37890" y="113021"/>
                      <a:pt x="30891" y="109340"/>
                    </a:cubicBezTo>
                    <a:cubicBezTo>
                      <a:pt x="26047" y="105863"/>
                      <a:pt x="21487" y="99366"/>
                      <a:pt x="15161" y="100164"/>
                    </a:cubicBezTo>
                    <a:cubicBezTo>
                      <a:pt x="15161" y="98340"/>
                      <a:pt x="15503" y="96516"/>
                      <a:pt x="15617" y="94464"/>
                    </a:cubicBezTo>
                    <a:cubicBezTo>
                      <a:pt x="11200" y="92248"/>
                      <a:pt x="8714" y="87437"/>
                      <a:pt x="9461" y="82552"/>
                    </a:cubicBezTo>
                    <a:cubicBezTo>
                      <a:pt x="9712" y="80286"/>
                      <a:pt x="10886" y="78223"/>
                      <a:pt x="12710" y="76853"/>
                    </a:cubicBezTo>
                    <a:cubicBezTo>
                      <a:pt x="14118" y="76010"/>
                      <a:pt x="15634" y="75358"/>
                      <a:pt x="17213" y="74915"/>
                    </a:cubicBezTo>
                    <a:cubicBezTo>
                      <a:pt x="22752" y="72778"/>
                      <a:pt x="27130" y="68384"/>
                      <a:pt x="29238" y="62832"/>
                    </a:cubicBezTo>
                    <a:cubicBezTo>
                      <a:pt x="24690" y="58892"/>
                      <a:pt x="18085" y="58450"/>
                      <a:pt x="13052" y="61749"/>
                    </a:cubicBezTo>
                    <a:cubicBezTo>
                      <a:pt x="10373" y="63630"/>
                      <a:pt x="7353" y="66651"/>
                      <a:pt x="4446" y="65112"/>
                    </a:cubicBezTo>
                    <a:cubicBezTo>
                      <a:pt x="2508" y="64086"/>
                      <a:pt x="2052" y="61578"/>
                      <a:pt x="1767" y="59412"/>
                    </a:cubicBezTo>
                    <a:cubicBezTo>
                      <a:pt x="1197" y="54112"/>
                      <a:pt x="570" y="48811"/>
                      <a:pt x="0" y="43511"/>
                    </a:cubicBezTo>
                    <a:cubicBezTo>
                      <a:pt x="5215" y="41987"/>
                      <a:pt x="9216" y="37791"/>
                      <a:pt x="10487" y="32511"/>
                    </a:cubicBezTo>
                    <a:cubicBezTo>
                      <a:pt x="14488" y="30662"/>
                      <a:pt x="19230" y="32407"/>
                      <a:pt x="21077" y="36407"/>
                    </a:cubicBezTo>
                    <a:cubicBezTo>
                      <a:pt x="21100" y="36457"/>
                      <a:pt x="21122" y="36507"/>
                      <a:pt x="21145" y="36557"/>
                    </a:cubicBezTo>
                    <a:close/>
                    <a:moveTo>
                      <a:pt x="286684" y="13418"/>
                    </a:moveTo>
                    <a:cubicBezTo>
                      <a:pt x="284518" y="13418"/>
                      <a:pt x="282352" y="11366"/>
                      <a:pt x="282637" y="9257"/>
                    </a:cubicBezTo>
                    <a:cubicBezTo>
                      <a:pt x="278112" y="7992"/>
                      <a:pt x="273273" y="8523"/>
                      <a:pt x="269129" y="10739"/>
                    </a:cubicBezTo>
                    <a:cubicBezTo>
                      <a:pt x="264900" y="12915"/>
                      <a:pt x="259833" y="12654"/>
                      <a:pt x="255849" y="10055"/>
                    </a:cubicBezTo>
                    <a:cubicBezTo>
                      <a:pt x="254276" y="7952"/>
                      <a:pt x="252846" y="5743"/>
                      <a:pt x="251575" y="3444"/>
                    </a:cubicBezTo>
                    <a:cubicBezTo>
                      <a:pt x="248788" y="118"/>
                      <a:pt x="244120" y="-931"/>
                      <a:pt x="240176" y="879"/>
                    </a:cubicBezTo>
                    <a:cubicBezTo>
                      <a:pt x="238574" y="2706"/>
                      <a:pt x="238574" y="5435"/>
                      <a:pt x="240176" y="7262"/>
                    </a:cubicBezTo>
                    <a:cubicBezTo>
                      <a:pt x="241544" y="9200"/>
                      <a:pt x="243539" y="10568"/>
                      <a:pt x="244792" y="12563"/>
                    </a:cubicBezTo>
                    <a:cubicBezTo>
                      <a:pt x="246047" y="14557"/>
                      <a:pt x="245989" y="17749"/>
                      <a:pt x="243881" y="18775"/>
                    </a:cubicBezTo>
                    <a:lnTo>
                      <a:pt x="241829" y="15127"/>
                    </a:lnTo>
                    <a:cubicBezTo>
                      <a:pt x="238694" y="17692"/>
                      <a:pt x="234020" y="15127"/>
                      <a:pt x="231114" y="12563"/>
                    </a:cubicBezTo>
                    <a:cubicBezTo>
                      <a:pt x="228207" y="9998"/>
                      <a:pt x="225015" y="6350"/>
                      <a:pt x="220969" y="6863"/>
                    </a:cubicBezTo>
                    <a:cubicBezTo>
                      <a:pt x="218176" y="7610"/>
                      <a:pt x="215560" y="8908"/>
                      <a:pt x="213275" y="10682"/>
                    </a:cubicBezTo>
                    <a:cubicBezTo>
                      <a:pt x="210767" y="12107"/>
                      <a:pt x="206891" y="12392"/>
                      <a:pt x="205580" y="9827"/>
                    </a:cubicBezTo>
                    <a:cubicBezTo>
                      <a:pt x="204269" y="7262"/>
                      <a:pt x="206093" y="3671"/>
                      <a:pt x="203984" y="1962"/>
                    </a:cubicBezTo>
                    <a:cubicBezTo>
                      <a:pt x="197766" y="3732"/>
                      <a:pt x="191274" y="4351"/>
                      <a:pt x="184834" y="3785"/>
                    </a:cubicBezTo>
                    <a:cubicBezTo>
                      <a:pt x="180446" y="3330"/>
                      <a:pt x="174461" y="3330"/>
                      <a:pt x="173435" y="7604"/>
                    </a:cubicBezTo>
                    <a:cubicBezTo>
                      <a:pt x="172922" y="9713"/>
                      <a:pt x="173834" y="12335"/>
                      <a:pt x="172181" y="13703"/>
                    </a:cubicBezTo>
                    <a:cubicBezTo>
                      <a:pt x="170819" y="14601"/>
                      <a:pt x="169001" y="14331"/>
                      <a:pt x="167964" y="13076"/>
                    </a:cubicBezTo>
                    <a:cubicBezTo>
                      <a:pt x="166989" y="11831"/>
                      <a:pt x="166339" y="10362"/>
                      <a:pt x="166083" y="8801"/>
                    </a:cubicBezTo>
                    <a:cubicBezTo>
                      <a:pt x="163809" y="9340"/>
                      <a:pt x="161438" y="8436"/>
                      <a:pt x="160098" y="6521"/>
                    </a:cubicBezTo>
                    <a:cubicBezTo>
                      <a:pt x="158799" y="4636"/>
                      <a:pt x="157904" y="2501"/>
                      <a:pt x="157476" y="252"/>
                    </a:cubicBezTo>
                    <a:cubicBezTo>
                      <a:pt x="154610" y="-322"/>
                      <a:pt x="151629" y="229"/>
                      <a:pt x="149155" y="1791"/>
                    </a:cubicBezTo>
                    <a:cubicBezTo>
                      <a:pt x="146630" y="7701"/>
                      <a:pt x="149121" y="14557"/>
                      <a:pt x="154855" y="17464"/>
                    </a:cubicBezTo>
                    <a:cubicBezTo>
                      <a:pt x="156337" y="17942"/>
                      <a:pt x="157682" y="18763"/>
                      <a:pt x="158788" y="19858"/>
                    </a:cubicBezTo>
                    <a:cubicBezTo>
                      <a:pt x="160896" y="22708"/>
                      <a:pt x="157818" y="26754"/>
                      <a:pt x="158788" y="30174"/>
                    </a:cubicBezTo>
                    <a:cubicBezTo>
                      <a:pt x="159756" y="33594"/>
                      <a:pt x="164829" y="34620"/>
                      <a:pt x="168762" y="34392"/>
                    </a:cubicBezTo>
                    <a:cubicBezTo>
                      <a:pt x="179978" y="33753"/>
                      <a:pt x="191092" y="31841"/>
                      <a:pt x="201876" y="28692"/>
                    </a:cubicBezTo>
                    <a:cubicBezTo>
                      <a:pt x="211280" y="25899"/>
                      <a:pt x="222279" y="22366"/>
                      <a:pt x="230373" y="28122"/>
                    </a:cubicBezTo>
                    <a:cubicBezTo>
                      <a:pt x="231114" y="28565"/>
                      <a:pt x="231644" y="29282"/>
                      <a:pt x="231855" y="30117"/>
                    </a:cubicBezTo>
                    <a:cubicBezTo>
                      <a:pt x="231855" y="31542"/>
                      <a:pt x="230601" y="32739"/>
                      <a:pt x="229176" y="33024"/>
                    </a:cubicBezTo>
                    <a:cubicBezTo>
                      <a:pt x="227717" y="33089"/>
                      <a:pt x="226264" y="33298"/>
                      <a:pt x="224844" y="33651"/>
                    </a:cubicBezTo>
                    <a:cubicBezTo>
                      <a:pt x="222109" y="34734"/>
                      <a:pt x="221197" y="38153"/>
                      <a:pt x="218860" y="39977"/>
                    </a:cubicBezTo>
                    <a:cubicBezTo>
                      <a:pt x="216563" y="41355"/>
                      <a:pt x="213878" y="41936"/>
                      <a:pt x="211222" y="41630"/>
                    </a:cubicBezTo>
                    <a:lnTo>
                      <a:pt x="196803" y="41630"/>
                    </a:lnTo>
                    <a:cubicBezTo>
                      <a:pt x="193155" y="41630"/>
                      <a:pt x="188197" y="42827"/>
                      <a:pt x="188482" y="46475"/>
                    </a:cubicBezTo>
                    <a:cubicBezTo>
                      <a:pt x="188687" y="47696"/>
                      <a:pt x="189291" y="48816"/>
                      <a:pt x="190191" y="49666"/>
                    </a:cubicBezTo>
                    <a:cubicBezTo>
                      <a:pt x="195891" y="55765"/>
                      <a:pt x="205181" y="56620"/>
                      <a:pt x="213559" y="56392"/>
                    </a:cubicBezTo>
                    <a:cubicBezTo>
                      <a:pt x="219880" y="56223"/>
                      <a:pt x="226178" y="55652"/>
                      <a:pt x="232425" y="54682"/>
                    </a:cubicBezTo>
                    <a:cubicBezTo>
                      <a:pt x="237970" y="52976"/>
                      <a:pt x="243966" y="53572"/>
                      <a:pt x="249067" y="56335"/>
                    </a:cubicBezTo>
                    <a:cubicBezTo>
                      <a:pt x="251803" y="58500"/>
                      <a:pt x="253285" y="62034"/>
                      <a:pt x="256306" y="63801"/>
                    </a:cubicBezTo>
                    <a:cubicBezTo>
                      <a:pt x="258374" y="64833"/>
                      <a:pt x="260666" y="65342"/>
                      <a:pt x="262974" y="65283"/>
                    </a:cubicBezTo>
                    <a:cubicBezTo>
                      <a:pt x="266051" y="65703"/>
                      <a:pt x="269186" y="65548"/>
                      <a:pt x="272207" y="64827"/>
                    </a:cubicBezTo>
                    <a:cubicBezTo>
                      <a:pt x="275279" y="64076"/>
                      <a:pt x="277730" y="61757"/>
                      <a:pt x="278647" y="58728"/>
                    </a:cubicBezTo>
                    <a:cubicBezTo>
                      <a:pt x="278647" y="57646"/>
                      <a:pt x="278647" y="56392"/>
                      <a:pt x="279787" y="55765"/>
                    </a:cubicBezTo>
                    <a:cubicBezTo>
                      <a:pt x="280426" y="55401"/>
                      <a:pt x="281167" y="55260"/>
                      <a:pt x="281896" y="55366"/>
                    </a:cubicBezTo>
                    <a:cubicBezTo>
                      <a:pt x="286900" y="56236"/>
                      <a:pt x="291978" y="56655"/>
                      <a:pt x="297057" y="56620"/>
                    </a:cubicBezTo>
                    <a:cubicBezTo>
                      <a:pt x="302334" y="56532"/>
                      <a:pt x="306865" y="52829"/>
                      <a:pt x="308000" y="47671"/>
                    </a:cubicBezTo>
                    <a:cubicBezTo>
                      <a:pt x="310781" y="49096"/>
                      <a:pt x="314183" y="48214"/>
                      <a:pt x="315922" y="45620"/>
                    </a:cubicBezTo>
                    <a:cubicBezTo>
                      <a:pt x="317495" y="43016"/>
                      <a:pt x="318378" y="40054"/>
                      <a:pt x="318487" y="37013"/>
                    </a:cubicBezTo>
                    <a:cubicBezTo>
                      <a:pt x="321097" y="36884"/>
                      <a:pt x="323633" y="36079"/>
                      <a:pt x="325839" y="34677"/>
                    </a:cubicBezTo>
                    <a:cubicBezTo>
                      <a:pt x="328056" y="33194"/>
                      <a:pt x="329105" y="30482"/>
                      <a:pt x="328461" y="27894"/>
                    </a:cubicBezTo>
                    <a:cubicBezTo>
                      <a:pt x="325725" y="28236"/>
                      <a:pt x="325383" y="23392"/>
                      <a:pt x="322761" y="22480"/>
                    </a:cubicBezTo>
                    <a:cubicBezTo>
                      <a:pt x="322009" y="22306"/>
                      <a:pt x="321234" y="22306"/>
                      <a:pt x="320482" y="22480"/>
                    </a:cubicBezTo>
                    <a:lnTo>
                      <a:pt x="310621" y="23734"/>
                    </a:lnTo>
                    <a:cubicBezTo>
                      <a:pt x="309994" y="21682"/>
                      <a:pt x="309425" y="19630"/>
                      <a:pt x="308797" y="17578"/>
                    </a:cubicBezTo>
                    <a:cubicBezTo>
                      <a:pt x="304688" y="13736"/>
                      <a:pt x="299000" y="12066"/>
                      <a:pt x="293466" y="13076"/>
                    </a:cubicBezTo>
                    <a:cubicBezTo>
                      <a:pt x="291237" y="13566"/>
                      <a:pt x="288946" y="13682"/>
                      <a:pt x="286684" y="134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4" name="Freihandform: Form 608">
                <a:extLst>
                  <a:ext uri="{FF2B5EF4-FFF2-40B4-BE49-F238E27FC236}">
                    <a16:creationId xmlns:a16="http://schemas.microsoft.com/office/drawing/2014/main" id="{8ECF51F6-81C8-19BE-E930-5AE1099804C2}"/>
                  </a:ext>
                </a:extLst>
              </p:cNvPr>
              <p:cNvSpPr/>
              <p:nvPr/>
            </p:nvSpPr>
            <p:spPr>
              <a:xfrm>
                <a:off x="2433451" y="5589874"/>
                <a:ext cx="63883" cy="38043"/>
              </a:xfrm>
              <a:custGeom>
                <a:avLst/>
                <a:gdLst>
                  <a:gd name="connsiteX0" fmla="*/ 3705 w 63883"/>
                  <a:gd name="connsiteY0" fmla="*/ 17811 h 38043"/>
                  <a:gd name="connsiteX1" fmla="*/ 6782 w 63883"/>
                  <a:gd name="connsiteY1" fmla="*/ 16329 h 38043"/>
                  <a:gd name="connsiteX2" fmla="*/ 7751 w 63883"/>
                  <a:gd name="connsiteY2" fmla="*/ 8407 h 38043"/>
                  <a:gd name="connsiteX3" fmla="*/ 15446 w 63883"/>
                  <a:gd name="connsiteY3" fmla="*/ 3448 h 38043"/>
                  <a:gd name="connsiteX4" fmla="*/ 16585 w 63883"/>
                  <a:gd name="connsiteY4" fmla="*/ 484 h 38043"/>
                  <a:gd name="connsiteX5" fmla="*/ 18580 w 63883"/>
                  <a:gd name="connsiteY5" fmla="*/ 86 h 38043"/>
                  <a:gd name="connsiteX6" fmla="*/ 24622 w 63883"/>
                  <a:gd name="connsiteY6" fmla="*/ 86 h 38043"/>
                  <a:gd name="connsiteX7" fmla="*/ 26104 w 63883"/>
                  <a:gd name="connsiteY7" fmla="*/ 86 h 38043"/>
                  <a:gd name="connsiteX8" fmla="*/ 27357 w 63883"/>
                  <a:gd name="connsiteY8" fmla="*/ 1168 h 38043"/>
                  <a:gd name="connsiteX9" fmla="*/ 25819 w 63883"/>
                  <a:gd name="connsiteY9" fmla="*/ 8635 h 38043"/>
                  <a:gd name="connsiteX10" fmla="*/ 23881 w 63883"/>
                  <a:gd name="connsiteY10" fmla="*/ 9946 h 38043"/>
                  <a:gd name="connsiteX11" fmla="*/ 24166 w 63883"/>
                  <a:gd name="connsiteY11" fmla="*/ 19065 h 38043"/>
                  <a:gd name="connsiteX12" fmla="*/ 16528 w 63883"/>
                  <a:gd name="connsiteY12" fmla="*/ 22256 h 38043"/>
                  <a:gd name="connsiteX13" fmla="*/ 13451 w 63883"/>
                  <a:gd name="connsiteY13" fmla="*/ 27443 h 38043"/>
                  <a:gd name="connsiteX14" fmla="*/ 0 w 63883"/>
                  <a:gd name="connsiteY14" fmla="*/ 38044 h 38043"/>
                  <a:gd name="connsiteX15" fmla="*/ 456 w 63883"/>
                  <a:gd name="connsiteY15" fmla="*/ 25562 h 38043"/>
                  <a:gd name="connsiteX16" fmla="*/ 3705 w 63883"/>
                  <a:gd name="connsiteY16" fmla="*/ 17811 h 38043"/>
                  <a:gd name="connsiteX17" fmla="*/ 39839 w 63883"/>
                  <a:gd name="connsiteY17" fmla="*/ 14505 h 38043"/>
                  <a:gd name="connsiteX18" fmla="*/ 38414 w 63883"/>
                  <a:gd name="connsiteY18" fmla="*/ 18153 h 38043"/>
                  <a:gd name="connsiteX19" fmla="*/ 31632 w 63883"/>
                  <a:gd name="connsiteY19" fmla="*/ 20489 h 38043"/>
                  <a:gd name="connsiteX20" fmla="*/ 31062 w 63883"/>
                  <a:gd name="connsiteY20" fmla="*/ 26702 h 38043"/>
                  <a:gd name="connsiteX21" fmla="*/ 35793 w 63883"/>
                  <a:gd name="connsiteY21" fmla="*/ 25391 h 38043"/>
                  <a:gd name="connsiteX22" fmla="*/ 59046 w 63883"/>
                  <a:gd name="connsiteY22" fmla="*/ 26075 h 38043"/>
                  <a:gd name="connsiteX23" fmla="*/ 60927 w 63883"/>
                  <a:gd name="connsiteY23" fmla="*/ 25448 h 38043"/>
                  <a:gd name="connsiteX24" fmla="*/ 61212 w 63883"/>
                  <a:gd name="connsiteY24" fmla="*/ 24764 h 38043"/>
                  <a:gd name="connsiteX25" fmla="*/ 63549 w 63883"/>
                  <a:gd name="connsiteY25" fmla="*/ 15531 h 38043"/>
                  <a:gd name="connsiteX26" fmla="*/ 62922 w 63883"/>
                  <a:gd name="connsiteY26" fmla="*/ 10971 h 38043"/>
                  <a:gd name="connsiteX27" fmla="*/ 60300 w 63883"/>
                  <a:gd name="connsiteY27" fmla="*/ 10345 h 38043"/>
                  <a:gd name="connsiteX28" fmla="*/ 51751 w 63883"/>
                  <a:gd name="connsiteY28" fmla="*/ 10345 h 38043"/>
                  <a:gd name="connsiteX29" fmla="*/ 46337 w 63883"/>
                  <a:gd name="connsiteY29" fmla="*/ 11883 h 38043"/>
                  <a:gd name="connsiteX30" fmla="*/ 44798 w 63883"/>
                  <a:gd name="connsiteY30" fmla="*/ 13878 h 38043"/>
                  <a:gd name="connsiteX31" fmla="*/ 39839 w 63883"/>
                  <a:gd name="connsiteY31" fmla="*/ 14505 h 3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3883" h="38043">
                    <a:moveTo>
                      <a:pt x="3705" y="17811"/>
                    </a:moveTo>
                    <a:cubicBezTo>
                      <a:pt x="4730" y="17241"/>
                      <a:pt x="5984" y="17127"/>
                      <a:pt x="6782" y="16329"/>
                    </a:cubicBezTo>
                    <a:cubicBezTo>
                      <a:pt x="8834" y="14505"/>
                      <a:pt x="7067" y="11086"/>
                      <a:pt x="7751" y="8407"/>
                    </a:cubicBezTo>
                    <a:cubicBezTo>
                      <a:pt x="11211" y="8994"/>
                      <a:pt x="14551" y="6845"/>
                      <a:pt x="15446" y="3448"/>
                    </a:cubicBezTo>
                    <a:cubicBezTo>
                      <a:pt x="15446" y="2365"/>
                      <a:pt x="15730" y="1111"/>
                      <a:pt x="16585" y="484"/>
                    </a:cubicBezTo>
                    <a:cubicBezTo>
                      <a:pt x="17195" y="154"/>
                      <a:pt x="17891" y="11"/>
                      <a:pt x="18580" y="86"/>
                    </a:cubicBezTo>
                    <a:lnTo>
                      <a:pt x="24622" y="86"/>
                    </a:lnTo>
                    <a:cubicBezTo>
                      <a:pt x="25112" y="-29"/>
                      <a:pt x="25613" y="-29"/>
                      <a:pt x="26104" y="86"/>
                    </a:cubicBezTo>
                    <a:cubicBezTo>
                      <a:pt x="26622" y="313"/>
                      <a:pt x="27055" y="689"/>
                      <a:pt x="27357" y="1168"/>
                    </a:cubicBezTo>
                    <a:cubicBezTo>
                      <a:pt x="28828" y="3682"/>
                      <a:pt x="28167" y="6908"/>
                      <a:pt x="25819" y="8635"/>
                    </a:cubicBezTo>
                    <a:cubicBezTo>
                      <a:pt x="25123" y="8994"/>
                      <a:pt x="24473" y="9432"/>
                      <a:pt x="23881" y="9946"/>
                    </a:cubicBezTo>
                    <a:cubicBezTo>
                      <a:pt x="21772" y="12282"/>
                      <a:pt x="25591" y="16215"/>
                      <a:pt x="24166" y="19065"/>
                    </a:cubicBezTo>
                    <a:cubicBezTo>
                      <a:pt x="22741" y="21914"/>
                      <a:pt x="18922" y="20661"/>
                      <a:pt x="16528" y="22256"/>
                    </a:cubicBezTo>
                    <a:cubicBezTo>
                      <a:pt x="15012" y="23641"/>
                      <a:pt x="13941" y="25448"/>
                      <a:pt x="13451" y="27443"/>
                    </a:cubicBezTo>
                    <a:cubicBezTo>
                      <a:pt x="11017" y="33000"/>
                      <a:pt x="5973" y="36978"/>
                      <a:pt x="0" y="38044"/>
                    </a:cubicBezTo>
                    <a:cubicBezTo>
                      <a:pt x="0" y="33883"/>
                      <a:pt x="342" y="29723"/>
                      <a:pt x="456" y="25562"/>
                    </a:cubicBezTo>
                    <a:cubicBezTo>
                      <a:pt x="456" y="22769"/>
                      <a:pt x="1026" y="19179"/>
                      <a:pt x="3705" y="17811"/>
                    </a:cubicBezTo>
                    <a:close/>
                    <a:moveTo>
                      <a:pt x="39839" y="14505"/>
                    </a:moveTo>
                    <a:cubicBezTo>
                      <a:pt x="38813" y="15360"/>
                      <a:pt x="39155" y="17070"/>
                      <a:pt x="38414" y="18153"/>
                    </a:cubicBezTo>
                    <a:cubicBezTo>
                      <a:pt x="37047" y="20262"/>
                      <a:pt x="33570" y="18951"/>
                      <a:pt x="31632" y="20489"/>
                    </a:cubicBezTo>
                    <a:cubicBezTo>
                      <a:pt x="29694" y="22028"/>
                      <a:pt x="30378" y="24593"/>
                      <a:pt x="31062" y="26702"/>
                    </a:cubicBezTo>
                    <a:cubicBezTo>
                      <a:pt x="32361" y="25574"/>
                      <a:pt x="34100" y="25089"/>
                      <a:pt x="35793" y="25391"/>
                    </a:cubicBezTo>
                    <a:lnTo>
                      <a:pt x="59046" y="26075"/>
                    </a:lnTo>
                    <a:cubicBezTo>
                      <a:pt x="59730" y="26075"/>
                      <a:pt x="60528" y="26075"/>
                      <a:pt x="60927" y="25448"/>
                    </a:cubicBezTo>
                    <a:cubicBezTo>
                      <a:pt x="61087" y="25254"/>
                      <a:pt x="61190" y="25015"/>
                      <a:pt x="61212" y="24764"/>
                    </a:cubicBezTo>
                    <a:cubicBezTo>
                      <a:pt x="62010" y="21686"/>
                      <a:pt x="62751" y="18609"/>
                      <a:pt x="63549" y="15531"/>
                    </a:cubicBezTo>
                    <a:cubicBezTo>
                      <a:pt x="63948" y="13935"/>
                      <a:pt x="64233" y="11997"/>
                      <a:pt x="62922" y="10971"/>
                    </a:cubicBezTo>
                    <a:cubicBezTo>
                      <a:pt x="62141" y="10476"/>
                      <a:pt x="61218" y="10259"/>
                      <a:pt x="60300" y="10345"/>
                    </a:cubicBezTo>
                    <a:lnTo>
                      <a:pt x="51751" y="10345"/>
                    </a:lnTo>
                    <a:cubicBezTo>
                      <a:pt x="49808" y="10031"/>
                      <a:pt x="47824" y="10595"/>
                      <a:pt x="46337" y="11883"/>
                    </a:cubicBezTo>
                    <a:cubicBezTo>
                      <a:pt x="45824" y="12567"/>
                      <a:pt x="45539" y="13422"/>
                      <a:pt x="44798" y="13878"/>
                    </a:cubicBezTo>
                    <a:cubicBezTo>
                      <a:pt x="44057" y="14334"/>
                      <a:pt x="41150" y="13479"/>
                      <a:pt x="39839" y="1450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5" name="Freihandform: Form 609">
                <a:extLst>
                  <a:ext uri="{FF2B5EF4-FFF2-40B4-BE49-F238E27FC236}">
                    <a16:creationId xmlns:a16="http://schemas.microsoft.com/office/drawing/2014/main" id="{838E3280-EAD6-7809-EB5D-694B55752348}"/>
                  </a:ext>
                </a:extLst>
              </p:cNvPr>
              <p:cNvSpPr/>
              <p:nvPr/>
            </p:nvSpPr>
            <p:spPr>
              <a:xfrm>
                <a:off x="4465028" y="3372100"/>
                <a:ext cx="39879" cy="25573"/>
              </a:xfrm>
              <a:custGeom>
                <a:avLst/>
                <a:gdLst>
                  <a:gd name="connsiteX0" fmla="*/ 18295 w 39879"/>
                  <a:gd name="connsiteY0" fmla="*/ 9713 h 25573"/>
                  <a:gd name="connsiteX1" fmla="*/ 22798 w 39879"/>
                  <a:gd name="connsiteY1" fmla="*/ 8402 h 25573"/>
                  <a:gd name="connsiteX2" fmla="*/ 25933 w 39879"/>
                  <a:gd name="connsiteY2" fmla="*/ 7490 h 25573"/>
                  <a:gd name="connsiteX3" fmla="*/ 26389 w 39879"/>
                  <a:gd name="connsiteY3" fmla="*/ 5837 h 25573"/>
                  <a:gd name="connsiteX4" fmla="*/ 29637 w 39879"/>
                  <a:gd name="connsiteY4" fmla="*/ 707 h 25573"/>
                  <a:gd name="connsiteX5" fmla="*/ 39327 w 39879"/>
                  <a:gd name="connsiteY5" fmla="*/ 138 h 25573"/>
                  <a:gd name="connsiteX6" fmla="*/ 39668 w 39879"/>
                  <a:gd name="connsiteY6" fmla="*/ 6293 h 25573"/>
                  <a:gd name="connsiteX7" fmla="*/ 35166 w 39879"/>
                  <a:gd name="connsiteY7" fmla="*/ 9884 h 25573"/>
                  <a:gd name="connsiteX8" fmla="*/ 34596 w 39879"/>
                  <a:gd name="connsiteY8" fmla="*/ 9884 h 25573"/>
                  <a:gd name="connsiteX9" fmla="*/ 34596 w 39879"/>
                  <a:gd name="connsiteY9" fmla="*/ 10567 h 25573"/>
                  <a:gd name="connsiteX10" fmla="*/ 35508 w 39879"/>
                  <a:gd name="connsiteY10" fmla="*/ 15982 h 25573"/>
                  <a:gd name="connsiteX11" fmla="*/ 27529 w 39879"/>
                  <a:gd name="connsiteY11" fmla="*/ 17065 h 25573"/>
                  <a:gd name="connsiteX12" fmla="*/ 25875 w 39879"/>
                  <a:gd name="connsiteY12" fmla="*/ 24930 h 25573"/>
                  <a:gd name="connsiteX13" fmla="*/ 23311 w 39879"/>
                  <a:gd name="connsiteY13" fmla="*/ 25443 h 25573"/>
                  <a:gd name="connsiteX14" fmla="*/ 0 w 39879"/>
                  <a:gd name="connsiteY14" fmla="*/ 22650 h 25573"/>
                  <a:gd name="connsiteX15" fmla="*/ 1425 w 39879"/>
                  <a:gd name="connsiteY15" fmla="*/ 16951 h 25573"/>
                  <a:gd name="connsiteX16" fmla="*/ 1824 w 39879"/>
                  <a:gd name="connsiteY16" fmla="*/ 12334 h 25573"/>
                  <a:gd name="connsiteX17" fmla="*/ 4959 w 39879"/>
                  <a:gd name="connsiteY17" fmla="*/ 11479 h 25573"/>
                  <a:gd name="connsiteX18" fmla="*/ 12539 w 39879"/>
                  <a:gd name="connsiteY18" fmla="*/ 11479 h 25573"/>
                  <a:gd name="connsiteX19" fmla="*/ 15503 w 39879"/>
                  <a:gd name="connsiteY19" fmla="*/ 11137 h 25573"/>
                  <a:gd name="connsiteX20" fmla="*/ 18295 w 39879"/>
                  <a:gd name="connsiteY20" fmla="*/ 9713 h 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879" h="25573">
                    <a:moveTo>
                      <a:pt x="18295" y="9713"/>
                    </a:moveTo>
                    <a:cubicBezTo>
                      <a:pt x="19663" y="8909"/>
                      <a:pt x="21213" y="8459"/>
                      <a:pt x="22798" y="8402"/>
                    </a:cubicBezTo>
                    <a:cubicBezTo>
                      <a:pt x="23938" y="8402"/>
                      <a:pt x="25249" y="8402"/>
                      <a:pt x="25933" y="7490"/>
                    </a:cubicBezTo>
                    <a:cubicBezTo>
                      <a:pt x="26200" y="6977"/>
                      <a:pt x="26360" y="6413"/>
                      <a:pt x="26389" y="5837"/>
                    </a:cubicBezTo>
                    <a:cubicBezTo>
                      <a:pt x="26622" y="3717"/>
                      <a:pt x="27819" y="1824"/>
                      <a:pt x="29637" y="707"/>
                    </a:cubicBezTo>
                    <a:cubicBezTo>
                      <a:pt x="32544" y="-831"/>
                      <a:pt x="36078" y="707"/>
                      <a:pt x="39327" y="138"/>
                    </a:cubicBezTo>
                    <a:cubicBezTo>
                      <a:pt x="39919" y="2132"/>
                      <a:pt x="40039" y="4241"/>
                      <a:pt x="39668" y="6293"/>
                    </a:cubicBezTo>
                    <a:cubicBezTo>
                      <a:pt x="39229" y="8419"/>
                      <a:pt x="37337" y="9929"/>
                      <a:pt x="35166" y="9884"/>
                    </a:cubicBezTo>
                    <a:cubicBezTo>
                      <a:pt x="34978" y="9827"/>
                      <a:pt x="34784" y="9827"/>
                      <a:pt x="34596" y="9884"/>
                    </a:cubicBezTo>
                    <a:cubicBezTo>
                      <a:pt x="34482" y="10100"/>
                      <a:pt x="34482" y="10351"/>
                      <a:pt x="34596" y="10567"/>
                    </a:cubicBezTo>
                    <a:cubicBezTo>
                      <a:pt x="34881" y="12391"/>
                      <a:pt x="35223" y="14158"/>
                      <a:pt x="35508" y="15982"/>
                    </a:cubicBezTo>
                    <a:lnTo>
                      <a:pt x="27529" y="17065"/>
                    </a:lnTo>
                    <a:cubicBezTo>
                      <a:pt x="28155" y="19858"/>
                      <a:pt x="28440" y="23562"/>
                      <a:pt x="25875" y="24930"/>
                    </a:cubicBezTo>
                    <a:cubicBezTo>
                      <a:pt x="25061" y="25266"/>
                      <a:pt x="24189" y="25443"/>
                      <a:pt x="23311" y="25443"/>
                    </a:cubicBezTo>
                    <a:cubicBezTo>
                      <a:pt x="15434" y="25945"/>
                      <a:pt x="7535" y="24999"/>
                      <a:pt x="0" y="22650"/>
                    </a:cubicBezTo>
                    <a:cubicBezTo>
                      <a:pt x="1197" y="21009"/>
                      <a:pt x="1710" y="18963"/>
                      <a:pt x="1425" y="16951"/>
                    </a:cubicBezTo>
                    <a:cubicBezTo>
                      <a:pt x="1425" y="15355"/>
                      <a:pt x="741" y="13474"/>
                      <a:pt x="1824" y="12334"/>
                    </a:cubicBezTo>
                    <a:cubicBezTo>
                      <a:pt x="2719" y="11656"/>
                      <a:pt x="3842" y="11348"/>
                      <a:pt x="4959" y="11479"/>
                    </a:cubicBezTo>
                    <a:lnTo>
                      <a:pt x="12539" y="11479"/>
                    </a:lnTo>
                    <a:cubicBezTo>
                      <a:pt x="13536" y="11536"/>
                      <a:pt x="14540" y="11422"/>
                      <a:pt x="15503" y="11137"/>
                    </a:cubicBezTo>
                    <a:cubicBezTo>
                      <a:pt x="16466" y="10733"/>
                      <a:pt x="17400" y="10254"/>
                      <a:pt x="18295" y="97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6" name="Freihandform: Form 610">
                <a:extLst>
                  <a:ext uri="{FF2B5EF4-FFF2-40B4-BE49-F238E27FC236}">
                    <a16:creationId xmlns:a16="http://schemas.microsoft.com/office/drawing/2014/main" id="{7AC83BA7-F29D-2DBA-62EC-58BA9DC8BCB7}"/>
                  </a:ext>
                </a:extLst>
              </p:cNvPr>
              <p:cNvSpPr/>
              <p:nvPr/>
            </p:nvSpPr>
            <p:spPr>
              <a:xfrm>
                <a:off x="6572868" y="3104793"/>
                <a:ext cx="373141" cy="394810"/>
              </a:xfrm>
              <a:custGeom>
                <a:avLst/>
                <a:gdLst>
                  <a:gd name="connsiteX0" fmla="*/ 255333 w 373141"/>
                  <a:gd name="connsiteY0" fmla="*/ 64543 h 394810"/>
                  <a:gd name="connsiteX1" fmla="*/ 264908 w 373141"/>
                  <a:gd name="connsiteY1" fmla="*/ 53144 h 394810"/>
                  <a:gd name="connsiteX2" fmla="*/ 264110 w 373141"/>
                  <a:gd name="connsiteY2" fmla="*/ 37527 h 394810"/>
                  <a:gd name="connsiteX3" fmla="*/ 267644 w 373141"/>
                  <a:gd name="connsiteY3" fmla="*/ 24305 h 394810"/>
                  <a:gd name="connsiteX4" fmla="*/ 272089 w 373141"/>
                  <a:gd name="connsiteY4" fmla="*/ 22082 h 394810"/>
                  <a:gd name="connsiteX5" fmla="*/ 271007 w 373141"/>
                  <a:gd name="connsiteY5" fmla="*/ 11481 h 394810"/>
                  <a:gd name="connsiteX6" fmla="*/ 265649 w 373141"/>
                  <a:gd name="connsiteY6" fmla="*/ 1336 h 394810"/>
                  <a:gd name="connsiteX7" fmla="*/ 282634 w 373141"/>
                  <a:gd name="connsiteY7" fmla="*/ 7007 h 394810"/>
                  <a:gd name="connsiteX8" fmla="*/ 283887 w 373141"/>
                  <a:gd name="connsiteY8" fmla="*/ 11367 h 394810"/>
                  <a:gd name="connsiteX9" fmla="*/ 284628 w 373141"/>
                  <a:gd name="connsiteY9" fmla="*/ 14900 h 394810"/>
                  <a:gd name="connsiteX10" fmla="*/ 287877 w 373141"/>
                  <a:gd name="connsiteY10" fmla="*/ 15926 h 394810"/>
                  <a:gd name="connsiteX11" fmla="*/ 303209 w 373141"/>
                  <a:gd name="connsiteY11" fmla="*/ 31885 h 394810"/>
                  <a:gd name="connsiteX12" fmla="*/ 310390 w 373141"/>
                  <a:gd name="connsiteY12" fmla="*/ 32968 h 394810"/>
                  <a:gd name="connsiteX13" fmla="*/ 312783 w 373141"/>
                  <a:gd name="connsiteY13" fmla="*/ 35532 h 394810"/>
                  <a:gd name="connsiteX14" fmla="*/ 332675 w 373141"/>
                  <a:gd name="connsiteY14" fmla="*/ 38496 h 394810"/>
                  <a:gd name="connsiteX15" fmla="*/ 373141 w 373141"/>
                  <a:gd name="connsiteY15" fmla="*/ 32056 h 394810"/>
                  <a:gd name="connsiteX16" fmla="*/ 348405 w 373141"/>
                  <a:gd name="connsiteY16" fmla="*/ 49667 h 394810"/>
                  <a:gd name="connsiteX17" fmla="*/ 338545 w 373141"/>
                  <a:gd name="connsiteY17" fmla="*/ 68418 h 394810"/>
                  <a:gd name="connsiteX18" fmla="*/ 312043 w 373141"/>
                  <a:gd name="connsiteY18" fmla="*/ 74118 h 394810"/>
                  <a:gd name="connsiteX19" fmla="*/ 305489 w 373141"/>
                  <a:gd name="connsiteY19" fmla="*/ 87056 h 394810"/>
                  <a:gd name="connsiteX20" fmla="*/ 294090 w 373141"/>
                  <a:gd name="connsiteY20" fmla="*/ 93895 h 394810"/>
                  <a:gd name="connsiteX21" fmla="*/ 287934 w 373141"/>
                  <a:gd name="connsiteY21" fmla="*/ 87911 h 394810"/>
                  <a:gd name="connsiteX22" fmla="*/ 270835 w 373141"/>
                  <a:gd name="connsiteY22" fmla="*/ 79304 h 394810"/>
                  <a:gd name="connsiteX23" fmla="*/ 252369 w 373141"/>
                  <a:gd name="connsiteY23" fmla="*/ 76797 h 394810"/>
                  <a:gd name="connsiteX24" fmla="*/ 239204 w 373141"/>
                  <a:gd name="connsiteY24" fmla="*/ 88196 h 394810"/>
                  <a:gd name="connsiteX25" fmla="*/ 248266 w 373141"/>
                  <a:gd name="connsiteY25" fmla="*/ 96323 h 394810"/>
                  <a:gd name="connsiteX26" fmla="*/ 248038 w 373141"/>
                  <a:gd name="connsiteY26" fmla="*/ 98796 h 394810"/>
                  <a:gd name="connsiteX27" fmla="*/ 234929 w 373141"/>
                  <a:gd name="connsiteY27" fmla="*/ 104878 h 394810"/>
                  <a:gd name="connsiteX28" fmla="*/ 234701 w 373141"/>
                  <a:gd name="connsiteY28" fmla="*/ 104781 h 394810"/>
                  <a:gd name="connsiteX29" fmla="*/ 233219 w 373141"/>
                  <a:gd name="connsiteY29" fmla="*/ 93382 h 394810"/>
                  <a:gd name="connsiteX30" fmla="*/ 224898 w 373141"/>
                  <a:gd name="connsiteY30" fmla="*/ 83180 h 394810"/>
                  <a:gd name="connsiteX31" fmla="*/ 239090 w 373141"/>
                  <a:gd name="connsiteY31" fmla="*/ 72066 h 394810"/>
                  <a:gd name="connsiteX32" fmla="*/ 239090 w 373141"/>
                  <a:gd name="connsiteY32" fmla="*/ 68190 h 394810"/>
                  <a:gd name="connsiteX33" fmla="*/ 246100 w 373141"/>
                  <a:gd name="connsiteY33" fmla="*/ 63859 h 394810"/>
                  <a:gd name="connsiteX34" fmla="*/ 255333 w 373141"/>
                  <a:gd name="connsiteY34" fmla="*/ 64543 h 394810"/>
                  <a:gd name="connsiteX35" fmla="*/ 46220 w 373141"/>
                  <a:gd name="connsiteY35" fmla="*/ 333330 h 394810"/>
                  <a:gd name="connsiteX36" fmla="*/ 35675 w 373141"/>
                  <a:gd name="connsiteY36" fmla="*/ 326035 h 394810"/>
                  <a:gd name="connsiteX37" fmla="*/ 22567 w 373141"/>
                  <a:gd name="connsiteY37" fmla="*/ 325123 h 394810"/>
                  <a:gd name="connsiteX38" fmla="*/ 14644 w 373141"/>
                  <a:gd name="connsiteY38" fmla="*/ 326548 h 394810"/>
                  <a:gd name="connsiteX39" fmla="*/ 5753 w 373141"/>
                  <a:gd name="connsiteY39" fmla="*/ 339086 h 394810"/>
                  <a:gd name="connsiteX40" fmla="*/ 510 w 373141"/>
                  <a:gd name="connsiteY40" fmla="*/ 351853 h 394810"/>
                  <a:gd name="connsiteX41" fmla="*/ 7919 w 373141"/>
                  <a:gd name="connsiteY41" fmla="*/ 354817 h 394810"/>
                  <a:gd name="connsiteX42" fmla="*/ 13105 w 373141"/>
                  <a:gd name="connsiteY42" fmla="*/ 348263 h 394810"/>
                  <a:gd name="connsiteX43" fmla="*/ 13903 w 373141"/>
                  <a:gd name="connsiteY43" fmla="*/ 345926 h 394810"/>
                  <a:gd name="connsiteX44" fmla="*/ 15898 w 373141"/>
                  <a:gd name="connsiteY44" fmla="*/ 345299 h 394810"/>
                  <a:gd name="connsiteX45" fmla="*/ 23649 w 373141"/>
                  <a:gd name="connsiteY45" fmla="*/ 347294 h 394810"/>
                  <a:gd name="connsiteX46" fmla="*/ 24903 w 373141"/>
                  <a:gd name="connsiteY46" fmla="*/ 352651 h 394810"/>
                  <a:gd name="connsiteX47" fmla="*/ 23422 w 373141"/>
                  <a:gd name="connsiteY47" fmla="*/ 363594 h 394810"/>
                  <a:gd name="connsiteX48" fmla="*/ 14587 w 373141"/>
                  <a:gd name="connsiteY48" fmla="*/ 368952 h 394810"/>
                  <a:gd name="connsiteX49" fmla="*/ 17722 w 373141"/>
                  <a:gd name="connsiteY49" fmla="*/ 391464 h 394810"/>
                  <a:gd name="connsiteX50" fmla="*/ 18805 w 373141"/>
                  <a:gd name="connsiteY50" fmla="*/ 393972 h 394810"/>
                  <a:gd name="connsiteX51" fmla="*/ 20515 w 373141"/>
                  <a:gd name="connsiteY51" fmla="*/ 394428 h 394810"/>
                  <a:gd name="connsiteX52" fmla="*/ 31914 w 373141"/>
                  <a:gd name="connsiteY52" fmla="*/ 393288 h 394810"/>
                  <a:gd name="connsiteX53" fmla="*/ 39038 w 373141"/>
                  <a:gd name="connsiteY53" fmla="*/ 378527 h 394810"/>
                  <a:gd name="connsiteX54" fmla="*/ 41603 w 373141"/>
                  <a:gd name="connsiteY54" fmla="*/ 369066 h 394810"/>
                  <a:gd name="connsiteX55" fmla="*/ 45649 w 373141"/>
                  <a:gd name="connsiteY55" fmla="*/ 365361 h 394810"/>
                  <a:gd name="connsiteX56" fmla="*/ 52603 w 373141"/>
                  <a:gd name="connsiteY56" fmla="*/ 353107 h 394810"/>
                  <a:gd name="connsiteX57" fmla="*/ 52603 w 373141"/>
                  <a:gd name="connsiteY57" fmla="*/ 343019 h 394810"/>
                  <a:gd name="connsiteX58" fmla="*/ 49924 w 373141"/>
                  <a:gd name="connsiteY58" fmla="*/ 340625 h 394810"/>
                  <a:gd name="connsiteX59" fmla="*/ 46390 w 373141"/>
                  <a:gd name="connsiteY59" fmla="*/ 333330 h 394810"/>
                  <a:gd name="connsiteX60" fmla="*/ 97515 w 373141"/>
                  <a:gd name="connsiteY60" fmla="*/ 344729 h 394810"/>
                  <a:gd name="connsiteX61" fmla="*/ 101960 w 373141"/>
                  <a:gd name="connsiteY61" fmla="*/ 340226 h 394810"/>
                  <a:gd name="connsiteX62" fmla="*/ 100308 w 373141"/>
                  <a:gd name="connsiteY62" fmla="*/ 332760 h 394810"/>
                  <a:gd name="connsiteX63" fmla="*/ 109255 w 373141"/>
                  <a:gd name="connsiteY63" fmla="*/ 326149 h 394810"/>
                  <a:gd name="connsiteX64" fmla="*/ 114955 w 373141"/>
                  <a:gd name="connsiteY64" fmla="*/ 312812 h 394810"/>
                  <a:gd name="connsiteX65" fmla="*/ 105266 w 373141"/>
                  <a:gd name="connsiteY65" fmla="*/ 303123 h 394810"/>
                  <a:gd name="connsiteX66" fmla="*/ 93525 w 373141"/>
                  <a:gd name="connsiteY66" fmla="*/ 308252 h 394810"/>
                  <a:gd name="connsiteX67" fmla="*/ 88281 w 373141"/>
                  <a:gd name="connsiteY67" fmla="*/ 310304 h 394810"/>
                  <a:gd name="connsiteX68" fmla="*/ 86970 w 373141"/>
                  <a:gd name="connsiteY68" fmla="*/ 312755 h 394810"/>
                  <a:gd name="connsiteX69" fmla="*/ 69872 w 373141"/>
                  <a:gd name="connsiteY69" fmla="*/ 326206 h 394810"/>
                  <a:gd name="connsiteX70" fmla="*/ 63431 w 373141"/>
                  <a:gd name="connsiteY70" fmla="*/ 329226 h 394810"/>
                  <a:gd name="connsiteX71" fmla="*/ 62178 w 373141"/>
                  <a:gd name="connsiteY71" fmla="*/ 336920 h 394810"/>
                  <a:gd name="connsiteX72" fmla="*/ 62919 w 373141"/>
                  <a:gd name="connsiteY72" fmla="*/ 344900 h 394810"/>
                  <a:gd name="connsiteX73" fmla="*/ 64856 w 373141"/>
                  <a:gd name="connsiteY73" fmla="*/ 350599 h 394810"/>
                  <a:gd name="connsiteX74" fmla="*/ 75457 w 373141"/>
                  <a:gd name="connsiteY74" fmla="*/ 349174 h 394810"/>
                  <a:gd name="connsiteX75" fmla="*/ 90960 w 373141"/>
                  <a:gd name="connsiteY75" fmla="*/ 345356 h 394810"/>
                  <a:gd name="connsiteX76" fmla="*/ 97401 w 373141"/>
                  <a:gd name="connsiteY76" fmla="*/ 344900 h 394810"/>
                  <a:gd name="connsiteX77" fmla="*/ 260292 w 373141"/>
                  <a:gd name="connsiteY77" fmla="*/ 122449 h 394810"/>
                  <a:gd name="connsiteX78" fmla="*/ 249805 w 373141"/>
                  <a:gd name="connsiteY78" fmla="*/ 118745 h 394810"/>
                  <a:gd name="connsiteX79" fmla="*/ 240457 w 373141"/>
                  <a:gd name="connsiteY79" fmla="*/ 126610 h 394810"/>
                  <a:gd name="connsiteX80" fmla="*/ 226893 w 373141"/>
                  <a:gd name="connsiteY80" fmla="*/ 148325 h 394810"/>
                  <a:gd name="connsiteX81" fmla="*/ 232592 w 373141"/>
                  <a:gd name="connsiteY81" fmla="*/ 171750 h 394810"/>
                  <a:gd name="connsiteX82" fmla="*/ 224157 w 373141"/>
                  <a:gd name="connsiteY82" fmla="*/ 184232 h 394810"/>
                  <a:gd name="connsiteX83" fmla="*/ 223758 w 373141"/>
                  <a:gd name="connsiteY83" fmla="*/ 190615 h 394810"/>
                  <a:gd name="connsiteX84" fmla="*/ 211561 w 373141"/>
                  <a:gd name="connsiteY84" fmla="*/ 203553 h 394810"/>
                  <a:gd name="connsiteX85" fmla="*/ 207970 w 373141"/>
                  <a:gd name="connsiteY85" fmla="*/ 214154 h 394810"/>
                  <a:gd name="connsiteX86" fmla="*/ 202271 w 373141"/>
                  <a:gd name="connsiteY86" fmla="*/ 215408 h 394810"/>
                  <a:gd name="connsiteX87" fmla="*/ 193950 w 373141"/>
                  <a:gd name="connsiteY87" fmla="*/ 225895 h 394810"/>
                  <a:gd name="connsiteX88" fmla="*/ 184945 w 373141"/>
                  <a:gd name="connsiteY88" fmla="*/ 227434 h 394810"/>
                  <a:gd name="connsiteX89" fmla="*/ 178219 w 373141"/>
                  <a:gd name="connsiteY89" fmla="*/ 238833 h 394810"/>
                  <a:gd name="connsiteX90" fmla="*/ 173546 w 373141"/>
                  <a:gd name="connsiteY90" fmla="*/ 228004 h 394810"/>
                  <a:gd name="connsiteX91" fmla="*/ 159639 w 373141"/>
                  <a:gd name="connsiteY91" fmla="*/ 230112 h 394810"/>
                  <a:gd name="connsiteX92" fmla="*/ 151887 w 373141"/>
                  <a:gd name="connsiteY92" fmla="*/ 242936 h 394810"/>
                  <a:gd name="connsiteX93" fmla="*/ 149209 w 373141"/>
                  <a:gd name="connsiteY93" fmla="*/ 251542 h 394810"/>
                  <a:gd name="connsiteX94" fmla="*/ 146587 w 373141"/>
                  <a:gd name="connsiteY94" fmla="*/ 264708 h 394810"/>
                  <a:gd name="connsiteX95" fmla="*/ 136727 w 373141"/>
                  <a:gd name="connsiteY95" fmla="*/ 271548 h 394810"/>
                  <a:gd name="connsiteX96" fmla="*/ 136100 w 373141"/>
                  <a:gd name="connsiteY96" fmla="*/ 276620 h 394810"/>
                  <a:gd name="connsiteX97" fmla="*/ 129090 w 373141"/>
                  <a:gd name="connsiteY97" fmla="*/ 277931 h 394810"/>
                  <a:gd name="connsiteX98" fmla="*/ 122934 w 373141"/>
                  <a:gd name="connsiteY98" fmla="*/ 272687 h 394810"/>
                  <a:gd name="connsiteX99" fmla="*/ 102416 w 373141"/>
                  <a:gd name="connsiteY99" fmla="*/ 276392 h 394810"/>
                  <a:gd name="connsiteX100" fmla="*/ 99110 w 373141"/>
                  <a:gd name="connsiteY100" fmla="*/ 279014 h 394810"/>
                  <a:gd name="connsiteX101" fmla="*/ 95919 w 373141"/>
                  <a:gd name="connsiteY101" fmla="*/ 278273 h 394810"/>
                  <a:gd name="connsiteX102" fmla="*/ 64458 w 373141"/>
                  <a:gd name="connsiteY102" fmla="*/ 280097 h 394810"/>
                  <a:gd name="connsiteX103" fmla="*/ 57960 w 373141"/>
                  <a:gd name="connsiteY103" fmla="*/ 283289 h 394810"/>
                  <a:gd name="connsiteX104" fmla="*/ 53971 w 373141"/>
                  <a:gd name="connsiteY104" fmla="*/ 290071 h 394810"/>
                  <a:gd name="connsiteX105" fmla="*/ 48271 w 373141"/>
                  <a:gd name="connsiteY105" fmla="*/ 295770 h 394810"/>
                  <a:gd name="connsiteX106" fmla="*/ 25815 w 373141"/>
                  <a:gd name="connsiteY106" fmla="*/ 313439 h 394810"/>
                  <a:gd name="connsiteX107" fmla="*/ 42515 w 373141"/>
                  <a:gd name="connsiteY107" fmla="*/ 316573 h 394810"/>
                  <a:gd name="connsiteX108" fmla="*/ 68903 w 373141"/>
                  <a:gd name="connsiteY108" fmla="*/ 309050 h 394810"/>
                  <a:gd name="connsiteX109" fmla="*/ 77680 w 373141"/>
                  <a:gd name="connsiteY109" fmla="*/ 299418 h 394810"/>
                  <a:gd name="connsiteX110" fmla="*/ 101333 w 373141"/>
                  <a:gd name="connsiteY110" fmla="*/ 292579 h 394810"/>
                  <a:gd name="connsiteX111" fmla="*/ 115183 w 373141"/>
                  <a:gd name="connsiteY111" fmla="*/ 295998 h 394810"/>
                  <a:gd name="connsiteX112" fmla="*/ 120883 w 373141"/>
                  <a:gd name="connsiteY112" fmla="*/ 295998 h 394810"/>
                  <a:gd name="connsiteX113" fmla="*/ 126582 w 373141"/>
                  <a:gd name="connsiteY113" fmla="*/ 307055 h 394810"/>
                  <a:gd name="connsiteX114" fmla="*/ 124302 w 373141"/>
                  <a:gd name="connsiteY114" fmla="*/ 320506 h 394810"/>
                  <a:gd name="connsiteX115" fmla="*/ 139862 w 373141"/>
                  <a:gd name="connsiteY115" fmla="*/ 327402 h 394810"/>
                  <a:gd name="connsiteX116" fmla="*/ 145561 w 373141"/>
                  <a:gd name="connsiteY116" fmla="*/ 322330 h 394810"/>
                  <a:gd name="connsiteX117" fmla="*/ 155307 w 373141"/>
                  <a:gd name="connsiteY117" fmla="*/ 291838 h 394810"/>
                  <a:gd name="connsiteX118" fmla="*/ 168359 w 373141"/>
                  <a:gd name="connsiteY118" fmla="*/ 298164 h 394810"/>
                  <a:gd name="connsiteX119" fmla="*/ 171380 w 373141"/>
                  <a:gd name="connsiteY119" fmla="*/ 306086 h 394810"/>
                  <a:gd name="connsiteX120" fmla="*/ 197826 w 373141"/>
                  <a:gd name="connsiteY120" fmla="*/ 292921 h 394810"/>
                  <a:gd name="connsiteX121" fmla="*/ 203525 w 373141"/>
                  <a:gd name="connsiteY121" fmla="*/ 285169 h 394810"/>
                  <a:gd name="connsiteX122" fmla="*/ 212644 w 373141"/>
                  <a:gd name="connsiteY122" fmla="*/ 280496 h 394810"/>
                  <a:gd name="connsiteX123" fmla="*/ 219256 w 373141"/>
                  <a:gd name="connsiteY123" fmla="*/ 269781 h 394810"/>
                  <a:gd name="connsiteX124" fmla="*/ 229287 w 373141"/>
                  <a:gd name="connsiteY124" fmla="*/ 265221 h 394810"/>
                  <a:gd name="connsiteX125" fmla="*/ 239659 w 373141"/>
                  <a:gd name="connsiteY125" fmla="*/ 251656 h 394810"/>
                  <a:gd name="connsiteX126" fmla="*/ 248437 w 373141"/>
                  <a:gd name="connsiteY126" fmla="*/ 249548 h 394810"/>
                  <a:gd name="connsiteX127" fmla="*/ 249691 w 373141"/>
                  <a:gd name="connsiteY127" fmla="*/ 245615 h 394810"/>
                  <a:gd name="connsiteX128" fmla="*/ 249064 w 373141"/>
                  <a:gd name="connsiteY128" fmla="*/ 216206 h 394810"/>
                  <a:gd name="connsiteX129" fmla="*/ 249919 w 373141"/>
                  <a:gd name="connsiteY129" fmla="*/ 200019 h 394810"/>
                  <a:gd name="connsiteX130" fmla="*/ 260861 w 373141"/>
                  <a:gd name="connsiteY130" fmla="*/ 190900 h 394810"/>
                  <a:gd name="connsiteX131" fmla="*/ 274426 w 373141"/>
                  <a:gd name="connsiteY131" fmla="*/ 178304 h 394810"/>
                  <a:gd name="connsiteX132" fmla="*/ 276877 w 373141"/>
                  <a:gd name="connsiteY132" fmla="*/ 173631 h 394810"/>
                  <a:gd name="connsiteX133" fmla="*/ 269810 w 373141"/>
                  <a:gd name="connsiteY133" fmla="*/ 157387 h 394810"/>
                  <a:gd name="connsiteX134" fmla="*/ 269810 w 373141"/>
                  <a:gd name="connsiteY134" fmla="*/ 142454 h 394810"/>
                  <a:gd name="connsiteX135" fmla="*/ 265364 w 373141"/>
                  <a:gd name="connsiteY135" fmla="*/ 138693 h 394810"/>
                  <a:gd name="connsiteX136" fmla="*/ 260520 w 373141"/>
                  <a:gd name="connsiteY136" fmla="*/ 128890 h 394810"/>
                  <a:gd name="connsiteX137" fmla="*/ 260177 w 373141"/>
                  <a:gd name="connsiteY137" fmla="*/ 122620 h 39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73141" h="394810">
                    <a:moveTo>
                      <a:pt x="255333" y="64543"/>
                    </a:moveTo>
                    <a:cubicBezTo>
                      <a:pt x="260520" y="62993"/>
                      <a:pt x="264281" y="58513"/>
                      <a:pt x="264908" y="53144"/>
                    </a:cubicBezTo>
                    <a:cubicBezTo>
                      <a:pt x="265478" y="47929"/>
                      <a:pt x="265250" y="42657"/>
                      <a:pt x="264110" y="37527"/>
                    </a:cubicBezTo>
                    <a:cubicBezTo>
                      <a:pt x="263427" y="32740"/>
                      <a:pt x="263484" y="26755"/>
                      <a:pt x="267644" y="24305"/>
                    </a:cubicBezTo>
                    <a:cubicBezTo>
                      <a:pt x="269183" y="23689"/>
                      <a:pt x="270664" y="22948"/>
                      <a:pt x="272089" y="22082"/>
                    </a:cubicBezTo>
                    <a:cubicBezTo>
                      <a:pt x="275053" y="19517"/>
                      <a:pt x="273401" y="14558"/>
                      <a:pt x="271007" y="11481"/>
                    </a:cubicBezTo>
                    <a:cubicBezTo>
                      <a:pt x="268613" y="8403"/>
                      <a:pt x="265307" y="5268"/>
                      <a:pt x="265649" y="1336"/>
                    </a:cubicBezTo>
                    <a:cubicBezTo>
                      <a:pt x="271919" y="-1788"/>
                      <a:pt x="279499" y="754"/>
                      <a:pt x="282634" y="7007"/>
                    </a:cubicBezTo>
                    <a:cubicBezTo>
                      <a:pt x="283318" y="8369"/>
                      <a:pt x="283716" y="9851"/>
                      <a:pt x="283887" y="11367"/>
                    </a:cubicBezTo>
                    <a:cubicBezTo>
                      <a:pt x="283887" y="12620"/>
                      <a:pt x="283887" y="14045"/>
                      <a:pt x="284628" y="14900"/>
                    </a:cubicBezTo>
                    <a:cubicBezTo>
                      <a:pt x="285541" y="15618"/>
                      <a:pt x="286680" y="15983"/>
                      <a:pt x="287877" y="15926"/>
                    </a:cubicBezTo>
                    <a:cubicBezTo>
                      <a:pt x="296141" y="16946"/>
                      <a:pt x="302525" y="23609"/>
                      <a:pt x="303209" y="31885"/>
                    </a:cubicBezTo>
                    <a:cubicBezTo>
                      <a:pt x="305203" y="33310"/>
                      <a:pt x="308224" y="31885"/>
                      <a:pt x="310390" y="32968"/>
                    </a:cubicBezTo>
                    <a:cubicBezTo>
                      <a:pt x="311359" y="33663"/>
                      <a:pt x="312157" y="34535"/>
                      <a:pt x="312783" y="35532"/>
                    </a:cubicBezTo>
                    <a:cubicBezTo>
                      <a:pt x="317343" y="40947"/>
                      <a:pt x="325778" y="39921"/>
                      <a:pt x="332675" y="38496"/>
                    </a:cubicBezTo>
                    <a:cubicBezTo>
                      <a:pt x="346069" y="35760"/>
                      <a:pt x="359577" y="33612"/>
                      <a:pt x="373141" y="32056"/>
                    </a:cubicBezTo>
                    <a:cubicBezTo>
                      <a:pt x="368467" y="41768"/>
                      <a:pt x="359120" y="48408"/>
                      <a:pt x="348405" y="49667"/>
                    </a:cubicBezTo>
                    <a:cubicBezTo>
                      <a:pt x="350001" y="57470"/>
                      <a:pt x="345898" y="65318"/>
                      <a:pt x="338545" y="68418"/>
                    </a:cubicBezTo>
                    <a:cubicBezTo>
                      <a:pt x="329939" y="71724"/>
                      <a:pt x="318711" y="67734"/>
                      <a:pt x="312043" y="74118"/>
                    </a:cubicBezTo>
                    <a:cubicBezTo>
                      <a:pt x="309079" y="77993"/>
                      <a:pt x="306856" y="82376"/>
                      <a:pt x="305489" y="87056"/>
                    </a:cubicBezTo>
                    <a:cubicBezTo>
                      <a:pt x="303436" y="91444"/>
                      <a:pt x="298763" y="95662"/>
                      <a:pt x="294090" y="93895"/>
                    </a:cubicBezTo>
                    <a:cubicBezTo>
                      <a:pt x="291410" y="92869"/>
                      <a:pt x="289872" y="90076"/>
                      <a:pt x="287934" y="87911"/>
                    </a:cubicBezTo>
                    <a:cubicBezTo>
                      <a:pt x="283146" y="83493"/>
                      <a:pt x="277219" y="80507"/>
                      <a:pt x="270835" y="79304"/>
                    </a:cubicBezTo>
                    <a:cubicBezTo>
                      <a:pt x="264908" y="77150"/>
                      <a:pt x="258638" y="76295"/>
                      <a:pt x="252369" y="76797"/>
                    </a:cubicBezTo>
                    <a:cubicBezTo>
                      <a:pt x="245986" y="77395"/>
                      <a:pt x="240686" y="81977"/>
                      <a:pt x="239204" y="88196"/>
                    </a:cubicBezTo>
                    <a:cubicBezTo>
                      <a:pt x="243934" y="87939"/>
                      <a:pt x="247980" y="91575"/>
                      <a:pt x="248266" y="96323"/>
                    </a:cubicBezTo>
                    <a:cubicBezTo>
                      <a:pt x="248323" y="97155"/>
                      <a:pt x="248209" y="97987"/>
                      <a:pt x="248038" y="98796"/>
                    </a:cubicBezTo>
                    <a:cubicBezTo>
                      <a:pt x="246100" y="104091"/>
                      <a:pt x="240229" y="106810"/>
                      <a:pt x="234929" y="104878"/>
                    </a:cubicBezTo>
                    <a:cubicBezTo>
                      <a:pt x="234872" y="104844"/>
                      <a:pt x="234758" y="104815"/>
                      <a:pt x="234701" y="104781"/>
                    </a:cubicBezTo>
                    <a:cubicBezTo>
                      <a:pt x="238976" y="103128"/>
                      <a:pt x="236867" y="96403"/>
                      <a:pt x="233219" y="93382"/>
                    </a:cubicBezTo>
                    <a:cubicBezTo>
                      <a:pt x="229571" y="90361"/>
                      <a:pt x="224670" y="87683"/>
                      <a:pt x="224898" y="83180"/>
                    </a:cubicBezTo>
                    <a:cubicBezTo>
                      <a:pt x="226323" y="77082"/>
                      <a:pt x="237779" y="78221"/>
                      <a:pt x="239090" y="72066"/>
                    </a:cubicBezTo>
                    <a:cubicBezTo>
                      <a:pt x="239090" y="70812"/>
                      <a:pt x="239090" y="69444"/>
                      <a:pt x="239090" y="68190"/>
                    </a:cubicBezTo>
                    <a:cubicBezTo>
                      <a:pt x="239774" y="65341"/>
                      <a:pt x="243193" y="63973"/>
                      <a:pt x="246100" y="63859"/>
                    </a:cubicBezTo>
                    <a:cubicBezTo>
                      <a:pt x="249178" y="64360"/>
                      <a:pt x="252255" y="64594"/>
                      <a:pt x="255333" y="64543"/>
                    </a:cubicBezTo>
                    <a:close/>
                    <a:moveTo>
                      <a:pt x="46220" y="333330"/>
                    </a:moveTo>
                    <a:cubicBezTo>
                      <a:pt x="43826" y="329580"/>
                      <a:pt x="40007" y="326946"/>
                      <a:pt x="35675" y="326035"/>
                    </a:cubicBezTo>
                    <a:cubicBezTo>
                      <a:pt x="31343" y="325128"/>
                      <a:pt x="26955" y="324826"/>
                      <a:pt x="22567" y="325123"/>
                    </a:cubicBezTo>
                    <a:cubicBezTo>
                      <a:pt x="19831" y="324963"/>
                      <a:pt x="17152" y="325447"/>
                      <a:pt x="14644" y="326548"/>
                    </a:cubicBezTo>
                    <a:cubicBezTo>
                      <a:pt x="10027" y="328998"/>
                      <a:pt x="8945" y="334755"/>
                      <a:pt x="5753" y="339086"/>
                    </a:cubicBezTo>
                    <a:cubicBezTo>
                      <a:pt x="2561" y="343418"/>
                      <a:pt x="-1429" y="347408"/>
                      <a:pt x="510" y="351853"/>
                    </a:cubicBezTo>
                    <a:cubicBezTo>
                      <a:pt x="1935" y="354526"/>
                      <a:pt x="5069" y="355780"/>
                      <a:pt x="7919" y="354817"/>
                    </a:cubicBezTo>
                    <a:cubicBezTo>
                      <a:pt x="10711" y="353723"/>
                      <a:pt x="12707" y="351220"/>
                      <a:pt x="13105" y="348263"/>
                    </a:cubicBezTo>
                    <a:cubicBezTo>
                      <a:pt x="13105" y="347413"/>
                      <a:pt x="13391" y="346587"/>
                      <a:pt x="13903" y="345926"/>
                    </a:cubicBezTo>
                    <a:cubicBezTo>
                      <a:pt x="14473" y="345481"/>
                      <a:pt x="15157" y="345259"/>
                      <a:pt x="15898" y="345299"/>
                    </a:cubicBezTo>
                    <a:cubicBezTo>
                      <a:pt x="18634" y="344700"/>
                      <a:pt x="21540" y="345436"/>
                      <a:pt x="23649" y="347294"/>
                    </a:cubicBezTo>
                    <a:cubicBezTo>
                      <a:pt x="24618" y="348895"/>
                      <a:pt x="25074" y="350776"/>
                      <a:pt x="24903" y="352651"/>
                    </a:cubicBezTo>
                    <a:cubicBezTo>
                      <a:pt x="25245" y="356361"/>
                      <a:pt x="24733" y="360100"/>
                      <a:pt x="23422" y="363594"/>
                    </a:cubicBezTo>
                    <a:cubicBezTo>
                      <a:pt x="21997" y="367145"/>
                      <a:pt x="18406" y="369328"/>
                      <a:pt x="14587" y="368952"/>
                    </a:cubicBezTo>
                    <a:lnTo>
                      <a:pt x="17722" y="391464"/>
                    </a:lnTo>
                    <a:cubicBezTo>
                      <a:pt x="17722" y="392411"/>
                      <a:pt x="18121" y="393305"/>
                      <a:pt x="18805" y="393972"/>
                    </a:cubicBezTo>
                    <a:cubicBezTo>
                      <a:pt x="19318" y="394269"/>
                      <a:pt x="19887" y="394428"/>
                      <a:pt x="20515" y="394428"/>
                    </a:cubicBezTo>
                    <a:cubicBezTo>
                      <a:pt x="24333" y="395198"/>
                      <a:pt x="28323" y="394799"/>
                      <a:pt x="31914" y="393288"/>
                    </a:cubicBezTo>
                    <a:cubicBezTo>
                      <a:pt x="36530" y="389800"/>
                      <a:pt x="39152" y="384306"/>
                      <a:pt x="39038" y="378527"/>
                    </a:cubicBezTo>
                    <a:cubicBezTo>
                      <a:pt x="38924" y="375193"/>
                      <a:pt x="39836" y="371904"/>
                      <a:pt x="41603" y="369066"/>
                    </a:cubicBezTo>
                    <a:cubicBezTo>
                      <a:pt x="42856" y="367726"/>
                      <a:pt x="44224" y="366489"/>
                      <a:pt x="45649" y="365361"/>
                    </a:cubicBezTo>
                    <a:cubicBezTo>
                      <a:pt x="48898" y="361867"/>
                      <a:pt x="51292" y="357672"/>
                      <a:pt x="52603" y="353107"/>
                    </a:cubicBezTo>
                    <a:cubicBezTo>
                      <a:pt x="53857" y="349801"/>
                      <a:pt x="54996" y="345755"/>
                      <a:pt x="52603" y="343019"/>
                    </a:cubicBezTo>
                    <a:cubicBezTo>
                      <a:pt x="51805" y="342107"/>
                      <a:pt x="50779" y="341480"/>
                      <a:pt x="49924" y="340625"/>
                    </a:cubicBezTo>
                    <a:cubicBezTo>
                      <a:pt x="48442" y="338345"/>
                      <a:pt x="47245" y="335895"/>
                      <a:pt x="46390" y="333330"/>
                    </a:cubicBezTo>
                    <a:close/>
                    <a:moveTo>
                      <a:pt x="97515" y="344729"/>
                    </a:moveTo>
                    <a:cubicBezTo>
                      <a:pt x="99794" y="344262"/>
                      <a:pt x="101504" y="342489"/>
                      <a:pt x="101960" y="340226"/>
                    </a:cubicBezTo>
                    <a:cubicBezTo>
                      <a:pt x="101960" y="337661"/>
                      <a:pt x="100022" y="335325"/>
                      <a:pt x="100308" y="332760"/>
                    </a:cubicBezTo>
                    <a:cubicBezTo>
                      <a:pt x="100763" y="328884"/>
                      <a:pt x="106007" y="327972"/>
                      <a:pt x="109255" y="326149"/>
                    </a:cubicBezTo>
                    <a:cubicBezTo>
                      <a:pt x="113929" y="323493"/>
                      <a:pt x="116266" y="318032"/>
                      <a:pt x="114955" y="312812"/>
                    </a:cubicBezTo>
                    <a:cubicBezTo>
                      <a:pt x="110851" y="310623"/>
                      <a:pt x="107432" y="307249"/>
                      <a:pt x="105266" y="303123"/>
                    </a:cubicBezTo>
                    <a:cubicBezTo>
                      <a:pt x="101846" y="305756"/>
                      <a:pt x="97799" y="307511"/>
                      <a:pt x="93525" y="308252"/>
                    </a:cubicBezTo>
                    <a:cubicBezTo>
                      <a:pt x="91587" y="308315"/>
                      <a:pt x="89763" y="309039"/>
                      <a:pt x="88281" y="310304"/>
                    </a:cubicBezTo>
                    <a:cubicBezTo>
                      <a:pt x="87711" y="311034"/>
                      <a:pt x="87256" y="311866"/>
                      <a:pt x="86970" y="312755"/>
                    </a:cubicBezTo>
                    <a:cubicBezTo>
                      <a:pt x="83494" y="319520"/>
                      <a:pt x="77282" y="324433"/>
                      <a:pt x="69872" y="326206"/>
                    </a:cubicBezTo>
                    <a:cubicBezTo>
                      <a:pt x="67479" y="326548"/>
                      <a:pt x="65256" y="327596"/>
                      <a:pt x="63431" y="329226"/>
                    </a:cubicBezTo>
                    <a:cubicBezTo>
                      <a:pt x="62007" y="331523"/>
                      <a:pt x="61551" y="334293"/>
                      <a:pt x="62178" y="336920"/>
                    </a:cubicBezTo>
                    <a:cubicBezTo>
                      <a:pt x="62178" y="339599"/>
                      <a:pt x="62691" y="342221"/>
                      <a:pt x="62919" y="344900"/>
                    </a:cubicBezTo>
                    <a:cubicBezTo>
                      <a:pt x="62805" y="346974"/>
                      <a:pt x="63489" y="349015"/>
                      <a:pt x="64856" y="350599"/>
                    </a:cubicBezTo>
                    <a:cubicBezTo>
                      <a:pt x="67649" y="353221"/>
                      <a:pt x="72095" y="350941"/>
                      <a:pt x="75457" y="349174"/>
                    </a:cubicBezTo>
                    <a:cubicBezTo>
                      <a:pt x="80245" y="346672"/>
                      <a:pt x="85545" y="345361"/>
                      <a:pt x="90960" y="345356"/>
                    </a:cubicBezTo>
                    <a:cubicBezTo>
                      <a:pt x="93126" y="345498"/>
                      <a:pt x="95292" y="345344"/>
                      <a:pt x="97401" y="344900"/>
                    </a:cubicBezTo>
                    <a:close/>
                    <a:moveTo>
                      <a:pt x="260292" y="122449"/>
                    </a:moveTo>
                    <a:cubicBezTo>
                      <a:pt x="258240" y="118716"/>
                      <a:pt x="253737" y="117120"/>
                      <a:pt x="249805" y="118745"/>
                    </a:cubicBezTo>
                    <a:cubicBezTo>
                      <a:pt x="246043" y="120512"/>
                      <a:pt x="242851" y="123224"/>
                      <a:pt x="240457" y="126610"/>
                    </a:cubicBezTo>
                    <a:cubicBezTo>
                      <a:pt x="234530" y="132851"/>
                      <a:pt x="229914" y="140238"/>
                      <a:pt x="226893" y="148325"/>
                    </a:cubicBezTo>
                    <a:cubicBezTo>
                      <a:pt x="223929" y="156572"/>
                      <a:pt x="226152" y="165788"/>
                      <a:pt x="232592" y="171750"/>
                    </a:cubicBezTo>
                    <a:cubicBezTo>
                      <a:pt x="227691" y="174052"/>
                      <a:pt x="224499" y="178840"/>
                      <a:pt x="224157" y="184232"/>
                    </a:cubicBezTo>
                    <a:cubicBezTo>
                      <a:pt x="224271" y="186369"/>
                      <a:pt x="224157" y="188512"/>
                      <a:pt x="223758" y="190615"/>
                    </a:cubicBezTo>
                    <a:cubicBezTo>
                      <a:pt x="221991" y="196315"/>
                      <a:pt x="213727" y="197910"/>
                      <a:pt x="211561" y="203553"/>
                    </a:cubicBezTo>
                    <a:cubicBezTo>
                      <a:pt x="210193" y="207144"/>
                      <a:pt x="211561" y="212273"/>
                      <a:pt x="207970" y="214154"/>
                    </a:cubicBezTo>
                    <a:cubicBezTo>
                      <a:pt x="206318" y="215123"/>
                      <a:pt x="204266" y="214724"/>
                      <a:pt x="202271" y="215408"/>
                    </a:cubicBezTo>
                    <a:cubicBezTo>
                      <a:pt x="197996" y="217061"/>
                      <a:pt x="197826" y="223501"/>
                      <a:pt x="193950" y="225895"/>
                    </a:cubicBezTo>
                    <a:cubicBezTo>
                      <a:pt x="191328" y="227491"/>
                      <a:pt x="188250" y="226750"/>
                      <a:pt x="184945" y="227434"/>
                    </a:cubicBezTo>
                    <a:cubicBezTo>
                      <a:pt x="180043" y="228824"/>
                      <a:pt x="177079" y="233846"/>
                      <a:pt x="178219" y="238833"/>
                    </a:cubicBezTo>
                    <a:cubicBezTo>
                      <a:pt x="174173" y="236923"/>
                      <a:pt x="172121" y="232278"/>
                      <a:pt x="173546" y="228004"/>
                    </a:cubicBezTo>
                    <a:cubicBezTo>
                      <a:pt x="168929" y="225581"/>
                      <a:pt x="163286" y="226436"/>
                      <a:pt x="159639" y="230112"/>
                    </a:cubicBezTo>
                    <a:cubicBezTo>
                      <a:pt x="156162" y="233771"/>
                      <a:pt x="153483" y="238149"/>
                      <a:pt x="151887" y="242936"/>
                    </a:cubicBezTo>
                    <a:cubicBezTo>
                      <a:pt x="150577" y="245655"/>
                      <a:pt x="149665" y="248556"/>
                      <a:pt x="149209" y="251542"/>
                    </a:cubicBezTo>
                    <a:cubicBezTo>
                      <a:pt x="148696" y="256102"/>
                      <a:pt x="149893" y="261459"/>
                      <a:pt x="146587" y="264708"/>
                    </a:cubicBezTo>
                    <a:cubicBezTo>
                      <a:pt x="143281" y="267957"/>
                      <a:pt x="137867" y="267558"/>
                      <a:pt x="136727" y="271548"/>
                    </a:cubicBezTo>
                    <a:cubicBezTo>
                      <a:pt x="136214" y="273200"/>
                      <a:pt x="136727" y="275081"/>
                      <a:pt x="136100" y="276620"/>
                    </a:cubicBezTo>
                    <a:cubicBezTo>
                      <a:pt x="134504" y="278906"/>
                      <a:pt x="131369" y="279487"/>
                      <a:pt x="129090" y="277931"/>
                    </a:cubicBezTo>
                    <a:cubicBezTo>
                      <a:pt x="126924" y="276295"/>
                      <a:pt x="124872" y="274540"/>
                      <a:pt x="122934" y="272687"/>
                    </a:cubicBezTo>
                    <a:cubicBezTo>
                      <a:pt x="116152" y="268641"/>
                      <a:pt x="107375" y="270220"/>
                      <a:pt x="102416" y="276392"/>
                    </a:cubicBezTo>
                    <a:cubicBezTo>
                      <a:pt x="101675" y="277657"/>
                      <a:pt x="100535" y="278592"/>
                      <a:pt x="99110" y="279014"/>
                    </a:cubicBezTo>
                    <a:cubicBezTo>
                      <a:pt x="97971" y="279082"/>
                      <a:pt x="96887" y="278826"/>
                      <a:pt x="95919" y="278273"/>
                    </a:cubicBezTo>
                    <a:cubicBezTo>
                      <a:pt x="86002" y="274169"/>
                      <a:pt x="74773" y="277133"/>
                      <a:pt x="64458" y="280097"/>
                    </a:cubicBezTo>
                    <a:cubicBezTo>
                      <a:pt x="62064" y="280581"/>
                      <a:pt x="59841" y="281681"/>
                      <a:pt x="57960" y="283289"/>
                    </a:cubicBezTo>
                    <a:cubicBezTo>
                      <a:pt x="56364" y="285392"/>
                      <a:pt x="55053" y="287666"/>
                      <a:pt x="53971" y="290071"/>
                    </a:cubicBezTo>
                    <a:cubicBezTo>
                      <a:pt x="52432" y="292282"/>
                      <a:pt x="50494" y="294209"/>
                      <a:pt x="48271" y="295770"/>
                    </a:cubicBezTo>
                    <a:lnTo>
                      <a:pt x="25815" y="313439"/>
                    </a:lnTo>
                    <a:cubicBezTo>
                      <a:pt x="30888" y="316220"/>
                      <a:pt x="36758" y="317320"/>
                      <a:pt x="42515" y="316573"/>
                    </a:cubicBezTo>
                    <a:cubicBezTo>
                      <a:pt x="51634" y="315320"/>
                      <a:pt x="59613" y="309563"/>
                      <a:pt x="68903" y="309050"/>
                    </a:cubicBezTo>
                    <a:cubicBezTo>
                      <a:pt x="69302" y="304548"/>
                      <a:pt x="73748" y="301641"/>
                      <a:pt x="77680" y="299418"/>
                    </a:cubicBezTo>
                    <a:cubicBezTo>
                      <a:pt x="84577" y="294579"/>
                      <a:pt x="92898" y="292174"/>
                      <a:pt x="101333" y="292579"/>
                    </a:cubicBezTo>
                    <a:cubicBezTo>
                      <a:pt x="105836" y="294078"/>
                      <a:pt x="110509" y="295223"/>
                      <a:pt x="115183" y="295998"/>
                    </a:cubicBezTo>
                    <a:cubicBezTo>
                      <a:pt x="117064" y="295753"/>
                      <a:pt x="119001" y="295753"/>
                      <a:pt x="120883" y="295998"/>
                    </a:cubicBezTo>
                    <a:cubicBezTo>
                      <a:pt x="125328" y="297024"/>
                      <a:pt x="127209" y="302496"/>
                      <a:pt x="126582" y="307055"/>
                    </a:cubicBezTo>
                    <a:cubicBezTo>
                      <a:pt x="125556" y="311490"/>
                      <a:pt x="124815" y="315981"/>
                      <a:pt x="124302" y="320506"/>
                    </a:cubicBezTo>
                    <a:cubicBezTo>
                      <a:pt x="128463" y="324838"/>
                      <a:pt x="134219" y="329568"/>
                      <a:pt x="139862" y="327402"/>
                    </a:cubicBezTo>
                    <a:cubicBezTo>
                      <a:pt x="142199" y="326291"/>
                      <a:pt x="144193" y="324530"/>
                      <a:pt x="145561" y="322330"/>
                    </a:cubicBezTo>
                    <a:cubicBezTo>
                      <a:pt x="151944" y="313439"/>
                      <a:pt x="155364" y="302775"/>
                      <a:pt x="155307" y="291838"/>
                    </a:cubicBezTo>
                    <a:cubicBezTo>
                      <a:pt x="158499" y="295776"/>
                      <a:pt x="163286" y="298096"/>
                      <a:pt x="168359" y="298164"/>
                    </a:cubicBezTo>
                    <a:cubicBezTo>
                      <a:pt x="168758" y="301003"/>
                      <a:pt x="169784" y="303715"/>
                      <a:pt x="171380" y="306086"/>
                    </a:cubicBezTo>
                    <a:cubicBezTo>
                      <a:pt x="181297" y="308594"/>
                      <a:pt x="187623" y="293263"/>
                      <a:pt x="197826" y="292921"/>
                    </a:cubicBezTo>
                    <a:cubicBezTo>
                      <a:pt x="197142" y="289558"/>
                      <a:pt x="200219" y="286594"/>
                      <a:pt x="203525" y="285169"/>
                    </a:cubicBezTo>
                    <a:cubicBezTo>
                      <a:pt x="206830" y="284161"/>
                      <a:pt x="209908" y="282576"/>
                      <a:pt x="212644" y="280496"/>
                    </a:cubicBezTo>
                    <a:cubicBezTo>
                      <a:pt x="215551" y="277418"/>
                      <a:pt x="216007" y="272459"/>
                      <a:pt x="219256" y="269781"/>
                    </a:cubicBezTo>
                    <a:cubicBezTo>
                      <a:pt x="222504" y="267102"/>
                      <a:pt x="226380" y="267444"/>
                      <a:pt x="229287" y="265221"/>
                    </a:cubicBezTo>
                    <a:cubicBezTo>
                      <a:pt x="233903" y="261630"/>
                      <a:pt x="234131" y="253423"/>
                      <a:pt x="239659" y="251656"/>
                    </a:cubicBezTo>
                    <a:cubicBezTo>
                      <a:pt x="242566" y="250688"/>
                      <a:pt x="246441" y="251656"/>
                      <a:pt x="248437" y="249548"/>
                    </a:cubicBezTo>
                    <a:cubicBezTo>
                      <a:pt x="249291" y="248408"/>
                      <a:pt x="249691" y="247029"/>
                      <a:pt x="249691" y="245615"/>
                    </a:cubicBezTo>
                    <a:cubicBezTo>
                      <a:pt x="250660" y="235823"/>
                      <a:pt x="250432" y="225952"/>
                      <a:pt x="249064" y="216206"/>
                    </a:cubicBezTo>
                    <a:cubicBezTo>
                      <a:pt x="247639" y="210860"/>
                      <a:pt x="247923" y="205183"/>
                      <a:pt x="249919" y="200019"/>
                    </a:cubicBezTo>
                    <a:cubicBezTo>
                      <a:pt x="252769" y="196132"/>
                      <a:pt x="256530" y="193003"/>
                      <a:pt x="260861" y="190900"/>
                    </a:cubicBezTo>
                    <a:cubicBezTo>
                      <a:pt x="266105" y="187515"/>
                      <a:pt x="270664" y="183257"/>
                      <a:pt x="274426" y="178304"/>
                    </a:cubicBezTo>
                    <a:cubicBezTo>
                      <a:pt x="275623" y="176959"/>
                      <a:pt x="276421" y="175358"/>
                      <a:pt x="276877" y="173631"/>
                    </a:cubicBezTo>
                    <a:cubicBezTo>
                      <a:pt x="277960" y="167931"/>
                      <a:pt x="270778" y="163372"/>
                      <a:pt x="269810" y="157387"/>
                    </a:cubicBezTo>
                    <a:cubicBezTo>
                      <a:pt x="269069" y="152372"/>
                      <a:pt x="272774" y="146729"/>
                      <a:pt x="269810" y="142454"/>
                    </a:cubicBezTo>
                    <a:cubicBezTo>
                      <a:pt x="268555" y="140978"/>
                      <a:pt x="267017" y="139713"/>
                      <a:pt x="265364" y="138693"/>
                    </a:cubicBezTo>
                    <a:cubicBezTo>
                      <a:pt x="262400" y="136265"/>
                      <a:pt x="260690" y="132697"/>
                      <a:pt x="260520" y="128890"/>
                    </a:cubicBezTo>
                    <a:cubicBezTo>
                      <a:pt x="260690" y="126792"/>
                      <a:pt x="260577" y="124684"/>
                      <a:pt x="260177" y="12262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17" name="Freihandform: Form 611">
                <a:extLst>
                  <a:ext uri="{FF2B5EF4-FFF2-40B4-BE49-F238E27FC236}">
                    <a16:creationId xmlns:a16="http://schemas.microsoft.com/office/drawing/2014/main" id="{B469299A-CCB6-E69A-EC16-12E339CBD768}"/>
                  </a:ext>
                </a:extLst>
              </p:cNvPr>
              <p:cNvSpPr/>
              <p:nvPr/>
            </p:nvSpPr>
            <p:spPr>
              <a:xfrm>
                <a:off x="6365609" y="3650450"/>
                <a:ext cx="41544" cy="73681"/>
              </a:xfrm>
              <a:custGeom>
                <a:avLst/>
                <a:gdLst>
                  <a:gd name="connsiteX0" fmla="*/ 22364 w 41544"/>
                  <a:gd name="connsiteY0" fmla="*/ 55947 h 73681"/>
                  <a:gd name="connsiteX1" fmla="*/ 19172 w 41544"/>
                  <a:gd name="connsiteY1" fmla="*/ 70766 h 73681"/>
                  <a:gd name="connsiteX2" fmla="*/ 7773 w 41544"/>
                  <a:gd name="connsiteY2" fmla="*/ 73445 h 73681"/>
                  <a:gd name="connsiteX3" fmla="*/ 535 w 41544"/>
                  <a:gd name="connsiteY3" fmla="*/ 72647 h 73681"/>
                  <a:gd name="connsiteX4" fmla="*/ 1846 w 41544"/>
                  <a:gd name="connsiteY4" fmla="*/ 63585 h 73681"/>
                  <a:gd name="connsiteX5" fmla="*/ 8058 w 41544"/>
                  <a:gd name="connsiteY5" fmla="*/ 56346 h 73681"/>
                  <a:gd name="connsiteX6" fmla="*/ 18431 w 41544"/>
                  <a:gd name="connsiteY6" fmla="*/ 40730 h 73681"/>
                  <a:gd name="connsiteX7" fmla="*/ 19400 w 41544"/>
                  <a:gd name="connsiteY7" fmla="*/ 36512 h 73681"/>
                  <a:gd name="connsiteX8" fmla="*/ 12846 w 41544"/>
                  <a:gd name="connsiteY8" fmla="*/ 33321 h 73681"/>
                  <a:gd name="connsiteX9" fmla="*/ 9312 w 41544"/>
                  <a:gd name="connsiteY9" fmla="*/ 20081 h 73681"/>
                  <a:gd name="connsiteX10" fmla="*/ 9369 w 41544"/>
                  <a:gd name="connsiteY10" fmla="*/ 19984 h 73681"/>
                  <a:gd name="connsiteX11" fmla="*/ 20027 w 41544"/>
                  <a:gd name="connsiteY11" fmla="*/ 8585 h 73681"/>
                  <a:gd name="connsiteX12" fmla="*/ 28349 w 41544"/>
                  <a:gd name="connsiteY12" fmla="*/ 1518 h 73681"/>
                  <a:gd name="connsiteX13" fmla="*/ 38664 w 41544"/>
                  <a:gd name="connsiteY13" fmla="*/ 1518 h 73681"/>
                  <a:gd name="connsiteX14" fmla="*/ 40146 w 41544"/>
                  <a:gd name="connsiteY14" fmla="*/ 16336 h 73681"/>
                  <a:gd name="connsiteX15" fmla="*/ 33421 w 41544"/>
                  <a:gd name="connsiteY15" fmla="*/ 33093 h 73681"/>
                  <a:gd name="connsiteX16" fmla="*/ 31141 w 41544"/>
                  <a:gd name="connsiteY16" fmla="*/ 37082 h 73681"/>
                  <a:gd name="connsiteX17" fmla="*/ 28976 w 41544"/>
                  <a:gd name="connsiteY17" fmla="*/ 51445 h 73681"/>
                  <a:gd name="connsiteX18" fmla="*/ 22364 w 41544"/>
                  <a:gd name="connsiteY18" fmla="*/ 55947 h 7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544" h="73681">
                    <a:moveTo>
                      <a:pt x="22364" y="55947"/>
                    </a:moveTo>
                    <a:cubicBezTo>
                      <a:pt x="18830" y="59709"/>
                      <a:pt x="22364" y="66606"/>
                      <a:pt x="19172" y="70766"/>
                    </a:cubicBezTo>
                    <a:cubicBezTo>
                      <a:pt x="16836" y="74015"/>
                      <a:pt x="12048" y="73901"/>
                      <a:pt x="7773" y="73445"/>
                    </a:cubicBezTo>
                    <a:lnTo>
                      <a:pt x="535" y="72647"/>
                    </a:lnTo>
                    <a:cubicBezTo>
                      <a:pt x="-491" y="69592"/>
                      <a:pt x="-35" y="66224"/>
                      <a:pt x="1846" y="63585"/>
                    </a:cubicBezTo>
                    <a:cubicBezTo>
                      <a:pt x="3727" y="60992"/>
                      <a:pt x="5778" y="58569"/>
                      <a:pt x="8058" y="56346"/>
                    </a:cubicBezTo>
                    <a:cubicBezTo>
                      <a:pt x="12048" y="51519"/>
                      <a:pt x="15525" y="46287"/>
                      <a:pt x="18431" y="40730"/>
                    </a:cubicBezTo>
                    <a:cubicBezTo>
                      <a:pt x="19343" y="39527"/>
                      <a:pt x="19685" y="37994"/>
                      <a:pt x="19400" y="36512"/>
                    </a:cubicBezTo>
                    <a:cubicBezTo>
                      <a:pt x="18602" y="34119"/>
                      <a:pt x="15240" y="34232"/>
                      <a:pt x="12846" y="33321"/>
                    </a:cubicBezTo>
                    <a:cubicBezTo>
                      <a:pt x="8229" y="30642"/>
                      <a:pt x="6633" y="24714"/>
                      <a:pt x="9312" y="20081"/>
                    </a:cubicBezTo>
                    <a:cubicBezTo>
                      <a:pt x="9312" y="20047"/>
                      <a:pt x="9369" y="20018"/>
                      <a:pt x="9369" y="19984"/>
                    </a:cubicBezTo>
                    <a:cubicBezTo>
                      <a:pt x="12219" y="15595"/>
                      <a:pt x="15867" y="11737"/>
                      <a:pt x="20027" y="8585"/>
                    </a:cubicBezTo>
                    <a:cubicBezTo>
                      <a:pt x="22478" y="5895"/>
                      <a:pt x="25271" y="3524"/>
                      <a:pt x="28349" y="1518"/>
                    </a:cubicBezTo>
                    <a:cubicBezTo>
                      <a:pt x="31483" y="-506"/>
                      <a:pt x="35529" y="-506"/>
                      <a:pt x="38664" y="1518"/>
                    </a:cubicBezTo>
                    <a:cubicBezTo>
                      <a:pt x="42825" y="4823"/>
                      <a:pt x="41685" y="11264"/>
                      <a:pt x="40146" y="16336"/>
                    </a:cubicBezTo>
                    <a:cubicBezTo>
                      <a:pt x="38664" y="22201"/>
                      <a:pt x="36385" y="27838"/>
                      <a:pt x="33421" y="33093"/>
                    </a:cubicBezTo>
                    <a:cubicBezTo>
                      <a:pt x="32509" y="34312"/>
                      <a:pt x="31711" y="35657"/>
                      <a:pt x="31141" y="37082"/>
                    </a:cubicBezTo>
                    <a:cubicBezTo>
                      <a:pt x="29545" y="41756"/>
                      <a:pt x="32452" y="47854"/>
                      <a:pt x="28976" y="51445"/>
                    </a:cubicBezTo>
                    <a:cubicBezTo>
                      <a:pt x="27380" y="53668"/>
                      <a:pt x="24245" y="54238"/>
                      <a:pt x="22364" y="5594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18" name="Freihandform: Form 612">
                <a:extLst>
                  <a:ext uri="{FF2B5EF4-FFF2-40B4-BE49-F238E27FC236}">
                    <a16:creationId xmlns:a16="http://schemas.microsoft.com/office/drawing/2014/main" id="{98148F8D-968D-E71E-EA5D-0C3CA565ABCC}"/>
                  </a:ext>
                </a:extLst>
              </p:cNvPr>
              <p:cNvSpPr/>
              <p:nvPr/>
            </p:nvSpPr>
            <p:spPr>
              <a:xfrm>
                <a:off x="6302142" y="3814568"/>
                <a:ext cx="203201" cy="318432"/>
              </a:xfrm>
              <a:custGeom>
                <a:avLst/>
                <a:gdLst>
                  <a:gd name="connsiteX0" fmla="*/ 87883 w 203201"/>
                  <a:gd name="connsiteY0" fmla="*/ 82933 h 318432"/>
                  <a:gd name="connsiteX1" fmla="*/ 87883 w 203201"/>
                  <a:gd name="connsiteY1" fmla="*/ 88291 h 318432"/>
                  <a:gd name="connsiteX2" fmla="*/ 93925 w 203201"/>
                  <a:gd name="connsiteY2" fmla="*/ 94446 h 318432"/>
                  <a:gd name="connsiteX3" fmla="*/ 97857 w 203201"/>
                  <a:gd name="connsiteY3" fmla="*/ 107156 h 318432"/>
                  <a:gd name="connsiteX4" fmla="*/ 120655 w 203201"/>
                  <a:gd name="connsiteY4" fmla="*/ 113425 h 318432"/>
                  <a:gd name="connsiteX5" fmla="*/ 117350 w 203201"/>
                  <a:gd name="connsiteY5" fmla="*/ 125508 h 318432"/>
                  <a:gd name="connsiteX6" fmla="*/ 97971 w 203201"/>
                  <a:gd name="connsiteY6" fmla="*/ 119809 h 318432"/>
                  <a:gd name="connsiteX7" fmla="*/ 95748 w 203201"/>
                  <a:gd name="connsiteY7" fmla="*/ 115933 h 318432"/>
                  <a:gd name="connsiteX8" fmla="*/ 88453 w 203201"/>
                  <a:gd name="connsiteY8" fmla="*/ 112058 h 318432"/>
                  <a:gd name="connsiteX9" fmla="*/ 78137 w 203201"/>
                  <a:gd name="connsiteY9" fmla="*/ 115534 h 318432"/>
                  <a:gd name="connsiteX10" fmla="*/ 67992 w 203201"/>
                  <a:gd name="connsiteY10" fmla="*/ 114337 h 318432"/>
                  <a:gd name="connsiteX11" fmla="*/ 67251 w 203201"/>
                  <a:gd name="connsiteY11" fmla="*/ 106472 h 318432"/>
                  <a:gd name="connsiteX12" fmla="*/ 68733 w 203201"/>
                  <a:gd name="connsiteY12" fmla="*/ 98493 h 318432"/>
                  <a:gd name="connsiteX13" fmla="*/ 63432 w 203201"/>
                  <a:gd name="connsiteY13" fmla="*/ 93591 h 318432"/>
                  <a:gd name="connsiteX14" fmla="*/ 61494 w 203201"/>
                  <a:gd name="connsiteY14" fmla="*/ 77975 h 318432"/>
                  <a:gd name="connsiteX15" fmla="*/ 59671 w 203201"/>
                  <a:gd name="connsiteY15" fmla="*/ 62358 h 318432"/>
                  <a:gd name="connsiteX16" fmla="*/ 66282 w 203201"/>
                  <a:gd name="connsiteY16" fmla="*/ 57457 h 318432"/>
                  <a:gd name="connsiteX17" fmla="*/ 67878 w 203201"/>
                  <a:gd name="connsiteY17" fmla="*/ 47198 h 318432"/>
                  <a:gd name="connsiteX18" fmla="*/ 69815 w 203201"/>
                  <a:gd name="connsiteY18" fmla="*/ 12260 h 318432"/>
                  <a:gd name="connsiteX19" fmla="*/ 76940 w 203201"/>
                  <a:gd name="connsiteY19" fmla="*/ 1431 h 318432"/>
                  <a:gd name="connsiteX20" fmla="*/ 85033 w 203201"/>
                  <a:gd name="connsiteY20" fmla="*/ 63 h 318432"/>
                  <a:gd name="connsiteX21" fmla="*/ 104583 w 203201"/>
                  <a:gd name="connsiteY21" fmla="*/ 4394 h 318432"/>
                  <a:gd name="connsiteX22" fmla="*/ 108059 w 203201"/>
                  <a:gd name="connsiteY22" fmla="*/ 7073 h 318432"/>
                  <a:gd name="connsiteX23" fmla="*/ 108572 w 203201"/>
                  <a:gd name="connsiteY23" fmla="*/ 10265 h 318432"/>
                  <a:gd name="connsiteX24" fmla="*/ 108572 w 203201"/>
                  <a:gd name="connsiteY24" fmla="*/ 22918 h 318432"/>
                  <a:gd name="connsiteX25" fmla="*/ 118261 w 203201"/>
                  <a:gd name="connsiteY25" fmla="*/ 36882 h 318432"/>
                  <a:gd name="connsiteX26" fmla="*/ 111365 w 203201"/>
                  <a:gd name="connsiteY26" fmla="*/ 50845 h 318432"/>
                  <a:gd name="connsiteX27" fmla="*/ 107717 w 203201"/>
                  <a:gd name="connsiteY27" fmla="*/ 52213 h 318432"/>
                  <a:gd name="connsiteX28" fmla="*/ 107375 w 203201"/>
                  <a:gd name="connsiteY28" fmla="*/ 57913 h 318432"/>
                  <a:gd name="connsiteX29" fmla="*/ 99852 w 203201"/>
                  <a:gd name="connsiteY29" fmla="*/ 64068 h 318432"/>
                  <a:gd name="connsiteX30" fmla="*/ 90220 w 203201"/>
                  <a:gd name="connsiteY30" fmla="*/ 67602 h 318432"/>
                  <a:gd name="connsiteX31" fmla="*/ 87883 w 203201"/>
                  <a:gd name="connsiteY31" fmla="*/ 82933 h 318432"/>
                  <a:gd name="connsiteX32" fmla="*/ 67992 w 203201"/>
                  <a:gd name="connsiteY32" fmla="*/ 144260 h 318432"/>
                  <a:gd name="connsiteX33" fmla="*/ 69303 w 203201"/>
                  <a:gd name="connsiteY33" fmla="*/ 146083 h 318432"/>
                  <a:gd name="connsiteX34" fmla="*/ 74033 w 203201"/>
                  <a:gd name="connsiteY34" fmla="*/ 150244 h 318432"/>
                  <a:gd name="connsiteX35" fmla="*/ 77168 w 203201"/>
                  <a:gd name="connsiteY35" fmla="*/ 152980 h 318432"/>
                  <a:gd name="connsiteX36" fmla="*/ 79049 w 203201"/>
                  <a:gd name="connsiteY36" fmla="*/ 158679 h 318432"/>
                  <a:gd name="connsiteX37" fmla="*/ 83894 w 203201"/>
                  <a:gd name="connsiteY37" fmla="*/ 161586 h 318432"/>
                  <a:gd name="connsiteX38" fmla="*/ 89593 w 203201"/>
                  <a:gd name="connsiteY38" fmla="*/ 160161 h 318432"/>
                  <a:gd name="connsiteX39" fmla="*/ 94266 w 203201"/>
                  <a:gd name="connsiteY39" fmla="*/ 150073 h 318432"/>
                  <a:gd name="connsiteX40" fmla="*/ 91929 w 203201"/>
                  <a:gd name="connsiteY40" fmla="*/ 146767 h 318432"/>
                  <a:gd name="connsiteX41" fmla="*/ 78707 w 203201"/>
                  <a:gd name="connsiteY41" fmla="*/ 133146 h 318432"/>
                  <a:gd name="connsiteX42" fmla="*/ 76370 w 203201"/>
                  <a:gd name="connsiteY42" fmla="*/ 129840 h 318432"/>
                  <a:gd name="connsiteX43" fmla="*/ 68163 w 203201"/>
                  <a:gd name="connsiteY43" fmla="*/ 127332 h 318432"/>
                  <a:gd name="connsiteX44" fmla="*/ 67821 w 203201"/>
                  <a:gd name="connsiteY44" fmla="*/ 140726 h 318432"/>
                  <a:gd name="connsiteX45" fmla="*/ 67992 w 203201"/>
                  <a:gd name="connsiteY45" fmla="*/ 144260 h 318432"/>
                  <a:gd name="connsiteX46" fmla="*/ 145676 w 203201"/>
                  <a:gd name="connsiteY46" fmla="*/ 149503 h 318432"/>
                  <a:gd name="connsiteX47" fmla="*/ 141572 w 203201"/>
                  <a:gd name="connsiteY47" fmla="*/ 146197 h 318432"/>
                  <a:gd name="connsiteX48" fmla="*/ 137298 w 203201"/>
                  <a:gd name="connsiteY48" fmla="*/ 149902 h 318432"/>
                  <a:gd name="connsiteX49" fmla="*/ 137298 w 203201"/>
                  <a:gd name="connsiteY49" fmla="*/ 155944 h 318432"/>
                  <a:gd name="connsiteX50" fmla="*/ 139464 w 203201"/>
                  <a:gd name="connsiteY50" fmla="*/ 162042 h 318432"/>
                  <a:gd name="connsiteX51" fmla="*/ 140660 w 203201"/>
                  <a:gd name="connsiteY51" fmla="*/ 162897 h 318432"/>
                  <a:gd name="connsiteX52" fmla="*/ 143624 w 203201"/>
                  <a:gd name="connsiteY52" fmla="*/ 161472 h 318432"/>
                  <a:gd name="connsiteX53" fmla="*/ 145847 w 203201"/>
                  <a:gd name="connsiteY53" fmla="*/ 155032 h 318432"/>
                  <a:gd name="connsiteX54" fmla="*/ 145676 w 203201"/>
                  <a:gd name="connsiteY54" fmla="*/ 149503 h 318432"/>
                  <a:gd name="connsiteX55" fmla="*/ 158100 w 203201"/>
                  <a:gd name="connsiteY55" fmla="*/ 197265 h 318432"/>
                  <a:gd name="connsiteX56" fmla="*/ 158100 w 203201"/>
                  <a:gd name="connsiteY56" fmla="*/ 201026 h 318432"/>
                  <a:gd name="connsiteX57" fmla="*/ 159810 w 203201"/>
                  <a:gd name="connsiteY57" fmla="*/ 202622 h 318432"/>
                  <a:gd name="connsiteX58" fmla="*/ 168303 w 203201"/>
                  <a:gd name="connsiteY58" fmla="*/ 206099 h 318432"/>
                  <a:gd name="connsiteX59" fmla="*/ 170981 w 203201"/>
                  <a:gd name="connsiteY59" fmla="*/ 205130 h 318432"/>
                  <a:gd name="connsiteX60" fmla="*/ 171665 w 203201"/>
                  <a:gd name="connsiteY60" fmla="*/ 202622 h 318432"/>
                  <a:gd name="connsiteX61" fmla="*/ 171152 w 203201"/>
                  <a:gd name="connsiteY61" fmla="*/ 190140 h 318432"/>
                  <a:gd name="connsiteX62" fmla="*/ 179303 w 203201"/>
                  <a:gd name="connsiteY62" fmla="*/ 184441 h 318432"/>
                  <a:gd name="connsiteX63" fmla="*/ 181867 w 203201"/>
                  <a:gd name="connsiteY63" fmla="*/ 174524 h 318432"/>
                  <a:gd name="connsiteX64" fmla="*/ 180671 w 203201"/>
                  <a:gd name="connsiteY64" fmla="*/ 169109 h 318432"/>
                  <a:gd name="connsiteX65" fmla="*/ 179018 w 203201"/>
                  <a:gd name="connsiteY65" fmla="*/ 167228 h 318432"/>
                  <a:gd name="connsiteX66" fmla="*/ 157473 w 203201"/>
                  <a:gd name="connsiteY66" fmla="*/ 163068 h 318432"/>
                  <a:gd name="connsiteX67" fmla="*/ 153199 w 203201"/>
                  <a:gd name="connsiteY67" fmla="*/ 166203 h 318432"/>
                  <a:gd name="connsiteX68" fmla="*/ 152116 w 203201"/>
                  <a:gd name="connsiteY68" fmla="*/ 171218 h 318432"/>
                  <a:gd name="connsiteX69" fmla="*/ 153313 w 203201"/>
                  <a:gd name="connsiteY69" fmla="*/ 184042 h 318432"/>
                  <a:gd name="connsiteX70" fmla="*/ 158100 w 203201"/>
                  <a:gd name="connsiteY70" fmla="*/ 197265 h 318432"/>
                  <a:gd name="connsiteX71" fmla="*/ 121054 w 203201"/>
                  <a:gd name="connsiteY71" fmla="*/ 174866 h 318432"/>
                  <a:gd name="connsiteX72" fmla="*/ 117805 w 203201"/>
                  <a:gd name="connsiteY72" fmla="*/ 173783 h 318432"/>
                  <a:gd name="connsiteX73" fmla="*/ 114841 w 203201"/>
                  <a:gd name="connsiteY73" fmla="*/ 168425 h 318432"/>
                  <a:gd name="connsiteX74" fmla="*/ 107318 w 203201"/>
                  <a:gd name="connsiteY74" fmla="*/ 161871 h 318432"/>
                  <a:gd name="connsiteX75" fmla="*/ 98997 w 203201"/>
                  <a:gd name="connsiteY75" fmla="*/ 166602 h 318432"/>
                  <a:gd name="connsiteX76" fmla="*/ 98256 w 203201"/>
                  <a:gd name="connsiteY76" fmla="*/ 170078 h 318432"/>
                  <a:gd name="connsiteX77" fmla="*/ 93127 w 203201"/>
                  <a:gd name="connsiteY77" fmla="*/ 177032 h 318432"/>
                  <a:gd name="connsiteX78" fmla="*/ 93811 w 203201"/>
                  <a:gd name="connsiteY78" fmla="*/ 183358 h 318432"/>
                  <a:gd name="connsiteX79" fmla="*/ 102132 w 203201"/>
                  <a:gd name="connsiteY79" fmla="*/ 193446 h 318432"/>
                  <a:gd name="connsiteX80" fmla="*/ 115298 w 203201"/>
                  <a:gd name="connsiteY80" fmla="*/ 190596 h 318432"/>
                  <a:gd name="connsiteX81" fmla="*/ 120997 w 203201"/>
                  <a:gd name="connsiteY81" fmla="*/ 194985 h 318432"/>
                  <a:gd name="connsiteX82" fmla="*/ 122878 w 203201"/>
                  <a:gd name="connsiteY82" fmla="*/ 204845 h 318432"/>
                  <a:gd name="connsiteX83" fmla="*/ 116209 w 203201"/>
                  <a:gd name="connsiteY83" fmla="*/ 211912 h 318432"/>
                  <a:gd name="connsiteX84" fmla="*/ 112561 w 203201"/>
                  <a:gd name="connsiteY84" fmla="*/ 213394 h 318432"/>
                  <a:gd name="connsiteX85" fmla="*/ 112163 w 203201"/>
                  <a:gd name="connsiteY85" fmla="*/ 215617 h 318432"/>
                  <a:gd name="connsiteX86" fmla="*/ 113929 w 203201"/>
                  <a:gd name="connsiteY86" fmla="*/ 229638 h 318432"/>
                  <a:gd name="connsiteX87" fmla="*/ 115184 w 203201"/>
                  <a:gd name="connsiteY87" fmla="*/ 232259 h 318432"/>
                  <a:gd name="connsiteX88" fmla="*/ 120883 w 203201"/>
                  <a:gd name="connsiteY88" fmla="*/ 230664 h 318432"/>
                  <a:gd name="connsiteX89" fmla="*/ 123903 w 203201"/>
                  <a:gd name="connsiteY89" fmla="*/ 224679 h 318432"/>
                  <a:gd name="connsiteX90" fmla="*/ 137412 w 203201"/>
                  <a:gd name="connsiteY90" fmla="*/ 213679 h 318432"/>
                  <a:gd name="connsiteX91" fmla="*/ 138266 w 203201"/>
                  <a:gd name="connsiteY91" fmla="*/ 208835 h 318432"/>
                  <a:gd name="connsiteX92" fmla="*/ 146017 w 203201"/>
                  <a:gd name="connsiteY92" fmla="*/ 206726 h 318432"/>
                  <a:gd name="connsiteX93" fmla="*/ 142370 w 203201"/>
                  <a:gd name="connsiteY93" fmla="*/ 200228 h 318432"/>
                  <a:gd name="connsiteX94" fmla="*/ 141344 w 203201"/>
                  <a:gd name="connsiteY94" fmla="*/ 191565 h 318432"/>
                  <a:gd name="connsiteX95" fmla="*/ 133023 w 203201"/>
                  <a:gd name="connsiteY95" fmla="*/ 185866 h 318432"/>
                  <a:gd name="connsiteX96" fmla="*/ 129717 w 203201"/>
                  <a:gd name="connsiteY96" fmla="*/ 180793 h 318432"/>
                  <a:gd name="connsiteX97" fmla="*/ 121054 w 203201"/>
                  <a:gd name="connsiteY97" fmla="*/ 175094 h 318432"/>
                  <a:gd name="connsiteX98" fmla="*/ 143852 w 203201"/>
                  <a:gd name="connsiteY98" fmla="*/ 222399 h 318432"/>
                  <a:gd name="connsiteX99" fmla="*/ 144878 w 203201"/>
                  <a:gd name="connsiteY99" fmla="*/ 227187 h 318432"/>
                  <a:gd name="connsiteX100" fmla="*/ 148640 w 203201"/>
                  <a:gd name="connsiteY100" fmla="*/ 227643 h 318432"/>
                  <a:gd name="connsiteX101" fmla="*/ 152857 w 203201"/>
                  <a:gd name="connsiteY101" fmla="*/ 221089 h 318432"/>
                  <a:gd name="connsiteX102" fmla="*/ 160722 w 203201"/>
                  <a:gd name="connsiteY102" fmla="*/ 218980 h 318432"/>
                  <a:gd name="connsiteX103" fmla="*/ 161862 w 203201"/>
                  <a:gd name="connsiteY103" fmla="*/ 212140 h 318432"/>
                  <a:gd name="connsiteX104" fmla="*/ 158443 w 203201"/>
                  <a:gd name="connsiteY104" fmla="*/ 209917 h 318432"/>
                  <a:gd name="connsiteX105" fmla="*/ 149209 w 203201"/>
                  <a:gd name="connsiteY105" fmla="*/ 210203 h 318432"/>
                  <a:gd name="connsiteX106" fmla="*/ 146474 w 203201"/>
                  <a:gd name="connsiteY106" fmla="*/ 211684 h 318432"/>
                  <a:gd name="connsiteX107" fmla="*/ 144707 w 203201"/>
                  <a:gd name="connsiteY107" fmla="*/ 215788 h 318432"/>
                  <a:gd name="connsiteX108" fmla="*/ 144194 w 203201"/>
                  <a:gd name="connsiteY108" fmla="*/ 222399 h 318432"/>
                  <a:gd name="connsiteX109" fmla="*/ 197826 w 203201"/>
                  <a:gd name="connsiteY109" fmla="*/ 238757 h 318432"/>
                  <a:gd name="connsiteX110" fmla="*/ 195945 w 203201"/>
                  <a:gd name="connsiteY110" fmla="*/ 221659 h 318432"/>
                  <a:gd name="connsiteX111" fmla="*/ 194121 w 203201"/>
                  <a:gd name="connsiteY111" fmla="*/ 213166 h 318432"/>
                  <a:gd name="connsiteX112" fmla="*/ 188878 w 203201"/>
                  <a:gd name="connsiteY112" fmla="*/ 212254 h 318432"/>
                  <a:gd name="connsiteX113" fmla="*/ 160780 w 203201"/>
                  <a:gd name="connsiteY113" fmla="*/ 238757 h 318432"/>
                  <a:gd name="connsiteX114" fmla="*/ 157816 w 203201"/>
                  <a:gd name="connsiteY114" fmla="*/ 240011 h 318432"/>
                  <a:gd name="connsiteX115" fmla="*/ 157816 w 203201"/>
                  <a:gd name="connsiteY115" fmla="*/ 245710 h 318432"/>
                  <a:gd name="connsiteX116" fmla="*/ 153655 w 203201"/>
                  <a:gd name="connsiteY116" fmla="*/ 250840 h 318432"/>
                  <a:gd name="connsiteX117" fmla="*/ 146701 w 203201"/>
                  <a:gd name="connsiteY117" fmla="*/ 251524 h 318432"/>
                  <a:gd name="connsiteX118" fmla="*/ 142427 w 203201"/>
                  <a:gd name="connsiteY118" fmla="*/ 250498 h 318432"/>
                  <a:gd name="connsiteX119" fmla="*/ 139349 w 203201"/>
                  <a:gd name="connsiteY119" fmla="*/ 246337 h 318432"/>
                  <a:gd name="connsiteX120" fmla="*/ 129147 w 203201"/>
                  <a:gd name="connsiteY120" fmla="*/ 245083 h 318432"/>
                  <a:gd name="connsiteX121" fmla="*/ 120142 w 203201"/>
                  <a:gd name="connsiteY121" fmla="*/ 251410 h 318432"/>
                  <a:gd name="connsiteX122" fmla="*/ 108743 w 203201"/>
                  <a:gd name="connsiteY122" fmla="*/ 258306 h 318432"/>
                  <a:gd name="connsiteX123" fmla="*/ 94666 w 203201"/>
                  <a:gd name="connsiteY123" fmla="*/ 278596 h 318432"/>
                  <a:gd name="connsiteX124" fmla="*/ 94666 w 203201"/>
                  <a:gd name="connsiteY124" fmla="*/ 283441 h 318432"/>
                  <a:gd name="connsiteX125" fmla="*/ 104126 w 203201"/>
                  <a:gd name="connsiteY125" fmla="*/ 286450 h 318432"/>
                  <a:gd name="connsiteX126" fmla="*/ 105096 w 203201"/>
                  <a:gd name="connsiteY126" fmla="*/ 285834 h 318432"/>
                  <a:gd name="connsiteX127" fmla="*/ 110795 w 203201"/>
                  <a:gd name="connsiteY127" fmla="*/ 275119 h 318432"/>
                  <a:gd name="connsiteX128" fmla="*/ 112163 w 203201"/>
                  <a:gd name="connsiteY128" fmla="*/ 272042 h 318432"/>
                  <a:gd name="connsiteX129" fmla="*/ 115184 w 203201"/>
                  <a:gd name="connsiteY129" fmla="*/ 271301 h 318432"/>
                  <a:gd name="connsiteX130" fmla="*/ 126183 w 203201"/>
                  <a:gd name="connsiteY130" fmla="*/ 271301 h 318432"/>
                  <a:gd name="connsiteX131" fmla="*/ 138152 w 203201"/>
                  <a:gd name="connsiteY131" fmla="*/ 260517 h 318432"/>
                  <a:gd name="connsiteX132" fmla="*/ 145790 w 203201"/>
                  <a:gd name="connsiteY132" fmla="*/ 264006 h 318432"/>
                  <a:gd name="connsiteX133" fmla="*/ 146531 w 203201"/>
                  <a:gd name="connsiteY133" fmla="*/ 301223 h 318432"/>
                  <a:gd name="connsiteX134" fmla="*/ 155536 w 203201"/>
                  <a:gd name="connsiteY134" fmla="*/ 302591 h 318432"/>
                  <a:gd name="connsiteX135" fmla="*/ 164541 w 203201"/>
                  <a:gd name="connsiteY135" fmla="*/ 312394 h 318432"/>
                  <a:gd name="connsiteX136" fmla="*/ 169215 w 203201"/>
                  <a:gd name="connsiteY136" fmla="*/ 313477 h 318432"/>
                  <a:gd name="connsiteX137" fmla="*/ 172121 w 203201"/>
                  <a:gd name="connsiteY137" fmla="*/ 316441 h 318432"/>
                  <a:gd name="connsiteX138" fmla="*/ 182380 w 203201"/>
                  <a:gd name="connsiteY138" fmla="*/ 316184 h 318432"/>
                  <a:gd name="connsiteX139" fmla="*/ 183520 w 203201"/>
                  <a:gd name="connsiteY139" fmla="*/ 307835 h 318432"/>
                  <a:gd name="connsiteX140" fmla="*/ 177821 w 203201"/>
                  <a:gd name="connsiteY140" fmla="*/ 302135 h 318432"/>
                  <a:gd name="connsiteX141" fmla="*/ 175313 w 203201"/>
                  <a:gd name="connsiteY141" fmla="*/ 295182 h 318432"/>
                  <a:gd name="connsiteX142" fmla="*/ 177479 w 203201"/>
                  <a:gd name="connsiteY142" fmla="*/ 291876 h 318432"/>
                  <a:gd name="connsiteX143" fmla="*/ 175427 w 203201"/>
                  <a:gd name="connsiteY143" fmla="*/ 281902 h 318432"/>
                  <a:gd name="connsiteX144" fmla="*/ 188878 w 203201"/>
                  <a:gd name="connsiteY144" fmla="*/ 281161 h 318432"/>
                  <a:gd name="connsiteX145" fmla="*/ 201987 w 203201"/>
                  <a:gd name="connsiteY145" fmla="*/ 279337 h 318432"/>
                  <a:gd name="connsiteX146" fmla="*/ 200162 w 203201"/>
                  <a:gd name="connsiteY146" fmla="*/ 262239 h 318432"/>
                  <a:gd name="connsiteX147" fmla="*/ 202044 w 203201"/>
                  <a:gd name="connsiteY147" fmla="*/ 245596 h 318432"/>
                  <a:gd name="connsiteX148" fmla="*/ 197883 w 203201"/>
                  <a:gd name="connsiteY148" fmla="*/ 238757 h 318432"/>
                  <a:gd name="connsiteX149" fmla="*/ 53173 w 203201"/>
                  <a:gd name="connsiteY149" fmla="*/ 198861 h 318432"/>
                  <a:gd name="connsiteX150" fmla="*/ 55282 w 203201"/>
                  <a:gd name="connsiteY150" fmla="*/ 189969 h 318432"/>
                  <a:gd name="connsiteX151" fmla="*/ 52490 w 203201"/>
                  <a:gd name="connsiteY151" fmla="*/ 180394 h 318432"/>
                  <a:gd name="connsiteX152" fmla="*/ 43484 w 203201"/>
                  <a:gd name="connsiteY152" fmla="*/ 177544 h 318432"/>
                  <a:gd name="connsiteX153" fmla="*/ 28039 w 203201"/>
                  <a:gd name="connsiteY153" fmla="*/ 203534 h 318432"/>
                  <a:gd name="connsiteX154" fmla="*/ 23080 w 203201"/>
                  <a:gd name="connsiteY154" fmla="*/ 211741 h 318432"/>
                  <a:gd name="connsiteX155" fmla="*/ 5982 w 203201"/>
                  <a:gd name="connsiteY155" fmla="*/ 233627 h 318432"/>
                  <a:gd name="connsiteX156" fmla="*/ 738 w 203201"/>
                  <a:gd name="connsiteY156" fmla="*/ 247135 h 318432"/>
                  <a:gd name="connsiteX157" fmla="*/ 18920 w 203201"/>
                  <a:gd name="connsiteY157" fmla="*/ 234995 h 318432"/>
                  <a:gd name="connsiteX158" fmla="*/ 21427 w 203201"/>
                  <a:gd name="connsiteY158" fmla="*/ 230265 h 318432"/>
                  <a:gd name="connsiteX159" fmla="*/ 27753 w 203201"/>
                  <a:gd name="connsiteY159" fmla="*/ 226560 h 318432"/>
                  <a:gd name="connsiteX160" fmla="*/ 34023 w 203201"/>
                  <a:gd name="connsiteY160" fmla="*/ 214420 h 318432"/>
                  <a:gd name="connsiteX161" fmla="*/ 39437 w 203201"/>
                  <a:gd name="connsiteY161" fmla="*/ 211285 h 318432"/>
                  <a:gd name="connsiteX162" fmla="*/ 42458 w 203201"/>
                  <a:gd name="connsiteY162" fmla="*/ 207125 h 318432"/>
                  <a:gd name="connsiteX163" fmla="*/ 53002 w 203201"/>
                  <a:gd name="connsiteY163" fmla="*/ 199032 h 31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203201" h="318432">
                    <a:moveTo>
                      <a:pt x="87883" y="82933"/>
                    </a:moveTo>
                    <a:cubicBezTo>
                      <a:pt x="87541" y="84700"/>
                      <a:pt x="87541" y="86524"/>
                      <a:pt x="87883" y="88291"/>
                    </a:cubicBezTo>
                    <a:cubicBezTo>
                      <a:pt x="88624" y="91140"/>
                      <a:pt x="91702" y="92508"/>
                      <a:pt x="93925" y="94446"/>
                    </a:cubicBezTo>
                    <a:cubicBezTo>
                      <a:pt x="97515" y="97626"/>
                      <a:pt x="98997" y="102517"/>
                      <a:pt x="97857" y="107156"/>
                    </a:cubicBezTo>
                    <a:cubicBezTo>
                      <a:pt x="106008" y="105959"/>
                      <a:pt x="114272" y="108233"/>
                      <a:pt x="120655" y="113425"/>
                    </a:cubicBezTo>
                    <a:cubicBezTo>
                      <a:pt x="121111" y="117729"/>
                      <a:pt x="119914" y="122043"/>
                      <a:pt x="117350" y="125508"/>
                    </a:cubicBezTo>
                    <a:cubicBezTo>
                      <a:pt x="110282" y="125964"/>
                      <a:pt x="101846" y="125508"/>
                      <a:pt x="97971" y="119809"/>
                    </a:cubicBezTo>
                    <a:cubicBezTo>
                      <a:pt x="97116" y="118555"/>
                      <a:pt x="96603" y="117130"/>
                      <a:pt x="95748" y="115933"/>
                    </a:cubicBezTo>
                    <a:cubicBezTo>
                      <a:pt x="94038" y="113574"/>
                      <a:pt x="91360" y="112137"/>
                      <a:pt x="88453" y="112058"/>
                    </a:cubicBezTo>
                    <a:cubicBezTo>
                      <a:pt x="84805" y="112542"/>
                      <a:pt x="81328" y="113722"/>
                      <a:pt x="78137" y="115534"/>
                    </a:cubicBezTo>
                    <a:cubicBezTo>
                      <a:pt x="75002" y="118013"/>
                      <a:pt x="70443" y="117478"/>
                      <a:pt x="67992" y="114337"/>
                    </a:cubicBezTo>
                    <a:cubicBezTo>
                      <a:pt x="66168" y="112092"/>
                      <a:pt x="65940" y="109008"/>
                      <a:pt x="67251" y="106472"/>
                    </a:cubicBezTo>
                    <a:cubicBezTo>
                      <a:pt x="68220" y="103924"/>
                      <a:pt x="68733" y="101217"/>
                      <a:pt x="68733" y="98493"/>
                    </a:cubicBezTo>
                    <a:cubicBezTo>
                      <a:pt x="68733" y="95814"/>
                      <a:pt x="66111" y="92793"/>
                      <a:pt x="63432" y="93591"/>
                    </a:cubicBezTo>
                    <a:cubicBezTo>
                      <a:pt x="67080" y="89317"/>
                      <a:pt x="64344" y="82819"/>
                      <a:pt x="61494" y="77975"/>
                    </a:cubicBezTo>
                    <a:cubicBezTo>
                      <a:pt x="58645" y="73130"/>
                      <a:pt x="55795" y="66576"/>
                      <a:pt x="59671" y="62358"/>
                    </a:cubicBezTo>
                    <a:cubicBezTo>
                      <a:pt x="61551" y="60306"/>
                      <a:pt x="64515" y="59566"/>
                      <a:pt x="66282" y="57457"/>
                    </a:cubicBezTo>
                    <a:cubicBezTo>
                      <a:pt x="68163" y="54396"/>
                      <a:pt x="68790" y="50691"/>
                      <a:pt x="67878" y="47198"/>
                    </a:cubicBezTo>
                    <a:cubicBezTo>
                      <a:pt x="66282" y="35537"/>
                      <a:pt x="66966" y="23676"/>
                      <a:pt x="69815" y="12260"/>
                    </a:cubicBezTo>
                    <a:cubicBezTo>
                      <a:pt x="70613" y="7843"/>
                      <a:pt x="73236" y="3939"/>
                      <a:pt x="76940" y="1431"/>
                    </a:cubicBezTo>
                    <a:cubicBezTo>
                      <a:pt x="79448" y="291"/>
                      <a:pt x="82241" y="-182"/>
                      <a:pt x="85033" y="63"/>
                    </a:cubicBezTo>
                    <a:cubicBezTo>
                      <a:pt x="91759" y="245"/>
                      <a:pt x="98427" y="1716"/>
                      <a:pt x="104583" y="4394"/>
                    </a:cubicBezTo>
                    <a:cubicBezTo>
                      <a:pt x="106008" y="4856"/>
                      <a:pt x="107261" y="5802"/>
                      <a:pt x="108059" y="7073"/>
                    </a:cubicBezTo>
                    <a:cubicBezTo>
                      <a:pt x="108515" y="8076"/>
                      <a:pt x="108686" y="9176"/>
                      <a:pt x="108572" y="10265"/>
                    </a:cubicBezTo>
                    <a:lnTo>
                      <a:pt x="108572" y="22918"/>
                    </a:lnTo>
                    <a:cubicBezTo>
                      <a:pt x="113075" y="26566"/>
                      <a:pt x="116437" y="31404"/>
                      <a:pt x="118261" y="36882"/>
                    </a:cubicBezTo>
                    <a:cubicBezTo>
                      <a:pt x="119971" y="42627"/>
                      <a:pt x="117007" y="48731"/>
                      <a:pt x="111365" y="50845"/>
                    </a:cubicBezTo>
                    <a:cubicBezTo>
                      <a:pt x="110111" y="51130"/>
                      <a:pt x="108572" y="51187"/>
                      <a:pt x="107717" y="52213"/>
                    </a:cubicBezTo>
                    <a:cubicBezTo>
                      <a:pt x="106862" y="53239"/>
                      <a:pt x="107717" y="56032"/>
                      <a:pt x="107375" y="57913"/>
                    </a:cubicBezTo>
                    <a:cubicBezTo>
                      <a:pt x="107375" y="61389"/>
                      <a:pt x="103271" y="63612"/>
                      <a:pt x="99852" y="64068"/>
                    </a:cubicBezTo>
                    <a:cubicBezTo>
                      <a:pt x="96375" y="64262"/>
                      <a:pt x="93013" y="65493"/>
                      <a:pt x="90220" y="67602"/>
                    </a:cubicBezTo>
                    <a:cubicBezTo>
                      <a:pt x="86515" y="71591"/>
                      <a:pt x="88510" y="77747"/>
                      <a:pt x="87883" y="82933"/>
                    </a:cubicBezTo>
                    <a:close/>
                    <a:moveTo>
                      <a:pt x="67992" y="144260"/>
                    </a:moveTo>
                    <a:cubicBezTo>
                      <a:pt x="68334" y="144938"/>
                      <a:pt x="68790" y="145553"/>
                      <a:pt x="69303" y="146083"/>
                    </a:cubicBezTo>
                    <a:cubicBezTo>
                      <a:pt x="70670" y="147674"/>
                      <a:pt x="72267" y="149076"/>
                      <a:pt x="74033" y="150244"/>
                    </a:cubicBezTo>
                    <a:cubicBezTo>
                      <a:pt x="75230" y="150934"/>
                      <a:pt x="76313" y="151863"/>
                      <a:pt x="77168" y="152980"/>
                    </a:cubicBezTo>
                    <a:cubicBezTo>
                      <a:pt x="78251" y="154633"/>
                      <a:pt x="78137" y="156798"/>
                      <a:pt x="79049" y="158679"/>
                    </a:cubicBezTo>
                    <a:cubicBezTo>
                      <a:pt x="80132" y="160366"/>
                      <a:pt x="81898" y="161449"/>
                      <a:pt x="83894" y="161586"/>
                    </a:cubicBezTo>
                    <a:cubicBezTo>
                      <a:pt x="85888" y="161706"/>
                      <a:pt x="87883" y="161210"/>
                      <a:pt x="89593" y="160161"/>
                    </a:cubicBezTo>
                    <a:cubicBezTo>
                      <a:pt x="93297" y="158309"/>
                      <a:pt x="95236" y="154114"/>
                      <a:pt x="94266" y="150073"/>
                    </a:cubicBezTo>
                    <a:cubicBezTo>
                      <a:pt x="93697" y="148842"/>
                      <a:pt x="92899" y="147719"/>
                      <a:pt x="91929" y="146767"/>
                    </a:cubicBezTo>
                    <a:cubicBezTo>
                      <a:pt x="87142" y="142601"/>
                      <a:pt x="82753" y="138041"/>
                      <a:pt x="78707" y="133146"/>
                    </a:cubicBezTo>
                    <a:cubicBezTo>
                      <a:pt x="78023" y="131977"/>
                      <a:pt x="77225" y="130872"/>
                      <a:pt x="76370" y="129840"/>
                    </a:cubicBezTo>
                    <a:cubicBezTo>
                      <a:pt x="74261" y="127663"/>
                      <a:pt x="71127" y="126717"/>
                      <a:pt x="68163" y="127332"/>
                    </a:cubicBezTo>
                    <a:cubicBezTo>
                      <a:pt x="68334" y="131801"/>
                      <a:pt x="68220" y="136275"/>
                      <a:pt x="67821" y="140726"/>
                    </a:cubicBezTo>
                    <a:cubicBezTo>
                      <a:pt x="67593" y="141900"/>
                      <a:pt x="67650" y="143108"/>
                      <a:pt x="67992" y="144260"/>
                    </a:cubicBezTo>
                    <a:close/>
                    <a:moveTo>
                      <a:pt x="145676" y="149503"/>
                    </a:moveTo>
                    <a:cubicBezTo>
                      <a:pt x="145106" y="147662"/>
                      <a:pt x="143510" y="146351"/>
                      <a:pt x="141572" y="146197"/>
                    </a:cubicBezTo>
                    <a:cubicBezTo>
                      <a:pt x="139521" y="146386"/>
                      <a:pt x="137753" y="147879"/>
                      <a:pt x="137298" y="149902"/>
                    </a:cubicBezTo>
                    <a:cubicBezTo>
                      <a:pt x="136898" y="151891"/>
                      <a:pt x="136898" y="153954"/>
                      <a:pt x="137298" y="155944"/>
                    </a:cubicBezTo>
                    <a:cubicBezTo>
                      <a:pt x="137468" y="158138"/>
                      <a:pt x="138209" y="160247"/>
                      <a:pt x="139464" y="162042"/>
                    </a:cubicBezTo>
                    <a:cubicBezTo>
                      <a:pt x="139748" y="162441"/>
                      <a:pt x="140204" y="162743"/>
                      <a:pt x="140660" y="162897"/>
                    </a:cubicBezTo>
                    <a:cubicBezTo>
                      <a:pt x="141857" y="163062"/>
                      <a:pt x="142997" y="162504"/>
                      <a:pt x="143624" y="161472"/>
                    </a:cubicBezTo>
                    <a:cubicBezTo>
                      <a:pt x="144878" y="159534"/>
                      <a:pt x="145619" y="157328"/>
                      <a:pt x="145847" y="155032"/>
                    </a:cubicBezTo>
                    <a:cubicBezTo>
                      <a:pt x="146246" y="153202"/>
                      <a:pt x="146189" y="151304"/>
                      <a:pt x="145676" y="149503"/>
                    </a:cubicBezTo>
                    <a:close/>
                    <a:moveTo>
                      <a:pt x="158100" y="197265"/>
                    </a:moveTo>
                    <a:cubicBezTo>
                      <a:pt x="157702" y="198490"/>
                      <a:pt x="157702" y="199801"/>
                      <a:pt x="158100" y="201026"/>
                    </a:cubicBezTo>
                    <a:cubicBezTo>
                      <a:pt x="158500" y="201710"/>
                      <a:pt x="159126" y="202263"/>
                      <a:pt x="159810" y="202622"/>
                    </a:cubicBezTo>
                    <a:cubicBezTo>
                      <a:pt x="162261" y="204566"/>
                      <a:pt x="165225" y="205768"/>
                      <a:pt x="168303" y="206099"/>
                    </a:cubicBezTo>
                    <a:cubicBezTo>
                      <a:pt x="169272" y="206173"/>
                      <a:pt x="170240" y="205820"/>
                      <a:pt x="170981" y="205130"/>
                    </a:cubicBezTo>
                    <a:cubicBezTo>
                      <a:pt x="171495" y="204389"/>
                      <a:pt x="171722" y="203511"/>
                      <a:pt x="171665" y="202622"/>
                    </a:cubicBezTo>
                    <a:cubicBezTo>
                      <a:pt x="171836" y="198456"/>
                      <a:pt x="171665" y="194278"/>
                      <a:pt x="171152" y="190140"/>
                    </a:cubicBezTo>
                    <a:cubicBezTo>
                      <a:pt x="174515" y="189411"/>
                      <a:pt x="177479" y="187353"/>
                      <a:pt x="179303" y="184441"/>
                    </a:cubicBezTo>
                    <a:cubicBezTo>
                      <a:pt x="181012" y="181415"/>
                      <a:pt x="181867" y="177995"/>
                      <a:pt x="181867" y="174524"/>
                    </a:cubicBezTo>
                    <a:cubicBezTo>
                      <a:pt x="181981" y="172643"/>
                      <a:pt x="181583" y="170762"/>
                      <a:pt x="180671" y="169109"/>
                    </a:cubicBezTo>
                    <a:cubicBezTo>
                      <a:pt x="180214" y="168408"/>
                      <a:pt x="179644" y="167770"/>
                      <a:pt x="179018" y="167228"/>
                    </a:cubicBezTo>
                    <a:cubicBezTo>
                      <a:pt x="173147" y="162013"/>
                      <a:pt x="164883" y="160418"/>
                      <a:pt x="157473" y="163068"/>
                    </a:cubicBezTo>
                    <a:cubicBezTo>
                      <a:pt x="155764" y="163609"/>
                      <a:pt x="154225" y="164715"/>
                      <a:pt x="153199" y="166203"/>
                    </a:cubicBezTo>
                    <a:cubicBezTo>
                      <a:pt x="152401" y="167753"/>
                      <a:pt x="152059" y="169480"/>
                      <a:pt x="152116" y="171218"/>
                    </a:cubicBezTo>
                    <a:cubicBezTo>
                      <a:pt x="151660" y="175527"/>
                      <a:pt x="152059" y="179893"/>
                      <a:pt x="153313" y="184042"/>
                    </a:cubicBezTo>
                    <a:cubicBezTo>
                      <a:pt x="154966" y="188317"/>
                      <a:pt x="158728" y="192477"/>
                      <a:pt x="158100" y="197265"/>
                    </a:cubicBezTo>
                    <a:close/>
                    <a:moveTo>
                      <a:pt x="121054" y="174866"/>
                    </a:moveTo>
                    <a:cubicBezTo>
                      <a:pt x="119914" y="174689"/>
                      <a:pt x="118831" y="174319"/>
                      <a:pt x="117805" y="173783"/>
                    </a:cubicBezTo>
                    <a:cubicBezTo>
                      <a:pt x="116095" y="172643"/>
                      <a:pt x="115639" y="170363"/>
                      <a:pt x="114841" y="168425"/>
                    </a:cubicBezTo>
                    <a:cubicBezTo>
                      <a:pt x="113588" y="165125"/>
                      <a:pt x="110738" y="162663"/>
                      <a:pt x="107318" y="161871"/>
                    </a:cubicBezTo>
                    <a:cubicBezTo>
                      <a:pt x="103785" y="161250"/>
                      <a:pt x="100308" y="163233"/>
                      <a:pt x="98997" y="166602"/>
                    </a:cubicBezTo>
                    <a:cubicBezTo>
                      <a:pt x="98655" y="167741"/>
                      <a:pt x="98655" y="168938"/>
                      <a:pt x="98256" y="170078"/>
                    </a:cubicBezTo>
                    <a:cubicBezTo>
                      <a:pt x="97230" y="172757"/>
                      <a:pt x="94095" y="174296"/>
                      <a:pt x="93127" y="177032"/>
                    </a:cubicBezTo>
                    <a:cubicBezTo>
                      <a:pt x="92670" y="179158"/>
                      <a:pt x="92899" y="181375"/>
                      <a:pt x="93811" y="183358"/>
                    </a:cubicBezTo>
                    <a:cubicBezTo>
                      <a:pt x="95293" y="187747"/>
                      <a:pt x="97572" y="192876"/>
                      <a:pt x="102132" y="193446"/>
                    </a:cubicBezTo>
                    <a:cubicBezTo>
                      <a:pt x="106692" y="194016"/>
                      <a:pt x="110852" y="189684"/>
                      <a:pt x="115298" y="190596"/>
                    </a:cubicBezTo>
                    <a:cubicBezTo>
                      <a:pt x="117748" y="191183"/>
                      <a:pt x="119800" y="192779"/>
                      <a:pt x="120997" y="194985"/>
                    </a:cubicBezTo>
                    <a:cubicBezTo>
                      <a:pt x="122878" y="197903"/>
                      <a:pt x="123562" y="201437"/>
                      <a:pt x="122878" y="204845"/>
                    </a:cubicBezTo>
                    <a:cubicBezTo>
                      <a:pt x="122137" y="208259"/>
                      <a:pt x="119572" y="210989"/>
                      <a:pt x="116209" y="211912"/>
                    </a:cubicBezTo>
                    <a:cubicBezTo>
                      <a:pt x="114898" y="212197"/>
                      <a:pt x="113359" y="212254"/>
                      <a:pt x="112561" y="213394"/>
                    </a:cubicBezTo>
                    <a:cubicBezTo>
                      <a:pt x="112220" y="214084"/>
                      <a:pt x="112106" y="214853"/>
                      <a:pt x="112163" y="215617"/>
                    </a:cubicBezTo>
                    <a:cubicBezTo>
                      <a:pt x="112220" y="220342"/>
                      <a:pt x="112847" y="225044"/>
                      <a:pt x="113929" y="229638"/>
                    </a:cubicBezTo>
                    <a:cubicBezTo>
                      <a:pt x="114043" y="230624"/>
                      <a:pt x="114500" y="231541"/>
                      <a:pt x="115184" y="232259"/>
                    </a:cubicBezTo>
                    <a:cubicBezTo>
                      <a:pt x="116836" y="233798"/>
                      <a:pt x="119629" y="232544"/>
                      <a:pt x="120883" y="230664"/>
                    </a:cubicBezTo>
                    <a:cubicBezTo>
                      <a:pt x="122137" y="228783"/>
                      <a:pt x="122536" y="226446"/>
                      <a:pt x="123903" y="224679"/>
                    </a:cubicBezTo>
                    <a:cubicBezTo>
                      <a:pt x="127438" y="219835"/>
                      <a:pt x="136614" y="219664"/>
                      <a:pt x="137412" y="213679"/>
                    </a:cubicBezTo>
                    <a:cubicBezTo>
                      <a:pt x="137412" y="212026"/>
                      <a:pt x="137412" y="210089"/>
                      <a:pt x="138266" y="208835"/>
                    </a:cubicBezTo>
                    <a:cubicBezTo>
                      <a:pt x="140090" y="206726"/>
                      <a:pt x="143966" y="208835"/>
                      <a:pt x="146017" y="206726"/>
                    </a:cubicBezTo>
                    <a:cubicBezTo>
                      <a:pt x="148070" y="204617"/>
                      <a:pt x="144935" y="201539"/>
                      <a:pt x="142370" y="200228"/>
                    </a:cubicBezTo>
                    <a:cubicBezTo>
                      <a:pt x="145220" y="198405"/>
                      <a:pt x="143966" y="193731"/>
                      <a:pt x="141344" y="191565"/>
                    </a:cubicBezTo>
                    <a:cubicBezTo>
                      <a:pt x="138437" y="189850"/>
                      <a:pt x="135645" y="187946"/>
                      <a:pt x="133023" y="185866"/>
                    </a:cubicBezTo>
                    <a:cubicBezTo>
                      <a:pt x="131826" y="184253"/>
                      <a:pt x="130686" y="182560"/>
                      <a:pt x="129717" y="180793"/>
                    </a:cubicBezTo>
                    <a:cubicBezTo>
                      <a:pt x="127608" y="177909"/>
                      <a:pt x="124531" y="175886"/>
                      <a:pt x="121054" y="175094"/>
                    </a:cubicBezTo>
                    <a:close/>
                    <a:moveTo>
                      <a:pt x="143852" y="222399"/>
                    </a:moveTo>
                    <a:cubicBezTo>
                      <a:pt x="143909" y="224046"/>
                      <a:pt x="144251" y="225665"/>
                      <a:pt x="144878" y="227187"/>
                    </a:cubicBezTo>
                    <a:lnTo>
                      <a:pt x="148640" y="227643"/>
                    </a:lnTo>
                    <a:cubicBezTo>
                      <a:pt x="150691" y="225990"/>
                      <a:pt x="150748" y="222627"/>
                      <a:pt x="152857" y="221089"/>
                    </a:cubicBezTo>
                    <a:cubicBezTo>
                      <a:pt x="154966" y="219550"/>
                      <a:pt x="158557" y="220747"/>
                      <a:pt x="160722" y="218980"/>
                    </a:cubicBezTo>
                    <a:cubicBezTo>
                      <a:pt x="162888" y="217213"/>
                      <a:pt x="162318" y="214534"/>
                      <a:pt x="161862" y="212140"/>
                    </a:cubicBezTo>
                    <a:cubicBezTo>
                      <a:pt x="160494" y="212140"/>
                      <a:pt x="159582" y="210773"/>
                      <a:pt x="158443" y="209917"/>
                    </a:cubicBezTo>
                    <a:cubicBezTo>
                      <a:pt x="155479" y="208561"/>
                      <a:pt x="152059" y="208669"/>
                      <a:pt x="149209" y="210203"/>
                    </a:cubicBezTo>
                    <a:cubicBezTo>
                      <a:pt x="148183" y="210487"/>
                      <a:pt x="147272" y="210995"/>
                      <a:pt x="146474" y="211684"/>
                    </a:cubicBezTo>
                    <a:cubicBezTo>
                      <a:pt x="145505" y="212841"/>
                      <a:pt x="144878" y="214272"/>
                      <a:pt x="144707" y="215788"/>
                    </a:cubicBezTo>
                    <a:cubicBezTo>
                      <a:pt x="144251" y="217959"/>
                      <a:pt x="144080" y="220182"/>
                      <a:pt x="144194" y="222399"/>
                    </a:cubicBezTo>
                    <a:close/>
                    <a:moveTo>
                      <a:pt x="197826" y="238757"/>
                    </a:moveTo>
                    <a:cubicBezTo>
                      <a:pt x="195546" y="233365"/>
                      <a:pt x="194862" y="227421"/>
                      <a:pt x="195945" y="221659"/>
                    </a:cubicBezTo>
                    <a:cubicBezTo>
                      <a:pt x="196287" y="218638"/>
                      <a:pt x="196515" y="215047"/>
                      <a:pt x="194121" y="213166"/>
                    </a:cubicBezTo>
                    <a:cubicBezTo>
                      <a:pt x="192582" y="212123"/>
                      <a:pt x="190702" y="211787"/>
                      <a:pt x="188878" y="212254"/>
                    </a:cubicBezTo>
                    <a:cubicBezTo>
                      <a:pt x="175826" y="214648"/>
                      <a:pt x="173717" y="235679"/>
                      <a:pt x="160780" y="238757"/>
                    </a:cubicBezTo>
                    <a:cubicBezTo>
                      <a:pt x="159696" y="238882"/>
                      <a:pt x="158671" y="239315"/>
                      <a:pt x="157816" y="240011"/>
                    </a:cubicBezTo>
                    <a:cubicBezTo>
                      <a:pt x="156562" y="241493"/>
                      <a:pt x="157816" y="243658"/>
                      <a:pt x="157816" y="245710"/>
                    </a:cubicBezTo>
                    <a:cubicBezTo>
                      <a:pt x="157587" y="248093"/>
                      <a:pt x="155935" y="250105"/>
                      <a:pt x="153655" y="250840"/>
                    </a:cubicBezTo>
                    <a:cubicBezTo>
                      <a:pt x="151375" y="251495"/>
                      <a:pt x="149038" y="251729"/>
                      <a:pt x="146701" y="251524"/>
                    </a:cubicBezTo>
                    <a:cubicBezTo>
                      <a:pt x="145220" y="251598"/>
                      <a:pt x="143738" y="251244"/>
                      <a:pt x="142427" y="250498"/>
                    </a:cubicBezTo>
                    <a:cubicBezTo>
                      <a:pt x="141002" y="249472"/>
                      <a:pt x="140489" y="247705"/>
                      <a:pt x="139349" y="246337"/>
                    </a:cubicBezTo>
                    <a:cubicBezTo>
                      <a:pt x="136557" y="243761"/>
                      <a:pt x="132453" y="243259"/>
                      <a:pt x="129147" y="245083"/>
                    </a:cubicBezTo>
                    <a:cubicBezTo>
                      <a:pt x="125956" y="246890"/>
                      <a:pt x="122935" y="249010"/>
                      <a:pt x="120142" y="251410"/>
                    </a:cubicBezTo>
                    <a:cubicBezTo>
                      <a:pt x="116494" y="254031"/>
                      <a:pt x="112277" y="255798"/>
                      <a:pt x="108743" y="258306"/>
                    </a:cubicBezTo>
                    <a:cubicBezTo>
                      <a:pt x="101733" y="263116"/>
                      <a:pt x="96717" y="270338"/>
                      <a:pt x="94666" y="278596"/>
                    </a:cubicBezTo>
                    <a:cubicBezTo>
                      <a:pt x="94266" y="280181"/>
                      <a:pt x="94266" y="281856"/>
                      <a:pt x="94666" y="283441"/>
                    </a:cubicBezTo>
                    <a:cubicBezTo>
                      <a:pt x="96432" y="286883"/>
                      <a:pt x="100650" y="288228"/>
                      <a:pt x="104126" y="286450"/>
                    </a:cubicBezTo>
                    <a:cubicBezTo>
                      <a:pt x="104469" y="286273"/>
                      <a:pt x="104810" y="286068"/>
                      <a:pt x="105096" y="285834"/>
                    </a:cubicBezTo>
                    <a:cubicBezTo>
                      <a:pt x="108287" y="283139"/>
                      <a:pt x="110339" y="279297"/>
                      <a:pt x="110795" y="275119"/>
                    </a:cubicBezTo>
                    <a:cubicBezTo>
                      <a:pt x="110909" y="273968"/>
                      <a:pt x="111365" y="272880"/>
                      <a:pt x="112163" y="272042"/>
                    </a:cubicBezTo>
                    <a:cubicBezTo>
                      <a:pt x="113075" y="271455"/>
                      <a:pt x="114100" y="271193"/>
                      <a:pt x="115184" y="271301"/>
                    </a:cubicBezTo>
                    <a:lnTo>
                      <a:pt x="126183" y="271301"/>
                    </a:lnTo>
                    <a:cubicBezTo>
                      <a:pt x="126526" y="265014"/>
                      <a:pt x="131883" y="260187"/>
                      <a:pt x="138152" y="260517"/>
                    </a:cubicBezTo>
                    <a:cubicBezTo>
                      <a:pt x="141059" y="260671"/>
                      <a:pt x="143795" y="261914"/>
                      <a:pt x="145790" y="264006"/>
                    </a:cubicBezTo>
                    <a:cubicBezTo>
                      <a:pt x="143396" y="276322"/>
                      <a:pt x="143624" y="289009"/>
                      <a:pt x="146531" y="301223"/>
                    </a:cubicBezTo>
                    <a:cubicBezTo>
                      <a:pt x="149266" y="302773"/>
                      <a:pt x="152458" y="303264"/>
                      <a:pt x="155536" y="302591"/>
                    </a:cubicBezTo>
                    <a:cubicBezTo>
                      <a:pt x="157530" y="306752"/>
                      <a:pt x="160096" y="311311"/>
                      <a:pt x="164541" y="312394"/>
                    </a:cubicBezTo>
                    <a:cubicBezTo>
                      <a:pt x="166137" y="312525"/>
                      <a:pt x="167733" y="312890"/>
                      <a:pt x="169215" y="313477"/>
                    </a:cubicBezTo>
                    <a:cubicBezTo>
                      <a:pt x="170297" y="314332"/>
                      <a:pt x="171266" y="315329"/>
                      <a:pt x="172121" y="316441"/>
                    </a:cubicBezTo>
                    <a:cubicBezTo>
                      <a:pt x="175028" y="319193"/>
                      <a:pt x="179587" y="319080"/>
                      <a:pt x="182380" y="316184"/>
                    </a:cubicBezTo>
                    <a:cubicBezTo>
                      <a:pt x="184489" y="313939"/>
                      <a:pt x="184945" y="310582"/>
                      <a:pt x="183520" y="307835"/>
                    </a:cubicBezTo>
                    <a:cubicBezTo>
                      <a:pt x="181924" y="305652"/>
                      <a:pt x="179987" y="303725"/>
                      <a:pt x="177821" y="302135"/>
                    </a:cubicBezTo>
                    <a:cubicBezTo>
                      <a:pt x="175655" y="300533"/>
                      <a:pt x="174686" y="297792"/>
                      <a:pt x="175313" y="295182"/>
                    </a:cubicBezTo>
                    <a:cubicBezTo>
                      <a:pt x="175940" y="294025"/>
                      <a:pt x="176681" y="292919"/>
                      <a:pt x="177479" y="291876"/>
                    </a:cubicBezTo>
                    <a:cubicBezTo>
                      <a:pt x="179132" y="288741"/>
                      <a:pt x="177479" y="284923"/>
                      <a:pt x="175427" y="281902"/>
                    </a:cubicBezTo>
                    <a:cubicBezTo>
                      <a:pt x="178789" y="278539"/>
                      <a:pt x="184318" y="279850"/>
                      <a:pt x="188878" y="281161"/>
                    </a:cubicBezTo>
                    <a:cubicBezTo>
                      <a:pt x="193437" y="282472"/>
                      <a:pt x="199251" y="283156"/>
                      <a:pt x="201987" y="279337"/>
                    </a:cubicBezTo>
                    <a:cubicBezTo>
                      <a:pt x="205406" y="274493"/>
                      <a:pt x="200562" y="268223"/>
                      <a:pt x="200162" y="262239"/>
                    </a:cubicBezTo>
                    <a:cubicBezTo>
                      <a:pt x="199764" y="256254"/>
                      <a:pt x="203640" y="250840"/>
                      <a:pt x="202044" y="245596"/>
                    </a:cubicBezTo>
                    <a:cubicBezTo>
                      <a:pt x="200903" y="243174"/>
                      <a:pt x="199536" y="240883"/>
                      <a:pt x="197883" y="238757"/>
                    </a:cubicBezTo>
                    <a:close/>
                    <a:moveTo>
                      <a:pt x="53173" y="198861"/>
                    </a:moveTo>
                    <a:cubicBezTo>
                      <a:pt x="54826" y="196216"/>
                      <a:pt x="55567" y="193087"/>
                      <a:pt x="55282" y="189969"/>
                    </a:cubicBezTo>
                    <a:cubicBezTo>
                      <a:pt x="55339" y="186567"/>
                      <a:pt x="54370" y="183221"/>
                      <a:pt x="52490" y="180394"/>
                    </a:cubicBezTo>
                    <a:cubicBezTo>
                      <a:pt x="50438" y="177562"/>
                      <a:pt x="46790" y="176405"/>
                      <a:pt x="43484" y="177544"/>
                    </a:cubicBezTo>
                    <a:cubicBezTo>
                      <a:pt x="41375" y="187695"/>
                      <a:pt x="35961" y="196849"/>
                      <a:pt x="28039" y="203534"/>
                    </a:cubicBezTo>
                    <a:cubicBezTo>
                      <a:pt x="25246" y="205409"/>
                      <a:pt x="23422" y="208407"/>
                      <a:pt x="23080" y="211741"/>
                    </a:cubicBezTo>
                    <a:cubicBezTo>
                      <a:pt x="20344" y="220747"/>
                      <a:pt x="12650" y="227130"/>
                      <a:pt x="5982" y="233627"/>
                    </a:cubicBezTo>
                    <a:cubicBezTo>
                      <a:pt x="2220" y="237218"/>
                      <a:pt x="-1655" y="242518"/>
                      <a:pt x="738" y="247135"/>
                    </a:cubicBezTo>
                    <a:cubicBezTo>
                      <a:pt x="8603" y="246907"/>
                      <a:pt x="15670" y="242194"/>
                      <a:pt x="18920" y="234995"/>
                    </a:cubicBezTo>
                    <a:cubicBezTo>
                      <a:pt x="19489" y="233285"/>
                      <a:pt x="20344" y="231684"/>
                      <a:pt x="21427" y="230265"/>
                    </a:cubicBezTo>
                    <a:cubicBezTo>
                      <a:pt x="23194" y="228555"/>
                      <a:pt x="25873" y="228156"/>
                      <a:pt x="27753" y="226560"/>
                    </a:cubicBezTo>
                    <a:cubicBezTo>
                      <a:pt x="31231" y="223539"/>
                      <a:pt x="30490" y="217384"/>
                      <a:pt x="34023" y="214420"/>
                    </a:cubicBezTo>
                    <a:cubicBezTo>
                      <a:pt x="35619" y="213109"/>
                      <a:pt x="37899" y="212710"/>
                      <a:pt x="39437" y="211285"/>
                    </a:cubicBezTo>
                    <a:cubicBezTo>
                      <a:pt x="40577" y="209997"/>
                      <a:pt x="41603" y="208601"/>
                      <a:pt x="42458" y="207125"/>
                    </a:cubicBezTo>
                    <a:cubicBezTo>
                      <a:pt x="45194" y="203591"/>
                      <a:pt x="50495" y="202679"/>
                      <a:pt x="53002" y="199032"/>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19" name="Freihandform: Form 613">
                <a:extLst>
                  <a:ext uri="{FF2B5EF4-FFF2-40B4-BE49-F238E27FC236}">
                    <a16:creationId xmlns:a16="http://schemas.microsoft.com/office/drawing/2014/main" id="{774F096E-068E-AA19-564F-7A22ED014F55}"/>
                  </a:ext>
                </a:extLst>
              </p:cNvPr>
              <p:cNvSpPr/>
              <p:nvPr/>
            </p:nvSpPr>
            <p:spPr>
              <a:xfrm>
                <a:off x="7617708" y="4658361"/>
                <a:ext cx="62461" cy="51687"/>
              </a:xfrm>
              <a:custGeom>
                <a:avLst/>
                <a:gdLst>
                  <a:gd name="connsiteX0" fmla="*/ 51280 w 62461"/>
                  <a:gd name="connsiteY0" fmla="*/ 15237 h 51687"/>
                  <a:gd name="connsiteX1" fmla="*/ 33782 w 62461"/>
                  <a:gd name="connsiteY1" fmla="*/ 16718 h 51687"/>
                  <a:gd name="connsiteX2" fmla="*/ 34694 w 62461"/>
                  <a:gd name="connsiteY2" fmla="*/ 5320 h 51687"/>
                  <a:gd name="connsiteX3" fmla="*/ 45466 w 62461"/>
                  <a:gd name="connsiteY3" fmla="*/ 76 h 51687"/>
                  <a:gd name="connsiteX4" fmla="*/ 57606 w 62461"/>
                  <a:gd name="connsiteY4" fmla="*/ 931 h 51687"/>
                  <a:gd name="connsiteX5" fmla="*/ 62279 w 62461"/>
                  <a:gd name="connsiteY5" fmla="*/ 3382 h 51687"/>
                  <a:gd name="connsiteX6" fmla="*/ 60342 w 62461"/>
                  <a:gd name="connsiteY6" fmla="*/ 8340 h 51687"/>
                  <a:gd name="connsiteX7" fmla="*/ 55269 w 62461"/>
                  <a:gd name="connsiteY7" fmla="*/ 11190 h 51687"/>
                  <a:gd name="connsiteX8" fmla="*/ 51280 w 62461"/>
                  <a:gd name="connsiteY8" fmla="*/ 15237 h 51687"/>
                  <a:gd name="connsiteX9" fmla="*/ 1010 w 62461"/>
                  <a:gd name="connsiteY9" fmla="*/ 33418 h 51687"/>
                  <a:gd name="connsiteX10" fmla="*/ 2036 w 62461"/>
                  <a:gd name="connsiteY10" fmla="*/ 44133 h 51687"/>
                  <a:gd name="connsiteX11" fmla="*/ 25746 w 62461"/>
                  <a:gd name="connsiteY11" fmla="*/ 48772 h 51687"/>
                  <a:gd name="connsiteX12" fmla="*/ 29964 w 62461"/>
                  <a:gd name="connsiteY12" fmla="*/ 44760 h 51687"/>
                  <a:gd name="connsiteX13" fmla="*/ 29394 w 62461"/>
                  <a:gd name="connsiteY13" fmla="*/ 31138 h 51687"/>
                  <a:gd name="connsiteX14" fmla="*/ 7052 w 62461"/>
                  <a:gd name="connsiteY14" fmla="*/ 29029 h 51687"/>
                  <a:gd name="connsiteX15" fmla="*/ 1010 w 62461"/>
                  <a:gd name="connsiteY15" fmla="*/ 33133 h 5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61" h="51687">
                    <a:moveTo>
                      <a:pt x="51280" y="15237"/>
                    </a:moveTo>
                    <a:cubicBezTo>
                      <a:pt x="46663" y="19169"/>
                      <a:pt x="39881" y="18029"/>
                      <a:pt x="33782" y="16718"/>
                    </a:cubicBezTo>
                    <a:cubicBezTo>
                      <a:pt x="31616" y="13122"/>
                      <a:pt x="31958" y="8523"/>
                      <a:pt x="34694" y="5320"/>
                    </a:cubicBezTo>
                    <a:cubicBezTo>
                      <a:pt x="37487" y="2242"/>
                      <a:pt x="41305" y="361"/>
                      <a:pt x="45466" y="76"/>
                    </a:cubicBezTo>
                    <a:cubicBezTo>
                      <a:pt x="49512" y="-152"/>
                      <a:pt x="53617" y="133"/>
                      <a:pt x="57606" y="931"/>
                    </a:cubicBezTo>
                    <a:cubicBezTo>
                      <a:pt x="59429" y="931"/>
                      <a:pt x="61538" y="1672"/>
                      <a:pt x="62279" y="3382"/>
                    </a:cubicBezTo>
                    <a:cubicBezTo>
                      <a:pt x="62850" y="5280"/>
                      <a:pt x="62052" y="7314"/>
                      <a:pt x="60342" y="8340"/>
                    </a:cubicBezTo>
                    <a:cubicBezTo>
                      <a:pt x="58745" y="9423"/>
                      <a:pt x="56808" y="9993"/>
                      <a:pt x="55269" y="11190"/>
                    </a:cubicBezTo>
                    <a:cubicBezTo>
                      <a:pt x="53730" y="12387"/>
                      <a:pt x="52704" y="13698"/>
                      <a:pt x="51280" y="15237"/>
                    </a:cubicBezTo>
                    <a:close/>
                    <a:moveTo>
                      <a:pt x="1010" y="33418"/>
                    </a:moveTo>
                    <a:cubicBezTo>
                      <a:pt x="-643" y="36906"/>
                      <a:pt x="-244" y="41027"/>
                      <a:pt x="2036" y="44133"/>
                    </a:cubicBezTo>
                    <a:cubicBezTo>
                      <a:pt x="7337" y="51970"/>
                      <a:pt x="17938" y="54044"/>
                      <a:pt x="25746" y="48772"/>
                    </a:cubicBezTo>
                    <a:cubicBezTo>
                      <a:pt x="27398" y="47684"/>
                      <a:pt x="28823" y="46327"/>
                      <a:pt x="29964" y="44760"/>
                    </a:cubicBezTo>
                    <a:cubicBezTo>
                      <a:pt x="30476" y="40217"/>
                      <a:pt x="30305" y="35624"/>
                      <a:pt x="29394" y="31138"/>
                    </a:cubicBezTo>
                    <a:cubicBezTo>
                      <a:pt x="22611" y="27137"/>
                      <a:pt x="14461" y="26368"/>
                      <a:pt x="7052" y="29029"/>
                    </a:cubicBezTo>
                    <a:cubicBezTo>
                      <a:pt x="4658" y="29696"/>
                      <a:pt x="2492" y="31138"/>
                      <a:pt x="1010" y="3313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0" name="Freihandform: Form 614">
                <a:extLst>
                  <a:ext uri="{FF2B5EF4-FFF2-40B4-BE49-F238E27FC236}">
                    <a16:creationId xmlns:a16="http://schemas.microsoft.com/office/drawing/2014/main" id="{7E087CD4-D686-5207-A273-A2AB272AFBD5}"/>
                  </a:ext>
                </a:extLst>
              </p:cNvPr>
              <p:cNvSpPr/>
              <p:nvPr/>
            </p:nvSpPr>
            <p:spPr>
              <a:xfrm>
                <a:off x="7333558" y="4752810"/>
                <a:ext cx="63310" cy="52517"/>
              </a:xfrm>
              <a:custGeom>
                <a:avLst/>
                <a:gdLst>
                  <a:gd name="connsiteX0" fmla="*/ 25549 w 63310"/>
                  <a:gd name="connsiteY0" fmla="*/ 17679 h 52517"/>
                  <a:gd name="connsiteX1" fmla="*/ 44642 w 63310"/>
                  <a:gd name="connsiteY1" fmla="*/ 28508 h 52517"/>
                  <a:gd name="connsiteX2" fmla="*/ 62653 w 63310"/>
                  <a:gd name="connsiteY2" fmla="*/ 45036 h 52517"/>
                  <a:gd name="connsiteX3" fmla="*/ 61512 w 63310"/>
                  <a:gd name="connsiteY3" fmla="*/ 52047 h 52517"/>
                  <a:gd name="connsiteX4" fmla="*/ 56725 w 63310"/>
                  <a:gd name="connsiteY4" fmla="*/ 52047 h 52517"/>
                  <a:gd name="connsiteX5" fmla="*/ 48631 w 63310"/>
                  <a:gd name="connsiteY5" fmla="*/ 49026 h 52517"/>
                  <a:gd name="connsiteX6" fmla="*/ 42020 w 63310"/>
                  <a:gd name="connsiteY6" fmla="*/ 45493 h 52517"/>
                  <a:gd name="connsiteX7" fmla="*/ 20989 w 63310"/>
                  <a:gd name="connsiteY7" fmla="*/ 33580 h 52517"/>
                  <a:gd name="connsiteX8" fmla="*/ 6911 w 63310"/>
                  <a:gd name="connsiteY8" fmla="*/ 23835 h 52517"/>
                  <a:gd name="connsiteX9" fmla="*/ 15 w 63310"/>
                  <a:gd name="connsiteY9" fmla="*/ 8617 h 52517"/>
                  <a:gd name="connsiteX10" fmla="*/ 5715 w 63310"/>
                  <a:gd name="connsiteY10" fmla="*/ 11 h 52517"/>
                  <a:gd name="connsiteX11" fmla="*/ 14150 w 63310"/>
                  <a:gd name="connsiteY11" fmla="*/ 4798 h 52517"/>
                  <a:gd name="connsiteX12" fmla="*/ 19564 w 63310"/>
                  <a:gd name="connsiteY12" fmla="*/ 13462 h 52517"/>
                  <a:gd name="connsiteX13" fmla="*/ 25549 w 63310"/>
                  <a:gd name="connsiteY13" fmla="*/ 17679 h 5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310" h="52517">
                    <a:moveTo>
                      <a:pt x="25549" y="17679"/>
                    </a:moveTo>
                    <a:lnTo>
                      <a:pt x="44642" y="28508"/>
                    </a:lnTo>
                    <a:cubicBezTo>
                      <a:pt x="51880" y="32669"/>
                      <a:pt x="59632" y="37342"/>
                      <a:pt x="62653" y="45036"/>
                    </a:cubicBezTo>
                    <a:cubicBezTo>
                      <a:pt x="63621" y="47430"/>
                      <a:pt x="63735" y="50736"/>
                      <a:pt x="61512" y="52047"/>
                    </a:cubicBezTo>
                    <a:cubicBezTo>
                      <a:pt x="59973" y="52674"/>
                      <a:pt x="58264" y="52674"/>
                      <a:pt x="56725" y="52047"/>
                    </a:cubicBezTo>
                    <a:cubicBezTo>
                      <a:pt x="53932" y="51261"/>
                      <a:pt x="51254" y="50252"/>
                      <a:pt x="48631" y="49026"/>
                    </a:cubicBezTo>
                    <a:cubicBezTo>
                      <a:pt x="46352" y="47943"/>
                      <a:pt x="44186" y="46746"/>
                      <a:pt x="42020" y="45493"/>
                    </a:cubicBezTo>
                    <a:lnTo>
                      <a:pt x="20989" y="33580"/>
                    </a:lnTo>
                    <a:cubicBezTo>
                      <a:pt x="15859" y="30976"/>
                      <a:pt x="11129" y="27699"/>
                      <a:pt x="6911" y="23835"/>
                    </a:cubicBezTo>
                    <a:cubicBezTo>
                      <a:pt x="2694" y="19890"/>
                      <a:pt x="186" y="14408"/>
                      <a:pt x="15" y="8617"/>
                    </a:cubicBezTo>
                    <a:cubicBezTo>
                      <a:pt x="-213" y="4804"/>
                      <a:pt x="2124" y="1310"/>
                      <a:pt x="5715" y="11"/>
                    </a:cubicBezTo>
                    <a:cubicBezTo>
                      <a:pt x="9191" y="-160"/>
                      <a:pt x="12497" y="1704"/>
                      <a:pt x="14150" y="4798"/>
                    </a:cubicBezTo>
                    <a:cubicBezTo>
                      <a:pt x="15689" y="7830"/>
                      <a:pt x="17512" y="10731"/>
                      <a:pt x="19564" y="13462"/>
                    </a:cubicBezTo>
                    <a:cubicBezTo>
                      <a:pt x="21331" y="15171"/>
                      <a:pt x="23326" y="16591"/>
                      <a:pt x="25549" y="176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1" name="Freihandform: Form 615">
                <a:extLst>
                  <a:ext uri="{FF2B5EF4-FFF2-40B4-BE49-F238E27FC236}">
                    <a16:creationId xmlns:a16="http://schemas.microsoft.com/office/drawing/2014/main" id="{1D78F8C4-D11E-256E-8DE8-32F86DA1719E}"/>
                  </a:ext>
                </a:extLst>
              </p:cNvPr>
              <p:cNvSpPr/>
              <p:nvPr/>
            </p:nvSpPr>
            <p:spPr>
              <a:xfrm>
                <a:off x="7379816" y="5121213"/>
                <a:ext cx="243382" cy="331913"/>
              </a:xfrm>
              <a:custGeom>
                <a:avLst/>
                <a:gdLst>
                  <a:gd name="connsiteX0" fmla="*/ 77834 w 243382"/>
                  <a:gd name="connsiteY0" fmla="*/ 236322 h 331913"/>
                  <a:gd name="connsiteX1" fmla="*/ 101259 w 243382"/>
                  <a:gd name="connsiteY1" fmla="*/ 211130 h 331913"/>
                  <a:gd name="connsiteX2" fmla="*/ 116819 w 243382"/>
                  <a:gd name="connsiteY2" fmla="*/ 178700 h 331913"/>
                  <a:gd name="connsiteX3" fmla="*/ 118699 w 243382"/>
                  <a:gd name="connsiteY3" fmla="*/ 168897 h 331913"/>
                  <a:gd name="connsiteX4" fmla="*/ 136596 w 243382"/>
                  <a:gd name="connsiteY4" fmla="*/ 164964 h 331913"/>
                  <a:gd name="connsiteX5" fmla="*/ 138135 w 243382"/>
                  <a:gd name="connsiteY5" fmla="*/ 175907 h 331913"/>
                  <a:gd name="connsiteX6" fmla="*/ 169197 w 243382"/>
                  <a:gd name="connsiteY6" fmla="*/ 180239 h 331913"/>
                  <a:gd name="connsiteX7" fmla="*/ 170280 w 243382"/>
                  <a:gd name="connsiteY7" fmla="*/ 199218 h 331913"/>
                  <a:gd name="connsiteX8" fmla="*/ 158311 w 243382"/>
                  <a:gd name="connsiteY8" fmla="*/ 215063 h 331913"/>
                  <a:gd name="connsiteX9" fmla="*/ 142808 w 243382"/>
                  <a:gd name="connsiteY9" fmla="*/ 231249 h 331913"/>
                  <a:gd name="connsiteX10" fmla="*/ 131979 w 243382"/>
                  <a:gd name="connsiteY10" fmla="*/ 240368 h 331913"/>
                  <a:gd name="connsiteX11" fmla="*/ 122518 w 243382"/>
                  <a:gd name="connsiteY11" fmla="*/ 245327 h 331913"/>
                  <a:gd name="connsiteX12" fmla="*/ 112658 w 243382"/>
                  <a:gd name="connsiteY12" fmla="*/ 262767 h 331913"/>
                  <a:gd name="connsiteX13" fmla="*/ 97383 w 243382"/>
                  <a:gd name="connsiteY13" fmla="*/ 277244 h 331913"/>
                  <a:gd name="connsiteX14" fmla="*/ 96814 w 243382"/>
                  <a:gd name="connsiteY14" fmla="*/ 284539 h 331913"/>
                  <a:gd name="connsiteX15" fmla="*/ 90031 w 243382"/>
                  <a:gd name="connsiteY15" fmla="*/ 293430 h 331913"/>
                  <a:gd name="connsiteX16" fmla="*/ 72134 w 243382"/>
                  <a:gd name="connsiteY16" fmla="*/ 308534 h 331913"/>
                  <a:gd name="connsiteX17" fmla="*/ 22208 w 243382"/>
                  <a:gd name="connsiteY17" fmla="*/ 331731 h 331913"/>
                  <a:gd name="connsiteX18" fmla="*/ 264 w 243382"/>
                  <a:gd name="connsiteY18" fmla="*/ 308192 h 331913"/>
                  <a:gd name="connsiteX19" fmla="*/ 23404 w 243382"/>
                  <a:gd name="connsiteY19" fmla="*/ 288415 h 331913"/>
                  <a:gd name="connsiteX20" fmla="*/ 29560 w 243382"/>
                  <a:gd name="connsiteY20" fmla="*/ 273767 h 331913"/>
                  <a:gd name="connsiteX21" fmla="*/ 47228 w 243382"/>
                  <a:gd name="connsiteY21" fmla="*/ 268068 h 331913"/>
                  <a:gd name="connsiteX22" fmla="*/ 65067 w 243382"/>
                  <a:gd name="connsiteY22" fmla="*/ 244757 h 331913"/>
                  <a:gd name="connsiteX23" fmla="*/ 77834 w 243382"/>
                  <a:gd name="connsiteY23" fmla="*/ 236322 h 331913"/>
                  <a:gd name="connsiteX24" fmla="*/ 178088 w 243382"/>
                  <a:gd name="connsiteY24" fmla="*/ 188047 h 331913"/>
                  <a:gd name="connsiteX25" fmla="*/ 190000 w 243382"/>
                  <a:gd name="connsiteY25" fmla="*/ 190726 h 331913"/>
                  <a:gd name="connsiteX26" fmla="*/ 188632 w 243382"/>
                  <a:gd name="connsiteY26" fmla="*/ 176990 h 331913"/>
                  <a:gd name="connsiteX27" fmla="*/ 183331 w 243382"/>
                  <a:gd name="connsiteY27" fmla="*/ 176021 h 331913"/>
                  <a:gd name="connsiteX28" fmla="*/ 177917 w 243382"/>
                  <a:gd name="connsiteY28" fmla="*/ 187990 h 331913"/>
                  <a:gd name="connsiteX29" fmla="*/ 184357 w 243382"/>
                  <a:gd name="connsiteY29" fmla="*/ 70980 h 331913"/>
                  <a:gd name="connsiteX30" fmla="*/ 175979 w 243382"/>
                  <a:gd name="connsiteY30" fmla="*/ 82721 h 331913"/>
                  <a:gd name="connsiteX31" fmla="*/ 173871 w 243382"/>
                  <a:gd name="connsiteY31" fmla="*/ 107741 h 331913"/>
                  <a:gd name="connsiteX32" fmla="*/ 158482 w 243382"/>
                  <a:gd name="connsiteY32" fmla="*/ 114068 h 331913"/>
                  <a:gd name="connsiteX33" fmla="*/ 154663 w 243382"/>
                  <a:gd name="connsiteY33" fmla="*/ 131052 h 331913"/>
                  <a:gd name="connsiteX34" fmla="*/ 155290 w 243382"/>
                  <a:gd name="connsiteY34" fmla="*/ 131964 h 331913"/>
                  <a:gd name="connsiteX35" fmla="*/ 167886 w 243382"/>
                  <a:gd name="connsiteY35" fmla="*/ 132363 h 331913"/>
                  <a:gd name="connsiteX36" fmla="*/ 186010 w 243382"/>
                  <a:gd name="connsiteY36" fmla="*/ 149462 h 331913"/>
                  <a:gd name="connsiteX37" fmla="*/ 194560 w 243382"/>
                  <a:gd name="connsiteY37" fmla="*/ 152596 h 331913"/>
                  <a:gd name="connsiteX38" fmla="*/ 194560 w 243382"/>
                  <a:gd name="connsiteY38" fmla="*/ 158581 h 331913"/>
                  <a:gd name="connsiteX39" fmla="*/ 200259 w 243382"/>
                  <a:gd name="connsiteY39" fmla="*/ 160290 h 331913"/>
                  <a:gd name="connsiteX40" fmla="*/ 209036 w 243382"/>
                  <a:gd name="connsiteY40" fmla="*/ 141710 h 331913"/>
                  <a:gd name="connsiteX41" fmla="*/ 208523 w 243382"/>
                  <a:gd name="connsiteY41" fmla="*/ 119596 h 331913"/>
                  <a:gd name="connsiteX42" fmla="*/ 239357 w 243382"/>
                  <a:gd name="connsiteY42" fmla="*/ 104208 h 331913"/>
                  <a:gd name="connsiteX43" fmla="*/ 243233 w 243382"/>
                  <a:gd name="connsiteY43" fmla="*/ 99534 h 331913"/>
                  <a:gd name="connsiteX44" fmla="*/ 237533 w 243382"/>
                  <a:gd name="connsiteY44" fmla="*/ 89959 h 331913"/>
                  <a:gd name="connsiteX45" fmla="*/ 225223 w 243382"/>
                  <a:gd name="connsiteY45" fmla="*/ 88420 h 331913"/>
                  <a:gd name="connsiteX46" fmla="*/ 214508 w 243382"/>
                  <a:gd name="connsiteY46" fmla="*/ 83120 h 331913"/>
                  <a:gd name="connsiteX47" fmla="*/ 213140 w 243382"/>
                  <a:gd name="connsiteY47" fmla="*/ 74855 h 331913"/>
                  <a:gd name="connsiteX48" fmla="*/ 213140 w 243382"/>
                  <a:gd name="connsiteY48" fmla="*/ 61804 h 331913"/>
                  <a:gd name="connsiteX49" fmla="*/ 211943 w 243382"/>
                  <a:gd name="connsiteY49" fmla="*/ 55534 h 331913"/>
                  <a:gd name="connsiteX50" fmla="*/ 206813 w 243382"/>
                  <a:gd name="connsiteY50" fmla="*/ 53933 h 331913"/>
                  <a:gd name="connsiteX51" fmla="*/ 206243 w 243382"/>
                  <a:gd name="connsiteY51" fmla="*/ 54280 h 331913"/>
                  <a:gd name="connsiteX52" fmla="*/ 202425 w 243382"/>
                  <a:gd name="connsiteY52" fmla="*/ 66705 h 331913"/>
                  <a:gd name="connsiteX53" fmla="*/ 197637 w 243382"/>
                  <a:gd name="connsiteY53" fmla="*/ 66705 h 331913"/>
                  <a:gd name="connsiteX54" fmla="*/ 196440 w 243382"/>
                  <a:gd name="connsiteY54" fmla="*/ 62488 h 331913"/>
                  <a:gd name="connsiteX55" fmla="*/ 183902 w 243382"/>
                  <a:gd name="connsiteY55" fmla="*/ 65850 h 331913"/>
                  <a:gd name="connsiteX56" fmla="*/ 184357 w 243382"/>
                  <a:gd name="connsiteY56" fmla="*/ 71037 h 331913"/>
                  <a:gd name="connsiteX57" fmla="*/ 138363 w 243382"/>
                  <a:gd name="connsiteY57" fmla="*/ 2073 h 331913"/>
                  <a:gd name="connsiteX58" fmla="*/ 146114 w 243382"/>
                  <a:gd name="connsiteY58" fmla="*/ 15353 h 331913"/>
                  <a:gd name="connsiteX59" fmla="*/ 168912 w 243382"/>
                  <a:gd name="connsiteY59" fmla="*/ 54850 h 331913"/>
                  <a:gd name="connsiteX60" fmla="*/ 180881 w 243382"/>
                  <a:gd name="connsiteY60" fmla="*/ 42711 h 331913"/>
                  <a:gd name="connsiteX61" fmla="*/ 172958 w 243382"/>
                  <a:gd name="connsiteY61" fmla="*/ 26353 h 331913"/>
                  <a:gd name="connsiteX62" fmla="*/ 164751 w 243382"/>
                  <a:gd name="connsiteY62" fmla="*/ 4239 h 331913"/>
                  <a:gd name="connsiteX63" fmla="*/ 150902 w 243382"/>
                  <a:gd name="connsiteY63" fmla="*/ 363 h 33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43382" h="331913">
                    <a:moveTo>
                      <a:pt x="77834" y="236322"/>
                    </a:moveTo>
                    <a:cubicBezTo>
                      <a:pt x="87068" y="229402"/>
                      <a:pt x="95046" y="220870"/>
                      <a:pt x="101259" y="211130"/>
                    </a:cubicBezTo>
                    <a:cubicBezTo>
                      <a:pt x="108384" y="201327"/>
                      <a:pt x="115793" y="190840"/>
                      <a:pt x="116819" y="178700"/>
                    </a:cubicBezTo>
                    <a:cubicBezTo>
                      <a:pt x="116648" y="175332"/>
                      <a:pt x="117332" y="171975"/>
                      <a:pt x="118699" y="168897"/>
                    </a:cubicBezTo>
                    <a:cubicBezTo>
                      <a:pt x="122176" y="163197"/>
                      <a:pt x="130098" y="163824"/>
                      <a:pt x="136596" y="164964"/>
                    </a:cubicBezTo>
                    <a:lnTo>
                      <a:pt x="138135" y="175907"/>
                    </a:lnTo>
                    <a:cubicBezTo>
                      <a:pt x="148907" y="173171"/>
                      <a:pt x="162529" y="171347"/>
                      <a:pt x="169197" y="180239"/>
                    </a:cubicBezTo>
                    <a:cubicBezTo>
                      <a:pt x="172844" y="185944"/>
                      <a:pt x="173244" y="193137"/>
                      <a:pt x="170280" y="199218"/>
                    </a:cubicBezTo>
                    <a:cubicBezTo>
                      <a:pt x="167259" y="205157"/>
                      <a:pt x="163213" y="210520"/>
                      <a:pt x="158311" y="215063"/>
                    </a:cubicBezTo>
                    <a:cubicBezTo>
                      <a:pt x="153124" y="220762"/>
                      <a:pt x="147938" y="225834"/>
                      <a:pt x="142808" y="231249"/>
                    </a:cubicBezTo>
                    <a:cubicBezTo>
                      <a:pt x="139674" y="234834"/>
                      <a:pt x="136026" y="237912"/>
                      <a:pt x="131979" y="240368"/>
                    </a:cubicBezTo>
                    <a:cubicBezTo>
                      <a:pt x="128673" y="241651"/>
                      <a:pt x="125482" y="243315"/>
                      <a:pt x="122518" y="245327"/>
                    </a:cubicBezTo>
                    <a:cubicBezTo>
                      <a:pt x="117446" y="249715"/>
                      <a:pt x="116819" y="257638"/>
                      <a:pt x="112658" y="262767"/>
                    </a:cubicBezTo>
                    <a:cubicBezTo>
                      <a:pt x="108497" y="267897"/>
                      <a:pt x="98979" y="270234"/>
                      <a:pt x="97383" y="277244"/>
                    </a:cubicBezTo>
                    <a:cubicBezTo>
                      <a:pt x="96814" y="279637"/>
                      <a:pt x="97383" y="282145"/>
                      <a:pt x="96814" y="284539"/>
                    </a:cubicBezTo>
                    <a:cubicBezTo>
                      <a:pt x="95560" y="288164"/>
                      <a:pt x="93223" y="291287"/>
                      <a:pt x="90031" y="293430"/>
                    </a:cubicBezTo>
                    <a:cubicBezTo>
                      <a:pt x="84331" y="298446"/>
                      <a:pt x="78062" y="303462"/>
                      <a:pt x="72134" y="308534"/>
                    </a:cubicBezTo>
                    <a:cubicBezTo>
                      <a:pt x="57715" y="320674"/>
                      <a:pt x="41016" y="333612"/>
                      <a:pt x="22208" y="331731"/>
                    </a:cubicBezTo>
                    <a:cubicBezTo>
                      <a:pt x="10238" y="330477"/>
                      <a:pt x="-1959" y="320047"/>
                      <a:pt x="264" y="308192"/>
                    </a:cubicBezTo>
                    <a:cubicBezTo>
                      <a:pt x="2260" y="297762"/>
                      <a:pt x="13544" y="292290"/>
                      <a:pt x="23404" y="288415"/>
                    </a:cubicBezTo>
                    <a:cubicBezTo>
                      <a:pt x="19301" y="283741"/>
                      <a:pt x="23917" y="276218"/>
                      <a:pt x="29560" y="273767"/>
                    </a:cubicBezTo>
                    <a:cubicBezTo>
                      <a:pt x="35202" y="271316"/>
                      <a:pt x="41928" y="271316"/>
                      <a:pt x="47228" y="268068"/>
                    </a:cubicBezTo>
                    <a:cubicBezTo>
                      <a:pt x="55721" y="263052"/>
                      <a:pt x="57943" y="251653"/>
                      <a:pt x="65067" y="244757"/>
                    </a:cubicBezTo>
                    <a:cubicBezTo>
                      <a:pt x="69057" y="241565"/>
                      <a:pt x="73332" y="238738"/>
                      <a:pt x="77834" y="236322"/>
                    </a:cubicBezTo>
                    <a:close/>
                    <a:moveTo>
                      <a:pt x="178088" y="188047"/>
                    </a:moveTo>
                    <a:cubicBezTo>
                      <a:pt x="179855" y="192151"/>
                      <a:pt x="185668" y="191752"/>
                      <a:pt x="190000" y="190726"/>
                    </a:cubicBezTo>
                    <a:cubicBezTo>
                      <a:pt x="191254" y="186132"/>
                      <a:pt x="190741" y="181247"/>
                      <a:pt x="188632" y="176990"/>
                    </a:cubicBezTo>
                    <a:lnTo>
                      <a:pt x="183331" y="176021"/>
                    </a:lnTo>
                    <a:cubicBezTo>
                      <a:pt x="180767" y="179840"/>
                      <a:pt x="176264" y="183773"/>
                      <a:pt x="177917" y="187990"/>
                    </a:cubicBezTo>
                    <a:close/>
                    <a:moveTo>
                      <a:pt x="184357" y="70980"/>
                    </a:moveTo>
                    <a:cubicBezTo>
                      <a:pt x="184357" y="75881"/>
                      <a:pt x="178316" y="78446"/>
                      <a:pt x="175979" y="82721"/>
                    </a:cubicBezTo>
                    <a:cubicBezTo>
                      <a:pt x="171875" y="90301"/>
                      <a:pt x="179456" y="101187"/>
                      <a:pt x="173871" y="107741"/>
                    </a:cubicBezTo>
                    <a:cubicBezTo>
                      <a:pt x="170280" y="112073"/>
                      <a:pt x="163383" y="111332"/>
                      <a:pt x="158482" y="114068"/>
                    </a:cubicBezTo>
                    <a:cubicBezTo>
                      <a:pt x="152725" y="117699"/>
                      <a:pt x="151016" y="125307"/>
                      <a:pt x="154663" y="131052"/>
                    </a:cubicBezTo>
                    <a:cubicBezTo>
                      <a:pt x="154834" y="131366"/>
                      <a:pt x="155062" y="131668"/>
                      <a:pt x="155290" y="131964"/>
                    </a:cubicBezTo>
                    <a:lnTo>
                      <a:pt x="167886" y="132363"/>
                    </a:lnTo>
                    <a:cubicBezTo>
                      <a:pt x="169025" y="141682"/>
                      <a:pt x="176663" y="148869"/>
                      <a:pt x="186010" y="149462"/>
                    </a:cubicBezTo>
                    <a:cubicBezTo>
                      <a:pt x="189316" y="149462"/>
                      <a:pt x="193705" y="149462"/>
                      <a:pt x="194560" y="152596"/>
                    </a:cubicBezTo>
                    <a:cubicBezTo>
                      <a:pt x="195130" y="154534"/>
                      <a:pt x="193819" y="156700"/>
                      <a:pt x="194560" y="158581"/>
                    </a:cubicBezTo>
                    <a:cubicBezTo>
                      <a:pt x="195813" y="160462"/>
                      <a:pt x="198207" y="161186"/>
                      <a:pt x="200259" y="160290"/>
                    </a:cubicBezTo>
                    <a:cubicBezTo>
                      <a:pt x="207441" y="158182"/>
                      <a:pt x="209720" y="148891"/>
                      <a:pt x="209036" y="141710"/>
                    </a:cubicBezTo>
                    <a:cubicBezTo>
                      <a:pt x="208352" y="134529"/>
                      <a:pt x="205959" y="126607"/>
                      <a:pt x="208523" y="119596"/>
                    </a:cubicBezTo>
                    <a:cubicBezTo>
                      <a:pt x="219808" y="116775"/>
                      <a:pt x="230295" y="111520"/>
                      <a:pt x="239357" y="104208"/>
                    </a:cubicBezTo>
                    <a:cubicBezTo>
                      <a:pt x="241067" y="103045"/>
                      <a:pt x="242378" y="101426"/>
                      <a:pt x="243233" y="99534"/>
                    </a:cubicBezTo>
                    <a:cubicBezTo>
                      <a:pt x="244031" y="95362"/>
                      <a:pt x="241580" y="91264"/>
                      <a:pt x="237533" y="89959"/>
                    </a:cubicBezTo>
                    <a:cubicBezTo>
                      <a:pt x="233544" y="88842"/>
                      <a:pt x="229383" y="88323"/>
                      <a:pt x="225223" y="88420"/>
                    </a:cubicBezTo>
                    <a:cubicBezTo>
                      <a:pt x="221005" y="88455"/>
                      <a:pt x="217015" y="86483"/>
                      <a:pt x="214508" y="83120"/>
                    </a:cubicBezTo>
                    <a:cubicBezTo>
                      <a:pt x="213310" y="80544"/>
                      <a:pt x="212855" y="77683"/>
                      <a:pt x="213140" y="74855"/>
                    </a:cubicBezTo>
                    <a:lnTo>
                      <a:pt x="213140" y="61804"/>
                    </a:lnTo>
                    <a:cubicBezTo>
                      <a:pt x="213368" y="59643"/>
                      <a:pt x="212912" y="57467"/>
                      <a:pt x="211943" y="55534"/>
                    </a:cubicBezTo>
                    <a:cubicBezTo>
                      <a:pt x="210974" y="53671"/>
                      <a:pt x="208637" y="52953"/>
                      <a:pt x="206813" y="53933"/>
                    </a:cubicBezTo>
                    <a:cubicBezTo>
                      <a:pt x="206586" y="54035"/>
                      <a:pt x="206414" y="54149"/>
                      <a:pt x="206243" y="54280"/>
                    </a:cubicBezTo>
                    <a:cubicBezTo>
                      <a:pt x="206016" y="58675"/>
                      <a:pt x="204704" y="62944"/>
                      <a:pt x="202425" y="66705"/>
                    </a:cubicBezTo>
                    <a:lnTo>
                      <a:pt x="197637" y="66705"/>
                    </a:lnTo>
                    <a:cubicBezTo>
                      <a:pt x="197979" y="65189"/>
                      <a:pt x="197523" y="63605"/>
                      <a:pt x="196440" y="62488"/>
                    </a:cubicBezTo>
                    <a:cubicBezTo>
                      <a:pt x="191710" y="61120"/>
                      <a:pt x="185041" y="61006"/>
                      <a:pt x="183902" y="65850"/>
                    </a:cubicBezTo>
                    <a:cubicBezTo>
                      <a:pt x="183959" y="67589"/>
                      <a:pt x="184072" y="69321"/>
                      <a:pt x="184357" y="71037"/>
                    </a:cubicBezTo>
                    <a:close/>
                    <a:moveTo>
                      <a:pt x="138363" y="2073"/>
                    </a:moveTo>
                    <a:lnTo>
                      <a:pt x="146114" y="15353"/>
                    </a:lnTo>
                    <a:cubicBezTo>
                      <a:pt x="153694" y="28502"/>
                      <a:pt x="161331" y="41667"/>
                      <a:pt x="168912" y="54850"/>
                    </a:cubicBezTo>
                    <a:cubicBezTo>
                      <a:pt x="175352" y="56275"/>
                      <a:pt x="181337" y="49151"/>
                      <a:pt x="180881" y="42711"/>
                    </a:cubicBezTo>
                    <a:cubicBezTo>
                      <a:pt x="179570" y="36703"/>
                      <a:pt x="176891" y="31095"/>
                      <a:pt x="172958" y="26353"/>
                    </a:cubicBezTo>
                    <a:cubicBezTo>
                      <a:pt x="168798" y="19605"/>
                      <a:pt x="166005" y="12087"/>
                      <a:pt x="164751" y="4239"/>
                    </a:cubicBezTo>
                    <a:cubicBezTo>
                      <a:pt x="162472" y="-378"/>
                      <a:pt x="156031" y="-378"/>
                      <a:pt x="150902" y="3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2" name="Freihandform: Form 616">
                <a:extLst>
                  <a:ext uri="{FF2B5EF4-FFF2-40B4-BE49-F238E27FC236}">
                    <a16:creationId xmlns:a16="http://schemas.microsoft.com/office/drawing/2014/main" id="{B02FDBCA-E55B-5316-7FFC-F5344A822ECD}"/>
                  </a:ext>
                </a:extLst>
              </p:cNvPr>
              <p:cNvSpPr/>
              <p:nvPr/>
            </p:nvSpPr>
            <p:spPr>
              <a:xfrm>
                <a:off x="5240825" y="5520342"/>
                <a:ext cx="65090" cy="37113"/>
              </a:xfrm>
              <a:custGeom>
                <a:avLst/>
                <a:gdLst>
                  <a:gd name="connsiteX0" fmla="*/ 13808 w 65090"/>
                  <a:gd name="connsiteY0" fmla="*/ 31260 h 37113"/>
                  <a:gd name="connsiteX1" fmla="*/ 2922 w 65090"/>
                  <a:gd name="connsiteY1" fmla="*/ 24705 h 37113"/>
                  <a:gd name="connsiteX2" fmla="*/ 1098 w 65090"/>
                  <a:gd name="connsiteY2" fmla="*/ 12736 h 37113"/>
                  <a:gd name="connsiteX3" fmla="*/ 51539 w 65090"/>
                  <a:gd name="connsiteY3" fmla="*/ 4586 h 37113"/>
                  <a:gd name="connsiteX4" fmla="*/ 63735 w 65090"/>
                  <a:gd name="connsiteY4" fmla="*/ 16669 h 37113"/>
                  <a:gd name="connsiteX5" fmla="*/ 61114 w 65090"/>
                  <a:gd name="connsiteY5" fmla="*/ 32856 h 37113"/>
                  <a:gd name="connsiteX6" fmla="*/ 46352 w 65090"/>
                  <a:gd name="connsiteY6" fmla="*/ 37016 h 37113"/>
                  <a:gd name="connsiteX7" fmla="*/ 13808 w 65090"/>
                  <a:gd name="connsiteY7" fmla="*/ 31260 h 3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090" h="37113">
                    <a:moveTo>
                      <a:pt x="13808" y="31260"/>
                    </a:moveTo>
                    <a:cubicBezTo>
                      <a:pt x="9693" y="30006"/>
                      <a:pt x="5954" y="27754"/>
                      <a:pt x="2922" y="24705"/>
                    </a:cubicBezTo>
                    <a:cubicBezTo>
                      <a:pt x="-144" y="21496"/>
                      <a:pt x="-874" y="16715"/>
                      <a:pt x="1098" y="12736"/>
                    </a:cubicBezTo>
                    <a:cubicBezTo>
                      <a:pt x="14435" y="-498"/>
                      <a:pt x="34714" y="-3775"/>
                      <a:pt x="51539" y="4586"/>
                    </a:cubicBezTo>
                    <a:cubicBezTo>
                      <a:pt x="56850" y="7122"/>
                      <a:pt x="61148" y="11380"/>
                      <a:pt x="63735" y="16669"/>
                    </a:cubicBezTo>
                    <a:cubicBezTo>
                      <a:pt x="66249" y="22095"/>
                      <a:pt x="65206" y="28501"/>
                      <a:pt x="61114" y="32856"/>
                    </a:cubicBezTo>
                    <a:cubicBezTo>
                      <a:pt x="56885" y="36041"/>
                      <a:pt x="51618" y="37523"/>
                      <a:pt x="46352" y="37016"/>
                    </a:cubicBezTo>
                    <a:cubicBezTo>
                      <a:pt x="35255" y="36953"/>
                      <a:pt x="24249" y="35004"/>
                      <a:pt x="13808" y="3126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3" name="Freihandform: Form 617">
                <a:extLst>
                  <a:ext uri="{FF2B5EF4-FFF2-40B4-BE49-F238E27FC236}">
                    <a16:creationId xmlns:a16="http://schemas.microsoft.com/office/drawing/2014/main" id="{AC45E29F-D92D-8558-2CA7-7D74DAECFC08}"/>
                  </a:ext>
                </a:extLst>
              </p:cNvPr>
              <p:cNvSpPr/>
              <p:nvPr/>
            </p:nvSpPr>
            <p:spPr>
              <a:xfrm>
                <a:off x="6207209" y="4525956"/>
                <a:ext cx="876298" cy="834203"/>
              </a:xfrm>
              <a:custGeom>
                <a:avLst/>
                <a:gdLst>
                  <a:gd name="connsiteX0" fmla="*/ 60220 w 876298"/>
                  <a:gd name="connsiteY0" fmla="*/ 604170 h 834203"/>
                  <a:gd name="connsiteX1" fmla="*/ 42210 w 876298"/>
                  <a:gd name="connsiteY1" fmla="*/ 579206 h 834203"/>
                  <a:gd name="connsiteX2" fmla="*/ 36510 w 876298"/>
                  <a:gd name="connsiteY2" fmla="*/ 574304 h 834203"/>
                  <a:gd name="connsiteX3" fmla="*/ 41526 w 876298"/>
                  <a:gd name="connsiteY3" fmla="*/ 570771 h 834203"/>
                  <a:gd name="connsiteX4" fmla="*/ 55661 w 876298"/>
                  <a:gd name="connsiteY4" fmla="*/ 551791 h 834203"/>
                  <a:gd name="connsiteX5" fmla="*/ 53552 w 876298"/>
                  <a:gd name="connsiteY5" fmla="*/ 527113 h 834203"/>
                  <a:gd name="connsiteX6" fmla="*/ 62500 w 876298"/>
                  <a:gd name="connsiteY6" fmla="*/ 522325 h 834203"/>
                  <a:gd name="connsiteX7" fmla="*/ 56801 w 876298"/>
                  <a:gd name="connsiteY7" fmla="*/ 511268 h 834203"/>
                  <a:gd name="connsiteX8" fmla="*/ 49790 w 876298"/>
                  <a:gd name="connsiteY8" fmla="*/ 501009 h 834203"/>
                  <a:gd name="connsiteX9" fmla="*/ 47682 w 876298"/>
                  <a:gd name="connsiteY9" fmla="*/ 489610 h 834203"/>
                  <a:gd name="connsiteX10" fmla="*/ 40443 w 876298"/>
                  <a:gd name="connsiteY10" fmla="*/ 486134 h 834203"/>
                  <a:gd name="connsiteX11" fmla="*/ 32236 w 876298"/>
                  <a:gd name="connsiteY11" fmla="*/ 458377 h 834203"/>
                  <a:gd name="connsiteX12" fmla="*/ 31381 w 876298"/>
                  <a:gd name="connsiteY12" fmla="*/ 428056 h 834203"/>
                  <a:gd name="connsiteX13" fmla="*/ 24143 w 876298"/>
                  <a:gd name="connsiteY13" fmla="*/ 420761 h 834203"/>
                  <a:gd name="connsiteX14" fmla="*/ 10635 w 876298"/>
                  <a:gd name="connsiteY14" fmla="*/ 395341 h 834203"/>
                  <a:gd name="connsiteX15" fmla="*/ 8526 w 876298"/>
                  <a:gd name="connsiteY15" fmla="*/ 382688 h 834203"/>
                  <a:gd name="connsiteX16" fmla="*/ 17474 w 876298"/>
                  <a:gd name="connsiteY16" fmla="*/ 375108 h 834203"/>
                  <a:gd name="connsiteX17" fmla="*/ 23174 w 876298"/>
                  <a:gd name="connsiteY17" fmla="*/ 376875 h 834203"/>
                  <a:gd name="connsiteX18" fmla="*/ 30469 w 876298"/>
                  <a:gd name="connsiteY18" fmla="*/ 369978 h 834203"/>
                  <a:gd name="connsiteX19" fmla="*/ 19070 w 876298"/>
                  <a:gd name="connsiteY19" fmla="*/ 351740 h 834203"/>
                  <a:gd name="connsiteX20" fmla="*/ 1972 w 876298"/>
                  <a:gd name="connsiteY20" fmla="*/ 337263 h 834203"/>
                  <a:gd name="connsiteX21" fmla="*/ 18158 w 876298"/>
                  <a:gd name="connsiteY21" fmla="*/ 299419 h 834203"/>
                  <a:gd name="connsiteX22" fmla="*/ 51899 w 876298"/>
                  <a:gd name="connsiteY22" fmla="*/ 270922 h 834203"/>
                  <a:gd name="connsiteX23" fmla="*/ 102397 w 876298"/>
                  <a:gd name="connsiteY23" fmla="*/ 240714 h 834203"/>
                  <a:gd name="connsiteX24" fmla="*/ 116759 w 876298"/>
                  <a:gd name="connsiteY24" fmla="*/ 233020 h 834203"/>
                  <a:gd name="connsiteX25" fmla="*/ 150614 w 876298"/>
                  <a:gd name="connsiteY25" fmla="*/ 218657 h 834203"/>
                  <a:gd name="connsiteX26" fmla="*/ 166801 w 876298"/>
                  <a:gd name="connsiteY26" fmla="*/ 209709 h 834203"/>
                  <a:gd name="connsiteX27" fmla="*/ 168169 w 876298"/>
                  <a:gd name="connsiteY27" fmla="*/ 203041 h 834203"/>
                  <a:gd name="connsiteX28" fmla="*/ 176775 w 876298"/>
                  <a:gd name="connsiteY28" fmla="*/ 194663 h 834203"/>
                  <a:gd name="connsiteX29" fmla="*/ 202878 w 876298"/>
                  <a:gd name="connsiteY29" fmla="*/ 166735 h 834203"/>
                  <a:gd name="connsiteX30" fmla="*/ 199573 w 876298"/>
                  <a:gd name="connsiteY30" fmla="*/ 149124 h 834203"/>
                  <a:gd name="connsiteX31" fmla="*/ 208521 w 876298"/>
                  <a:gd name="connsiteY31" fmla="*/ 134590 h 834203"/>
                  <a:gd name="connsiteX32" fmla="*/ 221914 w 876298"/>
                  <a:gd name="connsiteY32" fmla="*/ 139959 h 834203"/>
                  <a:gd name="connsiteX33" fmla="*/ 222427 w 876298"/>
                  <a:gd name="connsiteY33" fmla="*/ 141486 h 834203"/>
                  <a:gd name="connsiteX34" fmla="*/ 222427 w 876298"/>
                  <a:gd name="connsiteY34" fmla="*/ 146217 h 834203"/>
                  <a:gd name="connsiteX35" fmla="*/ 231888 w 876298"/>
                  <a:gd name="connsiteY35" fmla="*/ 150919 h 834203"/>
                  <a:gd name="connsiteX36" fmla="*/ 236391 w 876298"/>
                  <a:gd name="connsiteY36" fmla="*/ 146730 h 834203"/>
                  <a:gd name="connsiteX37" fmla="*/ 231147 w 876298"/>
                  <a:gd name="connsiteY37" fmla="*/ 133621 h 834203"/>
                  <a:gd name="connsiteX38" fmla="*/ 231547 w 876298"/>
                  <a:gd name="connsiteY38" fmla="*/ 120741 h 834203"/>
                  <a:gd name="connsiteX39" fmla="*/ 239697 w 876298"/>
                  <a:gd name="connsiteY39" fmla="*/ 129290 h 834203"/>
                  <a:gd name="connsiteX40" fmla="*/ 250583 w 876298"/>
                  <a:gd name="connsiteY40" fmla="*/ 127922 h 834203"/>
                  <a:gd name="connsiteX41" fmla="*/ 247505 w 876298"/>
                  <a:gd name="connsiteY41" fmla="*/ 100621 h 834203"/>
                  <a:gd name="connsiteX42" fmla="*/ 262666 w 876298"/>
                  <a:gd name="connsiteY42" fmla="*/ 85324 h 834203"/>
                  <a:gd name="connsiteX43" fmla="*/ 262267 w 876298"/>
                  <a:gd name="connsiteY43" fmla="*/ 82041 h 834203"/>
                  <a:gd name="connsiteX44" fmla="*/ 283982 w 876298"/>
                  <a:gd name="connsiteY44" fmla="*/ 77709 h 834203"/>
                  <a:gd name="connsiteX45" fmla="*/ 315101 w 876298"/>
                  <a:gd name="connsiteY45" fmla="*/ 70243 h 834203"/>
                  <a:gd name="connsiteX46" fmla="*/ 329577 w 876298"/>
                  <a:gd name="connsiteY46" fmla="*/ 83124 h 834203"/>
                  <a:gd name="connsiteX47" fmla="*/ 334764 w 876298"/>
                  <a:gd name="connsiteY47" fmla="*/ 99196 h 834203"/>
                  <a:gd name="connsiteX48" fmla="*/ 344795 w 876298"/>
                  <a:gd name="connsiteY48" fmla="*/ 92608 h 834203"/>
                  <a:gd name="connsiteX49" fmla="*/ 344966 w 876298"/>
                  <a:gd name="connsiteY49" fmla="*/ 91445 h 834203"/>
                  <a:gd name="connsiteX50" fmla="*/ 368391 w 876298"/>
                  <a:gd name="connsiteY50" fmla="*/ 98854 h 834203"/>
                  <a:gd name="connsiteX51" fmla="*/ 367764 w 876298"/>
                  <a:gd name="connsiteY51" fmla="*/ 64658 h 834203"/>
                  <a:gd name="connsiteX52" fmla="*/ 385888 w 876298"/>
                  <a:gd name="connsiteY52" fmla="*/ 35362 h 834203"/>
                  <a:gd name="connsiteX53" fmla="*/ 424588 w 876298"/>
                  <a:gd name="connsiteY53" fmla="*/ 22880 h 834203"/>
                  <a:gd name="connsiteX54" fmla="*/ 418888 w 876298"/>
                  <a:gd name="connsiteY54" fmla="*/ 995 h 834203"/>
                  <a:gd name="connsiteX55" fmla="*/ 440774 w 876298"/>
                  <a:gd name="connsiteY55" fmla="*/ 17181 h 834203"/>
                  <a:gd name="connsiteX56" fmla="*/ 482494 w 876298"/>
                  <a:gd name="connsiteY56" fmla="*/ 34279 h 834203"/>
                  <a:gd name="connsiteX57" fmla="*/ 501189 w 876298"/>
                  <a:gd name="connsiteY57" fmla="*/ 24020 h 834203"/>
                  <a:gd name="connsiteX58" fmla="*/ 503924 w 876298"/>
                  <a:gd name="connsiteY58" fmla="*/ 33880 h 834203"/>
                  <a:gd name="connsiteX59" fmla="*/ 518059 w 876298"/>
                  <a:gd name="connsiteY59" fmla="*/ 24761 h 834203"/>
                  <a:gd name="connsiteX60" fmla="*/ 518914 w 876298"/>
                  <a:gd name="connsiteY60" fmla="*/ 44026 h 834203"/>
                  <a:gd name="connsiteX61" fmla="*/ 502899 w 876298"/>
                  <a:gd name="connsiteY61" fmla="*/ 48243 h 834203"/>
                  <a:gd name="connsiteX62" fmla="*/ 493266 w 876298"/>
                  <a:gd name="connsiteY62" fmla="*/ 59642 h 834203"/>
                  <a:gd name="connsiteX63" fmla="*/ 500847 w 876298"/>
                  <a:gd name="connsiteY63" fmla="*/ 77139 h 834203"/>
                  <a:gd name="connsiteX64" fmla="*/ 486370 w 876298"/>
                  <a:gd name="connsiteY64" fmla="*/ 84212 h 834203"/>
                  <a:gd name="connsiteX65" fmla="*/ 485800 w 876298"/>
                  <a:gd name="connsiteY65" fmla="*/ 86772 h 834203"/>
                  <a:gd name="connsiteX66" fmla="*/ 496800 w 876298"/>
                  <a:gd name="connsiteY66" fmla="*/ 90533 h 834203"/>
                  <a:gd name="connsiteX67" fmla="*/ 515722 w 876298"/>
                  <a:gd name="connsiteY67" fmla="*/ 109512 h 834203"/>
                  <a:gd name="connsiteX68" fmla="*/ 536012 w 876298"/>
                  <a:gd name="connsiteY68" fmla="*/ 127808 h 834203"/>
                  <a:gd name="connsiteX69" fmla="*/ 577219 w 876298"/>
                  <a:gd name="connsiteY69" fmla="*/ 151632 h 834203"/>
                  <a:gd name="connsiteX70" fmla="*/ 577619 w 876298"/>
                  <a:gd name="connsiteY70" fmla="*/ 160409 h 834203"/>
                  <a:gd name="connsiteX71" fmla="*/ 602582 w 876298"/>
                  <a:gd name="connsiteY71" fmla="*/ 162062 h 834203"/>
                  <a:gd name="connsiteX72" fmla="*/ 610789 w 876298"/>
                  <a:gd name="connsiteY72" fmla="*/ 143424 h 834203"/>
                  <a:gd name="connsiteX73" fmla="*/ 614266 w 876298"/>
                  <a:gd name="connsiteY73" fmla="*/ 132481 h 834203"/>
                  <a:gd name="connsiteX74" fmla="*/ 629370 w 876298"/>
                  <a:gd name="connsiteY74" fmla="*/ 50010 h 834203"/>
                  <a:gd name="connsiteX75" fmla="*/ 628914 w 876298"/>
                  <a:gd name="connsiteY75" fmla="*/ 29948 h 834203"/>
                  <a:gd name="connsiteX76" fmla="*/ 663566 w 876298"/>
                  <a:gd name="connsiteY76" fmla="*/ 61010 h 834203"/>
                  <a:gd name="connsiteX77" fmla="*/ 663566 w 876298"/>
                  <a:gd name="connsiteY77" fmla="*/ 76626 h 834203"/>
                  <a:gd name="connsiteX78" fmla="*/ 698847 w 876298"/>
                  <a:gd name="connsiteY78" fmla="*/ 90932 h 834203"/>
                  <a:gd name="connsiteX79" fmla="*/ 704147 w 876298"/>
                  <a:gd name="connsiteY79" fmla="*/ 125870 h 834203"/>
                  <a:gd name="connsiteX80" fmla="*/ 717199 w 876298"/>
                  <a:gd name="connsiteY80" fmla="*/ 143766 h 834203"/>
                  <a:gd name="connsiteX81" fmla="*/ 717597 w 876298"/>
                  <a:gd name="connsiteY81" fmla="*/ 156191 h 834203"/>
                  <a:gd name="connsiteX82" fmla="*/ 727971 w 876298"/>
                  <a:gd name="connsiteY82" fmla="*/ 191186 h 834203"/>
                  <a:gd name="connsiteX83" fmla="*/ 733670 w 876298"/>
                  <a:gd name="connsiteY83" fmla="*/ 196885 h 834203"/>
                  <a:gd name="connsiteX84" fmla="*/ 744385 w 876298"/>
                  <a:gd name="connsiteY84" fmla="*/ 201160 h 834203"/>
                  <a:gd name="connsiteX85" fmla="*/ 792033 w 876298"/>
                  <a:gd name="connsiteY85" fmla="*/ 263113 h 834203"/>
                  <a:gd name="connsiteX86" fmla="*/ 805541 w 876298"/>
                  <a:gd name="connsiteY86" fmla="*/ 280212 h 834203"/>
                  <a:gd name="connsiteX87" fmla="*/ 810898 w 876298"/>
                  <a:gd name="connsiteY87" fmla="*/ 278616 h 834203"/>
                  <a:gd name="connsiteX88" fmla="*/ 824805 w 876298"/>
                  <a:gd name="connsiteY88" fmla="*/ 289160 h 834203"/>
                  <a:gd name="connsiteX89" fmla="*/ 822810 w 876298"/>
                  <a:gd name="connsiteY89" fmla="*/ 308139 h 834203"/>
                  <a:gd name="connsiteX90" fmla="*/ 839909 w 876298"/>
                  <a:gd name="connsiteY90" fmla="*/ 315377 h 834203"/>
                  <a:gd name="connsiteX91" fmla="*/ 849597 w 876298"/>
                  <a:gd name="connsiteY91" fmla="*/ 332875 h 834203"/>
                  <a:gd name="connsiteX92" fmla="*/ 868520 w 876298"/>
                  <a:gd name="connsiteY92" fmla="*/ 359947 h 834203"/>
                  <a:gd name="connsiteX93" fmla="*/ 873307 w 876298"/>
                  <a:gd name="connsiteY93" fmla="*/ 446009 h 834203"/>
                  <a:gd name="connsiteX94" fmla="*/ 863105 w 876298"/>
                  <a:gd name="connsiteY94" fmla="*/ 537999 h 834203"/>
                  <a:gd name="connsiteX95" fmla="*/ 844810 w 876298"/>
                  <a:gd name="connsiteY95" fmla="*/ 550937 h 834203"/>
                  <a:gd name="connsiteX96" fmla="*/ 831644 w 876298"/>
                  <a:gd name="connsiteY96" fmla="*/ 570771 h 834203"/>
                  <a:gd name="connsiteX97" fmla="*/ 823779 w 876298"/>
                  <a:gd name="connsiteY97" fmla="*/ 589123 h 834203"/>
                  <a:gd name="connsiteX98" fmla="*/ 811468 w 876298"/>
                  <a:gd name="connsiteY98" fmla="*/ 620470 h 834203"/>
                  <a:gd name="connsiteX99" fmla="*/ 802748 w 876298"/>
                  <a:gd name="connsiteY99" fmla="*/ 674330 h 834203"/>
                  <a:gd name="connsiteX100" fmla="*/ 751053 w 876298"/>
                  <a:gd name="connsiteY100" fmla="*/ 693822 h 834203"/>
                  <a:gd name="connsiteX101" fmla="*/ 730364 w 876298"/>
                  <a:gd name="connsiteY101" fmla="*/ 707558 h 834203"/>
                  <a:gd name="connsiteX102" fmla="*/ 697763 w 876298"/>
                  <a:gd name="connsiteY102" fmla="*/ 683620 h 834203"/>
                  <a:gd name="connsiteX103" fmla="*/ 680665 w 876298"/>
                  <a:gd name="connsiteY103" fmla="*/ 696330 h 834203"/>
                  <a:gd name="connsiteX104" fmla="*/ 662883 w 876298"/>
                  <a:gd name="connsiteY104" fmla="*/ 706589 h 834203"/>
                  <a:gd name="connsiteX105" fmla="*/ 653194 w 876298"/>
                  <a:gd name="connsiteY105" fmla="*/ 689035 h 834203"/>
                  <a:gd name="connsiteX106" fmla="*/ 626919 w 876298"/>
                  <a:gd name="connsiteY106" fmla="*/ 672563 h 834203"/>
                  <a:gd name="connsiteX107" fmla="*/ 621904 w 876298"/>
                  <a:gd name="connsiteY107" fmla="*/ 664470 h 834203"/>
                  <a:gd name="connsiteX108" fmla="*/ 599733 w 876298"/>
                  <a:gd name="connsiteY108" fmla="*/ 658771 h 834203"/>
                  <a:gd name="connsiteX109" fmla="*/ 593235 w 876298"/>
                  <a:gd name="connsiteY109" fmla="*/ 649595 h 834203"/>
                  <a:gd name="connsiteX110" fmla="*/ 584800 w 876298"/>
                  <a:gd name="connsiteY110" fmla="*/ 649196 h 834203"/>
                  <a:gd name="connsiteX111" fmla="*/ 572204 w 876298"/>
                  <a:gd name="connsiteY111" fmla="*/ 621040 h 834203"/>
                  <a:gd name="connsiteX112" fmla="*/ 561774 w 876298"/>
                  <a:gd name="connsiteY112" fmla="*/ 615341 h 834203"/>
                  <a:gd name="connsiteX113" fmla="*/ 550375 w 876298"/>
                  <a:gd name="connsiteY113" fmla="*/ 582569 h 834203"/>
                  <a:gd name="connsiteX114" fmla="*/ 525297 w 876298"/>
                  <a:gd name="connsiteY114" fmla="*/ 607418 h 834203"/>
                  <a:gd name="connsiteX115" fmla="*/ 528774 w 876298"/>
                  <a:gd name="connsiteY115" fmla="*/ 580745 h 834203"/>
                  <a:gd name="connsiteX116" fmla="*/ 544049 w 876298"/>
                  <a:gd name="connsiteY116" fmla="*/ 556066 h 834203"/>
                  <a:gd name="connsiteX117" fmla="*/ 542168 w 876298"/>
                  <a:gd name="connsiteY117" fmla="*/ 549512 h 834203"/>
                  <a:gd name="connsiteX118" fmla="*/ 526722 w 876298"/>
                  <a:gd name="connsiteY118" fmla="*/ 553160 h 834203"/>
                  <a:gd name="connsiteX119" fmla="*/ 509624 w 876298"/>
                  <a:gd name="connsiteY119" fmla="*/ 578522 h 834203"/>
                  <a:gd name="connsiteX120" fmla="*/ 484033 w 876298"/>
                  <a:gd name="connsiteY120" fmla="*/ 592885 h 834203"/>
                  <a:gd name="connsiteX121" fmla="*/ 459412 w 876298"/>
                  <a:gd name="connsiteY121" fmla="*/ 543128 h 834203"/>
                  <a:gd name="connsiteX122" fmla="*/ 450862 w 876298"/>
                  <a:gd name="connsiteY122" fmla="*/ 531729 h 834203"/>
                  <a:gd name="connsiteX123" fmla="*/ 431883 w 876298"/>
                  <a:gd name="connsiteY123" fmla="*/ 521299 h 834203"/>
                  <a:gd name="connsiteX124" fmla="*/ 368391 w 876298"/>
                  <a:gd name="connsiteY124" fmla="*/ 508989 h 834203"/>
                  <a:gd name="connsiteX125" fmla="*/ 301308 w 876298"/>
                  <a:gd name="connsiteY125" fmla="*/ 529906 h 834203"/>
                  <a:gd name="connsiteX126" fmla="*/ 260728 w 876298"/>
                  <a:gd name="connsiteY126" fmla="*/ 519704 h 834203"/>
                  <a:gd name="connsiteX127" fmla="*/ 237531 w 876298"/>
                  <a:gd name="connsiteY127" fmla="*/ 522895 h 834203"/>
                  <a:gd name="connsiteX128" fmla="*/ 188573 w 876298"/>
                  <a:gd name="connsiteY128" fmla="*/ 547745 h 834203"/>
                  <a:gd name="connsiteX129" fmla="*/ 60220 w 876298"/>
                  <a:gd name="connsiteY129" fmla="*/ 604170 h 834203"/>
                  <a:gd name="connsiteX130" fmla="*/ 522562 w 876298"/>
                  <a:gd name="connsiteY130" fmla="*/ 615568 h 834203"/>
                  <a:gd name="connsiteX131" fmla="*/ 509567 w 876298"/>
                  <a:gd name="connsiteY131" fmla="*/ 629076 h 834203"/>
                  <a:gd name="connsiteX132" fmla="*/ 510821 w 876298"/>
                  <a:gd name="connsiteY132" fmla="*/ 633408 h 834203"/>
                  <a:gd name="connsiteX133" fmla="*/ 523074 w 876298"/>
                  <a:gd name="connsiteY133" fmla="*/ 637512 h 834203"/>
                  <a:gd name="connsiteX134" fmla="*/ 533903 w 876298"/>
                  <a:gd name="connsiteY134" fmla="*/ 635574 h 834203"/>
                  <a:gd name="connsiteX135" fmla="*/ 538292 w 876298"/>
                  <a:gd name="connsiteY135" fmla="*/ 626341 h 834203"/>
                  <a:gd name="connsiteX136" fmla="*/ 536696 w 876298"/>
                  <a:gd name="connsiteY136" fmla="*/ 623776 h 834203"/>
                  <a:gd name="connsiteX137" fmla="*/ 522562 w 876298"/>
                  <a:gd name="connsiteY137" fmla="*/ 615683 h 834203"/>
                  <a:gd name="connsiteX138" fmla="*/ 714463 w 876298"/>
                  <a:gd name="connsiteY138" fmla="*/ 758055 h 834203"/>
                  <a:gd name="connsiteX139" fmla="*/ 704204 w 876298"/>
                  <a:gd name="connsiteY139" fmla="*/ 756972 h 834203"/>
                  <a:gd name="connsiteX140" fmla="*/ 693660 w 876298"/>
                  <a:gd name="connsiteY140" fmla="*/ 764211 h 834203"/>
                  <a:gd name="connsiteX141" fmla="*/ 700727 w 876298"/>
                  <a:gd name="connsiteY141" fmla="*/ 772190 h 834203"/>
                  <a:gd name="connsiteX142" fmla="*/ 719365 w 876298"/>
                  <a:gd name="connsiteY142" fmla="*/ 797211 h 834203"/>
                  <a:gd name="connsiteX143" fmla="*/ 728085 w 876298"/>
                  <a:gd name="connsiteY143" fmla="*/ 823485 h 834203"/>
                  <a:gd name="connsiteX144" fmla="*/ 732701 w 876298"/>
                  <a:gd name="connsiteY144" fmla="*/ 833802 h 834203"/>
                  <a:gd name="connsiteX145" fmla="*/ 738401 w 876298"/>
                  <a:gd name="connsiteY145" fmla="*/ 833802 h 834203"/>
                  <a:gd name="connsiteX146" fmla="*/ 761199 w 876298"/>
                  <a:gd name="connsiteY146" fmla="*/ 830610 h 834203"/>
                  <a:gd name="connsiteX147" fmla="*/ 762966 w 876298"/>
                  <a:gd name="connsiteY147" fmla="*/ 814309 h 834203"/>
                  <a:gd name="connsiteX148" fmla="*/ 763991 w 876298"/>
                  <a:gd name="connsiteY148" fmla="*/ 810491 h 834203"/>
                  <a:gd name="connsiteX149" fmla="*/ 767696 w 876298"/>
                  <a:gd name="connsiteY149" fmla="*/ 807584 h 834203"/>
                  <a:gd name="connsiteX150" fmla="*/ 774365 w 876298"/>
                  <a:gd name="connsiteY150" fmla="*/ 788092 h 834203"/>
                  <a:gd name="connsiteX151" fmla="*/ 771287 w 876298"/>
                  <a:gd name="connsiteY151" fmla="*/ 781195 h 834203"/>
                  <a:gd name="connsiteX152" fmla="*/ 769748 w 876298"/>
                  <a:gd name="connsiteY152" fmla="*/ 767345 h 834203"/>
                  <a:gd name="connsiteX153" fmla="*/ 763535 w 876298"/>
                  <a:gd name="connsiteY153" fmla="*/ 755434 h 834203"/>
                  <a:gd name="connsiteX154" fmla="*/ 745753 w 876298"/>
                  <a:gd name="connsiteY154" fmla="*/ 760791 h 834203"/>
                  <a:gd name="connsiteX155" fmla="*/ 728312 w 876298"/>
                  <a:gd name="connsiteY155" fmla="*/ 767916 h 834203"/>
                  <a:gd name="connsiteX156" fmla="*/ 714463 w 876298"/>
                  <a:gd name="connsiteY156" fmla="*/ 758169 h 834203"/>
                  <a:gd name="connsiteX157" fmla="*/ 378194 w 876298"/>
                  <a:gd name="connsiteY157" fmla="*/ 9487 h 834203"/>
                  <a:gd name="connsiteX158" fmla="*/ 372495 w 876298"/>
                  <a:gd name="connsiteY158" fmla="*/ 12108 h 834203"/>
                  <a:gd name="connsiteX159" fmla="*/ 370670 w 876298"/>
                  <a:gd name="connsiteY159" fmla="*/ 17808 h 834203"/>
                  <a:gd name="connsiteX160" fmla="*/ 386231 w 876298"/>
                  <a:gd name="connsiteY160" fmla="*/ 20544 h 834203"/>
                  <a:gd name="connsiteX161" fmla="*/ 397002 w 876298"/>
                  <a:gd name="connsiteY161" fmla="*/ 16212 h 834203"/>
                  <a:gd name="connsiteX162" fmla="*/ 394950 w 876298"/>
                  <a:gd name="connsiteY162" fmla="*/ 11254 h 834203"/>
                  <a:gd name="connsiteX163" fmla="*/ 385318 w 876298"/>
                  <a:gd name="connsiteY163" fmla="*/ 8062 h 834203"/>
                  <a:gd name="connsiteX164" fmla="*/ 378023 w 876298"/>
                  <a:gd name="connsiteY164" fmla="*/ 9601 h 834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876298" h="834203">
                    <a:moveTo>
                      <a:pt x="60220" y="604170"/>
                    </a:moveTo>
                    <a:cubicBezTo>
                      <a:pt x="60106" y="592873"/>
                      <a:pt x="52868" y="582877"/>
                      <a:pt x="42210" y="579206"/>
                    </a:cubicBezTo>
                    <a:cubicBezTo>
                      <a:pt x="39645" y="578351"/>
                      <a:pt x="36510" y="576983"/>
                      <a:pt x="36510" y="574304"/>
                    </a:cubicBezTo>
                    <a:cubicBezTo>
                      <a:pt x="36510" y="571626"/>
                      <a:pt x="39474" y="571455"/>
                      <a:pt x="41526" y="570771"/>
                    </a:cubicBezTo>
                    <a:cubicBezTo>
                      <a:pt x="49334" y="567482"/>
                      <a:pt x="54749" y="560215"/>
                      <a:pt x="55661" y="551791"/>
                    </a:cubicBezTo>
                    <a:cubicBezTo>
                      <a:pt x="56458" y="543504"/>
                      <a:pt x="55775" y="535143"/>
                      <a:pt x="53552" y="527113"/>
                    </a:cubicBezTo>
                    <a:cubicBezTo>
                      <a:pt x="56630" y="530020"/>
                      <a:pt x="62101" y="526486"/>
                      <a:pt x="62500" y="522325"/>
                    </a:cubicBezTo>
                    <a:cubicBezTo>
                      <a:pt x="62215" y="517999"/>
                      <a:pt x="60163" y="513987"/>
                      <a:pt x="56801" y="511268"/>
                    </a:cubicBezTo>
                    <a:cubicBezTo>
                      <a:pt x="53552" y="508550"/>
                      <a:pt x="51158" y="505004"/>
                      <a:pt x="49790" y="501009"/>
                    </a:cubicBezTo>
                    <a:cubicBezTo>
                      <a:pt x="48992" y="497191"/>
                      <a:pt x="50246" y="492688"/>
                      <a:pt x="47682" y="489610"/>
                    </a:cubicBezTo>
                    <a:cubicBezTo>
                      <a:pt x="45573" y="487906"/>
                      <a:pt x="43065" y="486715"/>
                      <a:pt x="40443" y="486134"/>
                    </a:cubicBezTo>
                    <a:cubicBezTo>
                      <a:pt x="30868" y="481916"/>
                      <a:pt x="30127" y="468636"/>
                      <a:pt x="32236" y="458377"/>
                    </a:cubicBezTo>
                    <a:cubicBezTo>
                      <a:pt x="34344" y="448118"/>
                      <a:pt x="37536" y="436491"/>
                      <a:pt x="31381" y="428056"/>
                    </a:cubicBezTo>
                    <a:cubicBezTo>
                      <a:pt x="29158" y="425446"/>
                      <a:pt x="26764" y="423006"/>
                      <a:pt x="24143" y="420761"/>
                    </a:cubicBezTo>
                    <a:cubicBezTo>
                      <a:pt x="17817" y="413385"/>
                      <a:pt x="13200" y="404705"/>
                      <a:pt x="10635" y="395341"/>
                    </a:cubicBezTo>
                    <a:cubicBezTo>
                      <a:pt x="8868" y="391374"/>
                      <a:pt x="8127" y="387020"/>
                      <a:pt x="8526" y="382688"/>
                    </a:cubicBezTo>
                    <a:cubicBezTo>
                      <a:pt x="9096" y="378220"/>
                      <a:pt x="12971" y="374925"/>
                      <a:pt x="17474" y="375108"/>
                    </a:cubicBezTo>
                    <a:cubicBezTo>
                      <a:pt x="19469" y="375450"/>
                      <a:pt x="21179" y="376704"/>
                      <a:pt x="23174" y="376875"/>
                    </a:cubicBezTo>
                    <a:cubicBezTo>
                      <a:pt x="26993" y="376744"/>
                      <a:pt x="30127" y="373791"/>
                      <a:pt x="30469" y="369978"/>
                    </a:cubicBezTo>
                    <a:cubicBezTo>
                      <a:pt x="31609" y="362512"/>
                      <a:pt x="25397" y="355901"/>
                      <a:pt x="19070" y="351740"/>
                    </a:cubicBezTo>
                    <a:cubicBezTo>
                      <a:pt x="12744" y="347579"/>
                      <a:pt x="5334" y="343989"/>
                      <a:pt x="1972" y="337263"/>
                    </a:cubicBezTo>
                    <a:cubicBezTo>
                      <a:pt x="-4811" y="324098"/>
                      <a:pt x="7216" y="309393"/>
                      <a:pt x="18158" y="299419"/>
                    </a:cubicBezTo>
                    <a:cubicBezTo>
                      <a:pt x="28930" y="289354"/>
                      <a:pt x="40158" y="279841"/>
                      <a:pt x="51899" y="270922"/>
                    </a:cubicBezTo>
                    <a:cubicBezTo>
                      <a:pt x="68029" y="259711"/>
                      <a:pt x="84899" y="249617"/>
                      <a:pt x="102397" y="240714"/>
                    </a:cubicBezTo>
                    <a:lnTo>
                      <a:pt x="116759" y="233020"/>
                    </a:lnTo>
                    <a:cubicBezTo>
                      <a:pt x="127303" y="226688"/>
                      <a:pt x="138702" y="221855"/>
                      <a:pt x="150614" y="218657"/>
                    </a:cubicBezTo>
                    <a:cubicBezTo>
                      <a:pt x="156940" y="217233"/>
                      <a:pt x="164635" y="215808"/>
                      <a:pt x="166801" y="209709"/>
                    </a:cubicBezTo>
                    <a:cubicBezTo>
                      <a:pt x="167541" y="207600"/>
                      <a:pt x="167428" y="205206"/>
                      <a:pt x="168169" y="203041"/>
                    </a:cubicBezTo>
                    <a:cubicBezTo>
                      <a:pt x="170106" y="199410"/>
                      <a:pt x="173070" y="196475"/>
                      <a:pt x="176775" y="194663"/>
                    </a:cubicBezTo>
                    <a:cubicBezTo>
                      <a:pt x="187546" y="187533"/>
                      <a:pt x="196495" y="177969"/>
                      <a:pt x="202878" y="166735"/>
                    </a:cubicBezTo>
                    <a:cubicBezTo>
                      <a:pt x="200712" y="161116"/>
                      <a:pt x="199573" y="155148"/>
                      <a:pt x="199573" y="149124"/>
                    </a:cubicBezTo>
                    <a:cubicBezTo>
                      <a:pt x="199629" y="142997"/>
                      <a:pt x="203049" y="137400"/>
                      <a:pt x="208521" y="134590"/>
                    </a:cubicBezTo>
                    <a:cubicBezTo>
                      <a:pt x="213707" y="132373"/>
                      <a:pt x="219691" y="134778"/>
                      <a:pt x="221914" y="139959"/>
                    </a:cubicBezTo>
                    <a:cubicBezTo>
                      <a:pt x="222143" y="140455"/>
                      <a:pt x="222314" y="140962"/>
                      <a:pt x="222427" y="141486"/>
                    </a:cubicBezTo>
                    <a:cubicBezTo>
                      <a:pt x="222427" y="143082"/>
                      <a:pt x="222427" y="144678"/>
                      <a:pt x="222427" y="146217"/>
                    </a:cubicBezTo>
                    <a:cubicBezTo>
                      <a:pt x="223739" y="150127"/>
                      <a:pt x="227956" y="152230"/>
                      <a:pt x="231888" y="150919"/>
                    </a:cubicBezTo>
                    <a:cubicBezTo>
                      <a:pt x="233940" y="150235"/>
                      <a:pt x="235536" y="148713"/>
                      <a:pt x="236391" y="146730"/>
                    </a:cubicBezTo>
                    <a:cubicBezTo>
                      <a:pt x="237531" y="141999"/>
                      <a:pt x="233826" y="137668"/>
                      <a:pt x="231147" y="133621"/>
                    </a:cubicBezTo>
                    <a:cubicBezTo>
                      <a:pt x="228469" y="129575"/>
                      <a:pt x="227272" y="123077"/>
                      <a:pt x="231547" y="120741"/>
                    </a:cubicBezTo>
                    <a:cubicBezTo>
                      <a:pt x="233599" y="124177"/>
                      <a:pt x="236334" y="127101"/>
                      <a:pt x="239697" y="129290"/>
                    </a:cubicBezTo>
                    <a:cubicBezTo>
                      <a:pt x="243230" y="131416"/>
                      <a:pt x="247733" y="130851"/>
                      <a:pt x="250583" y="127922"/>
                    </a:cubicBezTo>
                    <a:cubicBezTo>
                      <a:pt x="256568" y="120342"/>
                      <a:pt x="241862" y="108487"/>
                      <a:pt x="247505" y="100621"/>
                    </a:cubicBezTo>
                    <a:cubicBezTo>
                      <a:pt x="255883" y="100576"/>
                      <a:pt x="262666" y="93731"/>
                      <a:pt x="262666" y="85324"/>
                    </a:cubicBezTo>
                    <a:cubicBezTo>
                      <a:pt x="262609" y="84218"/>
                      <a:pt x="262495" y="83118"/>
                      <a:pt x="262267" y="82041"/>
                    </a:cubicBezTo>
                    <a:cubicBezTo>
                      <a:pt x="269790" y="84110"/>
                      <a:pt x="277827" y="82503"/>
                      <a:pt x="283982" y="77709"/>
                    </a:cubicBezTo>
                    <a:cubicBezTo>
                      <a:pt x="292759" y="70699"/>
                      <a:pt x="306210" y="63461"/>
                      <a:pt x="315101" y="70243"/>
                    </a:cubicBezTo>
                    <a:cubicBezTo>
                      <a:pt x="315671" y="77732"/>
                      <a:pt x="322054" y="83420"/>
                      <a:pt x="329577" y="83124"/>
                    </a:cubicBezTo>
                    <a:cubicBezTo>
                      <a:pt x="329179" y="88949"/>
                      <a:pt x="331059" y="94699"/>
                      <a:pt x="334764" y="99196"/>
                    </a:cubicBezTo>
                    <a:cubicBezTo>
                      <a:pt x="339380" y="100148"/>
                      <a:pt x="343826" y="97202"/>
                      <a:pt x="344795" y="92608"/>
                    </a:cubicBezTo>
                    <a:cubicBezTo>
                      <a:pt x="344909" y="92226"/>
                      <a:pt x="344966" y="91838"/>
                      <a:pt x="344966" y="91445"/>
                    </a:cubicBezTo>
                    <a:lnTo>
                      <a:pt x="368391" y="98854"/>
                    </a:lnTo>
                    <a:cubicBezTo>
                      <a:pt x="358473" y="91559"/>
                      <a:pt x="362692" y="76057"/>
                      <a:pt x="367764" y="64658"/>
                    </a:cubicBezTo>
                    <a:cubicBezTo>
                      <a:pt x="371925" y="53857"/>
                      <a:pt x="378080" y="43928"/>
                      <a:pt x="385888" y="35362"/>
                    </a:cubicBezTo>
                    <a:cubicBezTo>
                      <a:pt x="396205" y="25542"/>
                      <a:pt x="410453" y="20954"/>
                      <a:pt x="424588" y="22880"/>
                    </a:cubicBezTo>
                    <a:cubicBezTo>
                      <a:pt x="426526" y="15089"/>
                      <a:pt x="424417" y="6842"/>
                      <a:pt x="418888" y="995"/>
                    </a:cubicBezTo>
                    <a:cubicBezTo>
                      <a:pt x="428634" y="-3223"/>
                      <a:pt x="439862" y="6694"/>
                      <a:pt x="440774" y="17181"/>
                    </a:cubicBezTo>
                    <a:cubicBezTo>
                      <a:pt x="456961" y="12889"/>
                      <a:pt x="474002" y="19877"/>
                      <a:pt x="482494" y="34279"/>
                    </a:cubicBezTo>
                    <a:lnTo>
                      <a:pt x="501189" y="24020"/>
                    </a:lnTo>
                    <a:cubicBezTo>
                      <a:pt x="500733" y="27542"/>
                      <a:pt x="501758" y="31088"/>
                      <a:pt x="503924" y="33880"/>
                    </a:cubicBezTo>
                    <a:cubicBezTo>
                      <a:pt x="506432" y="28335"/>
                      <a:pt x="511961" y="24773"/>
                      <a:pt x="518059" y="24761"/>
                    </a:cubicBezTo>
                    <a:lnTo>
                      <a:pt x="518914" y="44026"/>
                    </a:lnTo>
                    <a:cubicBezTo>
                      <a:pt x="513784" y="46163"/>
                      <a:pt x="508427" y="47582"/>
                      <a:pt x="502899" y="48243"/>
                    </a:cubicBezTo>
                    <a:cubicBezTo>
                      <a:pt x="497541" y="49668"/>
                      <a:pt x="492012" y="54342"/>
                      <a:pt x="493266" y="59642"/>
                    </a:cubicBezTo>
                    <a:cubicBezTo>
                      <a:pt x="494805" y="66424"/>
                      <a:pt x="505805" y="72295"/>
                      <a:pt x="500847" y="77139"/>
                    </a:cubicBezTo>
                    <a:cubicBezTo>
                      <a:pt x="494919" y="75093"/>
                      <a:pt x="488422" y="78262"/>
                      <a:pt x="486370" y="84212"/>
                    </a:cubicBezTo>
                    <a:cubicBezTo>
                      <a:pt x="486085" y="85045"/>
                      <a:pt x="485914" y="85899"/>
                      <a:pt x="485800" y="86772"/>
                    </a:cubicBezTo>
                    <a:lnTo>
                      <a:pt x="496800" y="90533"/>
                    </a:lnTo>
                    <a:cubicBezTo>
                      <a:pt x="493096" y="100051"/>
                      <a:pt x="505748" y="107290"/>
                      <a:pt x="515722" y="109512"/>
                    </a:cubicBezTo>
                    <a:cubicBezTo>
                      <a:pt x="525697" y="111735"/>
                      <a:pt x="538520" y="117891"/>
                      <a:pt x="536012" y="127808"/>
                    </a:cubicBezTo>
                    <a:cubicBezTo>
                      <a:pt x="551173" y="132926"/>
                      <a:pt x="565194" y="141031"/>
                      <a:pt x="577219" y="151632"/>
                    </a:cubicBezTo>
                    <a:lnTo>
                      <a:pt x="577619" y="160409"/>
                    </a:lnTo>
                    <a:lnTo>
                      <a:pt x="602582" y="162062"/>
                    </a:lnTo>
                    <a:cubicBezTo>
                      <a:pt x="597908" y="156362"/>
                      <a:pt x="606743" y="149637"/>
                      <a:pt x="610789" y="143424"/>
                    </a:cubicBezTo>
                    <a:cubicBezTo>
                      <a:pt x="612614" y="140033"/>
                      <a:pt x="613810" y="136317"/>
                      <a:pt x="614266" y="132481"/>
                    </a:cubicBezTo>
                    <a:cubicBezTo>
                      <a:pt x="619281" y="105010"/>
                      <a:pt x="624297" y="77521"/>
                      <a:pt x="629370" y="50010"/>
                    </a:cubicBezTo>
                    <a:cubicBezTo>
                      <a:pt x="631251" y="43433"/>
                      <a:pt x="631137" y="36428"/>
                      <a:pt x="628914" y="29948"/>
                    </a:cubicBezTo>
                    <a:cubicBezTo>
                      <a:pt x="644702" y="35248"/>
                      <a:pt x="663452" y="44425"/>
                      <a:pt x="663566" y="61010"/>
                    </a:cubicBezTo>
                    <a:cubicBezTo>
                      <a:pt x="663566" y="66310"/>
                      <a:pt x="661629" y="71782"/>
                      <a:pt x="663566" y="76626"/>
                    </a:cubicBezTo>
                    <a:cubicBezTo>
                      <a:pt x="668753" y="88823"/>
                      <a:pt x="689784" y="81300"/>
                      <a:pt x="698847" y="90932"/>
                    </a:cubicBezTo>
                    <a:cubicBezTo>
                      <a:pt x="707909" y="100564"/>
                      <a:pt x="698847" y="114927"/>
                      <a:pt x="704147" y="125870"/>
                    </a:cubicBezTo>
                    <a:cubicBezTo>
                      <a:pt x="707282" y="132652"/>
                      <a:pt x="714976" y="136699"/>
                      <a:pt x="717199" y="143766"/>
                    </a:cubicBezTo>
                    <a:cubicBezTo>
                      <a:pt x="718111" y="147847"/>
                      <a:pt x="718225" y="152059"/>
                      <a:pt x="717597" y="156191"/>
                    </a:cubicBezTo>
                    <a:cubicBezTo>
                      <a:pt x="716971" y="168696"/>
                      <a:pt x="720675" y="181029"/>
                      <a:pt x="727971" y="191186"/>
                    </a:cubicBezTo>
                    <a:cubicBezTo>
                      <a:pt x="729510" y="193403"/>
                      <a:pt x="731447" y="195329"/>
                      <a:pt x="733670" y="196885"/>
                    </a:cubicBezTo>
                    <a:cubicBezTo>
                      <a:pt x="737033" y="198823"/>
                      <a:pt x="740623" y="200259"/>
                      <a:pt x="744385" y="201160"/>
                    </a:cubicBezTo>
                    <a:cubicBezTo>
                      <a:pt x="770260" y="209823"/>
                      <a:pt x="786505" y="236383"/>
                      <a:pt x="792033" y="263113"/>
                    </a:cubicBezTo>
                    <a:cubicBezTo>
                      <a:pt x="793686" y="271036"/>
                      <a:pt x="797732" y="281522"/>
                      <a:pt x="805541" y="280212"/>
                    </a:cubicBezTo>
                    <a:cubicBezTo>
                      <a:pt x="807364" y="280212"/>
                      <a:pt x="809074" y="279015"/>
                      <a:pt x="810898" y="278616"/>
                    </a:cubicBezTo>
                    <a:cubicBezTo>
                      <a:pt x="817566" y="278086"/>
                      <a:pt x="823494" y="282622"/>
                      <a:pt x="824805" y="289160"/>
                    </a:cubicBezTo>
                    <a:cubicBezTo>
                      <a:pt x="825774" y="295555"/>
                      <a:pt x="825090" y="302086"/>
                      <a:pt x="822810" y="308139"/>
                    </a:cubicBezTo>
                    <a:lnTo>
                      <a:pt x="839909" y="315377"/>
                    </a:lnTo>
                    <a:cubicBezTo>
                      <a:pt x="837116" y="321989"/>
                      <a:pt x="844183" y="328201"/>
                      <a:pt x="849597" y="332875"/>
                    </a:cubicBezTo>
                    <a:cubicBezTo>
                      <a:pt x="857918" y="340301"/>
                      <a:pt x="864416" y="349569"/>
                      <a:pt x="868520" y="359947"/>
                    </a:cubicBezTo>
                    <a:cubicBezTo>
                      <a:pt x="879577" y="386792"/>
                      <a:pt x="876556" y="416942"/>
                      <a:pt x="873307" y="446009"/>
                    </a:cubicBezTo>
                    <a:cubicBezTo>
                      <a:pt x="869888" y="476672"/>
                      <a:pt x="866468" y="507336"/>
                      <a:pt x="863105" y="537999"/>
                    </a:cubicBezTo>
                    <a:cubicBezTo>
                      <a:pt x="854841" y="537868"/>
                      <a:pt x="847432" y="543100"/>
                      <a:pt x="844810" y="550937"/>
                    </a:cubicBezTo>
                    <a:cubicBezTo>
                      <a:pt x="842530" y="558403"/>
                      <a:pt x="834722" y="563589"/>
                      <a:pt x="831644" y="570771"/>
                    </a:cubicBezTo>
                    <a:lnTo>
                      <a:pt x="823779" y="589123"/>
                    </a:lnTo>
                    <a:cubicBezTo>
                      <a:pt x="819334" y="599439"/>
                      <a:pt x="814888" y="609755"/>
                      <a:pt x="811468" y="620470"/>
                    </a:cubicBezTo>
                    <a:cubicBezTo>
                      <a:pt x="805826" y="637876"/>
                      <a:pt x="802919" y="656041"/>
                      <a:pt x="802748" y="674330"/>
                    </a:cubicBezTo>
                    <a:cubicBezTo>
                      <a:pt x="783598" y="673749"/>
                      <a:pt x="765017" y="680759"/>
                      <a:pt x="751053" y="693822"/>
                    </a:cubicBezTo>
                    <a:cubicBezTo>
                      <a:pt x="744898" y="699522"/>
                      <a:pt x="738800" y="707045"/>
                      <a:pt x="730364" y="707558"/>
                    </a:cubicBezTo>
                    <a:cubicBezTo>
                      <a:pt x="716515" y="708356"/>
                      <a:pt x="709390" y="691201"/>
                      <a:pt x="697763" y="683620"/>
                    </a:cubicBezTo>
                    <a:cubicBezTo>
                      <a:pt x="690354" y="682025"/>
                      <a:pt x="684712" y="689833"/>
                      <a:pt x="680665" y="696330"/>
                    </a:cubicBezTo>
                    <a:cubicBezTo>
                      <a:pt x="676619" y="702827"/>
                      <a:pt x="669608" y="710009"/>
                      <a:pt x="662883" y="706589"/>
                    </a:cubicBezTo>
                    <a:cubicBezTo>
                      <a:pt x="656158" y="703169"/>
                      <a:pt x="657183" y="694620"/>
                      <a:pt x="653194" y="689035"/>
                    </a:cubicBezTo>
                    <a:cubicBezTo>
                      <a:pt x="647494" y="680371"/>
                      <a:pt x="632846" y="681284"/>
                      <a:pt x="626919" y="672563"/>
                    </a:cubicBezTo>
                    <a:cubicBezTo>
                      <a:pt x="625551" y="669685"/>
                      <a:pt x="623898" y="666966"/>
                      <a:pt x="621904" y="664470"/>
                    </a:cubicBezTo>
                    <a:cubicBezTo>
                      <a:pt x="616204" y="659227"/>
                      <a:pt x="604805" y="664470"/>
                      <a:pt x="599733" y="658771"/>
                    </a:cubicBezTo>
                    <a:cubicBezTo>
                      <a:pt x="597167" y="655978"/>
                      <a:pt x="596712" y="651190"/>
                      <a:pt x="593235" y="649595"/>
                    </a:cubicBezTo>
                    <a:cubicBezTo>
                      <a:pt x="590671" y="648397"/>
                      <a:pt x="587536" y="649595"/>
                      <a:pt x="584800" y="649196"/>
                    </a:cubicBezTo>
                    <a:cubicBezTo>
                      <a:pt x="574028" y="647486"/>
                      <a:pt x="579613" y="629076"/>
                      <a:pt x="572204" y="621040"/>
                    </a:cubicBezTo>
                    <a:cubicBezTo>
                      <a:pt x="569069" y="618572"/>
                      <a:pt x="565536" y="616646"/>
                      <a:pt x="561774" y="615341"/>
                    </a:cubicBezTo>
                    <a:cubicBezTo>
                      <a:pt x="550147" y="608957"/>
                      <a:pt x="545188" y="594800"/>
                      <a:pt x="550375" y="582569"/>
                    </a:cubicBezTo>
                    <a:lnTo>
                      <a:pt x="525297" y="607418"/>
                    </a:lnTo>
                    <a:cubicBezTo>
                      <a:pt x="518173" y="600522"/>
                      <a:pt x="522505" y="588382"/>
                      <a:pt x="528774" y="580745"/>
                    </a:cubicBezTo>
                    <a:cubicBezTo>
                      <a:pt x="535044" y="573108"/>
                      <a:pt x="543479" y="565926"/>
                      <a:pt x="544049" y="556066"/>
                    </a:cubicBezTo>
                    <a:cubicBezTo>
                      <a:pt x="544277" y="553718"/>
                      <a:pt x="543593" y="551370"/>
                      <a:pt x="542168" y="549512"/>
                    </a:cubicBezTo>
                    <a:cubicBezTo>
                      <a:pt x="538178" y="545009"/>
                      <a:pt x="530769" y="548657"/>
                      <a:pt x="526722" y="553160"/>
                    </a:cubicBezTo>
                    <a:cubicBezTo>
                      <a:pt x="519940" y="560797"/>
                      <a:pt x="515722" y="570258"/>
                      <a:pt x="509624" y="578522"/>
                    </a:cubicBezTo>
                    <a:cubicBezTo>
                      <a:pt x="503526" y="586786"/>
                      <a:pt x="494235" y="593797"/>
                      <a:pt x="484033" y="592885"/>
                    </a:cubicBezTo>
                    <a:cubicBezTo>
                      <a:pt x="477308" y="575621"/>
                      <a:pt x="469043" y="558973"/>
                      <a:pt x="459412" y="543128"/>
                    </a:cubicBezTo>
                    <a:cubicBezTo>
                      <a:pt x="457075" y="538956"/>
                      <a:pt x="454225" y="535126"/>
                      <a:pt x="450862" y="531729"/>
                    </a:cubicBezTo>
                    <a:cubicBezTo>
                      <a:pt x="445220" y="527096"/>
                      <a:pt x="438780" y="523556"/>
                      <a:pt x="431883" y="521299"/>
                    </a:cubicBezTo>
                    <a:cubicBezTo>
                      <a:pt x="411593" y="513206"/>
                      <a:pt x="389878" y="504999"/>
                      <a:pt x="368391" y="508989"/>
                    </a:cubicBezTo>
                    <a:cubicBezTo>
                      <a:pt x="345137" y="513320"/>
                      <a:pt x="324847" y="531787"/>
                      <a:pt x="301308" y="529906"/>
                    </a:cubicBezTo>
                    <a:cubicBezTo>
                      <a:pt x="287344" y="528880"/>
                      <a:pt x="274634" y="520957"/>
                      <a:pt x="260728" y="519704"/>
                    </a:cubicBezTo>
                    <a:cubicBezTo>
                      <a:pt x="252863" y="519276"/>
                      <a:pt x="244997" y="520359"/>
                      <a:pt x="237531" y="522895"/>
                    </a:cubicBezTo>
                    <a:cubicBezTo>
                      <a:pt x="220318" y="529313"/>
                      <a:pt x="203904" y="537645"/>
                      <a:pt x="188573" y="547745"/>
                    </a:cubicBezTo>
                    <a:cubicBezTo>
                      <a:pt x="147935" y="571090"/>
                      <a:pt x="104904" y="590006"/>
                      <a:pt x="60220" y="604170"/>
                    </a:cubicBezTo>
                    <a:close/>
                    <a:moveTo>
                      <a:pt x="522562" y="615568"/>
                    </a:moveTo>
                    <a:cubicBezTo>
                      <a:pt x="515266" y="615785"/>
                      <a:pt x="509510" y="621787"/>
                      <a:pt x="509567" y="629076"/>
                    </a:cubicBezTo>
                    <a:cubicBezTo>
                      <a:pt x="509624" y="630604"/>
                      <a:pt x="510023" y="632097"/>
                      <a:pt x="510821" y="633408"/>
                    </a:cubicBezTo>
                    <a:cubicBezTo>
                      <a:pt x="513271" y="637227"/>
                      <a:pt x="518572" y="637569"/>
                      <a:pt x="523074" y="637512"/>
                    </a:cubicBezTo>
                    <a:cubicBezTo>
                      <a:pt x="526779" y="637688"/>
                      <a:pt x="530484" y="637027"/>
                      <a:pt x="533903" y="635574"/>
                    </a:cubicBezTo>
                    <a:cubicBezTo>
                      <a:pt x="537380" y="633909"/>
                      <a:pt x="539204" y="630068"/>
                      <a:pt x="538292" y="626341"/>
                    </a:cubicBezTo>
                    <a:cubicBezTo>
                      <a:pt x="537894" y="625417"/>
                      <a:pt x="537323" y="624551"/>
                      <a:pt x="536696" y="623776"/>
                    </a:cubicBezTo>
                    <a:cubicBezTo>
                      <a:pt x="533448" y="619091"/>
                      <a:pt x="528261" y="616122"/>
                      <a:pt x="522562" y="615683"/>
                    </a:cubicBezTo>
                    <a:close/>
                    <a:moveTo>
                      <a:pt x="714463" y="758055"/>
                    </a:moveTo>
                    <a:cubicBezTo>
                      <a:pt x="711157" y="756864"/>
                      <a:pt x="707680" y="756494"/>
                      <a:pt x="704204" y="756972"/>
                    </a:cubicBezTo>
                    <a:cubicBezTo>
                      <a:pt x="699531" y="757371"/>
                      <a:pt x="693546" y="759480"/>
                      <a:pt x="693660" y="764211"/>
                    </a:cubicBezTo>
                    <a:cubicBezTo>
                      <a:pt x="693660" y="767916"/>
                      <a:pt x="697592" y="769910"/>
                      <a:pt x="700727" y="772190"/>
                    </a:cubicBezTo>
                    <a:cubicBezTo>
                      <a:pt x="709105" y="778693"/>
                      <a:pt x="715546" y="787339"/>
                      <a:pt x="719365" y="797211"/>
                    </a:cubicBezTo>
                    <a:cubicBezTo>
                      <a:pt x="723696" y="805435"/>
                      <a:pt x="726603" y="814309"/>
                      <a:pt x="728085" y="823485"/>
                    </a:cubicBezTo>
                    <a:cubicBezTo>
                      <a:pt x="728541" y="827418"/>
                      <a:pt x="729053" y="832205"/>
                      <a:pt x="732701" y="833802"/>
                    </a:cubicBezTo>
                    <a:cubicBezTo>
                      <a:pt x="734582" y="834337"/>
                      <a:pt x="736520" y="834337"/>
                      <a:pt x="738401" y="833802"/>
                    </a:cubicBezTo>
                    <a:lnTo>
                      <a:pt x="761199" y="830610"/>
                    </a:lnTo>
                    <a:cubicBezTo>
                      <a:pt x="761768" y="825195"/>
                      <a:pt x="762396" y="819724"/>
                      <a:pt x="762966" y="814309"/>
                    </a:cubicBezTo>
                    <a:cubicBezTo>
                      <a:pt x="763023" y="812976"/>
                      <a:pt x="763364" y="811670"/>
                      <a:pt x="763991" y="810491"/>
                    </a:cubicBezTo>
                    <a:cubicBezTo>
                      <a:pt x="765017" y="809276"/>
                      <a:pt x="766271" y="808285"/>
                      <a:pt x="767696" y="807584"/>
                    </a:cubicBezTo>
                    <a:cubicBezTo>
                      <a:pt x="774022" y="803304"/>
                      <a:pt x="776758" y="795347"/>
                      <a:pt x="774365" y="788092"/>
                    </a:cubicBezTo>
                    <a:cubicBezTo>
                      <a:pt x="773510" y="785755"/>
                      <a:pt x="772142" y="783589"/>
                      <a:pt x="771287" y="781195"/>
                    </a:cubicBezTo>
                    <a:cubicBezTo>
                      <a:pt x="770204" y="776653"/>
                      <a:pt x="769691" y="772008"/>
                      <a:pt x="769748" y="767345"/>
                    </a:cubicBezTo>
                    <a:cubicBezTo>
                      <a:pt x="769748" y="762592"/>
                      <a:pt x="767468" y="758141"/>
                      <a:pt x="763535" y="755434"/>
                    </a:cubicBezTo>
                    <a:cubicBezTo>
                      <a:pt x="757836" y="752356"/>
                      <a:pt x="750826" y="756574"/>
                      <a:pt x="745753" y="760791"/>
                    </a:cubicBezTo>
                    <a:cubicBezTo>
                      <a:pt x="740681" y="765009"/>
                      <a:pt x="734354" y="769796"/>
                      <a:pt x="728312" y="767916"/>
                    </a:cubicBezTo>
                    <a:cubicBezTo>
                      <a:pt x="722271" y="766035"/>
                      <a:pt x="719650" y="760563"/>
                      <a:pt x="714463" y="758169"/>
                    </a:cubicBezTo>
                    <a:close/>
                    <a:moveTo>
                      <a:pt x="378194" y="9487"/>
                    </a:moveTo>
                    <a:cubicBezTo>
                      <a:pt x="376142" y="9965"/>
                      <a:pt x="374204" y="10860"/>
                      <a:pt x="372495" y="12108"/>
                    </a:cubicBezTo>
                    <a:cubicBezTo>
                      <a:pt x="370728" y="13431"/>
                      <a:pt x="369987" y="15716"/>
                      <a:pt x="370670" y="17808"/>
                    </a:cubicBezTo>
                    <a:cubicBezTo>
                      <a:pt x="375686" y="19461"/>
                      <a:pt x="380930" y="20378"/>
                      <a:pt x="386231" y="20544"/>
                    </a:cubicBezTo>
                    <a:cubicBezTo>
                      <a:pt x="390334" y="21176"/>
                      <a:pt x="394495" y="19512"/>
                      <a:pt x="397002" y="16212"/>
                    </a:cubicBezTo>
                    <a:cubicBezTo>
                      <a:pt x="398085" y="14559"/>
                      <a:pt x="396546" y="12394"/>
                      <a:pt x="394950" y="11254"/>
                    </a:cubicBezTo>
                    <a:cubicBezTo>
                      <a:pt x="392158" y="9150"/>
                      <a:pt x="388795" y="8028"/>
                      <a:pt x="385318" y="8062"/>
                    </a:cubicBezTo>
                    <a:cubicBezTo>
                      <a:pt x="382810" y="8216"/>
                      <a:pt x="380360" y="8734"/>
                      <a:pt x="378023" y="960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4" name="Freihandform: Form 618">
                <a:extLst>
                  <a:ext uri="{FF2B5EF4-FFF2-40B4-BE49-F238E27FC236}">
                    <a16:creationId xmlns:a16="http://schemas.microsoft.com/office/drawing/2014/main" id="{433B2958-C4FD-952B-8C06-1F7AEA3004EE}"/>
                  </a:ext>
                </a:extLst>
              </p:cNvPr>
              <p:cNvSpPr/>
              <p:nvPr/>
            </p:nvSpPr>
            <p:spPr>
              <a:xfrm>
                <a:off x="5504354" y="4036183"/>
                <a:ext cx="43956" cy="82630"/>
              </a:xfrm>
              <a:custGeom>
                <a:avLst/>
                <a:gdLst>
                  <a:gd name="connsiteX0" fmla="*/ 372 w 43956"/>
                  <a:gd name="connsiteY0" fmla="*/ 56639 h 82630"/>
                  <a:gd name="connsiteX1" fmla="*/ 372 w 43956"/>
                  <a:gd name="connsiteY1" fmla="*/ 17369 h 82630"/>
                  <a:gd name="connsiteX2" fmla="*/ 8579 w 43956"/>
                  <a:gd name="connsiteY2" fmla="*/ 16629 h 82630"/>
                  <a:gd name="connsiteX3" fmla="*/ 8579 w 43956"/>
                  <a:gd name="connsiteY3" fmla="*/ 5230 h 82630"/>
                  <a:gd name="connsiteX4" fmla="*/ 9035 w 43956"/>
                  <a:gd name="connsiteY4" fmla="*/ 1639 h 82630"/>
                  <a:gd name="connsiteX5" fmla="*/ 16843 w 43956"/>
                  <a:gd name="connsiteY5" fmla="*/ 1012 h 82630"/>
                  <a:gd name="connsiteX6" fmla="*/ 22030 w 43956"/>
                  <a:gd name="connsiteY6" fmla="*/ 5401 h 82630"/>
                  <a:gd name="connsiteX7" fmla="*/ 22429 w 43956"/>
                  <a:gd name="connsiteY7" fmla="*/ 7737 h 82630"/>
                  <a:gd name="connsiteX8" fmla="*/ 26647 w 43956"/>
                  <a:gd name="connsiteY8" fmla="*/ 10872 h 82630"/>
                  <a:gd name="connsiteX9" fmla="*/ 28573 w 43956"/>
                  <a:gd name="connsiteY9" fmla="*/ 21502 h 82630"/>
                  <a:gd name="connsiteX10" fmla="*/ 28470 w 43956"/>
                  <a:gd name="connsiteY10" fmla="*/ 21644 h 82630"/>
                  <a:gd name="connsiteX11" fmla="*/ 35937 w 43956"/>
                  <a:gd name="connsiteY11" fmla="*/ 28313 h 82630"/>
                  <a:gd name="connsiteX12" fmla="*/ 36734 w 43956"/>
                  <a:gd name="connsiteY12" fmla="*/ 31333 h 82630"/>
                  <a:gd name="connsiteX13" fmla="*/ 41123 w 43956"/>
                  <a:gd name="connsiteY13" fmla="*/ 34981 h 82630"/>
                  <a:gd name="connsiteX14" fmla="*/ 43859 w 43956"/>
                  <a:gd name="connsiteY14" fmla="*/ 44214 h 82630"/>
                  <a:gd name="connsiteX15" fmla="*/ 35025 w 43956"/>
                  <a:gd name="connsiteY15" fmla="*/ 78411 h 82630"/>
                  <a:gd name="connsiteX16" fmla="*/ 30921 w 43956"/>
                  <a:gd name="connsiteY16" fmla="*/ 82458 h 82630"/>
                  <a:gd name="connsiteX17" fmla="*/ 24595 w 43956"/>
                  <a:gd name="connsiteY17" fmla="*/ 79779 h 82630"/>
                  <a:gd name="connsiteX18" fmla="*/ 24082 w 43956"/>
                  <a:gd name="connsiteY18" fmla="*/ 72540 h 82630"/>
                  <a:gd name="connsiteX19" fmla="*/ 16274 w 43956"/>
                  <a:gd name="connsiteY19" fmla="*/ 71173 h 82630"/>
                  <a:gd name="connsiteX20" fmla="*/ 12740 w 43956"/>
                  <a:gd name="connsiteY20" fmla="*/ 64618 h 82630"/>
                  <a:gd name="connsiteX21" fmla="*/ 1341 w 43956"/>
                  <a:gd name="connsiteY21" fmla="*/ 61597 h 82630"/>
                  <a:gd name="connsiteX22" fmla="*/ 372 w 43956"/>
                  <a:gd name="connsiteY22" fmla="*/ 56639 h 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956" h="82630">
                    <a:moveTo>
                      <a:pt x="372" y="56639"/>
                    </a:moveTo>
                    <a:cubicBezTo>
                      <a:pt x="-124" y="43530"/>
                      <a:pt x="-124" y="30438"/>
                      <a:pt x="372" y="17369"/>
                    </a:cubicBezTo>
                    <a:cubicBezTo>
                      <a:pt x="3130" y="17580"/>
                      <a:pt x="5900" y="17330"/>
                      <a:pt x="8579" y="16629"/>
                    </a:cubicBezTo>
                    <a:cubicBezTo>
                      <a:pt x="8870" y="12833"/>
                      <a:pt x="8870" y="9026"/>
                      <a:pt x="8579" y="5230"/>
                    </a:cubicBezTo>
                    <a:cubicBezTo>
                      <a:pt x="8380" y="4016"/>
                      <a:pt x="8539" y="2768"/>
                      <a:pt x="9035" y="1639"/>
                    </a:cubicBezTo>
                    <a:cubicBezTo>
                      <a:pt x="10517" y="-812"/>
                      <a:pt x="14165" y="-71"/>
                      <a:pt x="16843" y="1012"/>
                    </a:cubicBezTo>
                    <a:cubicBezTo>
                      <a:pt x="19522" y="2095"/>
                      <a:pt x="21517" y="3121"/>
                      <a:pt x="22030" y="5401"/>
                    </a:cubicBezTo>
                    <a:cubicBezTo>
                      <a:pt x="22104" y="6187"/>
                      <a:pt x="22235" y="6968"/>
                      <a:pt x="22429" y="7737"/>
                    </a:cubicBezTo>
                    <a:cubicBezTo>
                      <a:pt x="23056" y="9390"/>
                      <a:pt x="25108" y="9960"/>
                      <a:pt x="26647" y="10872"/>
                    </a:cubicBezTo>
                    <a:cubicBezTo>
                      <a:pt x="30112" y="13277"/>
                      <a:pt x="30978" y="18031"/>
                      <a:pt x="28573" y="21502"/>
                    </a:cubicBezTo>
                    <a:cubicBezTo>
                      <a:pt x="28539" y="21547"/>
                      <a:pt x="28505" y="21599"/>
                      <a:pt x="28470" y="21644"/>
                    </a:cubicBezTo>
                    <a:cubicBezTo>
                      <a:pt x="32061" y="22191"/>
                      <a:pt x="34985" y="24807"/>
                      <a:pt x="35937" y="28313"/>
                    </a:cubicBezTo>
                    <a:cubicBezTo>
                      <a:pt x="36079" y="29350"/>
                      <a:pt x="36347" y="30364"/>
                      <a:pt x="36734" y="31333"/>
                    </a:cubicBezTo>
                    <a:cubicBezTo>
                      <a:pt x="37704" y="32986"/>
                      <a:pt x="39698" y="33670"/>
                      <a:pt x="41123" y="34981"/>
                    </a:cubicBezTo>
                    <a:cubicBezTo>
                      <a:pt x="43295" y="37534"/>
                      <a:pt x="44286" y="40886"/>
                      <a:pt x="43859" y="44214"/>
                    </a:cubicBezTo>
                    <a:cubicBezTo>
                      <a:pt x="44013" y="56194"/>
                      <a:pt x="40958" y="68004"/>
                      <a:pt x="35025" y="78411"/>
                    </a:cubicBezTo>
                    <a:cubicBezTo>
                      <a:pt x="34181" y="80206"/>
                      <a:pt x="32728" y="81642"/>
                      <a:pt x="30921" y="82458"/>
                    </a:cubicBezTo>
                    <a:cubicBezTo>
                      <a:pt x="28453" y="83079"/>
                      <a:pt x="25866" y="81984"/>
                      <a:pt x="24595" y="79779"/>
                    </a:cubicBezTo>
                    <a:cubicBezTo>
                      <a:pt x="23455" y="77533"/>
                      <a:pt x="23272" y="74923"/>
                      <a:pt x="24082" y="72540"/>
                    </a:cubicBezTo>
                    <a:cubicBezTo>
                      <a:pt x="21409" y="72700"/>
                      <a:pt x="18736" y="72233"/>
                      <a:pt x="16274" y="71173"/>
                    </a:cubicBezTo>
                    <a:cubicBezTo>
                      <a:pt x="13760" y="70027"/>
                      <a:pt x="12312" y="67348"/>
                      <a:pt x="12740" y="64618"/>
                    </a:cubicBezTo>
                    <a:cubicBezTo>
                      <a:pt x="8579" y="65188"/>
                      <a:pt x="3336" y="65302"/>
                      <a:pt x="1341" y="61597"/>
                    </a:cubicBezTo>
                    <a:cubicBezTo>
                      <a:pt x="617" y="60047"/>
                      <a:pt x="287" y="58349"/>
                      <a:pt x="372" y="56639"/>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25" name="Freihandform: Form 619">
                <a:extLst>
                  <a:ext uri="{FF2B5EF4-FFF2-40B4-BE49-F238E27FC236}">
                    <a16:creationId xmlns:a16="http://schemas.microsoft.com/office/drawing/2014/main" id="{CC315543-C4F8-EBDE-2775-11280708CA29}"/>
                  </a:ext>
                </a:extLst>
              </p:cNvPr>
              <p:cNvSpPr/>
              <p:nvPr/>
            </p:nvSpPr>
            <p:spPr>
              <a:xfrm>
                <a:off x="4702024" y="4546522"/>
                <a:ext cx="151854" cy="328040"/>
              </a:xfrm>
              <a:custGeom>
                <a:avLst/>
                <a:gdLst>
                  <a:gd name="connsiteX0" fmla="*/ 94257 w 151854"/>
                  <a:gd name="connsiteY0" fmla="*/ 54864 h 328040"/>
                  <a:gd name="connsiteX1" fmla="*/ 95283 w 151854"/>
                  <a:gd name="connsiteY1" fmla="*/ 37766 h 328040"/>
                  <a:gd name="connsiteX2" fmla="*/ 98760 w 151854"/>
                  <a:gd name="connsiteY2" fmla="*/ 29274 h 328040"/>
                  <a:gd name="connsiteX3" fmla="*/ 108448 w 151854"/>
                  <a:gd name="connsiteY3" fmla="*/ 28589 h 328040"/>
                  <a:gd name="connsiteX4" fmla="*/ 115915 w 151854"/>
                  <a:gd name="connsiteY4" fmla="*/ 18958 h 328040"/>
                  <a:gd name="connsiteX5" fmla="*/ 118024 w 151854"/>
                  <a:gd name="connsiteY5" fmla="*/ 6248 h 328040"/>
                  <a:gd name="connsiteX6" fmla="*/ 127941 w 151854"/>
                  <a:gd name="connsiteY6" fmla="*/ 149 h 328040"/>
                  <a:gd name="connsiteX7" fmla="*/ 132842 w 151854"/>
                  <a:gd name="connsiteY7" fmla="*/ 4652 h 328040"/>
                  <a:gd name="connsiteX8" fmla="*/ 142759 w 151854"/>
                  <a:gd name="connsiteY8" fmla="*/ 41584 h 328040"/>
                  <a:gd name="connsiteX9" fmla="*/ 143728 w 151854"/>
                  <a:gd name="connsiteY9" fmla="*/ 55548 h 328040"/>
                  <a:gd name="connsiteX10" fmla="*/ 149713 w 151854"/>
                  <a:gd name="connsiteY10" fmla="*/ 63242 h 328040"/>
                  <a:gd name="connsiteX11" fmla="*/ 149713 w 151854"/>
                  <a:gd name="connsiteY11" fmla="*/ 83419 h 328040"/>
                  <a:gd name="connsiteX12" fmla="*/ 148288 w 151854"/>
                  <a:gd name="connsiteY12" fmla="*/ 86325 h 328040"/>
                  <a:gd name="connsiteX13" fmla="*/ 140821 w 151854"/>
                  <a:gd name="connsiteY13" fmla="*/ 84615 h 328040"/>
                  <a:gd name="connsiteX14" fmla="*/ 135122 w 151854"/>
                  <a:gd name="connsiteY14" fmla="*/ 78289 h 328040"/>
                  <a:gd name="connsiteX15" fmla="*/ 123723 w 151854"/>
                  <a:gd name="connsiteY15" fmla="*/ 85129 h 328040"/>
                  <a:gd name="connsiteX16" fmla="*/ 126573 w 151854"/>
                  <a:gd name="connsiteY16" fmla="*/ 99776 h 328040"/>
                  <a:gd name="connsiteX17" fmla="*/ 137630 w 151854"/>
                  <a:gd name="connsiteY17" fmla="*/ 108781 h 328040"/>
                  <a:gd name="connsiteX18" fmla="*/ 125148 w 151854"/>
                  <a:gd name="connsiteY18" fmla="*/ 112657 h 328040"/>
                  <a:gd name="connsiteX19" fmla="*/ 124008 w 151854"/>
                  <a:gd name="connsiteY19" fmla="*/ 151014 h 328040"/>
                  <a:gd name="connsiteX20" fmla="*/ 119448 w 151854"/>
                  <a:gd name="connsiteY20" fmla="*/ 168113 h 328040"/>
                  <a:gd name="connsiteX21" fmla="*/ 112552 w 151854"/>
                  <a:gd name="connsiteY21" fmla="*/ 179170 h 328040"/>
                  <a:gd name="connsiteX22" fmla="*/ 112552 w 151854"/>
                  <a:gd name="connsiteY22" fmla="*/ 184869 h 328040"/>
                  <a:gd name="connsiteX23" fmla="*/ 99728 w 151854"/>
                  <a:gd name="connsiteY23" fmla="*/ 201227 h 328040"/>
                  <a:gd name="connsiteX24" fmla="*/ 99102 w 151854"/>
                  <a:gd name="connsiteY24" fmla="*/ 208351 h 328040"/>
                  <a:gd name="connsiteX25" fmla="*/ 95112 w 151854"/>
                  <a:gd name="connsiteY25" fmla="*/ 215133 h 328040"/>
                  <a:gd name="connsiteX26" fmla="*/ 89982 w 151854"/>
                  <a:gd name="connsiteY26" fmla="*/ 260729 h 328040"/>
                  <a:gd name="connsiteX27" fmla="*/ 80008 w 151854"/>
                  <a:gd name="connsiteY27" fmla="*/ 276973 h 328040"/>
                  <a:gd name="connsiteX28" fmla="*/ 72542 w 151854"/>
                  <a:gd name="connsiteY28" fmla="*/ 286662 h 328040"/>
                  <a:gd name="connsiteX29" fmla="*/ 45184 w 151854"/>
                  <a:gd name="connsiteY29" fmla="*/ 325817 h 328040"/>
                  <a:gd name="connsiteX30" fmla="*/ 40625 w 151854"/>
                  <a:gd name="connsiteY30" fmla="*/ 328040 h 328040"/>
                  <a:gd name="connsiteX31" fmla="*/ 36578 w 151854"/>
                  <a:gd name="connsiteY31" fmla="*/ 326672 h 328040"/>
                  <a:gd name="connsiteX32" fmla="*/ 24438 w 151854"/>
                  <a:gd name="connsiteY32" fmla="*/ 325361 h 328040"/>
                  <a:gd name="connsiteX33" fmla="*/ 17656 w 151854"/>
                  <a:gd name="connsiteY33" fmla="*/ 317097 h 328040"/>
                  <a:gd name="connsiteX34" fmla="*/ 7340 w 151854"/>
                  <a:gd name="connsiteY34" fmla="*/ 314703 h 328040"/>
                  <a:gd name="connsiteX35" fmla="*/ 2495 w 151854"/>
                  <a:gd name="connsiteY35" fmla="*/ 306040 h 328040"/>
                  <a:gd name="connsiteX36" fmla="*/ 4946 w 151854"/>
                  <a:gd name="connsiteY36" fmla="*/ 300341 h 328040"/>
                  <a:gd name="connsiteX37" fmla="*/ 4946 w 151854"/>
                  <a:gd name="connsiteY37" fmla="*/ 292703 h 328040"/>
                  <a:gd name="connsiteX38" fmla="*/ 273 w 151854"/>
                  <a:gd name="connsiteY38" fmla="*/ 222999 h 328040"/>
                  <a:gd name="connsiteX39" fmla="*/ 1298 w 151854"/>
                  <a:gd name="connsiteY39" fmla="*/ 217584 h 328040"/>
                  <a:gd name="connsiteX40" fmla="*/ 10247 w 151854"/>
                  <a:gd name="connsiteY40" fmla="*/ 211372 h 328040"/>
                  <a:gd name="connsiteX41" fmla="*/ 13723 w 151854"/>
                  <a:gd name="connsiteY41" fmla="*/ 202423 h 328040"/>
                  <a:gd name="connsiteX42" fmla="*/ 22956 w 151854"/>
                  <a:gd name="connsiteY42" fmla="*/ 200258 h 328040"/>
                  <a:gd name="connsiteX43" fmla="*/ 24268 w 151854"/>
                  <a:gd name="connsiteY43" fmla="*/ 176206 h 328040"/>
                  <a:gd name="connsiteX44" fmla="*/ 12527 w 151854"/>
                  <a:gd name="connsiteY44" fmla="*/ 172957 h 328040"/>
                  <a:gd name="connsiteX45" fmla="*/ 7625 w 151854"/>
                  <a:gd name="connsiteY45" fmla="*/ 162527 h 328040"/>
                  <a:gd name="connsiteX46" fmla="*/ 9050 w 151854"/>
                  <a:gd name="connsiteY46" fmla="*/ 158139 h 328040"/>
                  <a:gd name="connsiteX47" fmla="*/ 2609 w 151854"/>
                  <a:gd name="connsiteY47" fmla="*/ 144745 h 328040"/>
                  <a:gd name="connsiteX48" fmla="*/ 7454 w 151854"/>
                  <a:gd name="connsiteY48" fmla="*/ 132434 h 328040"/>
                  <a:gd name="connsiteX49" fmla="*/ 9962 w 151854"/>
                  <a:gd name="connsiteY49" fmla="*/ 111346 h 328040"/>
                  <a:gd name="connsiteX50" fmla="*/ 19822 w 151854"/>
                  <a:gd name="connsiteY50" fmla="*/ 93791 h 328040"/>
                  <a:gd name="connsiteX51" fmla="*/ 32817 w 151854"/>
                  <a:gd name="connsiteY51" fmla="*/ 92823 h 328040"/>
                  <a:gd name="connsiteX52" fmla="*/ 56070 w 151854"/>
                  <a:gd name="connsiteY52" fmla="*/ 78061 h 328040"/>
                  <a:gd name="connsiteX53" fmla="*/ 66330 w 151854"/>
                  <a:gd name="connsiteY53" fmla="*/ 76294 h 328040"/>
                  <a:gd name="connsiteX54" fmla="*/ 80008 w 151854"/>
                  <a:gd name="connsiteY54" fmla="*/ 67175 h 328040"/>
                  <a:gd name="connsiteX55" fmla="*/ 92547 w 151854"/>
                  <a:gd name="connsiteY55" fmla="*/ 62046 h 328040"/>
                  <a:gd name="connsiteX56" fmla="*/ 94257 w 151854"/>
                  <a:gd name="connsiteY56" fmla="*/ 54864 h 32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51854" h="328040">
                    <a:moveTo>
                      <a:pt x="94257" y="54864"/>
                    </a:moveTo>
                    <a:lnTo>
                      <a:pt x="95283" y="37766"/>
                    </a:lnTo>
                    <a:cubicBezTo>
                      <a:pt x="95283" y="34574"/>
                      <a:pt x="96024" y="30869"/>
                      <a:pt x="98760" y="29274"/>
                    </a:cubicBezTo>
                    <a:cubicBezTo>
                      <a:pt x="101495" y="27678"/>
                      <a:pt x="105257" y="29274"/>
                      <a:pt x="108448" y="28589"/>
                    </a:cubicBezTo>
                    <a:cubicBezTo>
                      <a:pt x="112586" y="27091"/>
                      <a:pt x="115493" y="23341"/>
                      <a:pt x="115915" y="18958"/>
                    </a:cubicBezTo>
                    <a:cubicBezTo>
                      <a:pt x="116240" y="14666"/>
                      <a:pt x="116947" y="10414"/>
                      <a:pt x="118024" y="6248"/>
                    </a:cubicBezTo>
                    <a:cubicBezTo>
                      <a:pt x="119266" y="1967"/>
                      <a:pt x="123558" y="-671"/>
                      <a:pt x="127941" y="149"/>
                    </a:cubicBezTo>
                    <a:cubicBezTo>
                      <a:pt x="130021" y="1073"/>
                      <a:pt x="131742" y="2657"/>
                      <a:pt x="132842" y="4652"/>
                    </a:cubicBezTo>
                    <a:cubicBezTo>
                      <a:pt x="140183" y="15509"/>
                      <a:pt x="143671" y="28510"/>
                      <a:pt x="142759" y="41584"/>
                    </a:cubicBezTo>
                    <a:cubicBezTo>
                      <a:pt x="141808" y="46241"/>
                      <a:pt x="142144" y="51068"/>
                      <a:pt x="143728" y="55548"/>
                    </a:cubicBezTo>
                    <a:cubicBezTo>
                      <a:pt x="145592" y="58210"/>
                      <a:pt x="147587" y="60780"/>
                      <a:pt x="149713" y="63242"/>
                    </a:cubicBezTo>
                    <a:cubicBezTo>
                      <a:pt x="152568" y="69666"/>
                      <a:pt x="152568" y="76995"/>
                      <a:pt x="149713" y="83419"/>
                    </a:cubicBezTo>
                    <a:cubicBezTo>
                      <a:pt x="149473" y="84484"/>
                      <a:pt x="148983" y="85482"/>
                      <a:pt x="148288" y="86325"/>
                    </a:cubicBezTo>
                    <a:cubicBezTo>
                      <a:pt x="146179" y="88263"/>
                      <a:pt x="142588" y="86781"/>
                      <a:pt x="140821" y="84615"/>
                    </a:cubicBezTo>
                    <a:cubicBezTo>
                      <a:pt x="139055" y="82450"/>
                      <a:pt x="137630" y="79600"/>
                      <a:pt x="135122" y="78289"/>
                    </a:cubicBezTo>
                    <a:cubicBezTo>
                      <a:pt x="130620" y="75952"/>
                      <a:pt x="124920" y="80170"/>
                      <a:pt x="123723" y="85129"/>
                    </a:cubicBezTo>
                    <a:cubicBezTo>
                      <a:pt x="123176" y="90184"/>
                      <a:pt x="124168" y="95290"/>
                      <a:pt x="126573" y="99776"/>
                    </a:cubicBezTo>
                    <a:cubicBezTo>
                      <a:pt x="131913" y="99816"/>
                      <a:pt x="136507" y="103561"/>
                      <a:pt x="137630" y="108781"/>
                    </a:cubicBezTo>
                    <a:cubicBezTo>
                      <a:pt x="133675" y="110668"/>
                      <a:pt x="129474" y="111973"/>
                      <a:pt x="125148" y="112657"/>
                    </a:cubicBezTo>
                    <a:cubicBezTo>
                      <a:pt x="125422" y="125452"/>
                      <a:pt x="125040" y="138259"/>
                      <a:pt x="124008" y="151014"/>
                    </a:cubicBezTo>
                    <a:cubicBezTo>
                      <a:pt x="123980" y="157010"/>
                      <a:pt x="122407" y="162898"/>
                      <a:pt x="119448" y="168113"/>
                    </a:cubicBezTo>
                    <a:cubicBezTo>
                      <a:pt x="116941" y="171761"/>
                      <a:pt x="113008" y="174781"/>
                      <a:pt x="112552" y="179170"/>
                    </a:cubicBezTo>
                    <a:cubicBezTo>
                      <a:pt x="112552" y="181050"/>
                      <a:pt x="112552" y="182931"/>
                      <a:pt x="112552" y="184869"/>
                    </a:cubicBezTo>
                    <a:cubicBezTo>
                      <a:pt x="111640" y="191880"/>
                      <a:pt x="101495" y="194330"/>
                      <a:pt x="99728" y="201227"/>
                    </a:cubicBezTo>
                    <a:cubicBezTo>
                      <a:pt x="99158" y="203563"/>
                      <a:pt x="99728" y="206014"/>
                      <a:pt x="99102" y="208351"/>
                    </a:cubicBezTo>
                    <a:cubicBezTo>
                      <a:pt x="98127" y="210802"/>
                      <a:pt x="96782" y="213093"/>
                      <a:pt x="95112" y="215133"/>
                    </a:cubicBezTo>
                    <a:cubicBezTo>
                      <a:pt x="86676" y="228185"/>
                      <a:pt x="94713" y="246025"/>
                      <a:pt x="89982" y="260729"/>
                    </a:cubicBezTo>
                    <a:cubicBezTo>
                      <a:pt x="87629" y="266685"/>
                      <a:pt x="84254" y="272179"/>
                      <a:pt x="80008" y="276973"/>
                    </a:cubicBezTo>
                    <a:lnTo>
                      <a:pt x="72542" y="286662"/>
                    </a:lnTo>
                    <a:cubicBezTo>
                      <a:pt x="66882" y="301817"/>
                      <a:pt x="57467" y="315290"/>
                      <a:pt x="45184" y="325817"/>
                    </a:cubicBezTo>
                    <a:cubicBezTo>
                      <a:pt x="43976" y="327077"/>
                      <a:pt x="42363" y="327863"/>
                      <a:pt x="40625" y="328040"/>
                    </a:cubicBezTo>
                    <a:cubicBezTo>
                      <a:pt x="39206" y="327835"/>
                      <a:pt x="37832" y="327373"/>
                      <a:pt x="36578" y="326672"/>
                    </a:cubicBezTo>
                    <a:cubicBezTo>
                      <a:pt x="32583" y="325829"/>
                      <a:pt x="28519" y="325390"/>
                      <a:pt x="24438" y="325361"/>
                    </a:cubicBezTo>
                    <a:cubicBezTo>
                      <a:pt x="20392" y="324677"/>
                      <a:pt x="16117" y="320859"/>
                      <a:pt x="17656" y="317097"/>
                    </a:cubicBezTo>
                    <a:cubicBezTo>
                      <a:pt x="14094" y="317000"/>
                      <a:pt x="10583" y="316185"/>
                      <a:pt x="7340" y="314703"/>
                    </a:cubicBezTo>
                    <a:cubicBezTo>
                      <a:pt x="4080" y="313107"/>
                      <a:pt x="2148" y="309653"/>
                      <a:pt x="2495" y="306040"/>
                    </a:cubicBezTo>
                    <a:cubicBezTo>
                      <a:pt x="3213" y="304097"/>
                      <a:pt x="4029" y="302199"/>
                      <a:pt x="4946" y="300341"/>
                    </a:cubicBezTo>
                    <a:cubicBezTo>
                      <a:pt x="5545" y="297833"/>
                      <a:pt x="5545" y="295217"/>
                      <a:pt x="4946" y="292703"/>
                    </a:cubicBezTo>
                    <a:cubicBezTo>
                      <a:pt x="882" y="269706"/>
                      <a:pt x="-685" y="246332"/>
                      <a:pt x="273" y="222999"/>
                    </a:cubicBezTo>
                    <a:cubicBezTo>
                      <a:pt x="204" y="221141"/>
                      <a:pt x="558" y="219288"/>
                      <a:pt x="1298" y="217584"/>
                    </a:cubicBezTo>
                    <a:cubicBezTo>
                      <a:pt x="3008" y="214335"/>
                      <a:pt x="6998" y="213196"/>
                      <a:pt x="10247" y="211372"/>
                    </a:cubicBezTo>
                    <a:cubicBezTo>
                      <a:pt x="13495" y="209548"/>
                      <a:pt x="15946" y="205159"/>
                      <a:pt x="13723" y="202423"/>
                    </a:cubicBezTo>
                    <a:lnTo>
                      <a:pt x="22956" y="200258"/>
                    </a:lnTo>
                    <a:cubicBezTo>
                      <a:pt x="22335" y="192216"/>
                      <a:pt x="22780" y="184134"/>
                      <a:pt x="24268" y="176206"/>
                    </a:cubicBezTo>
                    <a:cubicBezTo>
                      <a:pt x="20152" y="176058"/>
                      <a:pt x="16128" y="174946"/>
                      <a:pt x="12527" y="172957"/>
                    </a:cubicBezTo>
                    <a:cubicBezTo>
                      <a:pt x="8884" y="170837"/>
                      <a:pt x="6935" y="166682"/>
                      <a:pt x="7625" y="162527"/>
                    </a:cubicBezTo>
                    <a:cubicBezTo>
                      <a:pt x="8212" y="161102"/>
                      <a:pt x="8685" y="159638"/>
                      <a:pt x="9050" y="158139"/>
                    </a:cubicBezTo>
                    <a:cubicBezTo>
                      <a:pt x="9677" y="153123"/>
                      <a:pt x="3350" y="149760"/>
                      <a:pt x="2609" y="144745"/>
                    </a:cubicBezTo>
                    <a:cubicBezTo>
                      <a:pt x="1869" y="139729"/>
                      <a:pt x="5459" y="136481"/>
                      <a:pt x="7454" y="132434"/>
                    </a:cubicBezTo>
                    <a:cubicBezTo>
                      <a:pt x="10589" y="125994"/>
                      <a:pt x="9563" y="118470"/>
                      <a:pt x="9962" y="111346"/>
                    </a:cubicBezTo>
                    <a:cubicBezTo>
                      <a:pt x="10361" y="104222"/>
                      <a:pt x="13039" y="96014"/>
                      <a:pt x="19822" y="93791"/>
                    </a:cubicBezTo>
                    <a:cubicBezTo>
                      <a:pt x="24130" y="93210"/>
                      <a:pt x="28468" y="92885"/>
                      <a:pt x="32817" y="92823"/>
                    </a:cubicBezTo>
                    <a:cubicBezTo>
                      <a:pt x="41936" y="91056"/>
                      <a:pt x="47122" y="80455"/>
                      <a:pt x="56070" y="78061"/>
                    </a:cubicBezTo>
                    <a:cubicBezTo>
                      <a:pt x="59433" y="77149"/>
                      <a:pt x="63024" y="77434"/>
                      <a:pt x="66330" y="76294"/>
                    </a:cubicBezTo>
                    <a:cubicBezTo>
                      <a:pt x="71516" y="74471"/>
                      <a:pt x="74936" y="69284"/>
                      <a:pt x="80008" y="67175"/>
                    </a:cubicBezTo>
                    <a:cubicBezTo>
                      <a:pt x="85081" y="65066"/>
                      <a:pt x="89811" y="65750"/>
                      <a:pt x="92547" y="62046"/>
                    </a:cubicBezTo>
                    <a:cubicBezTo>
                      <a:pt x="93790" y="59862"/>
                      <a:pt x="94382" y="57372"/>
                      <a:pt x="94257" y="548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6" name="Freihandform: Form 620">
                <a:extLst>
                  <a:ext uri="{FF2B5EF4-FFF2-40B4-BE49-F238E27FC236}">
                    <a16:creationId xmlns:a16="http://schemas.microsoft.com/office/drawing/2014/main" id="{E545A23E-88C0-7875-9977-763268805F6D}"/>
                  </a:ext>
                </a:extLst>
              </p:cNvPr>
              <p:cNvSpPr/>
              <p:nvPr/>
            </p:nvSpPr>
            <p:spPr>
              <a:xfrm>
                <a:off x="673738" y="1591448"/>
                <a:ext cx="1935893" cy="1590788"/>
              </a:xfrm>
              <a:custGeom>
                <a:avLst/>
                <a:gdLst>
                  <a:gd name="connsiteX0" fmla="*/ 1686075 w 1935893"/>
                  <a:gd name="connsiteY0" fmla="*/ 1376184 h 1590788"/>
                  <a:gd name="connsiteX1" fmla="*/ 1689723 w 1935893"/>
                  <a:gd name="connsiteY1" fmla="*/ 1373905 h 1590788"/>
                  <a:gd name="connsiteX2" fmla="*/ 1705682 w 1935893"/>
                  <a:gd name="connsiteY2" fmla="*/ 1376697 h 1590788"/>
                  <a:gd name="connsiteX3" fmla="*/ 1721982 w 1935893"/>
                  <a:gd name="connsiteY3" fmla="*/ 1382397 h 1590788"/>
                  <a:gd name="connsiteX4" fmla="*/ 1725801 w 1935893"/>
                  <a:gd name="connsiteY4" fmla="*/ 1384506 h 1590788"/>
                  <a:gd name="connsiteX5" fmla="*/ 1726827 w 1935893"/>
                  <a:gd name="connsiteY5" fmla="*/ 1391516 h 1590788"/>
                  <a:gd name="connsiteX6" fmla="*/ 1703003 w 1935893"/>
                  <a:gd name="connsiteY6" fmla="*/ 1390490 h 1590788"/>
                  <a:gd name="connsiteX7" fmla="*/ 1694625 w 1935893"/>
                  <a:gd name="connsiteY7" fmla="*/ 1380060 h 1590788"/>
                  <a:gd name="connsiteX8" fmla="*/ 1688925 w 1935893"/>
                  <a:gd name="connsiteY8" fmla="*/ 1380573 h 1590788"/>
                  <a:gd name="connsiteX9" fmla="*/ 1686075 w 1935893"/>
                  <a:gd name="connsiteY9" fmla="*/ 1376184 h 1590788"/>
                  <a:gd name="connsiteX10" fmla="*/ 1805422 w 1935893"/>
                  <a:gd name="connsiteY10" fmla="*/ 1404169 h 1590788"/>
                  <a:gd name="connsiteX11" fmla="*/ 1805821 w 1935893"/>
                  <a:gd name="connsiteY11" fmla="*/ 1418190 h 1590788"/>
                  <a:gd name="connsiteX12" fmla="*/ 1796873 w 1935893"/>
                  <a:gd name="connsiteY12" fmla="*/ 1426283 h 1590788"/>
                  <a:gd name="connsiteX13" fmla="*/ 1793396 w 1935893"/>
                  <a:gd name="connsiteY13" fmla="*/ 1443381 h 1590788"/>
                  <a:gd name="connsiteX14" fmla="*/ 1809298 w 1935893"/>
                  <a:gd name="connsiteY14" fmla="*/ 1436314 h 1590788"/>
                  <a:gd name="connsiteX15" fmla="*/ 1830044 w 1935893"/>
                  <a:gd name="connsiteY15" fmla="*/ 1433920 h 1590788"/>
                  <a:gd name="connsiteX16" fmla="*/ 1833863 w 1935893"/>
                  <a:gd name="connsiteY16" fmla="*/ 1429246 h 1590788"/>
                  <a:gd name="connsiteX17" fmla="*/ 1862816 w 1935893"/>
                  <a:gd name="connsiteY17" fmla="*/ 1424003 h 1590788"/>
                  <a:gd name="connsiteX18" fmla="*/ 1868174 w 1935893"/>
                  <a:gd name="connsiteY18" fmla="*/ 1426055 h 1590788"/>
                  <a:gd name="connsiteX19" fmla="*/ 1871308 w 1935893"/>
                  <a:gd name="connsiteY19" fmla="*/ 1430671 h 1590788"/>
                  <a:gd name="connsiteX20" fmla="*/ 1886925 w 1935893"/>
                  <a:gd name="connsiteY20" fmla="*/ 1438081 h 1590788"/>
                  <a:gd name="connsiteX21" fmla="*/ 1886925 w 1935893"/>
                  <a:gd name="connsiteY21" fmla="*/ 1444065 h 1590788"/>
                  <a:gd name="connsiteX22" fmla="*/ 1890686 w 1935893"/>
                  <a:gd name="connsiteY22" fmla="*/ 1445718 h 1590788"/>
                  <a:gd name="connsiteX23" fmla="*/ 1912116 w 1935893"/>
                  <a:gd name="connsiteY23" fmla="*/ 1447371 h 1590788"/>
                  <a:gd name="connsiteX24" fmla="*/ 1917360 w 1935893"/>
                  <a:gd name="connsiteY24" fmla="*/ 1461050 h 1590788"/>
                  <a:gd name="connsiteX25" fmla="*/ 1929363 w 1935893"/>
                  <a:gd name="connsiteY25" fmla="*/ 1460628 h 1590788"/>
                  <a:gd name="connsiteX26" fmla="*/ 1930241 w 1935893"/>
                  <a:gd name="connsiteY26" fmla="*/ 1459511 h 1590788"/>
                  <a:gd name="connsiteX27" fmla="*/ 1931438 w 1935893"/>
                  <a:gd name="connsiteY27" fmla="*/ 1454381 h 1590788"/>
                  <a:gd name="connsiteX28" fmla="*/ 1935313 w 1935893"/>
                  <a:gd name="connsiteY28" fmla="*/ 1440360 h 1590788"/>
                  <a:gd name="connsiteX29" fmla="*/ 1917303 w 1935893"/>
                  <a:gd name="connsiteY29" fmla="*/ 1434091 h 1590788"/>
                  <a:gd name="connsiteX30" fmla="*/ 1920609 w 1935893"/>
                  <a:gd name="connsiteY30" fmla="*/ 1426340 h 1590788"/>
                  <a:gd name="connsiteX31" fmla="*/ 1927334 w 1935893"/>
                  <a:gd name="connsiteY31" fmla="*/ 1420127 h 1590788"/>
                  <a:gd name="connsiteX32" fmla="*/ 1922153 w 1935893"/>
                  <a:gd name="connsiteY32" fmla="*/ 1413949 h 1590788"/>
                  <a:gd name="connsiteX33" fmla="*/ 1918500 w 1935893"/>
                  <a:gd name="connsiteY33" fmla="*/ 1414884 h 1590788"/>
                  <a:gd name="connsiteX34" fmla="*/ 1915764 w 1935893"/>
                  <a:gd name="connsiteY34" fmla="*/ 1419215 h 1590788"/>
                  <a:gd name="connsiteX35" fmla="*/ 1911318 w 1935893"/>
                  <a:gd name="connsiteY35" fmla="*/ 1420526 h 1590788"/>
                  <a:gd name="connsiteX36" fmla="*/ 1908184 w 1935893"/>
                  <a:gd name="connsiteY36" fmla="*/ 1406278 h 1590788"/>
                  <a:gd name="connsiteX37" fmla="*/ 1911717 w 1935893"/>
                  <a:gd name="connsiteY37" fmla="*/ 1403371 h 1590788"/>
                  <a:gd name="connsiteX38" fmla="*/ 1915194 w 1935893"/>
                  <a:gd name="connsiteY38" fmla="*/ 1389692 h 1590788"/>
                  <a:gd name="connsiteX39" fmla="*/ 1907557 w 1935893"/>
                  <a:gd name="connsiteY39" fmla="*/ 1390490 h 1590788"/>
                  <a:gd name="connsiteX40" fmla="*/ 1901117 w 1935893"/>
                  <a:gd name="connsiteY40" fmla="*/ 1395791 h 1590788"/>
                  <a:gd name="connsiteX41" fmla="*/ 1889581 w 1935893"/>
                  <a:gd name="connsiteY41" fmla="*/ 1390997 h 1590788"/>
                  <a:gd name="connsiteX42" fmla="*/ 1889262 w 1935893"/>
                  <a:gd name="connsiteY42" fmla="*/ 1390091 h 1590788"/>
                  <a:gd name="connsiteX43" fmla="*/ 1880370 w 1935893"/>
                  <a:gd name="connsiteY43" fmla="*/ 1387583 h 1590788"/>
                  <a:gd name="connsiteX44" fmla="*/ 1875640 w 1935893"/>
                  <a:gd name="connsiteY44" fmla="*/ 1378407 h 1590788"/>
                  <a:gd name="connsiteX45" fmla="*/ 1866863 w 1935893"/>
                  <a:gd name="connsiteY45" fmla="*/ 1375215 h 1590788"/>
                  <a:gd name="connsiteX46" fmla="*/ 1865894 w 1935893"/>
                  <a:gd name="connsiteY46" fmla="*/ 1367863 h 1590788"/>
                  <a:gd name="connsiteX47" fmla="*/ 1857230 w 1935893"/>
                  <a:gd name="connsiteY47" fmla="*/ 1372822 h 1590788"/>
                  <a:gd name="connsiteX48" fmla="*/ 1848339 w 1935893"/>
                  <a:gd name="connsiteY48" fmla="*/ 1376925 h 1590788"/>
                  <a:gd name="connsiteX49" fmla="*/ 1854837 w 1935893"/>
                  <a:gd name="connsiteY49" fmla="*/ 1358117 h 1590788"/>
                  <a:gd name="connsiteX50" fmla="*/ 1854096 w 1935893"/>
                  <a:gd name="connsiteY50" fmla="*/ 1352874 h 1590788"/>
                  <a:gd name="connsiteX51" fmla="*/ 1864241 w 1935893"/>
                  <a:gd name="connsiteY51" fmla="*/ 1339537 h 1590788"/>
                  <a:gd name="connsiteX52" fmla="*/ 1869940 w 1935893"/>
                  <a:gd name="connsiteY52" fmla="*/ 1324832 h 1590788"/>
                  <a:gd name="connsiteX53" fmla="*/ 1857060 w 1935893"/>
                  <a:gd name="connsiteY53" fmla="*/ 1326713 h 1590788"/>
                  <a:gd name="connsiteX54" fmla="*/ 1848111 w 1935893"/>
                  <a:gd name="connsiteY54" fmla="*/ 1337029 h 1590788"/>
                  <a:gd name="connsiteX55" fmla="*/ 1840588 w 1935893"/>
                  <a:gd name="connsiteY55" fmla="*/ 1348428 h 1590788"/>
                  <a:gd name="connsiteX56" fmla="*/ 1829189 w 1935893"/>
                  <a:gd name="connsiteY56" fmla="*/ 1368148 h 1590788"/>
                  <a:gd name="connsiteX57" fmla="*/ 1824401 w 1935893"/>
                  <a:gd name="connsiteY57" fmla="*/ 1394537 h 1590788"/>
                  <a:gd name="connsiteX58" fmla="*/ 1806055 w 1935893"/>
                  <a:gd name="connsiteY58" fmla="*/ 1402060 h 1590788"/>
                  <a:gd name="connsiteX59" fmla="*/ 1805365 w 1935893"/>
                  <a:gd name="connsiteY59" fmla="*/ 1404169 h 1590788"/>
                  <a:gd name="connsiteX60" fmla="*/ 1759827 w 1935893"/>
                  <a:gd name="connsiteY60" fmla="*/ 1475241 h 1590788"/>
                  <a:gd name="connsiteX61" fmla="*/ 1752246 w 1935893"/>
                  <a:gd name="connsiteY61" fmla="*/ 1489775 h 1590788"/>
                  <a:gd name="connsiteX62" fmla="*/ 1717479 w 1935893"/>
                  <a:gd name="connsiteY62" fmla="*/ 1500148 h 1590788"/>
                  <a:gd name="connsiteX63" fmla="*/ 1684308 w 1935893"/>
                  <a:gd name="connsiteY63" fmla="*/ 1480941 h 1590788"/>
                  <a:gd name="connsiteX64" fmla="*/ 1663163 w 1935893"/>
                  <a:gd name="connsiteY64" fmla="*/ 1445376 h 1590788"/>
                  <a:gd name="connsiteX65" fmla="*/ 1648459 w 1935893"/>
                  <a:gd name="connsiteY65" fmla="*/ 1441785 h 1590788"/>
                  <a:gd name="connsiteX66" fmla="*/ 1655754 w 1935893"/>
                  <a:gd name="connsiteY66" fmla="*/ 1405537 h 1590788"/>
                  <a:gd name="connsiteX67" fmla="*/ 1632956 w 1935893"/>
                  <a:gd name="connsiteY67" fmla="*/ 1400977 h 1590788"/>
                  <a:gd name="connsiteX68" fmla="*/ 1611355 w 1935893"/>
                  <a:gd name="connsiteY68" fmla="*/ 1414485 h 1590788"/>
                  <a:gd name="connsiteX69" fmla="*/ 1585651 w 1935893"/>
                  <a:gd name="connsiteY69" fmla="*/ 1422635 h 1590788"/>
                  <a:gd name="connsiteX70" fmla="*/ 1570775 w 1935893"/>
                  <a:gd name="connsiteY70" fmla="*/ 1437739 h 1590788"/>
                  <a:gd name="connsiteX71" fmla="*/ 1573568 w 1935893"/>
                  <a:gd name="connsiteY71" fmla="*/ 1439562 h 1590788"/>
                  <a:gd name="connsiteX72" fmla="*/ 1593345 w 1935893"/>
                  <a:gd name="connsiteY72" fmla="*/ 1448283 h 1590788"/>
                  <a:gd name="connsiteX73" fmla="*/ 1597620 w 1935893"/>
                  <a:gd name="connsiteY73" fmla="*/ 1447428 h 1590788"/>
                  <a:gd name="connsiteX74" fmla="*/ 1601609 w 1935893"/>
                  <a:gd name="connsiteY74" fmla="*/ 1449195 h 1590788"/>
                  <a:gd name="connsiteX75" fmla="*/ 1610614 w 1935893"/>
                  <a:gd name="connsiteY75" fmla="*/ 1461563 h 1590788"/>
                  <a:gd name="connsiteX76" fmla="*/ 1606283 w 1935893"/>
                  <a:gd name="connsiteY76" fmla="*/ 1474785 h 1590788"/>
                  <a:gd name="connsiteX77" fmla="*/ 1610728 w 1935893"/>
                  <a:gd name="connsiteY77" fmla="*/ 1482366 h 1590788"/>
                  <a:gd name="connsiteX78" fmla="*/ 1612951 w 1935893"/>
                  <a:gd name="connsiteY78" fmla="*/ 1490573 h 1590788"/>
                  <a:gd name="connsiteX79" fmla="*/ 1611298 w 1935893"/>
                  <a:gd name="connsiteY79" fmla="*/ 1493707 h 1590788"/>
                  <a:gd name="connsiteX80" fmla="*/ 1616086 w 1935893"/>
                  <a:gd name="connsiteY80" fmla="*/ 1500547 h 1590788"/>
                  <a:gd name="connsiteX81" fmla="*/ 1617397 w 1935893"/>
                  <a:gd name="connsiteY81" fmla="*/ 1504480 h 1590788"/>
                  <a:gd name="connsiteX82" fmla="*/ 1619277 w 1935893"/>
                  <a:gd name="connsiteY82" fmla="*/ 1523402 h 1590788"/>
                  <a:gd name="connsiteX83" fmla="*/ 1649143 w 1935893"/>
                  <a:gd name="connsiteY83" fmla="*/ 1503682 h 1590788"/>
                  <a:gd name="connsiteX84" fmla="*/ 1659972 w 1935893"/>
                  <a:gd name="connsiteY84" fmla="*/ 1502713 h 1590788"/>
                  <a:gd name="connsiteX85" fmla="*/ 1669547 w 1935893"/>
                  <a:gd name="connsiteY85" fmla="*/ 1489604 h 1590788"/>
                  <a:gd name="connsiteX86" fmla="*/ 1680946 w 1935893"/>
                  <a:gd name="connsiteY86" fmla="*/ 1495303 h 1590788"/>
                  <a:gd name="connsiteX87" fmla="*/ 1688811 w 1935893"/>
                  <a:gd name="connsiteY87" fmla="*/ 1506987 h 1590788"/>
                  <a:gd name="connsiteX88" fmla="*/ 1695594 w 1935893"/>
                  <a:gd name="connsiteY88" fmla="*/ 1511091 h 1590788"/>
                  <a:gd name="connsiteX89" fmla="*/ 1695594 w 1935893"/>
                  <a:gd name="connsiteY89" fmla="*/ 1517873 h 1590788"/>
                  <a:gd name="connsiteX90" fmla="*/ 1655982 w 1935893"/>
                  <a:gd name="connsiteY90" fmla="*/ 1522205 h 1590788"/>
                  <a:gd name="connsiteX91" fmla="*/ 1649770 w 1935893"/>
                  <a:gd name="connsiteY91" fmla="*/ 1556402 h 1590788"/>
                  <a:gd name="connsiteX92" fmla="*/ 1669889 w 1935893"/>
                  <a:gd name="connsiteY92" fmla="*/ 1555946 h 1590788"/>
                  <a:gd name="connsiteX93" fmla="*/ 1685163 w 1935893"/>
                  <a:gd name="connsiteY93" fmla="*/ 1534972 h 1590788"/>
                  <a:gd name="connsiteX94" fmla="*/ 1702832 w 1935893"/>
                  <a:gd name="connsiteY94" fmla="*/ 1530697 h 1590788"/>
                  <a:gd name="connsiteX95" fmla="*/ 1715713 w 1935893"/>
                  <a:gd name="connsiteY95" fmla="*/ 1524257 h 1590788"/>
                  <a:gd name="connsiteX96" fmla="*/ 1753671 w 1935893"/>
                  <a:gd name="connsiteY96" fmla="*/ 1500205 h 1590788"/>
                  <a:gd name="connsiteX97" fmla="*/ 1773049 w 1935893"/>
                  <a:gd name="connsiteY97" fmla="*/ 1469314 h 1590788"/>
                  <a:gd name="connsiteX98" fmla="*/ 1759656 w 1935893"/>
                  <a:gd name="connsiteY98" fmla="*/ 1475241 h 1590788"/>
                  <a:gd name="connsiteX99" fmla="*/ 341000 w 1935893"/>
                  <a:gd name="connsiteY99" fmla="*/ 562984 h 1590788"/>
                  <a:gd name="connsiteX100" fmla="*/ 361461 w 1935893"/>
                  <a:gd name="connsiteY100" fmla="*/ 564807 h 1590788"/>
                  <a:gd name="connsiteX101" fmla="*/ 367901 w 1935893"/>
                  <a:gd name="connsiteY101" fmla="*/ 565548 h 1590788"/>
                  <a:gd name="connsiteX102" fmla="*/ 374854 w 1935893"/>
                  <a:gd name="connsiteY102" fmla="*/ 569652 h 1590788"/>
                  <a:gd name="connsiteX103" fmla="*/ 388077 w 1935893"/>
                  <a:gd name="connsiteY103" fmla="*/ 591994 h 1590788"/>
                  <a:gd name="connsiteX104" fmla="*/ 396398 w 1935893"/>
                  <a:gd name="connsiteY104" fmla="*/ 611087 h 1590788"/>
                  <a:gd name="connsiteX105" fmla="*/ 402098 w 1935893"/>
                  <a:gd name="connsiteY105" fmla="*/ 609719 h 1590788"/>
                  <a:gd name="connsiteX106" fmla="*/ 401585 w 1935893"/>
                  <a:gd name="connsiteY106" fmla="*/ 601113 h 1590788"/>
                  <a:gd name="connsiteX107" fmla="*/ 410362 w 1935893"/>
                  <a:gd name="connsiteY107" fmla="*/ 598263 h 1590788"/>
                  <a:gd name="connsiteX108" fmla="*/ 417543 w 1935893"/>
                  <a:gd name="connsiteY108" fmla="*/ 598263 h 1590788"/>
                  <a:gd name="connsiteX109" fmla="*/ 420108 w 1935893"/>
                  <a:gd name="connsiteY109" fmla="*/ 595984 h 1590788"/>
                  <a:gd name="connsiteX110" fmla="*/ 446668 w 1935893"/>
                  <a:gd name="connsiteY110" fmla="*/ 590284 h 1590788"/>
                  <a:gd name="connsiteX111" fmla="*/ 449404 w 1935893"/>
                  <a:gd name="connsiteY111" fmla="*/ 589486 h 1590788"/>
                  <a:gd name="connsiteX112" fmla="*/ 450144 w 1935893"/>
                  <a:gd name="connsiteY112" fmla="*/ 580766 h 1590788"/>
                  <a:gd name="connsiteX113" fmla="*/ 456699 w 1935893"/>
                  <a:gd name="connsiteY113" fmla="*/ 567942 h 1590788"/>
                  <a:gd name="connsiteX114" fmla="*/ 460403 w 1935893"/>
                  <a:gd name="connsiteY114" fmla="*/ 552896 h 1590788"/>
                  <a:gd name="connsiteX115" fmla="*/ 475336 w 1935893"/>
                  <a:gd name="connsiteY115" fmla="*/ 552155 h 1590788"/>
                  <a:gd name="connsiteX116" fmla="*/ 484626 w 1935893"/>
                  <a:gd name="connsiteY116" fmla="*/ 541782 h 1590788"/>
                  <a:gd name="connsiteX117" fmla="*/ 488787 w 1935893"/>
                  <a:gd name="connsiteY117" fmla="*/ 528844 h 1590788"/>
                  <a:gd name="connsiteX118" fmla="*/ 489528 w 1935893"/>
                  <a:gd name="connsiteY118" fmla="*/ 522745 h 1590788"/>
                  <a:gd name="connsiteX119" fmla="*/ 493289 w 1935893"/>
                  <a:gd name="connsiteY119" fmla="*/ 518585 h 1590788"/>
                  <a:gd name="connsiteX120" fmla="*/ 523668 w 1935893"/>
                  <a:gd name="connsiteY120" fmla="*/ 510035 h 1590788"/>
                  <a:gd name="connsiteX121" fmla="*/ 526517 w 1935893"/>
                  <a:gd name="connsiteY121" fmla="*/ 506673 h 1590788"/>
                  <a:gd name="connsiteX122" fmla="*/ 533756 w 1935893"/>
                  <a:gd name="connsiteY122" fmla="*/ 505419 h 1590788"/>
                  <a:gd name="connsiteX123" fmla="*/ 541108 w 1935893"/>
                  <a:gd name="connsiteY123" fmla="*/ 496756 h 1590788"/>
                  <a:gd name="connsiteX124" fmla="*/ 556668 w 1935893"/>
                  <a:gd name="connsiteY124" fmla="*/ 490600 h 1590788"/>
                  <a:gd name="connsiteX125" fmla="*/ 558890 w 1935893"/>
                  <a:gd name="connsiteY125" fmla="*/ 485756 h 1590788"/>
                  <a:gd name="connsiteX126" fmla="*/ 555756 w 1935893"/>
                  <a:gd name="connsiteY126" fmla="*/ 483020 h 1590788"/>
                  <a:gd name="connsiteX127" fmla="*/ 527771 w 1935893"/>
                  <a:gd name="connsiteY127" fmla="*/ 469113 h 1590788"/>
                  <a:gd name="connsiteX128" fmla="*/ 501611 w 1935893"/>
                  <a:gd name="connsiteY128" fmla="*/ 461761 h 1590788"/>
                  <a:gd name="connsiteX129" fmla="*/ 497735 w 1935893"/>
                  <a:gd name="connsiteY129" fmla="*/ 462844 h 1590788"/>
                  <a:gd name="connsiteX130" fmla="*/ 494144 w 1935893"/>
                  <a:gd name="connsiteY130" fmla="*/ 465922 h 1590788"/>
                  <a:gd name="connsiteX131" fmla="*/ 486678 w 1935893"/>
                  <a:gd name="connsiteY131" fmla="*/ 468087 h 1590788"/>
                  <a:gd name="connsiteX132" fmla="*/ 481492 w 1935893"/>
                  <a:gd name="connsiteY132" fmla="*/ 462388 h 1590788"/>
                  <a:gd name="connsiteX133" fmla="*/ 458694 w 1935893"/>
                  <a:gd name="connsiteY133" fmla="*/ 463129 h 1590788"/>
                  <a:gd name="connsiteX134" fmla="*/ 450372 w 1935893"/>
                  <a:gd name="connsiteY134" fmla="*/ 459196 h 1590788"/>
                  <a:gd name="connsiteX135" fmla="*/ 448150 w 1935893"/>
                  <a:gd name="connsiteY135" fmla="*/ 452528 h 1590788"/>
                  <a:gd name="connsiteX136" fmla="*/ 441937 w 1935893"/>
                  <a:gd name="connsiteY136" fmla="*/ 451616 h 1590788"/>
                  <a:gd name="connsiteX137" fmla="*/ 436238 w 1935893"/>
                  <a:gd name="connsiteY137" fmla="*/ 445916 h 1590788"/>
                  <a:gd name="connsiteX138" fmla="*/ 432590 w 1935893"/>
                  <a:gd name="connsiteY138" fmla="*/ 445631 h 1590788"/>
                  <a:gd name="connsiteX139" fmla="*/ 413668 w 1935893"/>
                  <a:gd name="connsiteY139" fmla="*/ 447398 h 1590788"/>
                  <a:gd name="connsiteX140" fmla="*/ 405233 w 1935893"/>
                  <a:gd name="connsiteY140" fmla="*/ 449222 h 1590788"/>
                  <a:gd name="connsiteX141" fmla="*/ 400274 w 1935893"/>
                  <a:gd name="connsiteY141" fmla="*/ 455891 h 1590788"/>
                  <a:gd name="connsiteX142" fmla="*/ 400730 w 1935893"/>
                  <a:gd name="connsiteY142" fmla="*/ 465010 h 1590788"/>
                  <a:gd name="connsiteX143" fmla="*/ 390756 w 1935893"/>
                  <a:gd name="connsiteY143" fmla="*/ 469968 h 1590788"/>
                  <a:gd name="connsiteX144" fmla="*/ 388419 w 1935893"/>
                  <a:gd name="connsiteY144" fmla="*/ 475668 h 1590788"/>
                  <a:gd name="connsiteX145" fmla="*/ 380041 w 1935893"/>
                  <a:gd name="connsiteY145" fmla="*/ 477435 h 1590788"/>
                  <a:gd name="connsiteX146" fmla="*/ 379357 w 1935893"/>
                  <a:gd name="connsiteY146" fmla="*/ 480968 h 1590788"/>
                  <a:gd name="connsiteX147" fmla="*/ 373657 w 1935893"/>
                  <a:gd name="connsiteY147" fmla="*/ 495388 h 1590788"/>
                  <a:gd name="connsiteX148" fmla="*/ 370637 w 1935893"/>
                  <a:gd name="connsiteY148" fmla="*/ 496528 h 1590788"/>
                  <a:gd name="connsiteX149" fmla="*/ 368984 w 1935893"/>
                  <a:gd name="connsiteY149" fmla="*/ 498979 h 1590788"/>
                  <a:gd name="connsiteX150" fmla="*/ 362715 w 1935893"/>
                  <a:gd name="connsiteY150" fmla="*/ 501201 h 1590788"/>
                  <a:gd name="connsiteX151" fmla="*/ 362715 w 1935893"/>
                  <a:gd name="connsiteY151" fmla="*/ 524740 h 1590788"/>
                  <a:gd name="connsiteX152" fmla="*/ 359865 w 1935893"/>
                  <a:gd name="connsiteY152" fmla="*/ 532092 h 1590788"/>
                  <a:gd name="connsiteX153" fmla="*/ 351031 w 1935893"/>
                  <a:gd name="connsiteY153" fmla="*/ 532662 h 1590788"/>
                  <a:gd name="connsiteX154" fmla="*/ 347554 w 1935893"/>
                  <a:gd name="connsiteY154" fmla="*/ 545087 h 1590788"/>
                  <a:gd name="connsiteX155" fmla="*/ 343051 w 1935893"/>
                  <a:gd name="connsiteY155" fmla="*/ 547139 h 1590788"/>
                  <a:gd name="connsiteX156" fmla="*/ 334673 w 1935893"/>
                  <a:gd name="connsiteY156" fmla="*/ 554890 h 1590788"/>
                  <a:gd name="connsiteX157" fmla="*/ 334103 w 1935893"/>
                  <a:gd name="connsiteY157" fmla="*/ 557968 h 1590788"/>
                  <a:gd name="connsiteX158" fmla="*/ 341000 w 1935893"/>
                  <a:gd name="connsiteY158" fmla="*/ 562984 h 1590788"/>
                  <a:gd name="connsiteX159" fmla="*/ 844320 w 1935893"/>
                  <a:gd name="connsiteY159" fmla="*/ 660274 h 1590788"/>
                  <a:gd name="connsiteX160" fmla="*/ 853097 w 1935893"/>
                  <a:gd name="connsiteY160" fmla="*/ 649502 h 1590788"/>
                  <a:gd name="connsiteX161" fmla="*/ 877719 w 1935893"/>
                  <a:gd name="connsiteY161" fmla="*/ 658336 h 1590788"/>
                  <a:gd name="connsiteX162" fmla="*/ 874698 w 1935893"/>
                  <a:gd name="connsiteY162" fmla="*/ 640724 h 1590788"/>
                  <a:gd name="connsiteX163" fmla="*/ 858740 w 1935893"/>
                  <a:gd name="connsiteY163" fmla="*/ 630465 h 1590788"/>
                  <a:gd name="connsiteX164" fmla="*/ 817760 w 1935893"/>
                  <a:gd name="connsiteY164" fmla="*/ 611543 h 1590788"/>
                  <a:gd name="connsiteX165" fmla="*/ 802087 w 1935893"/>
                  <a:gd name="connsiteY165" fmla="*/ 593476 h 1590788"/>
                  <a:gd name="connsiteX166" fmla="*/ 804139 w 1935893"/>
                  <a:gd name="connsiteY166" fmla="*/ 585269 h 1590788"/>
                  <a:gd name="connsiteX167" fmla="*/ 795818 w 1935893"/>
                  <a:gd name="connsiteY167" fmla="*/ 566346 h 1590788"/>
                  <a:gd name="connsiteX168" fmla="*/ 783507 w 1935893"/>
                  <a:gd name="connsiteY168" fmla="*/ 550787 h 1590788"/>
                  <a:gd name="connsiteX169" fmla="*/ 784362 w 1935893"/>
                  <a:gd name="connsiteY169" fmla="*/ 530098 h 1590788"/>
                  <a:gd name="connsiteX170" fmla="*/ 788636 w 1935893"/>
                  <a:gd name="connsiteY170" fmla="*/ 514424 h 1590788"/>
                  <a:gd name="connsiteX171" fmla="*/ 797926 w 1935893"/>
                  <a:gd name="connsiteY171" fmla="*/ 500061 h 1590788"/>
                  <a:gd name="connsiteX172" fmla="*/ 797071 w 1935893"/>
                  <a:gd name="connsiteY172" fmla="*/ 484160 h 1590788"/>
                  <a:gd name="connsiteX173" fmla="*/ 766294 w 1935893"/>
                  <a:gd name="connsiteY173" fmla="*/ 485471 h 1590788"/>
                  <a:gd name="connsiteX174" fmla="*/ 757118 w 1935893"/>
                  <a:gd name="connsiteY174" fmla="*/ 487238 h 1590788"/>
                  <a:gd name="connsiteX175" fmla="*/ 753242 w 1935893"/>
                  <a:gd name="connsiteY175" fmla="*/ 494989 h 1590788"/>
                  <a:gd name="connsiteX176" fmla="*/ 758942 w 1935893"/>
                  <a:gd name="connsiteY176" fmla="*/ 500346 h 1590788"/>
                  <a:gd name="connsiteX177" fmla="*/ 771481 w 1935893"/>
                  <a:gd name="connsiteY177" fmla="*/ 510150 h 1590788"/>
                  <a:gd name="connsiteX178" fmla="*/ 778719 w 1935893"/>
                  <a:gd name="connsiteY178" fmla="*/ 524626 h 1590788"/>
                  <a:gd name="connsiteX179" fmla="*/ 770968 w 1935893"/>
                  <a:gd name="connsiteY179" fmla="*/ 523657 h 1590788"/>
                  <a:gd name="connsiteX180" fmla="*/ 766237 w 1935893"/>
                  <a:gd name="connsiteY180" fmla="*/ 516248 h 1590788"/>
                  <a:gd name="connsiteX181" fmla="*/ 736429 w 1935893"/>
                  <a:gd name="connsiteY181" fmla="*/ 506217 h 1590788"/>
                  <a:gd name="connsiteX182" fmla="*/ 735118 w 1935893"/>
                  <a:gd name="connsiteY182" fmla="*/ 506217 h 1590788"/>
                  <a:gd name="connsiteX183" fmla="*/ 722294 w 1935893"/>
                  <a:gd name="connsiteY183" fmla="*/ 509637 h 1590788"/>
                  <a:gd name="connsiteX184" fmla="*/ 725258 w 1935893"/>
                  <a:gd name="connsiteY184" fmla="*/ 529699 h 1590788"/>
                  <a:gd name="connsiteX185" fmla="*/ 734833 w 1935893"/>
                  <a:gd name="connsiteY185" fmla="*/ 548963 h 1590788"/>
                  <a:gd name="connsiteX186" fmla="*/ 733180 w 1935893"/>
                  <a:gd name="connsiteY186" fmla="*/ 559450 h 1590788"/>
                  <a:gd name="connsiteX187" fmla="*/ 743325 w 1935893"/>
                  <a:gd name="connsiteY187" fmla="*/ 571818 h 1590788"/>
                  <a:gd name="connsiteX188" fmla="*/ 739108 w 1935893"/>
                  <a:gd name="connsiteY188" fmla="*/ 578486 h 1590788"/>
                  <a:gd name="connsiteX189" fmla="*/ 718761 w 1935893"/>
                  <a:gd name="connsiteY189" fmla="*/ 574668 h 1590788"/>
                  <a:gd name="connsiteX190" fmla="*/ 717336 w 1935893"/>
                  <a:gd name="connsiteY190" fmla="*/ 568113 h 1590788"/>
                  <a:gd name="connsiteX191" fmla="*/ 713175 w 1935893"/>
                  <a:gd name="connsiteY191" fmla="*/ 563440 h 1590788"/>
                  <a:gd name="connsiteX192" fmla="*/ 712776 w 1935893"/>
                  <a:gd name="connsiteY192" fmla="*/ 554320 h 1590788"/>
                  <a:gd name="connsiteX193" fmla="*/ 692144 w 1935893"/>
                  <a:gd name="connsiteY193" fmla="*/ 523771 h 1590788"/>
                  <a:gd name="connsiteX194" fmla="*/ 677268 w 1935893"/>
                  <a:gd name="connsiteY194" fmla="*/ 517901 h 1590788"/>
                  <a:gd name="connsiteX195" fmla="*/ 672253 w 1935893"/>
                  <a:gd name="connsiteY195" fmla="*/ 529927 h 1590788"/>
                  <a:gd name="connsiteX196" fmla="*/ 681315 w 1935893"/>
                  <a:gd name="connsiteY196" fmla="*/ 531807 h 1590788"/>
                  <a:gd name="connsiteX197" fmla="*/ 688143 w 1935893"/>
                  <a:gd name="connsiteY197" fmla="*/ 545064 h 1590788"/>
                  <a:gd name="connsiteX198" fmla="*/ 687015 w 1935893"/>
                  <a:gd name="connsiteY198" fmla="*/ 547481 h 1590788"/>
                  <a:gd name="connsiteX199" fmla="*/ 659999 w 1935893"/>
                  <a:gd name="connsiteY199" fmla="*/ 545201 h 1590788"/>
                  <a:gd name="connsiteX200" fmla="*/ 656066 w 1935893"/>
                  <a:gd name="connsiteY200" fmla="*/ 550388 h 1590788"/>
                  <a:gd name="connsiteX201" fmla="*/ 650367 w 1935893"/>
                  <a:gd name="connsiteY201" fmla="*/ 551129 h 1590788"/>
                  <a:gd name="connsiteX202" fmla="*/ 644269 w 1935893"/>
                  <a:gd name="connsiteY202" fmla="*/ 524341 h 1590788"/>
                  <a:gd name="connsiteX203" fmla="*/ 614745 w 1935893"/>
                  <a:gd name="connsiteY203" fmla="*/ 518642 h 1590788"/>
                  <a:gd name="connsiteX204" fmla="*/ 609787 w 1935893"/>
                  <a:gd name="connsiteY204" fmla="*/ 520295 h 1590788"/>
                  <a:gd name="connsiteX205" fmla="*/ 608077 w 1935893"/>
                  <a:gd name="connsiteY205" fmla="*/ 525994 h 1590788"/>
                  <a:gd name="connsiteX206" fmla="*/ 611155 w 1935893"/>
                  <a:gd name="connsiteY206" fmla="*/ 543548 h 1590788"/>
                  <a:gd name="connsiteX207" fmla="*/ 581460 w 1935893"/>
                  <a:gd name="connsiteY207" fmla="*/ 539445 h 1590788"/>
                  <a:gd name="connsiteX208" fmla="*/ 577471 w 1935893"/>
                  <a:gd name="connsiteY208" fmla="*/ 536538 h 1590788"/>
                  <a:gd name="connsiteX209" fmla="*/ 583170 w 1935893"/>
                  <a:gd name="connsiteY209" fmla="*/ 532092 h 1590788"/>
                  <a:gd name="connsiteX210" fmla="*/ 591434 w 1935893"/>
                  <a:gd name="connsiteY210" fmla="*/ 532092 h 1590788"/>
                  <a:gd name="connsiteX211" fmla="*/ 592745 w 1935893"/>
                  <a:gd name="connsiteY211" fmla="*/ 525994 h 1590788"/>
                  <a:gd name="connsiteX212" fmla="*/ 597533 w 1935893"/>
                  <a:gd name="connsiteY212" fmla="*/ 519782 h 1590788"/>
                  <a:gd name="connsiteX213" fmla="*/ 591035 w 1935893"/>
                  <a:gd name="connsiteY213" fmla="*/ 510662 h 1590788"/>
                  <a:gd name="connsiteX214" fmla="*/ 590237 w 1935893"/>
                  <a:gd name="connsiteY214" fmla="*/ 503082 h 1590788"/>
                  <a:gd name="connsiteX215" fmla="*/ 578839 w 1935893"/>
                  <a:gd name="connsiteY215" fmla="*/ 500232 h 1590788"/>
                  <a:gd name="connsiteX216" fmla="*/ 566072 w 1935893"/>
                  <a:gd name="connsiteY216" fmla="*/ 502113 h 1590788"/>
                  <a:gd name="connsiteX217" fmla="*/ 556554 w 1935893"/>
                  <a:gd name="connsiteY217" fmla="*/ 513113 h 1590788"/>
                  <a:gd name="connsiteX218" fmla="*/ 542533 w 1935893"/>
                  <a:gd name="connsiteY218" fmla="*/ 519326 h 1590788"/>
                  <a:gd name="connsiteX219" fmla="*/ 538087 w 1935893"/>
                  <a:gd name="connsiteY219" fmla="*/ 523201 h 1590788"/>
                  <a:gd name="connsiteX220" fmla="*/ 531932 w 1935893"/>
                  <a:gd name="connsiteY220" fmla="*/ 526108 h 1590788"/>
                  <a:gd name="connsiteX221" fmla="*/ 505543 w 1935893"/>
                  <a:gd name="connsiteY221" fmla="*/ 535968 h 1590788"/>
                  <a:gd name="connsiteX222" fmla="*/ 502580 w 1935893"/>
                  <a:gd name="connsiteY222" fmla="*/ 545372 h 1590788"/>
                  <a:gd name="connsiteX223" fmla="*/ 495911 w 1935893"/>
                  <a:gd name="connsiteY223" fmla="*/ 553579 h 1590788"/>
                  <a:gd name="connsiteX224" fmla="*/ 494315 w 1935893"/>
                  <a:gd name="connsiteY224" fmla="*/ 564978 h 1590788"/>
                  <a:gd name="connsiteX225" fmla="*/ 489300 w 1935893"/>
                  <a:gd name="connsiteY225" fmla="*/ 566574 h 1590788"/>
                  <a:gd name="connsiteX226" fmla="*/ 488958 w 1935893"/>
                  <a:gd name="connsiteY226" fmla="*/ 576605 h 1590788"/>
                  <a:gd name="connsiteX227" fmla="*/ 499958 w 1935893"/>
                  <a:gd name="connsiteY227" fmla="*/ 580481 h 1590788"/>
                  <a:gd name="connsiteX228" fmla="*/ 510673 w 1935893"/>
                  <a:gd name="connsiteY228" fmla="*/ 584927 h 1590788"/>
                  <a:gd name="connsiteX229" fmla="*/ 514377 w 1935893"/>
                  <a:gd name="connsiteY229" fmla="*/ 589714 h 1590788"/>
                  <a:gd name="connsiteX230" fmla="*/ 529367 w 1935893"/>
                  <a:gd name="connsiteY230" fmla="*/ 590113 h 1590788"/>
                  <a:gd name="connsiteX231" fmla="*/ 533414 w 1935893"/>
                  <a:gd name="connsiteY231" fmla="*/ 580886 h 1590788"/>
                  <a:gd name="connsiteX232" fmla="*/ 533585 w 1935893"/>
                  <a:gd name="connsiteY232" fmla="*/ 580823 h 1590788"/>
                  <a:gd name="connsiteX233" fmla="*/ 544984 w 1935893"/>
                  <a:gd name="connsiteY233" fmla="*/ 580481 h 1590788"/>
                  <a:gd name="connsiteX234" fmla="*/ 564020 w 1935893"/>
                  <a:gd name="connsiteY234" fmla="*/ 583502 h 1590788"/>
                  <a:gd name="connsiteX235" fmla="*/ 559688 w 1935893"/>
                  <a:gd name="connsiteY235" fmla="*/ 591595 h 1590788"/>
                  <a:gd name="connsiteX236" fmla="*/ 524580 w 1935893"/>
                  <a:gd name="connsiteY236" fmla="*/ 597750 h 1590788"/>
                  <a:gd name="connsiteX237" fmla="*/ 517341 w 1935893"/>
                  <a:gd name="connsiteY237" fmla="*/ 598548 h 1590788"/>
                  <a:gd name="connsiteX238" fmla="*/ 512326 w 1935893"/>
                  <a:gd name="connsiteY238" fmla="*/ 604932 h 1590788"/>
                  <a:gd name="connsiteX239" fmla="*/ 505372 w 1935893"/>
                  <a:gd name="connsiteY239" fmla="*/ 606699 h 1590788"/>
                  <a:gd name="connsiteX240" fmla="*/ 505714 w 1935893"/>
                  <a:gd name="connsiteY240" fmla="*/ 613082 h 1590788"/>
                  <a:gd name="connsiteX241" fmla="*/ 520020 w 1935893"/>
                  <a:gd name="connsiteY241" fmla="*/ 622372 h 1590788"/>
                  <a:gd name="connsiteX242" fmla="*/ 573880 w 1935893"/>
                  <a:gd name="connsiteY242" fmla="*/ 616673 h 1590788"/>
                  <a:gd name="connsiteX243" fmla="*/ 606082 w 1935893"/>
                  <a:gd name="connsiteY243" fmla="*/ 618952 h 1590788"/>
                  <a:gd name="connsiteX244" fmla="*/ 614574 w 1935893"/>
                  <a:gd name="connsiteY244" fmla="*/ 622087 h 1590788"/>
                  <a:gd name="connsiteX245" fmla="*/ 618564 w 1935893"/>
                  <a:gd name="connsiteY245" fmla="*/ 627046 h 1590788"/>
                  <a:gd name="connsiteX246" fmla="*/ 633098 w 1935893"/>
                  <a:gd name="connsiteY246" fmla="*/ 629040 h 1590788"/>
                  <a:gd name="connsiteX247" fmla="*/ 642445 w 1935893"/>
                  <a:gd name="connsiteY247" fmla="*/ 637590 h 1590788"/>
                  <a:gd name="connsiteX248" fmla="*/ 633725 w 1935893"/>
                  <a:gd name="connsiteY248" fmla="*/ 641351 h 1590788"/>
                  <a:gd name="connsiteX249" fmla="*/ 602719 w 1935893"/>
                  <a:gd name="connsiteY249" fmla="*/ 642548 h 1590788"/>
                  <a:gd name="connsiteX250" fmla="*/ 588927 w 1935893"/>
                  <a:gd name="connsiteY250" fmla="*/ 643118 h 1590788"/>
                  <a:gd name="connsiteX251" fmla="*/ 529481 w 1935893"/>
                  <a:gd name="connsiteY251" fmla="*/ 643460 h 1590788"/>
                  <a:gd name="connsiteX252" fmla="*/ 523212 w 1935893"/>
                  <a:gd name="connsiteY252" fmla="*/ 653491 h 1590788"/>
                  <a:gd name="connsiteX253" fmla="*/ 517512 w 1935893"/>
                  <a:gd name="connsiteY253" fmla="*/ 657880 h 1590788"/>
                  <a:gd name="connsiteX254" fmla="*/ 529880 w 1935893"/>
                  <a:gd name="connsiteY254" fmla="*/ 661129 h 1590788"/>
                  <a:gd name="connsiteX255" fmla="*/ 531077 w 1935893"/>
                  <a:gd name="connsiteY255" fmla="*/ 666828 h 1590788"/>
                  <a:gd name="connsiteX256" fmla="*/ 580890 w 1935893"/>
                  <a:gd name="connsiteY256" fmla="*/ 675377 h 1590788"/>
                  <a:gd name="connsiteX257" fmla="*/ 600725 w 1935893"/>
                  <a:gd name="connsiteY257" fmla="*/ 675377 h 1590788"/>
                  <a:gd name="connsiteX258" fmla="*/ 605854 w 1935893"/>
                  <a:gd name="connsiteY258" fmla="*/ 677999 h 1590788"/>
                  <a:gd name="connsiteX259" fmla="*/ 607963 w 1935893"/>
                  <a:gd name="connsiteY259" fmla="*/ 683698 h 1590788"/>
                  <a:gd name="connsiteX260" fmla="*/ 610756 w 1935893"/>
                  <a:gd name="connsiteY260" fmla="*/ 699258 h 1590788"/>
                  <a:gd name="connsiteX261" fmla="*/ 613035 w 1935893"/>
                  <a:gd name="connsiteY261" fmla="*/ 705584 h 1590788"/>
                  <a:gd name="connsiteX262" fmla="*/ 624434 w 1935893"/>
                  <a:gd name="connsiteY262" fmla="*/ 709346 h 1590788"/>
                  <a:gd name="connsiteX263" fmla="*/ 677325 w 1935893"/>
                  <a:gd name="connsiteY263" fmla="*/ 707636 h 1590788"/>
                  <a:gd name="connsiteX264" fmla="*/ 684051 w 1935893"/>
                  <a:gd name="connsiteY264" fmla="*/ 700569 h 1590788"/>
                  <a:gd name="connsiteX265" fmla="*/ 695051 w 1935893"/>
                  <a:gd name="connsiteY265" fmla="*/ 698916 h 1590788"/>
                  <a:gd name="connsiteX266" fmla="*/ 699610 w 1935893"/>
                  <a:gd name="connsiteY266" fmla="*/ 694242 h 1590788"/>
                  <a:gd name="connsiteX267" fmla="*/ 714486 w 1935893"/>
                  <a:gd name="connsiteY267" fmla="*/ 691108 h 1590788"/>
                  <a:gd name="connsiteX268" fmla="*/ 741388 w 1935893"/>
                  <a:gd name="connsiteY268" fmla="*/ 686434 h 1590788"/>
                  <a:gd name="connsiteX269" fmla="*/ 758486 w 1935893"/>
                  <a:gd name="connsiteY269" fmla="*/ 673667 h 1590788"/>
                  <a:gd name="connsiteX270" fmla="*/ 782367 w 1935893"/>
                  <a:gd name="connsiteY270" fmla="*/ 689455 h 1590788"/>
                  <a:gd name="connsiteX271" fmla="*/ 796558 w 1935893"/>
                  <a:gd name="connsiteY271" fmla="*/ 692419 h 1590788"/>
                  <a:gd name="connsiteX272" fmla="*/ 802885 w 1935893"/>
                  <a:gd name="connsiteY272" fmla="*/ 701025 h 1590788"/>
                  <a:gd name="connsiteX273" fmla="*/ 813942 w 1935893"/>
                  <a:gd name="connsiteY273" fmla="*/ 703077 h 1590788"/>
                  <a:gd name="connsiteX274" fmla="*/ 843465 w 1935893"/>
                  <a:gd name="connsiteY274" fmla="*/ 700911 h 1590788"/>
                  <a:gd name="connsiteX275" fmla="*/ 852413 w 1935893"/>
                  <a:gd name="connsiteY275" fmla="*/ 698460 h 1590788"/>
                  <a:gd name="connsiteX276" fmla="*/ 864268 w 1935893"/>
                  <a:gd name="connsiteY276" fmla="*/ 689797 h 1590788"/>
                  <a:gd name="connsiteX277" fmla="*/ 859139 w 1935893"/>
                  <a:gd name="connsiteY277" fmla="*/ 669507 h 1590788"/>
                  <a:gd name="connsiteX278" fmla="*/ 857600 w 1935893"/>
                  <a:gd name="connsiteY278" fmla="*/ 667398 h 1590788"/>
                  <a:gd name="connsiteX279" fmla="*/ 843465 w 1935893"/>
                  <a:gd name="connsiteY279" fmla="*/ 673097 h 1590788"/>
                  <a:gd name="connsiteX280" fmla="*/ 831131 w 1935893"/>
                  <a:gd name="connsiteY280" fmla="*/ 667512 h 1590788"/>
                  <a:gd name="connsiteX281" fmla="*/ 830698 w 1935893"/>
                  <a:gd name="connsiteY281" fmla="*/ 662268 h 1590788"/>
                  <a:gd name="connsiteX282" fmla="*/ 844434 w 1935893"/>
                  <a:gd name="connsiteY282" fmla="*/ 660502 h 1590788"/>
                  <a:gd name="connsiteX283" fmla="*/ 429113 w 1935893"/>
                  <a:gd name="connsiteY283" fmla="*/ 384818 h 1590788"/>
                  <a:gd name="connsiteX284" fmla="*/ 431735 w 1935893"/>
                  <a:gd name="connsiteY284" fmla="*/ 384818 h 1590788"/>
                  <a:gd name="connsiteX285" fmla="*/ 432932 w 1935893"/>
                  <a:gd name="connsiteY285" fmla="*/ 382652 h 1590788"/>
                  <a:gd name="connsiteX286" fmla="*/ 438632 w 1935893"/>
                  <a:gd name="connsiteY286" fmla="*/ 373875 h 1590788"/>
                  <a:gd name="connsiteX287" fmla="*/ 447716 w 1935893"/>
                  <a:gd name="connsiteY287" fmla="*/ 376075 h 1590788"/>
                  <a:gd name="connsiteX288" fmla="*/ 447865 w 1935893"/>
                  <a:gd name="connsiteY288" fmla="*/ 376326 h 1590788"/>
                  <a:gd name="connsiteX289" fmla="*/ 448549 w 1935893"/>
                  <a:gd name="connsiteY289" fmla="*/ 382538 h 1590788"/>
                  <a:gd name="connsiteX290" fmla="*/ 456955 w 1935893"/>
                  <a:gd name="connsiteY290" fmla="*/ 388516 h 1590788"/>
                  <a:gd name="connsiteX291" fmla="*/ 463025 w 1935893"/>
                  <a:gd name="connsiteY291" fmla="*/ 381740 h 1590788"/>
                  <a:gd name="connsiteX292" fmla="*/ 463025 w 1935893"/>
                  <a:gd name="connsiteY292" fmla="*/ 374274 h 1590788"/>
                  <a:gd name="connsiteX293" fmla="*/ 471802 w 1935893"/>
                  <a:gd name="connsiteY293" fmla="*/ 370227 h 1590788"/>
                  <a:gd name="connsiteX294" fmla="*/ 482061 w 1935893"/>
                  <a:gd name="connsiteY294" fmla="*/ 370227 h 1590788"/>
                  <a:gd name="connsiteX295" fmla="*/ 490326 w 1935893"/>
                  <a:gd name="connsiteY295" fmla="*/ 358828 h 1590788"/>
                  <a:gd name="connsiteX296" fmla="*/ 494657 w 1935893"/>
                  <a:gd name="connsiteY296" fmla="*/ 345036 h 1590788"/>
                  <a:gd name="connsiteX297" fmla="*/ 511756 w 1935893"/>
                  <a:gd name="connsiteY297" fmla="*/ 340077 h 1590788"/>
                  <a:gd name="connsiteX298" fmla="*/ 515574 w 1935893"/>
                  <a:gd name="connsiteY298" fmla="*/ 343212 h 1590788"/>
                  <a:gd name="connsiteX299" fmla="*/ 517227 w 1935893"/>
                  <a:gd name="connsiteY299" fmla="*/ 360310 h 1590788"/>
                  <a:gd name="connsiteX300" fmla="*/ 531271 w 1935893"/>
                  <a:gd name="connsiteY300" fmla="*/ 355800 h 1590788"/>
                  <a:gd name="connsiteX301" fmla="*/ 532388 w 1935893"/>
                  <a:gd name="connsiteY301" fmla="*/ 350165 h 1590788"/>
                  <a:gd name="connsiteX302" fmla="*/ 532388 w 1935893"/>
                  <a:gd name="connsiteY302" fmla="*/ 348056 h 1590788"/>
                  <a:gd name="connsiteX303" fmla="*/ 539227 w 1935893"/>
                  <a:gd name="connsiteY303" fmla="*/ 346632 h 1590788"/>
                  <a:gd name="connsiteX304" fmla="*/ 545668 w 1935893"/>
                  <a:gd name="connsiteY304" fmla="*/ 339963 h 1590788"/>
                  <a:gd name="connsiteX305" fmla="*/ 550284 w 1935893"/>
                  <a:gd name="connsiteY305" fmla="*/ 331585 h 1590788"/>
                  <a:gd name="connsiteX306" fmla="*/ 552621 w 1935893"/>
                  <a:gd name="connsiteY306" fmla="*/ 329818 h 1590788"/>
                  <a:gd name="connsiteX307" fmla="*/ 550569 w 1935893"/>
                  <a:gd name="connsiteY307" fmla="*/ 323264 h 1590788"/>
                  <a:gd name="connsiteX308" fmla="*/ 547378 w 1935893"/>
                  <a:gd name="connsiteY308" fmla="*/ 316880 h 1590788"/>
                  <a:gd name="connsiteX309" fmla="*/ 557979 w 1935893"/>
                  <a:gd name="connsiteY309" fmla="*/ 315228 h 1590788"/>
                  <a:gd name="connsiteX310" fmla="*/ 552279 w 1935893"/>
                  <a:gd name="connsiteY310" fmla="*/ 301207 h 1590788"/>
                  <a:gd name="connsiteX311" fmla="*/ 536434 w 1935893"/>
                  <a:gd name="connsiteY311" fmla="*/ 298186 h 1590788"/>
                  <a:gd name="connsiteX312" fmla="*/ 527885 w 1935893"/>
                  <a:gd name="connsiteY312" fmla="*/ 317963 h 1590788"/>
                  <a:gd name="connsiteX313" fmla="*/ 512782 w 1935893"/>
                  <a:gd name="connsiteY313" fmla="*/ 312891 h 1590788"/>
                  <a:gd name="connsiteX314" fmla="*/ 510787 w 1935893"/>
                  <a:gd name="connsiteY314" fmla="*/ 309072 h 1590788"/>
                  <a:gd name="connsiteX315" fmla="*/ 506911 w 1935893"/>
                  <a:gd name="connsiteY315" fmla="*/ 307932 h 1590788"/>
                  <a:gd name="connsiteX316" fmla="*/ 489186 w 1935893"/>
                  <a:gd name="connsiteY316" fmla="*/ 312207 h 1590788"/>
                  <a:gd name="connsiteX317" fmla="*/ 481321 w 1935893"/>
                  <a:gd name="connsiteY317" fmla="*/ 315911 h 1590788"/>
                  <a:gd name="connsiteX318" fmla="*/ 477787 w 1935893"/>
                  <a:gd name="connsiteY318" fmla="*/ 323606 h 1590788"/>
                  <a:gd name="connsiteX319" fmla="*/ 464678 w 1935893"/>
                  <a:gd name="connsiteY319" fmla="*/ 332668 h 1590788"/>
                  <a:gd name="connsiteX320" fmla="*/ 461201 w 1935893"/>
                  <a:gd name="connsiteY320" fmla="*/ 347601 h 1590788"/>
                  <a:gd name="connsiteX321" fmla="*/ 460688 w 1935893"/>
                  <a:gd name="connsiteY321" fmla="*/ 352103 h 1590788"/>
                  <a:gd name="connsiteX322" fmla="*/ 453222 w 1935893"/>
                  <a:gd name="connsiteY322" fmla="*/ 356321 h 1590788"/>
                  <a:gd name="connsiteX323" fmla="*/ 428316 w 1935893"/>
                  <a:gd name="connsiteY323" fmla="*/ 364585 h 1590788"/>
                  <a:gd name="connsiteX324" fmla="*/ 418398 w 1935893"/>
                  <a:gd name="connsiteY324" fmla="*/ 371994 h 1590788"/>
                  <a:gd name="connsiteX325" fmla="*/ 419709 w 1935893"/>
                  <a:gd name="connsiteY325" fmla="*/ 383393 h 1590788"/>
                  <a:gd name="connsiteX326" fmla="*/ 502694 w 1935893"/>
                  <a:gd name="connsiteY326" fmla="*/ 392284 h 1590788"/>
                  <a:gd name="connsiteX327" fmla="*/ 514093 w 1935893"/>
                  <a:gd name="connsiteY327" fmla="*/ 387155 h 1590788"/>
                  <a:gd name="connsiteX328" fmla="*/ 513694 w 1935893"/>
                  <a:gd name="connsiteY328" fmla="*/ 377580 h 1590788"/>
                  <a:gd name="connsiteX329" fmla="*/ 510274 w 1935893"/>
                  <a:gd name="connsiteY329" fmla="*/ 372849 h 1590788"/>
                  <a:gd name="connsiteX330" fmla="*/ 507025 w 1935893"/>
                  <a:gd name="connsiteY330" fmla="*/ 371367 h 1590788"/>
                  <a:gd name="connsiteX331" fmla="*/ 501326 w 1935893"/>
                  <a:gd name="connsiteY331" fmla="*/ 379062 h 1590788"/>
                  <a:gd name="connsiteX332" fmla="*/ 496481 w 1935893"/>
                  <a:gd name="connsiteY332" fmla="*/ 381740 h 1590788"/>
                  <a:gd name="connsiteX333" fmla="*/ 485595 w 1935893"/>
                  <a:gd name="connsiteY333" fmla="*/ 385274 h 1590788"/>
                  <a:gd name="connsiteX334" fmla="*/ 484341 w 1935893"/>
                  <a:gd name="connsiteY334" fmla="*/ 393766 h 1590788"/>
                  <a:gd name="connsiteX335" fmla="*/ 482517 w 1935893"/>
                  <a:gd name="connsiteY335" fmla="*/ 395761 h 1590788"/>
                  <a:gd name="connsiteX336" fmla="*/ 483942 w 1935893"/>
                  <a:gd name="connsiteY336" fmla="*/ 400264 h 1590788"/>
                  <a:gd name="connsiteX337" fmla="*/ 488844 w 1935893"/>
                  <a:gd name="connsiteY337" fmla="*/ 401803 h 1590788"/>
                  <a:gd name="connsiteX338" fmla="*/ 496538 w 1935893"/>
                  <a:gd name="connsiteY338" fmla="*/ 400948 h 1590788"/>
                  <a:gd name="connsiteX339" fmla="*/ 497450 w 1935893"/>
                  <a:gd name="connsiteY339" fmla="*/ 394735 h 1590788"/>
                  <a:gd name="connsiteX340" fmla="*/ 502694 w 1935893"/>
                  <a:gd name="connsiteY340" fmla="*/ 392284 h 1590788"/>
                  <a:gd name="connsiteX341" fmla="*/ 557409 w 1935893"/>
                  <a:gd name="connsiteY341" fmla="*/ 366295 h 1590788"/>
                  <a:gd name="connsiteX342" fmla="*/ 544699 w 1935893"/>
                  <a:gd name="connsiteY342" fmla="*/ 370797 h 1590788"/>
                  <a:gd name="connsiteX343" fmla="*/ 546523 w 1935893"/>
                  <a:gd name="connsiteY343" fmla="*/ 376497 h 1590788"/>
                  <a:gd name="connsiteX344" fmla="*/ 552222 w 1935893"/>
                  <a:gd name="connsiteY344" fmla="*/ 379347 h 1590788"/>
                  <a:gd name="connsiteX345" fmla="*/ 567269 w 1935893"/>
                  <a:gd name="connsiteY345" fmla="*/ 388580 h 1590788"/>
                  <a:gd name="connsiteX346" fmla="*/ 539170 w 1935893"/>
                  <a:gd name="connsiteY346" fmla="*/ 388124 h 1590788"/>
                  <a:gd name="connsiteX347" fmla="*/ 530222 w 1935893"/>
                  <a:gd name="connsiteY347" fmla="*/ 393367 h 1590788"/>
                  <a:gd name="connsiteX348" fmla="*/ 536263 w 1935893"/>
                  <a:gd name="connsiteY348" fmla="*/ 398098 h 1590788"/>
                  <a:gd name="connsiteX349" fmla="*/ 564761 w 1935893"/>
                  <a:gd name="connsiteY349" fmla="*/ 401119 h 1590788"/>
                  <a:gd name="connsiteX350" fmla="*/ 554901 w 1935893"/>
                  <a:gd name="connsiteY350" fmla="*/ 407217 h 1590788"/>
                  <a:gd name="connsiteX351" fmla="*/ 527999 w 1935893"/>
                  <a:gd name="connsiteY351" fmla="*/ 409611 h 1590788"/>
                  <a:gd name="connsiteX352" fmla="*/ 520932 w 1935893"/>
                  <a:gd name="connsiteY352" fmla="*/ 411606 h 1590788"/>
                  <a:gd name="connsiteX353" fmla="*/ 519946 w 1935893"/>
                  <a:gd name="connsiteY353" fmla="*/ 418059 h 1590788"/>
                  <a:gd name="connsiteX354" fmla="*/ 520020 w 1935893"/>
                  <a:gd name="connsiteY354" fmla="*/ 418160 h 1590788"/>
                  <a:gd name="connsiteX355" fmla="*/ 523668 w 1935893"/>
                  <a:gd name="connsiteY355" fmla="*/ 419414 h 1590788"/>
                  <a:gd name="connsiteX356" fmla="*/ 548460 w 1935893"/>
                  <a:gd name="connsiteY356" fmla="*/ 422891 h 1590788"/>
                  <a:gd name="connsiteX357" fmla="*/ 581346 w 1935893"/>
                  <a:gd name="connsiteY357" fmla="*/ 416792 h 1590788"/>
                  <a:gd name="connsiteX358" fmla="*/ 588927 w 1935893"/>
                  <a:gd name="connsiteY358" fmla="*/ 405393 h 1590788"/>
                  <a:gd name="connsiteX359" fmla="*/ 600839 w 1935893"/>
                  <a:gd name="connsiteY359" fmla="*/ 401404 h 1590788"/>
                  <a:gd name="connsiteX360" fmla="*/ 604258 w 1935893"/>
                  <a:gd name="connsiteY360" fmla="*/ 411948 h 1590788"/>
                  <a:gd name="connsiteX361" fmla="*/ 597476 w 1935893"/>
                  <a:gd name="connsiteY361" fmla="*/ 421808 h 1590788"/>
                  <a:gd name="connsiteX362" fmla="*/ 611041 w 1935893"/>
                  <a:gd name="connsiteY362" fmla="*/ 421808 h 1590788"/>
                  <a:gd name="connsiteX363" fmla="*/ 623408 w 1935893"/>
                  <a:gd name="connsiteY363" fmla="*/ 414740 h 1590788"/>
                  <a:gd name="connsiteX364" fmla="*/ 651906 w 1935893"/>
                  <a:gd name="connsiteY364" fmla="*/ 413657 h 1590788"/>
                  <a:gd name="connsiteX365" fmla="*/ 651906 w 1935893"/>
                  <a:gd name="connsiteY365" fmla="*/ 420497 h 1590788"/>
                  <a:gd name="connsiteX366" fmla="*/ 644269 w 1935893"/>
                  <a:gd name="connsiteY366" fmla="*/ 421466 h 1590788"/>
                  <a:gd name="connsiteX367" fmla="*/ 641761 w 1935893"/>
                  <a:gd name="connsiteY367" fmla="*/ 428248 h 1590788"/>
                  <a:gd name="connsiteX368" fmla="*/ 624206 w 1935893"/>
                  <a:gd name="connsiteY368" fmla="*/ 434404 h 1590788"/>
                  <a:gd name="connsiteX369" fmla="*/ 614517 w 1935893"/>
                  <a:gd name="connsiteY369" fmla="*/ 436854 h 1590788"/>
                  <a:gd name="connsiteX370" fmla="*/ 588015 w 1935893"/>
                  <a:gd name="connsiteY370" fmla="*/ 440901 h 1590788"/>
                  <a:gd name="connsiteX371" fmla="*/ 591719 w 1935893"/>
                  <a:gd name="connsiteY371" fmla="*/ 450533 h 1590788"/>
                  <a:gd name="connsiteX372" fmla="*/ 601864 w 1935893"/>
                  <a:gd name="connsiteY372" fmla="*/ 454238 h 1590788"/>
                  <a:gd name="connsiteX373" fmla="*/ 638113 w 1935893"/>
                  <a:gd name="connsiteY373" fmla="*/ 453383 h 1590788"/>
                  <a:gd name="connsiteX374" fmla="*/ 644838 w 1935893"/>
                  <a:gd name="connsiteY374" fmla="*/ 449849 h 1590788"/>
                  <a:gd name="connsiteX375" fmla="*/ 646890 w 1935893"/>
                  <a:gd name="connsiteY375" fmla="*/ 446543 h 1590788"/>
                  <a:gd name="connsiteX376" fmla="*/ 657377 w 1935893"/>
                  <a:gd name="connsiteY376" fmla="*/ 444891 h 1590788"/>
                  <a:gd name="connsiteX377" fmla="*/ 661709 w 1935893"/>
                  <a:gd name="connsiteY377" fmla="*/ 436797 h 1590788"/>
                  <a:gd name="connsiteX378" fmla="*/ 666155 w 1935893"/>
                  <a:gd name="connsiteY378" fmla="*/ 435714 h 1590788"/>
                  <a:gd name="connsiteX379" fmla="*/ 682113 w 1935893"/>
                  <a:gd name="connsiteY379" fmla="*/ 425797 h 1590788"/>
                  <a:gd name="connsiteX380" fmla="*/ 693512 w 1935893"/>
                  <a:gd name="connsiteY380" fmla="*/ 424258 h 1590788"/>
                  <a:gd name="connsiteX381" fmla="*/ 748113 w 1935893"/>
                  <a:gd name="connsiteY381" fmla="*/ 424258 h 1590788"/>
                  <a:gd name="connsiteX382" fmla="*/ 762305 w 1935893"/>
                  <a:gd name="connsiteY382" fmla="*/ 422606 h 1590788"/>
                  <a:gd name="connsiteX383" fmla="*/ 772051 w 1935893"/>
                  <a:gd name="connsiteY383" fmla="*/ 412916 h 1590788"/>
                  <a:gd name="connsiteX384" fmla="*/ 773248 w 1935893"/>
                  <a:gd name="connsiteY384" fmla="*/ 407217 h 1590788"/>
                  <a:gd name="connsiteX385" fmla="*/ 776952 w 1935893"/>
                  <a:gd name="connsiteY385" fmla="*/ 402828 h 1590788"/>
                  <a:gd name="connsiteX386" fmla="*/ 774672 w 1935893"/>
                  <a:gd name="connsiteY386" fmla="*/ 380771 h 1590788"/>
                  <a:gd name="connsiteX387" fmla="*/ 762020 w 1935893"/>
                  <a:gd name="connsiteY387" fmla="*/ 374901 h 1590788"/>
                  <a:gd name="connsiteX388" fmla="*/ 744294 w 1935893"/>
                  <a:gd name="connsiteY388" fmla="*/ 389435 h 1590788"/>
                  <a:gd name="connsiteX389" fmla="*/ 739450 w 1935893"/>
                  <a:gd name="connsiteY389" fmla="*/ 388409 h 1590788"/>
                  <a:gd name="connsiteX390" fmla="*/ 736828 w 1935893"/>
                  <a:gd name="connsiteY390" fmla="*/ 386870 h 1590788"/>
                  <a:gd name="connsiteX391" fmla="*/ 735973 w 1935893"/>
                  <a:gd name="connsiteY391" fmla="*/ 383849 h 1590788"/>
                  <a:gd name="connsiteX392" fmla="*/ 720356 w 1935893"/>
                  <a:gd name="connsiteY392" fmla="*/ 366751 h 1590788"/>
                  <a:gd name="connsiteX393" fmla="*/ 720356 w 1935893"/>
                  <a:gd name="connsiteY393" fmla="*/ 360082 h 1590788"/>
                  <a:gd name="connsiteX394" fmla="*/ 708502 w 1935893"/>
                  <a:gd name="connsiteY394" fmla="*/ 354383 h 1590788"/>
                  <a:gd name="connsiteX395" fmla="*/ 705367 w 1935893"/>
                  <a:gd name="connsiteY395" fmla="*/ 348227 h 1590788"/>
                  <a:gd name="connsiteX396" fmla="*/ 688268 w 1935893"/>
                  <a:gd name="connsiteY396" fmla="*/ 346974 h 1590788"/>
                  <a:gd name="connsiteX397" fmla="*/ 684336 w 1935893"/>
                  <a:gd name="connsiteY397" fmla="*/ 349310 h 1590788"/>
                  <a:gd name="connsiteX398" fmla="*/ 682911 w 1935893"/>
                  <a:gd name="connsiteY398" fmla="*/ 352331 h 1590788"/>
                  <a:gd name="connsiteX399" fmla="*/ 679548 w 1935893"/>
                  <a:gd name="connsiteY399" fmla="*/ 368917 h 1590788"/>
                  <a:gd name="connsiteX400" fmla="*/ 696077 w 1935893"/>
                  <a:gd name="connsiteY400" fmla="*/ 375015 h 1590788"/>
                  <a:gd name="connsiteX401" fmla="*/ 688439 w 1935893"/>
                  <a:gd name="connsiteY401" fmla="*/ 380714 h 1590788"/>
                  <a:gd name="connsiteX402" fmla="*/ 689693 w 1935893"/>
                  <a:gd name="connsiteY402" fmla="*/ 390917 h 1590788"/>
                  <a:gd name="connsiteX403" fmla="*/ 699724 w 1935893"/>
                  <a:gd name="connsiteY403" fmla="*/ 396616 h 1590788"/>
                  <a:gd name="connsiteX404" fmla="*/ 706564 w 1935893"/>
                  <a:gd name="connsiteY404" fmla="*/ 405165 h 1590788"/>
                  <a:gd name="connsiteX405" fmla="*/ 660569 w 1935893"/>
                  <a:gd name="connsiteY405" fmla="*/ 402486 h 1590788"/>
                  <a:gd name="connsiteX406" fmla="*/ 658745 w 1935893"/>
                  <a:gd name="connsiteY406" fmla="*/ 401689 h 1590788"/>
                  <a:gd name="connsiteX407" fmla="*/ 657662 w 1935893"/>
                  <a:gd name="connsiteY407" fmla="*/ 398839 h 1590788"/>
                  <a:gd name="connsiteX408" fmla="*/ 646263 w 1935893"/>
                  <a:gd name="connsiteY408" fmla="*/ 391486 h 1590788"/>
                  <a:gd name="connsiteX409" fmla="*/ 648999 w 1935893"/>
                  <a:gd name="connsiteY409" fmla="*/ 384305 h 1590788"/>
                  <a:gd name="connsiteX410" fmla="*/ 634294 w 1935893"/>
                  <a:gd name="connsiteY410" fmla="*/ 375756 h 1590788"/>
                  <a:gd name="connsiteX411" fmla="*/ 593942 w 1935893"/>
                  <a:gd name="connsiteY411" fmla="*/ 365098 h 1590788"/>
                  <a:gd name="connsiteX412" fmla="*/ 591662 w 1935893"/>
                  <a:gd name="connsiteY412" fmla="*/ 363559 h 1590788"/>
                  <a:gd name="connsiteX413" fmla="*/ 590693 w 1935893"/>
                  <a:gd name="connsiteY413" fmla="*/ 360025 h 1590788"/>
                  <a:gd name="connsiteX414" fmla="*/ 578725 w 1935893"/>
                  <a:gd name="connsiteY414" fmla="*/ 349709 h 1590788"/>
                  <a:gd name="connsiteX415" fmla="*/ 566129 w 1935893"/>
                  <a:gd name="connsiteY415" fmla="*/ 354212 h 1590788"/>
                  <a:gd name="connsiteX416" fmla="*/ 562424 w 1935893"/>
                  <a:gd name="connsiteY416" fmla="*/ 357005 h 1590788"/>
                  <a:gd name="connsiteX417" fmla="*/ 557580 w 1935893"/>
                  <a:gd name="connsiteY417" fmla="*/ 366295 h 1590788"/>
                  <a:gd name="connsiteX418" fmla="*/ 579921 w 1935893"/>
                  <a:gd name="connsiteY418" fmla="*/ 286502 h 1590788"/>
                  <a:gd name="connsiteX419" fmla="*/ 582942 w 1935893"/>
                  <a:gd name="connsiteY419" fmla="*/ 291233 h 1590788"/>
                  <a:gd name="connsiteX420" fmla="*/ 599243 w 1935893"/>
                  <a:gd name="connsiteY420" fmla="*/ 297445 h 1590788"/>
                  <a:gd name="connsiteX421" fmla="*/ 602833 w 1935893"/>
                  <a:gd name="connsiteY421" fmla="*/ 297046 h 1590788"/>
                  <a:gd name="connsiteX422" fmla="*/ 605512 w 1935893"/>
                  <a:gd name="connsiteY422" fmla="*/ 290435 h 1590788"/>
                  <a:gd name="connsiteX423" fmla="*/ 602092 w 1935893"/>
                  <a:gd name="connsiteY423" fmla="*/ 284735 h 1590788"/>
                  <a:gd name="connsiteX424" fmla="*/ 596678 w 1935893"/>
                  <a:gd name="connsiteY424" fmla="*/ 280632 h 1590788"/>
                  <a:gd name="connsiteX425" fmla="*/ 578839 w 1935893"/>
                  <a:gd name="connsiteY425" fmla="*/ 276528 h 1590788"/>
                  <a:gd name="connsiteX426" fmla="*/ 576103 w 1935893"/>
                  <a:gd name="connsiteY426" fmla="*/ 277554 h 1590788"/>
                  <a:gd name="connsiteX427" fmla="*/ 576103 w 1935893"/>
                  <a:gd name="connsiteY427" fmla="*/ 282570 h 1590788"/>
                  <a:gd name="connsiteX428" fmla="*/ 579921 w 1935893"/>
                  <a:gd name="connsiteY428" fmla="*/ 286616 h 1590788"/>
                  <a:gd name="connsiteX429" fmla="*/ 675160 w 1935893"/>
                  <a:gd name="connsiteY429" fmla="*/ 284507 h 1590788"/>
                  <a:gd name="connsiteX430" fmla="*/ 690377 w 1935893"/>
                  <a:gd name="connsiteY430" fmla="*/ 281715 h 1590788"/>
                  <a:gd name="connsiteX431" fmla="*/ 688439 w 1935893"/>
                  <a:gd name="connsiteY431" fmla="*/ 276357 h 1590788"/>
                  <a:gd name="connsiteX432" fmla="*/ 682170 w 1935893"/>
                  <a:gd name="connsiteY432" fmla="*/ 275502 h 1590788"/>
                  <a:gd name="connsiteX433" fmla="*/ 635776 w 1935893"/>
                  <a:gd name="connsiteY433" fmla="*/ 277497 h 1590788"/>
                  <a:gd name="connsiteX434" fmla="*/ 633383 w 1935893"/>
                  <a:gd name="connsiteY434" fmla="*/ 278124 h 1590788"/>
                  <a:gd name="connsiteX435" fmla="*/ 632756 w 1935893"/>
                  <a:gd name="connsiteY435" fmla="*/ 284849 h 1590788"/>
                  <a:gd name="connsiteX436" fmla="*/ 627056 w 1935893"/>
                  <a:gd name="connsiteY436" fmla="*/ 289010 h 1590788"/>
                  <a:gd name="connsiteX437" fmla="*/ 619875 w 1935893"/>
                  <a:gd name="connsiteY437" fmla="*/ 291062 h 1590788"/>
                  <a:gd name="connsiteX438" fmla="*/ 617538 w 1935893"/>
                  <a:gd name="connsiteY438" fmla="*/ 295906 h 1590788"/>
                  <a:gd name="connsiteX439" fmla="*/ 624833 w 1935893"/>
                  <a:gd name="connsiteY439" fmla="*/ 307989 h 1590788"/>
                  <a:gd name="connsiteX440" fmla="*/ 639139 w 1935893"/>
                  <a:gd name="connsiteY440" fmla="*/ 311751 h 1590788"/>
                  <a:gd name="connsiteX441" fmla="*/ 651393 w 1935893"/>
                  <a:gd name="connsiteY441" fmla="*/ 313404 h 1590788"/>
                  <a:gd name="connsiteX442" fmla="*/ 657092 w 1935893"/>
                  <a:gd name="connsiteY442" fmla="*/ 313404 h 1590788"/>
                  <a:gd name="connsiteX443" fmla="*/ 661481 w 1935893"/>
                  <a:gd name="connsiteY443" fmla="*/ 309870 h 1590788"/>
                  <a:gd name="connsiteX444" fmla="*/ 673165 w 1935893"/>
                  <a:gd name="connsiteY444" fmla="*/ 303601 h 1590788"/>
                  <a:gd name="connsiteX445" fmla="*/ 680745 w 1935893"/>
                  <a:gd name="connsiteY445" fmla="*/ 299953 h 1590788"/>
                  <a:gd name="connsiteX446" fmla="*/ 677781 w 1935893"/>
                  <a:gd name="connsiteY446" fmla="*/ 293114 h 1590788"/>
                  <a:gd name="connsiteX447" fmla="*/ 669745 w 1935893"/>
                  <a:gd name="connsiteY447" fmla="*/ 291917 h 1590788"/>
                  <a:gd name="connsiteX448" fmla="*/ 670258 w 1935893"/>
                  <a:gd name="connsiteY448" fmla="*/ 286901 h 1590788"/>
                  <a:gd name="connsiteX449" fmla="*/ 675160 w 1935893"/>
                  <a:gd name="connsiteY449" fmla="*/ 284621 h 1590788"/>
                  <a:gd name="connsiteX450" fmla="*/ 649626 w 1935893"/>
                  <a:gd name="connsiteY450" fmla="*/ 262222 h 1590788"/>
                  <a:gd name="connsiteX451" fmla="*/ 654813 w 1935893"/>
                  <a:gd name="connsiteY451" fmla="*/ 260285 h 1590788"/>
                  <a:gd name="connsiteX452" fmla="*/ 652989 w 1935893"/>
                  <a:gd name="connsiteY452" fmla="*/ 255383 h 1590788"/>
                  <a:gd name="connsiteX453" fmla="*/ 647916 w 1935893"/>
                  <a:gd name="connsiteY453" fmla="*/ 252647 h 1590788"/>
                  <a:gd name="connsiteX454" fmla="*/ 644952 w 1935893"/>
                  <a:gd name="connsiteY454" fmla="*/ 250083 h 1590788"/>
                  <a:gd name="connsiteX455" fmla="*/ 634408 w 1935893"/>
                  <a:gd name="connsiteY455" fmla="*/ 247347 h 1590788"/>
                  <a:gd name="connsiteX456" fmla="*/ 623807 w 1935893"/>
                  <a:gd name="connsiteY456" fmla="*/ 250823 h 1590788"/>
                  <a:gd name="connsiteX457" fmla="*/ 612408 w 1935893"/>
                  <a:gd name="connsiteY457" fmla="*/ 257777 h 1590788"/>
                  <a:gd name="connsiteX458" fmla="*/ 607906 w 1935893"/>
                  <a:gd name="connsiteY458" fmla="*/ 259202 h 1590788"/>
                  <a:gd name="connsiteX459" fmla="*/ 630191 w 1935893"/>
                  <a:gd name="connsiteY459" fmla="*/ 262051 h 1590788"/>
                  <a:gd name="connsiteX460" fmla="*/ 702688 w 1935893"/>
                  <a:gd name="connsiteY460" fmla="*/ 261197 h 1590788"/>
                  <a:gd name="connsiteX461" fmla="*/ 692999 w 1935893"/>
                  <a:gd name="connsiteY461" fmla="*/ 249228 h 1590788"/>
                  <a:gd name="connsiteX462" fmla="*/ 677667 w 1935893"/>
                  <a:gd name="connsiteY462" fmla="*/ 248316 h 1590788"/>
                  <a:gd name="connsiteX463" fmla="*/ 674362 w 1935893"/>
                  <a:gd name="connsiteY463" fmla="*/ 250197 h 1590788"/>
                  <a:gd name="connsiteX464" fmla="*/ 671626 w 1935893"/>
                  <a:gd name="connsiteY464" fmla="*/ 253844 h 1590788"/>
                  <a:gd name="connsiteX465" fmla="*/ 665926 w 1935893"/>
                  <a:gd name="connsiteY465" fmla="*/ 258860 h 1590788"/>
                  <a:gd name="connsiteX466" fmla="*/ 677325 w 1935893"/>
                  <a:gd name="connsiteY466" fmla="*/ 263077 h 1590788"/>
                  <a:gd name="connsiteX467" fmla="*/ 702688 w 1935893"/>
                  <a:gd name="connsiteY467" fmla="*/ 261311 h 1590788"/>
                  <a:gd name="connsiteX468" fmla="*/ 779859 w 1935893"/>
                  <a:gd name="connsiteY468" fmla="*/ 309870 h 1590788"/>
                  <a:gd name="connsiteX469" fmla="*/ 782538 w 1935893"/>
                  <a:gd name="connsiteY469" fmla="*/ 311922 h 1590788"/>
                  <a:gd name="connsiteX470" fmla="*/ 787496 w 1935893"/>
                  <a:gd name="connsiteY470" fmla="*/ 318704 h 1590788"/>
                  <a:gd name="connsiteX471" fmla="*/ 796159 w 1935893"/>
                  <a:gd name="connsiteY471" fmla="*/ 320300 h 1590788"/>
                  <a:gd name="connsiteX472" fmla="*/ 805564 w 1935893"/>
                  <a:gd name="connsiteY472" fmla="*/ 318248 h 1590788"/>
                  <a:gd name="connsiteX473" fmla="*/ 808470 w 1935893"/>
                  <a:gd name="connsiteY473" fmla="*/ 309756 h 1590788"/>
                  <a:gd name="connsiteX474" fmla="*/ 805621 w 1935893"/>
                  <a:gd name="connsiteY474" fmla="*/ 306678 h 1590788"/>
                  <a:gd name="connsiteX475" fmla="*/ 789092 w 1935893"/>
                  <a:gd name="connsiteY475" fmla="*/ 293228 h 1590788"/>
                  <a:gd name="connsiteX476" fmla="*/ 781569 w 1935893"/>
                  <a:gd name="connsiteY476" fmla="*/ 288098 h 1590788"/>
                  <a:gd name="connsiteX477" fmla="*/ 772621 w 1935893"/>
                  <a:gd name="connsiteY477" fmla="*/ 287357 h 1590788"/>
                  <a:gd name="connsiteX478" fmla="*/ 770455 w 1935893"/>
                  <a:gd name="connsiteY478" fmla="*/ 299896 h 1590788"/>
                  <a:gd name="connsiteX479" fmla="*/ 779859 w 1935893"/>
                  <a:gd name="connsiteY479" fmla="*/ 309870 h 1590788"/>
                  <a:gd name="connsiteX480" fmla="*/ 820097 w 1935893"/>
                  <a:gd name="connsiteY480" fmla="*/ 421808 h 1590788"/>
                  <a:gd name="connsiteX481" fmla="*/ 821351 w 1935893"/>
                  <a:gd name="connsiteY481" fmla="*/ 421409 h 1590788"/>
                  <a:gd name="connsiteX482" fmla="*/ 821864 w 1935893"/>
                  <a:gd name="connsiteY482" fmla="*/ 419756 h 1590788"/>
                  <a:gd name="connsiteX483" fmla="*/ 821864 w 1935893"/>
                  <a:gd name="connsiteY483" fmla="*/ 406134 h 1590788"/>
                  <a:gd name="connsiteX484" fmla="*/ 811263 w 1935893"/>
                  <a:gd name="connsiteY484" fmla="*/ 405564 h 1590788"/>
                  <a:gd name="connsiteX485" fmla="*/ 804937 w 1935893"/>
                  <a:gd name="connsiteY485" fmla="*/ 405564 h 1590788"/>
                  <a:gd name="connsiteX486" fmla="*/ 798781 w 1935893"/>
                  <a:gd name="connsiteY486" fmla="*/ 410409 h 1590788"/>
                  <a:gd name="connsiteX487" fmla="*/ 801574 w 1935893"/>
                  <a:gd name="connsiteY487" fmla="*/ 417590 h 1590788"/>
                  <a:gd name="connsiteX488" fmla="*/ 820268 w 1935893"/>
                  <a:gd name="connsiteY488" fmla="*/ 421808 h 1590788"/>
                  <a:gd name="connsiteX489" fmla="*/ 927532 w 1935893"/>
                  <a:gd name="connsiteY489" fmla="*/ 355124 h 1590788"/>
                  <a:gd name="connsiteX490" fmla="*/ 918185 w 1935893"/>
                  <a:gd name="connsiteY490" fmla="*/ 353072 h 1590788"/>
                  <a:gd name="connsiteX491" fmla="*/ 909636 w 1935893"/>
                  <a:gd name="connsiteY491" fmla="*/ 347373 h 1590788"/>
                  <a:gd name="connsiteX492" fmla="*/ 904278 w 1935893"/>
                  <a:gd name="connsiteY492" fmla="*/ 347373 h 1590788"/>
                  <a:gd name="connsiteX493" fmla="*/ 901087 w 1935893"/>
                  <a:gd name="connsiteY493" fmla="*/ 341103 h 1590788"/>
                  <a:gd name="connsiteX494" fmla="*/ 895387 w 1935893"/>
                  <a:gd name="connsiteY494" fmla="*/ 338880 h 1590788"/>
                  <a:gd name="connsiteX495" fmla="*/ 887294 w 1935893"/>
                  <a:gd name="connsiteY495" fmla="*/ 332440 h 1590788"/>
                  <a:gd name="connsiteX496" fmla="*/ 884216 w 1935893"/>
                  <a:gd name="connsiteY496" fmla="*/ 334777 h 1590788"/>
                  <a:gd name="connsiteX497" fmla="*/ 886724 w 1935893"/>
                  <a:gd name="connsiteY497" fmla="*/ 348683 h 1590788"/>
                  <a:gd name="connsiteX498" fmla="*/ 896014 w 1935893"/>
                  <a:gd name="connsiteY498" fmla="*/ 360481 h 1590788"/>
                  <a:gd name="connsiteX499" fmla="*/ 897781 w 1935893"/>
                  <a:gd name="connsiteY499" fmla="*/ 363958 h 1590788"/>
                  <a:gd name="connsiteX500" fmla="*/ 901030 w 1935893"/>
                  <a:gd name="connsiteY500" fmla="*/ 366523 h 1590788"/>
                  <a:gd name="connsiteX501" fmla="*/ 909978 w 1935893"/>
                  <a:gd name="connsiteY501" fmla="*/ 372222 h 1590788"/>
                  <a:gd name="connsiteX502" fmla="*/ 895330 w 1935893"/>
                  <a:gd name="connsiteY502" fmla="*/ 375015 h 1590788"/>
                  <a:gd name="connsiteX503" fmla="*/ 891056 w 1935893"/>
                  <a:gd name="connsiteY503" fmla="*/ 373362 h 1590788"/>
                  <a:gd name="connsiteX504" fmla="*/ 886610 w 1935893"/>
                  <a:gd name="connsiteY504" fmla="*/ 365896 h 1590788"/>
                  <a:gd name="connsiteX505" fmla="*/ 880056 w 1935893"/>
                  <a:gd name="connsiteY505" fmla="*/ 362761 h 1590788"/>
                  <a:gd name="connsiteX506" fmla="*/ 870310 w 1935893"/>
                  <a:gd name="connsiteY506" fmla="*/ 356549 h 1590788"/>
                  <a:gd name="connsiteX507" fmla="*/ 860222 w 1935893"/>
                  <a:gd name="connsiteY507" fmla="*/ 358771 h 1590788"/>
                  <a:gd name="connsiteX508" fmla="*/ 862843 w 1935893"/>
                  <a:gd name="connsiteY508" fmla="*/ 367150 h 1590788"/>
                  <a:gd name="connsiteX509" fmla="*/ 868201 w 1935893"/>
                  <a:gd name="connsiteY509" fmla="*/ 374616 h 1590788"/>
                  <a:gd name="connsiteX510" fmla="*/ 866377 w 1935893"/>
                  <a:gd name="connsiteY510" fmla="*/ 383678 h 1590788"/>
                  <a:gd name="connsiteX511" fmla="*/ 862216 w 1935893"/>
                  <a:gd name="connsiteY511" fmla="*/ 387440 h 1590788"/>
                  <a:gd name="connsiteX512" fmla="*/ 859139 w 1935893"/>
                  <a:gd name="connsiteY512" fmla="*/ 385046 h 1590788"/>
                  <a:gd name="connsiteX513" fmla="*/ 830641 w 1935893"/>
                  <a:gd name="connsiteY513" fmla="*/ 346461 h 1590788"/>
                  <a:gd name="connsiteX514" fmla="*/ 826766 w 1935893"/>
                  <a:gd name="connsiteY514" fmla="*/ 342756 h 1590788"/>
                  <a:gd name="connsiteX515" fmla="*/ 822320 w 1935893"/>
                  <a:gd name="connsiteY515" fmla="*/ 342072 h 1590788"/>
                  <a:gd name="connsiteX516" fmla="*/ 810921 w 1935893"/>
                  <a:gd name="connsiteY516" fmla="*/ 342072 h 1590788"/>
                  <a:gd name="connsiteX517" fmla="*/ 805621 w 1935893"/>
                  <a:gd name="connsiteY517" fmla="*/ 343155 h 1590788"/>
                  <a:gd name="connsiteX518" fmla="*/ 803569 w 1935893"/>
                  <a:gd name="connsiteY518" fmla="*/ 348854 h 1590788"/>
                  <a:gd name="connsiteX519" fmla="*/ 811320 w 1935893"/>
                  <a:gd name="connsiteY519" fmla="*/ 364756 h 1590788"/>
                  <a:gd name="connsiteX520" fmla="*/ 820610 w 1935893"/>
                  <a:gd name="connsiteY520" fmla="*/ 371196 h 1590788"/>
                  <a:gd name="connsiteX521" fmla="*/ 824258 w 1935893"/>
                  <a:gd name="connsiteY521" fmla="*/ 381227 h 1590788"/>
                  <a:gd name="connsiteX522" fmla="*/ 832750 w 1935893"/>
                  <a:gd name="connsiteY522" fmla="*/ 383564 h 1590788"/>
                  <a:gd name="connsiteX523" fmla="*/ 838906 w 1935893"/>
                  <a:gd name="connsiteY523" fmla="*/ 392455 h 1590788"/>
                  <a:gd name="connsiteX524" fmla="*/ 851729 w 1935893"/>
                  <a:gd name="connsiteY524" fmla="*/ 394450 h 1590788"/>
                  <a:gd name="connsiteX525" fmla="*/ 854693 w 1935893"/>
                  <a:gd name="connsiteY525" fmla="*/ 397414 h 1590788"/>
                  <a:gd name="connsiteX526" fmla="*/ 874584 w 1935893"/>
                  <a:gd name="connsiteY526" fmla="*/ 395875 h 1590788"/>
                  <a:gd name="connsiteX527" fmla="*/ 887237 w 1935893"/>
                  <a:gd name="connsiteY527" fmla="*/ 390176 h 1590788"/>
                  <a:gd name="connsiteX528" fmla="*/ 899548 w 1935893"/>
                  <a:gd name="connsiteY528" fmla="*/ 390176 h 1590788"/>
                  <a:gd name="connsiteX529" fmla="*/ 902284 w 1935893"/>
                  <a:gd name="connsiteY529" fmla="*/ 388580 h 1590788"/>
                  <a:gd name="connsiteX530" fmla="*/ 904222 w 1935893"/>
                  <a:gd name="connsiteY530" fmla="*/ 390347 h 1590788"/>
                  <a:gd name="connsiteX531" fmla="*/ 897969 w 1935893"/>
                  <a:gd name="connsiteY531" fmla="*/ 406337 h 1590788"/>
                  <a:gd name="connsiteX532" fmla="*/ 897496 w 1935893"/>
                  <a:gd name="connsiteY532" fmla="*/ 406533 h 1590788"/>
                  <a:gd name="connsiteX533" fmla="*/ 893507 w 1935893"/>
                  <a:gd name="connsiteY533" fmla="*/ 408186 h 1590788"/>
                  <a:gd name="connsiteX534" fmla="*/ 893108 w 1935893"/>
                  <a:gd name="connsiteY534" fmla="*/ 416450 h 1590788"/>
                  <a:gd name="connsiteX535" fmla="*/ 894589 w 1935893"/>
                  <a:gd name="connsiteY535" fmla="*/ 420725 h 1590788"/>
                  <a:gd name="connsiteX536" fmla="*/ 898978 w 1935893"/>
                  <a:gd name="connsiteY536" fmla="*/ 428077 h 1590788"/>
                  <a:gd name="connsiteX537" fmla="*/ 924170 w 1935893"/>
                  <a:gd name="connsiteY537" fmla="*/ 426538 h 1590788"/>
                  <a:gd name="connsiteX538" fmla="*/ 930781 w 1935893"/>
                  <a:gd name="connsiteY538" fmla="*/ 428362 h 1590788"/>
                  <a:gd name="connsiteX539" fmla="*/ 938589 w 1935893"/>
                  <a:gd name="connsiteY539" fmla="*/ 422150 h 1590788"/>
                  <a:gd name="connsiteX540" fmla="*/ 948335 w 1935893"/>
                  <a:gd name="connsiteY540" fmla="*/ 420269 h 1590788"/>
                  <a:gd name="connsiteX541" fmla="*/ 955973 w 1935893"/>
                  <a:gd name="connsiteY541" fmla="*/ 416792 h 1590788"/>
                  <a:gd name="connsiteX542" fmla="*/ 954080 w 1935893"/>
                  <a:gd name="connsiteY542" fmla="*/ 408213 h 1590788"/>
                  <a:gd name="connsiteX543" fmla="*/ 952097 w 1935893"/>
                  <a:gd name="connsiteY543" fmla="*/ 407388 h 1590788"/>
                  <a:gd name="connsiteX544" fmla="*/ 956771 w 1935893"/>
                  <a:gd name="connsiteY544" fmla="*/ 399808 h 1590788"/>
                  <a:gd name="connsiteX545" fmla="*/ 949863 w 1935893"/>
                  <a:gd name="connsiteY545" fmla="*/ 387139 h 1590788"/>
                  <a:gd name="connsiteX546" fmla="*/ 950843 w 1935893"/>
                  <a:gd name="connsiteY546" fmla="*/ 384875 h 1590788"/>
                  <a:gd name="connsiteX547" fmla="*/ 955688 w 1935893"/>
                  <a:gd name="connsiteY547" fmla="*/ 378834 h 1590788"/>
                  <a:gd name="connsiteX548" fmla="*/ 956429 w 1935893"/>
                  <a:gd name="connsiteY548" fmla="*/ 371595 h 1590788"/>
                  <a:gd name="connsiteX549" fmla="*/ 949931 w 1935893"/>
                  <a:gd name="connsiteY549" fmla="*/ 367378 h 1590788"/>
                  <a:gd name="connsiteX550" fmla="*/ 948164 w 1935893"/>
                  <a:gd name="connsiteY550" fmla="*/ 358942 h 1590788"/>
                  <a:gd name="connsiteX551" fmla="*/ 945714 w 1935893"/>
                  <a:gd name="connsiteY551" fmla="*/ 354668 h 1590788"/>
                  <a:gd name="connsiteX552" fmla="*/ 941895 w 1935893"/>
                  <a:gd name="connsiteY552" fmla="*/ 348968 h 1590788"/>
                  <a:gd name="connsiteX553" fmla="*/ 934657 w 1935893"/>
                  <a:gd name="connsiteY553" fmla="*/ 344124 h 1590788"/>
                  <a:gd name="connsiteX554" fmla="*/ 929527 w 1935893"/>
                  <a:gd name="connsiteY554" fmla="*/ 350906 h 1590788"/>
                  <a:gd name="connsiteX555" fmla="*/ 927703 w 1935893"/>
                  <a:gd name="connsiteY555" fmla="*/ 355124 h 1590788"/>
                  <a:gd name="connsiteX556" fmla="*/ 779346 w 1935893"/>
                  <a:gd name="connsiteY556" fmla="*/ 224036 h 1590788"/>
                  <a:gd name="connsiteX557" fmla="*/ 786641 w 1935893"/>
                  <a:gd name="connsiteY557" fmla="*/ 225461 h 1590788"/>
                  <a:gd name="connsiteX558" fmla="*/ 814227 w 1935893"/>
                  <a:gd name="connsiteY558" fmla="*/ 229792 h 1590788"/>
                  <a:gd name="connsiteX559" fmla="*/ 824828 w 1935893"/>
                  <a:gd name="connsiteY559" fmla="*/ 234580 h 1590788"/>
                  <a:gd name="connsiteX560" fmla="*/ 827792 w 1935893"/>
                  <a:gd name="connsiteY560" fmla="*/ 245124 h 1590788"/>
                  <a:gd name="connsiteX561" fmla="*/ 795932 w 1935893"/>
                  <a:gd name="connsiteY561" fmla="*/ 251165 h 1590788"/>
                  <a:gd name="connsiteX562" fmla="*/ 791600 w 1935893"/>
                  <a:gd name="connsiteY562" fmla="*/ 258005 h 1590788"/>
                  <a:gd name="connsiteX563" fmla="*/ 800035 w 1935893"/>
                  <a:gd name="connsiteY563" fmla="*/ 263362 h 1590788"/>
                  <a:gd name="connsiteX564" fmla="*/ 831040 w 1935893"/>
                  <a:gd name="connsiteY564" fmla="*/ 260228 h 1590788"/>
                  <a:gd name="connsiteX565" fmla="*/ 835999 w 1935893"/>
                  <a:gd name="connsiteY565" fmla="*/ 256808 h 1590788"/>
                  <a:gd name="connsiteX566" fmla="*/ 840444 w 1935893"/>
                  <a:gd name="connsiteY566" fmla="*/ 255611 h 1590788"/>
                  <a:gd name="connsiteX567" fmla="*/ 863242 w 1935893"/>
                  <a:gd name="connsiteY567" fmla="*/ 261311 h 1590788"/>
                  <a:gd name="connsiteX568" fmla="*/ 872988 w 1935893"/>
                  <a:gd name="connsiteY568" fmla="*/ 267010 h 1590788"/>
                  <a:gd name="connsiteX569" fmla="*/ 878289 w 1935893"/>
                  <a:gd name="connsiteY569" fmla="*/ 268264 h 1590788"/>
                  <a:gd name="connsiteX570" fmla="*/ 881082 w 1935893"/>
                  <a:gd name="connsiteY570" fmla="*/ 273963 h 1590788"/>
                  <a:gd name="connsiteX571" fmla="*/ 889802 w 1935893"/>
                  <a:gd name="connsiteY571" fmla="*/ 281145 h 1590788"/>
                  <a:gd name="connsiteX572" fmla="*/ 893108 w 1935893"/>
                  <a:gd name="connsiteY572" fmla="*/ 281829 h 1590788"/>
                  <a:gd name="connsiteX573" fmla="*/ 896755 w 1935893"/>
                  <a:gd name="connsiteY573" fmla="*/ 284678 h 1590788"/>
                  <a:gd name="connsiteX574" fmla="*/ 906729 w 1935893"/>
                  <a:gd name="connsiteY574" fmla="*/ 288098 h 1590788"/>
                  <a:gd name="connsiteX575" fmla="*/ 912429 w 1935893"/>
                  <a:gd name="connsiteY575" fmla="*/ 280176 h 1590788"/>
                  <a:gd name="connsiteX576" fmla="*/ 921377 w 1935893"/>
                  <a:gd name="connsiteY576" fmla="*/ 278466 h 1590788"/>
                  <a:gd name="connsiteX577" fmla="*/ 922859 w 1935893"/>
                  <a:gd name="connsiteY577" fmla="*/ 273792 h 1590788"/>
                  <a:gd name="connsiteX578" fmla="*/ 915677 w 1935893"/>
                  <a:gd name="connsiteY578" fmla="*/ 262393 h 1590788"/>
                  <a:gd name="connsiteX579" fmla="*/ 912885 w 1935893"/>
                  <a:gd name="connsiteY579" fmla="*/ 260456 h 1590788"/>
                  <a:gd name="connsiteX580" fmla="*/ 911745 w 1935893"/>
                  <a:gd name="connsiteY580" fmla="*/ 253844 h 1590788"/>
                  <a:gd name="connsiteX581" fmla="*/ 899434 w 1935893"/>
                  <a:gd name="connsiteY581" fmla="*/ 241761 h 1590788"/>
                  <a:gd name="connsiteX582" fmla="*/ 882678 w 1935893"/>
                  <a:gd name="connsiteY582" fmla="*/ 234865 h 1590788"/>
                  <a:gd name="connsiteX583" fmla="*/ 873672 w 1935893"/>
                  <a:gd name="connsiteY583" fmla="*/ 224150 h 1590788"/>
                  <a:gd name="connsiteX584" fmla="*/ 861133 w 1935893"/>
                  <a:gd name="connsiteY584" fmla="*/ 220787 h 1590788"/>
                  <a:gd name="connsiteX585" fmla="*/ 851102 w 1935893"/>
                  <a:gd name="connsiteY585" fmla="*/ 227855 h 1590788"/>
                  <a:gd name="connsiteX586" fmla="*/ 846600 w 1935893"/>
                  <a:gd name="connsiteY586" fmla="*/ 219590 h 1590788"/>
                  <a:gd name="connsiteX587" fmla="*/ 840273 w 1935893"/>
                  <a:gd name="connsiteY587" fmla="*/ 213891 h 1590788"/>
                  <a:gd name="connsiteX588" fmla="*/ 833662 w 1935893"/>
                  <a:gd name="connsiteY588" fmla="*/ 208191 h 1590788"/>
                  <a:gd name="connsiteX589" fmla="*/ 779802 w 1935893"/>
                  <a:gd name="connsiteY589" fmla="*/ 214290 h 1590788"/>
                  <a:gd name="connsiteX590" fmla="*/ 776097 w 1935893"/>
                  <a:gd name="connsiteY590" fmla="*/ 218052 h 1590788"/>
                  <a:gd name="connsiteX591" fmla="*/ 779403 w 1935893"/>
                  <a:gd name="connsiteY591" fmla="*/ 224036 h 1590788"/>
                  <a:gd name="connsiteX592" fmla="*/ 914025 w 1935893"/>
                  <a:gd name="connsiteY592" fmla="*/ 182430 h 1590788"/>
                  <a:gd name="connsiteX593" fmla="*/ 916133 w 1935893"/>
                  <a:gd name="connsiteY593" fmla="*/ 183798 h 1590788"/>
                  <a:gd name="connsiteX594" fmla="*/ 920180 w 1935893"/>
                  <a:gd name="connsiteY594" fmla="*/ 192974 h 1590788"/>
                  <a:gd name="connsiteX595" fmla="*/ 924056 w 1935893"/>
                  <a:gd name="connsiteY595" fmla="*/ 192974 h 1590788"/>
                  <a:gd name="connsiteX596" fmla="*/ 926507 w 1935893"/>
                  <a:gd name="connsiteY596" fmla="*/ 191777 h 1590788"/>
                  <a:gd name="connsiteX597" fmla="*/ 927019 w 1935893"/>
                  <a:gd name="connsiteY597" fmla="*/ 189212 h 1590788"/>
                  <a:gd name="connsiteX598" fmla="*/ 929983 w 1935893"/>
                  <a:gd name="connsiteY598" fmla="*/ 184938 h 1590788"/>
                  <a:gd name="connsiteX599" fmla="*/ 929983 w 1935893"/>
                  <a:gd name="connsiteY599" fmla="*/ 178782 h 1590788"/>
                  <a:gd name="connsiteX600" fmla="*/ 926507 w 1935893"/>
                  <a:gd name="connsiteY600" fmla="*/ 173482 h 1590788"/>
                  <a:gd name="connsiteX601" fmla="*/ 922574 w 1935893"/>
                  <a:gd name="connsiteY601" fmla="*/ 168637 h 1590788"/>
                  <a:gd name="connsiteX602" fmla="*/ 921434 w 1935893"/>
                  <a:gd name="connsiteY602" fmla="*/ 167554 h 1590788"/>
                  <a:gd name="connsiteX603" fmla="*/ 919610 w 1935893"/>
                  <a:gd name="connsiteY603" fmla="*/ 166984 h 1590788"/>
                  <a:gd name="connsiteX604" fmla="*/ 903595 w 1935893"/>
                  <a:gd name="connsiteY604" fmla="*/ 165730 h 1590788"/>
                  <a:gd name="connsiteX605" fmla="*/ 901657 w 1935893"/>
                  <a:gd name="connsiteY605" fmla="*/ 166129 h 1590788"/>
                  <a:gd name="connsiteX606" fmla="*/ 901030 w 1935893"/>
                  <a:gd name="connsiteY606" fmla="*/ 166984 h 1590788"/>
                  <a:gd name="connsiteX607" fmla="*/ 903994 w 1935893"/>
                  <a:gd name="connsiteY607" fmla="*/ 177015 h 1590788"/>
                  <a:gd name="connsiteX608" fmla="*/ 914082 w 1935893"/>
                  <a:gd name="connsiteY608" fmla="*/ 182430 h 1590788"/>
                  <a:gd name="connsiteX609" fmla="*/ 955232 w 1935893"/>
                  <a:gd name="connsiteY609" fmla="*/ 271741 h 1590788"/>
                  <a:gd name="connsiteX610" fmla="*/ 956771 w 1935893"/>
                  <a:gd name="connsiteY610" fmla="*/ 279606 h 1590788"/>
                  <a:gd name="connsiteX611" fmla="*/ 965263 w 1935893"/>
                  <a:gd name="connsiteY611" fmla="*/ 285305 h 1590788"/>
                  <a:gd name="connsiteX612" fmla="*/ 985838 w 1935893"/>
                  <a:gd name="connsiteY612" fmla="*/ 285305 h 1590788"/>
                  <a:gd name="connsiteX613" fmla="*/ 991538 w 1935893"/>
                  <a:gd name="connsiteY613" fmla="*/ 281145 h 1590788"/>
                  <a:gd name="connsiteX614" fmla="*/ 1006983 w 1935893"/>
                  <a:gd name="connsiteY614" fmla="*/ 279492 h 1590788"/>
                  <a:gd name="connsiteX615" fmla="*/ 1012397 w 1935893"/>
                  <a:gd name="connsiteY615" fmla="*/ 271513 h 1590788"/>
                  <a:gd name="connsiteX616" fmla="*/ 1011999 w 1935893"/>
                  <a:gd name="connsiteY616" fmla="*/ 261595 h 1590788"/>
                  <a:gd name="connsiteX617" fmla="*/ 1009377 w 1935893"/>
                  <a:gd name="connsiteY617" fmla="*/ 252419 h 1590788"/>
                  <a:gd name="connsiteX618" fmla="*/ 1001512 w 1935893"/>
                  <a:gd name="connsiteY618" fmla="*/ 247974 h 1590788"/>
                  <a:gd name="connsiteX619" fmla="*/ 998206 w 1935893"/>
                  <a:gd name="connsiteY619" fmla="*/ 249114 h 1590788"/>
                  <a:gd name="connsiteX620" fmla="*/ 985382 w 1935893"/>
                  <a:gd name="connsiteY620" fmla="*/ 254813 h 1590788"/>
                  <a:gd name="connsiteX621" fmla="*/ 980594 w 1935893"/>
                  <a:gd name="connsiteY621" fmla="*/ 255839 h 1590788"/>
                  <a:gd name="connsiteX622" fmla="*/ 974895 w 1935893"/>
                  <a:gd name="connsiteY622" fmla="*/ 249684 h 1590788"/>
                  <a:gd name="connsiteX623" fmla="*/ 965491 w 1935893"/>
                  <a:gd name="connsiteY623" fmla="*/ 246492 h 1590788"/>
                  <a:gd name="connsiteX624" fmla="*/ 959791 w 1935893"/>
                  <a:gd name="connsiteY624" fmla="*/ 238057 h 1590788"/>
                  <a:gd name="connsiteX625" fmla="*/ 950216 w 1935893"/>
                  <a:gd name="connsiteY625" fmla="*/ 236119 h 1590788"/>
                  <a:gd name="connsiteX626" fmla="*/ 945201 w 1935893"/>
                  <a:gd name="connsiteY626" fmla="*/ 247917 h 1590788"/>
                  <a:gd name="connsiteX627" fmla="*/ 952040 w 1935893"/>
                  <a:gd name="connsiteY627" fmla="*/ 266554 h 1590788"/>
                  <a:gd name="connsiteX628" fmla="*/ 955289 w 1935893"/>
                  <a:gd name="connsiteY628" fmla="*/ 271741 h 1590788"/>
                  <a:gd name="connsiteX629" fmla="*/ 1021403 w 1935893"/>
                  <a:gd name="connsiteY629" fmla="*/ 309015 h 1590788"/>
                  <a:gd name="connsiteX630" fmla="*/ 1025506 w 1935893"/>
                  <a:gd name="connsiteY630" fmla="*/ 306222 h 1590788"/>
                  <a:gd name="connsiteX631" fmla="*/ 1027957 w 1935893"/>
                  <a:gd name="connsiteY631" fmla="*/ 305937 h 1590788"/>
                  <a:gd name="connsiteX632" fmla="*/ 1039698 w 1935893"/>
                  <a:gd name="connsiteY632" fmla="*/ 301549 h 1590788"/>
                  <a:gd name="connsiteX633" fmla="*/ 1045397 w 1935893"/>
                  <a:gd name="connsiteY633" fmla="*/ 297616 h 1590788"/>
                  <a:gd name="connsiteX634" fmla="*/ 1047335 w 1935893"/>
                  <a:gd name="connsiteY634" fmla="*/ 291290 h 1590788"/>
                  <a:gd name="connsiteX635" fmla="*/ 1024081 w 1935893"/>
                  <a:gd name="connsiteY635" fmla="*/ 288440 h 1590788"/>
                  <a:gd name="connsiteX636" fmla="*/ 1021289 w 1935893"/>
                  <a:gd name="connsiteY636" fmla="*/ 289181 h 1590788"/>
                  <a:gd name="connsiteX637" fmla="*/ 1019978 w 1935893"/>
                  <a:gd name="connsiteY637" fmla="*/ 291119 h 1590788"/>
                  <a:gd name="connsiteX638" fmla="*/ 1010916 w 1935893"/>
                  <a:gd name="connsiteY638" fmla="*/ 293741 h 1590788"/>
                  <a:gd name="connsiteX639" fmla="*/ 1001169 w 1935893"/>
                  <a:gd name="connsiteY639" fmla="*/ 294139 h 1590788"/>
                  <a:gd name="connsiteX640" fmla="*/ 991195 w 1935893"/>
                  <a:gd name="connsiteY640" fmla="*/ 297388 h 1590788"/>
                  <a:gd name="connsiteX641" fmla="*/ 988631 w 1935893"/>
                  <a:gd name="connsiteY641" fmla="*/ 306792 h 1590788"/>
                  <a:gd name="connsiteX642" fmla="*/ 1004931 w 1935893"/>
                  <a:gd name="connsiteY642" fmla="*/ 312492 h 1590788"/>
                  <a:gd name="connsiteX643" fmla="*/ 1021460 w 1935893"/>
                  <a:gd name="connsiteY643" fmla="*/ 309015 h 1590788"/>
                  <a:gd name="connsiteX644" fmla="*/ 1088086 w 1935893"/>
                  <a:gd name="connsiteY644" fmla="*/ 433834 h 1590788"/>
                  <a:gd name="connsiteX645" fmla="*/ 1104615 w 1935893"/>
                  <a:gd name="connsiteY645" fmla="*/ 438450 h 1590788"/>
                  <a:gd name="connsiteX646" fmla="*/ 1109232 w 1935893"/>
                  <a:gd name="connsiteY646" fmla="*/ 446828 h 1590788"/>
                  <a:gd name="connsiteX647" fmla="*/ 1118636 w 1935893"/>
                  <a:gd name="connsiteY647" fmla="*/ 447455 h 1590788"/>
                  <a:gd name="connsiteX648" fmla="*/ 1137729 w 1935893"/>
                  <a:gd name="connsiteY648" fmla="*/ 432808 h 1590788"/>
                  <a:gd name="connsiteX649" fmla="*/ 1140978 w 1935893"/>
                  <a:gd name="connsiteY649" fmla="*/ 428875 h 1590788"/>
                  <a:gd name="connsiteX650" fmla="*/ 1153801 w 1935893"/>
                  <a:gd name="connsiteY650" fmla="*/ 434574 h 1590788"/>
                  <a:gd name="connsiteX651" fmla="*/ 1162807 w 1935893"/>
                  <a:gd name="connsiteY651" fmla="*/ 447170 h 1590788"/>
                  <a:gd name="connsiteX652" fmla="*/ 1183268 w 1935893"/>
                  <a:gd name="connsiteY652" fmla="*/ 445859 h 1590788"/>
                  <a:gd name="connsiteX653" fmla="*/ 1211765 w 1935893"/>
                  <a:gd name="connsiteY653" fmla="*/ 450704 h 1590788"/>
                  <a:gd name="connsiteX654" fmla="*/ 1243511 w 1935893"/>
                  <a:gd name="connsiteY654" fmla="*/ 445631 h 1590788"/>
                  <a:gd name="connsiteX655" fmla="*/ 1251490 w 1935893"/>
                  <a:gd name="connsiteY655" fmla="*/ 442098 h 1590788"/>
                  <a:gd name="connsiteX656" fmla="*/ 1265055 w 1935893"/>
                  <a:gd name="connsiteY656" fmla="*/ 429559 h 1590788"/>
                  <a:gd name="connsiteX657" fmla="*/ 1288708 w 1935893"/>
                  <a:gd name="connsiteY657" fmla="*/ 443466 h 1590788"/>
                  <a:gd name="connsiteX658" fmla="*/ 1311506 w 1935893"/>
                  <a:gd name="connsiteY658" fmla="*/ 432922 h 1590788"/>
                  <a:gd name="connsiteX659" fmla="*/ 1320169 w 1935893"/>
                  <a:gd name="connsiteY659" fmla="*/ 430357 h 1590788"/>
                  <a:gd name="connsiteX660" fmla="*/ 1336299 w 1935893"/>
                  <a:gd name="connsiteY660" fmla="*/ 419357 h 1590788"/>
                  <a:gd name="connsiteX661" fmla="*/ 1341998 w 1935893"/>
                  <a:gd name="connsiteY661" fmla="*/ 409440 h 1590788"/>
                  <a:gd name="connsiteX662" fmla="*/ 1333563 w 1935893"/>
                  <a:gd name="connsiteY662" fmla="*/ 400150 h 1590788"/>
                  <a:gd name="connsiteX663" fmla="*/ 1258615 w 1935893"/>
                  <a:gd name="connsiteY663" fmla="*/ 390005 h 1590788"/>
                  <a:gd name="connsiteX664" fmla="*/ 1226641 w 1935893"/>
                  <a:gd name="connsiteY664" fmla="*/ 395305 h 1590788"/>
                  <a:gd name="connsiteX665" fmla="*/ 1210967 w 1935893"/>
                  <a:gd name="connsiteY665" fmla="*/ 402486 h 1590788"/>
                  <a:gd name="connsiteX666" fmla="*/ 1170444 w 1935893"/>
                  <a:gd name="connsiteY666" fmla="*/ 397300 h 1590788"/>
                  <a:gd name="connsiteX667" fmla="*/ 1154315 w 1935893"/>
                  <a:gd name="connsiteY667" fmla="*/ 404709 h 1590788"/>
                  <a:gd name="connsiteX668" fmla="*/ 1145708 w 1935893"/>
                  <a:gd name="connsiteY668" fmla="*/ 391315 h 1590788"/>
                  <a:gd name="connsiteX669" fmla="*/ 1121485 w 1935893"/>
                  <a:gd name="connsiteY669" fmla="*/ 388238 h 1590788"/>
                  <a:gd name="connsiteX670" fmla="*/ 1114304 w 1935893"/>
                  <a:gd name="connsiteY670" fmla="*/ 382538 h 1590788"/>
                  <a:gd name="connsiteX671" fmla="*/ 1124563 w 1935893"/>
                  <a:gd name="connsiteY671" fmla="*/ 372051 h 1590788"/>
                  <a:gd name="connsiteX672" fmla="*/ 1131915 w 1935893"/>
                  <a:gd name="connsiteY672" fmla="*/ 360652 h 1590788"/>
                  <a:gd name="connsiteX673" fmla="*/ 1116527 w 1935893"/>
                  <a:gd name="connsiteY673" fmla="*/ 356948 h 1590788"/>
                  <a:gd name="connsiteX674" fmla="*/ 1111682 w 1935893"/>
                  <a:gd name="connsiteY674" fmla="*/ 351647 h 1590788"/>
                  <a:gd name="connsiteX675" fmla="*/ 1101252 w 1935893"/>
                  <a:gd name="connsiteY675" fmla="*/ 348398 h 1590788"/>
                  <a:gd name="connsiteX676" fmla="*/ 1062268 w 1935893"/>
                  <a:gd name="connsiteY676" fmla="*/ 345435 h 1590788"/>
                  <a:gd name="connsiteX677" fmla="*/ 1055714 w 1935893"/>
                  <a:gd name="connsiteY677" fmla="*/ 344238 h 1590788"/>
                  <a:gd name="connsiteX678" fmla="*/ 1049330 w 1935893"/>
                  <a:gd name="connsiteY678" fmla="*/ 341274 h 1590788"/>
                  <a:gd name="connsiteX679" fmla="*/ 1039185 w 1935893"/>
                  <a:gd name="connsiteY679" fmla="*/ 340704 h 1590788"/>
                  <a:gd name="connsiteX680" fmla="*/ 1033486 w 1935893"/>
                  <a:gd name="connsiteY680" fmla="*/ 336942 h 1590788"/>
                  <a:gd name="connsiteX681" fmla="*/ 983387 w 1935893"/>
                  <a:gd name="connsiteY681" fmla="*/ 328963 h 1590788"/>
                  <a:gd name="connsiteX682" fmla="*/ 976548 w 1935893"/>
                  <a:gd name="connsiteY682" fmla="*/ 334036 h 1590788"/>
                  <a:gd name="connsiteX683" fmla="*/ 979454 w 1935893"/>
                  <a:gd name="connsiteY683" fmla="*/ 344751 h 1590788"/>
                  <a:gd name="connsiteX684" fmla="*/ 990853 w 1935893"/>
                  <a:gd name="connsiteY684" fmla="*/ 345606 h 1590788"/>
                  <a:gd name="connsiteX685" fmla="*/ 999403 w 1935893"/>
                  <a:gd name="connsiteY685" fmla="*/ 356093 h 1590788"/>
                  <a:gd name="connsiteX686" fmla="*/ 1006641 w 1935893"/>
                  <a:gd name="connsiteY686" fmla="*/ 357005 h 1590788"/>
                  <a:gd name="connsiteX687" fmla="*/ 1010859 w 1935893"/>
                  <a:gd name="connsiteY687" fmla="*/ 360424 h 1590788"/>
                  <a:gd name="connsiteX688" fmla="*/ 1029325 w 1935893"/>
                  <a:gd name="connsiteY688" fmla="*/ 364699 h 1590788"/>
                  <a:gd name="connsiteX689" fmla="*/ 1041465 w 1935893"/>
                  <a:gd name="connsiteY689" fmla="*/ 358999 h 1590788"/>
                  <a:gd name="connsiteX690" fmla="*/ 1054175 w 1935893"/>
                  <a:gd name="connsiteY690" fmla="*/ 359341 h 1590788"/>
                  <a:gd name="connsiteX691" fmla="*/ 1065118 w 1935893"/>
                  <a:gd name="connsiteY691" fmla="*/ 376440 h 1590788"/>
                  <a:gd name="connsiteX692" fmla="*/ 1070190 w 1935893"/>
                  <a:gd name="connsiteY692" fmla="*/ 378492 h 1590788"/>
                  <a:gd name="connsiteX693" fmla="*/ 1075548 w 1935893"/>
                  <a:gd name="connsiteY693" fmla="*/ 389264 h 1590788"/>
                  <a:gd name="connsiteX694" fmla="*/ 1074693 w 1935893"/>
                  <a:gd name="connsiteY694" fmla="*/ 414398 h 1590788"/>
                  <a:gd name="connsiteX695" fmla="*/ 1088144 w 1935893"/>
                  <a:gd name="connsiteY695" fmla="*/ 433834 h 1590788"/>
                  <a:gd name="connsiteX696" fmla="*/ 978771 w 1935893"/>
                  <a:gd name="connsiteY696" fmla="*/ 536424 h 1590788"/>
                  <a:gd name="connsiteX697" fmla="*/ 982646 w 1935893"/>
                  <a:gd name="connsiteY697" fmla="*/ 528673 h 1590788"/>
                  <a:gd name="connsiteX698" fmla="*/ 974918 w 1935893"/>
                  <a:gd name="connsiteY698" fmla="*/ 511822 h 1590788"/>
                  <a:gd name="connsiteX699" fmla="*/ 965548 w 1935893"/>
                  <a:gd name="connsiteY699" fmla="*/ 511916 h 1590788"/>
                  <a:gd name="connsiteX700" fmla="*/ 975237 w 1935893"/>
                  <a:gd name="connsiteY700" fmla="*/ 529642 h 1590788"/>
                  <a:gd name="connsiteX701" fmla="*/ 969822 w 1935893"/>
                  <a:gd name="connsiteY701" fmla="*/ 535341 h 1590788"/>
                  <a:gd name="connsiteX702" fmla="*/ 961615 w 1935893"/>
                  <a:gd name="connsiteY702" fmla="*/ 533973 h 1590788"/>
                  <a:gd name="connsiteX703" fmla="*/ 956657 w 1935893"/>
                  <a:gd name="connsiteY703" fmla="*/ 528274 h 1590788"/>
                  <a:gd name="connsiteX704" fmla="*/ 955688 w 1935893"/>
                  <a:gd name="connsiteY704" fmla="*/ 518813 h 1590788"/>
                  <a:gd name="connsiteX705" fmla="*/ 937905 w 1935893"/>
                  <a:gd name="connsiteY705" fmla="*/ 514595 h 1590788"/>
                  <a:gd name="connsiteX706" fmla="*/ 935512 w 1935893"/>
                  <a:gd name="connsiteY706" fmla="*/ 505191 h 1590788"/>
                  <a:gd name="connsiteX707" fmla="*/ 943434 w 1935893"/>
                  <a:gd name="connsiteY707" fmla="*/ 498808 h 1590788"/>
                  <a:gd name="connsiteX708" fmla="*/ 955289 w 1935893"/>
                  <a:gd name="connsiteY708" fmla="*/ 496927 h 1590788"/>
                  <a:gd name="connsiteX709" fmla="*/ 963952 w 1935893"/>
                  <a:gd name="connsiteY709" fmla="*/ 485528 h 1590788"/>
                  <a:gd name="connsiteX710" fmla="*/ 954326 w 1935893"/>
                  <a:gd name="connsiteY710" fmla="*/ 476945 h 1590788"/>
                  <a:gd name="connsiteX711" fmla="*/ 953465 w 1935893"/>
                  <a:gd name="connsiteY711" fmla="*/ 477036 h 1590788"/>
                  <a:gd name="connsiteX712" fmla="*/ 948848 w 1935893"/>
                  <a:gd name="connsiteY712" fmla="*/ 471336 h 1590788"/>
                  <a:gd name="connsiteX713" fmla="*/ 938874 w 1935893"/>
                  <a:gd name="connsiteY713" fmla="*/ 467688 h 1590788"/>
                  <a:gd name="connsiteX714" fmla="*/ 930040 w 1935893"/>
                  <a:gd name="connsiteY714" fmla="*/ 472419 h 1590788"/>
                  <a:gd name="connsiteX715" fmla="*/ 927532 w 1935893"/>
                  <a:gd name="connsiteY715" fmla="*/ 482906 h 1590788"/>
                  <a:gd name="connsiteX716" fmla="*/ 900688 w 1935893"/>
                  <a:gd name="connsiteY716" fmla="*/ 479201 h 1590788"/>
                  <a:gd name="connsiteX717" fmla="*/ 880626 w 1935893"/>
                  <a:gd name="connsiteY717" fmla="*/ 486269 h 1590788"/>
                  <a:gd name="connsiteX718" fmla="*/ 873843 w 1935893"/>
                  <a:gd name="connsiteY718" fmla="*/ 496585 h 1590788"/>
                  <a:gd name="connsiteX719" fmla="*/ 882051 w 1935893"/>
                  <a:gd name="connsiteY719" fmla="*/ 500973 h 1590788"/>
                  <a:gd name="connsiteX720" fmla="*/ 901771 w 1935893"/>
                  <a:gd name="connsiteY720" fmla="*/ 503994 h 1590788"/>
                  <a:gd name="connsiteX721" fmla="*/ 905532 w 1935893"/>
                  <a:gd name="connsiteY721" fmla="*/ 505191 h 1590788"/>
                  <a:gd name="connsiteX722" fmla="*/ 907242 w 1935893"/>
                  <a:gd name="connsiteY722" fmla="*/ 507300 h 1590788"/>
                  <a:gd name="connsiteX723" fmla="*/ 902546 w 1935893"/>
                  <a:gd name="connsiteY723" fmla="*/ 519742 h 1590788"/>
                  <a:gd name="connsiteX724" fmla="*/ 901885 w 1935893"/>
                  <a:gd name="connsiteY724" fmla="*/ 520010 h 1590788"/>
                  <a:gd name="connsiteX725" fmla="*/ 896698 w 1935893"/>
                  <a:gd name="connsiteY725" fmla="*/ 521605 h 1590788"/>
                  <a:gd name="connsiteX726" fmla="*/ 890600 w 1935893"/>
                  <a:gd name="connsiteY726" fmla="*/ 533004 h 1590788"/>
                  <a:gd name="connsiteX727" fmla="*/ 884102 w 1935893"/>
                  <a:gd name="connsiteY727" fmla="*/ 533004 h 1590788"/>
                  <a:gd name="connsiteX728" fmla="*/ 864610 w 1935893"/>
                  <a:gd name="connsiteY728" fmla="*/ 522631 h 1590788"/>
                  <a:gd name="connsiteX729" fmla="*/ 861988 w 1935893"/>
                  <a:gd name="connsiteY729" fmla="*/ 519668 h 1590788"/>
                  <a:gd name="connsiteX730" fmla="*/ 857942 w 1935893"/>
                  <a:gd name="connsiteY730" fmla="*/ 518927 h 1590788"/>
                  <a:gd name="connsiteX731" fmla="*/ 851900 w 1935893"/>
                  <a:gd name="connsiteY731" fmla="*/ 518927 h 1590788"/>
                  <a:gd name="connsiteX732" fmla="*/ 849051 w 1935893"/>
                  <a:gd name="connsiteY732" fmla="*/ 519725 h 1590788"/>
                  <a:gd name="connsiteX733" fmla="*/ 848253 w 1935893"/>
                  <a:gd name="connsiteY733" fmla="*/ 521947 h 1590788"/>
                  <a:gd name="connsiteX734" fmla="*/ 853952 w 1935893"/>
                  <a:gd name="connsiteY734" fmla="*/ 538305 h 1590788"/>
                  <a:gd name="connsiteX735" fmla="*/ 867859 w 1935893"/>
                  <a:gd name="connsiteY735" fmla="*/ 549191 h 1590788"/>
                  <a:gd name="connsiteX736" fmla="*/ 885755 w 1935893"/>
                  <a:gd name="connsiteY736" fmla="*/ 558025 h 1590788"/>
                  <a:gd name="connsiteX737" fmla="*/ 896641 w 1935893"/>
                  <a:gd name="connsiteY737" fmla="*/ 566916 h 1590788"/>
                  <a:gd name="connsiteX738" fmla="*/ 897211 w 1935893"/>
                  <a:gd name="connsiteY738" fmla="*/ 571476 h 1590788"/>
                  <a:gd name="connsiteX739" fmla="*/ 907584 w 1935893"/>
                  <a:gd name="connsiteY739" fmla="*/ 582875 h 1590788"/>
                  <a:gd name="connsiteX740" fmla="*/ 916076 w 1935893"/>
                  <a:gd name="connsiteY740" fmla="*/ 592279 h 1590788"/>
                  <a:gd name="connsiteX741" fmla="*/ 927475 w 1935893"/>
                  <a:gd name="connsiteY741" fmla="*/ 595528 h 1590788"/>
                  <a:gd name="connsiteX742" fmla="*/ 933175 w 1935893"/>
                  <a:gd name="connsiteY742" fmla="*/ 590854 h 1590788"/>
                  <a:gd name="connsiteX743" fmla="*/ 940413 w 1935893"/>
                  <a:gd name="connsiteY743" fmla="*/ 577916 h 1590788"/>
                  <a:gd name="connsiteX744" fmla="*/ 941097 w 1935893"/>
                  <a:gd name="connsiteY744" fmla="*/ 574440 h 1590788"/>
                  <a:gd name="connsiteX745" fmla="*/ 951014 w 1935893"/>
                  <a:gd name="connsiteY745" fmla="*/ 572901 h 1590788"/>
                  <a:gd name="connsiteX746" fmla="*/ 969253 w 1935893"/>
                  <a:gd name="connsiteY746" fmla="*/ 565776 h 1590788"/>
                  <a:gd name="connsiteX747" fmla="*/ 976890 w 1935893"/>
                  <a:gd name="connsiteY747" fmla="*/ 547253 h 1590788"/>
                  <a:gd name="connsiteX748" fmla="*/ 978828 w 1935893"/>
                  <a:gd name="connsiteY748" fmla="*/ 536310 h 1590788"/>
                  <a:gd name="connsiteX749" fmla="*/ 1009833 w 1935893"/>
                  <a:gd name="connsiteY749" fmla="*/ 440502 h 1590788"/>
                  <a:gd name="connsiteX750" fmla="*/ 1022657 w 1935893"/>
                  <a:gd name="connsiteY750" fmla="*/ 440502 h 1590788"/>
                  <a:gd name="connsiteX751" fmla="*/ 1026190 w 1935893"/>
                  <a:gd name="connsiteY751" fmla="*/ 442725 h 1590788"/>
                  <a:gd name="connsiteX752" fmla="*/ 1034340 w 1935893"/>
                  <a:gd name="connsiteY752" fmla="*/ 441756 h 1590788"/>
                  <a:gd name="connsiteX753" fmla="*/ 1047164 w 1935893"/>
                  <a:gd name="connsiteY753" fmla="*/ 431155 h 1590788"/>
                  <a:gd name="connsiteX754" fmla="*/ 1039413 w 1935893"/>
                  <a:gd name="connsiteY754" fmla="*/ 415880 h 1590788"/>
                  <a:gd name="connsiteX755" fmla="*/ 1019693 w 1935893"/>
                  <a:gd name="connsiteY755" fmla="*/ 401347 h 1590788"/>
                  <a:gd name="connsiteX756" fmla="*/ 1016387 w 1935893"/>
                  <a:gd name="connsiteY756" fmla="*/ 400492 h 1590788"/>
                  <a:gd name="connsiteX757" fmla="*/ 1013936 w 1935893"/>
                  <a:gd name="connsiteY757" fmla="*/ 402657 h 1590788"/>
                  <a:gd name="connsiteX758" fmla="*/ 1000828 w 1935893"/>
                  <a:gd name="connsiteY758" fmla="*/ 404595 h 1590788"/>
                  <a:gd name="connsiteX759" fmla="*/ 992905 w 1935893"/>
                  <a:gd name="connsiteY759" fmla="*/ 413201 h 1590788"/>
                  <a:gd name="connsiteX760" fmla="*/ 976206 w 1935893"/>
                  <a:gd name="connsiteY760" fmla="*/ 422150 h 1590788"/>
                  <a:gd name="connsiteX761" fmla="*/ 980652 w 1935893"/>
                  <a:gd name="connsiteY761" fmla="*/ 431269 h 1590788"/>
                  <a:gd name="connsiteX762" fmla="*/ 991195 w 1935893"/>
                  <a:gd name="connsiteY762" fmla="*/ 434517 h 1590788"/>
                  <a:gd name="connsiteX763" fmla="*/ 1009890 w 1935893"/>
                  <a:gd name="connsiteY763" fmla="*/ 440388 h 1590788"/>
                  <a:gd name="connsiteX764" fmla="*/ 1125817 w 1935893"/>
                  <a:gd name="connsiteY764" fmla="*/ 311010 h 1590788"/>
                  <a:gd name="connsiteX765" fmla="*/ 1129807 w 1935893"/>
                  <a:gd name="connsiteY765" fmla="*/ 309870 h 1590788"/>
                  <a:gd name="connsiteX766" fmla="*/ 1131289 w 1935893"/>
                  <a:gd name="connsiteY766" fmla="*/ 306336 h 1590788"/>
                  <a:gd name="connsiteX767" fmla="*/ 1130662 w 1935893"/>
                  <a:gd name="connsiteY767" fmla="*/ 305367 h 1590788"/>
                  <a:gd name="connsiteX768" fmla="*/ 1100397 w 1935893"/>
                  <a:gd name="connsiteY768" fmla="*/ 297274 h 1590788"/>
                  <a:gd name="connsiteX769" fmla="*/ 1098118 w 1935893"/>
                  <a:gd name="connsiteY769" fmla="*/ 298870 h 1590788"/>
                  <a:gd name="connsiteX770" fmla="*/ 1096636 w 1935893"/>
                  <a:gd name="connsiteY770" fmla="*/ 302632 h 1590788"/>
                  <a:gd name="connsiteX771" fmla="*/ 1090252 w 1935893"/>
                  <a:gd name="connsiteY771" fmla="*/ 305994 h 1590788"/>
                  <a:gd name="connsiteX772" fmla="*/ 1098209 w 1935893"/>
                  <a:gd name="connsiteY772" fmla="*/ 315205 h 1590788"/>
                  <a:gd name="connsiteX773" fmla="*/ 1098802 w 1935893"/>
                  <a:gd name="connsiteY773" fmla="*/ 315228 h 1590788"/>
                  <a:gd name="connsiteX774" fmla="*/ 1102392 w 1935893"/>
                  <a:gd name="connsiteY774" fmla="*/ 315740 h 1590788"/>
                  <a:gd name="connsiteX775" fmla="*/ 1103475 w 1935893"/>
                  <a:gd name="connsiteY775" fmla="*/ 317735 h 1590788"/>
                  <a:gd name="connsiteX776" fmla="*/ 1110144 w 1935893"/>
                  <a:gd name="connsiteY776" fmla="*/ 320414 h 1590788"/>
                  <a:gd name="connsiteX777" fmla="*/ 1116356 w 1935893"/>
                  <a:gd name="connsiteY777" fmla="*/ 320414 h 1590788"/>
                  <a:gd name="connsiteX778" fmla="*/ 1119263 w 1935893"/>
                  <a:gd name="connsiteY778" fmla="*/ 319331 h 1590788"/>
                  <a:gd name="connsiteX779" fmla="*/ 1119719 w 1935893"/>
                  <a:gd name="connsiteY779" fmla="*/ 314886 h 1590788"/>
                  <a:gd name="connsiteX780" fmla="*/ 1125874 w 1935893"/>
                  <a:gd name="connsiteY780" fmla="*/ 310896 h 1590788"/>
                  <a:gd name="connsiteX781" fmla="*/ 1108719 w 1935893"/>
                  <a:gd name="connsiteY781" fmla="*/ 102238 h 1590788"/>
                  <a:gd name="connsiteX782" fmla="*/ 1118693 w 1935893"/>
                  <a:gd name="connsiteY782" fmla="*/ 112212 h 1590788"/>
                  <a:gd name="connsiteX783" fmla="*/ 1151066 w 1935893"/>
                  <a:gd name="connsiteY783" fmla="*/ 130394 h 1590788"/>
                  <a:gd name="connsiteX784" fmla="*/ 1184294 w 1935893"/>
                  <a:gd name="connsiteY784" fmla="*/ 121787 h 1590788"/>
                  <a:gd name="connsiteX785" fmla="*/ 1187371 w 1935893"/>
                  <a:gd name="connsiteY785" fmla="*/ 117456 h 1590788"/>
                  <a:gd name="connsiteX786" fmla="*/ 1198200 w 1935893"/>
                  <a:gd name="connsiteY786" fmla="*/ 124010 h 1590788"/>
                  <a:gd name="connsiteX787" fmla="*/ 1202988 w 1935893"/>
                  <a:gd name="connsiteY787" fmla="*/ 137917 h 1590788"/>
                  <a:gd name="connsiteX788" fmla="*/ 1216895 w 1935893"/>
                  <a:gd name="connsiteY788" fmla="*/ 141052 h 1590788"/>
                  <a:gd name="connsiteX789" fmla="*/ 1252630 w 1935893"/>
                  <a:gd name="connsiteY789" fmla="*/ 139000 h 1590788"/>
                  <a:gd name="connsiteX790" fmla="*/ 1260097 w 1935893"/>
                  <a:gd name="connsiteY790" fmla="*/ 137119 h 1590788"/>
                  <a:gd name="connsiteX791" fmla="*/ 1264086 w 1935893"/>
                  <a:gd name="connsiteY791" fmla="*/ 132958 h 1590788"/>
                  <a:gd name="connsiteX792" fmla="*/ 1274858 w 1935893"/>
                  <a:gd name="connsiteY792" fmla="*/ 130679 h 1590788"/>
                  <a:gd name="connsiteX793" fmla="*/ 1314413 w 1935893"/>
                  <a:gd name="connsiteY793" fmla="*/ 129482 h 1590788"/>
                  <a:gd name="connsiteX794" fmla="*/ 1321309 w 1935893"/>
                  <a:gd name="connsiteY794" fmla="*/ 127544 h 1590788"/>
                  <a:gd name="connsiteX795" fmla="*/ 1325869 w 1935893"/>
                  <a:gd name="connsiteY795" fmla="*/ 122984 h 1590788"/>
                  <a:gd name="connsiteX796" fmla="*/ 1348211 w 1935893"/>
                  <a:gd name="connsiteY796" fmla="*/ 112953 h 1590788"/>
                  <a:gd name="connsiteX797" fmla="*/ 1355677 w 1935893"/>
                  <a:gd name="connsiteY797" fmla="*/ 98990 h 1590788"/>
                  <a:gd name="connsiteX798" fmla="*/ 1357592 w 1935893"/>
                  <a:gd name="connsiteY798" fmla="*/ 130124 h 1590788"/>
                  <a:gd name="connsiteX799" fmla="*/ 1353796 w 1935893"/>
                  <a:gd name="connsiteY799" fmla="*/ 133528 h 1590788"/>
                  <a:gd name="connsiteX800" fmla="*/ 1348097 w 1935893"/>
                  <a:gd name="connsiteY800" fmla="*/ 137290 h 1590788"/>
                  <a:gd name="connsiteX801" fmla="*/ 1345076 w 1935893"/>
                  <a:gd name="connsiteY801" fmla="*/ 141109 h 1590788"/>
                  <a:gd name="connsiteX802" fmla="*/ 1326154 w 1935893"/>
                  <a:gd name="connsiteY802" fmla="*/ 147663 h 1590788"/>
                  <a:gd name="connsiteX803" fmla="*/ 1285060 w 1935893"/>
                  <a:gd name="connsiteY803" fmla="*/ 150627 h 1590788"/>
                  <a:gd name="connsiteX804" fmla="*/ 1277195 w 1935893"/>
                  <a:gd name="connsiteY804" fmla="*/ 154445 h 1590788"/>
                  <a:gd name="connsiteX805" fmla="*/ 1283692 w 1935893"/>
                  <a:gd name="connsiteY805" fmla="*/ 162197 h 1590788"/>
                  <a:gd name="connsiteX806" fmla="*/ 1294066 w 1935893"/>
                  <a:gd name="connsiteY806" fmla="*/ 166357 h 1590788"/>
                  <a:gd name="connsiteX807" fmla="*/ 1297599 w 1935893"/>
                  <a:gd name="connsiteY807" fmla="*/ 171715 h 1590788"/>
                  <a:gd name="connsiteX808" fmla="*/ 1301931 w 1935893"/>
                  <a:gd name="connsiteY808" fmla="*/ 172741 h 1590788"/>
                  <a:gd name="connsiteX809" fmla="*/ 1311620 w 1935893"/>
                  <a:gd name="connsiteY809" fmla="*/ 178440 h 1590788"/>
                  <a:gd name="connsiteX810" fmla="*/ 1304826 w 1935893"/>
                  <a:gd name="connsiteY810" fmla="*/ 193060 h 1590788"/>
                  <a:gd name="connsiteX811" fmla="*/ 1290988 w 1935893"/>
                  <a:gd name="connsiteY811" fmla="*/ 187958 h 1590788"/>
                  <a:gd name="connsiteX812" fmla="*/ 1287055 w 1935893"/>
                  <a:gd name="connsiteY812" fmla="*/ 182658 h 1590788"/>
                  <a:gd name="connsiteX813" fmla="*/ 1275200 w 1935893"/>
                  <a:gd name="connsiteY813" fmla="*/ 179523 h 1590788"/>
                  <a:gd name="connsiteX814" fmla="*/ 1269501 w 1935893"/>
                  <a:gd name="connsiteY814" fmla="*/ 169321 h 1590788"/>
                  <a:gd name="connsiteX815" fmla="*/ 1253884 w 1935893"/>
                  <a:gd name="connsiteY815" fmla="*/ 162311 h 1590788"/>
                  <a:gd name="connsiteX816" fmla="*/ 1252003 w 1935893"/>
                  <a:gd name="connsiteY816" fmla="*/ 158093 h 1590788"/>
                  <a:gd name="connsiteX817" fmla="*/ 1247045 w 1935893"/>
                  <a:gd name="connsiteY817" fmla="*/ 155414 h 1590788"/>
                  <a:gd name="connsiteX818" fmla="*/ 1218548 w 1935893"/>
                  <a:gd name="connsiteY818" fmla="*/ 150342 h 1590788"/>
                  <a:gd name="connsiteX819" fmla="*/ 1202931 w 1935893"/>
                  <a:gd name="connsiteY819" fmla="*/ 152394 h 1590788"/>
                  <a:gd name="connsiteX820" fmla="*/ 1194097 w 1935893"/>
                  <a:gd name="connsiteY820" fmla="*/ 165958 h 1590788"/>
                  <a:gd name="connsiteX821" fmla="*/ 1214427 w 1935893"/>
                  <a:gd name="connsiteY821" fmla="*/ 189828 h 1590788"/>
                  <a:gd name="connsiteX822" fmla="*/ 1215869 w 1935893"/>
                  <a:gd name="connsiteY822" fmla="*/ 189896 h 1590788"/>
                  <a:gd name="connsiteX823" fmla="*/ 1223677 w 1935893"/>
                  <a:gd name="connsiteY823" fmla="*/ 191093 h 1590788"/>
                  <a:gd name="connsiteX824" fmla="*/ 1225957 w 1935893"/>
                  <a:gd name="connsiteY824" fmla="*/ 194513 h 1590788"/>
                  <a:gd name="connsiteX825" fmla="*/ 1234620 w 1935893"/>
                  <a:gd name="connsiteY825" fmla="*/ 202321 h 1590788"/>
                  <a:gd name="connsiteX826" fmla="*/ 1237071 w 1935893"/>
                  <a:gd name="connsiteY826" fmla="*/ 212751 h 1590788"/>
                  <a:gd name="connsiteX827" fmla="*/ 1253713 w 1935893"/>
                  <a:gd name="connsiteY827" fmla="*/ 221642 h 1590788"/>
                  <a:gd name="connsiteX828" fmla="*/ 1257019 w 1935893"/>
                  <a:gd name="connsiteY828" fmla="*/ 223637 h 1590788"/>
                  <a:gd name="connsiteX829" fmla="*/ 1278734 w 1935893"/>
                  <a:gd name="connsiteY829" fmla="*/ 236746 h 1590788"/>
                  <a:gd name="connsiteX830" fmla="*/ 1284433 w 1935893"/>
                  <a:gd name="connsiteY830" fmla="*/ 247518 h 1590788"/>
                  <a:gd name="connsiteX831" fmla="*/ 1280786 w 1935893"/>
                  <a:gd name="connsiteY831" fmla="*/ 256466 h 1590788"/>
                  <a:gd name="connsiteX832" fmla="*/ 1274459 w 1935893"/>
                  <a:gd name="connsiteY832" fmla="*/ 255041 h 1590788"/>
                  <a:gd name="connsiteX833" fmla="*/ 1235532 w 1935893"/>
                  <a:gd name="connsiteY833" fmla="*/ 237943 h 1590788"/>
                  <a:gd name="connsiteX834" fmla="*/ 1220827 w 1935893"/>
                  <a:gd name="connsiteY834" fmla="*/ 234637 h 1590788"/>
                  <a:gd name="connsiteX835" fmla="*/ 1201506 w 1935893"/>
                  <a:gd name="connsiteY835" fmla="*/ 240336 h 1590788"/>
                  <a:gd name="connsiteX836" fmla="*/ 1191019 w 1935893"/>
                  <a:gd name="connsiteY836" fmla="*/ 245694 h 1590788"/>
                  <a:gd name="connsiteX837" fmla="*/ 1178537 w 1935893"/>
                  <a:gd name="connsiteY837" fmla="*/ 247119 h 1590788"/>
                  <a:gd name="connsiteX838" fmla="*/ 1169361 w 1935893"/>
                  <a:gd name="connsiteY838" fmla="*/ 269233 h 1590788"/>
                  <a:gd name="connsiteX839" fmla="*/ 1192159 w 1935893"/>
                  <a:gd name="connsiteY839" fmla="*/ 271057 h 1590788"/>
                  <a:gd name="connsiteX840" fmla="*/ 1214159 w 1935893"/>
                  <a:gd name="connsiteY840" fmla="*/ 267751 h 1590788"/>
                  <a:gd name="connsiteX841" fmla="*/ 1223506 w 1935893"/>
                  <a:gd name="connsiteY841" fmla="*/ 257150 h 1590788"/>
                  <a:gd name="connsiteX842" fmla="*/ 1236273 w 1935893"/>
                  <a:gd name="connsiteY842" fmla="*/ 254186 h 1590788"/>
                  <a:gd name="connsiteX843" fmla="*/ 1228328 w 1935893"/>
                  <a:gd name="connsiteY843" fmla="*/ 265448 h 1590788"/>
                  <a:gd name="connsiteX844" fmla="*/ 1226983 w 1935893"/>
                  <a:gd name="connsiteY844" fmla="*/ 265585 h 1590788"/>
                  <a:gd name="connsiteX845" fmla="*/ 1226983 w 1935893"/>
                  <a:gd name="connsiteY845" fmla="*/ 272823 h 1590788"/>
                  <a:gd name="connsiteX846" fmla="*/ 1216746 w 1935893"/>
                  <a:gd name="connsiteY846" fmla="*/ 278633 h 1590788"/>
                  <a:gd name="connsiteX847" fmla="*/ 1222560 w 1935893"/>
                  <a:gd name="connsiteY847" fmla="*/ 288867 h 1590788"/>
                  <a:gd name="connsiteX848" fmla="*/ 1223164 w 1935893"/>
                  <a:gd name="connsiteY848" fmla="*/ 289010 h 1590788"/>
                  <a:gd name="connsiteX849" fmla="*/ 1230459 w 1935893"/>
                  <a:gd name="connsiteY849" fmla="*/ 289523 h 1590788"/>
                  <a:gd name="connsiteX850" fmla="*/ 1236159 w 1935893"/>
                  <a:gd name="connsiteY850" fmla="*/ 294652 h 1590788"/>
                  <a:gd name="connsiteX851" fmla="*/ 1248299 w 1935893"/>
                  <a:gd name="connsiteY851" fmla="*/ 310326 h 1590788"/>
                  <a:gd name="connsiteX852" fmla="*/ 1238724 w 1935893"/>
                  <a:gd name="connsiteY852" fmla="*/ 313974 h 1590788"/>
                  <a:gd name="connsiteX853" fmla="*/ 1239693 w 1935893"/>
                  <a:gd name="connsiteY853" fmla="*/ 320699 h 1590788"/>
                  <a:gd name="connsiteX854" fmla="*/ 1224988 w 1935893"/>
                  <a:gd name="connsiteY854" fmla="*/ 319559 h 1590788"/>
                  <a:gd name="connsiteX855" fmla="*/ 1221511 w 1935893"/>
                  <a:gd name="connsiteY855" fmla="*/ 317963 h 1590788"/>
                  <a:gd name="connsiteX856" fmla="*/ 1220029 w 1935893"/>
                  <a:gd name="connsiteY856" fmla="*/ 313860 h 1590788"/>
                  <a:gd name="connsiteX857" fmla="*/ 1208118 w 1935893"/>
                  <a:gd name="connsiteY857" fmla="*/ 303373 h 1590788"/>
                  <a:gd name="connsiteX858" fmla="*/ 1199910 w 1935893"/>
                  <a:gd name="connsiteY858" fmla="*/ 290093 h 1590788"/>
                  <a:gd name="connsiteX859" fmla="*/ 1183952 w 1935893"/>
                  <a:gd name="connsiteY859" fmla="*/ 285989 h 1590788"/>
                  <a:gd name="connsiteX860" fmla="*/ 1172553 w 1935893"/>
                  <a:gd name="connsiteY860" fmla="*/ 284564 h 1590788"/>
                  <a:gd name="connsiteX861" fmla="*/ 1167537 w 1935893"/>
                  <a:gd name="connsiteY861" fmla="*/ 284564 h 1590788"/>
                  <a:gd name="connsiteX862" fmla="*/ 1160413 w 1935893"/>
                  <a:gd name="connsiteY862" fmla="*/ 295963 h 1590788"/>
                  <a:gd name="connsiteX863" fmla="*/ 1171071 w 1935893"/>
                  <a:gd name="connsiteY863" fmla="*/ 305196 h 1590788"/>
                  <a:gd name="connsiteX864" fmla="*/ 1178651 w 1935893"/>
                  <a:gd name="connsiteY864" fmla="*/ 306165 h 1590788"/>
                  <a:gd name="connsiteX865" fmla="*/ 1185263 w 1935893"/>
                  <a:gd name="connsiteY865" fmla="*/ 320015 h 1590788"/>
                  <a:gd name="connsiteX866" fmla="*/ 1184522 w 1935893"/>
                  <a:gd name="connsiteY866" fmla="*/ 323606 h 1590788"/>
                  <a:gd name="connsiteX867" fmla="*/ 1179962 w 1935893"/>
                  <a:gd name="connsiteY867" fmla="*/ 325202 h 1590788"/>
                  <a:gd name="connsiteX868" fmla="*/ 1143656 w 1935893"/>
                  <a:gd name="connsiteY868" fmla="*/ 326341 h 1590788"/>
                  <a:gd name="connsiteX869" fmla="*/ 1135620 w 1935893"/>
                  <a:gd name="connsiteY869" fmla="*/ 327709 h 1590788"/>
                  <a:gd name="connsiteX870" fmla="*/ 1129043 w 1935893"/>
                  <a:gd name="connsiteY870" fmla="*/ 335449 h 1590788"/>
                  <a:gd name="connsiteX871" fmla="*/ 1128040 w 1935893"/>
                  <a:gd name="connsiteY871" fmla="*/ 335461 h 1590788"/>
                  <a:gd name="connsiteX872" fmla="*/ 1133055 w 1935893"/>
                  <a:gd name="connsiteY872" fmla="*/ 346860 h 1590788"/>
                  <a:gd name="connsiteX873" fmla="*/ 1146335 w 1935893"/>
                  <a:gd name="connsiteY873" fmla="*/ 348968 h 1590788"/>
                  <a:gd name="connsiteX874" fmla="*/ 1192786 w 1935893"/>
                  <a:gd name="connsiteY874" fmla="*/ 348341 h 1590788"/>
                  <a:gd name="connsiteX875" fmla="*/ 1199739 w 1935893"/>
                  <a:gd name="connsiteY875" fmla="*/ 350336 h 1590788"/>
                  <a:gd name="connsiteX876" fmla="*/ 1202532 w 1935893"/>
                  <a:gd name="connsiteY876" fmla="*/ 357860 h 1590788"/>
                  <a:gd name="connsiteX877" fmla="*/ 1217237 w 1935893"/>
                  <a:gd name="connsiteY877" fmla="*/ 359854 h 1590788"/>
                  <a:gd name="connsiteX878" fmla="*/ 1221454 w 1935893"/>
                  <a:gd name="connsiteY878" fmla="*/ 362989 h 1590788"/>
                  <a:gd name="connsiteX879" fmla="*/ 1228465 w 1935893"/>
                  <a:gd name="connsiteY879" fmla="*/ 362590 h 1590788"/>
                  <a:gd name="connsiteX880" fmla="*/ 1246247 w 1935893"/>
                  <a:gd name="connsiteY880" fmla="*/ 351191 h 1590788"/>
                  <a:gd name="connsiteX881" fmla="*/ 1249724 w 1935893"/>
                  <a:gd name="connsiteY881" fmla="*/ 345492 h 1590788"/>
                  <a:gd name="connsiteX882" fmla="*/ 1256563 w 1935893"/>
                  <a:gd name="connsiteY882" fmla="*/ 343896 h 1590788"/>
                  <a:gd name="connsiteX883" fmla="*/ 1309625 w 1935893"/>
                  <a:gd name="connsiteY883" fmla="*/ 355295 h 1590788"/>
                  <a:gd name="connsiteX884" fmla="*/ 1321936 w 1935893"/>
                  <a:gd name="connsiteY884" fmla="*/ 365326 h 1590788"/>
                  <a:gd name="connsiteX885" fmla="*/ 1336926 w 1935893"/>
                  <a:gd name="connsiteY885" fmla="*/ 365326 h 1590788"/>
                  <a:gd name="connsiteX886" fmla="*/ 1341884 w 1935893"/>
                  <a:gd name="connsiteY886" fmla="*/ 360538 h 1590788"/>
                  <a:gd name="connsiteX887" fmla="*/ 1358128 w 1935893"/>
                  <a:gd name="connsiteY887" fmla="*/ 357803 h 1590788"/>
                  <a:gd name="connsiteX888" fmla="*/ 1361604 w 1935893"/>
                  <a:gd name="connsiteY888" fmla="*/ 353528 h 1590788"/>
                  <a:gd name="connsiteX889" fmla="*/ 1378418 w 1935893"/>
                  <a:gd name="connsiteY889" fmla="*/ 352046 h 1590788"/>
                  <a:gd name="connsiteX890" fmla="*/ 1389817 w 1935893"/>
                  <a:gd name="connsiteY890" fmla="*/ 336544 h 1590788"/>
                  <a:gd name="connsiteX891" fmla="*/ 1374656 w 1935893"/>
                  <a:gd name="connsiteY891" fmla="*/ 323606 h 1590788"/>
                  <a:gd name="connsiteX892" fmla="*/ 1367019 w 1935893"/>
                  <a:gd name="connsiteY892" fmla="*/ 327994 h 1590788"/>
                  <a:gd name="connsiteX893" fmla="*/ 1367019 w 1935893"/>
                  <a:gd name="connsiteY893" fmla="*/ 331642 h 1590788"/>
                  <a:gd name="connsiteX894" fmla="*/ 1361576 w 1935893"/>
                  <a:gd name="connsiteY894" fmla="*/ 334787 h 1590788"/>
                  <a:gd name="connsiteX895" fmla="*/ 1360464 w 1935893"/>
                  <a:gd name="connsiteY895" fmla="*/ 334321 h 1590788"/>
                  <a:gd name="connsiteX896" fmla="*/ 1357786 w 1935893"/>
                  <a:gd name="connsiteY896" fmla="*/ 331072 h 1590788"/>
                  <a:gd name="connsiteX897" fmla="*/ 1334247 w 1935893"/>
                  <a:gd name="connsiteY897" fmla="*/ 323777 h 1590788"/>
                  <a:gd name="connsiteX898" fmla="*/ 1308941 w 1935893"/>
                  <a:gd name="connsiteY898" fmla="*/ 322181 h 1590788"/>
                  <a:gd name="connsiteX899" fmla="*/ 1300050 w 1935893"/>
                  <a:gd name="connsiteY899" fmla="*/ 323207 h 1590788"/>
                  <a:gd name="connsiteX900" fmla="*/ 1298055 w 1935893"/>
                  <a:gd name="connsiteY900" fmla="*/ 312606 h 1590788"/>
                  <a:gd name="connsiteX901" fmla="*/ 1301247 w 1935893"/>
                  <a:gd name="connsiteY901" fmla="*/ 305538 h 1590788"/>
                  <a:gd name="connsiteX902" fmla="*/ 1307516 w 1935893"/>
                  <a:gd name="connsiteY902" fmla="*/ 305538 h 1590788"/>
                  <a:gd name="connsiteX903" fmla="*/ 1379444 w 1935893"/>
                  <a:gd name="connsiteY903" fmla="*/ 304171 h 1590788"/>
                  <a:gd name="connsiteX904" fmla="*/ 1373744 w 1935893"/>
                  <a:gd name="connsiteY904" fmla="*/ 275217 h 1590788"/>
                  <a:gd name="connsiteX905" fmla="*/ 1387993 w 1935893"/>
                  <a:gd name="connsiteY905" fmla="*/ 270829 h 1590788"/>
                  <a:gd name="connsiteX906" fmla="*/ 1408169 w 1935893"/>
                  <a:gd name="connsiteY906" fmla="*/ 271912 h 1590788"/>
                  <a:gd name="connsiteX907" fmla="*/ 1421905 w 1935893"/>
                  <a:gd name="connsiteY907" fmla="*/ 270031 h 1590788"/>
                  <a:gd name="connsiteX908" fmla="*/ 1425872 w 1935893"/>
                  <a:gd name="connsiteY908" fmla="*/ 258354 h 1590788"/>
                  <a:gd name="connsiteX909" fmla="*/ 1425780 w 1935893"/>
                  <a:gd name="connsiteY909" fmla="*/ 258176 h 1590788"/>
                  <a:gd name="connsiteX910" fmla="*/ 1438262 w 1935893"/>
                  <a:gd name="connsiteY910" fmla="*/ 244896 h 1590788"/>
                  <a:gd name="connsiteX911" fmla="*/ 1450915 w 1935893"/>
                  <a:gd name="connsiteY911" fmla="*/ 223238 h 1590788"/>
                  <a:gd name="connsiteX912" fmla="*/ 1398708 w 1935893"/>
                  <a:gd name="connsiteY912" fmla="*/ 221015 h 1590788"/>
                  <a:gd name="connsiteX913" fmla="*/ 1388848 w 1935893"/>
                  <a:gd name="connsiteY913" fmla="*/ 216399 h 1590788"/>
                  <a:gd name="connsiteX914" fmla="*/ 1397625 w 1935893"/>
                  <a:gd name="connsiteY914" fmla="*/ 206881 h 1590788"/>
                  <a:gd name="connsiteX915" fmla="*/ 1444418 w 1935893"/>
                  <a:gd name="connsiteY915" fmla="*/ 201865 h 1590788"/>
                  <a:gd name="connsiteX916" fmla="*/ 1465278 w 1935893"/>
                  <a:gd name="connsiteY916" fmla="*/ 201067 h 1590788"/>
                  <a:gd name="connsiteX917" fmla="*/ 1474625 w 1935893"/>
                  <a:gd name="connsiteY917" fmla="*/ 184653 h 1590788"/>
                  <a:gd name="connsiteX918" fmla="*/ 1480609 w 1935893"/>
                  <a:gd name="connsiteY918" fmla="*/ 182544 h 1590788"/>
                  <a:gd name="connsiteX919" fmla="*/ 1507055 w 1935893"/>
                  <a:gd name="connsiteY919" fmla="*/ 184881 h 1590788"/>
                  <a:gd name="connsiteX920" fmla="*/ 1515148 w 1935893"/>
                  <a:gd name="connsiteY920" fmla="*/ 184368 h 1590788"/>
                  <a:gd name="connsiteX921" fmla="*/ 1521703 w 1935893"/>
                  <a:gd name="connsiteY921" fmla="*/ 176844 h 1590788"/>
                  <a:gd name="connsiteX922" fmla="*/ 1539656 w 1935893"/>
                  <a:gd name="connsiteY922" fmla="*/ 151083 h 1590788"/>
                  <a:gd name="connsiteX923" fmla="*/ 1564620 w 1935893"/>
                  <a:gd name="connsiteY923" fmla="*/ 142704 h 1590788"/>
                  <a:gd name="connsiteX924" fmla="*/ 1603946 w 1935893"/>
                  <a:gd name="connsiteY924" fmla="*/ 127430 h 1590788"/>
                  <a:gd name="connsiteX925" fmla="*/ 1630904 w 1935893"/>
                  <a:gd name="connsiteY925" fmla="*/ 108052 h 1590788"/>
                  <a:gd name="connsiteX926" fmla="*/ 1682200 w 1935893"/>
                  <a:gd name="connsiteY926" fmla="*/ 95513 h 1590788"/>
                  <a:gd name="connsiteX927" fmla="*/ 1657008 w 1935893"/>
                  <a:gd name="connsiteY927" fmla="*/ 84513 h 1590788"/>
                  <a:gd name="connsiteX928" fmla="*/ 1628226 w 1935893"/>
                  <a:gd name="connsiteY928" fmla="*/ 88730 h 1590788"/>
                  <a:gd name="connsiteX929" fmla="*/ 1615630 w 1935893"/>
                  <a:gd name="connsiteY929" fmla="*/ 79155 h 1590788"/>
                  <a:gd name="connsiteX930" fmla="*/ 1626288 w 1935893"/>
                  <a:gd name="connsiteY930" fmla="*/ 73456 h 1590788"/>
                  <a:gd name="connsiteX931" fmla="*/ 1692744 w 1935893"/>
                  <a:gd name="connsiteY931" fmla="*/ 67756 h 1590788"/>
                  <a:gd name="connsiteX932" fmla="*/ 1752474 w 1935893"/>
                  <a:gd name="connsiteY932" fmla="*/ 40342 h 1590788"/>
                  <a:gd name="connsiteX933" fmla="*/ 1756008 w 1935893"/>
                  <a:gd name="connsiteY933" fmla="*/ 28943 h 1590788"/>
                  <a:gd name="connsiteX934" fmla="*/ 1729619 w 1935893"/>
                  <a:gd name="connsiteY934" fmla="*/ 35668 h 1590788"/>
                  <a:gd name="connsiteX935" fmla="*/ 1675816 w 1935893"/>
                  <a:gd name="connsiteY935" fmla="*/ 7171 h 1590788"/>
                  <a:gd name="connsiteX936" fmla="*/ 1661226 w 1935893"/>
                  <a:gd name="connsiteY936" fmla="*/ 9394 h 1590788"/>
                  <a:gd name="connsiteX937" fmla="*/ 1628511 w 1935893"/>
                  <a:gd name="connsiteY937" fmla="*/ 18342 h 1590788"/>
                  <a:gd name="connsiteX938" fmla="*/ 1623666 w 1935893"/>
                  <a:gd name="connsiteY938" fmla="*/ 18342 h 1590788"/>
                  <a:gd name="connsiteX939" fmla="*/ 1619562 w 1935893"/>
                  <a:gd name="connsiteY939" fmla="*/ 13212 h 1590788"/>
                  <a:gd name="connsiteX940" fmla="*/ 1583792 w 1935893"/>
                  <a:gd name="connsiteY940" fmla="*/ 3460 h 1590788"/>
                  <a:gd name="connsiteX941" fmla="*/ 1581718 w 1935893"/>
                  <a:gd name="connsiteY941" fmla="*/ 4777 h 1590788"/>
                  <a:gd name="connsiteX942" fmla="*/ 1562283 w 1935893"/>
                  <a:gd name="connsiteY942" fmla="*/ 18456 h 1590788"/>
                  <a:gd name="connsiteX943" fmla="*/ 1544728 w 1935893"/>
                  <a:gd name="connsiteY943" fmla="*/ 8995 h 1590788"/>
                  <a:gd name="connsiteX944" fmla="*/ 1518112 w 1935893"/>
                  <a:gd name="connsiteY944" fmla="*/ 6316 h 1590788"/>
                  <a:gd name="connsiteX945" fmla="*/ 1506713 w 1935893"/>
                  <a:gd name="connsiteY945" fmla="*/ 11503 h 1590788"/>
                  <a:gd name="connsiteX946" fmla="*/ 1491096 w 1935893"/>
                  <a:gd name="connsiteY946" fmla="*/ 13497 h 1590788"/>
                  <a:gd name="connsiteX947" fmla="*/ 1435298 w 1935893"/>
                  <a:gd name="connsiteY947" fmla="*/ 14922 h 1590788"/>
                  <a:gd name="connsiteX948" fmla="*/ 1425723 w 1935893"/>
                  <a:gd name="connsiteY948" fmla="*/ 12927 h 1590788"/>
                  <a:gd name="connsiteX949" fmla="*/ 1420651 w 1935893"/>
                  <a:gd name="connsiteY949" fmla="*/ 5689 h 1590788"/>
                  <a:gd name="connsiteX950" fmla="*/ 1399261 w 1935893"/>
                  <a:gd name="connsiteY950" fmla="*/ 4249 h 1590788"/>
                  <a:gd name="connsiteX951" fmla="*/ 1394889 w 1935893"/>
                  <a:gd name="connsiteY951" fmla="*/ 10762 h 1590788"/>
                  <a:gd name="connsiteX952" fmla="*/ 1393293 w 1935893"/>
                  <a:gd name="connsiteY952" fmla="*/ 15549 h 1590788"/>
                  <a:gd name="connsiteX953" fmla="*/ 1380527 w 1935893"/>
                  <a:gd name="connsiteY953" fmla="*/ 10420 h 1590788"/>
                  <a:gd name="connsiteX954" fmla="*/ 1340226 w 1935893"/>
                  <a:gd name="connsiteY954" fmla="*/ 10175 h 1590788"/>
                  <a:gd name="connsiteX955" fmla="*/ 1337096 w 1935893"/>
                  <a:gd name="connsiteY955" fmla="*/ 13839 h 1590788"/>
                  <a:gd name="connsiteX956" fmla="*/ 1318756 w 1935893"/>
                  <a:gd name="connsiteY956" fmla="*/ 16547 h 1590788"/>
                  <a:gd name="connsiteX957" fmla="*/ 1317091 w 1935893"/>
                  <a:gd name="connsiteY957" fmla="*/ 19539 h 1590788"/>
                  <a:gd name="connsiteX958" fmla="*/ 1315552 w 1935893"/>
                  <a:gd name="connsiteY958" fmla="*/ 25238 h 1590788"/>
                  <a:gd name="connsiteX959" fmla="*/ 1282895 w 1935893"/>
                  <a:gd name="connsiteY959" fmla="*/ 33902 h 1590788"/>
                  <a:gd name="connsiteX960" fmla="*/ 1277993 w 1935893"/>
                  <a:gd name="connsiteY960" fmla="*/ 43306 h 1590788"/>
                  <a:gd name="connsiteX961" fmla="*/ 1260496 w 1935893"/>
                  <a:gd name="connsiteY961" fmla="*/ 44731 h 1590788"/>
                  <a:gd name="connsiteX962" fmla="*/ 1245050 w 1935893"/>
                  <a:gd name="connsiteY962" fmla="*/ 33332 h 1590788"/>
                  <a:gd name="connsiteX963" fmla="*/ 1210853 w 1935893"/>
                  <a:gd name="connsiteY963" fmla="*/ 35440 h 1590788"/>
                  <a:gd name="connsiteX964" fmla="*/ 1191817 w 1935893"/>
                  <a:gd name="connsiteY964" fmla="*/ 65249 h 1590788"/>
                  <a:gd name="connsiteX965" fmla="*/ 1177910 w 1935893"/>
                  <a:gd name="connsiteY965" fmla="*/ 65249 h 1590788"/>
                  <a:gd name="connsiteX966" fmla="*/ 1160812 w 1935893"/>
                  <a:gd name="connsiteY966" fmla="*/ 50544 h 1590788"/>
                  <a:gd name="connsiteX967" fmla="*/ 1139952 w 1935893"/>
                  <a:gd name="connsiteY967" fmla="*/ 61430 h 1590788"/>
                  <a:gd name="connsiteX968" fmla="*/ 1136817 w 1935893"/>
                  <a:gd name="connsiteY968" fmla="*/ 65021 h 1590788"/>
                  <a:gd name="connsiteX969" fmla="*/ 1118009 w 1935893"/>
                  <a:gd name="connsiteY969" fmla="*/ 70264 h 1590788"/>
                  <a:gd name="connsiteX970" fmla="*/ 1119206 w 1935893"/>
                  <a:gd name="connsiteY970" fmla="*/ 79782 h 1590788"/>
                  <a:gd name="connsiteX971" fmla="*/ 1124905 w 1935893"/>
                  <a:gd name="connsiteY971" fmla="*/ 88218 h 1590788"/>
                  <a:gd name="connsiteX972" fmla="*/ 1118362 w 1935893"/>
                  <a:gd name="connsiteY972" fmla="*/ 102951 h 1590788"/>
                  <a:gd name="connsiteX973" fmla="*/ 1108662 w 1935893"/>
                  <a:gd name="connsiteY973" fmla="*/ 102238 h 1590788"/>
                  <a:gd name="connsiteX974" fmla="*/ 1089739 w 1935893"/>
                  <a:gd name="connsiteY974" fmla="*/ 82803 h 1590788"/>
                  <a:gd name="connsiteX975" fmla="*/ 1095781 w 1935893"/>
                  <a:gd name="connsiteY975" fmla="*/ 84342 h 1590788"/>
                  <a:gd name="connsiteX976" fmla="*/ 1099656 w 1935893"/>
                  <a:gd name="connsiteY976" fmla="*/ 80181 h 1590788"/>
                  <a:gd name="connsiteX977" fmla="*/ 1105014 w 1935893"/>
                  <a:gd name="connsiteY977" fmla="*/ 80922 h 1590788"/>
                  <a:gd name="connsiteX978" fmla="*/ 1110200 w 1935893"/>
                  <a:gd name="connsiteY978" fmla="*/ 80922 h 1590788"/>
                  <a:gd name="connsiteX979" fmla="*/ 1108947 w 1935893"/>
                  <a:gd name="connsiteY979" fmla="*/ 74881 h 1590788"/>
                  <a:gd name="connsiteX980" fmla="*/ 1106040 w 1935893"/>
                  <a:gd name="connsiteY980" fmla="*/ 71746 h 1590788"/>
                  <a:gd name="connsiteX981" fmla="*/ 1097662 w 1935893"/>
                  <a:gd name="connsiteY981" fmla="*/ 69865 h 1590788"/>
                  <a:gd name="connsiteX982" fmla="*/ 1091050 w 1935893"/>
                  <a:gd name="connsiteY982" fmla="*/ 69865 h 1590788"/>
                  <a:gd name="connsiteX983" fmla="*/ 1085351 w 1935893"/>
                  <a:gd name="connsiteY983" fmla="*/ 79155 h 1590788"/>
                  <a:gd name="connsiteX984" fmla="*/ 1089739 w 1935893"/>
                  <a:gd name="connsiteY984" fmla="*/ 82689 h 1590788"/>
                  <a:gd name="connsiteX985" fmla="*/ 980594 w 1935893"/>
                  <a:gd name="connsiteY985" fmla="*/ 183114 h 1590788"/>
                  <a:gd name="connsiteX986" fmla="*/ 991423 w 1935893"/>
                  <a:gd name="connsiteY986" fmla="*/ 186590 h 1590788"/>
                  <a:gd name="connsiteX987" fmla="*/ 992734 w 1935893"/>
                  <a:gd name="connsiteY987" fmla="*/ 194228 h 1590788"/>
                  <a:gd name="connsiteX988" fmla="*/ 997693 w 1935893"/>
                  <a:gd name="connsiteY988" fmla="*/ 198730 h 1590788"/>
                  <a:gd name="connsiteX989" fmla="*/ 998645 w 1935893"/>
                  <a:gd name="connsiteY989" fmla="*/ 205596 h 1590788"/>
                  <a:gd name="connsiteX990" fmla="*/ 999118 w 1935893"/>
                  <a:gd name="connsiteY990" fmla="*/ 205912 h 1590788"/>
                  <a:gd name="connsiteX991" fmla="*/ 1007325 w 1935893"/>
                  <a:gd name="connsiteY991" fmla="*/ 207280 h 1590788"/>
                  <a:gd name="connsiteX992" fmla="*/ 1057594 w 1935893"/>
                  <a:gd name="connsiteY992" fmla="*/ 201580 h 1590788"/>
                  <a:gd name="connsiteX993" fmla="*/ 1070190 w 1935893"/>
                  <a:gd name="connsiteY993" fmla="*/ 201580 h 1590788"/>
                  <a:gd name="connsiteX994" fmla="*/ 1073268 w 1935893"/>
                  <a:gd name="connsiteY994" fmla="*/ 212010 h 1590788"/>
                  <a:gd name="connsiteX995" fmla="*/ 1060558 w 1935893"/>
                  <a:gd name="connsiteY995" fmla="*/ 216057 h 1590788"/>
                  <a:gd name="connsiteX996" fmla="*/ 1057651 w 1935893"/>
                  <a:gd name="connsiteY996" fmla="*/ 219932 h 1590788"/>
                  <a:gd name="connsiteX997" fmla="*/ 1039185 w 1935893"/>
                  <a:gd name="connsiteY997" fmla="*/ 223295 h 1590788"/>
                  <a:gd name="connsiteX998" fmla="*/ 1034967 w 1935893"/>
                  <a:gd name="connsiteY998" fmla="*/ 228596 h 1590788"/>
                  <a:gd name="connsiteX999" fmla="*/ 1040667 w 1935893"/>
                  <a:gd name="connsiteY999" fmla="*/ 239994 h 1590788"/>
                  <a:gd name="connsiteX1000" fmla="*/ 1053833 w 1935893"/>
                  <a:gd name="connsiteY1000" fmla="*/ 243186 h 1590788"/>
                  <a:gd name="connsiteX1001" fmla="*/ 1057537 w 1935893"/>
                  <a:gd name="connsiteY1001" fmla="*/ 249513 h 1590788"/>
                  <a:gd name="connsiteX1002" fmla="*/ 1065118 w 1935893"/>
                  <a:gd name="connsiteY1002" fmla="*/ 253160 h 1590788"/>
                  <a:gd name="connsiteX1003" fmla="*/ 1066429 w 1935893"/>
                  <a:gd name="connsiteY1003" fmla="*/ 257834 h 1590788"/>
                  <a:gd name="connsiteX1004" fmla="*/ 1083527 w 1935893"/>
                  <a:gd name="connsiteY1004" fmla="*/ 264502 h 1590788"/>
                  <a:gd name="connsiteX1005" fmla="*/ 1087403 w 1935893"/>
                  <a:gd name="connsiteY1005" fmla="*/ 271741 h 1590788"/>
                  <a:gd name="connsiteX1006" fmla="*/ 1096237 w 1935893"/>
                  <a:gd name="connsiteY1006" fmla="*/ 272766 h 1590788"/>
                  <a:gd name="connsiteX1007" fmla="*/ 1107123 w 1935893"/>
                  <a:gd name="connsiteY1007" fmla="*/ 272310 h 1590788"/>
                  <a:gd name="connsiteX1008" fmla="*/ 1112822 w 1935893"/>
                  <a:gd name="connsiteY1008" fmla="*/ 270373 h 1590788"/>
                  <a:gd name="connsiteX1009" fmla="*/ 1114475 w 1935893"/>
                  <a:gd name="connsiteY1009" fmla="*/ 267010 h 1590788"/>
                  <a:gd name="connsiteX1010" fmla="*/ 1121543 w 1935893"/>
                  <a:gd name="connsiteY1010" fmla="*/ 263077 h 1590788"/>
                  <a:gd name="connsiteX1011" fmla="*/ 1132941 w 1935893"/>
                  <a:gd name="connsiteY1011" fmla="*/ 262165 h 1590788"/>
                  <a:gd name="connsiteX1012" fmla="*/ 1140066 w 1935893"/>
                  <a:gd name="connsiteY1012" fmla="*/ 270316 h 1590788"/>
                  <a:gd name="connsiteX1013" fmla="*/ 1149299 w 1935893"/>
                  <a:gd name="connsiteY1013" fmla="*/ 270316 h 1590788"/>
                  <a:gd name="connsiteX1014" fmla="*/ 1153288 w 1935893"/>
                  <a:gd name="connsiteY1014" fmla="*/ 261481 h 1590788"/>
                  <a:gd name="connsiteX1015" fmla="*/ 1152548 w 1935893"/>
                  <a:gd name="connsiteY1015" fmla="*/ 253046 h 1590788"/>
                  <a:gd name="connsiteX1016" fmla="*/ 1163947 w 1935893"/>
                  <a:gd name="connsiteY1016" fmla="*/ 235948 h 1590788"/>
                  <a:gd name="connsiteX1017" fmla="*/ 1167936 w 1935893"/>
                  <a:gd name="connsiteY1017" fmla="*/ 233896 h 1590788"/>
                  <a:gd name="connsiteX1018" fmla="*/ 1170216 w 1935893"/>
                  <a:gd name="connsiteY1018" fmla="*/ 229621 h 1590788"/>
                  <a:gd name="connsiteX1019" fmla="*/ 1181102 w 1935893"/>
                  <a:gd name="connsiteY1019" fmla="*/ 226031 h 1590788"/>
                  <a:gd name="connsiteX1020" fmla="*/ 1189765 w 1935893"/>
                  <a:gd name="connsiteY1020" fmla="*/ 215658 h 1590788"/>
                  <a:gd name="connsiteX1021" fmla="*/ 1196434 w 1935893"/>
                  <a:gd name="connsiteY1021" fmla="*/ 214803 h 1590788"/>
                  <a:gd name="connsiteX1022" fmla="*/ 1211024 w 1935893"/>
                  <a:gd name="connsiteY1022" fmla="*/ 214803 h 1590788"/>
                  <a:gd name="connsiteX1023" fmla="*/ 1217864 w 1935893"/>
                  <a:gd name="connsiteY1023" fmla="*/ 203746 h 1590788"/>
                  <a:gd name="connsiteX1024" fmla="*/ 1205667 w 1935893"/>
                  <a:gd name="connsiteY1024" fmla="*/ 198388 h 1590788"/>
                  <a:gd name="connsiteX1025" fmla="*/ 1178708 w 1935893"/>
                  <a:gd name="connsiteY1025" fmla="*/ 197191 h 1590788"/>
                  <a:gd name="connsiteX1026" fmla="*/ 1176029 w 1935893"/>
                  <a:gd name="connsiteY1026" fmla="*/ 196564 h 1590788"/>
                  <a:gd name="connsiteX1027" fmla="*/ 1174377 w 1935893"/>
                  <a:gd name="connsiteY1027" fmla="*/ 193544 h 1590788"/>
                  <a:gd name="connsiteX1028" fmla="*/ 1171755 w 1935893"/>
                  <a:gd name="connsiteY1028" fmla="*/ 183798 h 1590788"/>
                  <a:gd name="connsiteX1029" fmla="*/ 1181387 w 1935893"/>
                  <a:gd name="connsiteY1029" fmla="*/ 181290 h 1590788"/>
                  <a:gd name="connsiteX1030" fmla="*/ 1176485 w 1935893"/>
                  <a:gd name="connsiteY1030" fmla="*/ 172570 h 1590788"/>
                  <a:gd name="connsiteX1031" fmla="*/ 1167480 w 1935893"/>
                  <a:gd name="connsiteY1031" fmla="*/ 166357 h 1590788"/>
                  <a:gd name="connsiteX1032" fmla="*/ 1167024 w 1935893"/>
                  <a:gd name="connsiteY1032" fmla="*/ 154958 h 1590788"/>
                  <a:gd name="connsiteX1033" fmla="*/ 1159615 w 1935893"/>
                  <a:gd name="connsiteY1033" fmla="*/ 149943 h 1590788"/>
                  <a:gd name="connsiteX1034" fmla="*/ 1158988 w 1935893"/>
                  <a:gd name="connsiteY1034" fmla="*/ 165160 h 1590788"/>
                  <a:gd name="connsiteX1035" fmla="*/ 1146905 w 1935893"/>
                  <a:gd name="connsiteY1035" fmla="*/ 165160 h 1590788"/>
                  <a:gd name="connsiteX1036" fmla="*/ 1139097 w 1935893"/>
                  <a:gd name="connsiteY1036" fmla="*/ 156782 h 1590788"/>
                  <a:gd name="connsiteX1037" fmla="*/ 1138698 w 1935893"/>
                  <a:gd name="connsiteY1037" fmla="*/ 153647 h 1590788"/>
                  <a:gd name="connsiteX1038" fmla="*/ 1131631 w 1935893"/>
                  <a:gd name="connsiteY1038" fmla="*/ 148917 h 1590788"/>
                  <a:gd name="connsiteX1039" fmla="*/ 1129636 w 1935893"/>
                  <a:gd name="connsiteY1039" fmla="*/ 141394 h 1590788"/>
                  <a:gd name="connsiteX1040" fmla="*/ 1127413 w 1935893"/>
                  <a:gd name="connsiteY1040" fmla="*/ 140026 h 1590788"/>
                  <a:gd name="connsiteX1041" fmla="*/ 1104615 w 1935893"/>
                  <a:gd name="connsiteY1041" fmla="*/ 130679 h 1590788"/>
                  <a:gd name="connsiteX1042" fmla="*/ 1098916 w 1935893"/>
                  <a:gd name="connsiteY1042" fmla="*/ 128912 h 1590788"/>
                  <a:gd name="connsiteX1043" fmla="*/ 1090594 w 1935893"/>
                  <a:gd name="connsiteY1043" fmla="*/ 126746 h 1590788"/>
                  <a:gd name="connsiteX1044" fmla="*/ 1089454 w 1935893"/>
                  <a:gd name="connsiteY1044" fmla="*/ 123269 h 1590788"/>
                  <a:gd name="connsiteX1045" fmla="*/ 1079993 w 1935893"/>
                  <a:gd name="connsiteY1045" fmla="*/ 120306 h 1590788"/>
                  <a:gd name="connsiteX1046" fmla="*/ 1077714 w 1935893"/>
                  <a:gd name="connsiteY1046" fmla="*/ 114891 h 1590788"/>
                  <a:gd name="connsiteX1047" fmla="*/ 1069848 w 1935893"/>
                  <a:gd name="connsiteY1047" fmla="*/ 110958 h 1590788"/>
                  <a:gd name="connsiteX1048" fmla="*/ 1069221 w 1935893"/>
                  <a:gd name="connsiteY1048" fmla="*/ 107368 h 1590788"/>
                  <a:gd name="connsiteX1049" fmla="*/ 1056055 w 1935893"/>
                  <a:gd name="connsiteY1049" fmla="*/ 100642 h 1590788"/>
                  <a:gd name="connsiteX1050" fmla="*/ 1039584 w 1935893"/>
                  <a:gd name="connsiteY1050" fmla="*/ 104005 h 1590788"/>
                  <a:gd name="connsiteX1051" fmla="*/ 1032802 w 1935893"/>
                  <a:gd name="connsiteY1051" fmla="*/ 109249 h 1590788"/>
                  <a:gd name="connsiteX1052" fmla="*/ 1025791 w 1935893"/>
                  <a:gd name="connsiteY1052" fmla="*/ 109534 h 1590788"/>
                  <a:gd name="connsiteX1053" fmla="*/ 1009890 w 1935893"/>
                  <a:gd name="connsiteY1053" fmla="*/ 107026 h 1590788"/>
                  <a:gd name="connsiteX1054" fmla="*/ 1010631 w 1935893"/>
                  <a:gd name="connsiteY1054" fmla="*/ 113352 h 1590788"/>
                  <a:gd name="connsiteX1055" fmla="*/ 1016729 w 1935893"/>
                  <a:gd name="connsiteY1055" fmla="*/ 116601 h 1590788"/>
                  <a:gd name="connsiteX1056" fmla="*/ 1026988 w 1935893"/>
                  <a:gd name="connsiteY1056" fmla="*/ 127487 h 1590788"/>
                  <a:gd name="connsiteX1057" fmla="*/ 1012911 w 1935893"/>
                  <a:gd name="connsiteY1057" fmla="*/ 133186 h 1590788"/>
                  <a:gd name="connsiteX1058" fmla="*/ 992734 w 1935893"/>
                  <a:gd name="connsiteY1058" fmla="*/ 135979 h 1590788"/>
                  <a:gd name="connsiteX1059" fmla="*/ 984983 w 1935893"/>
                  <a:gd name="connsiteY1059" fmla="*/ 143274 h 1590788"/>
                  <a:gd name="connsiteX1060" fmla="*/ 990682 w 1935893"/>
                  <a:gd name="connsiteY1060" fmla="*/ 149430 h 1590788"/>
                  <a:gd name="connsiteX1061" fmla="*/ 998833 w 1935893"/>
                  <a:gd name="connsiteY1061" fmla="*/ 153078 h 1590788"/>
                  <a:gd name="connsiteX1062" fmla="*/ 999346 w 1935893"/>
                  <a:gd name="connsiteY1062" fmla="*/ 160430 h 1590788"/>
                  <a:gd name="connsiteX1063" fmla="*/ 1008294 w 1935893"/>
                  <a:gd name="connsiteY1063" fmla="*/ 161513 h 1590788"/>
                  <a:gd name="connsiteX1064" fmla="*/ 1016501 w 1935893"/>
                  <a:gd name="connsiteY1064" fmla="*/ 164419 h 1590788"/>
                  <a:gd name="connsiteX1065" fmla="*/ 1006983 w 1935893"/>
                  <a:gd name="connsiteY1065" fmla="*/ 170974 h 1590788"/>
                  <a:gd name="connsiteX1066" fmla="*/ 992791 w 1935893"/>
                  <a:gd name="connsiteY1066" fmla="*/ 172798 h 1590788"/>
                  <a:gd name="connsiteX1067" fmla="*/ 990740 w 1935893"/>
                  <a:gd name="connsiteY1067" fmla="*/ 169720 h 1590788"/>
                  <a:gd name="connsiteX1068" fmla="*/ 978434 w 1935893"/>
                  <a:gd name="connsiteY1068" fmla="*/ 167145 h 1590788"/>
                  <a:gd name="connsiteX1069" fmla="*/ 975858 w 1935893"/>
                  <a:gd name="connsiteY1069" fmla="*/ 179452 h 1590788"/>
                  <a:gd name="connsiteX1070" fmla="*/ 980423 w 1935893"/>
                  <a:gd name="connsiteY1070" fmla="*/ 183000 h 1590788"/>
                  <a:gd name="connsiteX1071" fmla="*/ 1634780 w 1935893"/>
                  <a:gd name="connsiteY1071" fmla="*/ 796662 h 1590788"/>
                  <a:gd name="connsiteX1072" fmla="*/ 1637687 w 1935893"/>
                  <a:gd name="connsiteY1072" fmla="*/ 801735 h 1590788"/>
                  <a:gd name="connsiteX1073" fmla="*/ 1647775 w 1935893"/>
                  <a:gd name="connsiteY1073" fmla="*/ 805211 h 1590788"/>
                  <a:gd name="connsiteX1074" fmla="*/ 1669319 w 1935893"/>
                  <a:gd name="connsiteY1074" fmla="*/ 829548 h 1590788"/>
                  <a:gd name="connsiteX1075" fmla="*/ 1671029 w 1935893"/>
                  <a:gd name="connsiteY1075" fmla="*/ 834165 h 1590788"/>
                  <a:gd name="connsiteX1076" fmla="*/ 1680034 w 1935893"/>
                  <a:gd name="connsiteY1076" fmla="*/ 836387 h 1590788"/>
                  <a:gd name="connsiteX1077" fmla="*/ 1682314 w 1935893"/>
                  <a:gd name="connsiteY1077" fmla="*/ 843341 h 1590788"/>
                  <a:gd name="connsiteX1078" fmla="*/ 1692288 w 1935893"/>
                  <a:gd name="connsiteY1078" fmla="*/ 843626 h 1590788"/>
                  <a:gd name="connsiteX1079" fmla="*/ 1696106 w 1935893"/>
                  <a:gd name="connsiteY1079" fmla="*/ 832797 h 1590788"/>
                  <a:gd name="connsiteX1080" fmla="*/ 1700096 w 1935893"/>
                  <a:gd name="connsiteY1080" fmla="*/ 822025 h 1590788"/>
                  <a:gd name="connsiteX1081" fmla="*/ 1707733 w 1935893"/>
                  <a:gd name="connsiteY1081" fmla="*/ 818434 h 1590788"/>
                  <a:gd name="connsiteX1082" fmla="*/ 1711324 w 1935893"/>
                  <a:gd name="connsiteY1082" fmla="*/ 809543 h 1590788"/>
                  <a:gd name="connsiteX1083" fmla="*/ 1724832 w 1935893"/>
                  <a:gd name="connsiteY1083" fmla="*/ 804812 h 1590788"/>
                  <a:gd name="connsiteX1084" fmla="*/ 1735547 w 1935893"/>
                  <a:gd name="connsiteY1084" fmla="*/ 796548 h 1590788"/>
                  <a:gd name="connsiteX1085" fmla="*/ 1722381 w 1935893"/>
                  <a:gd name="connsiteY1085" fmla="*/ 774206 h 1590788"/>
                  <a:gd name="connsiteX1086" fmla="*/ 1714117 w 1935893"/>
                  <a:gd name="connsiteY1086" fmla="*/ 772211 h 1590788"/>
                  <a:gd name="connsiteX1087" fmla="*/ 1710412 w 1935893"/>
                  <a:gd name="connsiteY1087" fmla="*/ 766512 h 1590788"/>
                  <a:gd name="connsiteX1088" fmla="*/ 1704713 w 1935893"/>
                  <a:gd name="connsiteY1088" fmla="*/ 764403 h 1590788"/>
                  <a:gd name="connsiteX1089" fmla="*/ 1699868 w 1935893"/>
                  <a:gd name="connsiteY1089" fmla="*/ 753631 h 1590788"/>
                  <a:gd name="connsiteX1090" fmla="*/ 1691091 w 1935893"/>
                  <a:gd name="connsiteY1090" fmla="*/ 749584 h 1590788"/>
                  <a:gd name="connsiteX1091" fmla="*/ 1676614 w 1935893"/>
                  <a:gd name="connsiteY1091" fmla="*/ 737217 h 1590788"/>
                  <a:gd name="connsiteX1092" fmla="*/ 1648117 w 1935893"/>
                  <a:gd name="connsiteY1092" fmla="*/ 730719 h 1590788"/>
                  <a:gd name="connsiteX1093" fmla="*/ 1630448 w 1935893"/>
                  <a:gd name="connsiteY1093" fmla="*/ 721486 h 1590788"/>
                  <a:gd name="connsiteX1094" fmla="*/ 1613350 w 1935893"/>
                  <a:gd name="connsiteY1094" fmla="*/ 718009 h 1590788"/>
                  <a:gd name="connsiteX1095" fmla="*/ 1608790 w 1935893"/>
                  <a:gd name="connsiteY1095" fmla="*/ 709574 h 1590788"/>
                  <a:gd name="connsiteX1096" fmla="*/ 1599101 w 1935893"/>
                  <a:gd name="connsiteY1096" fmla="*/ 705185 h 1590788"/>
                  <a:gd name="connsiteX1097" fmla="*/ 1598303 w 1935893"/>
                  <a:gd name="connsiteY1097" fmla="*/ 690538 h 1590788"/>
                  <a:gd name="connsiteX1098" fmla="*/ 1613293 w 1935893"/>
                  <a:gd name="connsiteY1098" fmla="*/ 687916 h 1590788"/>
                  <a:gd name="connsiteX1099" fmla="*/ 1618993 w 1935893"/>
                  <a:gd name="connsiteY1099" fmla="*/ 691051 h 1590788"/>
                  <a:gd name="connsiteX1100" fmla="*/ 1630887 w 1935893"/>
                  <a:gd name="connsiteY1100" fmla="*/ 683624 h 1590788"/>
                  <a:gd name="connsiteX1101" fmla="*/ 1630392 w 1935893"/>
                  <a:gd name="connsiteY1101" fmla="*/ 677600 h 1590788"/>
                  <a:gd name="connsiteX1102" fmla="*/ 1601552 w 1935893"/>
                  <a:gd name="connsiteY1102" fmla="*/ 678512 h 1590788"/>
                  <a:gd name="connsiteX1103" fmla="*/ 1604801 w 1935893"/>
                  <a:gd name="connsiteY1103" fmla="*/ 666600 h 1590788"/>
                  <a:gd name="connsiteX1104" fmla="*/ 1623951 w 1935893"/>
                  <a:gd name="connsiteY1104" fmla="*/ 659248 h 1590788"/>
                  <a:gd name="connsiteX1105" fmla="*/ 1619164 w 1935893"/>
                  <a:gd name="connsiteY1105" fmla="*/ 655657 h 1590788"/>
                  <a:gd name="connsiteX1106" fmla="*/ 1611526 w 1935893"/>
                  <a:gd name="connsiteY1106" fmla="*/ 640496 h 1590788"/>
                  <a:gd name="connsiteX1107" fmla="*/ 1596366 w 1935893"/>
                  <a:gd name="connsiteY1107" fmla="*/ 648134 h 1590788"/>
                  <a:gd name="connsiteX1108" fmla="*/ 1594713 w 1935893"/>
                  <a:gd name="connsiteY1108" fmla="*/ 651724 h 1590788"/>
                  <a:gd name="connsiteX1109" fmla="*/ 1585480 w 1935893"/>
                  <a:gd name="connsiteY1109" fmla="*/ 649901 h 1590788"/>
                  <a:gd name="connsiteX1110" fmla="*/ 1584511 w 1935893"/>
                  <a:gd name="connsiteY1110" fmla="*/ 639129 h 1590788"/>
                  <a:gd name="connsiteX1111" fmla="*/ 1592604 w 1935893"/>
                  <a:gd name="connsiteY1111" fmla="*/ 628300 h 1590788"/>
                  <a:gd name="connsiteX1112" fmla="*/ 1589811 w 1935893"/>
                  <a:gd name="connsiteY1112" fmla="*/ 621289 h 1590788"/>
                  <a:gd name="connsiteX1113" fmla="*/ 1584397 w 1935893"/>
                  <a:gd name="connsiteY1113" fmla="*/ 621289 h 1590788"/>
                  <a:gd name="connsiteX1114" fmla="*/ 1549516 w 1935893"/>
                  <a:gd name="connsiteY1114" fmla="*/ 627844 h 1590788"/>
                  <a:gd name="connsiteX1115" fmla="*/ 1542403 w 1935893"/>
                  <a:gd name="connsiteY1115" fmla="*/ 607023 h 1590788"/>
                  <a:gd name="connsiteX1116" fmla="*/ 1527231 w 1935893"/>
                  <a:gd name="connsiteY1116" fmla="*/ 607838 h 1590788"/>
                  <a:gd name="connsiteX1117" fmla="*/ 1512697 w 1935893"/>
                  <a:gd name="connsiteY1117" fmla="*/ 622714 h 1590788"/>
                  <a:gd name="connsiteX1118" fmla="*/ 1501811 w 1935893"/>
                  <a:gd name="connsiteY1118" fmla="*/ 612056 h 1590788"/>
                  <a:gd name="connsiteX1119" fmla="*/ 1514293 w 1935893"/>
                  <a:gd name="connsiteY1119" fmla="*/ 606357 h 1590788"/>
                  <a:gd name="connsiteX1120" fmla="*/ 1519993 w 1935893"/>
                  <a:gd name="connsiteY1120" fmla="*/ 596155 h 1590788"/>
                  <a:gd name="connsiteX1121" fmla="*/ 1527402 w 1935893"/>
                  <a:gd name="connsiteY1121" fmla="*/ 593704 h 1590788"/>
                  <a:gd name="connsiteX1122" fmla="*/ 1527402 w 1935893"/>
                  <a:gd name="connsiteY1122" fmla="*/ 584813 h 1590788"/>
                  <a:gd name="connsiteX1123" fmla="*/ 1508195 w 1935893"/>
                  <a:gd name="connsiteY1123" fmla="*/ 582704 h 1590788"/>
                  <a:gd name="connsiteX1124" fmla="*/ 1498050 w 1935893"/>
                  <a:gd name="connsiteY1124" fmla="*/ 592849 h 1590788"/>
                  <a:gd name="connsiteX1125" fmla="*/ 1485283 w 1935893"/>
                  <a:gd name="connsiteY1125" fmla="*/ 594559 h 1590788"/>
                  <a:gd name="connsiteX1126" fmla="*/ 1480438 w 1935893"/>
                  <a:gd name="connsiteY1126" fmla="*/ 582647 h 1590788"/>
                  <a:gd name="connsiteX1127" fmla="*/ 1472972 w 1935893"/>
                  <a:gd name="connsiteY1127" fmla="*/ 578828 h 1590788"/>
                  <a:gd name="connsiteX1128" fmla="*/ 1471490 w 1935893"/>
                  <a:gd name="connsiteY1128" fmla="*/ 572046 h 1590788"/>
                  <a:gd name="connsiteX1129" fmla="*/ 1462143 w 1935893"/>
                  <a:gd name="connsiteY1129" fmla="*/ 563611 h 1590788"/>
                  <a:gd name="connsiteX1130" fmla="*/ 1448863 w 1935893"/>
                  <a:gd name="connsiteY1130" fmla="*/ 562699 h 1590788"/>
                  <a:gd name="connsiteX1131" fmla="*/ 1444133 w 1935893"/>
                  <a:gd name="connsiteY1131" fmla="*/ 561559 h 1590788"/>
                  <a:gd name="connsiteX1132" fmla="*/ 1442594 w 1935893"/>
                  <a:gd name="connsiteY1132" fmla="*/ 547538 h 1590788"/>
                  <a:gd name="connsiteX1133" fmla="*/ 1423842 w 1935893"/>
                  <a:gd name="connsiteY1133" fmla="*/ 535626 h 1590788"/>
                  <a:gd name="connsiteX1134" fmla="*/ 1384687 w 1935893"/>
                  <a:gd name="connsiteY1134" fmla="*/ 535626 h 1590788"/>
                  <a:gd name="connsiteX1135" fmla="*/ 1377050 w 1935893"/>
                  <a:gd name="connsiteY1135" fmla="*/ 537165 h 1590788"/>
                  <a:gd name="connsiteX1136" fmla="*/ 1372775 w 1935893"/>
                  <a:gd name="connsiteY1136" fmla="*/ 546569 h 1590788"/>
                  <a:gd name="connsiteX1137" fmla="*/ 1370438 w 1935893"/>
                  <a:gd name="connsiteY1137" fmla="*/ 556828 h 1590788"/>
                  <a:gd name="connsiteX1138" fmla="*/ 1361376 w 1935893"/>
                  <a:gd name="connsiteY1138" fmla="*/ 558538 h 1590788"/>
                  <a:gd name="connsiteX1139" fmla="*/ 1354195 w 1935893"/>
                  <a:gd name="connsiteY1139" fmla="*/ 548336 h 1590788"/>
                  <a:gd name="connsiteX1140" fmla="*/ 1340573 w 1935893"/>
                  <a:gd name="connsiteY1140" fmla="*/ 549704 h 1590788"/>
                  <a:gd name="connsiteX1141" fmla="*/ 1339718 w 1935893"/>
                  <a:gd name="connsiteY1141" fmla="*/ 553351 h 1590788"/>
                  <a:gd name="connsiteX1142" fmla="*/ 1329288 w 1935893"/>
                  <a:gd name="connsiteY1142" fmla="*/ 553636 h 1590788"/>
                  <a:gd name="connsiteX1143" fmla="*/ 1326005 w 1935893"/>
                  <a:gd name="connsiteY1143" fmla="*/ 563759 h 1590788"/>
                  <a:gd name="connsiteX1144" fmla="*/ 1317547 w 1935893"/>
                  <a:gd name="connsiteY1144" fmla="*/ 562642 h 1590788"/>
                  <a:gd name="connsiteX1145" fmla="*/ 1313957 w 1935893"/>
                  <a:gd name="connsiteY1145" fmla="*/ 552041 h 1590788"/>
                  <a:gd name="connsiteX1146" fmla="*/ 1319086 w 1935893"/>
                  <a:gd name="connsiteY1146" fmla="*/ 534429 h 1590788"/>
                  <a:gd name="connsiteX1147" fmla="*/ 1318288 w 1935893"/>
                  <a:gd name="connsiteY1147" fmla="*/ 516191 h 1590788"/>
                  <a:gd name="connsiteX1148" fmla="*/ 1314926 w 1935893"/>
                  <a:gd name="connsiteY1148" fmla="*/ 510491 h 1590788"/>
                  <a:gd name="connsiteX1149" fmla="*/ 1313786 w 1935893"/>
                  <a:gd name="connsiteY1149" fmla="*/ 506331 h 1590788"/>
                  <a:gd name="connsiteX1150" fmla="*/ 1311791 w 1935893"/>
                  <a:gd name="connsiteY1150" fmla="*/ 502512 h 1590788"/>
                  <a:gd name="connsiteX1151" fmla="*/ 1303641 w 1935893"/>
                  <a:gd name="connsiteY1151" fmla="*/ 488890 h 1590788"/>
                  <a:gd name="connsiteX1152" fmla="*/ 1297941 w 1935893"/>
                  <a:gd name="connsiteY1152" fmla="*/ 482792 h 1590788"/>
                  <a:gd name="connsiteX1153" fmla="*/ 1288993 w 1935893"/>
                  <a:gd name="connsiteY1153" fmla="*/ 481766 h 1590788"/>
                  <a:gd name="connsiteX1154" fmla="*/ 1278221 w 1935893"/>
                  <a:gd name="connsiteY1154" fmla="*/ 482621 h 1590788"/>
                  <a:gd name="connsiteX1155" fmla="*/ 1270413 w 1935893"/>
                  <a:gd name="connsiteY1155" fmla="*/ 484616 h 1590788"/>
                  <a:gd name="connsiteX1156" fmla="*/ 1265625 w 1935893"/>
                  <a:gd name="connsiteY1156" fmla="*/ 490315 h 1590788"/>
                  <a:gd name="connsiteX1157" fmla="*/ 1243967 w 1935893"/>
                  <a:gd name="connsiteY1157" fmla="*/ 501714 h 1590788"/>
                  <a:gd name="connsiteX1158" fmla="*/ 1229092 w 1935893"/>
                  <a:gd name="connsiteY1158" fmla="*/ 504222 h 1590788"/>
                  <a:gd name="connsiteX1159" fmla="*/ 1217180 w 1935893"/>
                  <a:gd name="connsiteY1159" fmla="*/ 517559 h 1590788"/>
                  <a:gd name="connsiteX1160" fmla="*/ 1230573 w 1935893"/>
                  <a:gd name="connsiteY1160" fmla="*/ 547937 h 1590788"/>
                  <a:gd name="connsiteX1161" fmla="*/ 1224657 w 1935893"/>
                  <a:gd name="connsiteY1161" fmla="*/ 559484 h 1590788"/>
                  <a:gd name="connsiteX1162" fmla="*/ 1223050 w 1935893"/>
                  <a:gd name="connsiteY1162" fmla="*/ 559849 h 1590788"/>
                  <a:gd name="connsiteX1163" fmla="*/ 1214558 w 1935893"/>
                  <a:gd name="connsiteY1163" fmla="*/ 562471 h 1590788"/>
                  <a:gd name="connsiteX1164" fmla="*/ 1216667 w 1935893"/>
                  <a:gd name="connsiteY1164" fmla="*/ 567087 h 1590788"/>
                  <a:gd name="connsiteX1165" fmla="*/ 1232910 w 1935893"/>
                  <a:gd name="connsiteY1165" fmla="*/ 579683 h 1590788"/>
                  <a:gd name="connsiteX1166" fmla="*/ 1241801 w 1935893"/>
                  <a:gd name="connsiteY1166" fmla="*/ 591652 h 1590788"/>
                  <a:gd name="connsiteX1167" fmla="*/ 1216895 w 1935893"/>
                  <a:gd name="connsiteY1167" fmla="*/ 587662 h 1590788"/>
                  <a:gd name="connsiteX1168" fmla="*/ 1208915 w 1935893"/>
                  <a:gd name="connsiteY1168" fmla="*/ 578657 h 1590788"/>
                  <a:gd name="connsiteX1169" fmla="*/ 1203216 w 1935893"/>
                  <a:gd name="connsiteY1169" fmla="*/ 577346 h 1590788"/>
                  <a:gd name="connsiteX1170" fmla="*/ 1200423 w 1935893"/>
                  <a:gd name="connsiteY1170" fmla="*/ 573699 h 1590788"/>
                  <a:gd name="connsiteX1171" fmla="*/ 1201107 w 1935893"/>
                  <a:gd name="connsiteY1171" fmla="*/ 553238 h 1590788"/>
                  <a:gd name="connsiteX1172" fmla="*/ 1196946 w 1935893"/>
                  <a:gd name="connsiteY1172" fmla="*/ 533859 h 1590788"/>
                  <a:gd name="connsiteX1173" fmla="*/ 1191247 w 1935893"/>
                  <a:gd name="connsiteY1173" fmla="*/ 529585 h 1590788"/>
                  <a:gd name="connsiteX1174" fmla="*/ 1192735 w 1935893"/>
                  <a:gd name="connsiteY1174" fmla="*/ 517749 h 1590788"/>
                  <a:gd name="connsiteX1175" fmla="*/ 1194610 w 1935893"/>
                  <a:gd name="connsiteY1175" fmla="*/ 516647 h 1590788"/>
                  <a:gd name="connsiteX1176" fmla="*/ 1201050 w 1935893"/>
                  <a:gd name="connsiteY1176" fmla="*/ 514880 h 1590788"/>
                  <a:gd name="connsiteX1177" fmla="*/ 1203216 w 1935893"/>
                  <a:gd name="connsiteY1177" fmla="*/ 504279 h 1590788"/>
                  <a:gd name="connsiteX1178" fmla="*/ 1210568 w 1935893"/>
                  <a:gd name="connsiteY1178" fmla="*/ 502797 h 1590788"/>
                  <a:gd name="connsiteX1179" fmla="*/ 1214216 w 1935893"/>
                  <a:gd name="connsiteY1179" fmla="*/ 495160 h 1590788"/>
                  <a:gd name="connsiteX1180" fmla="*/ 1222708 w 1935893"/>
                  <a:gd name="connsiteY1180" fmla="*/ 491113 h 1590788"/>
                  <a:gd name="connsiteX1181" fmla="*/ 1222708 w 1935893"/>
                  <a:gd name="connsiteY1181" fmla="*/ 483305 h 1590788"/>
                  <a:gd name="connsiteX1182" fmla="*/ 1187827 w 1935893"/>
                  <a:gd name="connsiteY1182" fmla="*/ 486212 h 1590788"/>
                  <a:gd name="connsiteX1183" fmla="*/ 1176941 w 1935893"/>
                  <a:gd name="connsiteY1183" fmla="*/ 490372 h 1590788"/>
                  <a:gd name="connsiteX1184" fmla="*/ 1168962 w 1935893"/>
                  <a:gd name="connsiteY1184" fmla="*/ 491797 h 1590788"/>
                  <a:gd name="connsiteX1185" fmla="*/ 1158190 w 1935893"/>
                  <a:gd name="connsiteY1185" fmla="*/ 498238 h 1590788"/>
                  <a:gd name="connsiteX1186" fmla="*/ 1146107 w 1935893"/>
                  <a:gd name="connsiteY1186" fmla="*/ 507756 h 1590788"/>
                  <a:gd name="connsiteX1187" fmla="*/ 1140408 w 1935893"/>
                  <a:gd name="connsiteY1187" fmla="*/ 512942 h 1590788"/>
                  <a:gd name="connsiteX1188" fmla="*/ 1134366 w 1935893"/>
                  <a:gd name="connsiteY1188" fmla="*/ 524341 h 1590788"/>
                  <a:gd name="connsiteX1189" fmla="*/ 1130149 w 1935893"/>
                  <a:gd name="connsiteY1189" fmla="*/ 528445 h 1590788"/>
                  <a:gd name="connsiteX1190" fmla="*/ 1127356 w 1935893"/>
                  <a:gd name="connsiteY1190" fmla="*/ 535740 h 1590788"/>
                  <a:gd name="connsiteX1191" fmla="*/ 1123138 w 1935893"/>
                  <a:gd name="connsiteY1191" fmla="*/ 554548 h 1590788"/>
                  <a:gd name="connsiteX1192" fmla="*/ 1120802 w 1935893"/>
                  <a:gd name="connsiteY1192" fmla="*/ 573129 h 1590788"/>
                  <a:gd name="connsiteX1193" fmla="*/ 1128667 w 1935893"/>
                  <a:gd name="connsiteY1193" fmla="*/ 589543 h 1590788"/>
                  <a:gd name="connsiteX1194" fmla="*/ 1154770 w 1935893"/>
                  <a:gd name="connsiteY1194" fmla="*/ 594616 h 1590788"/>
                  <a:gd name="connsiteX1195" fmla="*/ 1178708 w 1935893"/>
                  <a:gd name="connsiteY1195" fmla="*/ 604818 h 1590788"/>
                  <a:gd name="connsiteX1196" fmla="*/ 1181501 w 1935893"/>
                  <a:gd name="connsiteY1196" fmla="*/ 609605 h 1590788"/>
                  <a:gd name="connsiteX1197" fmla="*/ 1173237 w 1935893"/>
                  <a:gd name="connsiteY1197" fmla="*/ 612911 h 1590788"/>
                  <a:gd name="connsiteX1198" fmla="*/ 1148786 w 1935893"/>
                  <a:gd name="connsiteY1198" fmla="*/ 609548 h 1590788"/>
                  <a:gd name="connsiteX1199" fmla="*/ 1139667 w 1935893"/>
                  <a:gd name="connsiteY1199" fmla="*/ 609548 h 1590788"/>
                  <a:gd name="connsiteX1200" fmla="*/ 1134651 w 1935893"/>
                  <a:gd name="connsiteY1200" fmla="*/ 616388 h 1590788"/>
                  <a:gd name="connsiteX1201" fmla="*/ 1138983 w 1935893"/>
                  <a:gd name="connsiteY1201" fmla="*/ 622087 h 1590788"/>
                  <a:gd name="connsiteX1202" fmla="*/ 1158532 w 1935893"/>
                  <a:gd name="connsiteY1202" fmla="*/ 635082 h 1590788"/>
                  <a:gd name="connsiteX1203" fmla="*/ 1181330 w 1935893"/>
                  <a:gd name="connsiteY1203" fmla="*/ 634740 h 1590788"/>
                  <a:gd name="connsiteX1204" fmla="*/ 1187884 w 1935893"/>
                  <a:gd name="connsiteY1204" fmla="*/ 631434 h 1590788"/>
                  <a:gd name="connsiteX1205" fmla="*/ 1201164 w 1935893"/>
                  <a:gd name="connsiteY1205" fmla="*/ 645398 h 1590788"/>
                  <a:gd name="connsiteX1206" fmla="*/ 1261522 w 1935893"/>
                  <a:gd name="connsiteY1206" fmla="*/ 647621 h 1590788"/>
                  <a:gd name="connsiteX1207" fmla="*/ 1281071 w 1935893"/>
                  <a:gd name="connsiteY1207" fmla="*/ 652180 h 1590788"/>
                  <a:gd name="connsiteX1208" fmla="*/ 1288765 w 1935893"/>
                  <a:gd name="connsiteY1208" fmla="*/ 661243 h 1590788"/>
                  <a:gd name="connsiteX1209" fmla="*/ 1295091 w 1935893"/>
                  <a:gd name="connsiteY1209" fmla="*/ 659248 h 1590788"/>
                  <a:gd name="connsiteX1210" fmla="*/ 1309625 w 1935893"/>
                  <a:gd name="connsiteY1210" fmla="*/ 644030 h 1590788"/>
                  <a:gd name="connsiteX1211" fmla="*/ 1323361 w 1935893"/>
                  <a:gd name="connsiteY1211" fmla="*/ 643004 h 1590788"/>
                  <a:gd name="connsiteX1212" fmla="*/ 1328205 w 1935893"/>
                  <a:gd name="connsiteY1212" fmla="*/ 639642 h 1590788"/>
                  <a:gd name="connsiteX1213" fmla="*/ 1358071 w 1935893"/>
                  <a:gd name="connsiteY1213" fmla="*/ 646139 h 1590788"/>
                  <a:gd name="connsiteX1214" fmla="*/ 1363770 w 1935893"/>
                  <a:gd name="connsiteY1214" fmla="*/ 649217 h 1590788"/>
                  <a:gd name="connsiteX1215" fmla="*/ 1366734 w 1935893"/>
                  <a:gd name="connsiteY1215" fmla="*/ 643517 h 1590788"/>
                  <a:gd name="connsiteX1216" fmla="*/ 1349635 w 1935893"/>
                  <a:gd name="connsiteY1216" fmla="*/ 622486 h 1590788"/>
                  <a:gd name="connsiteX1217" fmla="*/ 1391299 w 1935893"/>
                  <a:gd name="connsiteY1217" fmla="*/ 639129 h 1590788"/>
                  <a:gd name="connsiteX1218" fmla="*/ 1393464 w 1935893"/>
                  <a:gd name="connsiteY1218" fmla="*/ 643574 h 1590788"/>
                  <a:gd name="connsiteX1219" fmla="*/ 1393863 w 1935893"/>
                  <a:gd name="connsiteY1219" fmla="*/ 647621 h 1590788"/>
                  <a:gd name="connsiteX1220" fmla="*/ 1400988 w 1935893"/>
                  <a:gd name="connsiteY1220" fmla="*/ 653947 h 1590788"/>
                  <a:gd name="connsiteX1221" fmla="*/ 1413184 w 1935893"/>
                  <a:gd name="connsiteY1221" fmla="*/ 669906 h 1590788"/>
                  <a:gd name="connsiteX1222" fmla="*/ 1423615 w 1935893"/>
                  <a:gd name="connsiteY1222" fmla="*/ 672641 h 1590788"/>
                  <a:gd name="connsiteX1223" fmla="*/ 1433019 w 1935893"/>
                  <a:gd name="connsiteY1223" fmla="*/ 676517 h 1590788"/>
                  <a:gd name="connsiteX1224" fmla="*/ 1436552 w 1935893"/>
                  <a:gd name="connsiteY1224" fmla="*/ 682787 h 1590788"/>
                  <a:gd name="connsiteX1225" fmla="*/ 1434899 w 1935893"/>
                  <a:gd name="connsiteY1225" fmla="*/ 685066 h 1590788"/>
                  <a:gd name="connsiteX1226" fmla="*/ 1407656 w 1935893"/>
                  <a:gd name="connsiteY1226" fmla="*/ 697035 h 1590788"/>
                  <a:gd name="connsiteX1227" fmla="*/ 1410791 w 1935893"/>
                  <a:gd name="connsiteY1227" fmla="*/ 703989 h 1590788"/>
                  <a:gd name="connsiteX1228" fmla="*/ 1420252 w 1935893"/>
                  <a:gd name="connsiteY1228" fmla="*/ 701367 h 1590788"/>
                  <a:gd name="connsiteX1229" fmla="*/ 1431651 w 1935893"/>
                  <a:gd name="connsiteY1229" fmla="*/ 697605 h 1590788"/>
                  <a:gd name="connsiteX1230" fmla="*/ 1438034 w 1935893"/>
                  <a:gd name="connsiteY1230" fmla="*/ 691222 h 1590788"/>
                  <a:gd name="connsiteX1231" fmla="*/ 1451941 w 1935893"/>
                  <a:gd name="connsiteY1231" fmla="*/ 689569 h 1590788"/>
                  <a:gd name="connsiteX1232" fmla="*/ 1452967 w 1935893"/>
                  <a:gd name="connsiteY1232" fmla="*/ 695268 h 1590788"/>
                  <a:gd name="connsiteX1233" fmla="*/ 1460376 w 1935893"/>
                  <a:gd name="connsiteY1233" fmla="*/ 708206 h 1590788"/>
                  <a:gd name="connsiteX1234" fmla="*/ 1476905 w 1935893"/>
                  <a:gd name="connsiteY1234" fmla="*/ 710201 h 1590788"/>
                  <a:gd name="connsiteX1235" fmla="*/ 1490469 w 1935893"/>
                  <a:gd name="connsiteY1235" fmla="*/ 718351 h 1590788"/>
                  <a:gd name="connsiteX1236" fmla="*/ 1492749 w 1935893"/>
                  <a:gd name="connsiteY1236" fmla="*/ 729750 h 1590788"/>
                  <a:gd name="connsiteX1237" fmla="*/ 1498164 w 1935893"/>
                  <a:gd name="connsiteY1237" fmla="*/ 735450 h 1590788"/>
                  <a:gd name="connsiteX1238" fmla="*/ 1503122 w 1935893"/>
                  <a:gd name="connsiteY1238" fmla="*/ 769134 h 1590788"/>
                  <a:gd name="connsiteX1239" fmla="*/ 1506257 w 1935893"/>
                  <a:gd name="connsiteY1239" fmla="*/ 773750 h 1590788"/>
                  <a:gd name="connsiteX1240" fmla="*/ 1510133 w 1935893"/>
                  <a:gd name="connsiteY1240" fmla="*/ 774605 h 1590788"/>
                  <a:gd name="connsiteX1241" fmla="*/ 1539485 w 1935893"/>
                  <a:gd name="connsiteY1241" fmla="*/ 771812 h 1590788"/>
                  <a:gd name="connsiteX1242" fmla="*/ 1566272 w 1935893"/>
                  <a:gd name="connsiteY1242" fmla="*/ 781216 h 1590788"/>
                  <a:gd name="connsiteX1243" fmla="*/ 1559775 w 1935893"/>
                  <a:gd name="connsiteY1243" fmla="*/ 804983 h 1590788"/>
                  <a:gd name="connsiteX1244" fmla="*/ 1554075 w 1935893"/>
                  <a:gd name="connsiteY1244" fmla="*/ 806921 h 1590788"/>
                  <a:gd name="connsiteX1245" fmla="*/ 1552423 w 1935893"/>
                  <a:gd name="connsiteY1245" fmla="*/ 811481 h 1590788"/>
                  <a:gd name="connsiteX1246" fmla="*/ 1541229 w 1935893"/>
                  <a:gd name="connsiteY1246" fmla="*/ 817556 h 1590788"/>
                  <a:gd name="connsiteX1247" fmla="*/ 1534925 w 1935893"/>
                  <a:gd name="connsiteY1247" fmla="*/ 810512 h 1590788"/>
                  <a:gd name="connsiteX1248" fmla="*/ 1534241 w 1935893"/>
                  <a:gd name="connsiteY1248" fmla="*/ 804812 h 1590788"/>
                  <a:gd name="connsiteX1249" fmla="*/ 1527744 w 1935893"/>
                  <a:gd name="connsiteY1249" fmla="*/ 799113 h 1590788"/>
                  <a:gd name="connsiteX1250" fmla="*/ 1513723 w 1935893"/>
                  <a:gd name="connsiteY1250" fmla="*/ 792045 h 1590788"/>
                  <a:gd name="connsiteX1251" fmla="*/ 1491894 w 1935893"/>
                  <a:gd name="connsiteY1251" fmla="*/ 784123 h 1590788"/>
                  <a:gd name="connsiteX1252" fmla="*/ 1470749 w 1935893"/>
                  <a:gd name="connsiteY1252" fmla="*/ 788854 h 1590788"/>
                  <a:gd name="connsiteX1253" fmla="*/ 1466361 w 1935893"/>
                  <a:gd name="connsiteY1253" fmla="*/ 803786 h 1590788"/>
                  <a:gd name="connsiteX1254" fmla="*/ 1469552 w 1935893"/>
                  <a:gd name="connsiteY1254" fmla="*/ 807434 h 1590788"/>
                  <a:gd name="connsiteX1255" fmla="*/ 1466988 w 1935893"/>
                  <a:gd name="connsiteY1255" fmla="*/ 810113 h 1590788"/>
                  <a:gd name="connsiteX1256" fmla="*/ 1470350 w 1935893"/>
                  <a:gd name="connsiteY1256" fmla="*/ 818605 h 1590788"/>
                  <a:gd name="connsiteX1257" fmla="*/ 1479697 w 1935893"/>
                  <a:gd name="connsiteY1257" fmla="*/ 823507 h 1590788"/>
                  <a:gd name="connsiteX1258" fmla="*/ 1478386 w 1935893"/>
                  <a:gd name="connsiteY1258" fmla="*/ 834051 h 1590788"/>
                  <a:gd name="connsiteX1259" fmla="*/ 1467558 w 1935893"/>
                  <a:gd name="connsiteY1259" fmla="*/ 837470 h 1590788"/>
                  <a:gd name="connsiteX1260" fmla="*/ 1460832 w 1935893"/>
                  <a:gd name="connsiteY1260" fmla="*/ 838439 h 1590788"/>
                  <a:gd name="connsiteX1261" fmla="*/ 1458153 w 1935893"/>
                  <a:gd name="connsiteY1261" fmla="*/ 842486 h 1590788"/>
                  <a:gd name="connsiteX1262" fmla="*/ 1449604 w 1935893"/>
                  <a:gd name="connsiteY1262" fmla="*/ 844937 h 1590788"/>
                  <a:gd name="connsiteX1263" fmla="*/ 1430568 w 1935893"/>
                  <a:gd name="connsiteY1263" fmla="*/ 844481 h 1590788"/>
                  <a:gd name="connsiteX1264" fmla="*/ 1423729 w 1935893"/>
                  <a:gd name="connsiteY1264" fmla="*/ 842942 h 1590788"/>
                  <a:gd name="connsiteX1265" fmla="*/ 1419682 w 1935893"/>
                  <a:gd name="connsiteY1265" fmla="*/ 838553 h 1590788"/>
                  <a:gd name="connsiteX1266" fmla="*/ 1405815 w 1935893"/>
                  <a:gd name="connsiteY1266" fmla="*/ 840046 h 1590788"/>
                  <a:gd name="connsiteX1267" fmla="*/ 1403837 w 1935893"/>
                  <a:gd name="connsiteY1267" fmla="*/ 844253 h 1590788"/>
                  <a:gd name="connsiteX1268" fmla="*/ 1383832 w 1935893"/>
                  <a:gd name="connsiteY1268" fmla="*/ 850579 h 1590788"/>
                  <a:gd name="connsiteX1269" fmla="*/ 1385827 w 1935893"/>
                  <a:gd name="connsiteY1269" fmla="*/ 868247 h 1590788"/>
                  <a:gd name="connsiteX1270" fmla="*/ 1383319 w 1935893"/>
                  <a:gd name="connsiteY1270" fmla="*/ 873947 h 1590788"/>
                  <a:gd name="connsiteX1271" fmla="*/ 1396257 w 1935893"/>
                  <a:gd name="connsiteY1271" fmla="*/ 879133 h 1590788"/>
                  <a:gd name="connsiteX1272" fmla="*/ 1408910 w 1935893"/>
                  <a:gd name="connsiteY1272" fmla="*/ 874859 h 1590788"/>
                  <a:gd name="connsiteX1273" fmla="*/ 1412216 w 1935893"/>
                  <a:gd name="connsiteY1273" fmla="*/ 870983 h 1590788"/>
                  <a:gd name="connsiteX1274" fmla="*/ 1416775 w 1935893"/>
                  <a:gd name="connsiteY1274" fmla="*/ 870185 h 1590788"/>
                  <a:gd name="connsiteX1275" fmla="*/ 1435640 w 1935893"/>
                  <a:gd name="connsiteY1275" fmla="*/ 870527 h 1590788"/>
                  <a:gd name="connsiteX1276" fmla="*/ 1442081 w 1935893"/>
                  <a:gd name="connsiteY1276" fmla="*/ 876626 h 1590788"/>
                  <a:gd name="connsiteX1277" fmla="*/ 1450402 w 1935893"/>
                  <a:gd name="connsiteY1277" fmla="*/ 870926 h 1590788"/>
                  <a:gd name="connsiteX1278" fmla="*/ 1457412 w 1935893"/>
                  <a:gd name="connsiteY1278" fmla="*/ 863289 h 1590788"/>
                  <a:gd name="connsiteX1279" fmla="*/ 1469267 w 1935893"/>
                  <a:gd name="connsiteY1279" fmla="*/ 860838 h 1590788"/>
                  <a:gd name="connsiteX1280" fmla="*/ 1493946 w 1935893"/>
                  <a:gd name="connsiteY1280" fmla="*/ 871439 h 1590788"/>
                  <a:gd name="connsiteX1281" fmla="*/ 1495656 w 1935893"/>
                  <a:gd name="connsiteY1281" fmla="*/ 876398 h 1590788"/>
                  <a:gd name="connsiteX1282" fmla="*/ 1501355 w 1935893"/>
                  <a:gd name="connsiteY1282" fmla="*/ 880501 h 1590788"/>
                  <a:gd name="connsiteX1283" fmla="*/ 1503977 w 1935893"/>
                  <a:gd name="connsiteY1283" fmla="*/ 889164 h 1590788"/>
                  <a:gd name="connsiteX1284" fmla="*/ 1519366 w 1935893"/>
                  <a:gd name="connsiteY1284" fmla="*/ 895434 h 1590788"/>
                  <a:gd name="connsiteX1285" fmla="*/ 1526547 w 1935893"/>
                  <a:gd name="connsiteY1285" fmla="*/ 925071 h 1590788"/>
                  <a:gd name="connsiteX1286" fmla="*/ 1535780 w 1935893"/>
                  <a:gd name="connsiteY1286" fmla="*/ 930201 h 1590788"/>
                  <a:gd name="connsiteX1287" fmla="*/ 1572656 w 1935893"/>
                  <a:gd name="connsiteY1287" fmla="*/ 934589 h 1590788"/>
                  <a:gd name="connsiteX1288" fmla="*/ 1582573 w 1935893"/>
                  <a:gd name="connsiteY1288" fmla="*/ 944107 h 1590788"/>
                  <a:gd name="connsiteX1289" fmla="*/ 1598132 w 1935893"/>
                  <a:gd name="connsiteY1289" fmla="*/ 946615 h 1590788"/>
                  <a:gd name="connsiteX1290" fmla="*/ 1602236 w 1935893"/>
                  <a:gd name="connsiteY1290" fmla="*/ 950377 h 1590788"/>
                  <a:gd name="connsiteX1291" fmla="*/ 1609189 w 1935893"/>
                  <a:gd name="connsiteY1291" fmla="*/ 951004 h 1590788"/>
                  <a:gd name="connsiteX1292" fmla="*/ 1641847 w 1935893"/>
                  <a:gd name="connsiteY1292" fmla="*/ 965252 h 1590788"/>
                  <a:gd name="connsiteX1293" fmla="*/ 1633526 w 1935893"/>
                  <a:gd name="connsiteY1293" fmla="*/ 948154 h 1590788"/>
                  <a:gd name="connsiteX1294" fmla="*/ 1590153 w 1935893"/>
                  <a:gd name="connsiteY1294" fmla="*/ 911506 h 1590788"/>
                  <a:gd name="connsiteX1295" fmla="*/ 1584967 w 1935893"/>
                  <a:gd name="connsiteY1295" fmla="*/ 908486 h 1590788"/>
                  <a:gd name="connsiteX1296" fmla="*/ 1584967 w 1935893"/>
                  <a:gd name="connsiteY1296" fmla="*/ 903071 h 1590788"/>
                  <a:gd name="connsiteX1297" fmla="*/ 1588443 w 1935893"/>
                  <a:gd name="connsiteY1297" fmla="*/ 902159 h 1590788"/>
                  <a:gd name="connsiteX1298" fmla="*/ 1612666 w 1935893"/>
                  <a:gd name="connsiteY1298" fmla="*/ 903128 h 1590788"/>
                  <a:gd name="connsiteX1299" fmla="*/ 1619905 w 1935893"/>
                  <a:gd name="connsiteY1299" fmla="*/ 906605 h 1590788"/>
                  <a:gd name="connsiteX1300" fmla="*/ 1621158 w 1935893"/>
                  <a:gd name="connsiteY1300" fmla="*/ 912304 h 1590788"/>
                  <a:gd name="connsiteX1301" fmla="*/ 1624920 w 1935893"/>
                  <a:gd name="connsiteY1301" fmla="*/ 916351 h 1590788"/>
                  <a:gd name="connsiteX1302" fmla="*/ 1654956 w 1935893"/>
                  <a:gd name="connsiteY1302" fmla="*/ 927408 h 1590788"/>
                  <a:gd name="connsiteX1303" fmla="*/ 1666925 w 1935893"/>
                  <a:gd name="connsiteY1303" fmla="*/ 921708 h 1590788"/>
                  <a:gd name="connsiteX1304" fmla="*/ 1673194 w 1935893"/>
                  <a:gd name="connsiteY1304" fmla="*/ 917605 h 1590788"/>
                  <a:gd name="connsiteX1305" fmla="*/ 1677754 w 1935893"/>
                  <a:gd name="connsiteY1305" fmla="*/ 913843 h 1590788"/>
                  <a:gd name="connsiteX1306" fmla="*/ 1674448 w 1935893"/>
                  <a:gd name="connsiteY1306" fmla="*/ 901213 h 1590788"/>
                  <a:gd name="connsiteX1307" fmla="*/ 1668863 w 1935893"/>
                  <a:gd name="connsiteY1307" fmla="*/ 899993 h 1590788"/>
                  <a:gd name="connsiteX1308" fmla="*/ 1668863 w 1935893"/>
                  <a:gd name="connsiteY1308" fmla="*/ 891273 h 1590788"/>
                  <a:gd name="connsiteX1309" fmla="*/ 1653816 w 1935893"/>
                  <a:gd name="connsiteY1309" fmla="*/ 880672 h 1590788"/>
                  <a:gd name="connsiteX1310" fmla="*/ 1649884 w 1935893"/>
                  <a:gd name="connsiteY1310" fmla="*/ 862719 h 1590788"/>
                  <a:gd name="connsiteX1311" fmla="*/ 1637516 w 1935893"/>
                  <a:gd name="connsiteY1311" fmla="*/ 860895 h 1590788"/>
                  <a:gd name="connsiteX1312" fmla="*/ 1636889 w 1935893"/>
                  <a:gd name="connsiteY1312" fmla="*/ 855765 h 1590788"/>
                  <a:gd name="connsiteX1313" fmla="*/ 1626174 w 1935893"/>
                  <a:gd name="connsiteY1313" fmla="*/ 852175 h 1590788"/>
                  <a:gd name="connsiteX1314" fmla="*/ 1611697 w 1935893"/>
                  <a:gd name="connsiteY1314" fmla="*/ 834221 h 1590788"/>
                  <a:gd name="connsiteX1315" fmla="*/ 1598611 w 1935893"/>
                  <a:gd name="connsiteY1315" fmla="*/ 824806 h 1590788"/>
                  <a:gd name="connsiteX1316" fmla="*/ 1598474 w 1935893"/>
                  <a:gd name="connsiteY1316" fmla="*/ 823449 h 1590788"/>
                  <a:gd name="connsiteX1317" fmla="*/ 1603661 w 1935893"/>
                  <a:gd name="connsiteY1317" fmla="*/ 820372 h 1590788"/>
                  <a:gd name="connsiteX1318" fmla="*/ 1608557 w 1935893"/>
                  <a:gd name="connsiteY1318" fmla="*/ 807833 h 1590788"/>
                  <a:gd name="connsiteX1319" fmla="*/ 1612210 w 1935893"/>
                  <a:gd name="connsiteY1319" fmla="*/ 807035 h 1590788"/>
                  <a:gd name="connsiteX1320" fmla="*/ 1605713 w 1935893"/>
                  <a:gd name="connsiteY1320" fmla="*/ 798486 h 1590788"/>
                  <a:gd name="connsiteX1321" fmla="*/ 1614889 w 1935893"/>
                  <a:gd name="connsiteY1321" fmla="*/ 791646 h 1590788"/>
                  <a:gd name="connsiteX1322" fmla="*/ 1634780 w 1935893"/>
                  <a:gd name="connsiteY1322" fmla="*/ 796662 h 1590788"/>
                  <a:gd name="connsiteX1323" fmla="*/ 1325242 w 1935893"/>
                  <a:gd name="connsiteY1323" fmla="*/ 485585 h 1590788"/>
                  <a:gd name="connsiteX1324" fmla="*/ 1317376 w 1935893"/>
                  <a:gd name="connsiteY1324" fmla="*/ 490144 h 1590788"/>
                  <a:gd name="connsiteX1325" fmla="*/ 1319029 w 1935893"/>
                  <a:gd name="connsiteY1325" fmla="*/ 494362 h 1590788"/>
                  <a:gd name="connsiteX1326" fmla="*/ 1341827 w 1935893"/>
                  <a:gd name="connsiteY1326" fmla="*/ 519782 h 1590788"/>
                  <a:gd name="connsiteX1327" fmla="*/ 1343822 w 1935893"/>
                  <a:gd name="connsiteY1327" fmla="*/ 529243 h 1590788"/>
                  <a:gd name="connsiteX1328" fmla="*/ 1356760 w 1935893"/>
                  <a:gd name="connsiteY1328" fmla="*/ 532776 h 1590788"/>
                  <a:gd name="connsiteX1329" fmla="*/ 1368159 w 1935893"/>
                  <a:gd name="connsiteY1329" fmla="*/ 524056 h 1590788"/>
                  <a:gd name="connsiteX1330" fmla="*/ 1380071 w 1935893"/>
                  <a:gd name="connsiteY1330" fmla="*/ 516020 h 1590788"/>
                  <a:gd name="connsiteX1331" fmla="*/ 1406801 w 1935893"/>
                  <a:gd name="connsiteY1331" fmla="*/ 520352 h 1590788"/>
                  <a:gd name="connsiteX1332" fmla="*/ 1415122 w 1935893"/>
                  <a:gd name="connsiteY1332" fmla="*/ 516818 h 1590788"/>
                  <a:gd name="connsiteX1333" fmla="*/ 1413641 w 1935893"/>
                  <a:gd name="connsiteY1333" fmla="*/ 507072 h 1590788"/>
                  <a:gd name="connsiteX1334" fmla="*/ 1404806 w 1935893"/>
                  <a:gd name="connsiteY1334" fmla="*/ 501372 h 1590788"/>
                  <a:gd name="connsiteX1335" fmla="*/ 1385428 w 1935893"/>
                  <a:gd name="connsiteY1335" fmla="*/ 492709 h 1590788"/>
                  <a:gd name="connsiteX1336" fmla="*/ 1380184 w 1935893"/>
                  <a:gd name="connsiteY1336" fmla="*/ 490543 h 1590788"/>
                  <a:gd name="connsiteX1337" fmla="*/ 1373345 w 1935893"/>
                  <a:gd name="connsiteY1337" fmla="*/ 488833 h 1590788"/>
                  <a:gd name="connsiteX1338" fmla="*/ 1325242 w 1935893"/>
                  <a:gd name="connsiteY1338" fmla="*/ 485585 h 1590788"/>
                  <a:gd name="connsiteX1339" fmla="*/ 773761 w 1935893"/>
                  <a:gd name="connsiteY1339" fmla="*/ 694071 h 1590788"/>
                  <a:gd name="connsiteX1340" fmla="*/ 769258 w 1935893"/>
                  <a:gd name="connsiteY1340" fmla="*/ 693673 h 1590788"/>
                  <a:gd name="connsiteX1341" fmla="*/ 753926 w 1935893"/>
                  <a:gd name="connsiteY1341" fmla="*/ 698688 h 1590788"/>
                  <a:gd name="connsiteX1342" fmla="*/ 738880 w 1935893"/>
                  <a:gd name="connsiteY1342" fmla="*/ 707009 h 1590788"/>
                  <a:gd name="connsiteX1343" fmla="*/ 721097 w 1935893"/>
                  <a:gd name="connsiteY1343" fmla="*/ 708662 h 1590788"/>
                  <a:gd name="connsiteX1344" fmla="*/ 716253 w 1935893"/>
                  <a:gd name="connsiteY1344" fmla="*/ 715217 h 1590788"/>
                  <a:gd name="connsiteX1345" fmla="*/ 709755 w 1935893"/>
                  <a:gd name="connsiteY1345" fmla="*/ 719605 h 1590788"/>
                  <a:gd name="connsiteX1346" fmla="*/ 714030 w 1935893"/>
                  <a:gd name="connsiteY1346" fmla="*/ 728895 h 1590788"/>
                  <a:gd name="connsiteX1347" fmla="*/ 724973 w 1935893"/>
                  <a:gd name="connsiteY1347" fmla="*/ 727926 h 1590788"/>
                  <a:gd name="connsiteX1348" fmla="*/ 738424 w 1935893"/>
                  <a:gd name="connsiteY1348" fmla="*/ 721144 h 1590788"/>
                  <a:gd name="connsiteX1349" fmla="*/ 745377 w 1935893"/>
                  <a:gd name="connsiteY1349" fmla="*/ 721144 h 1590788"/>
                  <a:gd name="connsiteX1350" fmla="*/ 755351 w 1935893"/>
                  <a:gd name="connsiteY1350" fmla="*/ 713849 h 1590788"/>
                  <a:gd name="connsiteX1351" fmla="*/ 774900 w 1935893"/>
                  <a:gd name="connsiteY1351" fmla="*/ 710486 h 1590788"/>
                  <a:gd name="connsiteX1352" fmla="*/ 777750 w 1935893"/>
                  <a:gd name="connsiteY1352" fmla="*/ 710486 h 1590788"/>
                  <a:gd name="connsiteX1353" fmla="*/ 778434 w 1935893"/>
                  <a:gd name="connsiteY1353" fmla="*/ 708776 h 1590788"/>
                  <a:gd name="connsiteX1354" fmla="*/ 778434 w 1935893"/>
                  <a:gd name="connsiteY1354" fmla="*/ 700455 h 1590788"/>
                  <a:gd name="connsiteX1355" fmla="*/ 773761 w 1935893"/>
                  <a:gd name="connsiteY1355" fmla="*/ 694071 h 1590788"/>
                  <a:gd name="connsiteX1356" fmla="*/ 985895 w 1935893"/>
                  <a:gd name="connsiteY1356" fmla="*/ 677942 h 1590788"/>
                  <a:gd name="connsiteX1357" fmla="*/ 999004 w 1935893"/>
                  <a:gd name="connsiteY1357" fmla="*/ 675719 h 1590788"/>
                  <a:gd name="connsiteX1358" fmla="*/ 999004 w 1935893"/>
                  <a:gd name="connsiteY1358" fmla="*/ 671844 h 1590788"/>
                  <a:gd name="connsiteX1359" fmla="*/ 975921 w 1935893"/>
                  <a:gd name="connsiteY1359" fmla="*/ 672698 h 1590788"/>
                  <a:gd name="connsiteX1360" fmla="*/ 966859 w 1935893"/>
                  <a:gd name="connsiteY1360" fmla="*/ 671616 h 1590788"/>
                  <a:gd name="connsiteX1361" fmla="*/ 958594 w 1935893"/>
                  <a:gd name="connsiteY1361" fmla="*/ 656512 h 1590788"/>
                  <a:gd name="connsiteX1362" fmla="*/ 957455 w 1935893"/>
                  <a:gd name="connsiteY1362" fmla="*/ 654232 h 1590788"/>
                  <a:gd name="connsiteX1363" fmla="*/ 956372 w 1935893"/>
                  <a:gd name="connsiteY1363" fmla="*/ 654232 h 1590788"/>
                  <a:gd name="connsiteX1364" fmla="*/ 942636 w 1935893"/>
                  <a:gd name="connsiteY1364" fmla="*/ 659134 h 1590788"/>
                  <a:gd name="connsiteX1365" fmla="*/ 941724 w 1935893"/>
                  <a:gd name="connsiteY1365" fmla="*/ 665232 h 1590788"/>
                  <a:gd name="connsiteX1366" fmla="*/ 933745 w 1935893"/>
                  <a:gd name="connsiteY1366" fmla="*/ 682673 h 1590788"/>
                  <a:gd name="connsiteX1367" fmla="*/ 930268 w 1935893"/>
                  <a:gd name="connsiteY1367" fmla="*/ 687175 h 1590788"/>
                  <a:gd name="connsiteX1368" fmla="*/ 912657 w 1935893"/>
                  <a:gd name="connsiteY1368" fmla="*/ 689170 h 1590788"/>
                  <a:gd name="connsiteX1369" fmla="*/ 935455 w 1935893"/>
                  <a:gd name="connsiteY1369" fmla="*/ 694356 h 1590788"/>
                  <a:gd name="connsiteX1370" fmla="*/ 951983 w 1935893"/>
                  <a:gd name="connsiteY1370" fmla="*/ 700398 h 1590788"/>
                  <a:gd name="connsiteX1371" fmla="*/ 953921 w 1935893"/>
                  <a:gd name="connsiteY1371" fmla="*/ 701481 h 1590788"/>
                  <a:gd name="connsiteX1372" fmla="*/ 955916 w 1935893"/>
                  <a:gd name="connsiteY1372" fmla="*/ 709232 h 1590788"/>
                  <a:gd name="connsiteX1373" fmla="*/ 970620 w 1935893"/>
                  <a:gd name="connsiteY1373" fmla="*/ 708833 h 1590788"/>
                  <a:gd name="connsiteX1374" fmla="*/ 975693 w 1935893"/>
                  <a:gd name="connsiteY1374" fmla="*/ 707978 h 1590788"/>
                  <a:gd name="connsiteX1375" fmla="*/ 981392 w 1935893"/>
                  <a:gd name="connsiteY1375" fmla="*/ 701937 h 1590788"/>
                  <a:gd name="connsiteX1376" fmla="*/ 988631 w 1935893"/>
                  <a:gd name="connsiteY1376" fmla="*/ 700740 h 1590788"/>
                  <a:gd name="connsiteX1377" fmla="*/ 991765 w 1935893"/>
                  <a:gd name="connsiteY1377" fmla="*/ 703818 h 1590788"/>
                  <a:gd name="connsiteX1378" fmla="*/ 1007895 w 1935893"/>
                  <a:gd name="connsiteY1378" fmla="*/ 700740 h 1590788"/>
                  <a:gd name="connsiteX1379" fmla="*/ 1003848 w 1935893"/>
                  <a:gd name="connsiteY1379" fmla="*/ 685973 h 1590788"/>
                  <a:gd name="connsiteX1380" fmla="*/ 999631 w 1935893"/>
                  <a:gd name="connsiteY1380" fmla="*/ 684610 h 1590788"/>
                  <a:gd name="connsiteX1381" fmla="*/ 991709 w 1935893"/>
                  <a:gd name="connsiteY1381" fmla="*/ 686320 h 1590788"/>
                  <a:gd name="connsiteX1382" fmla="*/ 983843 w 1935893"/>
                  <a:gd name="connsiteY1382" fmla="*/ 685807 h 1590788"/>
                  <a:gd name="connsiteX1383" fmla="*/ 982173 w 1935893"/>
                  <a:gd name="connsiteY1383" fmla="*/ 679578 h 1590788"/>
                  <a:gd name="connsiteX1384" fmla="*/ 982646 w 1935893"/>
                  <a:gd name="connsiteY1384" fmla="*/ 678911 h 1590788"/>
                  <a:gd name="connsiteX1385" fmla="*/ 985895 w 1935893"/>
                  <a:gd name="connsiteY1385" fmla="*/ 677828 h 1590788"/>
                  <a:gd name="connsiteX1386" fmla="*/ 1435185 w 1935893"/>
                  <a:gd name="connsiteY1386" fmla="*/ 723538 h 1590788"/>
                  <a:gd name="connsiteX1387" fmla="*/ 1424526 w 1935893"/>
                  <a:gd name="connsiteY1387" fmla="*/ 718750 h 1590788"/>
                  <a:gd name="connsiteX1388" fmla="*/ 1421506 w 1935893"/>
                  <a:gd name="connsiteY1388" fmla="*/ 718294 h 1590788"/>
                  <a:gd name="connsiteX1389" fmla="*/ 1418143 w 1935893"/>
                  <a:gd name="connsiteY1389" fmla="*/ 719491 h 1590788"/>
                  <a:gd name="connsiteX1390" fmla="*/ 1397853 w 1935893"/>
                  <a:gd name="connsiteY1390" fmla="*/ 729807 h 1590788"/>
                  <a:gd name="connsiteX1391" fmla="*/ 1394148 w 1935893"/>
                  <a:gd name="connsiteY1391" fmla="*/ 732429 h 1590788"/>
                  <a:gd name="connsiteX1392" fmla="*/ 1392951 w 1935893"/>
                  <a:gd name="connsiteY1392" fmla="*/ 745937 h 1590788"/>
                  <a:gd name="connsiteX1393" fmla="*/ 1401444 w 1935893"/>
                  <a:gd name="connsiteY1393" fmla="*/ 751009 h 1590788"/>
                  <a:gd name="connsiteX1394" fmla="*/ 1402811 w 1935893"/>
                  <a:gd name="connsiteY1394" fmla="*/ 759273 h 1590788"/>
                  <a:gd name="connsiteX1395" fmla="*/ 1408511 w 1935893"/>
                  <a:gd name="connsiteY1395" fmla="*/ 760242 h 1590788"/>
                  <a:gd name="connsiteX1396" fmla="*/ 1408511 w 1935893"/>
                  <a:gd name="connsiteY1396" fmla="*/ 767367 h 1590788"/>
                  <a:gd name="connsiteX1397" fmla="*/ 1416832 w 1935893"/>
                  <a:gd name="connsiteY1397" fmla="*/ 768393 h 1590788"/>
                  <a:gd name="connsiteX1398" fmla="*/ 1423558 w 1935893"/>
                  <a:gd name="connsiteY1398" fmla="*/ 763947 h 1590788"/>
                  <a:gd name="connsiteX1399" fmla="*/ 1424355 w 1935893"/>
                  <a:gd name="connsiteY1399" fmla="*/ 762408 h 1590788"/>
                  <a:gd name="connsiteX1400" fmla="*/ 1427775 w 1935893"/>
                  <a:gd name="connsiteY1400" fmla="*/ 761610 h 1590788"/>
                  <a:gd name="connsiteX1401" fmla="*/ 1445728 w 1935893"/>
                  <a:gd name="connsiteY1401" fmla="*/ 752548 h 1590788"/>
                  <a:gd name="connsiteX1402" fmla="*/ 1447723 w 1935893"/>
                  <a:gd name="connsiteY1402" fmla="*/ 746849 h 1590788"/>
                  <a:gd name="connsiteX1403" fmla="*/ 1444703 w 1935893"/>
                  <a:gd name="connsiteY1403" fmla="*/ 737957 h 1590788"/>
                  <a:gd name="connsiteX1404" fmla="*/ 1437122 w 1935893"/>
                  <a:gd name="connsiteY1404" fmla="*/ 734082 h 1590788"/>
                  <a:gd name="connsiteX1405" fmla="*/ 1435298 w 1935893"/>
                  <a:gd name="connsiteY1405" fmla="*/ 723595 h 1590788"/>
                  <a:gd name="connsiteX1406" fmla="*/ 1327407 w 1935893"/>
                  <a:gd name="connsiteY1406" fmla="*/ 902159 h 1590788"/>
                  <a:gd name="connsiteX1407" fmla="*/ 1311791 w 1935893"/>
                  <a:gd name="connsiteY1407" fmla="*/ 885859 h 1590788"/>
                  <a:gd name="connsiteX1408" fmla="*/ 1297998 w 1935893"/>
                  <a:gd name="connsiteY1408" fmla="*/ 880558 h 1590788"/>
                  <a:gd name="connsiteX1409" fmla="*/ 1295376 w 1935893"/>
                  <a:gd name="connsiteY1409" fmla="*/ 869159 h 1590788"/>
                  <a:gd name="connsiteX1410" fmla="*/ 1286941 w 1935893"/>
                  <a:gd name="connsiteY1410" fmla="*/ 864087 h 1590788"/>
                  <a:gd name="connsiteX1411" fmla="*/ 1280957 w 1935893"/>
                  <a:gd name="connsiteY1411" fmla="*/ 853030 h 1590788"/>
                  <a:gd name="connsiteX1412" fmla="*/ 1268418 w 1935893"/>
                  <a:gd name="connsiteY1412" fmla="*/ 848869 h 1590788"/>
                  <a:gd name="connsiteX1413" fmla="*/ 1250123 w 1935893"/>
                  <a:gd name="connsiteY1413" fmla="*/ 845278 h 1590788"/>
                  <a:gd name="connsiteX1414" fmla="*/ 1245278 w 1935893"/>
                  <a:gd name="connsiteY1414" fmla="*/ 843170 h 1590788"/>
                  <a:gd name="connsiteX1415" fmla="*/ 1243112 w 1935893"/>
                  <a:gd name="connsiteY1415" fmla="*/ 839237 h 1590788"/>
                  <a:gd name="connsiteX1416" fmla="*/ 1231143 w 1935893"/>
                  <a:gd name="connsiteY1416" fmla="*/ 835817 h 1590788"/>
                  <a:gd name="connsiteX1417" fmla="*/ 1226755 w 1935893"/>
                  <a:gd name="connsiteY1417" fmla="*/ 821797 h 1590788"/>
                  <a:gd name="connsiteX1418" fmla="*/ 1212734 w 1935893"/>
                  <a:gd name="connsiteY1418" fmla="*/ 827781 h 1590788"/>
                  <a:gd name="connsiteX1419" fmla="*/ 1206294 w 1935893"/>
                  <a:gd name="connsiteY1419" fmla="*/ 843398 h 1590788"/>
                  <a:gd name="connsiteX1420" fmla="*/ 1202190 w 1935893"/>
                  <a:gd name="connsiteY1420" fmla="*/ 850351 h 1590788"/>
                  <a:gd name="connsiteX1421" fmla="*/ 1201335 w 1935893"/>
                  <a:gd name="connsiteY1421" fmla="*/ 865341 h 1590788"/>
                  <a:gd name="connsiteX1422" fmla="*/ 1198713 w 1935893"/>
                  <a:gd name="connsiteY1422" fmla="*/ 885859 h 1590788"/>
                  <a:gd name="connsiteX1423" fmla="*/ 1200024 w 1935893"/>
                  <a:gd name="connsiteY1423" fmla="*/ 892242 h 1590788"/>
                  <a:gd name="connsiteX1424" fmla="*/ 1191475 w 1935893"/>
                  <a:gd name="connsiteY1424" fmla="*/ 893496 h 1590788"/>
                  <a:gd name="connsiteX1425" fmla="*/ 1183553 w 1935893"/>
                  <a:gd name="connsiteY1425" fmla="*/ 901247 h 1590788"/>
                  <a:gd name="connsiteX1426" fmla="*/ 1184465 w 1935893"/>
                  <a:gd name="connsiteY1426" fmla="*/ 913045 h 1590788"/>
                  <a:gd name="connsiteX1427" fmla="*/ 1201107 w 1935893"/>
                  <a:gd name="connsiteY1427" fmla="*/ 903014 h 1590788"/>
                  <a:gd name="connsiteX1428" fmla="*/ 1215983 w 1935893"/>
                  <a:gd name="connsiteY1428" fmla="*/ 912304 h 1590788"/>
                  <a:gd name="connsiteX1429" fmla="*/ 1215983 w 1935893"/>
                  <a:gd name="connsiteY1429" fmla="*/ 919258 h 1590788"/>
                  <a:gd name="connsiteX1430" fmla="*/ 1219972 w 1935893"/>
                  <a:gd name="connsiteY1430" fmla="*/ 924159 h 1590788"/>
                  <a:gd name="connsiteX1431" fmla="*/ 1222822 w 1935893"/>
                  <a:gd name="connsiteY1431" fmla="*/ 923133 h 1590788"/>
                  <a:gd name="connsiteX1432" fmla="*/ 1248185 w 1935893"/>
                  <a:gd name="connsiteY1432" fmla="*/ 906035 h 1590788"/>
                  <a:gd name="connsiteX1433" fmla="*/ 1258558 w 1935893"/>
                  <a:gd name="connsiteY1433" fmla="*/ 893895 h 1590788"/>
                  <a:gd name="connsiteX1434" fmla="*/ 1261066 w 1935893"/>
                  <a:gd name="connsiteY1434" fmla="*/ 888651 h 1590788"/>
                  <a:gd name="connsiteX1435" fmla="*/ 1268418 w 1935893"/>
                  <a:gd name="connsiteY1435" fmla="*/ 886657 h 1590788"/>
                  <a:gd name="connsiteX1436" fmla="*/ 1281641 w 1935893"/>
                  <a:gd name="connsiteY1436" fmla="*/ 891216 h 1590788"/>
                  <a:gd name="connsiteX1437" fmla="*/ 1286143 w 1935893"/>
                  <a:gd name="connsiteY1437" fmla="*/ 902615 h 1590788"/>
                  <a:gd name="connsiteX1438" fmla="*/ 1295262 w 1935893"/>
                  <a:gd name="connsiteY1438" fmla="*/ 905066 h 1590788"/>
                  <a:gd name="connsiteX1439" fmla="*/ 1300962 w 1935893"/>
                  <a:gd name="connsiteY1439" fmla="*/ 908030 h 1590788"/>
                  <a:gd name="connsiteX1440" fmla="*/ 1327407 w 1935893"/>
                  <a:gd name="connsiteY1440" fmla="*/ 902216 h 1590788"/>
                  <a:gd name="connsiteX1441" fmla="*/ 1259584 w 1935893"/>
                  <a:gd name="connsiteY1441" fmla="*/ 939149 h 1590788"/>
                  <a:gd name="connsiteX1442" fmla="*/ 1253200 w 1935893"/>
                  <a:gd name="connsiteY1442" fmla="*/ 945874 h 1590788"/>
                  <a:gd name="connsiteX1443" fmla="*/ 1253542 w 1935893"/>
                  <a:gd name="connsiteY1443" fmla="*/ 955677 h 1590788"/>
                  <a:gd name="connsiteX1444" fmla="*/ 1254454 w 1935893"/>
                  <a:gd name="connsiteY1444" fmla="*/ 957558 h 1590788"/>
                  <a:gd name="connsiteX1445" fmla="*/ 1255993 w 1935893"/>
                  <a:gd name="connsiteY1445" fmla="*/ 957900 h 1590788"/>
                  <a:gd name="connsiteX1446" fmla="*/ 1266708 w 1935893"/>
                  <a:gd name="connsiteY1446" fmla="*/ 957900 h 1590788"/>
                  <a:gd name="connsiteX1447" fmla="*/ 1274345 w 1935893"/>
                  <a:gd name="connsiteY1447" fmla="*/ 959895 h 1590788"/>
                  <a:gd name="connsiteX1448" fmla="*/ 1275713 w 1935893"/>
                  <a:gd name="connsiteY1448" fmla="*/ 959325 h 1590788"/>
                  <a:gd name="connsiteX1449" fmla="*/ 1275998 w 1935893"/>
                  <a:gd name="connsiteY1449" fmla="*/ 957786 h 1590788"/>
                  <a:gd name="connsiteX1450" fmla="*/ 1286599 w 1935893"/>
                  <a:gd name="connsiteY1450" fmla="*/ 950719 h 1590788"/>
                  <a:gd name="connsiteX1451" fmla="*/ 1289335 w 1935893"/>
                  <a:gd name="connsiteY1451" fmla="*/ 950719 h 1590788"/>
                  <a:gd name="connsiteX1452" fmla="*/ 1290931 w 1935893"/>
                  <a:gd name="connsiteY1452" fmla="*/ 949123 h 1590788"/>
                  <a:gd name="connsiteX1453" fmla="*/ 1294465 w 1935893"/>
                  <a:gd name="connsiteY1453" fmla="*/ 943993 h 1590788"/>
                  <a:gd name="connsiteX1454" fmla="*/ 1296915 w 1935893"/>
                  <a:gd name="connsiteY1454" fmla="*/ 933335 h 1590788"/>
                  <a:gd name="connsiteX1455" fmla="*/ 1288936 w 1935893"/>
                  <a:gd name="connsiteY1455" fmla="*/ 927294 h 1590788"/>
                  <a:gd name="connsiteX1456" fmla="*/ 1284604 w 1935893"/>
                  <a:gd name="connsiteY1456" fmla="*/ 927294 h 1590788"/>
                  <a:gd name="connsiteX1457" fmla="*/ 1269558 w 1935893"/>
                  <a:gd name="connsiteY1457" fmla="*/ 929802 h 1590788"/>
                  <a:gd name="connsiteX1458" fmla="*/ 1263858 w 1935893"/>
                  <a:gd name="connsiteY1458" fmla="*/ 934874 h 1590788"/>
                  <a:gd name="connsiteX1459" fmla="*/ 1264257 w 1935893"/>
                  <a:gd name="connsiteY1459" fmla="*/ 937496 h 1590788"/>
                  <a:gd name="connsiteX1460" fmla="*/ 1259584 w 1935893"/>
                  <a:gd name="connsiteY1460" fmla="*/ 939149 h 1590788"/>
                  <a:gd name="connsiteX1461" fmla="*/ 1336128 w 1935893"/>
                  <a:gd name="connsiteY1461" fmla="*/ 960921 h 1590788"/>
                  <a:gd name="connsiteX1462" fmla="*/ 1331853 w 1935893"/>
                  <a:gd name="connsiteY1462" fmla="*/ 965765 h 1590788"/>
                  <a:gd name="connsiteX1463" fmla="*/ 1333335 w 1935893"/>
                  <a:gd name="connsiteY1463" fmla="*/ 972548 h 1590788"/>
                  <a:gd name="connsiteX1464" fmla="*/ 1334988 w 1935893"/>
                  <a:gd name="connsiteY1464" fmla="*/ 975682 h 1590788"/>
                  <a:gd name="connsiteX1465" fmla="*/ 1349977 w 1935893"/>
                  <a:gd name="connsiteY1465" fmla="*/ 978401 h 1590788"/>
                  <a:gd name="connsiteX1466" fmla="*/ 1354480 w 1935893"/>
                  <a:gd name="connsiteY1466" fmla="*/ 971237 h 1590788"/>
                  <a:gd name="connsiteX1467" fmla="*/ 1354936 w 1935893"/>
                  <a:gd name="connsiteY1467" fmla="*/ 967418 h 1590788"/>
                  <a:gd name="connsiteX1468" fmla="*/ 1356589 w 1935893"/>
                  <a:gd name="connsiteY1468" fmla="*/ 963030 h 1590788"/>
                  <a:gd name="connsiteX1469" fmla="*/ 1351687 w 1935893"/>
                  <a:gd name="connsiteY1469" fmla="*/ 952885 h 1590788"/>
                  <a:gd name="connsiteX1470" fmla="*/ 1344107 w 1935893"/>
                  <a:gd name="connsiteY1470" fmla="*/ 950548 h 1590788"/>
                  <a:gd name="connsiteX1471" fmla="*/ 1338977 w 1935893"/>
                  <a:gd name="connsiteY1471" fmla="*/ 955620 h 1590788"/>
                  <a:gd name="connsiteX1472" fmla="*/ 1338123 w 1935893"/>
                  <a:gd name="connsiteY1472" fmla="*/ 960465 h 1590788"/>
                  <a:gd name="connsiteX1473" fmla="*/ 1336128 w 1935893"/>
                  <a:gd name="connsiteY1473" fmla="*/ 960693 h 1590788"/>
                  <a:gd name="connsiteX1474" fmla="*/ 1869199 w 1935893"/>
                  <a:gd name="connsiteY1474" fmla="*/ 1295024 h 1590788"/>
                  <a:gd name="connsiteX1475" fmla="*/ 1834718 w 1935893"/>
                  <a:gd name="connsiteY1475" fmla="*/ 1319589 h 1590788"/>
                  <a:gd name="connsiteX1476" fmla="*/ 1815396 w 1935893"/>
                  <a:gd name="connsiteY1476" fmla="*/ 1323464 h 1590788"/>
                  <a:gd name="connsiteX1477" fmla="*/ 1786557 w 1935893"/>
                  <a:gd name="connsiteY1477" fmla="*/ 1350081 h 1590788"/>
                  <a:gd name="connsiteX1478" fmla="*/ 1756350 w 1935893"/>
                  <a:gd name="connsiteY1478" fmla="*/ 1355153 h 1590788"/>
                  <a:gd name="connsiteX1479" fmla="*/ 1648402 w 1935893"/>
                  <a:gd name="connsiteY1479" fmla="*/ 1352646 h 1590788"/>
                  <a:gd name="connsiteX1480" fmla="*/ 1625604 w 1935893"/>
                  <a:gd name="connsiteY1480" fmla="*/ 1359713 h 1590788"/>
                  <a:gd name="connsiteX1481" fmla="*/ 1617511 w 1935893"/>
                  <a:gd name="connsiteY1481" fmla="*/ 1374133 h 1590788"/>
                  <a:gd name="connsiteX1482" fmla="*/ 1607024 w 1935893"/>
                  <a:gd name="connsiteY1482" fmla="*/ 1377267 h 1590788"/>
                  <a:gd name="connsiteX1483" fmla="*/ 1591578 w 1935893"/>
                  <a:gd name="connsiteY1483" fmla="*/ 1389521 h 1590788"/>
                  <a:gd name="connsiteX1484" fmla="*/ 1547749 w 1935893"/>
                  <a:gd name="connsiteY1484" fmla="*/ 1442583 h 1590788"/>
                  <a:gd name="connsiteX1485" fmla="*/ 1544614 w 1935893"/>
                  <a:gd name="connsiteY1485" fmla="*/ 1457288 h 1590788"/>
                  <a:gd name="connsiteX1486" fmla="*/ 1559889 w 1935893"/>
                  <a:gd name="connsiteY1486" fmla="*/ 1453412 h 1590788"/>
                  <a:gd name="connsiteX1487" fmla="*/ 1563708 w 1935893"/>
                  <a:gd name="connsiteY1487" fmla="*/ 1448454 h 1590788"/>
                  <a:gd name="connsiteX1488" fmla="*/ 1552309 w 1935893"/>
                  <a:gd name="connsiteY1488" fmla="*/ 1478775 h 1590788"/>
                  <a:gd name="connsiteX1489" fmla="*/ 1548946 w 1935893"/>
                  <a:gd name="connsiteY1489" fmla="*/ 1485158 h 1590788"/>
                  <a:gd name="connsiteX1490" fmla="*/ 1547692 w 1935893"/>
                  <a:gd name="connsiteY1490" fmla="*/ 1491884 h 1590788"/>
                  <a:gd name="connsiteX1491" fmla="*/ 1540112 w 1935893"/>
                  <a:gd name="connsiteY1491" fmla="*/ 1500319 h 1590788"/>
                  <a:gd name="connsiteX1492" fmla="*/ 1537889 w 1935893"/>
                  <a:gd name="connsiteY1492" fmla="*/ 1510521 h 1590788"/>
                  <a:gd name="connsiteX1493" fmla="*/ 1529169 w 1935893"/>
                  <a:gd name="connsiteY1493" fmla="*/ 1513542 h 1590788"/>
                  <a:gd name="connsiteX1494" fmla="*/ 1526091 w 1935893"/>
                  <a:gd name="connsiteY1494" fmla="*/ 1521692 h 1590788"/>
                  <a:gd name="connsiteX1495" fmla="*/ 1523754 w 1935893"/>
                  <a:gd name="connsiteY1495" fmla="*/ 1521977 h 1590788"/>
                  <a:gd name="connsiteX1496" fmla="*/ 1448635 w 1935893"/>
                  <a:gd name="connsiteY1496" fmla="*/ 1521179 h 1590788"/>
                  <a:gd name="connsiteX1497" fmla="*/ 1435356 w 1935893"/>
                  <a:gd name="connsiteY1497" fmla="*/ 1526878 h 1590788"/>
                  <a:gd name="connsiteX1498" fmla="*/ 1433304 w 1935893"/>
                  <a:gd name="connsiteY1498" fmla="*/ 1529329 h 1590788"/>
                  <a:gd name="connsiteX1499" fmla="*/ 1433304 w 1935893"/>
                  <a:gd name="connsiteY1499" fmla="*/ 1531609 h 1590788"/>
                  <a:gd name="connsiteX1500" fmla="*/ 1428231 w 1935893"/>
                  <a:gd name="connsiteY1500" fmla="*/ 1535713 h 1590788"/>
                  <a:gd name="connsiteX1501" fmla="*/ 1421905 w 1935893"/>
                  <a:gd name="connsiteY1501" fmla="*/ 1538163 h 1590788"/>
                  <a:gd name="connsiteX1502" fmla="*/ 1420993 w 1935893"/>
                  <a:gd name="connsiteY1502" fmla="*/ 1539303 h 1590788"/>
                  <a:gd name="connsiteX1503" fmla="*/ 1385599 w 1935893"/>
                  <a:gd name="connsiteY1503" fmla="*/ 1541697 h 1590788"/>
                  <a:gd name="connsiteX1504" fmla="*/ 1376936 w 1935893"/>
                  <a:gd name="connsiteY1504" fmla="*/ 1542609 h 1590788"/>
                  <a:gd name="connsiteX1505" fmla="*/ 1366848 w 1935893"/>
                  <a:gd name="connsiteY1505" fmla="*/ 1544319 h 1590788"/>
                  <a:gd name="connsiteX1506" fmla="*/ 1354708 w 1935893"/>
                  <a:gd name="connsiteY1506" fmla="*/ 1550816 h 1590788"/>
                  <a:gd name="connsiteX1507" fmla="*/ 1347014 w 1935893"/>
                  <a:gd name="connsiteY1507" fmla="*/ 1559024 h 1590788"/>
                  <a:gd name="connsiteX1508" fmla="*/ 1348666 w 1935893"/>
                  <a:gd name="connsiteY1508" fmla="*/ 1569454 h 1590788"/>
                  <a:gd name="connsiteX1509" fmla="*/ 1355506 w 1935893"/>
                  <a:gd name="connsiteY1509" fmla="*/ 1575780 h 1590788"/>
                  <a:gd name="connsiteX1510" fmla="*/ 1354594 w 1935893"/>
                  <a:gd name="connsiteY1510" fmla="*/ 1578174 h 1590788"/>
                  <a:gd name="connsiteX1511" fmla="*/ 1349521 w 1935893"/>
                  <a:gd name="connsiteY1511" fmla="*/ 1581821 h 1590788"/>
                  <a:gd name="connsiteX1512" fmla="*/ 1342625 w 1935893"/>
                  <a:gd name="connsiteY1512" fmla="*/ 1583417 h 1590788"/>
                  <a:gd name="connsiteX1513" fmla="*/ 1339718 w 1935893"/>
                  <a:gd name="connsiteY1513" fmla="*/ 1585469 h 1590788"/>
                  <a:gd name="connsiteX1514" fmla="*/ 1327122 w 1935893"/>
                  <a:gd name="connsiteY1514" fmla="*/ 1585469 h 1590788"/>
                  <a:gd name="connsiteX1515" fmla="*/ 1296060 w 1935893"/>
                  <a:gd name="connsiteY1515" fmla="*/ 1585469 h 1590788"/>
                  <a:gd name="connsiteX1516" fmla="*/ 1295775 w 1935893"/>
                  <a:gd name="connsiteY1516" fmla="*/ 1585811 h 1590788"/>
                  <a:gd name="connsiteX1517" fmla="*/ 1294749 w 1935893"/>
                  <a:gd name="connsiteY1517" fmla="*/ 1584671 h 1590788"/>
                  <a:gd name="connsiteX1518" fmla="*/ 1292983 w 1935893"/>
                  <a:gd name="connsiteY1518" fmla="*/ 1584044 h 1590788"/>
                  <a:gd name="connsiteX1519" fmla="*/ 1288423 w 1935893"/>
                  <a:gd name="connsiteY1519" fmla="*/ 1584956 h 1590788"/>
                  <a:gd name="connsiteX1520" fmla="*/ 1284205 w 1935893"/>
                  <a:gd name="connsiteY1520" fmla="*/ 1589972 h 1590788"/>
                  <a:gd name="connsiteX1521" fmla="*/ 1279076 w 1935893"/>
                  <a:gd name="connsiteY1521" fmla="*/ 1589972 h 1590788"/>
                  <a:gd name="connsiteX1522" fmla="*/ 1280102 w 1935893"/>
                  <a:gd name="connsiteY1522" fmla="*/ 1583588 h 1590788"/>
                  <a:gd name="connsiteX1523" fmla="*/ 1280102 w 1935893"/>
                  <a:gd name="connsiteY1523" fmla="*/ 1585583 h 1590788"/>
                  <a:gd name="connsiteX1524" fmla="*/ 1297998 w 1935893"/>
                  <a:gd name="connsiteY1524" fmla="*/ 1558283 h 1590788"/>
                  <a:gd name="connsiteX1525" fmla="*/ 1301190 w 1935893"/>
                  <a:gd name="connsiteY1525" fmla="*/ 1536169 h 1590788"/>
                  <a:gd name="connsiteX1526" fmla="*/ 1315951 w 1935893"/>
                  <a:gd name="connsiteY1526" fmla="*/ 1521407 h 1590788"/>
                  <a:gd name="connsiteX1527" fmla="*/ 1323190 w 1935893"/>
                  <a:gd name="connsiteY1527" fmla="*/ 1525682 h 1590788"/>
                  <a:gd name="connsiteX1528" fmla="*/ 1323874 w 1935893"/>
                  <a:gd name="connsiteY1528" fmla="*/ 1529158 h 1590788"/>
                  <a:gd name="connsiteX1529" fmla="*/ 1329573 w 1935893"/>
                  <a:gd name="connsiteY1529" fmla="*/ 1532065 h 1590788"/>
                  <a:gd name="connsiteX1530" fmla="*/ 1343480 w 1935893"/>
                  <a:gd name="connsiteY1530" fmla="*/ 1525910 h 1590788"/>
                  <a:gd name="connsiteX1531" fmla="*/ 1336470 w 1935893"/>
                  <a:gd name="connsiteY1531" fmla="*/ 1508127 h 1590788"/>
                  <a:gd name="connsiteX1532" fmla="*/ 1327521 w 1935893"/>
                  <a:gd name="connsiteY1532" fmla="*/ 1502086 h 1590788"/>
                  <a:gd name="connsiteX1533" fmla="*/ 1322962 w 1935893"/>
                  <a:gd name="connsiteY1533" fmla="*/ 1490345 h 1590788"/>
                  <a:gd name="connsiteX1534" fmla="*/ 1318288 w 1935893"/>
                  <a:gd name="connsiteY1534" fmla="*/ 1488863 h 1590788"/>
                  <a:gd name="connsiteX1535" fmla="*/ 1260553 w 1935893"/>
                  <a:gd name="connsiteY1535" fmla="*/ 1478946 h 1590788"/>
                  <a:gd name="connsiteX1536" fmla="*/ 1252345 w 1935893"/>
                  <a:gd name="connsiteY1536" fmla="*/ 1476837 h 1590788"/>
                  <a:gd name="connsiteX1537" fmla="*/ 1236501 w 1935893"/>
                  <a:gd name="connsiteY1537" fmla="*/ 1453412 h 1590788"/>
                  <a:gd name="connsiteX1538" fmla="*/ 1230459 w 1935893"/>
                  <a:gd name="connsiteY1538" fmla="*/ 1435060 h 1590788"/>
                  <a:gd name="connsiteX1539" fmla="*/ 1227781 w 1935893"/>
                  <a:gd name="connsiteY1539" fmla="*/ 1430785 h 1590788"/>
                  <a:gd name="connsiteX1540" fmla="*/ 1222081 w 1935893"/>
                  <a:gd name="connsiteY1540" fmla="*/ 1430386 h 1590788"/>
                  <a:gd name="connsiteX1541" fmla="*/ 1201238 w 1935893"/>
                  <a:gd name="connsiteY1541" fmla="*/ 1411259 h 1590788"/>
                  <a:gd name="connsiteX1542" fmla="*/ 1201221 w 1935893"/>
                  <a:gd name="connsiteY1542" fmla="*/ 1410666 h 1590788"/>
                  <a:gd name="connsiteX1543" fmla="*/ 1186916 w 1935893"/>
                  <a:gd name="connsiteY1543" fmla="*/ 1404397 h 1590788"/>
                  <a:gd name="connsiteX1544" fmla="*/ 1184807 w 1935893"/>
                  <a:gd name="connsiteY1544" fmla="*/ 1399438 h 1590788"/>
                  <a:gd name="connsiteX1545" fmla="*/ 1172724 w 1935893"/>
                  <a:gd name="connsiteY1545" fmla="*/ 1398184 h 1590788"/>
                  <a:gd name="connsiteX1546" fmla="*/ 1163206 w 1935893"/>
                  <a:gd name="connsiteY1546" fmla="*/ 1394480 h 1590788"/>
                  <a:gd name="connsiteX1547" fmla="*/ 1150154 w 1935893"/>
                  <a:gd name="connsiteY1547" fmla="*/ 1406848 h 1590788"/>
                  <a:gd name="connsiteX1548" fmla="*/ 1143371 w 1935893"/>
                  <a:gd name="connsiteY1548" fmla="*/ 1410837 h 1590788"/>
                  <a:gd name="connsiteX1549" fmla="*/ 1133055 w 1935893"/>
                  <a:gd name="connsiteY1549" fmla="*/ 1425542 h 1590788"/>
                  <a:gd name="connsiteX1550" fmla="*/ 1121656 w 1935893"/>
                  <a:gd name="connsiteY1550" fmla="*/ 1427195 h 1590788"/>
                  <a:gd name="connsiteX1551" fmla="*/ 1115444 w 1935893"/>
                  <a:gd name="connsiteY1551" fmla="*/ 1424744 h 1590788"/>
                  <a:gd name="connsiteX1552" fmla="*/ 1109175 w 1935893"/>
                  <a:gd name="connsiteY1552" fmla="*/ 1426283 h 1590788"/>
                  <a:gd name="connsiteX1553" fmla="*/ 1084097 w 1935893"/>
                  <a:gd name="connsiteY1553" fmla="*/ 1420583 h 1590788"/>
                  <a:gd name="connsiteX1554" fmla="*/ 1061299 w 1935893"/>
                  <a:gd name="connsiteY1554" fmla="*/ 1410894 h 1590788"/>
                  <a:gd name="connsiteX1555" fmla="*/ 1050248 w 1935893"/>
                  <a:gd name="connsiteY1555" fmla="*/ 1414445 h 1590788"/>
                  <a:gd name="connsiteX1556" fmla="*/ 1049501 w 1935893"/>
                  <a:gd name="connsiteY1556" fmla="*/ 1416594 h 1590788"/>
                  <a:gd name="connsiteX1557" fmla="*/ 1038102 w 1935893"/>
                  <a:gd name="connsiteY1557" fmla="*/ 1414827 h 1590788"/>
                  <a:gd name="connsiteX1558" fmla="*/ 1031776 w 1935893"/>
                  <a:gd name="connsiteY1558" fmla="*/ 1406050 h 1590788"/>
                  <a:gd name="connsiteX1559" fmla="*/ 1018610 w 1935893"/>
                  <a:gd name="connsiteY1559" fmla="*/ 1405195 h 1590788"/>
                  <a:gd name="connsiteX1560" fmla="*/ 1020320 w 1935893"/>
                  <a:gd name="connsiteY1560" fmla="*/ 1386045 h 1590788"/>
                  <a:gd name="connsiteX1561" fmla="*/ 1012568 w 1935893"/>
                  <a:gd name="connsiteY1561" fmla="*/ 1384335 h 1590788"/>
                  <a:gd name="connsiteX1562" fmla="*/ 1008921 w 1935893"/>
                  <a:gd name="connsiteY1562" fmla="*/ 1390034 h 1590788"/>
                  <a:gd name="connsiteX1563" fmla="*/ 1004703 w 1935893"/>
                  <a:gd name="connsiteY1563" fmla="*/ 1392257 h 1590788"/>
                  <a:gd name="connsiteX1564" fmla="*/ 1003221 w 1935893"/>
                  <a:gd name="connsiteY1564" fmla="*/ 1402915 h 1590788"/>
                  <a:gd name="connsiteX1565" fmla="*/ 408709 w 1935893"/>
                  <a:gd name="connsiteY1565" fmla="*/ 1402915 h 1590788"/>
                  <a:gd name="connsiteX1566" fmla="*/ 397310 w 1935893"/>
                  <a:gd name="connsiteY1566" fmla="*/ 1383537 h 1590788"/>
                  <a:gd name="connsiteX1567" fmla="*/ 366248 w 1935893"/>
                  <a:gd name="connsiteY1567" fmla="*/ 1369630 h 1590788"/>
                  <a:gd name="connsiteX1568" fmla="*/ 361290 w 1935893"/>
                  <a:gd name="connsiteY1568" fmla="*/ 1357832 h 1590788"/>
                  <a:gd name="connsiteX1569" fmla="*/ 341683 w 1935893"/>
                  <a:gd name="connsiteY1569" fmla="*/ 1354697 h 1590788"/>
                  <a:gd name="connsiteX1570" fmla="*/ 337124 w 1935893"/>
                  <a:gd name="connsiteY1570" fmla="*/ 1345863 h 1590788"/>
                  <a:gd name="connsiteX1571" fmla="*/ 331823 w 1935893"/>
                  <a:gd name="connsiteY1571" fmla="*/ 1343925 h 1590788"/>
                  <a:gd name="connsiteX1572" fmla="*/ 312388 w 1935893"/>
                  <a:gd name="connsiteY1572" fmla="*/ 1340506 h 1590788"/>
                  <a:gd name="connsiteX1573" fmla="*/ 300305 w 1935893"/>
                  <a:gd name="connsiteY1573" fmla="*/ 1336174 h 1590788"/>
                  <a:gd name="connsiteX1574" fmla="*/ 282067 w 1935893"/>
                  <a:gd name="connsiteY1574" fmla="*/ 1313376 h 1590788"/>
                  <a:gd name="connsiteX1575" fmla="*/ 291243 w 1935893"/>
                  <a:gd name="connsiteY1575" fmla="*/ 1309330 h 1590788"/>
                  <a:gd name="connsiteX1576" fmla="*/ 298823 w 1935893"/>
                  <a:gd name="connsiteY1576" fmla="*/ 1301464 h 1590788"/>
                  <a:gd name="connsiteX1577" fmla="*/ 290445 w 1935893"/>
                  <a:gd name="connsiteY1577" fmla="*/ 1294853 h 1590788"/>
                  <a:gd name="connsiteX1578" fmla="*/ 279616 w 1935893"/>
                  <a:gd name="connsiteY1578" fmla="*/ 1291490 h 1590788"/>
                  <a:gd name="connsiteX1579" fmla="*/ 276709 w 1935893"/>
                  <a:gd name="connsiteY1579" fmla="*/ 1286190 h 1590788"/>
                  <a:gd name="connsiteX1580" fmla="*/ 269813 w 1935893"/>
                  <a:gd name="connsiteY1580" fmla="*/ 1267666 h 1590788"/>
                  <a:gd name="connsiteX1581" fmla="*/ 265994 w 1935893"/>
                  <a:gd name="connsiteY1581" fmla="*/ 1260257 h 1590788"/>
                  <a:gd name="connsiteX1582" fmla="*/ 250834 w 1935893"/>
                  <a:gd name="connsiteY1582" fmla="*/ 1247604 h 1590788"/>
                  <a:gd name="connsiteX1583" fmla="*/ 249922 w 1935893"/>
                  <a:gd name="connsiteY1583" fmla="*/ 1242874 h 1590788"/>
                  <a:gd name="connsiteX1584" fmla="*/ 240860 w 1935893"/>
                  <a:gd name="connsiteY1584" fmla="*/ 1235236 h 1590788"/>
                  <a:gd name="connsiteX1585" fmla="*/ 235502 w 1935893"/>
                  <a:gd name="connsiteY1585" fmla="*/ 1226231 h 1590788"/>
                  <a:gd name="connsiteX1586" fmla="*/ 236756 w 1935893"/>
                  <a:gd name="connsiteY1586" fmla="*/ 1225148 h 1590788"/>
                  <a:gd name="connsiteX1587" fmla="*/ 241487 w 1935893"/>
                  <a:gd name="connsiteY1587" fmla="*/ 1222698 h 1590788"/>
                  <a:gd name="connsiteX1588" fmla="*/ 243652 w 1935893"/>
                  <a:gd name="connsiteY1588" fmla="*/ 1213236 h 1590788"/>
                  <a:gd name="connsiteX1589" fmla="*/ 248839 w 1935893"/>
                  <a:gd name="connsiteY1589" fmla="*/ 1209589 h 1590788"/>
                  <a:gd name="connsiteX1590" fmla="*/ 251404 w 1935893"/>
                  <a:gd name="connsiteY1590" fmla="*/ 1205485 h 1590788"/>
                  <a:gd name="connsiteX1591" fmla="*/ 234590 w 1935893"/>
                  <a:gd name="connsiteY1591" fmla="*/ 1187817 h 1590788"/>
                  <a:gd name="connsiteX1592" fmla="*/ 245647 w 1935893"/>
                  <a:gd name="connsiteY1592" fmla="*/ 1178014 h 1590788"/>
                  <a:gd name="connsiteX1593" fmla="*/ 219544 w 1935893"/>
                  <a:gd name="connsiteY1593" fmla="*/ 1163537 h 1590788"/>
                  <a:gd name="connsiteX1594" fmla="*/ 212989 w 1935893"/>
                  <a:gd name="connsiteY1594" fmla="*/ 1161884 h 1590788"/>
                  <a:gd name="connsiteX1595" fmla="*/ 207290 w 1935893"/>
                  <a:gd name="connsiteY1595" fmla="*/ 1156185 h 1590788"/>
                  <a:gd name="connsiteX1596" fmla="*/ 194124 w 1935893"/>
                  <a:gd name="connsiteY1596" fmla="*/ 1136522 h 1590788"/>
                  <a:gd name="connsiteX1597" fmla="*/ 189963 w 1935893"/>
                  <a:gd name="connsiteY1597" fmla="*/ 1129511 h 1590788"/>
                  <a:gd name="connsiteX1598" fmla="*/ 185974 w 1935893"/>
                  <a:gd name="connsiteY1598" fmla="*/ 1119480 h 1590788"/>
                  <a:gd name="connsiteX1599" fmla="*/ 176456 w 1935893"/>
                  <a:gd name="connsiteY1599" fmla="*/ 1104833 h 1590788"/>
                  <a:gd name="connsiteX1600" fmla="*/ 174404 w 1935893"/>
                  <a:gd name="connsiteY1600" fmla="*/ 1098221 h 1590788"/>
                  <a:gd name="connsiteX1601" fmla="*/ 166938 w 1935893"/>
                  <a:gd name="connsiteY1601" fmla="*/ 1094915 h 1590788"/>
                  <a:gd name="connsiteX1602" fmla="*/ 158901 w 1935893"/>
                  <a:gd name="connsiteY1602" fmla="*/ 1087335 h 1590788"/>
                  <a:gd name="connsiteX1603" fmla="*/ 140891 w 1935893"/>
                  <a:gd name="connsiteY1603" fmla="*/ 1062713 h 1590788"/>
                  <a:gd name="connsiteX1604" fmla="*/ 127383 w 1935893"/>
                  <a:gd name="connsiteY1604" fmla="*/ 1049833 h 1590788"/>
                  <a:gd name="connsiteX1605" fmla="*/ 111254 w 1935893"/>
                  <a:gd name="connsiteY1605" fmla="*/ 1055019 h 1590788"/>
                  <a:gd name="connsiteX1606" fmla="*/ 110000 w 1935893"/>
                  <a:gd name="connsiteY1606" fmla="*/ 1057527 h 1590788"/>
                  <a:gd name="connsiteX1607" fmla="*/ 106181 w 1935893"/>
                  <a:gd name="connsiteY1607" fmla="*/ 1058097 h 1590788"/>
                  <a:gd name="connsiteX1608" fmla="*/ 90736 w 1935893"/>
                  <a:gd name="connsiteY1608" fmla="*/ 1068299 h 1590788"/>
                  <a:gd name="connsiteX1609" fmla="*/ 82756 w 1935893"/>
                  <a:gd name="connsiteY1609" fmla="*/ 1068641 h 1590788"/>
                  <a:gd name="connsiteX1610" fmla="*/ 67254 w 1935893"/>
                  <a:gd name="connsiteY1610" fmla="*/ 1060776 h 1590788"/>
                  <a:gd name="connsiteX1611" fmla="*/ 64119 w 1935893"/>
                  <a:gd name="connsiteY1611" fmla="*/ 1050517 h 1590788"/>
                  <a:gd name="connsiteX1612" fmla="*/ 53746 w 1935893"/>
                  <a:gd name="connsiteY1612" fmla="*/ 1050517 h 1590788"/>
                  <a:gd name="connsiteX1613" fmla="*/ 43886 w 1935893"/>
                  <a:gd name="connsiteY1613" fmla="*/ 1048522 h 1590788"/>
                  <a:gd name="connsiteX1614" fmla="*/ 44570 w 1935893"/>
                  <a:gd name="connsiteY1614" fmla="*/ 1041397 h 1590788"/>
                  <a:gd name="connsiteX1615" fmla="*/ 46109 w 1935893"/>
                  <a:gd name="connsiteY1615" fmla="*/ 1029257 h 1590788"/>
                  <a:gd name="connsiteX1616" fmla="*/ 37332 w 1935893"/>
                  <a:gd name="connsiteY1616" fmla="*/ 1022076 h 1590788"/>
                  <a:gd name="connsiteX1617" fmla="*/ 32373 w 1935893"/>
                  <a:gd name="connsiteY1617" fmla="*/ 1023900 h 1590788"/>
                  <a:gd name="connsiteX1618" fmla="*/ 342 w 1935893"/>
                  <a:gd name="connsiteY1618" fmla="*/ 1025382 h 1590788"/>
                  <a:gd name="connsiteX1619" fmla="*/ 0 w 1935893"/>
                  <a:gd name="connsiteY1619" fmla="*/ 668994 h 1590788"/>
                  <a:gd name="connsiteX1620" fmla="*/ 13622 w 1935893"/>
                  <a:gd name="connsiteY1620" fmla="*/ 672242 h 1590788"/>
                  <a:gd name="connsiteX1621" fmla="*/ 44798 w 1935893"/>
                  <a:gd name="connsiteY1621" fmla="*/ 673667 h 1590788"/>
                  <a:gd name="connsiteX1622" fmla="*/ 52492 w 1935893"/>
                  <a:gd name="connsiteY1622" fmla="*/ 681761 h 1590788"/>
                  <a:gd name="connsiteX1623" fmla="*/ 81445 w 1935893"/>
                  <a:gd name="connsiteY1623" fmla="*/ 696123 h 1590788"/>
                  <a:gd name="connsiteX1624" fmla="*/ 113933 w 1935893"/>
                  <a:gd name="connsiteY1624" fmla="*/ 703704 h 1590788"/>
                  <a:gd name="connsiteX1625" fmla="*/ 125901 w 1935893"/>
                  <a:gd name="connsiteY1625" fmla="*/ 709403 h 1590788"/>
                  <a:gd name="connsiteX1626" fmla="*/ 131601 w 1935893"/>
                  <a:gd name="connsiteY1626" fmla="*/ 700455 h 1590788"/>
                  <a:gd name="connsiteX1627" fmla="*/ 111311 w 1935893"/>
                  <a:gd name="connsiteY1627" fmla="*/ 681875 h 1590788"/>
                  <a:gd name="connsiteX1628" fmla="*/ 152290 w 1935893"/>
                  <a:gd name="connsiteY1628" fmla="*/ 678740 h 1590788"/>
                  <a:gd name="connsiteX1629" fmla="*/ 164088 w 1935893"/>
                  <a:gd name="connsiteY1629" fmla="*/ 679595 h 1590788"/>
                  <a:gd name="connsiteX1630" fmla="*/ 176114 w 1935893"/>
                  <a:gd name="connsiteY1630" fmla="*/ 672869 h 1590788"/>
                  <a:gd name="connsiteX1631" fmla="*/ 240974 w 1935893"/>
                  <a:gd name="connsiteY1631" fmla="*/ 648476 h 1590788"/>
                  <a:gd name="connsiteX1632" fmla="*/ 239264 w 1935893"/>
                  <a:gd name="connsiteY1632" fmla="*/ 658792 h 1590788"/>
                  <a:gd name="connsiteX1633" fmla="*/ 166482 w 1935893"/>
                  <a:gd name="connsiteY1633" fmla="*/ 704388 h 1590788"/>
                  <a:gd name="connsiteX1634" fmla="*/ 181072 w 1935893"/>
                  <a:gd name="connsiteY1634" fmla="*/ 706040 h 1590788"/>
                  <a:gd name="connsiteX1635" fmla="*/ 191616 w 1935893"/>
                  <a:gd name="connsiteY1635" fmla="*/ 693046 h 1590788"/>
                  <a:gd name="connsiteX1636" fmla="*/ 221083 w 1935893"/>
                  <a:gd name="connsiteY1636" fmla="*/ 675320 h 1590788"/>
                  <a:gd name="connsiteX1637" fmla="*/ 242684 w 1935893"/>
                  <a:gd name="connsiteY1637" fmla="*/ 667056 h 1590788"/>
                  <a:gd name="connsiteX1638" fmla="*/ 273062 w 1935893"/>
                  <a:gd name="connsiteY1638" fmla="*/ 667056 h 1590788"/>
                  <a:gd name="connsiteX1639" fmla="*/ 286741 w 1935893"/>
                  <a:gd name="connsiteY1639" fmla="*/ 645512 h 1590788"/>
                  <a:gd name="connsiteX1640" fmla="*/ 284746 w 1935893"/>
                  <a:gd name="connsiteY1640" fmla="*/ 623113 h 1590788"/>
                  <a:gd name="connsiteX1641" fmla="*/ 303554 w 1935893"/>
                  <a:gd name="connsiteY1641" fmla="*/ 632346 h 1590788"/>
                  <a:gd name="connsiteX1642" fmla="*/ 324015 w 1935893"/>
                  <a:gd name="connsiteY1642" fmla="*/ 673952 h 1590788"/>
                  <a:gd name="connsiteX1643" fmla="*/ 330284 w 1935893"/>
                  <a:gd name="connsiteY1643" fmla="*/ 681533 h 1590788"/>
                  <a:gd name="connsiteX1644" fmla="*/ 347383 w 1935893"/>
                  <a:gd name="connsiteY1644" fmla="*/ 671730 h 1590788"/>
                  <a:gd name="connsiteX1645" fmla="*/ 364481 w 1935893"/>
                  <a:gd name="connsiteY1645" fmla="*/ 646139 h 1590788"/>
                  <a:gd name="connsiteX1646" fmla="*/ 370181 w 1935893"/>
                  <a:gd name="connsiteY1646" fmla="*/ 659191 h 1590788"/>
                  <a:gd name="connsiteX1647" fmla="*/ 365051 w 1935893"/>
                  <a:gd name="connsiteY1647" fmla="*/ 675491 h 1590788"/>
                  <a:gd name="connsiteX1648" fmla="*/ 388476 w 1935893"/>
                  <a:gd name="connsiteY1648" fmla="*/ 674693 h 1590788"/>
                  <a:gd name="connsiteX1649" fmla="*/ 409450 w 1935893"/>
                  <a:gd name="connsiteY1649" fmla="*/ 660901 h 1590788"/>
                  <a:gd name="connsiteX1650" fmla="*/ 460062 w 1935893"/>
                  <a:gd name="connsiteY1650" fmla="*/ 674123 h 1590788"/>
                  <a:gd name="connsiteX1651" fmla="*/ 581802 w 1935893"/>
                  <a:gd name="connsiteY1651" fmla="*/ 704046 h 1590788"/>
                  <a:gd name="connsiteX1652" fmla="*/ 594512 w 1935893"/>
                  <a:gd name="connsiteY1652" fmla="*/ 717040 h 1590788"/>
                  <a:gd name="connsiteX1653" fmla="*/ 563735 w 1935893"/>
                  <a:gd name="connsiteY1653" fmla="*/ 735051 h 1590788"/>
                  <a:gd name="connsiteX1654" fmla="*/ 595595 w 1935893"/>
                  <a:gd name="connsiteY1654" fmla="*/ 751123 h 1590788"/>
                  <a:gd name="connsiteX1655" fmla="*/ 674362 w 1935893"/>
                  <a:gd name="connsiteY1655" fmla="*/ 740522 h 1590788"/>
                  <a:gd name="connsiteX1656" fmla="*/ 683367 w 1935893"/>
                  <a:gd name="connsiteY1656" fmla="*/ 737217 h 1590788"/>
                  <a:gd name="connsiteX1657" fmla="*/ 696533 w 1935893"/>
                  <a:gd name="connsiteY1657" fmla="*/ 747533 h 1590788"/>
                  <a:gd name="connsiteX1658" fmla="*/ 711237 w 1935893"/>
                  <a:gd name="connsiteY1658" fmla="*/ 750553 h 1590788"/>
                  <a:gd name="connsiteX1659" fmla="*/ 721667 w 1935893"/>
                  <a:gd name="connsiteY1659" fmla="*/ 769931 h 1590788"/>
                  <a:gd name="connsiteX1660" fmla="*/ 710610 w 1935893"/>
                  <a:gd name="connsiteY1660" fmla="*/ 775175 h 1590788"/>
                  <a:gd name="connsiteX1661" fmla="*/ 733408 w 1935893"/>
                  <a:gd name="connsiteY1661" fmla="*/ 788341 h 1590788"/>
                  <a:gd name="connsiteX1662" fmla="*/ 748911 w 1935893"/>
                  <a:gd name="connsiteY1662" fmla="*/ 777797 h 1590788"/>
                  <a:gd name="connsiteX1663" fmla="*/ 729704 w 1935893"/>
                  <a:gd name="connsiteY1663" fmla="*/ 752491 h 1590788"/>
                  <a:gd name="connsiteX1664" fmla="*/ 726626 w 1935893"/>
                  <a:gd name="connsiteY1664" fmla="*/ 737957 h 1590788"/>
                  <a:gd name="connsiteX1665" fmla="*/ 789320 w 1935893"/>
                  <a:gd name="connsiteY1665" fmla="*/ 717496 h 1590788"/>
                  <a:gd name="connsiteX1666" fmla="*/ 815766 w 1935893"/>
                  <a:gd name="connsiteY1666" fmla="*/ 732087 h 1590788"/>
                  <a:gd name="connsiteX1667" fmla="*/ 844263 w 1935893"/>
                  <a:gd name="connsiteY1667" fmla="*/ 734937 h 1590788"/>
                  <a:gd name="connsiteX1668" fmla="*/ 871279 w 1935893"/>
                  <a:gd name="connsiteY1668" fmla="*/ 751009 h 1590788"/>
                  <a:gd name="connsiteX1669" fmla="*/ 907641 w 1935893"/>
                  <a:gd name="connsiteY1669" fmla="*/ 740237 h 1590788"/>
                  <a:gd name="connsiteX1670" fmla="*/ 929812 w 1935893"/>
                  <a:gd name="connsiteY1670" fmla="*/ 741947 h 1590788"/>
                  <a:gd name="connsiteX1671" fmla="*/ 935512 w 1935893"/>
                  <a:gd name="connsiteY1671" fmla="*/ 723196 h 1590788"/>
                  <a:gd name="connsiteX1672" fmla="*/ 957797 w 1935893"/>
                  <a:gd name="connsiteY1672" fmla="*/ 715274 h 1590788"/>
                  <a:gd name="connsiteX1673" fmla="*/ 958480 w 1935893"/>
                  <a:gd name="connsiteY1673" fmla="*/ 724507 h 1590788"/>
                  <a:gd name="connsiteX1674" fmla="*/ 975978 w 1935893"/>
                  <a:gd name="connsiteY1674" fmla="*/ 724507 h 1590788"/>
                  <a:gd name="connsiteX1675" fmla="*/ 986009 w 1935893"/>
                  <a:gd name="connsiteY1675" fmla="*/ 735621 h 1590788"/>
                  <a:gd name="connsiteX1676" fmla="*/ 973128 w 1935893"/>
                  <a:gd name="connsiteY1676" fmla="*/ 739895 h 1590788"/>
                  <a:gd name="connsiteX1677" fmla="*/ 977232 w 1935893"/>
                  <a:gd name="connsiteY1677" fmla="*/ 756082 h 1590788"/>
                  <a:gd name="connsiteX1678" fmla="*/ 984983 w 1935893"/>
                  <a:gd name="connsiteY1678" fmla="*/ 756082 h 1590788"/>
                  <a:gd name="connsiteX1679" fmla="*/ 994045 w 1935893"/>
                  <a:gd name="connsiteY1679" fmla="*/ 771470 h 1590788"/>
                  <a:gd name="connsiteX1680" fmla="*/ 1009491 w 1935893"/>
                  <a:gd name="connsiteY1680" fmla="*/ 768621 h 1590788"/>
                  <a:gd name="connsiteX1681" fmla="*/ 1000030 w 1935893"/>
                  <a:gd name="connsiteY1681" fmla="*/ 738698 h 1590788"/>
                  <a:gd name="connsiteX1682" fmla="*/ 1008408 w 1935893"/>
                  <a:gd name="connsiteY1682" fmla="*/ 734481 h 1590788"/>
                  <a:gd name="connsiteX1683" fmla="*/ 1040154 w 1935893"/>
                  <a:gd name="connsiteY1683" fmla="*/ 714647 h 1590788"/>
                  <a:gd name="connsiteX1684" fmla="*/ 1045055 w 1935893"/>
                  <a:gd name="connsiteY1684" fmla="*/ 702735 h 1590788"/>
                  <a:gd name="connsiteX1685" fmla="*/ 1033657 w 1935893"/>
                  <a:gd name="connsiteY1685" fmla="*/ 690481 h 1590788"/>
                  <a:gd name="connsiteX1686" fmla="*/ 1036335 w 1935893"/>
                  <a:gd name="connsiteY1686" fmla="*/ 677999 h 1590788"/>
                  <a:gd name="connsiteX1687" fmla="*/ 1024480 w 1935893"/>
                  <a:gd name="connsiteY1687" fmla="*/ 670476 h 1590788"/>
                  <a:gd name="connsiteX1688" fmla="*/ 1016045 w 1935893"/>
                  <a:gd name="connsiteY1688" fmla="*/ 661585 h 1590788"/>
                  <a:gd name="connsiteX1689" fmla="*/ 1002309 w 1935893"/>
                  <a:gd name="connsiteY1689" fmla="*/ 662154 h 1590788"/>
                  <a:gd name="connsiteX1690" fmla="*/ 983843 w 1935893"/>
                  <a:gd name="connsiteY1690" fmla="*/ 652864 h 1590788"/>
                  <a:gd name="connsiteX1691" fmla="*/ 973869 w 1935893"/>
                  <a:gd name="connsiteY1691" fmla="*/ 638331 h 1590788"/>
                  <a:gd name="connsiteX1692" fmla="*/ 986009 w 1935893"/>
                  <a:gd name="connsiteY1692" fmla="*/ 632175 h 1590788"/>
                  <a:gd name="connsiteX1693" fmla="*/ 982988 w 1935893"/>
                  <a:gd name="connsiteY1693" fmla="*/ 620320 h 1590788"/>
                  <a:gd name="connsiteX1694" fmla="*/ 972501 w 1935893"/>
                  <a:gd name="connsiteY1694" fmla="*/ 611543 h 1590788"/>
                  <a:gd name="connsiteX1695" fmla="*/ 979905 w 1935893"/>
                  <a:gd name="connsiteY1695" fmla="*/ 594809 h 1590788"/>
                  <a:gd name="connsiteX1696" fmla="*/ 980993 w 1935893"/>
                  <a:gd name="connsiteY1696" fmla="*/ 594445 h 1590788"/>
                  <a:gd name="connsiteX1697" fmla="*/ 1001910 w 1935893"/>
                  <a:gd name="connsiteY1697" fmla="*/ 599118 h 1590788"/>
                  <a:gd name="connsiteX1698" fmla="*/ 998092 w 1935893"/>
                  <a:gd name="connsiteY1698" fmla="*/ 578030 h 1590788"/>
                  <a:gd name="connsiteX1699" fmla="*/ 1002423 w 1935893"/>
                  <a:gd name="connsiteY1699" fmla="*/ 573813 h 1590788"/>
                  <a:gd name="connsiteX1700" fmla="*/ 1006356 w 1935893"/>
                  <a:gd name="connsiteY1700" fmla="*/ 546683 h 1590788"/>
                  <a:gd name="connsiteX1701" fmla="*/ 994957 w 1935893"/>
                  <a:gd name="connsiteY1701" fmla="*/ 519725 h 1590788"/>
                  <a:gd name="connsiteX1702" fmla="*/ 1006356 w 1935893"/>
                  <a:gd name="connsiteY1702" fmla="*/ 474129 h 1590788"/>
                  <a:gd name="connsiteX1703" fmla="*/ 1053149 w 1935893"/>
                  <a:gd name="connsiteY1703" fmla="*/ 468942 h 1590788"/>
                  <a:gd name="connsiteX1704" fmla="*/ 1108377 w 1935893"/>
                  <a:gd name="connsiteY1704" fmla="*/ 475782 h 1590788"/>
                  <a:gd name="connsiteX1705" fmla="*/ 1104729 w 1935893"/>
                  <a:gd name="connsiteY1705" fmla="*/ 480968 h 1590788"/>
                  <a:gd name="connsiteX1706" fmla="*/ 1089283 w 1935893"/>
                  <a:gd name="connsiteY1706" fmla="*/ 512714 h 1590788"/>
                  <a:gd name="connsiteX1707" fmla="*/ 1066087 w 1935893"/>
                  <a:gd name="connsiteY1707" fmla="*/ 533688 h 1590788"/>
                  <a:gd name="connsiteX1708" fmla="*/ 1059133 w 1935893"/>
                  <a:gd name="connsiteY1708" fmla="*/ 528787 h 1590788"/>
                  <a:gd name="connsiteX1709" fmla="*/ 1026361 w 1935893"/>
                  <a:gd name="connsiteY1709" fmla="*/ 527704 h 1590788"/>
                  <a:gd name="connsiteX1710" fmla="*/ 1040154 w 1935893"/>
                  <a:gd name="connsiteY1710" fmla="*/ 533859 h 1590788"/>
                  <a:gd name="connsiteX1711" fmla="*/ 1040353 w 1935893"/>
                  <a:gd name="connsiteY1711" fmla="*/ 546432 h 1590788"/>
                  <a:gd name="connsiteX1712" fmla="*/ 1039584 w 1935893"/>
                  <a:gd name="connsiteY1712" fmla="*/ 547139 h 1590788"/>
                  <a:gd name="connsiteX1713" fmla="*/ 1022030 w 1935893"/>
                  <a:gd name="connsiteY1713" fmla="*/ 573243 h 1590788"/>
                  <a:gd name="connsiteX1714" fmla="*/ 1041123 w 1935893"/>
                  <a:gd name="connsiteY1714" fmla="*/ 577061 h 1590788"/>
                  <a:gd name="connsiteX1715" fmla="*/ 1052978 w 1935893"/>
                  <a:gd name="connsiteY1715" fmla="*/ 591367 h 1590788"/>
                  <a:gd name="connsiteX1716" fmla="*/ 1048247 w 1935893"/>
                  <a:gd name="connsiteY1716" fmla="*/ 608465 h 1590788"/>
                  <a:gd name="connsiteX1717" fmla="*/ 1080734 w 1935893"/>
                  <a:gd name="connsiteY1717" fmla="*/ 630066 h 1590788"/>
                  <a:gd name="connsiteX1718" fmla="*/ 1086434 w 1935893"/>
                  <a:gd name="connsiteY1718" fmla="*/ 641465 h 1590788"/>
                  <a:gd name="connsiteX1719" fmla="*/ 1073325 w 1935893"/>
                  <a:gd name="connsiteY1719" fmla="*/ 650869 h 1590788"/>
                  <a:gd name="connsiteX1720" fmla="*/ 1074180 w 1935893"/>
                  <a:gd name="connsiteY1720" fmla="*/ 668310 h 1590788"/>
                  <a:gd name="connsiteX1721" fmla="*/ 1114931 w 1935893"/>
                  <a:gd name="connsiteY1721" fmla="*/ 677543 h 1590788"/>
                  <a:gd name="connsiteX1722" fmla="*/ 1092133 w 1935893"/>
                  <a:gd name="connsiteY1722" fmla="*/ 693901 h 1590788"/>
                  <a:gd name="connsiteX1723" fmla="*/ 1103532 w 1935893"/>
                  <a:gd name="connsiteY1723" fmla="*/ 694698 h 1590788"/>
                  <a:gd name="connsiteX1724" fmla="*/ 1106781 w 1935893"/>
                  <a:gd name="connsiteY1724" fmla="*/ 718864 h 1590788"/>
                  <a:gd name="connsiteX1725" fmla="*/ 1119833 w 1935893"/>
                  <a:gd name="connsiteY1725" fmla="*/ 719548 h 1590788"/>
                  <a:gd name="connsiteX1726" fmla="*/ 1132827 w 1935893"/>
                  <a:gd name="connsiteY1726" fmla="*/ 685351 h 1590788"/>
                  <a:gd name="connsiteX1727" fmla="*/ 1135449 w 1935893"/>
                  <a:gd name="connsiteY1727" fmla="*/ 683185 h 1590788"/>
                  <a:gd name="connsiteX1728" fmla="*/ 1140408 w 1935893"/>
                  <a:gd name="connsiteY1728" fmla="*/ 684154 h 1590788"/>
                  <a:gd name="connsiteX1729" fmla="*/ 1167366 w 1935893"/>
                  <a:gd name="connsiteY1729" fmla="*/ 718693 h 1590788"/>
                  <a:gd name="connsiteX1730" fmla="*/ 1153539 w 1935893"/>
                  <a:gd name="connsiteY1730" fmla="*/ 736020 h 1590788"/>
                  <a:gd name="connsiteX1731" fmla="*/ 1155967 w 1935893"/>
                  <a:gd name="connsiteY1731" fmla="*/ 742802 h 1590788"/>
                  <a:gd name="connsiteX1732" fmla="*/ 1162921 w 1935893"/>
                  <a:gd name="connsiteY1732" fmla="*/ 749641 h 1590788"/>
                  <a:gd name="connsiteX1733" fmla="*/ 1169931 w 1935893"/>
                  <a:gd name="connsiteY1733" fmla="*/ 764004 h 1590788"/>
                  <a:gd name="connsiteX1734" fmla="*/ 1182983 w 1935893"/>
                  <a:gd name="connsiteY1734" fmla="*/ 770615 h 1590788"/>
                  <a:gd name="connsiteX1735" fmla="*/ 1184693 w 1935893"/>
                  <a:gd name="connsiteY1735" fmla="*/ 759786 h 1590788"/>
                  <a:gd name="connsiteX1736" fmla="*/ 1200788 w 1935893"/>
                  <a:gd name="connsiteY1736" fmla="*/ 751608 h 1590788"/>
                  <a:gd name="connsiteX1737" fmla="*/ 1201392 w 1935893"/>
                  <a:gd name="connsiteY1737" fmla="*/ 746849 h 1590788"/>
                  <a:gd name="connsiteX1738" fmla="*/ 1184305 w 1935893"/>
                  <a:gd name="connsiteY1738" fmla="*/ 731135 h 1590788"/>
                  <a:gd name="connsiteX1739" fmla="*/ 1184294 w 1935893"/>
                  <a:gd name="connsiteY1739" fmla="*/ 730377 h 1590788"/>
                  <a:gd name="connsiteX1740" fmla="*/ 1207433 w 1935893"/>
                  <a:gd name="connsiteY1740" fmla="*/ 740180 h 1590788"/>
                  <a:gd name="connsiteX1741" fmla="*/ 1210112 w 1935893"/>
                  <a:gd name="connsiteY1741" fmla="*/ 726160 h 1590788"/>
                  <a:gd name="connsiteX1742" fmla="*/ 1215413 w 1935893"/>
                  <a:gd name="connsiteY1742" fmla="*/ 721087 h 1590788"/>
                  <a:gd name="connsiteX1743" fmla="*/ 1217864 w 1935893"/>
                  <a:gd name="connsiteY1743" fmla="*/ 708890 h 1590788"/>
                  <a:gd name="connsiteX1744" fmla="*/ 1226869 w 1935893"/>
                  <a:gd name="connsiteY1744" fmla="*/ 704274 h 1590788"/>
                  <a:gd name="connsiteX1745" fmla="*/ 1238268 w 1935893"/>
                  <a:gd name="connsiteY1745" fmla="*/ 693388 h 1590788"/>
                  <a:gd name="connsiteX1746" fmla="*/ 1225159 w 1935893"/>
                  <a:gd name="connsiteY1746" fmla="*/ 680051 h 1590788"/>
                  <a:gd name="connsiteX1747" fmla="*/ 1214957 w 1935893"/>
                  <a:gd name="connsiteY1747" fmla="*/ 665574 h 1590788"/>
                  <a:gd name="connsiteX1748" fmla="*/ 1267164 w 1935893"/>
                  <a:gd name="connsiteY1748" fmla="*/ 663009 h 1590788"/>
                  <a:gd name="connsiteX1749" fmla="*/ 1274573 w 1935893"/>
                  <a:gd name="connsiteY1749" fmla="*/ 664377 h 1590788"/>
                  <a:gd name="connsiteX1750" fmla="*/ 1279874 w 1935893"/>
                  <a:gd name="connsiteY1750" fmla="*/ 672129 h 1590788"/>
                  <a:gd name="connsiteX1751" fmla="*/ 1296972 w 1935893"/>
                  <a:gd name="connsiteY1751" fmla="*/ 679994 h 1590788"/>
                  <a:gd name="connsiteX1752" fmla="*/ 1298853 w 1935893"/>
                  <a:gd name="connsiteY1752" fmla="*/ 694186 h 1590788"/>
                  <a:gd name="connsiteX1753" fmla="*/ 1313615 w 1935893"/>
                  <a:gd name="connsiteY1753" fmla="*/ 711740 h 1590788"/>
                  <a:gd name="connsiteX1754" fmla="*/ 1278050 w 1935893"/>
                  <a:gd name="connsiteY1754" fmla="*/ 711740 h 1590788"/>
                  <a:gd name="connsiteX1755" fmla="*/ 1301133 w 1935893"/>
                  <a:gd name="connsiteY1755" fmla="*/ 749812 h 1590788"/>
                  <a:gd name="connsiteX1756" fmla="*/ 1303812 w 1935893"/>
                  <a:gd name="connsiteY1756" fmla="*/ 758248 h 1590788"/>
                  <a:gd name="connsiteX1757" fmla="*/ 1299993 w 1935893"/>
                  <a:gd name="connsiteY1757" fmla="*/ 764346 h 1590788"/>
                  <a:gd name="connsiteX1758" fmla="*/ 1267734 w 1935893"/>
                  <a:gd name="connsiteY1758" fmla="*/ 790963 h 1590788"/>
                  <a:gd name="connsiteX1759" fmla="*/ 1259470 w 1935893"/>
                  <a:gd name="connsiteY1759" fmla="*/ 798372 h 1590788"/>
                  <a:gd name="connsiteX1760" fmla="*/ 1251319 w 1935893"/>
                  <a:gd name="connsiteY1760" fmla="*/ 785719 h 1590788"/>
                  <a:gd name="connsiteX1761" fmla="*/ 1241003 w 1935893"/>
                  <a:gd name="connsiteY1761" fmla="*/ 772268 h 1590788"/>
                  <a:gd name="connsiteX1762" fmla="*/ 1230402 w 1935893"/>
                  <a:gd name="connsiteY1762" fmla="*/ 781045 h 1590788"/>
                  <a:gd name="connsiteX1763" fmla="*/ 1243283 w 1935893"/>
                  <a:gd name="connsiteY1763" fmla="*/ 802076 h 1590788"/>
                  <a:gd name="connsiteX1764" fmla="*/ 1220485 w 1935893"/>
                  <a:gd name="connsiteY1764" fmla="*/ 793185 h 1590788"/>
                  <a:gd name="connsiteX1765" fmla="*/ 1201506 w 1935893"/>
                  <a:gd name="connsiteY1765" fmla="*/ 785662 h 1590788"/>
                  <a:gd name="connsiteX1766" fmla="*/ 1189822 w 1935893"/>
                  <a:gd name="connsiteY1766" fmla="*/ 799227 h 1590788"/>
                  <a:gd name="connsiteX1767" fmla="*/ 1208972 w 1935893"/>
                  <a:gd name="connsiteY1767" fmla="*/ 806294 h 1590788"/>
                  <a:gd name="connsiteX1768" fmla="*/ 1197801 w 1935893"/>
                  <a:gd name="connsiteY1768" fmla="*/ 819460 h 1590788"/>
                  <a:gd name="connsiteX1769" fmla="*/ 1168449 w 1935893"/>
                  <a:gd name="connsiteY1769" fmla="*/ 837356 h 1590788"/>
                  <a:gd name="connsiteX1770" fmla="*/ 1122055 w 1935893"/>
                  <a:gd name="connsiteY1770" fmla="*/ 815470 h 1590788"/>
                  <a:gd name="connsiteX1771" fmla="*/ 1124392 w 1935893"/>
                  <a:gd name="connsiteY1771" fmla="*/ 828579 h 1590788"/>
                  <a:gd name="connsiteX1772" fmla="*/ 1137330 w 1935893"/>
                  <a:gd name="connsiteY1772" fmla="*/ 834848 h 1590788"/>
                  <a:gd name="connsiteX1773" fmla="*/ 1180817 w 1935893"/>
                  <a:gd name="connsiteY1773" fmla="*/ 848014 h 1590788"/>
                  <a:gd name="connsiteX1774" fmla="*/ 1170672 w 1935893"/>
                  <a:gd name="connsiteY1774" fmla="*/ 863061 h 1590788"/>
                  <a:gd name="connsiteX1775" fmla="*/ 1143485 w 1935893"/>
                  <a:gd name="connsiteY1775" fmla="*/ 883864 h 1590788"/>
                  <a:gd name="connsiteX1776" fmla="*/ 1136190 w 1935893"/>
                  <a:gd name="connsiteY1776" fmla="*/ 882781 h 1590788"/>
                  <a:gd name="connsiteX1777" fmla="*/ 1119092 w 1935893"/>
                  <a:gd name="connsiteY1777" fmla="*/ 879076 h 1590788"/>
                  <a:gd name="connsiteX1778" fmla="*/ 1112822 w 1935893"/>
                  <a:gd name="connsiteY1778" fmla="*/ 899879 h 1590788"/>
                  <a:gd name="connsiteX1779" fmla="*/ 1087118 w 1935893"/>
                  <a:gd name="connsiteY1779" fmla="*/ 896118 h 1590788"/>
                  <a:gd name="connsiteX1780" fmla="*/ 1075320 w 1935893"/>
                  <a:gd name="connsiteY1780" fmla="*/ 891387 h 1590788"/>
                  <a:gd name="connsiteX1781" fmla="*/ 1055372 w 1935893"/>
                  <a:gd name="connsiteY1781" fmla="*/ 886030 h 1590788"/>
                  <a:gd name="connsiteX1782" fmla="*/ 1037589 w 1935893"/>
                  <a:gd name="connsiteY1782" fmla="*/ 894579 h 1590788"/>
                  <a:gd name="connsiteX1783" fmla="*/ 1072641 w 1935893"/>
                  <a:gd name="connsiteY1783" fmla="*/ 904895 h 1590788"/>
                  <a:gd name="connsiteX1784" fmla="*/ 1103190 w 1935893"/>
                  <a:gd name="connsiteY1784" fmla="*/ 914299 h 1590788"/>
                  <a:gd name="connsiteX1785" fmla="*/ 1084496 w 1935893"/>
                  <a:gd name="connsiteY1785" fmla="*/ 929802 h 1590788"/>
                  <a:gd name="connsiteX1786" fmla="*/ 1064206 w 1935893"/>
                  <a:gd name="connsiteY1786" fmla="*/ 944107 h 1590788"/>
                  <a:gd name="connsiteX1787" fmla="*/ 1032859 w 1935893"/>
                  <a:gd name="connsiteY1787" fmla="*/ 974201 h 1590788"/>
                  <a:gd name="connsiteX1788" fmla="*/ 1011771 w 1935893"/>
                  <a:gd name="connsiteY1788" fmla="*/ 1031537 h 1590788"/>
                  <a:gd name="connsiteX1789" fmla="*/ 1014107 w 1935893"/>
                  <a:gd name="connsiteY1789" fmla="*/ 1068584 h 1590788"/>
                  <a:gd name="connsiteX1790" fmla="*/ 1044998 w 1935893"/>
                  <a:gd name="connsiteY1790" fmla="*/ 1082491 h 1590788"/>
                  <a:gd name="connsiteX1791" fmla="*/ 1059190 w 1935893"/>
                  <a:gd name="connsiteY1791" fmla="*/ 1150428 h 1590788"/>
                  <a:gd name="connsiteX1792" fmla="*/ 1133796 w 1935893"/>
                  <a:gd name="connsiteY1792" fmla="*/ 1149687 h 1590788"/>
                  <a:gd name="connsiteX1793" fmla="*/ 1152092 w 1935893"/>
                  <a:gd name="connsiteY1793" fmla="*/ 1165418 h 1590788"/>
                  <a:gd name="connsiteX1794" fmla="*/ 1167423 w 1935893"/>
                  <a:gd name="connsiteY1794" fmla="*/ 1174480 h 1590788"/>
                  <a:gd name="connsiteX1795" fmla="*/ 1283920 w 1935893"/>
                  <a:gd name="connsiteY1795" fmla="*/ 1203889 h 1590788"/>
                  <a:gd name="connsiteX1796" fmla="*/ 1285801 w 1935893"/>
                  <a:gd name="connsiteY1796" fmla="*/ 1270003 h 1590788"/>
                  <a:gd name="connsiteX1797" fmla="*/ 1293040 w 1935893"/>
                  <a:gd name="connsiteY1797" fmla="*/ 1292801 h 1590788"/>
                  <a:gd name="connsiteX1798" fmla="*/ 1304439 w 1935893"/>
                  <a:gd name="connsiteY1798" fmla="*/ 1298843 h 1590788"/>
                  <a:gd name="connsiteX1799" fmla="*/ 1324273 w 1935893"/>
                  <a:gd name="connsiteY1799" fmla="*/ 1320786 h 1590788"/>
                  <a:gd name="connsiteX1800" fmla="*/ 1348781 w 1935893"/>
                  <a:gd name="connsiteY1800" fmla="*/ 1335547 h 1590788"/>
                  <a:gd name="connsiteX1801" fmla="*/ 1365218 w 1935893"/>
                  <a:gd name="connsiteY1801" fmla="*/ 1323476 h 1590788"/>
                  <a:gd name="connsiteX1802" fmla="*/ 1367874 w 1935893"/>
                  <a:gd name="connsiteY1802" fmla="*/ 1324148 h 1590788"/>
                  <a:gd name="connsiteX1803" fmla="*/ 1365708 w 1935893"/>
                  <a:gd name="connsiteY1803" fmla="*/ 1304200 h 1590788"/>
                  <a:gd name="connsiteX1804" fmla="*/ 1373231 w 1935893"/>
                  <a:gd name="connsiteY1804" fmla="*/ 1293770 h 1590788"/>
                  <a:gd name="connsiteX1805" fmla="*/ 1364226 w 1935893"/>
                  <a:gd name="connsiteY1805" fmla="*/ 1279464 h 1590788"/>
                  <a:gd name="connsiteX1806" fmla="*/ 1364226 w 1935893"/>
                  <a:gd name="connsiteY1806" fmla="*/ 1267439 h 1590788"/>
                  <a:gd name="connsiteX1807" fmla="*/ 1346330 w 1935893"/>
                  <a:gd name="connsiteY1807" fmla="*/ 1221843 h 1590788"/>
                  <a:gd name="connsiteX1808" fmla="*/ 1406801 w 1935893"/>
                  <a:gd name="connsiteY1808" fmla="*/ 1178185 h 1590788"/>
                  <a:gd name="connsiteX1809" fmla="*/ 1417744 w 1935893"/>
                  <a:gd name="connsiteY1809" fmla="*/ 1167413 h 1590788"/>
                  <a:gd name="connsiteX1810" fmla="*/ 1420195 w 1935893"/>
                  <a:gd name="connsiteY1810" fmla="*/ 1155159 h 1590788"/>
                  <a:gd name="connsiteX1811" fmla="*/ 1410050 w 1935893"/>
                  <a:gd name="connsiteY1811" fmla="*/ 1116744 h 1590788"/>
                  <a:gd name="connsiteX1812" fmla="*/ 1403153 w 1935893"/>
                  <a:gd name="connsiteY1812" fmla="*/ 1102838 h 1590788"/>
                  <a:gd name="connsiteX1813" fmla="*/ 1400418 w 1935893"/>
                  <a:gd name="connsiteY1813" fmla="*/ 1077475 h 1590788"/>
                  <a:gd name="connsiteX1814" fmla="*/ 1387594 w 1935893"/>
                  <a:gd name="connsiteY1814" fmla="*/ 1067216 h 1590788"/>
                  <a:gd name="connsiteX1815" fmla="*/ 1384288 w 1935893"/>
                  <a:gd name="connsiteY1815" fmla="*/ 1052910 h 1590788"/>
                  <a:gd name="connsiteX1816" fmla="*/ 1394718 w 1935893"/>
                  <a:gd name="connsiteY1816" fmla="*/ 1048693 h 1590788"/>
                  <a:gd name="connsiteX1817" fmla="*/ 1392951 w 1935893"/>
                  <a:gd name="connsiteY1817" fmla="*/ 1022703 h 1590788"/>
                  <a:gd name="connsiteX1818" fmla="*/ 1380184 w 1935893"/>
                  <a:gd name="connsiteY1818" fmla="*/ 996998 h 1590788"/>
                  <a:gd name="connsiteX1819" fmla="*/ 1393920 w 1935893"/>
                  <a:gd name="connsiteY1819" fmla="*/ 995118 h 1590788"/>
                  <a:gd name="connsiteX1820" fmla="*/ 1399221 w 1935893"/>
                  <a:gd name="connsiteY1820" fmla="*/ 983719 h 1590788"/>
                  <a:gd name="connsiteX1821" fmla="*/ 1383718 w 1935893"/>
                  <a:gd name="connsiteY1821" fmla="*/ 974087 h 1590788"/>
                  <a:gd name="connsiteX1822" fmla="*/ 1386568 w 1935893"/>
                  <a:gd name="connsiteY1822" fmla="*/ 946900 h 1590788"/>
                  <a:gd name="connsiteX1823" fmla="*/ 1454563 w 1935893"/>
                  <a:gd name="connsiteY1823" fmla="*/ 957045 h 1590788"/>
                  <a:gd name="connsiteX1824" fmla="*/ 1470236 w 1935893"/>
                  <a:gd name="connsiteY1824" fmla="*/ 962745 h 1590788"/>
                  <a:gd name="connsiteX1825" fmla="*/ 1499133 w 1935893"/>
                  <a:gd name="connsiteY1825" fmla="*/ 991242 h 1590788"/>
                  <a:gd name="connsiteX1826" fmla="*/ 1564335 w 1935893"/>
                  <a:gd name="connsiteY1826" fmla="*/ 1003952 h 1590788"/>
                  <a:gd name="connsiteX1827" fmla="*/ 1555614 w 1935893"/>
                  <a:gd name="connsiteY1827" fmla="*/ 1024983 h 1590788"/>
                  <a:gd name="connsiteX1828" fmla="*/ 1561314 w 1935893"/>
                  <a:gd name="connsiteY1828" fmla="*/ 1052739 h 1590788"/>
                  <a:gd name="connsiteX1829" fmla="*/ 1584739 w 1935893"/>
                  <a:gd name="connsiteY1829" fmla="*/ 1077988 h 1590788"/>
                  <a:gd name="connsiteX1830" fmla="*/ 1596651 w 1935893"/>
                  <a:gd name="connsiteY1830" fmla="*/ 1083402 h 1590788"/>
                  <a:gd name="connsiteX1831" fmla="*/ 1603604 w 1935893"/>
                  <a:gd name="connsiteY1831" fmla="*/ 1098278 h 1590788"/>
                  <a:gd name="connsiteX1832" fmla="*/ 1616713 w 1935893"/>
                  <a:gd name="connsiteY1832" fmla="*/ 1101641 h 1590788"/>
                  <a:gd name="connsiteX1833" fmla="*/ 1633811 w 1935893"/>
                  <a:gd name="connsiteY1833" fmla="*/ 1084200 h 1590788"/>
                  <a:gd name="connsiteX1834" fmla="*/ 1643614 w 1935893"/>
                  <a:gd name="connsiteY1834" fmla="*/ 1081066 h 1590788"/>
                  <a:gd name="connsiteX1835" fmla="*/ 1652334 w 1935893"/>
                  <a:gd name="connsiteY1835" fmla="*/ 1079869 h 1590788"/>
                  <a:gd name="connsiteX1836" fmla="*/ 1667666 w 1935893"/>
                  <a:gd name="connsiteY1836" fmla="*/ 1030283 h 1590788"/>
                  <a:gd name="connsiteX1837" fmla="*/ 1671200 w 1935893"/>
                  <a:gd name="connsiteY1837" fmla="*/ 1024584 h 1590788"/>
                  <a:gd name="connsiteX1838" fmla="*/ 1680946 w 1935893"/>
                  <a:gd name="connsiteY1838" fmla="*/ 1030910 h 1590788"/>
                  <a:gd name="connsiteX1839" fmla="*/ 1678438 w 1935893"/>
                  <a:gd name="connsiteY1839" fmla="*/ 1044361 h 1590788"/>
                  <a:gd name="connsiteX1840" fmla="*/ 1681345 w 1935893"/>
                  <a:gd name="connsiteY1840" fmla="*/ 1057014 h 1590788"/>
                  <a:gd name="connsiteX1841" fmla="*/ 1687044 w 1935893"/>
                  <a:gd name="connsiteY1841" fmla="*/ 1059693 h 1590788"/>
                  <a:gd name="connsiteX1842" fmla="*/ 1691889 w 1935893"/>
                  <a:gd name="connsiteY1842" fmla="*/ 1076221 h 1590788"/>
                  <a:gd name="connsiteX1843" fmla="*/ 1742215 w 1935893"/>
                  <a:gd name="connsiteY1843" fmla="*/ 1135496 h 1590788"/>
                  <a:gd name="connsiteX1844" fmla="*/ 1742785 w 1935893"/>
                  <a:gd name="connsiteY1844" fmla="*/ 1145869 h 1590788"/>
                  <a:gd name="connsiteX1845" fmla="*/ 1715485 w 1935893"/>
                  <a:gd name="connsiteY1845" fmla="*/ 1150200 h 1590788"/>
                  <a:gd name="connsiteX1846" fmla="*/ 1728137 w 1935893"/>
                  <a:gd name="connsiteY1846" fmla="*/ 1159394 h 1590788"/>
                  <a:gd name="connsiteX1847" fmla="*/ 1730018 w 1935893"/>
                  <a:gd name="connsiteY1847" fmla="*/ 1158920 h 1590788"/>
                  <a:gd name="connsiteX1848" fmla="*/ 1730816 w 1935893"/>
                  <a:gd name="connsiteY1848" fmla="*/ 1167128 h 1590788"/>
                  <a:gd name="connsiteX1849" fmla="*/ 1738682 w 1935893"/>
                  <a:gd name="connsiteY1849" fmla="*/ 1167128 h 1590788"/>
                  <a:gd name="connsiteX1850" fmla="*/ 1742785 w 1935893"/>
                  <a:gd name="connsiteY1850" fmla="*/ 1185651 h 1590788"/>
                  <a:gd name="connsiteX1851" fmla="*/ 1756521 w 1935893"/>
                  <a:gd name="connsiteY1851" fmla="*/ 1198646 h 1590788"/>
                  <a:gd name="connsiteX1852" fmla="*/ 1824914 w 1935893"/>
                  <a:gd name="connsiteY1852" fmla="*/ 1213521 h 1590788"/>
                  <a:gd name="connsiteX1853" fmla="*/ 1826852 w 1935893"/>
                  <a:gd name="connsiteY1853" fmla="*/ 1221501 h 1590788"/>
                  <a:gd name="connsiteX1854" fmla="*/ 1821438 w 1935893"/>
                  <a:gd name="connsiteY1854" fmla="*/ 1227998 h 1590788"/>
                  <a:gd name="connsiteX1855" fmla="*/ 1791687 w 1935893"/>
                  <a:gd name="connsiteY1855" fmla="*/ 1238371 h 1590788"/>
                  <a:gd name="connsiteX1856" fmla="*/ 1777495 w 1935893"/>
                  <a:gd name="connsiteY1856" fmla="*/ 1262708 h 1590788"/>
                  <a:gd name="connsiteX1857" fmla="*/ 1803769 w 1935893"/>
                  <a:gd name="connsiteY1857" fmla="*/ 1251309 h 1590788"/>
                  <a:gd name="connsiteX1858" fmla="*/ 1836769 w 1935893"/>
                  <a:gd name="connsiteY1858" fmla="*/ 1238143 h 1590788"/>
                  <a:gd name="connsiteX1859" fmla="*/ 1835231 w 1935893"/>
                  <a:gd name="connsiteY1859" fmla="*/ 1259003 h 1590788"/>
                  <a:gd name="connsiteX1860" fmla="*/ 1853355 w 1935893"/>
                  <a:gd name="connsiteY1860" fmla="*/ 1253931 h 1590788"/>
                  <a:gd name="connsiteX1861" fmla="*/ 1853982 w 1935893"/>
                  <a:gd name="connsiteY1861" fmla="*/ 1263962 h 1590788"/>
                  <a:gd name="connsiteX1862" fmla="*/ 1870590 w 1935893"/>
                  <a:gd name="connsiteY1862" fmla="*/ 1281533 h 1590788"/>
                  <a:gd name="connsiteX1863" fmla="*/ 1870567 w 1935893"/>
                  <a:gd name="connsiteY1863" fmla="*/ 1282086 h 1590788"/>
                  <a:gd name="connsiteX1864" fmla="*/ 1857686 w 1935893"/>
                  <a:gd name="connsiteY1864" fmla="*/ 1282599 h 1590788"/>
                  <a:gd name="connsiteX1865" fmla="*/ 1869199 w 1935893"/>
                  <a:gd name="connsiteY1865" fmla="*/ 1294796 h 1590788"/>
                  <a:gd name="connsiteX1866" fmla="*/ 521673 w 1935893"/>
                  <a:gd name="connsiteY1866" fmla="*/ 794724 h 1590788"/>
                  <a:gd name="connsiteX1867" fmla="*/ 519792 w 1935893"/>
                  <a:gd name="connsiteY1867" fmla="*/ 791077 h 1590788"/>
                  <a:gd name="connsiteX1868" fmla="*/ 515916 w 1935893"/>
                  <a:gd name="connsiteY1868" fmla="*/ 790336 h 1590788"/>
                  <a:gd name="connsiteX1869" fmla="*/ 502409 w 1935893"/>
                  <a:gd name="connsiteY1869" fmla="*/ 790336 h 1590788"/>
                  <a:gd name="connsiteX1870" fmla="*/ 490440 w 1935893"/>
                  <a:gd name="connsiteY1870" fmla="*/ 804527 h 1590788"/>
                  <a:gd name="connsiteX1871" fmla="*/ 471005 w 1935893"/>
                  <a:gd name="connsiteY1871" fmla="*/ 805268 h 1590788"/>
                  <a:gd name="connsiteX1872" fmla="*/ 467585 w 1935893"/>
                  <a:gd name="connsiteY1872" fmla="*/ 803900 h 1590788"/>
                  <a:gd name="connsiteX1873" fmla="*/ 466274 w 1935893"/>
                  <a:gd name="connsiteY1873" fmla="*/ 800481 h 1590788"/>
                  <a:gd name="connsiteX1874" fmla="*/ 466274 w 1935893"/>
                  <a:gd name="connsiteY1874" fmla="*/ 792957 h 1590788"/>
                  <a:gd name="connsiteX1875" fmla="*/ 471517 w 1935893"/>
                  <a:gd name="connsiteY1875" fmla="*/ 788170 h 1590788"/>
                  <a:gd name="connsiteX1876" fmla="*/ 476818 w 1935893"/>
                  <a:gd name="connsiteY1876" fmla="*/ 787828 h 1590788"/>
                  <a:gd name="connsiteX1877" fmla="*/ 477844 w 1935893"/>
                  <a:gd name="connsiteY1877" fmla="*/ 785548 h 1590788"/>
                  <a:gd name="connsiteX1878" fmla="*/ 480523 w 1935893"/>
                  <a:gd name="connsiteY1878" fmla="*/ 773351 h 1590788"/>
                  <a:gd name="connsiteX1879" fmla="*/ 453279 w 1935893"/>
                  <a:gd name="connsiteY1879" fmla="*/ 775289 h 1590788"/>
                  <a:gd name="connsiteX1880" fmla="*/ 436181 w 1935893"/>
                  <a:gd name="connsiteY1880" fmla="*/ 782071 h 1590788"/>
                  <a:gd name="connsiteX1881" fmla="*/ 432647 w 1935893"/>
                  <a:gd name="connsiteY1881" fmla="*/ 786574 h 1590788"/>
                  <a:gd name="connsiteX1882" fmla="*/ 419652 w 1935893"/>
                  <a:gd name="connsiteY1882" fmla="*/ 788398 h 1590788"/>
                  <a:gd name="connsiteX1883" fmla="*/ 412300 w 1935893"/>
                  <a:gd name="connsiteY1883" fmla="*/ 796662 h 1590788"/>
                  <a:gd name="connsiteX1884" fmla="*/ 399875 w 1935893"/>
                  <a:gd name="connsiteY1884" fmla="*/ 799683 h 1590788"/>
                  <a:gd name="connsiteX1885" fmla="*/ 361233 w 1935893"/>
                  <a:gd name="connsiteY1885" fmla="*/ 808175 h 1590788"/>
                  <a:gd name="connsiteX1886" fmla="*/ 362754 w 1935893"/>
                  <a:gd name="connsiteY1886" fmla="*/ 813772 h 1590788"/>
                  <a:gd name="connsiteX1887" fmla="*/ 362943 w 1935893"/>
                  <a:gd name="connsiteY1887" fmla="*/ 813874 h 1590788"/>
                  <a:gd name="connsiteX1888" fmla="*/ 369440 w 1935893"/>
                  <a:gd name="connsiteY1888" fmla="*/ 814843 h 1590788"/>
                  <a:gd name="connsiteX1889" fmla="*/ 394347 w 1935893"/>
                  <a:gd name="connsiteY1889" fmla="*/ 813874 h 1590788"/>
                  <a:gd name="connsiteX1890" fmla="*/ 396455 w 1935893"/>
                  <a:gd name="connsiteY1890" fmla="*/ 813247 h 1590788"/>
                  <a:gd name="connsiteX1891" fmla="*/ 397082 w 1935893"/>
                  <a:gd name="connsiteY1891" fmla="*/ 809144 h 1590788"/>
                  <a:gd name="connsiteX1892" fmla="*/ 401756 w 1935893"/>
                  <a:gd name="connsiteY1892" fmla="*/ 805040 h 1590788"/>
                  <a:gd name="connsiteX1893" fmla="*/ 430253 w 1935893"/>
                  <a:gd name="connsiteY1893" fmla="*/ 806465 h 1590788"/>
                  <a:gd name="connsiteX1894" fmla="*/ 434585 w 1935893"/>
                  <a:gd name="connsiteY1894" fmla="*/ 810797 h 1590788"/>
                  <a:gd name="connsiteX1895" fmla="*/ 431678 w 1935893"/>
                  <a:gd name="connsiteY1895" fmla="*/ 815698 h 1590788"/>
                  <a:gd name="connsiteX1896" fmla="*/ 418683 w 1935893"/>
                  <a:gd name="connsiteY1896" fmla="*/ 816382 h 1590788"/>
                  <a:gd name="connsiteX1897" fmla="*/ 413497 w 1935893"/>
                  <a:gd name="connsiteY1897" fmla="*/ 815527 h 1590788"/>
                  <a:gd name="connsiteX1898" fmla="*/ 407797 w 1935893"/>
                  <a:gd name="connsiteY1898" fmla="*/ 822310 h 1590788"/>
                  <a:gd name="connsiteX1899" fmla="*/ 406144 w 1935893"/>
                  <a:gd name="connsiteY1899" fmla="*/ 831543 h 1590788"/>
                  <a:gd name="connsiteX1900" fmla="*/ 392067 w 1935893"/>
                  <a:gd name="connsiteY1900" fmla="*/ 837869 h 1590788"/>
                  <a:gd name="connsiteX1901" fmla="*/ 392409 w 1935893"/>
                  <a:gd name="connsiteY1901" fmla="*/ 849952 h 1590788"/>
                  <a:gd name="connsiteX1902" fmla="*/ 395715 w 1935893"/>
                  <a:gd name="connsiteY1902" fmla="*/ 853486 h 1590788"/>
                  <a:gd name="connsiteX1903" fmla="*/ 395771 w 1935893"/>
                  <a:gd name="connsiteY1903" fmla="*/ 853486 h 1590788"/>
                  <a:gd name="connsiteX1904" fmla="*/ 418569 w 1935893"/>
                  <a:gd name="connsiteY1904" fmla="*/ 849610 h 1590788"/>
                  <a:gd name="connsiteX1905" fmla="*/ 437606 w 1935893"/>
                  <a:gd name="connsiteY1905" fmla="*/ 836102 h 1590788"/>
                  <a:gd name="connsiteX1906" fmla="*/ 443818 w 1935893"/>
                  <a:gd name="connsiteY1906" fmla="*/ 832170 h 1590788"/>
                  <a:gd name="connsiteX1907" fmla="*/ 450258 w 1935893"/>
                  <a:gd name="connsiteY1907" fmla="*/ 834506 h 1590788"/>
                  <a:gd name="connsiteX1908" fmla="*/ 450657 w 1935893"/>
                  <a:gd name="connsiteY1908" fmla="*/ 837869 h 1590788"/>
                  <a:gd name="connsiteX1909" fmla="*/ 445471 w 1935893"/>
                  <a:gd name="connsiteY1909" fmla="*/ 848014 h 1590788"/>
                  <a:gd name="connsiteX1910" fmla="*/ 436922 w 1935893"/>
                  <a:gd name="connsiteY1910" fmla="*/ 854113 h 1590788"/>
                  <a:gd name="connsiteX1911" fmla="*/ 434870 w 1935893"/>
                  <a:gd name="connsiteY1911" fmla="*/ 863517 h 1590788"/>
                  <a:gd name="connsiteX1912" fmla="*/ 458352 w 1935893"/>
                  <a:gd name="connsiteY1912" fmla="*/ 847216 h 1590788"/>
                  <a:gd name="connsiteX1913" fmla="*/ 467300 w 1935893"/>
                  <a:gd name="connsiteY1913" fmla="*/ 845734 h 1590788"/>
                  <a:gd name="connsiteX1914" fmla="*/ 476932 w 1935893"/>
                  <a:gd name="connsiteY1914" fmla="*/ 834336 h 1590788"/>
                  <a:gd name="connsiteX1915" fmla="*/ 477673 w 1935893"/>
                  <a:gd name="connsiteY1915" fmla="*/ 828351 h 1590788"/>
                  <a:gd name="connsiteX1916" fmla="*/ 490212 w 1935893"/>
                  <a:gd name="connsiteY1916" fmla="*/ 823051 h 1590788"/>
                  <a:gd name="connsiteX1917" fmla="*/ 504574 w 1935893"/>
                  <a:gd name="connsiteY1917" fmla="*/ 821683 h 1590788"/>
                  <a:gd name="connsiteX1918" fmla="*/ 512839 w 1935893"/>
                  <a:gd name="connsiteY1918" fmla="*/ 810968 h 1590788"/>
                  <a:gd name="connsiteX1919" fmla="*/ 512839 w 1935893"/>
                  <a:gd name="connsiteY1919" fmla="*/ 806009 h 1590788"/>
                  <a:gd name="connsiteX1920" fmla="*/ 517227 w 1935893"/>
                  <a:gd name="connsiteY1920" fmla="*/ 802874 h 1590788"/>
                  <a:gd name="connsiteX1921" fmla="*/ 521673 w 1935893"/>
                  <a:gd name="connsiteY1921" fmla="*/ 794724 h 1590788"/>
                  <a:gd name="connsiteX1922" fmla="*/ 687755 w 1935893"/>
                  <a:gd name="connsiteY1922" fmla="*/ 934988 h 1590788"/>
                  <a:gd name="connsiteX1923" fmla="*/ 683196 w 1935893"/>
                  <a:gd name="connsiteY1923" fmla="*/ 932480 h 1590788"/>
                  <a:gd name="connsiteX1924" fmla="*/ 665300 w 1935893"/>
                  <a:gd name="connsiteY1924" fmla="*/ 938522 h 1590788"/>
                  <a:gd name="connsiteX1925" fmla="*/ 662963 w 1935893"/>
                  <a:gd name="connsiteY1925" fmla="*/ 940517 h 1590788"/>
                  <a:gd name="connsiteX1926" fmla="*/ 661823 w 1935893"/>
                  <a:gd name="connsiteY1926" fmla="*/ 942682 h 1590788"/>
                  <a:gd name="connsiteX1927" fmla="*/ 646092 w 1935893"/>
                  <a:gd name="connsiteY1927" fmla="*/ 947470 h 1590788"/>
                  <a:gd name="connsiteX1928" fmla="*/ 633781 w 1935893"/>
                  <a:gd name="connsiteY1928" fmla="*/ 960180 h 1590788"/>
                  <a:gd name="connsiteX1929" fmla="*/ 628082 w 1935893"/>
                  <a:gd name="connsiteY1929" fmla="*/ 961035 h 1590788"/>
                  <a:gd name="connsiteX1930" fmla="*/ 622896 w 1935893"/>
                  <a:gd name="connsiteY1930" fmla="*/ 964625 h 1590788"/>
                  <a:gd name="connsiteX1931" fmla="*/ 607564 w 1935893"/>
                  <a:gd name="connsiteY1931" fmla="*/ 964625 h 1590788"/>
                  <a:gd name="connsiteX1932" fmla="*/ 599870 w 1935893"/>
                  <a:gd name="connsiteY1932" fmla="*/ 951004 h 1590788"/>
                  <a:gd name="connsiteX1933" fmla="*/ 586533 w 1935893"/>
                  <a:gd name="connsiteY1933" fmla="*/ 941429 h 1590788"/>
                  <a:gd name="connsiteX1934" fmla="*/ 582885 w 1935893"/>
                  <a:gd name="connsiteY1934" fmla="*/ 936527 h 1590788"/>
                  <a:gd name="connsiteX1935" fmla="*/ 577186 w 1935893"/>
                  <a:gd name="connsiteY1935" fmla="*/ 936527 h 1590788"/>
                  <a:gd name="connsiteX1936" fmla="*/ 564761 w 1935893"/>
                  <a:gd name="connsiteY1936" fmla="*/ 938864 h 1590788"/>
                  <a:gd name="connsiteX1937" fmla="*/ 561911 w 1935893"/>
                  <a:gd name="connsiteY1937" fmla="*/ 939833 h 1590788"/>
                  <a:gd name="connsiteX1938" fmla="*/ 562481 w 1935893"/>
                  <a:gd name="connsiteY1938" fmla="*/ 948667 h 1590788"/>
                  <a:gd name="connsiteX1939" fmla="*/ 572398 w 1935893"/>
                  <a:gd name="connsiteY1939" fmla="*/ 951004 h 1590788"/>
                  <a:gd name="connsiteX1940" fmla="*/ 573310 w 1935893"/>
                  <a:gd name="connsiteY1940" fmla="*/ 960807 h 1590788"/>
                  <a:gd name="connsiteX1941" fmla="*/ 576559 w 1935893"/>
                  <a:gd name="connsiteY1941" fmla="*/ 970895 h 1590788"/>
                  <a:gd name="connsiteX1942" fmla="*/ 569377 w 1935893"/>
                  <a:gd name="connsiteY1942" fmla="*/ 976594 h 1590788"/>
                  <a:gd name="connsiteX1943" fmla="*/ 556041 w 1935893"/>
                  <a:gd name="connsiteY1943" fmla="*/ 979444 h 1590788"/>
                  <a:gd name="connsiteX1944" fmla="*/ 551880 w 1935893"/>
                  <a:gd name="connsiteY1944" fmla="*/ 994491 h 1590788"/>
                  <a:gd name="connsiteX1945" fmla="*/ 544129 w 1935893"/>
                  <a:gd name="connsiteY1945" fmla="*/ 995916 h 1590788"/>
                  <a:gd name="connsiteX1946" fmla="*/ 529082 w 1935893"/>
                  <a:gd name="connsiteY1946" fmla="*/ 995916 h 1590788"/>
                  <a:gd name="connsiteX1947" fmla="*/ 537118 w 1935893"/>
                  <a:gd name="connsiteY1947" fmla="*/ 1005035 h 1590788"/>
                  <a:gd name="connsiteX1948" fmla="*/ 549657 w 1935893"/>
                  <a:gd name="connsiteY1948" fmla="*/ 1006916 h 1590788"/>
                  <a:gd name="connsiteX1949" fmla="*/ 587217 w 1935893"/>
                  <a:gd name="connsiteY1949" fmla="*/ 1008112 h 1590788"/>
                  <a:gd name="connsiteX1950" fmla="*/ 601465 w 1935893"/>
                  <a:gd name="connsiteY1950" fmla="*/ 1003838 h 1590788"/>
                  <a:gd name="connsiteX1951" fmla="*/ 604999 w 1935893"/>
                  <a:gd name="connsiteY1951" fmla="*/ 995460 h 1590788"/>
                  <a:gd name="connsiteX1952" fmla="*/ 624491 w 1935893"/>
                  <a:gd name="connsiteY1952" fmla="*/ 990216 h 1590788"/>
                  <a:gd name="connsiteX1953" fmla="*/ 635149 w 1935893"/>
                  <a:gd name="connsiteY1953" fmla="*/ 978817 h 1590788"/>
                  <a:gd name="connsiteX1954" fmla="*/ 639025 w 1935893"/>
                  <a:gd name="connsiteY1954" fmla="*/ 977962 h 1590788"/>
                  <a:gd name="connsiteX1955" fmla="*/ 641362 w 1935893"/>
                  <a:gd name="connsiteY1955" fmla="*/ 972605 h 1590788"/>
                  <a:gd name="connsiteX1956" fmla="*/ 649113 w 1935893"/>
                  <a:gd name="connsiteY1956" fmla="*/ 966563 h 1590788"/>
                  <a:gd name="connsiteX1957" fmla="*/ 658004 w 1935893"/>
                  <a:gd name="connsiteY1957" fmla="*/ 964967 h 1590788"/>
                  <a:gd name="connsiteX1958" fmla="*/ 659714 w 1935893"/>
                  <a:gd name="connsiteY1958" fmla="*/ 961206 h 1590788"/>
                  <a:gd name="connsiteX1959" fmla="*/ 670657 w 1935893"/>
                  <a:gd name="connsiteY1959" fmla="*/ 957387 h 1590788"/>
                  <a:gd name="connsiteX1960" fmla="*/ 672310 w 1935893"/>
                  <a:gd name="connsiteY1960" fmla="*/ 951061 h 1590788"/>
                  <a:gd name="connsiteX1961" fmla="*/ 677439 w 1935893"/>
                  <a:gd name="connsiteY1961" fmla="*/ 949237 h 1590788"/>
                  <a:gd name="connsiteX1962" fmla="*/ 687015 w 1935893"/>
                  <a:gd name="connsiteY1962" fmla="*/ 944848 h 1590788"/>
                  <a:gd name="connsiteX1963" fmla="*/ 687755 w 1935893"/>
                  <a:gd name="connsiteY1963" fmla="*/ 934988 h 1590788"/>
                  <a:gd name="connsiteX1964" fmla="*/ 986180 w 1935893"/>
                  <a:gd name="connsiteY1964" fmla="*/ 1340563 h 1590788"/>
                  <a:gd name="connsiteX1965" fmla="*/ 978087 w 1935893"/>
                  <a:gd name="connsiteY1965" fmla="*/ 1323065 h 1590788"/>
                  <a:gd name="connsiteX1966" fmla="*/ 974553 w 1935893"/>
                  <a:gd name="connsiteY1966" fmla="*/ 1319817 h 1590788"/>
                  <a:gd name="connsiteX1967" fmla="*/ 975351 w 1935893"/>
                  <a:gd name="connsiteY1967" fmla="*/ 1301863 h 1590788"/>
                  <a:gd name="connsiteX1968" fmla="*/ 967372 w 1935893"/>
                  <a:gd name="connsiteY1968" fmla="*/ 1298672 h 1590788"/>
                  <a:gd name="connsiteX1969" fmla="*/ 964807 w 1935893"/>
                  <a:gd name="connsiteY1969" fmla="*/ 1289780 h 1590788"/>
                  <a:gd name="connsiteX1970" fmla="*/ 962470 w 1935893"/>
                  <a:gd name="connsiteY1970" fmla="*/ 1271143 h 1590788"/>
                  <a:gd name="connsiteX1971" fmla="*/ 960817 w 1935893"/>
                  <a:gd name="connsiteY1971" fmla="*/ 1265444 h 1590788"/>
                  <a:gd name="connsiteX1972" fmla="*/ 950501 w 1935893"/>
                  <a:gd name="connsiteY1972" fmla="*/ 1256723 h 1590788"/>
                  <a:gd name="connsiteX1973" fmla="*/ 950102 w 1935893"/>
                  <a:gd name="connsiteY1973" fmla="*/ 1250625 h 1590788"/>
                  <a:gd name="connsiteX1974" fmla="*/ 937962 w 1935893"/>
                  <a:gd name="connsiteY1974" fmla="*/ 1241335 h 1590788"/>
                  <a:gd name="connsiteX1975" fmla="*/ 924170 w 1935893"/>
                  <a:gd name="connsiteY1975" fmla="*/ 1249941 h 1590788"/>
                  <a:gd name="connsiteX1976" fmla="*/ 921263 w 1935893"/>
                  <a:gd name="connsiteY1976" fmla="*/ 1256040 h 1590788"/>
                  <a:gd name="connsiteX1977" fmla="*/ 926677 w 1935893"/>
                  <a:gd name="connsiteY1977" fmla="*/ 1279179 h 1590788"/>
                  <a:gd name="connsiteX1978" fmla="*/ 927076 w 1935893"/>
                  <a:gd name="connsiteY1978" fmla="*/ 1289039 h 1590788"/>
                  <a:gd name="connsiteX1979" fmla="*/ 929926 w 1935893"/>
                  <a:gd name="connsiteY1979" fmla="*/ 1292459 h 1590788"/>
                  <a:gd name="connsiteX1980" fmla="*/ 949646 w 1935893"/>
                  <a:gd name="connsiteY1980" fmla="*/ 1308703 h 1590788"/>
                  <a:gd name="connsiteX1981" fmla="*/ 954605 w 1935893"/>
                  <a:gd name="connsiteY1981" fmla="*/ 1312806 h 1590788"/>
                  <a:gd name="connsiteX1982" fmla="*/ 962926 w 1935893"/>
                  <a:gd name="connsiteY1982" fmla="*/ 1344438 h 1590788"/>
                  <a:gd name="connsiteX1983" fmla="*/ 968227 w 1935893"/>
                  <a:gd name="connsiteY1983" fmla="*/ 1352703 h 1590788"/>
                  <a:gd name="connsiteX1984" fmla="*/ 970449 w 1935893"/>
                  <a:gd name="connsiteY1984" fmla="*/ 1358402 h 1590788"/>
                  <a:gd name="connsiteX1985" fmla="*/ 975693 w 1935893"/>
                  <a:gd name="connsiteY1985" fmla="*/ 1359656 h 1590788"/>
                  <a:gd name="connsiteX1986" fmla="*/ 977289 w 1935893"/>
                  <a:gd name="connsiteY1986" fmla="*/ 1349910 h 1590788"/>
                  <a:gd name="connsiteX1987" fmla="*/ 983900 w 1935893"/>
                  <a:gd name="connsiteY1987" fmla="*/ 1348941 h 1590788"/>
                  <a:gd name="connsiteX1988" fmla="*/ 986180 w 1935893"/>
                  <a:gd name="connsiteY1988" fmla="*/ 1340563 h 159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Lst>
                <a:rect l="l" t="t" r="r" b="b"/>
                <a:pathLst>
                  <a:path w="1935893" h="1590788">
                    <a:moveTo>
                      <a:pt x="1686075" y="1376184"/>
                    </a:moveTo>
                    <a:cubicBezTo>
                      <a:pt x="1686850" y="1374879"/>
                      <a:pt x="1688207" y="1374024"/>
                      <a:pt x="1689723" y="1373905"/>
                    </a:cubicBezTo>
                    <a:cubicBezTo>
                      <a:pt x="1695195" y="1373414"/>
                      <a:pt x="1700700" y="1374378"/>
                      <a:pt x="1705682" y="1376697"/>
                    </a:cubicBezTo>
                    <a:lnTo>
                      <a:pt x="1721982" y="1382397"/>
                    </a:lnTo>
                    <a:cubicBezTo>
                      <a:pt x="1723407" y="1382779"/>
                      <a:pt x="1724718" y="1383503"/>
                      <a:pt x="1725801" y="1384506"/>
                    </a:cubicBezTo>
                    <a:cubicBezTo>
                      <a:pt x="1727226" y="1386552"/>
                      <a:pt x="1727607" y="1389151"/>
                      <a:pt x="1726827" y="1391516"/>
                    </a:cubicBezTo>
                    <a:cubicBezTo>
                      <a:pt x="1719127" y="1394719"/>
                      <a:pt x="1710401" y="1394343"/>
                      <a:pt x="1703003" y="1390490"/>
                    </a:cubicBezTo>
                    <a:cubicBezTo>
                      <a:pt x="1698700" y="1388558"/>
                      <a:pt x="1695582" y="1384677"/>
                      <a:pt x="1694625" y="1380060"/>
                    </a:cubicBezTo>
                    <a:cubicBezTo>
                      <a:pt x="1692806" y="1380738"/>
                      <a:pt x="1690834" y="1380915"/>
                      <a:pt x="1688925" y="1380573"/>
                    </a:cubicBezTo>
                    <a:cubicBezTo>
                      <a:pt x="1686930" y="1380146"/>
                      <a:pt x="1685654" y="1378185"/>
                      <a:pt x="1686075" y="1376184"/>
                    </a:cubicBezTo>
                    <a:close/>
                    <a:moveTo>
                      <a:pt x="1805422" y="1404169"/>
                    </a:moveTo>
                    <a:cubicBezTo>
                      <a:pt x="1804624" y="1408785"/>
                      <a:pt x="1806220" y="1413516"/>
                      <a:pt x="1805821" y="1418190"/>
                    </a:cubicBezTo>
                    <a:cubicBezTo>
                      <a:pt x="1805422" y="1422863"/>
                      <a:pt x="1801262" y="1427879"/>
                      <a:pt x="1796873" y="1426283"/>
                    </a:cubicBezTo>
                    <a:cubicBezTo>
                      <a:pt x="1797500" y="1432205"/>
                      <a:pt x="1796286" y="1438178"/>
                      <a:pt x="1793396" y="1443381"/>
                    </a:cubicBezTo>
                    <a:cubicBezTo>
                      <a:pt x="1799096" y="1445376"/>
                      <a:pt x="1803655" y="1438366"/>
                      <a:pt x="1809298" y="1436314"/>
                    </a:cubicBezTo>
                    <a:cubicBezTo>
                      <a:pt x="1815966" y="1433863"/>
                      <a:pt x="1824516" y="1438423"/>
                      <a:pt x="1830044" y="1433920"/>
                    </a:cubicBezTo>
                    <a:cubicBezTo>
                      <a:pt x="1831457" y="1432478"/>
                      <a:pt x="1832734" y="1430916"/>
                      <a:pt x="1833863" y="1429246"/>
                    </a:cubicBezTo>
                    <a:cubicBezTo>
                      <a:pt x="1840474" y="1421324"/>
                      <a:pt x="1852671" y="1422350"/>
                      <a:pt x="1862816" y="1424003"/>
                    </a:cubicBezTo>
                    <a:cubicBezTo>
                      <a:pt x="1864760" y="1424163"/>
                      <a:pt x="1866618" y="1424875"/>
                      <a:pt x="1868174" y="1426055"/>
                    </a:cubicBezTo>
                    <a:cubicBezTo>
                      <a:pt x="1869541" y="1427366"/>
                      <a:pt x="1870054" y="1429303"/>
                      <a:pt x="1871308" y="1430671"/>
                    </a:cubicBezTo>
                    <a:cubicBezTo>
                      <a:pt x="1875526" y="1435117"/>
                      <a:pt x="1886070" y="1431982"/>
                      <a:pt x="1886925" y="1438081"/>
                    </a:cubicBezTo>
                    <a:cubicBezTo>
                      <a:pt x="1886925" y="1440076"/>
                      <a:pt x="1885956" y="1442355"/>
                      <a:pt x="1886925" y="1444065"/>
                    </a:cubicBezTo>
                    <a:cubicBezTo>
                      <a:pt x="1887871" y="1445148"/>
                      <a:pt x="1889250" y="1445752"/>
                      <a:pt x="1890686" y="1445718"/>
                    </a:cubicBezTo>
                    <a:cubicBezTo>
                      <a:pt x="1897799" y="1446636"/>
                      <a:pt x="1904947" y="1447188"/>
                      <a:pt x="1912116" y="1447371"/>
                    </a:cubicBezTo>
                    <a:cubicBezTo>
                      <a:pt x="1912020" y="1452438"/>
                      <a:pt x="1913900" y="1457345"/>
                      <a:pt x="1917360" y="1461050"/>
                    </a:cubicBezTo>
                    <a:cubicBezTo>
                      <a:pt x="1920791" y="1464247"/>
                      <a:pt x="1926166" y="1464059"/>
                      <a:pt x="1929363" y="1460628"/>
                    </a:cubicBezTo>
                    <a:cubicBezTo>
                      <a:pt x="1929688" y="1460280"/>
                      <a:pt x="1929979" y="1459910"/>
                      <a:pt x="1930241" y="1459511"/>
                    </a:cubicBezTo>
                    <a:cubicBezTo>
                      <a:pt x="1930788" y="1457841"/>
                      <a:pt x="1931187" y="1456119"/>
                      <a:pt x="1931438" y="1454381"/>
                    </a:cubicBezTo>
                    <a:cubicBezTo>
                      <a:pt x="1932749" y="1449480"/>
                      <a:pt x="1937536" y="1444863"/>
                      <a:pt x="1935313" y="1440360"/>
                    </a:cubicBezTo>
                    <a:cubicBezTo>
                      <a:pt x="1932464" y="1434376"/>
                      <a:pt x="1922490" y="1438195"/>
                      <a:pt x="1917303" y="1434091"/>
                    </a:cubicBezTo>
                    <a:cubicBezTo>
                      <a:pt x="1915650" y="1431412"/>
                      <a:pt x="1918044" y="1428050"/>
                      <a:pt x="1920609" y="1426340"/>
                    </a:cubicBezTo>
                    <a:cubicBezTo>
                      <a:pt x="1923173" y="1424630"/>
                      <a:pt x="1926308" y="1423091"/>
                      <a:pt x="1927334" y="1420127"/>
                    </a:cubicBezTo>
                    <a:cubicBezTo>
                      <a:pt x="1927608" y="1416993"/>
                      <a:pt x="1925288" y="1414228"/>
                      <a:pt x="1922153" y="1413949"/>
                    </a:cubicBezTo>
                    <a:cubicBezTo>
                      <a:pt x="1920865" y="1413841"/>
                      <a:pt x="1919577" y="1414166"/>
                      <a:pt x="1918500" y="1414884"/>
                    </a:cubicBezTo>
                    <a:cubicBezTo>
                      <a:pt x="1917491" y="1416263"/>
                      <a:pt x="1916573" y="1417711"/>
                      <a:pt x="1915764" y="1419215"/>
                    </a:cubicBezTo>
                    <a:cubicBezTo>
                      <a:pt x="1914738" y="1420583"/>
                      <a:pt x="1912686" y="1421552"/>
                      <a:pt x="1911318" y="1420526"/>
                    </a:cubicBezTo>
                    <a:cubicBezTo>
                      <a:pt x="1912344" y="1415568"/>
                      <a:pt x="1905619" y="1410552"/>
                      <a:pt x="1908184" y="1406278"/>
                    </a:cubicBezTo>
                    <a:cubicBezTo>
                      <a:pt x="1909158" y="1405086"/>
                      <a:pt x="1910361" y="1404100"/>
                      <a:pt x="1911717" y="1403371"/>
                    </a:cubicBezTo>
                    <a:cubicBezTo>
                      <a:pt x="1915901" y="1400162"/>
                      <a:pt x="1917337" y="1394508"/>
                      <a:pt x="1915194" y="1389692"/>
                    </a:cubicBezTo>
                    <a:cubicBezTo>
                      <a:pt x="1912766" y="1388187"/>
                      <a:pt x="1909620" y="1388512"/>
                      <a:pt x="1907557" y="1390490"/>
                    </a:cubicBezTo>
                    <a:cubicBezTo>
                      <a:pt x="1905585" y="1392456"/>
                      <a:pt x="1903425" y="1394235"/>
                      <a:pt x="1901117" y="1395791"/>
                    </a:cubicBezTo>
                    <a:cubicBezTo>
                      <a:pt x="1896608" y="1397654"/>
                      <a:pt x="1891439" y="1395506"/>
                      <a:pt x="1889581" y="1390997"/>
                    </a:cubicBezTo>
                    <a:cubicBezTo>
                      <a:pt x="1889455" y="1390701"/>
                      <a:pt x="1889353" y="1390399"/>
                      <a:pt x="1889262" y="1390091"/>
                    </a:cubicBezTo>
                    <a:cubicBezTo>
                      <a:pt x="1886583" y="1392257"/>
                      <a:pt x="1882365" y="1390376"/>
                      <a:pt x="1880370" y="1387583"/>
                    </a:cubicBezTo>
                    <a:cubicBezTo>
                      <a:pt x="1878375" y="1384791"/>
                      <a:pt x="1877578" y="1381257"/>
                      <a:pt x="1875640" y="1378407"/>
                    </a:cubicBezTo>
                    <a:cubicBezTo>
                      <a:pt x="1873970" y="1375244"/>
                      <a:pt x="1870174" y="1373865"/>
                      <a:pt x="1866863" y="1375215"/>
                    </a:cubicBezTo>
                    <a:cubicBezTo>
                      <a:pt x="1866521" y="1372765"/>
                      <a:pt x="1866236" y="1370314"/>
                      <a:pt x="1865894" y="1367863"/>
                    </a:cubicBezTo>
                    <a:cubicBezTo>
                      <a:pt x="1862645" y="1366096"/>
                      <a:pt x="1859225" y="1369744"/>
                      <a:pt x="1857230" y="1372822"/>
                    </a:cubicBezTo>
                    <a:cubicBezTo>
                      <a:pt x="1855236" y="1375899"/>
                      <a:pt x="1851246" y="1379205"/>
                      <a:pt x="1848339" y="1376925"/>
                    </a:cubicBezTo>
                    <a:cubicBezTo>
                      <a:pt x="1845091" y="1370770"/>
                      <a:pt x="1854837" y="1365013"/>
                      <a:pt x="1854837" y="1358117"/>
                    </a:cubicBezTo>
                    <a:cubicBezTo>
                      <a:pt x="1854837" y="1356350"/>
                      <a:pt x="1854210" y="1354640"/>
                      <a:pt x="1854096" y="1352874"/>
                    </a:cubicBezTo>
                    <a:cubicBezTo>
                      <a:pt x="1854096" y="1347174"/>
                      <a:pt x="1859795" y="1343127"/>
                      <a:pt x="1864241" y="1339537"/>
                    </a:cubicBezTo>
                    <a:cubicBezTo>
                      <a:pt x="1868686" y="1335946"/>
                      <a:pt x="1873189" y="1329506"/>
                      <a:pt x="1869940" y="1324832"/>
                    </a:cubicBezTo>
                    <a:cubicBezTo>
                      <a:pt x="1865626" y="1323048"/>
                      <a:pt x="1860684" y="1323766"/>
                      <a:pt x="1857060" y="1326713"/>
                    </a:cubicBezTo>
                    <a:cubicBezTo>
                      <a:pt x="1853463" y="1329568"/>
                      <a:pt x="1850431" y="1333068"/>
                      <a:pt x="1848111" y="1337029"/>
                    </a:cubicBezTo>
                    <a:lnTo>
                      <a:pt x="1840588" y="1348428"/>
                    </a:lnTo>
                    <a:cubicBezTo>
                      <a:pt x="1836165" y="1354618"/>
                      <a:pt x="1832347" y="1361223"/>
                      <a:pt x="1829189" y="1368148"/>
                    </a:cubicBezTo>
                    <a:cubicBezTo>
                      <a:pt x="1825650" y="1376481"/>
                      <a:pt x="1824014" y="1385492"/>
                      <a:pt x="1824401" y="1394537"/>
                    </a:cubicBezTo>
                    <a:cubicBezTo>
                      <a:pt x="1817260" y="1391550"/>
                      <a:pt x="1809047" y="1394919"/>
                      <a:pt x="1806055" y="1402060"/>
                    </a:cubicBezTo>
                    <a:cubicBezTo>
                      <a:pt x="1805770" y="1402744"/>
                      <a:pt x="1805542" y="1403451"/>
                      <a:pt x="1805365" y="1404169"/>
                    </a:cubicBezTo>
                    <a:close/>
                    <a:moveTo>
                      <a:pt x="1759827" y="1475241"/>
                    </a:moveTo>
                    <a:cubicBezTo>
                      <a:pt x="1756806" y="1479801"/>
                      <a:pt x="1755324" y="1485272"/>
                      <a:pt x="1752246" y="1489775"/>
                    </a:cubicBezTo>
                    <a:cubicBezTo>
                      <a:pt x="1744951" y="1500433"/>
                      <a:pt x="1729961" y="1503340"/>
                      <a:pt x="1717479" y="1500148"/>
                    </a:cubicBezTo>
                    <a:cubicBezTo>
                      <a:pt x="1705254" y="1496016"/>
                      <a:pt x="1693975" y="1489490"/>
                      <a:pt x="1684308" y="1480941"/>
                    </a:cubicBezTo>
                    <a:cubicBezTo>
                      <a:pt x="1672910" y="1471992"/>
                      <a:pt x="1659915" y="1459625"/>
                      <a:pt x="1663163" y="1445376"/>
                    </a:cubicBezTo>
                    <a:lnTo>
                      <a:pt x="1648459" y="1441785"/>
                    </a:lnTo>
                    <a:cubicBezTo>
                      <a:pt x="1645723" y="1429361"/>
                      <a:pt x="1661454" y="1416879"/>
                      <a:pt x="1655754" y="1405537"/>
                    </a:cubicBezTo>
                    <a:cubicBezTo>
                      <a:pt x="1651936" y="1397899"/>
                      <a:pt x="1640879" y="1397386"/>
                      <a:pt x="1632956" y="1400977"/>
                    </a:cubicBezTo>
                    <a:cubicBezTo>
                      <a:pt x="1625034" y="1404568"/>
                      <a:pt x="1619107" y="1411008"/>
                      <a:pt x="1611355" y="1414485"/>
                    </a:cubicBezTo>
                    <a:cubicBezTo>
                      <a:pt x="1603604" y="1417962"/>
                      <a:pt x="1593516" y="1418304"/>
                      <a:pt x="1585651" y="1422635"/>
                    </a:cubicBezTo>
                    <a:cubicBezTo>
                      <a:pt x="1579535" y="1426380"/>
                      <a:pt x="1574423" y="1431566"/>
                      <a:pt x="1570775" y="1437739"/>
                    </a:cubicBezTo>
                    <a:cubicBezTo>
                      <a:pt x="1571761" y="1438257"/>
                      <a:pt x="1572696" y="1438867"/>
                      <a:pt x="1573568" y="1439562"/>
                    </a:cubicBezTo>
                    <a:cubicBezTo>
                      <a:pt x="1579267" y="1444236"/>
                      <a:pt x="1586050" y="1449993"/>
                      <a:pt x="1593345" y="1448283"/>
                    </a:cubicBezTo>
                    <a:cubicBezTo>
                      <a:pt x="1594719" y="1447775"/>
                      <a:pt x="1596160" y="1447485"/>
                      <a:pt x="1597620" y="1447428"/>
                    </a:cubicBezTo>
                    <a:cubicBezTo>
                      <a:pt x="1599073" y="1447679"/>
                      <a:pt x="1600447" y="1448283"/>
                      <a:pt x="1601609" y="1449195"/>
                    </a:cubicBezTo>
                    <a:cubicBezTo>
                      <a:pt x="1606055" y="1452215"/>
                      <a:pt x="1611013" y="1456205"/>
                      <a:pt x="1610614" y="1461563"/>
                    </a:cubicBezTo>
                    <a:cubicBezTo>
                      <a:pt x="1610215" y="1466920"/>
                      <a:pt x="1605770" y="1470112"/>
                      <a:pt x="1606283" y="1474785"/>
                    </a:cubicBezTo>
                    <a:cubicBezTo>
                      <a:pt x="1607035" y="1477675"/>
                      <a:pt x="1608574" y="1480297"/>
                      <a:pt x="1610728" y="1482366"/>
                    </a:cubicBezTo>
                    <a:cubicBezTo>
                      <a:pt x="1612905" y="1484492"/>
                      <a:pt x="1613755" y="1487638"/>
                      <a:pt x="1612951" y="1490573"/>
                    </a:cubicBezTo>
                    <a:cubicBezTo>
                      <a:pt x="1612279" y="1491547"/>
                      <a:pt x="1611726" y="1492602"/>
                      <a:pt x="1611298" y="1493707"/>
                    </a:cubicBezTo>
                    <a:cubicBezTo>
                      <a:pt x="1610785" y="1496557"/>
                      <a:pt x="1614490" y="1498153"/>
                      <a:pt x="1616086" y="1500547"/>
                    </a:cubicBezTo>
                    <a:cubicBezTo>
                      <a:pt x="1616753" y="1501772"/>
                      <a:pt x="1617191" y="1503100"/>
                      <a:pt x="1617397" y="1504480"/>
                    </a:cubicBezTo>
                    <a:cubicBezTo>
                      <a:pt x="1618508" y="1510732"/>
                      <a:pt x="1619135" y="1517058"/>
                      <a:pt x="1619277" y="1523402"/>
                    </a:cubicBezTo>
                    <a:cubicBezTo>
                      <a:pt x="1628511" y="1515195"/>
                      <a:pt x="1637288" y="1503910"/>
                      <a:pt x="1649143" y="1503682"/>
                    </a:cubicBezTo>
                    <a:cubicBezTo>
                      <a:pt x="1652773" y="1504326"/>
                      <a:pt x="1656512" y="1503989"/>
                      <a:pt x="1659972" y="1502713"/>
                    </a:cubicBezTo>
                    <a:cubicBezTo>
                      <a:pt x="1664702" y="1499806"/>
                      <a:pt x="1664531" y="1491941"/>
                      <a:pt x="1669547" y="1489604"/>
                    </a:cubicBezTo>
                    <a:cubicBezTo>
                      <a:pt x="1674562" y="1487267"/>
                      <a:pt x="1678723" y="1491257"/>
                      <a:pt x="1680946" y="1495303"/>
                    </a:cubicBezTo>
                    <a:cubicBezTo>
                      <a:pt x="1682787" y="1499669"/>
                      <a:pt x="1685460" y="1503636"/>
                      <a:pt x="1688811" y="1506987"/>
                    </a:cubicBezTo>
                    <a:cubicBezTo>
                      <a:pt x="1691165" y="1508201"/>
                      <a:pt x="1693428" y="1509569"/>
                      <a:pt x="1695594" y="1511091"/>
                    </a:cubicBezTo>
                    <a:cubicBezTo>
                      <a:pt x="1697531" y="1512858"/>
                      <a:pt x="1698158" y="1516790"/>
                      <a:pt x="1695594" y="1517873"/>
                    </a:cubicBezTo>
                    <a:cubicBezTo>
                      <a:pt x="1682143" y="1516448"/>
                      <a:pt x="1667609" y="1515251"/>
                      <a:pt x="1655982" y="1522205"/>
                    </a:cubicBezTo>
                    <a:cubicBezTo>
                      <a:pt x="1644355" y="1529158"/>
                      <a:pt x="1639169" y="1547739"/>
                      <a:pt x="1649770" y="1556402"/>
                    </a:cubicBezTo>
                    <a:cubicBezTo>
                      <a:pt x="1655771" y="1560921"/>
                      <a:pt x="1664098" y="1560733"/>
                      <a:pt x="1669889" y="1555946"/>
                    </a:cubicBezTo>
                    <a:cubicBezTo>
                      <a:pt x="1676500" y="1550246"/>
                      <a:pt x="1677754" y="1539645"/>
                      <a:pt x="1685163" y="1534972"/>
                    </a:cubicBezTo>
                    <a:cubicBezTo>
                      <a:pt x="1690293" y="1531666"/>
                      <a:pt x="1696904" y="1532293"/>
                      <a:pt x="1702832" y="1530697"/>
                    </a:cubicBezTo>
                    <a:cubicBezTo>
                      <a:pt x="1707414" y="1529187"/>
                      <a:pt x="1711757" y="1527021"/>
                      <a:pt x="1715713" y="1524257"/>
                    </a:cubicBezTo>
                    <a:lnTo>
                      <a:pt x="1753671" y="1500205"/>
                    </a:lnTo>
                    <a:cubicBezTo>
                      <a:pt x="1765070" y="1493138"/>
                      <a:pt x="1777666" y="1481682"/>
                      <a:pt x="1773049" y="1469314"/>
                    </a:cubicBezTo>
                    <a:cubicBezTo>
                      <a:pt x="1767772" y="1468185"/>
                      <a:pt x="1762368" y="1470579"/>
                      <a:pt x="1759656" y="1475241"/>
                    </a:cubicBezTo>
                    <a:close/>
                    <a:moveTo>
                      <a:pt x="341000" y="562984"/>
                    </a:moveTo>
                    <a:cubicBezTo>
                      <a:pt x="347782" y="563964"/>
                      <a:pt x="354610" y="564568"/>
                      <a:pt x="361461" y="564807"/>
                    </a:cubicBezTo>
                    <a:cubicBezTo>
                      <a:pt x="363632" y="564768"/>
                      <a:pt x="365798" y="565013"/>
                      <a:pt x="367901" y="565548"/>
                    </a:cubicBezTo>
                    <a:cubicBezTo>
                      <a:pt x="370489" y="566398"/>
                      <a:pt x="372860" y="567794"/>
                      <a:pt x="374854" y="569652"/>
                    </a:cubicBezTo>
                    <a:cubicBezTo>
                      <a:pt x="381603" y="575437"/>
                      <a:pt x="386253" y="583291"/>
                      <a:pt x="388077" y="591994"/>
                    </a:cubicBezTo>
                    <a:cubicBezTo>
                      <a:pt x="389559" y="599118"/>
                      <a:pt x="389958" y="607895"/>
                      <a:pt x="396398" y="611087"/>
                    </a:cubicBezTo>
                    <a:cubicBezTo>
                      <a:pt x="398051" y="611942"/>
                      <a:pt x="400502" y="610745"/>
                      <a:pt x="402098" y="609719"/>
                    </a:cubicBezTo>
                    <a:cubicBezTo>
                      <a:pt x="399613" y="607468"/>
                      <a:pt x="399385" y="603644"/>
                      <a:pt x="401585" y="601113"/>
                    </a:cubicBezTo>
                    <a:cubicBezTo>
                      <a:pt x="403842" y="598742"/>
                      <a:pt x="407142" y="597671"/>
                      <a:pt x="410362" y="598263"/>
                    </a:cubicBezTo>
                    <a:cubicBezTo>
                      <a:pt x="412693" y="599038"/>
                      <a:pt x="415212" y="599038"/>
                      <a:pt x="417543" y="598263"/>
                    </a:cubicBezTo>
                    <a:cubicBezTo>
                      <a:pt x="418512" y="597642"/>
                      <a:pt x="419379" y="596873"/>
                      <a:pt x="420108" y="595984"/>
                    </a:cubicBezTo>
                    <a:cubicBezTo>
                      <a:pt x="426720" y="589486"/>
                      <a:pt x="437207" y="591424"/>
                      <a:pt x="446668" y="590284"/>
                    </a:cubicBezTo>
                    <a:cubicBezTo>
                      <a:pt x="447637" y="590290"/>
                      <a:pt x="448588" y="590016"/>
                      <a:pt x="449404" y="589486"/>
                    </a:cubicBezTo>
                    <a:cubicBezTo>
                      <a:pt x="451854" y="587662"/>
                      <a:pt x="450087" y="583787"/>
                      <a:pt x="450144" y="580766"/>
                    </a:cubicBezTo>
                    <a:cubicBezTo>
                      <a:pt x="450144" y="575921"/>
                      <a:pt x="455160" y="572559"/>
                      <a:pt x="456699" y="567942"/>
                    </a:cubicBezTo>
                    <a:cubicBezTo>
                      <a:pt x="458238" y="563326"/>
                      <a:pt x="456129" y="556144"/>
                      <a:pt x="460403" y="552896"/>
                    </a:cubicBezTo>
                    <a:cubicBezTo>
                      <a:pt x="464678" y="549647"/>
                      <a:pt x="470378" y="553351"/>
                      <a:pt x="475336" y="552155"/>
                    </a:cubicBezTo>
                    <a:cubicBezTo>
                      <a:pt x="480295" y="550958"/>
                      <a:pt x="482631" y="546455"/>
                      <a:pt x="484626" y="541782"/>
                    </a:cubicBezTo>
                    <a:cubicBezTo>
                      <a:pt x="486758" y="537746"/>
                      <a:pt x="488166" y="533366"/>
                      <a:pt x="488787" y="528844"/>
                    </a:cubicBezTo>
                    <a:cubicBezTo>
                      <a:pt x="488747" y="526786"/>
                      <a:pt x="488992" y="524733"/>
                      <a:pt x="489528" y="522745"/>
                    </a:cubicBezTo>
                    <a:cubicBezTo>
                      <a:pt x="490331" y="521010"/>
                      <a:pt x="491642" y="519559"/>
                      <a:pt x="493289" y="518585"/>
                    </a:cubicBezTo>
                    <a:cubicBezTo>
                      <a:pt x="502466" y="512885"/>
                      <a:pt x="516942" y="518585"/>
                      <a:pt x="523668" y="510035"/>
                    </a:cubicBezTo>
                    <a:cubicBezTo>
                      <a:pt x="524443" y="508777"/>
                      <a:pt x="525406" y="507643"/>
                      <a:pt x="526517" y="506673"/>
                    </a:cubicBezTo>
                    <a:cubicBezTo>
                      <a:pt x="528569" y="505248"/>
                      <a:pt x="531305" y="505875"/>
                      <a:pt x="533756" y="505419"/>
                    </a:cubicBezTo>
                    <a:cubicBezTo>
                      <a:pt x="537939" y="504617"/>
                      <a:pt x="540994" y="501012"/>
                      <a:pt x="541108" y="496756"/>
                    </a:cubicBezTo>
                    <a:cubicBezTo>
                      <a:pt x="546853" y="496574"/>
                      <a:pt x="552353" y="494397"/>
                      <a:pt x="556668" y="490600"/>
                    </a:cubicBezTo>
                    <a:cubicBezTo>
                      <a:pt x="558092" y="489346"/>
                      <a:pt x="559460" y="487523"/>
                      <a:pt x="558890" y="485756"/>
                    </a:cubicBezTo>
                    <a:cubicBezTo>
                      <a:pt x="558229" y="484481"/>
                      <a:pt x="557107" y="483504"/>
                      <a:pt x="555756" y="483020"/>
                    </a:cubicBezTo>
                    <a:lnTo>
                      <a:pt x="527771" y="469113"/>
                    </a:lnTo>
                    <a:cubicBezTo>
                      <a:pt x="519917" y="464243"/>
                      <a:pt x="510850" y="461694"/>
                      <a:pt x="501611" y="461761"/>
                    </a:cubicBezTo>
                    <a:cubicBezTo>
                      <a:pt x="500260" y="461878"/>
                      <a:pt x="498949" y="462245"/>
                      <a:pt x="497735" y="462844"/>
                    </a:cubicBezTo>
                    <a:cubicBezTo>
                      <a:pt x="496447" y="463760"/>
                      <a:pt x="495244" y="464790"/>
                      <a:pt x="494144" y="465922"/>
                    </a:cubicBezTo>
                    <a:cubicBezTo>
                      <a:pt x="492098" y="467707"/>
                      <a:pt x="489363" y="468499"/>
                      <a:pt x="486678" y="468087"/>
                    </a:cubicBezTo>
                    <a:cubicBezTo>
                      <a:pt x="483897" y="467512"/>
                      <a:pt x="481805" y="465211"/>
                      <a:pt x="481492" y="462388"/>
                    </a:cubicBezTo>
                    <a:cubicBezTo>
                      <a:pt x="473928" y="463333"/>
                      <a:pt x="466302" y="463581"/>
                      <a:pt x="458694" y="463129"/>
                    </a:cubicBezTo>
                    <a:cubicBezTo>
                      <a:pt x="455445" y="463129"/>
                      <a:pt x="451626" y="462160"/>
                      <a:pt x="450372" y="459196"/>
                    </a:cubicBezTo>
                    <a:cubicBezTo>
                      <a:pt x="449119" y="456232"/>
                      <a:pt x="450087" y="453896"/>
                      <a:pt x="448150" y="452528"/>
                    </a:cubicBezTo>
                    <a:cubicBezTo>
                      <a:pt x="446212" y="451160"/>
                      <a:pt x="443932" y="452528"/>
                      <a:pt x="441937" y="451616"/>
                    </a:cubicBezTo>
                    <a:cubicBezTo>
                      <a:pt x="439942" y="450704"/>
                      <a:pt x="438745" y="447170"/>
                      <a:pt x="436238" y="445916"/>
                    </a:cubicBezTo>
                    <a:cubicBezTo>
                      <a:pt x="435069" y="445508"/>
                      <a:pt x="433810" y="445410"/>
                      <a:pt x="432590" y="445631"/>
                    </a:cubicBezTo>
                    <a:lnTo>
                      <a:pt x="413668" y="447398"/>
                    </a:lnTo>
                    <a:cubicBezTo>
                      <a:pt x="410773" y="447509"/>
                      <a:pt x="407917" y="448127"/>
                      <a:pt x="405233" y="449222"/>
                    </a:cubicBezTo>
                    <a:cubicBezTo>
                      <a:pt x="402508" y="450401"/>
                      <a:pt x="400622" y="452942"/>
                      <a:pt x="400274" y="455891"/>
                    </a:cubicBezTo>
                    <a:cubicBezTo>
                      <a:pt x="400274" y="459025"/>
                      <a:pt x="402383" y="462388"/>
                      <a:pt x="400730" y="465010"/>
                    </a:cubicBezTo>
                    <a:cubicBezTo>
                      <a:pt x="399077" y="467631"/>
                      <a:pt x="393093" y="466947"/>
                      <a:pt x="390756" y="469968"/>
                    </a:cubicBezTo>
                    <a:cubicBezTo>
                      <a:pt x="389502" y="471507"/>
                      <a:pt x="389616" y="473844"/>
                      <a:pt x="388419" y="475668"/>
                    </a:cubicBezTo>
                    <a:cubicBezTo>
                      <a:pt x="386652" y="478118"/>
                      <a:pt x="383005" y="477890"/>
                      <a:pt x="380041" y="477435"/>
                    </a:cubicBezTo>
                    <a:cubicBezTo>
                      <a:pt x="379528" y="478403"/>
                      <a:pt x="380041" y="479942"/>
                      <a:pt x="379357" y="480968"/>
                    </a:cubicBezTo>
                    <a:cubicBezTo>
                      <a:pt x="379699" y="486668"/>
                      <a:pt x="379357" y="493678"/>
                      <a:pt x="373657" y="495388"/>
                    </a:cubicBezTo>
                    <a:cubicBezTo>
                      <a:pt x="372592" y="495587"/>
                      <a:pt x="371571" y="495973"/>
                      <a:pt x="370637" y="496528"/>
                    </a:cubicBezTo>
                    <a:cubicBezTo>
                      <a:pt x="369924" y="497225"/>
                      <a:pt x="369366" y="498059"/>
                      <a:pt x="368984" y="498979"/>
                    </a:cubicBezTo>
                    <a:cubicBezTo>
                      <a:pt x="367588" y="500989"/>
                      <a:pt x="365063" y="501883"/>
                      <a:pt x="362715" y="501201"/>
                    </a:cubicBezTo>
                    <a:lnTo>
                      <a:pt x="362715" y="524740"/>
                    </a:lnTo>
                    <a:cubicBezTo>
                      <a:pt x="362715" y="527476"/>
                      <a:pt x="362373" y="530896"/>
                      <a:pt x="359865" y="532092"/>
                    </a:cubicBezTo>
                    <a:cubicBezTo>
                      <a:pt x="357357" y="533289"/>
                      <a:pt x="353595" y="531124"/>
                      <a:pt x="351031" y="532662"/>
                    </a:cubicBezTo>
                    <a:cubicBezTo>
                      <a:pt x="347212" y="534999"/>
                      <a:pt x="350689" y="541896"/>
                      <a:pt x="347554" y="545087"/>
                    </a:cubicBezTo>
                    <a:cubicBezTo>
                      <a:pt x="346243" y="546130"/>
                      <a:pt x="344698" y="546837"/>
                      <a:pt x="343051" y="547139"/>
                    </a:cubicBezTo>
                    <a:cubicBezTo>
                      <a:pt x="339307" y="548456"/>
                      <a:pt x="336275" y="551260"/>
                      <a:pt x="334673" y="554890"/>
                    </a:cubicBezTo>
                    <a:cubicBezTo>
                      <a:pt x="334200" y="555842"/>
                      <a:pt x="334001" y="556908"/>
                      <a:pt x="334103" y="557968"/>
                    </a:cubicBezTo>
                    <a:cubicBezTo>
                      <a:pt x="334730" y="561730"/>
                      <a:pt x="338207" y="562984"/>
                      <a:pt x="341000" y="562984"/>
                    </a:cubicBezTo>
                    <a:close/>
                    <a:moveTo>
                      <a:pt x="844320" y="660274"/>
                    </a:moveTo>
                    <a:cubicBezTo>
                      <a:pt x="849011" y="658581"/>
                      <a:pt x="852385" y="654437"/>
                      <a:pt x="853097" y="649502"/>
                    </a:cubicBezTo>
                    <a:lnTo>
                      <a:pt x="877719" y="658336"/>
                    </a:lnTo>
                    <a:cubicBezTo>
                      <a:pt x="880466" y="652408"/>
                      <a:pt x="879264" y="645398"/>
                      <a:pt x="874698" y="640724"/>
                    </a:cubicBezTo>
                    <a:cubicBezTo>
                      <a:pt x="870156" y="636222"/>
                      <a:pt x="864719" y="632728"/>
                      <a:pt x="858740" y="630465"/>
                    </a:cubicBezTo>
                    <a:lnTo>
                      <a:pt x="817760" y="611543"/>
                    </a:lnTo>
                    <a:cubicBezTo>
                      <a:pt x="809952" y="607952"/>
                      <a:pt x="800662" y="602025"/>
                      <a:pt x="802087" y="593476"/>
                    </a:cubicBezTo>
                    <a:cubicBezTo>
                      <a:pt x="802936" y="590786"/>
                      <a:pt x="803626" y="588044"/>
                      <a:pt x="804139" y="585269"/>
                    </a:cubicBezTo>
                    <a:cubicBezTo>
                      <a:pt x="804139" y="578201"/>
                      <a:pt x="795476" y="573357"/>
                      <a:pt x="795818" y="566346"/>
                    </a:cubicBezTo>
                    <a:cubicBezTo>
                      <a:pt x="789212" y="563753"/>
                      <a:pt x="784510" y="557809"/>
                      <a:pt x="783507" y="550787"/>
                    </a:cubicBezTo>
                    <a:cubicBezTo>
                      <a:pt x="782538" y="543896"/>
                      <a:pt x="782828" y="536886"/>
                      <a:pt x="784362" y="530098"/>
                    </a:cubicBezTo>
                    <a:cubicBezTo>
                      <a:pt x="784994" y="524689"/>
                      <a:pt x="786436" y="519406"/>
                      <a:pt x="788636" y="514424"/>
                    </a:cubicBezTo>
                    <a:cubicBezTo>
                      <a:pt x="791201" y="509295"/>
                      <a:pt x="795362" y="505134"/>
                      <a:pt x="797926" y="500061"/>
                    </a:cubicBezTo>
                    <a:cubicBezTo>
                      <a:pt x="801055" y="495119"/>
                      <a:pt x="800713" y="488738"/>
                      <a:pt x="797071" y="484160"/>
                    </a:cubicBezTo>
                    <a:lnTo>
                      <a:pt x="766294" y="485471"/>
                    </a:lnTo>
                    <a:cubicBezTo>
                      <a:pt x="763142" y="485360"/>
                      <a:pt x="760002" y="485964"/>
                      <a:pt x="757118" y="487238"/>
                    </a:cubicBezTo>
                    <a:cubicBezTo>
                      <a:pt x="754223" y="488648"/>
                      <a:pt x="752633" y="491826"/>
                      <a:pt x="753242" y="494989"/>
                    </a:cubicBezTo>
                    <a:cubicBezTo>
                      <a:pt x="754422" y="497413"/>
                      <a:pt x="756451" y="499319"/>
                      <a:pt x="758942" y="500346"/>
                    </a:cubicBezTo>
                    <a:cubicBezTo>
                      <a:pt x="763433" y="503193"/>
                      <a:pt x="767634" y="506476"/>
                      <a:pt x="771481" y="510150"/>
                    </a:cubicBezTo>
                    <a:cubicBezTo>
                      <a:pt x="776092" y="513521"/>
                      <a:pt x="778787" y="518914"/>
                      <a:pt x="778719" y="524626"/>
                    </a:cubicBezTo>
                    <a:cubicBezTo>
                      <a:pt x="776285" y="526403"/>
                      <a:pt x="772889" y="525979"/>
                      <a:pt x="770968" y="523657"/>
                    </a:cubicBezTo>
                    <a:cubicBezTo>
                      <a:pt x="769172" y="521332"/>
                      <a:pt x="767594" y="518853"/>
                      <a:pt x="766237" y="516248"/>
                    </a:cubicBezTo>
                    <a:cubicBezTo>
                      <a:pt x="760139" y="507186"/>
                      <a:pt x="747372" y="506217"/>
                      <a:pt x="736429" y="506217"/>
                    </a:cubicBezTo>
                    <a:lnTo>
                      <a:pt x="735118" y="506217"/>
                    </a:lnTo>
                    <a:cubicBezTo>
                      <a:pt x="730559" y="505622"/>
                      <a:pt x="725953" y="506851"/>
                      <a:pt x="722294" y="509637"/>
                    </a:cubicBezTo>
                    <a:cubicBezTo>
                      <a:pt x="717108" y="514937"/>
                      <a:pt x="720641" y="523885"/>
                      <a:pt x="725258" y="529699"/>
                    </a:cubicBezTo>
                    <a:cubicBezTo>
                      <a:pt x="729875" y="535512"/>
                      <a:pt x="735859" y="541611"/>
                      <a:pt x="734833" y="548963"/>
                    </a:cubicBezTo>
                    <a:cubicBezTo>
                      <a:pt x="734320" y="552497"/>
                      <a:pt x="732154" y="556030"/>
                      <a:pt x="733180" y="559450"/>
                    </a:cubicBezTo>
                    <a:cubicBezTo>
                      <a:pt x="734833" y="564693"/>
                      <a:pt x="743097" y="566346"/>
                      <a:pt x="743325" y="571818"/>
                    </a:cubicBezTo>
                    <a:cubicBezTo>
                      <a:pt x="743120" y="574605"/>
                      <a:pt x="741536" y="577107"/>
                      <a:pt x="739108" y="578486"/>
                    </a:cubicBezTo>
                    <a:cubicBezTo>
                      <a:pt x="732439" y="583160"/>
                      <a:pt x="720812" y="582476"/>
                      <a:pt x="718761" y="574668"/>
                    </a:cubicBezTo>
                    <a:cubicBezTo>
                      <a:pt x="718584" y="572428"/>
                      <a:pt x="718105" y="570222"/>
                      <a:pt x="717336" y="568113"/>
                    </a:cubicBezTo>
                    <a:cubicBezTo>
                      <a:pt x="716310" y="566289"/>
                      <a:pt x="714258" y="565206"/>
                      <a:pt x="713175" y="563440"/>
                    </a:cubicBezTo>
                    <a:cubicBezTo>
                      <a:pt x="712126" y="560510"/>
                      <a:pt x="711990" y="557330"/>
                      <a:pt x="712776" y="554320"/>
                    </a:cubicBezTo>
                    <a:cubicBezTo>
                      <a:pt x="713802" y="541497"/>
                      <a:pt x="702403" y="531523"/>
                      <a:pt x="692144" y="523771"/>
                    </a:cubicBezTo>
                    <a:cubicBezTo>
                      <a:pt x="688120" y="519983"/>
                      <a:pt x="682797" y="517883"/>
                      <a:pt x="677268" y="517901"/>
                    </a:cubicBezTo>
                    <a:cubicBezTo>
                      <a:pt x="671569" y="518699"/>
                      <a:pt x="667807" y="526621"/>
                      <a:pt x="672253" y="529927"/>
                    </a:cubicBezTo>
                    <a:cubicBezTo>
                      <a:pt x="674761" y="531807"/>
                      <a:pt x="678294" y="531124"/>
                      <a:pt x="681315" y="531807"/>
                    </a:cubicBezTo>
                    <a:cubicBezTo>
                      <a:pt x="686861" y="533583"/>
                      <a:pt x="689916" y="539519"/>
                      <a:pt x="688143" y="545064"/>
                    </a:cubicBezTo>
                    <a:cubicBezTo>
                      <a:pt x="687870" y="545914"/>
                      <a:pt x="687493" y="546729"/>
                      <a:pt x="687015" y="547481"/>
                    </a:cubicBezTo>
                    <a:cubicBezTo>
                      <a:pt x="678750" y="552098"/>
                      <a:pt x="667180" y="539046"/>
                      <a:pt x="659999" y="545201"/>
                    </a:cubicBezTo>
                    <a:cubicBezTo>
                      <a:pt x="658403" y="546626"/>
                      <a:pt x="657548" y="548792"/>
                      <a:pt x="656066" y="550388"/>
                    </a:cubicBezTo>
                    <a:cubicBezTo>
                      <a:pt x="654585" y="551984"/>
                      <a:pt x="651735" y="552782"/>
                      <a:pt x="650367" y="551129"/>
                    </a:cubicBezTo>
                    <a:cubicBezTo>
                      <a:pt x="650823" y="541668"/>
                      <a:pt x="650823" y="531067"/>
                      <a:pt x="644269" y="524341"/>
                    </a:cubicBezTo>
                    <a:cubicBezTo>
                      <a:pt x="637714" y="517616"/>
                      <a:pt x="625061" y="517388"/>
                      <a:pt x="614745" y="518642"/>
                    </a:cubicBezTo>
                    <a:cubicBezTo>
                      <a:pt x="612950" y="518611"/>
                      <a:pt x="611200" y="519195"/>
                      <a:pt x="609787" y="520295"/>
                    </a:cubicBezTo>
                    <a:cubicBezTo>
                      <a:pt x="608464" y="521882"/>
                      <a:pt x="607849" y="523940"/>
                      <a:pt x="608077" y="525994"/>
                    </a:cubicBezTo>
                    <a:cubicBezTo>
                      <a:pt x="608122" y="531976"/>
                      <a:pt x="609160" y="537906"/>
                      <a:pt x="611155" y="543548"/>
                    </a:cubicBezTo>
                    <a:cubicBezTo>
                      <a:pt x="601067" y="544825"/>
                      <a:pt x="590825" y="543406"/>
                      <a:pt x="581460" y="539445"/>
                    </a:cubicBezTo>
                    <a:cubicBezTo>
                      <a:pt x="579807" y="538932"/>
                      <a:pt x="577927" y="538191"/>
                      <a:pt x="577471" y="536538"/>
                    </a:cubicBezTo>
                    <a:cubicBezTo>
                      <a:pt x="576673" y="533859"/>
                      <a:pt x="580206" y="531922"/>
                      <a:pt x="583170" y="532092"/>
                    </a:cubicBezTo>
                    <a:cubicBezTo>
                      <a:pt x="586134" y="532263"/>
                      <a:pt x="588870" y="533403"/>
                      <a:pt x="591434" y="532092"/>
                    </a:cubicBezTo>
                    <a:cubicBezTo>
                      <a:pt x="591890" y="530041"/>
                      <a:pt x="592346" y="527989"/>
                      <a:pt x="592745" y="525994"/>
                    </a:cubicBezTo>
                    <a:cubicBezTo>
                      <a:pt x="595367" y="528673"/>
                      <a:pt x="599243" y="523144"/>
                      <a:pt x="597533" y="519782"/>
                    </a:cubicBezTo>
                    <a:cubicBezTo>
                      <a:pt x="595823" y="516419"/>
                      <a:pt x="591833" y="514082"/>
                      <a:pt x="591035" y="510662"/>
                    </a:cubicBezTo>
                    <a:cubicBezTo>
                      <a:pt x="590408" y="508155"/>
                      <a:pt x="591035" y="505419"/>
                      <a:pt x="590237" y="503082"/>
                    </a:cubicBezTo>
                    <a:cubicBezTo>
                      <a:pt x="588528" y="499093"/>
                      <a:pt x="582828" y="498922"/>
                      <a:pt x="578839" y="500232"/>
                    </a:cubicBezTo>
                    <a:cubicBezTo>
                      <a:pt x="574929" y="502313"/>
                      <a:pt x="570415" y="502977"/>
                      <a:pt x="566072" y="502113"/>
                    </a:cubicBezTo>
                    <a:cubicBezTo>
                      <a:pt x="565234" y="507285"/>
                      <a:pt x="561552" y="511542"/>
                      <a:pt x="556554" y="513113"/>
                    </a:cubicBezTo>
                    <a:cubicBezTo>
                      <a:pt x="551624" y="514548"/>
                      <a:pt x="546910" y="516637"/>
                      <a:pt x="542533" y="519326"/>
                    </a:cubicBezTo>
                    <a:cubicBezTo>
                      <a:pt x="540994" y="520523"/>
                      <a:pt x="539683" y="522004"/>
                      <a:pt x="538087" y="523201"/>
                    </a:cubicBezTo>
                    <a:cubicBezTo>
                      <a:pt x="536172" y="524442"/>
                      <a:pt x="534103" y="525420"/>
                      <a:pt x="531932" y="526108"/>
                    </a:cubicBezTo>
                    <a:lnTo>
                      <a:pt x="505543" y="535968"/>
                    </a:lnTo>
                    <a:cubicBezTo>
                      <a:pt x="507481" y="538989"/>
                      <a:pt x="505201" y="542978"/>
                      <a:pt x="502580" y="545372"/>
                    </a:cubicBezTo>
                    <a:cubicBezTo>
                      <a:pt x="499958" y="547766"/>
                      <a:pt x="496880" y="550046"/>
                      <a:pt x="495911" y="553579"/>
                    </a:cubicBezTo>
                    <a:cubicBezTo>
                      <a:pt x="494942" y="557113"/>
                      <a:pt x="497678" y="562927"/>
                      <a:pt x="494315" y="564978"/>
                    </a:cubicBezTo>
                    <a:cubicBezTo>
                      <a:pt x="492833" y="566004"/>
                      <a:pt x="490896" y="565776"/>
                      <a:pt x="489300" y="566574"/>
                    </a:cubicBezTo>
                    <a:cubicBezTo>
                      <a:pt x="485709" y="568284"/>
                      <a:pt x="486051" y="573927"/>
                      <a:pt x="488958" y="576605"/>
                    </a:cubicBezTo>
                    <a:cubicBezTo>
                      <a:pt x="492144" y="578982"/>
                      <a:pt x="495985" y="580333"/>
                      <a:pt x="499958" y="580481"/>
                    </a:cubicBezTo>
                    <a:cubicBezTo>
                      <a:pt x="503953" y="580601"/>
                      <a:pt x="507766" y="582179"/>
                      <a:pt x="510673" y="584927"/>
                    </a:cubicBezTo>
                    <a:cubicBezTo>
                      <a:pt x="511727" y="586654"/>
                      <a:pt x="512970" y="588261"/>
                      <a:pt x="514377" y="589714"/>
                    </a:cubicBezTo>
                    <a:cubicBezTo>
                      <a:pt x="518424" y="592792"/>
                      <a:pt x="524352" y="588916"/>
                      <a:pt x="529367" y="590113"/>
                    </a:cubicBezTo>
                    <a:cubicBezTo>
                      <a:pt x="527937" y="586448"/>
                      <a:pt x="529749" y="582316"/>
                      <a:pt x="533414" y="580886"/>
                    </a:cubicBezTo>
                    <a:cubicBezTo>
                      <a:pt x="533471" y="580863"/>
                      <a:pt x="533528" y="580846"/>
                      <a:pt x="533585" y="580823"/>
                    </a:cubicBezTo>
                    <a:cubicBezTo>
                      <a:pt x="537272" y="579626"/>
                      <a:pt x="541228" y="579506"/>
                      <a:pt x="544984" y="580481"/>
                    </a:cubicBezTo>
                    <a:lnTo>
                      <a:pt x="564020" y="583502"/>
                    </a:lnTo>
                    <a:cubicBezTo>
                      <a:pt x="566585" y="586066"/>
                      <a:pt x="562937" y="590056"/>
                      <a:pt x="559688" y="591595"/>
                    </a:cubicBezTo>
                    <a:cubicBezTo>
                      <a:pt x="548694" y="596576"/>
                      <a:pt x="536617" y="598697"/>
                      <a:pt x="524580" y="597750"/>
                    </a:cubicBezTo>
                    <a:cubicBezTo>
                      <a:pt x="522140" y="597289"/>
                      <a:pt x="519621" y="597568"/>
                      <a:pt x="517341" y="598548"/>
                    </a:cubicBezTo>
                    <a:cubicBezTo>
                      <a:pt x="514947" y="599916"/>
                      <a:pt x="513979" y="602766"/>
                      <a:pt x="512326" y="604932"/>
                    </a:cubicBezTo>
                    <a:cubicBezTo>
                      <a:pt x="510673" y="607098"/>
                      <a:pt x="507196" y="608693"/>
                      <a:pt x="505372" y="606699"/>
                    </a:cubicBezTo>
                    <a:cubicBezTo>
                      <a:pt x="504170" y="608693"/>
                      <a:pt x="504307" y="611224"/>
                      <a:pt x="505714" y="613082"/>
                    </a:cubicBezTo>
                    <a:cubicBezTo>
                      <a:pt x="509009" y="618012"/>
                      <a:pt x="514178" y="621369"/>
                      <a:pt x="520020" y="622372"/>
                    </a:cubicBezTo>
                    <a:cubicBezTo>
                      <a:pt x="537745" y="626533"/>
                      <a:pt x="555756" y="617984"/>
                      <a:pt x="573880" y="616673"/>
                    </a:cubicBezTo>
                    <a:cubicBezTo>
                      <a:pt x="584663" y="616182"/>
                      <a:pt x="595475" y="616946"/>
                      <a:pt x="606082" y="618952"/>
                    </a:cubicBezTo>
                    <a:cubicBezTo>
                      <a:pt x="609165" y="619106"/>
                      <a:pt x="612129" y="620201"/>
                      <a:pt x="614574" y="622087"/>
                    </a:cubicBezTo>
                    <a:cubicBezTo>
                      <a:pt x="616113" y="623569"/>
                      <a:pt x="616968" y="625621"/>
                      <a:pt x="618564" y="627046"/>
                    </a:cubicBezTo>
                    <a:cubicBezTo>
                      <a:pt x="622269" y="630465"/>
                      <a:pt x="628082" y="629097"/>
                      <a:pt x="633098" y="629040"/>
                    </a:cubicBezTo>
                    <a:cubicBezTo>
                      <a:pt x="638113" y="628984"/>
                      <a:pt x="644497" y="632973"/>
                      <a:pt x="642445" y="637590"/>
                    </a:cubicBezTo>
                    <a:cubicBezTo>
                      <a:pt x="641134" y="640667"/>
                      <a:pt x="637087" y="641237"/>
                      <a:pt x="633725" y="641351"/>
                    </a:cubicBezTo>
                    <a:lnTo>
                      <a:pt x="602719" y="642548"/>
                    </a:lnTo>
                    <a:lnTo>
                      <a:pt x="588927" y="643118"/>
                    </a:lnTo>
                    <a:cubicBezTo>
                      <a:pt x="569132" y="644230"/>
                      <a:pt x="549287" y="644344"/>
                      <a:pt x="529481" y="643460"/>
                    </a:cubicBezTo>
                    <a:cubicBezTo>
                      <a:pt x="530387" y="647940"/>
                      <a:pt x="527635" y="652340"/>
                      <a:pt x="523212" y="653491"/>
                    </a:cubicBezTo>
                    <a:cubicBezTo>
                      <a:pt x="520362" y="654118"/>
                      <a:pt x="515802" y="655372"/>
                      <a:pt x="517512" y="657880"/>
                    </a:cubicBezTo>
                    <a:lnTo>
                      <a:pt x="529880" y="661129"/>
                    </a:lnTo>
                    <a:cubicBezTo>
                      <a:pt x="528831" y="663066"/>
                      <a:pt x="529339" y="665477"/>
                      <a:pt x="531077" y="666828"/>
                    </a:cubicBezTo>
                    <a:cubicBezTo>
                      <a:pt x="546842" y="673342"/>
                      <a:pt x="563855" y="676261"/>
                      <a:pt x="580890" y="675377"/>
                    </a:cubicBezTo>
                    <a:cubicBezTo>
                      <a:pt x="587468" y="674465"/>
                      <a:pt x="594147" y="674465"/>
                      <a:pt x="600725" y="675377"/>
                    </a:cubicBezTo>
                    <a:cubicBezTo>
                      <a:pt x="602668" y="675696"/>
                      <a:pt x="604458" y="676614"/>
                      <a:pt x="605854" y="677999"/>
                    </a:cubicBezTo>
                    <a:cubicBezTo>
                      <a:pt x="607028" y="679692"/>
                      <a:pt x="607752" y="681652"/>
                      <a:pt x="607963" y="683698"/>
                    </a:cubicBezTo>
                    <a:cubicBezTo>
                      <a:pt x="608875" y="688885"/>
                      <a:pt x="609844" y="694071"/>
                      <a:pt x="610756" y="699258"/>
                    </a:cubicBezTo>
                    <a:cubicBezTo>
                      <a:pt x="610978" y="701526"/>
                      <a:pt x="611759" y="703698"/>
                      <a:pt x="613035" y="705584"/>
                    </a:cubicBezTo>
                    <a:cubicBezTo>
                      <a:pt x="616090" y="708463"/>
                      <a:pt x="620268" y="709842"/>
                      <a:pt x="624434" y="709346"/>
                    </a:cubicBezTo>
                    <a:cubicBezTo>
                      <a:pt x="642080" y="709688"/>
                      <a:pt x="659737" y="709118"/>
                      <a:pt x="677325" y="707636"/>
                    </a:cubicBezTo>
                    <a:cubicBezTo>
                      <a:pt x="676015" y="704103"/>
                      <a:pt x="680289" y="700968"/>
                      <a:pt x="684051" y="700569"/>
                    </a:cubicBezTo>
                    <a:cubicBezTo>
                      <a:pt x="687795" y="700877"/>
                      <a:pt x="691563" y="700312"/>
                      <a:pt x="695051" y="698916"/>
                    </a:cubicBezTo>
                    <a:cubicBezTo>
                      <a:pt x="696698" y="697485"/>
                      <a:pt x="698225" y="695924"/>
                      <a:pt x="699610" y="694242"/>
                    </a:cubicBezTo>
                    <a:cubicBezTo>
                      <a:pt x="703970" y="691302"/>
                      <a:pt x="709311" y="690179"/>
                      <a:pt x="714486" y="691108"/>
                    </a:cubicBezTo>
                    <a:cubicBezTo>
                      <a:pt x="723776" y="691621"/>
                      <a:pt x="733978" y="692020"/>
                      <a:pt x="741388" y="686434"/>
                    </a:cubicBezTo>
                    <a:cubicBezTo>
                      <a:pt x="747087" y="682046"/>
                      <a:pt x="751305" y="674009"/>
                      <a:pt x="758486" y="673667"/>
                    </a:cubicBezTo>
                    <a:cubicBezTo>
                      <a:pt x="768289" y="673211"/>
                      <a:pt x="772963" y="686776"/>
                      <a:pt x="782367" y="689455"/>
                    </a:cubicBezTo>
                    <a:cubicBezTo>
                      <a:pt x="787097" y="690823"/>
                      <a:pt x="792740" y="689455"/>
                      <a:pt x="796558" y="692419"/>
                    </a:cubicBezTo>
                    <a:cubicBezTo>
                      <a:pt x="799351" y="694641"/>
                      <a:pt x="800149" y="698688"/>
                      <a:pt x="802885" y="701025"/>
                    </a:cubicBezTo>
                    <a:cubicBezTo>
                      <a:pt x="806179" y="703082"/>
                      <a:pt x="810129" y="703818"/>
                      <a:pt x="813942" y="703077"/>
                    </a:cubicBezTo>
                    <a:lnTo>
                      <a:pt x="843465" y="700911"/>
                    </a:lnTo>
                    <a:cubicBezTo>
                      <a:pt x="846617" y="700934"/>
                      <a:pt x="849712" y="700084"/>
                      <a:pt x="852413" y="698460"/>
                    </a:cubicBezTo>
                    <a:cubicBezTo>
                      <a:pt x="856574" y="695211"/>
                      <a:pt x="859481" y="687517"/>
                      <a:pt x="864268" y="689797"/>
                    </a:cubicBezTo>
                    <a:cubicBezTo>
                      <a:pt x="866206" y="682844"/>
                      <a:pt x="862615" y="675719"/>
                      <a:pt x="859139" y="669507"/>
                    </a:cubicBezTo>
                    <a:cubicBezTo>
                      <a:pt x="858757" y="668715"/>
                      <a:pt x="858238" y="668002"/>
                      <a:pt x="857600" y="667398"/>
                    </a:cubicBezTo>
                    <a:cubicBezTo>
                      <a:pt x="853496" y="663636"/>
                      <a:pt x="848424" y="670647"/>
                      <a:pt x="843465" y="673097"/>
                    </a:cubicBezTo>
                    <a:cubicBezTo>
                      <a:pt x="838518" y="674961"/>
                      <a:pt x="832995" y="672459"/>
                      <a:pt x="831131" y="667512"/>
                    </a:cubicBezTo>
                    <a:cubicBezTo>
                      <a:pt x="830499" y="665842"/>
                      <a:pt x="830351" y="664024"/>
                      <a:pt x="830698" y="662268"/>
                    </a:cubicBezTo>
                    <a:cubicBezTo>
                      <a:pt x="835343" y="662496"/>
                      <a:pt x="839994" y="661898"/>
                      <a:pt x="844434" y="660502"/>
                    </a:cubicBezTo>
                    <a:close/>
                    <a:moveTo>
                      <a:pt x="429113" y="384818"/>
                    </a:moveTo>
                    <a:cubicBezTo>
                      <a:pt x="429951" y="385166"/>
                      <a:pt x="430897" y="385166"/>
                      <a:pt x="431735" y="384818"/>
                    </a:cubicBezTo>
                    <a:cubicBezTo>
                      <a:pt x="432362" y="384246"/>
                      <a:pt x="432778" y="383486"/>
                      <a:pt x="432932" y="382652"/>
                    </a:cubicBezTo>
                    <a:cubicBezTo>
                      <a:pt x="433593" y="379087"/>
                      <a:pt x="435645" y="375930"/>
                      <a:pt x="438632" y="373875"/>
                    </a:cubicBezTo>
                    <a:cubicBezTo>
                      <a:pt x="441749" y="371973"/>
                      <a:pt x="445819" y="372958"/>
                      <a:pt x="447716" y="376075"/>
                    </a:cubicBezTo>
                    <a:cubicBezTo>
                      <a:pt x="447768" y="376158"/>
                      <a:pt x="447819" y="376241"/>
                      <a:pt x="447865" y="376326"/>
                    </a:cubicBezTo>
                    <a:cubicBezTo>
                      <a:pt x="448298" y="378369"/>
                      <a:pt x="448526" y="380450"/>
                      <a:pt x="448549" y="382538"/>
                    </a:cubicBezTo>
                    <a:cubicBezTo>
                      <a:pt x="449221" y="386511"/>
                      <a:pt x="452983" y="389187"/>
                      <a:pt x="456955" y="388516"/>
                    </a:cubicBezTo>
                    <a:cubicBezTo>
                      <a:pt x="460312" y="387949"/>
                      <a:pt x="462832" y="385137"/>
                      <a:pt x="463025" y="381740"/>
                    </a:cubicBezTo>
                    <a:cubicBezTo>
                      <a:pt x="463025" y="379233"/>
                      <a:pt x="462113" y="376611"/>
                      <a:pt x="463025" y="374274"/>
                    </a:cubicBezTo>
                    <a:cubicBezTo>
                      <a:pt x="464165" y="370968"/>
                      <a:pt x="468326" y="369942"/>
                      <a:pt x="471802" y="370227"/>
                    </a:cubicBezTo>
                    <a:cubicBezTo>
                      <a:pt x="475194" y="370881"/>
                      <a:pt x="478670" y="370881"/>
                      <a:pt x="482061" y="370227"/>
                    </a:cubicBezTo>
                    <a:cubicBezTo>
                      <a:pt x="486610" y="368122"/>
                      <a:pt x="489739" y="363806"/>
                      <a:pt x="490326" y="358828"/>
                    </a:cubicBezTo>
                    <a:cubicBezTo>
                      <a:pt x="490953" y="354013"/>
                      <a:pt x="492417" y="349345"/>
                      <a:pt x="494657" y="345036"/>
                    </a:cubicBezTo>
                    <a:cubicBezTo>
                      <a:pt x="498533" y="339642"/>
                      <a:pt x="505595" y="337595"/>
                      <a:pt x="511756" y="340077"/>
                    </a:cubicBezTo>
                    <a:cubicBezTo>
                      <a:pt x="513317" y="340708"/>
                      <a:pt x="514651" y="341802"/>
                      <a:pt x="515574" y="343212"/>
                    </a:cubicBezTo>
                    <a:cubicBezTo>
                      <a:pt x="518652" y="348455"/>
                      <a:pt x="512782" y="356492"/>
                      <a:pt x="517227" y="360310"/>
                    </a:cubicBezTo>
                    <a:cubicBezTo>
                      <a:pt x="522351" y="362943"/>
                      <a:pt x="528638" y="360924"/>
                      <a:pt x="531271" y="355800"/>
                    </a:cubicBezTo>
                    <a:cubicBezTo>
                      <a:pt x="532166" y="354063"/>
                      <a:pt x="532553" y="352111"/>
                      <a:pt x="532388" y="350165"/>
                    </a:cubicBezTo>
                    <a:cubicBezTo>
                      <a:pt x="532217" y="349473"/>
                      <a:pt x="532217" y="348749"/>
                      <a:pt x="532388" y="348056"/>
                    </a:cubicBezTo>
                    <a:cubicBezTo>
                      <a:pt x="533243" y="345720"/>
                      <a:pt x="536719" y="346917"/>
                      <a:pt x="539227" y="346632"/>
                    </a:cubicBezTo>
                    <a:cubicBezTo>
                      <a:pt x="541735" y="346347"/>
                      <a:pt x="544528" y="343041"/>
                      <a:pt x="545668" y="339963"/>
                    </a:cubicBezTo>
                    <a:cubicBezTo>
                      <a:pt x="546340" y="336774"/>
                      <a:pt x="547947" y="333857"/>
                      <a:pt x="550284" y="331585"/>
                    </a:cubicBezTo>
                    <a:cubicBezTo>
                      <a:pt x="551139" y="331109"/>
                      <a:pt x="551931" y="330513"/>
                      <a:pt x="552621" y="329818"/>
                    </a:cubicBezTo>
                    <a:cubicBezTo>
                      <a:pt x="554103" y="327766"/>
                      <a:pt x="552621" y="324974"/>
                      <a:pt x="550569" y="323264"/>
                    </a:cubicBezTo>
                    <a:cubicBezTo>
                      <a:pt x="548517" y="321554"/>
                      <a:pt x="546580" y="319274"/>
                      <a:pt x="547378" y="316880"/>
                    </a:cubicBezTo>
                    <a:cubicBezTo>
                      <a:pt x="550991" y="317104"/>
                      <a:pt x="554604" y="316540"/>
                      <a:pt x="557979" y="315228"/>
                    </a:cubicBezTo>
                    <a:cubicBezTo>
                      <a:pt x="559352" y="309810"/>
                      <a:pt x="557044" y="304129"/>
                      <a:pt x="552279" y="301207"/>
                    </a:cubicBezTo>
                    <a:cubicBezTo>
                      <a:pt x="547452" y="298553"/>
                      <a:pt x="541900" y="297495"/>
                      <a:pt x="536434" y="298186"/>
                    </a:cubicBezTo>
                    <a:cubicBezTo>
                      <a:pt x="534611" y="305175"/>
                      <a:pt x="531727" y="311844"/>
                      <a:pt x="527885" y="317963"/>
                    </a:cubicBezTo>
                    <a:cubicBezTo>
                      <a:pt x="522186" y="318362"/>
                      <a:pt x="515232" y="317963"/>
                      <a:pt x="512782" y="312891"/>
                    </a:cubicBezTo>
                    <a:cubicBezTo>
                      <a:pt x="512366" y="311502"/>
                      <a:pt x="511687" y="310207"/>
                      <a:pt x="510787" y="309072"/>
                    </a:cubicBezTo>
                    <a:cubicBezTo>
                      <a:pt x="509664" y="308263"/>
                      <a:pt x="508296" y="307861"/>
                      <a:pt x="506911" y="307932"/>
                    </a:cubicBezTo>
                    <a:cubicBezTo>
                      <a:pt x="500796" y="308311"/>
                      <a:pt x="494800" y="309758"/>
                      <a:pt x="489186" y="312207"/>
                    </a:cubicBezTo>
                    <a:cubicBezTo>
                      <a:pt x="486376" y="312996"/>
                      <a:pt x="483720" y="314247"/>
                      <a:pt x="481321" y="315911"/>
                    </a:cubicBezTo>
                    <a:cubicBezTo>
                      <a:pt x="478887" y="317687"/>
                      <a:pt x="477547" y="320601"/>
                      <a:pt x="477787" y="323606"/>
                    </a:cubicBezTo>
                    <a:cubicBezTo>
                      <a:pt x="471979" y="323672"/>
                      <a:pt x="466793" y="327257"/>
                      <a:pt x="464678" y="332668"/>
                    </a:cubicBezTo>
                    <a:cubicBezTo>
                      <a:pt x="462279" y="337273"/>
                      <a:pt x="461082" y="342409"/>
                      <a:pt x="461201" y="347601"/>
                    </a:cubicBezTo>
                    <a:cubicBezTo>
                      <a:pt x="461350" y="349121"/>
                      <a:pt x="461173" y="350655"/>
                      <a:pt x="460688" y="352103"/>
                    </a:cubicBezTo>
                    <a:cubicBezTo>
                      <a:pt x="459549" y="354839"/>
                      <a:pt x="456129" y="355694"/>
                      <a:pt x="453222" y="356321"/>
                    </a:cubicBezTo>
                    <a:cubicBezTo>
                      <a:pt x="444639" y="358143"/>
                      <a:pt x="436283" y="360915"/>
                      <a:pt x="428316" y="364585"/>
                    </a:cubicBezTo>
                    <a:cubicBezTo>
                      <a:pt x="424371" y="366055"/>
                      <a:pt x="420929" y="368626"/>
                      <a:pt x="418398" y="371994"/>
                    </a:cubicBezTo>
                    <a:cubicBezTo>
                      <a:pt x="415896" y="375580"/>
                      <a:pt x="416461" y="380469"/>
                      <a:pt x="419709" y="383393"/>
                    </a:cubicBezTo>
                    <a:close/>
                    <a:moveTo>
                      <a:pt x="502694" y="392284"/>
                    </a:moveTo>
                    <a:cubicBezTo>
                      <a:pt x="506883" y="391614"/>
                      <a:pt x="510815" y="389844"/>
                      <a:pt x="514093" y="387155"/>
                    </a:cubicBezTo>
                    <a:cubicBezTo>
                      <a:pt x="514446" y="383961"/>
                      <a:pt x="514309" y="380733"/>
                      <a:pt x="513694" y="377580"/>
                    </a:cubicBezTo>
                    <a:cubicBezTo>
                      <a:pt x="513295" y="375585"/>
                      <a:pt x="512326" y="373248"/>
                      <a:pt x="510274" y="372849"/>
                    </a:cubicBezTo>
                    <a:cubicBezTo>
                      <a:pt x="510274" y="371367"/>
                      <a:pt x="508336" y="370740"/>
                      <a:pt x="507025" y="371367"/>
                    </a:cubicBezTo>
                    <a:cubicBezTo>
                      <a:pt x="504118" y="372792"/>
                      <a:pt x="503605" y="376725"/>
                      <a:pt x="501326" y="379062"/>
                    </a:cubicBezTo>
                    <a:cubicBezTo>
                      <a:pt x="499946" y="380322"/>
                      <a:pt x="498282" y="381241"/>
                      <a:pt x="496481" y="381740"/>
                    </a:cubicBezTo>
                    <a:cubicBezTo>
                      <a:pt x="492890" y="383051"/>
                      <a:pt x="489243" y="384248"/>
                      <a:pt x="485595" y="385274"/>
                    </a:cubicBezTo>
                    <a:cubicBezTo>
                      <a:pt x="486387" y="388155"/>
                      <a:pt x="485931" y="391236"/>
                      <a:pt x="484341" y="393766"/>
                    </a:cubicBezTo>
                    <a:cubicBezTo>
                      <a:pt x="483635" y="394332"/>
                      <a:pt x="483019" y="395005"/>
                      <a:pt x="482517" y="395761"/>
                    </a:cubicBezTo>
                    <a:cubicBezTo>
                      <a:pt x="481799" y="397407"/>
                      <a:pt x="482409" y="399330"/>
                      <a:pt x="483942" y="400264"/>
                    </a:cubicBezTo>
                    <a:cubicBezTo>
                      <a:pt x="485419" y="401180"/>
                      <a:pt x="487105" y="401708"/>
                      <a:pt x="488844" y="401803"/>
                    </a:cubicBezTo>
                    <a:cubicBezTo>
                      <a:pt x="491431" y="402365"/>
                      <a:pt x="494133" y="402065"/>
                      <a:pt x="496538" y="400948"/>
                    </a:cubicBezTo>
                    <a:cubicBezTo>
                      <a:pt x="497792" y="399181"/>
                      <a:pt x="496538" y="396616"/>
                      <a:pt x="497450" y="394735"/>
                    </a:cubicBezTo>
                    <a:cubicBezTo>
                      <a:pt x="498362" y="392854"/>
                      <a:pt x="500585" y="392626"/>
                      <a:pt x="502694" y="392284"/>
                    </a:cubicBezTo>
                    <a:close/>
                    <a:moveTo>
                      <a:pt x="557409" y="366295"/>
                    </a:moveTo>
                    <a:cubicBezTo>
                      <a:pt x="553704" y="369088"/>
                      <a:pt x="546580" y="366295"/>
                      <a:pt x="544699" y="370797"/>
                    </a:cubicBezTo>
                    <a:cubicBezTo>
                      <a:pt x="544003" y="372892"/>
                      <a:pt x="544739" y="375196"/>
                      <a:pt x="546523" y="376497"/>
                    </a:cubicBezTo>
                    <a:cubicBezTo>
                      <a:pt x="548250" y="377760"/>
                      <a:pt x="550176" y="378724"/>
                      <a:pt x="552222" y="379347"/>
                    </a:cubicBezTo>
                    <a:cubicBezTo>
                      <a:pt x="557768" y="381460"/>
                      <a:pt x="562874" y="384592"/>
                      <a:pt x="567269" y="388580"/>
                    </a:cubicBezTo>
                    <a:lnTo>
                      <a:pt x="539170" y="388124"/>
                    </a:lnTo>
                    <a:cubicBezTo>
                      <a:pt x="535238" y="388124"/>
                      <a:pt x="529823" y="389435"/>
                      <a:pt x="530222" y="393367"/>
                    </a:cubicBezTo>
                    <a:cubicBezTo>
                      <a:pt x="530564" y="396046"/>
                      <a:pt x="533642" y="397414"/>
                      <a:pt x="536263" y="398098"/>
                    </a:cubicBezTo>
                    <a:cubicBezTo>
                      <a:pt x="545571" y="400453"/>
                      <a:pt x="555169" y="401470"/>
                      <a:pt x="564761" y="401119"/>
                    </a:cubicBezTo>
                    <a:cubicBezTo>
                      <a:pt x="564761" y="405336"/>
                      <a:pt x="559061" y="406818"/>
                      <a:pt x="554901" y="407217"/>
                    </a:cubicBezTo>
                    <a:lnTo>
                      <a:pt x="527999" y="409611"/>
                    </a:lnTo>
                    <a:cubicBezTo>
                      <a:pt x="525503" y="409595"/>
                      <a:pt x="523052" y="410287"/>
                      <a:pt x="520932" y="411606"/>
                    </a:cubicBezTo>
                    <a:cubicBezTo>
                      <a:pt x="518874" y="413115"/>
                      <a:pt x="518436" y="416004"/>
                      <a:pt x="519946" y="418059"/>
                    </a:cubicBezTo>
                    <a:cubicBezTo>
                      <a:pt x="519969" y="418093"/>
                      <a:pt x="519991" y="418127"/>
                      <a:pt x="520020" y="418160"/>
                    </a:cubicBezTo>
                    <a:cubicBezTo>
                      <a:pt x="521086" y="418928"/>
                      <a:pt x="522357" y="419364"/>
                      <a:pt x="523668" y="419414"/>
                    </a:cubicBezTo>
                    <a:lnTo>
                      <a:pt x="548460" y="422891"/>
                    </a:lnTo>
                    <a:cubicBezTo>
                      <a:pt x="559859" y="424543"/>
                      <a:pt x="573538" y="425455"/>
                      <a:pt x="581346" y="416792"/>
                    </a:cubicBezTo>
                    <a:cubicBezTo>
                      <a:pt x="584367" y="413429"/>
                      <a:pt x="586020" y="408984"/>
                      <a:pt x="588927" y="405393"/>
                    </a:cubicBezTo>
                    <a:cubicBezTo>
                      <a:pt x="591497" y="401469"/>
                      <a:pt x="596421" y="399820"/>
                      <a:pt x="600839" y="401404"/>
                    </a:cubicBezTo>
                    <a:cubicBezTo>
                      <a:pt x="604264" y="403717"/>
                      <a:pt x="605672" y="408065"/>
                      <a:pt x="604258" y="411948"/>
                    </a:cubicBezTo>
                    <a:cubicBezTo>
                      <a:pt x="602765" y="415702"/>
                      <a:pt x="600451" y="419072"/>
                      <a:pt x="597476" y="421808"/>
                    </a:cubicBezTo>
                    <a:cubicBezTo>
                      <a:pt x="601699" y="424140"/>
                      <a:pt x="606817" y="424140"/>
                      <a:pt x="611041" y="421808"/>
                    </a:cubicBezTo>
                    <a:cubicBezTo>
                      <a:pt x="615315" y="419756"/>
                      <a:pt x="619020" y="416678"/>
                      <a:pt x="623408" y="414740"/>
                    </a:cubicBezTo>
                    <a:cubicBezTo>
                      <a:pt x="632619" y="411724"/>
                      <a:pt x="642490" y="411349"/>
                      <a:pt x="651906" y="413657"/>
                    </a:cubicBezTo>
                    <a:lnTo>
                      <a:pt x="651906" y="420497"/>
                    </a:lnTo>
                    <a:lnTo>
                      <a:pt x="644269" y="421466"/>
                    </a:lnTo>
                    <a:cubicBezTo>
                      <a:pt x="643414" y="423745"/>
                      <a:pt x="642616" y="426025"/>
                      <a:pt x="641761" y="428248"/>
                    </a:cubicBezTo>
                    <a:cubicBezTo>
                      <a:pt x="636061" y="425740"/>
                      <a:pt x="630077" y="431725"/>
                      <a:pt x="624206" y="434404"/>
                    </a:cubicBezTo>
                    <a:cubicBezTo>
                      <a:pt x="621112" y="435678"/>
                      <a:pt x="617846" y="436504"/>
                      <a:pt x="614517" y="436854"/>
                    </a:cubicBezTo>
                    <a:lnTo>
                      <a:pt x="588015" y="440901"/>
                    </a:lnTo>
                    <a:cubicBezTo>
                      <a:pt x="587188" y="444565"/>
                      <a:pt x="588653" y="448367"/>
                      <a:pt x="591719" y="450533"/>
                    </a:cubicBezTo>
                    <a:cubicBezTo>
                      <a:pt x="594757" y="452563"/>
                      <a:pt x="598234" y="453833"/>
                      <a:pt x="601864" y="454238"/>
                    </a:cubicBezTo>
                    <a:cubicBezTo>
                      <a:pt x="613885" y="456350"/>
                      <a:pt x="626207" y="456059"/>
                      <a:pt x="638113" y="453383"/>
                    </a:cubicBezTo>
                    <a:cubicBezTo>
                      <a:pt x="640718" y="453087"/>
                      <a:pt x="643117" y="451826"/>
                      <a:pt x="644838" y="449849"/>
                    </a:cubicBezTo>
                    <a:cubicBezTo>
                      <a:pt x="645386" y="448668"/>
                      <a:pt x="646075" y="447558"/>
                      <a:pt x="646890" y="446543"/>
                    </a:cubicBezTo>
                    <a:cubicBezTo>
                      <a:pt x="649569" y="444093"/>
                      <a:pt x="654471" y="447056"/>
                      <a:pt x="657377" y="444891"/>
                    </a:cubicBezTo>
                    <a:cubicBezTo>
                      <a:pt x="660284" y="442725"/>
                      <a:pt x="659201" y="438621"/>
                      <a:pt x="661709" y="436797"/>
                    </a:cubicBezTo>
                    <a:cubicBezTo>
                      <a:pt x="663094" y="436118"/>
                      <a:pt x="664610" y="435749"/>
                      <a:pt x="666155" y="435714"/>
                    </a:cubicBezTo>
                    <a:cubicBezTo>
                      <a:pt x="672367" y="434631"/>
                      <a:pt x="676300" y="428305"/>
                      <a:pt x="682113" y="425797"/>
                    </a:cubicBezTo>
                    <a:cubicBezTo>
                      <a:pt x="685766" y="424515"/>
                      <a:pt x="689648" y="423991"/>
                      <a:pt x="693512" y="424258"/>
                    </a:cubicBezTo>
                    <a:lnTo>
                      <a:pt x="748113" y="424258"/>
                    </a:lnTo>
                    <a:cubicBezTo>
                      <a:pt x="752901" y="424486"/>
                      <a:pt x="757694" y="423928"/>
                      <a:pt x="762305" y="422606"/>
                    </a:cubicBezTo>
                    <a:cubicBezTo>
                      <a:pt x="766967" y="421204"/>
                      <a:pt x="770620" y="417570"/>
                      <a:pt x="772051" y="412916"/>
                    </a:cubicBezTo>
                    <a:cubicBezTo>
                      <a:pt x="772262" y="410983"/>
                      <a:pt x="772666" y="409074"/>
                      <a:pt x="773248" y="407217"/>
                    </a:cubicBezTo>
                    <a:cubicBezTo>
                      <a:pt x="774274" y="405592"/>
                      <a:pt x="775522" y="404115"/>
                      <a:pt x="776952" y="402828"/>
                    </a:cubicBezTo>
                    <a:cubicBezTo>
                      <a:pt x="782025" y="396673"/>
                      <a:pt x="779574" y="387041"/>
                      <a:pt x="774672" y="380771"/>
                    </a:cubicBezTo>
                    <a:cubicBezTo>
                      <a:pt x="771960" y="376514"/>
                      <a:pt x="767024" y="374222"/>
                      <a:pt x="762020" y="374901"/>
                    </a:cubicBezTo>
                    <a:cubicBezTo>
                      <a:pt x="754325" y="376782"/>
                      <a:pt x="752160" y="389150"/>
                      <a:pt x="744294" y="389435"/>
                    </a:cubicBezTo>
                    <a:cubicBezTo>
                      <a:pt x="742630" y="389374"/>
                      <a:pt x="740994" y="389027"/>
                      <a:pt x="739450" y="388409"/>
                    </a:cubicBezTo>
                    <a:cubicBezTo>
                      <a:pt x="738452" y="388143"/>
                      <a:pt x="737546" y="387611"/>
                      <a:pt x="736828" y="386870"/>
                    </a:cubicBezTo>
                    <a:cubicBezTo>
                      <a:pt x="736338" y="385932"/>
                      <a:pt x="736047" y="384904"/>
                      <a:pt x="735973" y="383849"/>
                    </a:cubicBezTo>
                    <a:cubicBezTo>
                      <a:pt x="734206" y="375984"/>
                      <a:pt x="720869" y="374616"/>
                      <a:pt x="720356" y="366751"/>
                    </a:cubicBezTo>
                    <a:cubicBezTo>
                      <a:pt x="720356" y="364528"/>
                      <a:pt x="721211" y="362134"/>
                      <a:pt x="720356" y="360082"/>
                    </a:cubicBezTo>
                    <a:cubicBezTo>
                      <a:pt x="718533" y="355922"/>
                      <a:pt x="711636" y="357518"/>
                      <a:pt x="708502" y="354383"/>
                    </a:cubicBezTo>
                    <a:cubicBezTo>
                      <a:pt x="706906" y="352730"/>
                      <a:pt x="706621" y="350165"/>
                      <a:pt x="705367" y="348227"/>
                    </a:cubicBezTo>
                    <a:cubicBezTo>
                      <a:pt x="701947" y="342870"/>
                      <a:pt x="693968" y="344580"/>
                      <a:pt x="688268" y="346974"/>
                    </a:cubicBezTo>
                    <a:cubicBezTo>
                      <a:pt x="686798" y="347445"/>
                      <a:pt x="685453" y="348244"/>
                      <a:pt x="684336" y="349310"/>
                    </a:cubicBezTo>
                    <a:cubicBezTo>
                      <a:pt x="683680" y="350222"/>
                      <a:pt x="683196" y="351246"/>
                      <a:pt x="682911" y="352331"/>
                    </a:cubicBezTo>
                    <a:cubicBezTo>
                      <a:pt x="681138" y="357707"/>
                      <a:pt x="680010" y="363274"/>
                      <a:pt x="679548" y="368917"/>
                    </a:cubicBezTo>
                    <a:lnTo>
                      <a:pt x="696077" y="375015"/>
                    </a:lnTo>
                    <a:cubicBezTo>
                      <a:pt x="695222" y="378150"/>
                      <a:pt x="690776" y="378264"/>
                      <a:pt x="688439" y="380714"/>
                    </a:cubicBezTo>
                    <a:cubicBezTo>
                      <a:pt x="686017" y="383891"/>
                      <a:pt x="686570" y="388421"/>
                      <a:pt x="689693" y="390917"/>
                    </a:cubicBezTo>
                    <a:cubicBezTo>
                      <a:pt x="692743" y="393292"/>
                      <a:pt x="696122" y="395212"/>
                      <a:pt x="699724" y="396616"/>
                    </a:cubicBezTo>
                    <a:cubicBezTo>
                      <a:pt x="703315" y="398113"/>
                      <a:pt x="705891" y="401336"/>
                      <a:pt x="706564" y="405165"/>
                    </a:cubicBezTo>
                    <a:cubicBezTo>
                      <a:pt x="691198" y="407044"/>
                      <a:pt x="675616" y="406136"/>
                      <a:pt x="660569" y="402486"/>
                    </a:cubicBezTo>
                    <a:cubicBezTo>
                      <a:pt x="659902" y="402376"/>
                      <a:pt x="659275" y="402102"/>
                      <a:pt x="658745" y="401689"/>
                    </a:cubicBezTo>
                    <a:cubicBezTo>
                      <a:pt x="658130" y="400855"/>
                      <a:pt x="657759" y="399869"/>
                      <a:pt x="657662" y="398839"/>
                    </a:cubicBezTo>
                    <a:cubicBezTo>
                      <a:pt x="656408" y="394336"/>
                      <a:pt x="651051" y="392569"/>
                      <a:pt x="646263" y="391486"/>
                    </a:cubicBezTo>
                    <a:cubicBezTo>
                      <a:pt x="647620" y="389288"/>
                      <a:pt x="648549" y="386851"/>
                      <a:pt x="648999" y="384305"/>
                    </a:cubicBezTo>
                    <a:cubicBezTo>
                      <a:pt x="643300" y="385844"/>
                      <a:pt x="638854" y="379575"/>
                      <a:pt x="634294" y="375756"/>
                    </a:cubicBezTo>
                    <a:cubicBezTo>
                      <a:pt x="623522" y="366694"/>
                      <a:pt x="606937" y="370569"/>
                      <a:pt x="593942" y="365098"/>
                    </a:cubicBezTo>
                    <a:cubicBezTo>
                      <a:pt x="593070" y="364779"/>
                      <a:pt x="592284" y="364250"/>
                      <a:pt x="591662" y="363559"/>
                    </a:cubicBezTo>
                    <a:cubicBezTo>
                      <a:pt x="591053" y="362480"/>
                      <a:pt x="590716" y="361266"/>
                      <a:pt x="590693" y="360025"/>
                    </a:cubicBezTo>
                    <a:cubicBezTo>
                      <a:pt x="589548" y="354245"/>
                      <a:pt x="584612" y="349990"/>
                      <a:pt x="578725" y="349709"/>
                    </a:cubicBezTo>
                    <a:cubicBezTo>
                      <a:pt x="574193" y="350031"/>
                      <a:pt x="569839" y="351588"/>
                      <a:pt x="566129" y="354212"/>
                    </a:cubicBezTo>
                    <a:cubicBezTo>
                      <a:pt x="564732" y="354908"/>
                      <a:pt x="563479" y="355855"/>
                      <a:pt x="562424" y="357005"/>
                    </a:cubicBezTo>
                    <a:cubicBezTo>
                      <a:pt x="559916" y="359056"/>
                      <a:pt x="560429" y="363958"/>
                      <a:pt x="557580" y="366295"/>
                    </a:cubicBezTo>
                    <a:close/>
                    <a:moveTo>
                      <a:pt x="579921" y="286502"/>
                    </a:moveTo>
                    <a:cubicBezTo>
                      <a:pt x="581118" y="287984"/>
                      <a:pt x="581859" y="289751"/>
                      <a:pt x="582942" y="291233"/>
                    </a:cubicBezTo>
                    <a:cubicBezTo>
                      <a:pt x="587245" y="295527"/>
                      <a:pt x="593173" y="297787"/>
                      <a:pt x="599243" y="297445"/>
                    </a:cubicBezTo>
                    <a:cubicBezTo>
                      <a:pt x="600457" y="297601"/>
                      <a:pt x="601688" y="297465"/>
                      <a:pt x="602833" y="297046"/>
                    </a:cubicBezTo>
                    <a:cubicBezTo>
                      <a:pt x="605056" y="295906"/>
                      <a:pt x="605455" y="292943"/>
                      <a:pt x="605512" y="290435"/>
                    </a:cubicBezTo>
                    <a:cubicBezTo>
                      <a:pt x="606031" y="287934"/>
                      <a:pt x="604543" y="285454"/>
                      <a:pt x="602092" y="284735"/>
                    </a:cubicBezTo>
                    <a:cubicBezTo>
                      <a:pt x="600115" y="283614"/>
                      <a:pt x="598291" y="282234"/>
                      <a:pt x="596678" y="280632"/>
                    </a:cubicBezTo>
                    <a:cubicBezTo>
                      <a:pt x="591383" y="277251"/>
                      <a:pt x="585079" y="275802"/>
                      <a:pt x="578839" y="276528"/>
                    </a:cubicBezTo>
                    <a:cubicBezTo>
                      <a:pt x="577841" y="276573"/>
                      <a:pt x="576884" y="276932"/>
                      <a:pt x="576103" y="277554"/>
                    </a:cubicBezTo>
                    <a:cubicBezTo>
                      <a:pt x="574900" y="279009"/>
                      <a:pt x="574900" y="281114"/>
                      <a:pt x="576103" y="282570"/>
                    </a:cubicBezTo>
                    <a:cubicBezTo>
                      <a:pt x="577186" y="284165"/>
                      <a:pt x="578782" y="285248"/>
                      <a:pt x="579921" y="286616"/>
                    </a:cubicBezTo>
                    <a:close/>
                    <a:moveTo>
                      <a:pt x="675160" y="284507"/>
                    </a:moveTo>
                    <a:cubicBezTo>
                      <a:pt x="680175" y="283367"/>
                      <a:pt x="685248" y="282456"/>
                      <a:pt x="690377" y="281715"/>
                    </a:cubicBezTo>
                    <a:cubicBezTo>
                      <a:pt x="691278" y="279698"/>
                      <a:pt x="690423" y="277331"/>
                      <a:pt x="688439" y="276357"/>
                    </a:cubicBezTo>
                    <a:cubicBezTo>
                      <a:pt x="686467" y="275504"/>
                      <a:pt x="684296" y="275208"/>
                      <a:pt x="682170" y="275502"/>
                    </a:cubicBezTo>
                    <a:lnTo>
                      <a:pt x="635776" y="277497"/>
                    </a:lnTo>
                    <a:cubicBezTo>
                      <a:pt x="634933" y="277458"/>
                      <a:pt x="634101" y="277677"/>
                      <a:pt x="633383" y="278124"/>
                    </a:cubicBezTo>
                    <a:cubicBezTo>
                      <a:pt x="631502" y="279549"/>
                      <a:pt x="633383" y="282570"/>
                      <a:pt x="632756" y="284849"/>
                    </a:cubicBezTo>
                    <a:cubicBezTo>
                      <a:pt x="632129" y="287129"/>
                      <a:pt x="629507" y="288611"/>
                      <a:pt x="627056" y="289010"/>
                    </a:cubicBezTo>
                    <a:cubicBezTo>
                      <a:pt x="624526" y="289054"/>
                      <a:pt x="622046" y="289762"/>
                      <a:pt x="619875" y="291062"/>
                    </a:cubicBezTo>
                    <a:cubicBezTo>
                      <a:pt x="618484" y="292301"/>
                      <a:pt x="617641" y="294045"/>
                      <a:pt x="617538" y="295906"/>
                    </a:cubicBezTo>
                    <a:cubicBezTo>
                      <a:pt x="617464" y="300996"/>
                      <a:pt x="620297" y="305684"/>
                      <a:pt x="624833" y="307989"/>
                    </a:cubicBezTo>
                    <a:cubicBezTo>
                      <a:pt x="629313" y="310154"/>
                      <a:pt x="634175" y="311431"/>
                      <a:pt x="639139" y="311751"/>
                    </a:cubicBezTo>
                    <a:lnTo>
                      <a:pt x="651393" y="313404"/>
                    </a:lnTo>
                    <a:cubicBezTo>
                      <a:pt x="653262" y="313886"/>
                      <a:pt x="655223" y="313886"/>
                      <a:pt x="657092" y="313404"/>
                    </a:cubicBezTo>
                    <a:cubicBezTo>
                      <a:pt x="658774" y="312525"/>
                      <a:pt x="660261" y="311324"/>
                      <a:pt x="661481" y="309870"/>
                    </a:cubicBezTo>
                    <a:cubicBezTo>
                      <a:pt x="664730" y="306751"/>
                      <a:pt x="668771" y="304583"/>
                      <a:pt x="673165" y="303601"/>
                    </a:cubicBezTo>
                    <a:cubicBezTo>
                      <a:pt x="676015" y="302974"/>
                      <a:pt x="679434" y="302575"/>
                      <a:pt x="680745" y="299953"/>
                    </a:cubicBezTo>
                    <a:cubicBezTo>
                      <a:pt x="681589" y="297254"/>
                      <a:pt x="680329" y="294342"/>
                      <a:pt x="677781" y="293114"/>
                    </a:cubicBezTo>
                    <a:cubicBezTo>
                      <a:pt x="675251" y="292031"/>
                      <a:pt x="672481" y="291618"/>
                      <a:pt x="669745" y="291917"/>
                    </a:cubicBezTo>
                    <a:cubicBezTo>
                      <a:pt x="668548" y="290377"/>
                      <a:pt x="668771" y="288167"/>
                      <a:pt x="670258" y="286901"/>
                    </a:cubicBezTo>
                    <a:cubicBezTo>
                      <a:pt x="671666" y="285724"/>
                      <a:pt x="673353" y="284937"/>
                      <a:pt x="675160" y="284621"/>
                    </a:cubicBezTo>
                    <a:close/>
                    <a:moveTo>
                      <a:pt x="649626" y="262222"/>
                    </a:moveTo>
                    <a:cubicBezTo>
                      <a:pt x="651564" y="262222"/>
                      <a:pt x="653901" y="262222"/>
                      <a:pt x="654813" y="260285"/>
                    </a:cubicBezTo>
                    <a:cubicBezTo>
                      <a:pt x="655457" y="258425"/>
                      <a:pt x="654693" y="256368"/>
                      <a:pt x="652989" y="255383"/>
                    </a:cubicBezTo>
                    <a:cubicBezTo>
                      <a:pt x="651393" y="254243"/>
                      <a:pt x="649455" y="253730"/>
                      <a:pt x="647916" y="252647"/>
                    </a:cubicBezTo>
                    <a:cubicBezTo>
                      <a:pt x="646377" y="251564"/>
                      <a:pt x="645978" y="250880"/>
                      <a:pt x="644952" y="250083"/>
                    </a:cubicBezTo>
                    <a:cubicBezTo>
                      <a:pt x="641920" y="247855"/>
                      <a:pt x="638142" y="246875"/>
                      <a:pt x="634408" y="247347"/>
                    </a:cubicBezTo>
                    <a:cubicBezTo>
                      <a:pt x="630698" y="247880"/>
                      <a:pt x="627113" y="249057"/>
                      <a:pt x="623807" y="250823"/>
                    </a:cubicBezTo>
                    <a:cubicBezTo>
                      <a:pt x="619795" y="252769"/>
                      <a:pt x="615976" y="255098"/>
                      <a:pt x="612408" y="257777"/>
                    </a:cubicBezTo>
                    <a:cubicBezTo>
                      <a:pt x="611098" y="258746"/>
                      <a:pt x="609445" y="259829"/>
                      <a:pt x="607906" y="259202"/>
                    </a:cubicBezTo>
                    <a:cubicBezTo>
                      <a:pt x="615104" y="261463"/>
                      <a:pt x="622650" y="262428"/>
                      <a:pt x="630191" y="262051"/>
                    </a:cubicBezTo>
                    <a:close/>
                    <a:moveTo>
                      <a:pt x="702688" y="261197"/>
                    </a:moveTo>
                    <a:cubicBezTo>
                      <a:pt x="701269" y="256030"/>
                      <a:pt x="697758" y="251692"/>
                      <a:pt x="692999" y="249228"/>
                    </a:cubicBezTo>
                    <a:cubicBezTo>
                      <a:pt x="688234" y="246825"/>
                      <a:pt x="682683" y="246495"/>
                      <a:pt x="677667" y="248316"/>
                    </a:cubicBezTo>
                    <a:cubicBezTo>
                      <a:pt x="676453" y="248715"/>
                      <a:pt x="675325" y="249355"/>
                      <a:pt x="674362" y="250197"/>
                    </a:cubicBezTo>
                    <a:cubicBezTo>
                      <a:pt x="673342" y="251328"/>
                      <a:pt x="672424" y="252549"/>
                      <a:pt x="671626" y="253844"/>
                    </a:cubicBezTo>
                    <a:cubicBezTo>
                      <a:pt x="670156" y="255950"/>
                      <a:pt x="668201" y="257671"/>
                      <a:pt x="665926" y="258860"/>
                    </a:cubicBezTo>
                    <a:cubicBezTo>
                      <a:pt x="669472" y="260875"/>
                      <a:pt x="673324" y="262300"/>
                      <a:pt x="677325" y="263077"/>
                    </a:cubicBezTo>
                    <a:cubicBezTo>
                      <a:pt x="685704" y="262678"/>
                      <a:pt x="694367" y="262051"/>
                      <a:pt x="702688" y="261311"/>
                    </a:cubicBezTo>
                    <a:close/>
                    <a:moveTo>
                      <a:pt x="779859" y="309870"/>
                    </a:moveTo>
                    <a:lnTo>
                      <a:pt x="782538" y="311922"/>
                    </a:lnTo>
                    <a:cubicBezTo>
                      <a:pt x="782857" y="314908"/>
                      <a:pt x="784749" y="317495"/>
                      <a:pt x="787496" y="318704"/>
                    </a:cubicBezTo>
                    <a:cubicBezTo>
                      <a:pt x="790226" y="319889"/>
                      <a:pt x="793190" y="320434"/>
                      <a:pt x="796159" y="320300"/>
                    </a:cubicBezTo>
                    <a:cubicBezTo>
                      <a:pt x="799425" y="320531"/>
                      <a:pt x="802691" y="319818"/>
                      <a:pt x="805564" y="318248"/>
                    </a:cubicBezTo>
                    <a:cubicBezTo>
                      <a:pt x="808476" y="316506"/>
                      <a:pt x="809701" y="312917"/>
                      <a:pt x="808470" y="309756"/>
                    </a:cubicBezTo>
                    <a:cubicBezTo>
                      <a:pt x="807741" y="308548"/>
                      <a:pt x="806766" y="307501"/>
                      <a:pt x="805621" y="306678"/>
                    </a:cubicBezTo>
                    <a:lnTo>
                      <a:pt x="789092" y="293228"/>
                    </a:lnTo>
                    <a:cubicBezTo>
                      <a:pt x="786829" y="291186"/>
                      <a:pt x="784299" y="289461"/>
                      <a:pt x="781569" y="288098"/>
                    </a:cubicBezTo>
                    <a:cubicBezTo>
                      <a:pt x="778787" y="286722"/>
                      <a:pt x="775590" y="286457"/>
                      <a:pt x="772621" y="287357"/>
                    </a:cubicBezTo>
                    <a:cubicBezTo>
                      <a:pt x="769041" y="290508"/>
                      <a:pt x="768141" y="295727"/>
                      <a:pt x="770455" y="299896"/>
                    </a:cubicBezTo>
                    <a:cubicBezTo>
                      <a:pt x="772752" y="303921"/>
                      <a:pt x="775978" y="307341"/>
                      <a:pt x="779859" y="309870"/>
                    </a:cubicBezTo>
                    <a:close/>
                    <a:moveTo>
                      <a:pt x="820097" y="421808"/>
                    </a:moveTo>
                    <a:cubicBezTo>
                      <a:pt x="820548" y="421797"/>
                      <a:pt x="820981" y="421659"/>
                      <a:pt x="821351" y="421409"/>
                    </a:cubicBezTo>
                    <a:cubicBezTo>
                      <a:pt x="821744" y="420953"/>
                      <a:pt x="821933" y="420354"/>
                      <a:pt x="821864" y="419756"/>
                    </a:cubicBezTo>
                    <a:lnTo>
                      <a:pt x="821864" y="406134"/>
                    </a:lnTo>
                    <a:lnTo>
                      <a:pt x="811263" y="405564"/>
                    </a:lnTo>
                    <a:cubicBezTo>
                      <a:pt x="809160" y="405308"/>
                      <a:pt x="807040" y="405308"/>
                      <a:pt x="804937" y="405564"/>
                    </a:cubicBezTo>
                    <a:cubicBezTo>
                      <a:pt x="802144" y="405912"/>
                      <a:pt x="799773" y="407777"/>
                      <a:pt x="798781" y="410409"/>
                    </a:cubicBezTo>
                    <a:cubicBezTo>
                      <a:pt x="798325" y="413134"/>
                      <a:pt x="799397" y="415891"/>
                      <a:pt x="801574" y="417590"/>
                    </a:cubicBezTo>
                    <a:cubicBezTo>
                      <a:pt x="806983" y="421451"/>
                      <a:pt x="813725" y="422971"/>
                      <a:pt x="820268" y="421808"/>
                    </a:cubicBezTo>
                    <a:close/>
                    <a:moveTo>
                      <a:pt x="927532" y="355124"/>
                    </a:moveTo>
                    <a:cubicBezTo>
                      <a:pt x="924968" y="357518"/>
                      <a:pt x="920636" y="355580"/>
                      <a:pt x="918185" y="353072"/>
                    </a:cubicBezTo>
                    <a:cubicBezTo>
                      <a:pt x="915734" y="350564"/>
                      <a:pt x="913170" y="347373"/>
                      <a:pt x="909636" y="347373"/>
                    </a:cubicBezTo>
                    <a:cubicBezTo>
                      <a:pt x="907812" y="347373"/>
                      <a:pt x="905817" y="348113"/>
                      <a:pt x="904278" y="347373"/>
                    </a:cubicBezTo>
                    <a:cubicBezTo>
                      <a:pt x="902740" y="346632"/>
                      <a:pt x="902740" y="342813"/>
                      <a:pt x="901087" y="341103"/>
                    </a:cubicBezTo>
                    <a:cubicBezTo>
                      <a:pt x="899434" y="339393"/>
                      <a:pt x="897211" y="339849"/>
                      <a:pt x="895387" y="338880"/>
                    </a:cubicBezTo>
                    <a:cubicBezTo>
                      <a:pt x="892196" y="337227"/>
                      <a:pt x="890828" y="332041"/>
                      <a:pt x="887294" y="332440"/>
                    </a:cubicBezTo>
                    <a:cubicBezTo>
                      <a:pt x="885972" y="332724"/>
                      <a:pt x="884843" y="333580"/>
                      <a:pt x="884216" y="334777"/>
                    </a:cubicBezTo>
                    <a:cubicBezTo>
                      <a:pt x="882193" y="339496"/>
                      <a:pt x="883179" y="344968"/>
                      <a:pt x="886724" y="348683"/>
                    </a:cubicBezTo>
                    <a:cubicBezTo>
                      <a:pt x="890229" y="352274"/>
                      <a:pt x="893347" y="356229"/>
                      <a:pt x="896014" y="360481"/>
                    </a:cubicBezTo>
                    <a:cubicBezTo>
                      <a:pt x="896476" y="361700"/>
                      <a:pt x="897069" y="362866"/>
                      <a:pt x="897781" y="363958"/>
                    </a:cubicBezTo>
                    <a:cubicBezTo>
                      <a:pt x="898704" y="364995"/>
                      <a:pt x="899804" y="365863"/>
                      <a:pt x="901030" y="366523"/>
                    </a:cubicBezTo>
                    <a:lnTo>
                      <a:pt x="909978" y="372222"/>
                    </a:lnTo>
                    <a:cubicBezTo>
                      <a:pt x="905544" y="374769"/>
                      <a:pt x="900386" y="375752"/>
                      <a:pt x="895330" y="375015"/>
                    </a:cubicBezTo>
                    <a:cubicBezTo>
                      <a:pt x="893774" y="374891"/>
                      <a:pt x="892292" y="374316"/>
                      <a:pt x="891056" y="373362"/>
                    </a:cubicBezTo>
                    <a:cubicBezTo>
                      <a:pt x="888833" y="371481"/>
                      <a:pt x="888662" y="368005"/>
                      <a:pt x="886610" y="365896"/>
                    </a:cubicBezTo>
                    <a:cubicBezTo>
                      <a:pt x="884649" y="364436"/>
                      <a:pt x="882421" y="363372"/>
                      <a:pt x="880056" y="362761"/>
                    </a:cubicBezTo>
                    <a:cubicBezTo>
                      <a:pt x="876522" y="361222"/>
                      <a:pt x="873786" y="358202"/>
                      <a:pt x="870310" y="356549"/>
                    </a:cubicBezTo>
                    <a:cubicBezTo>
                      <a:pt x="866833" y="354896"/>
                      <a:pt x="861760" y="355238"/>
                      <a:pt x="860222" y="358771"/>
                    </a:cubicBezTo>
                    <a:cubicBezTo>
                      <a:pt x="859401" y="361836"/>
                      <a:pt x="860421" y="365098"/>
                      <a:pt x="862843" y="367150"/>
                    </a:cubicBezTo>
                    <a:cubicBezTo>
                      <a:pt x="865209" y="369165"/>
                      <a:pt x="867050" y="371728"/>
                      <a:pt x="868201" y="374616"/>
                    </a:cubicBezTo>
                    <a:cubicBezTo>
                      <a:pt x="868577" y="377754"/>
                      <a:pt x="867939" y="380930"/>
                      <a:pt x="866377" y="383678"/>
                    </a:cubicBezTo>
                    <a:cubicBezTo>
                      <a:pt x="865522" y="385502"/>
                      <a:pt x="864211" y="387611"/>
                      <a:pt x="862216" y="387440"/>
                    </a:cubicBezTo>
                    <a:cubicBezTo>
                      <a:pt x="860222" y="387269"/>
                      <a:pt x="859937" y="386129"/>
                      <a:pt x="859139" y="385046"/>
                    </a:cubicBezTo>
                    <a:lnTo>
                      <a:pt x="830641" y="346461"/>
                    </a:lnTo>
                    <a:cubicBezTo>
                      <a:pt x="829678" y="344924"/>
                      <a:pt x="828344" y="343650"/>
                      <a:pt x="826766" y="342756"/>
                    </a:cubicBezTo>
                    <a:cubicBezTo>
                      <a:pt x="825347" y="342216"/>
                      <a:pt x="823836" y="341983"/>
                      <a:pt x="822320" y="342072"/>
                    </a:cubicBezTo>
                    <a:lnTo>
                      <a:pt x="810921" y="342072"/>
                    </a:lnTo>
                    <a:cubicBezTo>
                      <a:pt x="809086" y="341841"/>
                      <a:pt x="807222" y="342222"/>
                      <a:pt x="805621" y="343155"/>
                    </a:cubicBezTo>
                    <a:cubicBezTo>
                      <a:pt x="804116" y="344650"/>
                      <a:pt x="803364" y="346743"/>
                      <a:pt x="803569" y="348854"/>
                    </a:cubicBezTo>
                    <a:cubicBezTo>
                      <a:pt x="803711" y="355031"/>
                      <a:pt x="806544" y="360838"/>
                      <a:pt x="811320" y="364756"/>
                    </a:cubicBezTo>
                    <a:cubicBezTo>
                      <a:pt x="814284" y="367150"/>
                      <a:pt x="817818" y="368689"/>
                      <a:pt x="820610" y="371196"/>
                    </a:cubicBezTo>
                    <a:cubicBezTo>
                      <a:pt x="823699" y="373527"/>
                      <a:pt x="825130" y="377457"/>
                      <a:pt x="824258" y="381227"/>
                    </a:cubicBezTo>
                    <a:cubicBezTo>
                      <a:pt x="825740" y="383906"/>
                      <a:pt x="829957" y="382253"/>
                      <a:pt x="832750" y="383564"/>
                    </a:cubicBezTo>
                    <a:cubicBezTo>
                      <a:pt x="835543" y="384875"/>
                      <a:pt x="835999" y="390233"/>
                      <a:pt x="838906" y="392455"/>
                    </a:cubicBezTo>
                    <a:cubicBezTo>
                      <a:pt x="841812" y="394678"/>
                      <a:pt x="848082" y="391999"/>
                      <a:pt x="851729" y="394450"/>
                    </a:cubicBezTo>
                    <a:cubicBezTo>
                      <a:pt x="852829" y="395321"/>
                      <a:pt x="853821" y="396316"/>
                      <a:pt x="854693" y="397414"/>
                    </a:cubicBezTo>
                    <a:cubicBezTo>
                      <a:pt x="859823" y="402486"/>
                      <a:pt x="868543" y="399808"/>
                      <a:pt x="874584" y="395875"/>
                    </a:cubicBezTo>
                    <a:cubicBezTo>
                      <a:pt x="878198" y="392849"/>
                      <a:pt x="882575" y="390877"/>
                      <a:pt x="887237" y="390176"/>
                    </a:cubicBezTo>
                    <a:cubicBezTo>
                      <a:pt x="891455" y="390176"/>
                      <a:pt x="896242" y="392569"/>
                      <a:pt x="899548" y="390176"/>
                    </a:cubicBezTo>
                    <a:cubicBezTo>
                      <a:pt x="900403" y="389492"/>
                      <a:pt x="901201" y="388466"/>
                      <a:pt x="902284" y="388580"/>
                    </a:cubicBezTo>
                    <a:cubicBezTo>
                      <a:pt x="903367" y="388694"/>
                      <a:pt x="903823" y="389492"/>
                      <a:pt x="904222" y="390347"/>
                    </a:cubicBezTo>
                    <a:cubicBezTo>
                      <a:pt x="906912" y="396488"/>
                      <a:pt x="904113" y="403647"/>
                      <a:pt x="897969" y="406337"/>
                    </a:cubicBezTo>
                    <a:cubicBezTo>
                      <a:pt x="897815" y="406405"/>
                      <a:pt x="897656" y="406471"/>
                      <a:pt x="897496" y="406533"/>
                    </a:cubicBezTo>
                    <a:cubicBezTo>
                      <a:pt x="896066" y="406809"/>
                      <a:pt x="894709" y="407371"/>
                      <a:pt x="893507" y="408186"/>
                    </a:cubicBezTo>
                    <a:cubicBezTo>
                      <a:pt x="891341" y="410181"/>
                      <a:pt x="892139" y="413885"/>
                      <a:pt x="893108" y="416450"/>
                    </a:cubicBezTo>
                    <a:lnTo>
                      <a:pt x="894589" y="420725"/>
                    </a:lnTo>
                    <a:cubicBezTo>
                      <a:pt x="895290" y="423557"/>
                      <a:pt x="896818" y="426116"/>
                      <a:pt x="898978" y="428077"/>
                    </a:cubicBezTo>
                    <a:cubicBezTo>
                      <a:pt x="905988" y="433264"/>
                      <a:pt x="916076" y="423404"/>
                      <a:pt x="924170" y="426538"/>
                    </a:cubicBezTo>
                    <a:cubicBezTo>
                      <a:pt x="926392" y="427336"/>
                      <a:pt x="928558" y="429103"/>
                      <a:pt x="930781" y="428362"/>
                    </a:cubicBezTo>
                    <a:cubicBezTo>
                      <a:pt x="930439" y="424714"/>
                      <a:pt x="934999" y="422663"/>
                      <a:pt x="938589" y="422150"/>
                    </a:cubicBezTo>
                    <a:lnTo>
                      <a:pt x="948335" y="420269"/>
                    </a:lnTo>
                    <a:cubicBezTo>
                      <a:pt x="951219" y="420074"/>
                      <a:pt x="953932" y="418839"/>
                      <a:pt x="955973" y="416792"/>
                    </a:cubicBezTo>
                    <a:cubicBezTo>
                      <a:pt x="957819" y="413900"/>
                      <a:pt x="956970" y="410059"/>
                      <a:pt x="954080" y="408213"/>
                    </a:cubicBezTo>
                    <a:cubicBezTo>
                      <a:pt x="953471" y="407825"/>
                      <a:pt x="952798" y="407546"/>
                      <a:pt x="952097" y="407388"/>
                    </a:cubicBezTo>
                    <a:cubicBezTo>
                      <a:pt x="954935" y="405916"/>
                      <a:pt x="956731" y="403003"/>
                      <a:pt x="956771" y="399808"/>
                    </a:cubicBezTo>
                    <a:cubicBezTo>
                      <a:pt x="951368" y="398216"/>
                      <a:pt x="948273" y="392544"/>
                      <a:pt x="949863" y="387139"/>
                    </a:cubicBezTo>
                    <a:cubicBezTo>
                      <a:pt x="950097" y="386348"/>
                      <a:pt x="950427" y="385588"/>
                      <a:pt x="950843" y="384875"/>
                    </a:cubicBezTo>
                    <a:cubicBezTo>
                      <a:pt x="952348" y="382774"/>
                      <a:pt x="953961" y="380757"/>
                      <a:pt x="955688" y="378834"/>
                    </a:cubicBezTo>
                    <a:cubicBezTo>
                      <a:pt x="957455" y="376826"/>
                      <a:pt x="957751" y="373920"/>
                      <a:pt x="956429" y="371595"/>
                    </a:cubicBezTo>
                    <a:cubicBezTo>
                      <a:pt x="953750" y="372621"/>
                      <a:pt x="950729" y="370113"/>
                      <a:pt x="949931" y="367378"/>
                    </a:cubicBezTo>
                    <a:cubicBezTo>
                      <a:pt x="949133" y="364642"/>
                      <a:pt x="949190" y="361678"/>
                      <a:pt x="948164" y="358942"/>
                    </a:cubicBezTo>
                    <a:cubicBezTo>
                      <a:pt x="947526" y="357421"/>
                      <a:pt x="946705" y="355986"/>
                      <a:pt x="945714" y="354668"/>
                    </a:cubicBezTo>
                    <a:lnTo>
                      <a:pt x="941895" y="348968"/>
                    </a:lnTo>
                    <a:cubicBezTo>
                      <a:pt x="940185" y="346461"/>
                      <a:pt x="937734" y="343611"/>
                      <a:pt x="934657" y="344124"/>
                    </a:cubicBezTo>
                    <a:cubicBezTo>
                      <a:pt x="931579" y="344637"/>
                      <a:pt x="930325" y="347999"/>
                      <a:pt x="929527" y="350906"/>
                    </a:cubicBezTo>
                    <a:cubicBezTo>
                      <a:pt x="929299" y="352448"/>
                      <a:pt x="928672" y="353904"/>
                      <a:pt x="927703" y="355124"/>
                    </a:cubicBezTo>
                    <a:close/>
                    <a:moveTo>
                      <a:pt x="779346" y="224036"/>
                    </a:moveTo>
                    <a:cubicBezTo>
                      <a:pt x="781654" y="224999"/>
                      <a:pt x="784139" y="225484"/>
                      <a:pt x="786641" y="225461"/>
                    </a:cubicBezTo>
                    <a:cubicBezTo>
                      <a:pt x="795954" y="226017"/>
                      <a:pt x="805193" y="227468"/>
                      <a:pt x="814227" y="229792"/>
                    </a:cubicBezTo>
                    <a:cubicBezTo>
                      <a:pt x="818097" y="230508"/>
                      <a:pt x="821733" y="232151"/>
                      <a:pt x="824828" y="234580"/>
                    </a:cubicBezTo>
                    <a:cubicBezTo>
                      <a:pt x="827985" y="237087"/>
                      <a:pt x="829182" y="241338"/>
                      <a:pt x="827792" y="245124"/>
                    </a:cubicBezTo>
                    <a:cubicBezTo>
                      <a:pt x="817191" y="247575"/>
                      <a:pt x="805279" y="245580"/>
                      <a:pt x="795932" y="251165"/>
                    </a:cubicBezTo>
                    <a:cubicBezTo>
                      <a:pt x="793270" y="252397"/>
                      <a:pt x="791577" y="255072"/>
                      <a:pt x="791600" y="258005"/>
                    </a:cubicBezTo>
                    <a:cubicBezTo>
                      <a:pt x="792227" y="261538"/>
                      <a:pt x="796501" y="262792"/>
                      <a:pt x="800035" y="263362"/>
                    </a:cubicBezTo>
                    <a:cubicBezTo>
                      <a:pt x="810579" y="265072"/>
                      <a:pt x="822377" y="266440"/>
                      <a:pt x="831040" y="260228"/>
                    </a:cubicBezTo>
                    <a:cubicBezTo>
                      <a:pt x="832596" y="258953"/>
                      <a:pt x="834255" y="257809"/>
                      <a:pt x="835999" y="256808"/>
                    </a:cubicBezTo>
                    <a:cubicBezTo>
                      <a:pt x="837407" y="256177"/>
                      <a:pt x="838911" y="255773"/>
                      <a:pt x="840444" y="255611"/>
                    </a:cubicBezTo>
                    <a:cubicBezTo>
                      <a:pt x="848492" y="254589"/>
                      <a:pt x="856625" y="256622"/>
                      <a:pt x="863242" y="261311"/>
                    </a:cubicBezTo>
                    <a:cubicBezTo>
                      <a:pt x="866029" y="263906"/>
                      <a:pt x="869358" y="265852"/>
                      <a:pt x="872988" y="267010"/>
                    </a:cubicBezTo>
                    <a:cubicBezTo>
                      <a:pt x="874824" y="267040"/>
                      <a:pt x="876636" y="267468"/>
                      <a:pt x="878289" y="268264"/>
                    </a:cubicBezTo>
                    <a:cubicBezTo>
                      <a:pt x="879999" y="269518"/>
                      <a:pt x="880341" y="271855"/>
                      <a:pt x="881082" y="273963"/>
                    </a:cubicBezTo>
                    <a:cubicBezTo>
                      <a:pt x="882598" y="277671"/>
                      <a:pt x="885875" y="280369"/>
                      <a:pt x="889802" y="281145"/>
                    </a:cubicBezTo>
                    <a:cubicBezTo>
                      <a:pt x="890925" y="281257"/>
                      <a:pt x="892030" y="281487"/>
                      <a:pt x="893108" y="281829"/>
                    </a:cubicBezTo>
                    <a:cubicBezTo>
                      <a:pt x="894481" y="282560"/>
                      <a:pt x="895712" y="283525"/>
                      <a:pt x="896755" y="284678"/>
                    </a:cubicBezTo>
                    <a:cubicBezTo>
                      <a:pt x="899320" y="287380"/>
                      <a:pt x="903047" y="288657"/>
                      <a:pt x="906729" y="288098"/>
                    </a:cubicBezTo>
                    <a:cubicBezTo>
                      <a:pt x="910422" y="287378"/>
                      <a:pt x="912919" y="283907"/>
                      <a:pt x="912429" y="280176"/>
                    </a:cubicBezTo>
                    <a:cubicBezTo>
                      <a:pt x="915051" y="278523"/>
                      <a:pt x="918983" y="280176"/>
                      <a:pt x="921377" y="278466"/>
                    </a:cubicBezTo>
                    <a:cubicBezTo>
                      <a:pt x="922551" y="277211"/>
                      <a:pt x="923093" y="275494"/>
                      <a:pt x="922859" y="273792"/>
                    </a:cubicBezTo>
                    <a:cubicBezTo>
                      <a:pt x="922420" y="269065"/>
                      <a:pt x="919753" y="264829"/>
                      <a:pt x="915677" y="262393"/>
                    </a:cubicBezTo>
                    <a:cubicBezTo>
                      <a:pt x="914652" y="261901"/>
                      <a:pt x="913705" y="261247"/>
                      <a:pt x="912885" y="260456"/>
                    </a:cubicBezTo>
                    <a:cubicBezTo>
                      <a:pt x="911460" y="258689"/>
                      <a:pt x="911973" y="256124"/>
                      <a:pt x="911745" y="253844"/>
                    </a:cubicBezTo>
                    <a:cubicBezTo>
                      <a:pt x="911175" y="247803"/>
                      <a:pt x="905190" y="243756"/>
                      <a:pt x="899434" y="241761"/>
                    </a:cubicBezTo>
                    <a:cubicBezTo>
                      <a:pt x="893484" y="240475"/>
                      <a:pt x="887807" y="238140"/>
                      <a:pt x="882678" y="234865"/>
                    </a:cubicBezTo>
                    <a:cubicBezTo>
                      <a:pt x="879480" y="231463"/>
                      <a:pt x="876471" y="227886"/>
                      <a:pt x="873672" y="224150"/>
                    </a:cubicBezTo>
                    <a:cubicBezTo>
                      <a:pt x="870726" y="220336"/>
                      <a:pt x="865596" y="218961"/>
                      <a:pt x="861133" y="220787"/>
                    </a:cubicBezTo>
                    <a:cubicBezTo>
                      <a:pt x="857486" y="223010"/>
                      <a:pt x="855434" y="228824"/>
                      <a:pt x="851102" y="227855"/>
                    </a:cubicBezTo>
                    <a:cubicBezTo>
                      <a:pt x="846771" y="226886"/>
                      <a:pt x="847113" y="222896"/>
                      <a:pt x="846600" y="219590"/>
                    </a:cubicBezTo>
                    <a:cubicBezTo>
                      <a:pt x="846087" y="216285"/>
                      <a:pt x="843294" y="212295"/>
                      <a:pt x="840273" y="213891"/>
                    </a:cubicBezTo>
                    <a:cubicBezTo>
                      <a:pt x="841356" y="210699"/>
                      <a:pt x="837025" y="208590"/>
                      <a:pt x="833662" y="208191"/>
                    </a:cubicBezTo>
                    <a:cubicBezTo>
                      <a:pt x="815424" y="205399"/>
                      <a:pt x="795704" y="205000"/>
                      <a:pt x="779802" y="214290"/>
                    </a:cubicBezTo>
                    <a:cubicBezTo>
                      <a:pt x="778161" y="215063"/>
                      <a:pt x="776844" y="216397"/>
                      <a:pt x="776097" y="218052"/>
                    </a:cubicBezTo>
                    <a:cubicBezTo>
                      <a:pt x="775750" y="220559"/>
                      <a:pt x="777095" y="222997"/>
                      <a:pt x="779403" y="224036"/>
                    </a:cubicBezTo>
                    <a:close/>
                    <a:moveTo>
                      <a:pt x="914025" y="182430"/>
                    </a:moveTo>
                    <a:cubicBezTo>
                      <a:pt x="914811" y="182742"/>
                      <a:pt x="915529" y="183207"/>
                      <a:pt x="916133" y="183798"/>
                    </a:cubicBezTo>
                    <a:cubicBezTo>
                      <a:pt x="918527" y="186248"/>
                      <a:pt x="917102" y="191378"/>
                      <a:pt x="920180" y="192974"/>
                    </a:cubicBezTo>
                    <a:cubicBezTo>
                      <a:pt x="921440" y="193376"/>
                      <a:pt x="922796" y="193376"/>
                      <a:pt x="924056" y="192974"/>
                    </a:cubicBezTo>
                    <a:cubicBezTo>
                      <a:pt x="925002" y="192925"/>
                      <a:pt x="925885" y="192493"/>
                      <a:pt x="926507" y="191777"/>
                    </a:cubicBezTo>
                    <a:cubicBezTo>
                      <a:pt x="926826" y="190958"/>
                      <a:pt x="926997" y="190090"/>
                      <a:pt x="927019" y="189212"/>
                    </a:cubicBezTo>
                    <a:cubicBezTo>
                      <a:pt x="927418" y="187559"/>
                      <a:pt x="929071" y="186419"/>
                      <a:pt x="929983" y="184938"/>
                    </a:cubicBezTo>
                    <a:cubicBezTo>
                      <a:pt x="930901" y="182988"/>
                      <a:pt x="930901" y="180732"/>
                      <a:pt x="929983" y="178782"/>
                    </a:cubicBezTo>
                    <a:cubicBezTo>
                      <a:pt x="929088" y="176856"/>
                      <a:pt x="927920" y="175070"/>
                      <a:pt x="926507" y="173482"/>
                    </a:cubicBezTo>
                    <a:lnTo>
                      <a:pt x="922574" y="168637"/>
                    </a:lnTo>
                    <a:cubicBezTo>
                      <a:pt x="922249" y="168220"/>
                      <a:pt x="921867" y="167855"/>
                      <a:pt x="921434" y="167554"/>
                    </a:cubicBezTo>
                    <a:cubicBezTo>
                      <a:pt x="920870" y="167246"/>
                      <a:pt x="920248" y="167053"/>
                      <a:pt x="919610" y="166984"/>
                    </a:cubicBezTo>
                    <a:cubicBezTo>
                      <a:pt x="914298" y="166253"/>
                      <a:pt x="908952" y="165834"/>
                      <a:pt x="903595" y="165730"/>
                    </a:cubicBezTo>
                    <a:cubicBezTo>
                      <a:pt x="902922" y="165628"/>
                      <a:pt x="902232" y="165769"/>
                      <a:pt x="901657" y="166129"/>
                    </a:cubicBezTo>
                    <a:cubicBezTo>
                      <a:pt x="901400" y="166375"/>
                      <a:pt x="901189" y="166664"/>
                      <a:pt x="901030" y="166984"/>
                    </a:cubicBezTo>
                    <a:cubicBezTo>
                      <a:pt x="899736" y="170617"/>
                      <a:pt x="900933" y="174668"/>
                      <a:pt x="903994" y="177015"/>
                    </a:cubicBezTo>
                    <a:cubicBezTo>
                      <a:pt x="907094" y="179271"/>
                      <a:pt x="910485" y="181093"/>
                      <a:pt x="914082" y="182430"/>
                    </a:cubicBezTo>
                    <a:close/>
                    <a:moveTo>
                      <a:pt x="955232" y="271741"/>
                    </a:moveTo>
                    <a:cubicBezTo>
                      <a:pt x="955574" y="274393"/>
                      <a:pt x="956087" y="277020"/>
                      <a:pt x="956771" y="279606"/>
                    </a:cubicBezTo>
                    <a:cubicBezTo>
                      <a:pt x="958680" y="282611"/>
                      <a:pt x="961758" y="284678"/>
                      <a:pt x="965263" y="285305"/>
                    </a:cubicBezTo>
                    <a:cubicBezTo>
                      <a:pt x="972045" y="287414"/>
                      <a:pt x="979911" y="289352"/>
                      <a:pt x="985838" y="285305"/>
                    </a:cubicBezTo>
                    <a:cubicBezTo>
                      <a:pt x="987628" y="283772"/>
                      <a:pt x="989531" y="282381"/>
                      <a:pt x="991538" y="281145"/>
                    </a:cubicBezTo>
                    <a:cubicBezTo>
                      <a:pt x="996325" y="278979"/>
                      <a:pt x="1002309" y="281772"/>
                      <a:pt x="1006983" y="279492"/>
                    </a:cubicBezTo>
                    <a:cubicBezTo>
                      <a:pt x="1009964" y="277854"/>
                      <a:pt x="1011976" y="274887"/>
                      <a:pt x="1012397" y="271513"/>
                    </a:cubicBezTo>
                    <a:cubicBezTo>
                      <a:pt x="1012774" y="268206"/>
                      <a:pt x="1012643" y="264861"/>
                      <a:pt x="1011999" y="261595"/>
                    </a:cubicBezTo>
                    <a:cubicBezTo>
                      <a:pt x="1011748" y="258392"/>
                      <a:pt x="1010853" y="255272"/>
                      <a:pt x="1009377" y="252419"/>
                    </a:cubicBezTo>
                    <a:cubicBezTo>
                      <a:pt x="1007838" y="249540"/>
                      <a:pt x="1004772" y="247808"/>
                      <a:pt x="1001512" y="247974"/>
                    </a:cubicBezTo>
                    <a:cubicBezTo>
                      <a:pt x="1000366" y="248207"/>
                      <a:pt x="999254" y="248590"/>
                      <a:pt x="998206" y="249114"/>
                    </a:cubicBezTo>
                    <a:lnTo>
                      <a:pt x="985382" y="254813"/>
                    </a:lnTo>
                    <a:cubicBezTo>
                      <a:pt x="983946" y="255679"/>
                      <a:pt x="982259" y="256040"/>
                      <a:pt x="980594" y="255839"/>
                    </a:cubicBezTo>
                    <a:cubicBezTo>
                      <a:pt x="977802" y="255155"/>
                      <a:pt x="976719" y="251906"/>
                      <a:pt x="974895" y="249684"/>
                    </a:cubicBezTo>
                    <a:cubicBezTo>
                      <a:pt x="972598" y="246950"/>
                      <a:pt x="968973" y="245720"/>
                      <a:pt x="965491" y="246492"/>
                    </a:cubicBezTo>
                    <a:cubicBezTo>
                      <a:pt x="964134" y="243350"/>
                      <a:pt x="962197" y="240490"/>
                      <a:pt x="959791" y="238057"/>
                    </a:cubicBezTo>
                    <a:cubicBezTo>
                      <a:pt x="957232" y="235637"/>
                      <a:pt x="953516" y="234885"/>
                      <a:pt x="950216" y="236119"/>
                    </a:cubicBezTo>
                    <a:cubicBezTo>
                      <a:pt x="946284" y="238650"/>
                      <a:pt x="944295" y="243328"/>
                      <a:pt x="945201" y="247917"/>
                    </a:cubicBezTo>
                    <a:cubicBezTo>
                      <a:pt x="945611" y="254664"/>
                      <a:pt x="947988" y="261143"/>
                      <a:pt x="952040" y="266554"/>
                    </a:cubicBezTo>
                    <a:cubicBezTo>
                      <a:pt x="953402" y="268092"/>
                      <a:pt x="954497" y="269844"/>
                      <a:pt x="955289" y="271741"/>
                    </a:cubicBezTo>
                    <a:close/>
                    <a:moveTo>
                      <a:pt x="1021403" y="309015"/>
                    </a:moveTo>
                    <a:cubicBezTo>
                      <a:pt x="1022565" y="307814"/>
                      <a:pt x="1023962" y="306864"/>
                      <a:pt x="1025506" y="306222"/>
                    </a:cubicBezTo>
                    <a:cubicBezTo>
                      <a:pt x="1026310" y="306043"/>
                      <a:pt x="1027131" y="305948"/>
                      <a:pt x="1027957" y="305937"/>
                    </a:cubicBezTo>
                    <a:cubicBezTo>
                      <a:pt x="1032146" y="305351"/>
                      <a:pt x="1036153" y="303853"/>
                      <a:pt x="1039698" y="301549"/>
                    </a:cubicBezTo>
                    <a:cubicBezTo>
                      <a:pt x="1041818" y="300586"/>
                      <a:pt x="1043745" y="299254"/>
                      <a:pt x="1045397" y="297616"/>
                    </a:cubicBezTo>
                    <a:cubicBezTo>
                      <a:pt x="1047090" y="295981"/>
                      <a:pt x="1047820" y="293591"/>
                      <a:pt x="1047335" y="291290"/>
                    </a:cubicBezTo>
                    <a:cubicBezTo>
                      <a:pt x="1039761" y="289233"/>
                      <a:pt x="1031930" y="288273"/>
                      <a:pt x="1024081" y="288440"/>
                    </a:cubicBezTo>
                    <a:cubicBezTo>
                      <a:pt x="1023095" y="288386"/>
                      <a:pt x="1022115" y="288645"/>
                      <a:pt x="1021289" y="289181"/>
                    </a:cubicBezTo>
                    <a:cubicBezTo>
                      <a:pt x="1020776" y="289771"/>
                      <a:pt x="1020337" y="290422"/>
                      <a:pt x="1019978" y="291119"/>
                    </a:cubicBezTo>
                    <a:cubicBezTo>
                      <a:pt x="1018154" y="293854"/>
                      <a:pt x="1014278" y="293854"/>
                      <a:pt x="1010916" y="293741"/>
                    </a:cubicBezTo>
                    <a:cubicBezTo>
                      <a:pt x="1007661" y="293673"/>
                      <a:pt x="1004407" y="293806"/>
                      <a:pt x="1001169" y="294139"/>
                    </a:cubicBezTo>
                    <a:cubicBezTo>
                      <a:pt x="997613" y="294293"/>
                      <a:pt x="994165" y="295417"/>
                      <a:pt x="991195" y="297388"/>
                    </a:cubicBezTo>
                    <a:cubicBezTo>
                      <a:pt x="988266" y="299552"/>
                      <a:pt x="987206" y="303442"/>
                      <a:pt x="988631" y="306792"/>
                    </a:cubicBezTo>
                    <a:cubicBezTo>
                      <a:pt x="993783" y="309413"/>
                      <a:pt x="999266" y="311330"/>
                      <a:pt x="1004931" y="312492"/>
                    </a:cubicBezTo>
                    <a:cubicBezTo>
                      <a:pt x="1010682" y="313631"/>
                      <a:pt x="1016655" y="312375"/>
                      <a:pt x="1021460" y="309015"/>
                    </a:cubicBezTo>
                    <a:close/>
                    <a:moveTo>
                      <a:pt x="1088086" y="433834"/>
                    </a:moveTo>
                    <a:cubicBezTo>
                      <a:pt x="1093786" y="435486"/>
                      <a:pt x="1100967" y="433834"/>
                      <a:pt x="1104615" y="438450"/>
                    </a:cubicBezTo>
                    <a:cubicBezTo>
                      <a:pt x="1106610" y="440958"/>
                      <a:pt x="1106781" y="444720"/>
                      <a:pt x="1109232" y="446828"/>
                    </a:cubicBezTo>
                    <a:cubicBezTo>
                      <a:pt x="1112059" y="448609"/>
                      <a:pt x="1115598" y="448844"/>
                      <a:pt x="1118636" y="447455"/>
                    </a:cubicBezTo>
                    <a:cubicBezTo>
                      <a:pt x="1126455" y="444842"/>
                      <a:pt x="1133181" y="439685"/>
                      <a:pt x="1137729" y="432808"/>
                    </a:cubicBezTo>
                    <a:cubicBezTo>
                      <a:pt x="1138572" y="431314"/>
                      <a:pt x="1139673" y="429982"/>
                      <a:pt x="1140978" y="428875"/>
                    </a:cubicBezTo>
                    <a:cubicBezTo>
                      <a:pt x="1145252" y="425911"/>
                      <a:pt x="1151123" y="429844"/>
                      <a:pt x="1153801" y="434574"/>
                    </a:cubicBezTo>
                    <a:cubicBezTo>
                      <a:pt x="1156480" y="439305"/>
                      <a:pt x="1158247" y="444606"/>
                      <a:pt x="1162807" y="447170"/>
                    </a:cubicBezTo>
                    <a:cubicBezTo>
                      <a:pt x="1168962" y="450533"/>
                      <a:pt x="1176314" y="446714"/>
                      <a:pt x="1183268" y="445859"/>
                    </a:cubicBezTo>
                    <a:cubicBezTo>
                      <a:pt x="1192900" y="444663"/>
                      <a:pt x="1202190" y="449507"/>
                      <a:pt x="1211765" y="450704"/>
                    </a:cubicBezTo>
                    <a:cubicBezTo>
                      <a:pt x="1222588" y="451259"/>
                      <a:pt x="1233400" y="449530"/>
                      <a:pt x="1243511" y="445631"/>
                    </a:cubicBezTo>
                    <a:cubicBezTo>
                      <a:pt x="1246355" y="444928"/>
                      <a:pt x="1249057" y="443732"/>
                      <a:pt x="1251490" y="442098"/>
                    </a:cubicBezTo>
                    <a:cubicBezTo>
                      <a:pt x="1256506" y="438336"/>
                      <a:pt x="1258900" y="430699"/>
                      <a:pt x="1265055" y="429559"/>
                    </a:cubicBezTo>
                    <a:cubicBezTo>
                      <a:pt x="1274345" y="427678"/>
                      <a:pt x="1279418" y="441642"/>
                      <a:pt x="1288708" y="443466"/>
                    </a:cubicBezTo>
                    <a:cubicBezTo>
                      <a:pt x="1297998" y="445289"/>
                      <a:pt x="1303641" y="436227"/>
                      <a:pt x="1311506" y="432922"/>
                    </a:cubicBezTo>
                    <a:cubicBezTo>
                      <a:pt x="1314299" y="431782"/>
                      <a:pt x="1317205" y="431326"/>
                      <a:pt x="1320169" y="430357"/>
                    </a:cubicBezTo>
                    <a:cubicBezTo>
                      <a:pt x="1326239" y="427824"/>
                      <a:pt x="1331728" y="424081"/>
                      <a:pt x="1336299" y="419357"/>
                    </a:cubicBezTo>
                    <a:cubicBezTo>
                      <a:pt x="1339553" y="417042"/>
                      <a:pt x="1341639" y="413419"/>
                      <a:pt x="1341998" y="409440"/>
                    </a:cubicBezTo>
                    <a:cubicBezTo>
                      <a:pt x="1341998" y="405051"/>
                      <a:pt x="1337495" y="402087"/>
                      <a:pt x="1333563" y="400150"/>
                    </a:cubicBezTo>
                    <a:cubicBezTo>
                      <a:pt x="1310765" y="388751"/>
                      <a:pt x="1284091" y="389378"/>
                      <a:pt x="1258615" y="390005"/>
                    </a:cubicBezTo>
                    <a:cubicBezTo>
                      <a:pt x="1247700" y="389500"/>
                      <a:pt x="1236809" y="391306"/>
                      <a:pt x="1226641" y="395305"/>
                    </a:cubicBezTo>
                    <a:cubicBezTo>
                      <a:pt x="1221773" y="398409"/>
                      <a:pt x="1216496" y="400826"/>
                      <a:pt x="1210967" y="402486"/>
                    </a:cubicBezTo>
                    <a:cubicBezTo>
                      <a:pt x="1197232" y="404823"/>
                      <a:pt x="1182470" y="390689"/>
                      <a:pt x="1170444" y="397300"/>
                    </a:cubicBezTo>
                    <a:cubicBezTo>
                      <a:pt x="1164744" y="400264"/>
                      <a:pt x="1160071" y="407103"/>
                      <a:pt x="1154315" y="404709"/>
                    </a:cubicBezTo>
                    <a:cubicBezTo>
                      <a:pt x="1148558" y="402315"/>
                      <a:pt x="1149356" y="395305"/>
                      <a:pt x="1145708" y="391315"/>
                    </a:cubicBezTo>
                    <a:cubicBezTo>
                      <a:pt x="1140009" y="385046"/>
                      <a:pt x="1129750" y="389663"/>
                      <a:pt x="1121485" y="388238"/>
                    </a:cubicBezTo>
                    <a:cubicBezTo>
                      <a:pt x="1118163" y="387961"/>
                      <a:pt x="1115330" y="385713"/>
                      <a:pt x="1114304" y="382538"/>
                    </a:cubicBezTo>
                    <a:cubicBezTo>
                      <a:pt x="1113278" y="377295"/>
                      <a:pt x="1119605" y="374046"/>
                      <a:pt x="1124563" y="372051"/>
                    </a:cubicBezTo>
                    <a:cubicBezTo>
                      <a:pt x="1129522" y="370056"/>
                      <a:pt x="1135050" y="364699"/>
                      <a:pt x="1131915" y="360652"/>
                    </a:cubicBezTo>
                    <a:cubicBezTo>
                      <a:pt x="1128781" y="356606"/>
                      <a:pt x="1121144" y="359911"/>
                      <a:pt x="1116527" y="356948"/>
                    </a:cubicBezTo>
                    <a:cubicBezTo>
                      <a:pt x="1114475" y="355637"/>
                      <a:pt x="1113449" y="353243"/>
                      <a:pt x="1111682" y="351647"/>
                    </a:cubicBezTo>
                    <a:cubicBezTo>
                      <a:pt x="1108656" y="349453"/>
                      <a:pt x="1104991" y="348312"/>
                      <a:pt x="1101252" y="348398"/>
                    </a:cubicBezTo>
                    <a:lnTo>
                      <a:pt x="1062268" y="345435"/>
                    </a:lnTo>
                    <a:cubicBezTo>
                      <a:pt x="1060034" y="345385"/>
                      <a:pt x="1057822" y="344980"/>
                      <a:pt x="1055714" y="344238"/>
                    </a:cubicBezTo>
                    <a:cubicBezTo>
                      <a:pt x="1053645" y="343122"/>
                      <a:pt x="1051513" y="342133"/>
                      <a:pt x="1049330" y="341274"/>
                    </a:cubicBezTo>
                    <a:cubicBezTo>
                      <a:pt x="1046024" y="340419"/>
                      <a:pt x="1042434" y="341730"/>
                      <a:pt x="1039185" y="340704"/>
                    </a:cubicBezTo>
                    <a:cubicBezTo>
                      <a:pt x="1037059" y="339832"/>
                      <a:pt x="1035121" y="338554"/>
                      <a:pt x="1033486" y="336942"/>
                    </a:cubicBezTo>
                    <a:cubicBezTo>
                      <a:pt x="1019414" y="325524"/>
                      <a:pt x="1000315" y="322482"/>
                      <a:pt x="983387" y="328963"/>
                    </a:cubicBezTo>
                    <a:cubicBezTo>
                      <a:pt x="980589" y="329813"/>
                      <a:pt x="978172" y="331606"/>
                      <a:pt x="976548" y="334036"/>
                    </a:cubicBezTo>
                    <a:cubicBezTo>
                      <a:pt x="974775" y="337838"/>
                      <a:pt x="976001" y="342365"/>
                      <a:pt x="979454" y="344751"/>
                    </a:cubicBezTo>
                    <a:cubicBezTo>
                      <a:pt x="982886" y="346880"/>
                      <a:pt x="987143" y="347199"/>
                      <a:pt x="990853" y="345606"/>
                    </a:cubicBezTo>
                    <a:cubicBezTo>
                      <a:pt x="990814" y="350702"/>
                      <a:pt x="994404" y="355107"/>
                      <a:pt x="999403" y="356093"/>
                    </a:cubicBezTo>
                    <a:cubicBezTo>
                      <a:pt x="1001842" y="356104"/>
                      <a:pt x="1004276" y="356410"/>
                      <a:pt x="1006641" y="357005"/>
                    </a:cubicBezTo>
                    <a:cubicBezTo>
                      <a:pt x="1008220" y="357913"/>
                      <a:pt x="1009645" y="359067"/>
                      <a:pt x="1010859" y="360424"/>
                    </a:cubicBezTo>
                    <a:cubicBezTo>
                      <a:pt x="1015903" y="364869"/>
                      <a:pt x="1022845" y="366476"/>
                      <a:pt x="1029325" y="364699"/>
                    </a:cubicBezTo>
                    <a:cubicBezTo>
                      <a:pt x="1033486" y="363048"/>
                      <a:pt x="1037538" y="361144"/>
                      <a:pt x="1041465" y="358999"/>
                    </a:cubicBezTo>
                    <a:cubicBezTo>
                      <a:pt x="1045489" y="356957"/>
                      <a:pt x="1050271" y="357086"/>
                      <a:pt x="1054175" y="359341"/>
                    </a:cubicBezTo>
                    <a:cubicBezTo>
                      <a:pt x="1059874" y="363388"/>
                      <a:pt x="1059133" y="372963"/>
                      <a:pt x="1065118" y="376440"/>
                    </a:cubicBezTo>
                    <a:cubicBezTo>
                      <a:pt x="1066713" y="377352"/>
                      <a:pt x="1068594" y="377580"/>
                      <a:pt x="1070190" y="378492"/>
                    </a:cubicBezTo>
                    <a:cubicBezTo>
                      <a:pt x="1073644" y="380977"/>
                      <a:pt x="1075650" y="385008"/>
                      <a:pt x="1075548" y="389264"/>
                    </a:cubicBezTo>
                    <a:cubicBezTo>
                      <a:pt x="1076175" y="397642"/>
                      <a:pt x="1074180" y="406020"/>
                      <a:pt x="1074693" y="414398"/>
                    </a:cubicBezTo>
                    <a:cubicBezTo>
                      <a:pt x="1075206" y="422777"/>
                      <a:pt x="1080050" y="431440"/>
                      <a:pt x="1088144" y="433834"/>
                    </a:cubicBezTo>
                    <a:close/>
                    <a:moveTo>
                      <a:pt x="978771" y="536424"/>
                    </a:moveTo>
                    <a:cubicBezTo>
                      <a:pt x="979796" y="533688"/>
                      <a:pt x="981677" y="531409"/>
                      <a:pt x="982646" y="528673"/>
                    </a:cubicBezTo>
                    <a:cubicBezTo>
                      <a:pt x="985165" y="521885"/>
                      <a:pt x="981706" y="514341"/>
                      <a:pt x="974918" y="511822"/>
                    </a:cubicBezTo>
                    <a:cubicBezTo>
                      <a:pt x="971891" y="510698"/>
                      <a:pt x="968551" y="510731"/>
                      <a:pt x="965548" y="511916"/>
                    </a:cubicBezTo>
                    <a:cubicBezTo>
                      <a:pt x="964465" y="518813"/>
                      <a:pt x="975807" y="522631"/>
                      <a:pt x="975237" y="529642"/>
                    </a:cubicBezTo>
                    <a:cubicBezTo>
                      <a:pt x="974741" y="532456"/>
                      <a:pt x="972609" y="534697"/>
                      <a:pt x="969822" y="535341"/>
                    </a:cubicBezTo>
                    <a:cubicBezTo>
                      <a:pt x="967013" y="535934"/>
                      <a:pt x="964083" y="535449"/>
                      <a:pt x="961615" y="533973"/>
                    </a:cubicBezTo>
                    <a:cubicBezTo>
                      <a:pt x="959261" y="532823"/>
                      <a:pt x="957472" y="530766"/>
                      <a:pt x="956657" y="528274"/>
                    </a:cubicBezTo>
                    <a:cubicBezTo>
                      <a:pt x="955859" y="525139"/>
                      <a:pt x="957284" y="521548"/>
                      <a:pt x="955688" y="518813"/>
                    </a:cubicBezTo>
                    <a:cubicBezTo>
                      <a:pt x="952496" y="513113"/>
                      <a:pt x="943206" y="518072"/>
                      <a:pt x="937905" y="514595"/>
                    </a:cubicBezTo>
                    <a:cubicBezTo>
                      <a:pt x="934982" y="512422"/>
                      <a:pt x="933984" y="508497"/>
                      <a:pt x="935512" y="505191"/>
                    </a:cubicBezTo>
                    <a:cubicBezTo>
                      <a:pt x="937073" y="501991"/>
                      <a:pt x="939974" y="499651"/>
                      <a:pt x="943434" y="498808"/>
                    </a:cubicBezTo>
                    <a:cubicBezTo>
                      <a:pt x="947310" y="497782"/>
                      <a:pt x="951470" y="498181"/>
                      <a:pt x="955289" y="496927"/>
                    </a:cubicBezTo>
                    <a:cubicBezTo>
                      <a:pt x="960338" y="495400"/>
                      <a:pt x="963832" y="490801"/>
                      <a:pt x="963952" y="485528"/>
                    </a:cubicBezTo>
                    <a:cubicBezTo>
                      <a:pt x="963661" y="480500"/>
                      <a:pt x="959353" y="476657"/>
                      <a:pt x="954326" y="476945"/>
                    </a:cubicBezTo>
                    <a:cubicBezTo>
                      <a:pt x="954041" y="476961"/>
                      <a:pt x="953750" y="476992"/>
                      <a:pt x="953465" y="477036"/>
                    </a:cubicBezTo>
                    <a:cubicBezTo>
                      <a:pt x="953750" y="474471"/>
                      <a:pt x="951128" y="472647"/>
                      <a:pt x="948848" y="471336"/>
                    </a:cubicBezTo>
                    <a:cubicBezTo>
                      <a:pt x="945828" y="469416"/>
                      <a:pt x="942425" y="468171"/>
                      <a:pt x="938874" y="467688"/>
                    </a:cubicBezTo>
                    <a:cubicBezTo>
                      <a:pt x="935227" y="467247"/>
                      <a:pt x="931693" y="469138"/>
                      <a:pt x="930040" y="472419"/>
                    </a:cubicBezTo>
                    <a:cubicBezTo>
                      <a:pt x="928672" y="475839"/>
                      <a:pt x="930040" y="480398"/>
                      <a:pt x="927532" y="482906"/>
                    </a:cubicBezTo>
                    <a:cubicBezTo>
                      <a:pt x="918869" y="485870"/>
                      <a:pt x="909807" y="479429"/>
                      <a:pt x="900688" y="479201"/>
                    </a:cubicBezTo>
                    <a:cubicBezTo>
                      <a:pt x="893484" y="479698"/>
                      <a:pt x="886553" y="482141"/>
                      <a:pt x="880626" y="486269"/>
                    </a:cubicBezTo>
                    <a:cubicBezTo>
                      <a:pt x="876693" y="488491"/>
                      <a:pt x="872191" y="492367"/>
                      <a:pt x="873843" y="496585"/>
                    </a:cubicBezTo>
                    <a:cubicBezTo>
                      <a:pt x="875097" y="499548"/>
                      <a:pt x="878802" y="500460"/>
                      <a:pt x="882051" y="500973"/>
                    </a:cubicBezTo>
                    <a:lnTo>
                      <a:pt x="901771" y="503994"/>
                    </a:lnTo>
                    <a:cubicBezTo>
                      <a:pt x="903093" y="504122"/>
                      <a:pt x="904375" y="504530"/>
                      <a:pt x="905532" y="505191"/>
                    </a:cubicBezTo>
                    <a:cubicBezTo>
                      <a:pt x="906256" y="505756"/>
                      <a:pt x="906838" y="506477"/>
                      <a:pt x="907242" y="507300"/>
                    </a:cubicBezTo>
                    <a:cubicBezTo>
                      <a:pt x="909380" y="512033"/>
                      <a:pt x="907276" y="517603"/>
                      <a:pt x="902546" y="519742"/>
                    </a:cubicBezTo>
                    <a:cubicBezTo>
                      <a:pt x="902329" y="519839"/>
                      <a:pt x="902107" y="519929"/>
                      <a:pt x="901885" y="520010"/>
                    </a:cubicBezTo>
                    <a:cubicBezTo>
                      <a:pt x="900084" y="520272"/>
                      <a:pt x="898334" y="520810"/>
                      <a:pt x="896698" y="521605"/>
                    </a:cubicBezTo>
                    <a:cubicBezTo>
                      <a:pt x="893108" y="524056"/>
                      <a:pt x="894361" y="530554"/>
                      <a:pt x="890600" y="533004"/>
                    </a:cubicBezTo>
                    <a:cubicBezTo>
                      <a:pt x="888519" y="533859"/>
                      <a:pt x="886183" y="533859"/>
                      <a:pt x="884102" y="533004"/>
                    </a:cubicBezTo>
                    <a:cubicBezTo>
                      <a:pt x="876596" y="531919"/>
                      <a:pt x="869706" y="528251"/>
                      <a:pt x="864610" y="522631"/>
                    </a:cubicBezTo>
                    <a:cubicBezTo>
                      <a:pt x="863938" y="521481"/>
                      <a:pt x="863048" y="520474"/>
                      <a:pt x="861988" y="519668"/>
                    </a:cubicBezTo>
                    <a:cubicBezTo>
                      <a:pt x="860735" y="519052"/>
                      <a:pt x="859332" y="518796"/>
                      <a:pt x="857942" y="518927"/>
                    </a:cubicBezTo>
                    <a:lnTo>
                      <a:pt x="851900" y="518927"/>
                    </a:lnTo>
                    <a:cubicBezTo>
                      <a:pt x="850880" y="518799"/>
                      <a:pt x="849854" y="519086"/>
                      <a:pt x="849051" y="519725"/>
                    </a:cubicBezTo>
                    <a:cubicBezTo>
                      <a:pt x="848526" y="520347"/>
                      <a:pt x="848247" y="521135"/>
                      <a:pt x="848253" y="521947"/>
                    </a:cubicBezTo>
                    <a:cubicBezTo>
                      <a:pt x="847928" y="527938"/>
                      <a:pt x="849974" y="533815"/>
                      <a:pt x="853952" y="538305"/>
                    </a:cubicBezTo>
                    <a:cubicBezTo>
                      <a:pt x="857902" y="542733"/>
                      <a:pt x="862615" y="546415"/>
                      <a:pt x="867859" y="549191"/>
                    </a:cubicBezTo>
                    <a:cubicBezTo>
                      <a:pt x="873610" y="552554"/>
                      <a:pt x="879588" y="555506"/>
                      <a:pt x="885755" y="558025"/>
                    </a:cubicBezTo>
                    <a:cubicBezTo>
                      <a:pt x="890258" y="559849"/>
                      <a:pt x="895501" y="562186"/>
                      <a:pt x="896641" y="566916"/>
                    </a:cubicBezTo>
                    <a:cubicBezTo>
                      <a:pt x="896983" y="568398"/>
                      <a:pt x="896641" y="569937"/>
                      <a:pt x="897211" y="571476"/>
                    </a:cubicBezTo>
                    <a:cubicBezTo>
                      <a:pt x="898237" y="576662"/>
                      <a:pt x="903709" y="579398"/>
                      <a:pt x="907584" y="582875"/>
                    </a:cubicBezTo>
                    <a:cubicBezTo>
                      <a:pt x="911460" y="586351"/>
                      <a:pt x="912942" y="589429"/>
                      <a:pt x="916076" y="592279"/>
                    </a:cubicBezTo>
                    <a:cubicBezTo>
                      <a:pt x="918972" y="595408"/>
                      <a:pt x="923366" y="596662"/>
                      <a:pt x="927475" y="595528"/>
                    </a:cubicBezTo>
                    <a:cubicBezTo>
                      <a:pt x="929732" y="594468"/>
                      <a:pt x="931693" y="592860"/>
                      <a:pt x="933175" y="590854"/>
                    </a:cubicBezTo>
                    <a:cubicBezTo>
                      <a:pt x="936811" y="587349"/>
                      <a:pt x="939330" y="582846"/>
                      <a:pt x="940413" y="577916"/>
                    </a:cubicBezTo>
                    <a:cubicBezTo>
                      <a:pt x="940459" y="576731"/>
                      <a:pt x="940687" y="575557"/>
                      <a:pt x="941097" y="574440"/>
                    </a:cubicBezTo>
                    <a:cubicBezTo>
                      <a:pt x="942807" y="571248"/>
                      <a:pt x="947481" y="572388"/>
                      <a:pt x="951014" y="572901"/>
                    </a:cubicBezTo>
                    <a:cubicBezTo>
                      <a:pt x="957888" y="573636"/>
                      <a:pt x="964693" y="570974"/>
                      <a:pt x="969253" y="565776"/>
                    </a:cubicBezTo>
                    <a:cubicBezTo>
                      <a:pt x="973727" y="560584"/>
                      <a:pt x="976400" y="554087"/>
                      <a:pt x="976890" y="547253"/>
                    </a:cubicBezTo>
                    <a:cubicBezTo>
                      <a:pt x="977038" y="543537"/>
                      <a:pt x="977693" y="539855"/>
                      <a:pt x="978828" y="536310"/>
                    </a:cubicBezTo>
                    <a:close/>
                    <a:moveTo>
                      <a:pt x="1009833" y="440502"/>
                    </a:moveTo>
                    <a:cubicBezTo>
                      <a:pt x="1014164" y="440502"/>
                      <a:pt x="1018838" y="438621"/>
                      <a:pt x="1022657" y="440502"/>
                    </a:cubicBezTo>
                    <a:cubicBezTo>
                      <a:pt x="1023910" y="441186"/>
                      <a:pt x="1024936" y="442155"/>
                      <a:pt x="1026190" y="442725"/>
                    </a:cubicBezTo>
                    <a:cubicBezTo>
                      <a:pt x="1028932" y="443425"/>
                      <a:pt x="1031838" y="443080"/>
                      <a:pt x="1034340" y="441756"/>
                    </a:cubicBezTo>
                    <a:cubicBezTo>
                      <a:pt x="1039698" y="439647"/>
                      <a:pt x="1045739" y="436797"/>
                      <a:pt x="1047164" y="431155"/>
                    </a:cubicBezTo>
                    <a:cubicBezTo>
                      <a:pt x="1048589" y="425512"/>
                      <a:pt x="1043916" y="419756"/>
                      <a:pt x="1039413" y="415880"/>
                    </a:cubicBezTo>
                    <a:cubicBezTo>
                      <a:pt x="1033286" y="410458"/>
                      <a:pt x="1026686" y="405594"/>
                      <a:pt x="1019693" y="401347"/>
                    </a:cubicBezTo>
                    <a:cubicBezTo>
                      <a:pt x="1018752" y="400627"/>
                      <a:pt x="1017561" y="400319"/>
                      <a:pt x="1016387" y="400492"/>
                    </a:cubicBezTo>
                    <a:cubicBezTo>
                      <a:pt x="1015361" y="400834"/>
                      <a:pt x="1014734" y="401916"/>
                      <a:pt x="1013936" y="402657"/>
                    </a:cubicBezTo>
                    <a:cubicBezTo>
                      <a:pt x="1010631" y="405792"/>
                      <a:pt x="1004988" y="402657"/>
                      <a:pt x="1000828" y="404595"/>
                    </a:cubicBezTo>
                    <a:cubicBezTo>
                      <a:pt x="996667" y="406533"/>
                      <a:pt x="995812" y="410295"/>
                      <a:pt x="992905" y="413201"/>
                    </a:cubicBezTo>
                    <a:cubicBezTo>
                      <a:pt x="988232" y="417590"/>
                      <a:pt x="980082" y="417077"/>
                      <a:pt x="976206" y="422150"/>
                    </a:cubicBezTo>
                    <a:cubicBezTo>
                      <a:pt x="975317" y="425861"/>
                      <a:pt x="977180" y="429684"/>
                      <a:pt x="980652" y="431269"/>
                    </a:cubicBezTo>
                    <a:cubicBezTo>
                      <a:pt x="984025" y="432760"/>
                      <a:pt x="987565" y="433851"/>
                      <a:pt x="991195" y="434517"/>
                    </a:cubicBezTo>
                    <a:cubicBezTo>
                      <a:pt x="997522" y="436398"/>
                      <a:pt x="1003335" y="440502"/>
                      <a:pt x="1009890" y="440388"/>
                    </a:cubicBezTo>
                    <a:close/>
                    <a:moveTo>
                      <a:pt x="1125817" y="311010"/>
                    </a:moveTo>
                    <a:cubicBezTo>
                      <a:pt x="1127219" y="310948"/>
                      <a:pt x="1128587" y="310557"/>
                      <a:pt x="1129807" y="309870"/>
                    </a:cubicBezTo>
                    <a:cubicBezTo>
                      <a:pt x="1131032" y="309152"/>
                      <a:pt x="1131636" y="307713"/>
                      <a:pt x="1131289" y="306336"/>
                    </a:cubicBezTo>
                    <a:cubicBezTo>
                      <a:pt x="1131129" y="305985"/>
                      <a:pt x="1130918" y="305659"/>
                      <a:pt x="1130662" y="305367"/>
                    </a:cubicBezTo>
                    <a:cubicBezTo>
                      <a:pt x="1123514" y="296210"/>
                      <a:pt x="1111158" y="292906"/>
                      <a:pt x="1100397" y="297274"/>
                    </a:cubicBezTo>
                    <a:cubicBezTo>
                      <a:pt x="1099497" y="297575"/>
                      <a:pt x="1098710" y="298129"/>
                      <a:pt x="1098118" y="298870"/>
                    </a:cubicBezTo>
                    <a:cubicBezTo>
                      <a:pt x="1097320" y="299953"/>
                      <a:pt x="1097377" y="301492"/>
                      <a:pt x="1096636" y="302632"/>
                    </a:cubicBezTo>
                    <a:cubicBezTo>
                      <a:pt x="1095268" y="304683"/>
                      <a:pt x="1092133" y="304399"/>
                      <a:pt x="1090252" y="305994"/>
                    </a:cubicBezTo>
                    <a:cubicBezTo>
                      <a:pt x="1089905" y="310735"/>
                      <a:pt x="1093467" y="314858"/>
                      <a:pt x="1098209" y="315205"/>
                    </a:cubicBezTo>
                    <a:cubicBezTo>
                      <a:pt x="1098408" y="315219"/>
                      <a:pt x="1098602" y="315227"/>
                      <a:pt x="1098802" y="315228"/>
                    </a:cubicBezTo>
                    <a:cubicBezTo>
                      <a:pt x="1100055" y="315228"/>
                      <a:pt x="1101480" y="314886"/>
                      <a:pt x="1102392" y="315740"/>
                    </a:cubicBezTo>
                    <a:cubicBezTo>
                      <a:pt x="1102871" y="316333"/>
                      <a:pt x="1103242" y="317009"/>
                      <a:pt x="1103475" y="317735"/>
                    </a:cubicBezTo>
                    <a:cubicBezTo>
                      <a:pt x="1105099" y="319700"/>
                      <a:pt x="1107613" y="320709"/>
                      <a:pt x="1110144" y="320414"/>
                    </a:cubicBezTo>
                    <a:cubicBezTo>
                      <a:pt x="1112195" y="320414"/>
                      <a:pt x="1114247" y="320414"/>
                      <a:pt x="1116356" y="320414"/>
                    </a:cubicBezTo>
                    <a:cubicBezTo>
                      <a:pt x="1117439" y="320496"/>
                      <a:pt x="1118499" y="320100"/>
                      <a:pt x="1119263" y="319331"/>
                    </a:cubicBezTo>
                    <a:cubicBezTo>
                      <a:pt x="1120175" y="318134"/>
                      <a:pt x="1119263" y="316367"/>
                      <a:pt x="1119719" y="314886"/>
                    </a:cubicBezTo>
                    <a:cubicBezTo>
                      <a:pt x="1120232" y="312207"/>
                      <a:pt x="1123309" y="311238"/>
                      <a:pt x="1125874" y="310896"/>
                    </a:cubicBezTo>
                    <a:close/>
                    <a:moveTo>
                      <a:pt x="1108719" y="102238"/>
                    </a:moveTo>
                    <a:cubicBezTo>
                      <a:pt x="1109175" y="107140"/>
                      <a:pt x="1114418" y="109876"/>
                      <a:pt x="1118693" y="112212"/>
                    </a:cubicBezTo>
                    <a:cubicBezTo>
                      <a:pt x="1129636" y="117912"/>
                      <a:pt x="1139325" y="126347"/>
                      <a:pt x="1151066" y="130394"/>
                    </a:cubicBezTo>
                    <a:cubicBezTo>
                      <a:pt x="1162807" y="134440"/>
                      <a:pt x="1178081" y="132502"/>
                      <a:pt x="1184294" y="121787"/>
                    </a:cubicBezTo>
                    <a:cubicBezTo>
                      <a:pt x="1185012" y="120148"/>
                      <a:pt x="1186060" y="118673"/>
                      <a:pt x="1187371" y="117456"/>
                    </a:cubicBezTo>
                    <a:cubicBezTo>
                      <a:pt x="1191361" y="114549"/>
                      <a:pt x="1196833" y="119280"/>
                      <a:pt x="1198200" y="124010"/>
                    </a:cubicBezTo>
                    <a:cubicBezTo>
                      <a:pt x="1199568" y="128741"/>
                      <a:pt x="1199511" y="134383"/>
                      <a:pt x="1202988" y="137917"/>
                    </a:cubicBezTo>
                    <a:cubicBezTo>
                      <a:pt x="1206983" y="140862"/>
                      <a:pt x="1212027" y="141999"/>
                      <a:pt x="1216895" y="141052"/>
                    </a:cubicBezTo>
                    <a:lnTo>
                      <a:pt x="1252630" y="139000"/>
                    </a:lnTo>
                    <a:cubicBezTo>
                      <a:pt x="1255252" y="139117"/>
                      <a:pt x="1257845" y="138463"/>
                      <a:pt x="1260097" y="137119"/>
                    </a:cubicBezTo>
                    <a:cubicBezTo>
                      <a:pt x="1261636" y="135979"/>
                      <a:pt x="1262605" y="134212"/>
                      <a:pt x="1264086" y="132958"/>
                    </a:cubicBezTo>
                    <a:cubicBezTo>
                      <a:pt x="1267301" y="130963"/>
                      <a:pt x="1271114" y="130157"/>
                      <a:pt x="1274858" y="130679"/>
                    </a:cubicBezTo>
                    <a:cubicBezTo>
                      <a:pt x="1288053" y="131050"/>
                      <a:pt x="1301264" y="130650"/>
                      <a:pt x="1314413" y="129482"/>
                    </a:cubicBezTo>
                    <a:cubicBezTo>
                      <a:pt x="1316835" y="129421"/>
                      <a:pt x="1319206" y="128755"/>
                      <a:pt x="1321309" y="127544"/>
                    </a:cubicBezTo>
                    <a:cubicBezTo>
                      <a:pt x="1322967" y="126171"/>
                      <a:pt x="1324495" y="124645"/>
                      <a:pt x="1325869" y="122984"/>
                    </a:cubicBezTo>
                    <a:cubicBezTo>
                      <a:pt x="1331568" y="117285"/>
                      <a:pt x="1341485" y="117627"/>
                      <a:pt x="1348211" y="112953"/>
                    </a:cubicBezTo>
                    <a:cubicBezTo>
                      <a:pt x="1352753" y="109731"/>
                      <a:pt x="1355523" y="104559"/>
                      <a:pt x="1355677" y="98990"/>
                    </a:cubicBezTo>
                    <a:cubicBezTo>
                      <a:pt x="1364802" y="107058"/>
                      <a:pt x="1365662" y="120997"/>
                      <a:pt x="1357592" y="130124"/>
                    </a:cubicBezTo>
                    <a:cubicBezTo>
                      <a:pt x="1356463" y="131402"/>
                      <a:pt x="1355187" y="132544"/>
                      <a:pt x="1353796" y="133528"/>
                    </a:cubicBezTo>
                    <a:cubicBezTo>
                      <a:pt x="1351773" y="134589"/>
                      <a:pt x="1349863" y="135849"/>
                      <a:pt x="1348097" y="137290"/>
                    </a:cubicBezTo>
                    <a:cubicBezTo>
                      <a:pt x="1346957" y="138430"/>
                      <a:pt x="1346102" y="139855"/>
                      <a:pt x="1345076" y="141109"/>
                    </a:cubicBezTo>
                    <a:cubicBezTo>
                      <a:pt x="1340630" y="146352"/>
                      <a:pt x="1332993" y="147207"/>
                      <a:pt x="1326154" y="147663"/>
                    </a:cubicBezTo>
                    <a:lnTo>
                      <a:pt x="1285060" y="150627"/>
                    </a:lnTo>
                    <a:cubicBezTo>
                      <a:pt x="1281983" y="150627"/>
                      <a:pt x="1278221" y="151539"/>
                      <a:pt x="1277195" y="154445"/>
                    </a:cubicBezTo>
                    <a:cubicBezTo>
                      <a:pt x="1276169" y="157352"/>
                      <a:pt x="1279988" y="161285"/>
                      <a:pt x="1283692" y="162197"/>
                    </a:cubicBezTo>
                    <a:cubicBezTo>
                      <a:pt x="1287397" y="163109"/>
                      <a:pt x="1291786" y="163337"/>
                      <a:pt x="1294066" y="166357"/>
                    </a:cubicBezTo>
                    <a:cubicBezTo>
                      <a:pt x="1295376" y="168067"/>
                      <a:pt x="1295832" y="170518"/>
                      <a:pt x="1297599" y="171715"/>
                    </a:cubicBezTo>
                    <a:cubicBezTo>
                      <a:pt x="1298956" y="172349"/>
                      <a:pt x="1300432" y="172697"/>
                      <a:pt x="1301931" y="172741"/>
                    </a:cubicBezTo>
                    <a:cubicBezTo>
                      <a:pt x="1305806" y="173233"/>
                      <a:pt x="1309306" y="175293"/>
                      <a:pt x="1311620" y="178440"/>
                    </a:cubicBezTo>
                    <a:cubicBezTo>
                      <a:pt x="1313780" y="184353"/>
                      <a:pt x="1310742" y="190899"/>
                      <a:pt x="1304826" y="193060"/>
                    </a:cubicBezTo>
                    <a:cubicBezTo>
                      <a:pt x="1299588" y="194975"/>
                      <a:pt x="1293729" y="192817"/>
                      <a:pt x="1290988" y="187958"/>
                    </a:cubicBezTo>
                    <a:cubicBezTo>
                      <a:pt x="1289939" y="186010"/>
                      <a:pt x="1288617" y="184225"/>
                      <a:pt x="1287055" y="182658"/>
                    </a:cubicBezTo>
                    <a:cubicBezTo>
                      <a:pt x="1283692" y="180207"/>
                      <a:pt x="1278506" y="181974"/>
                      <a:pt x="1275200" y="179523"/>
                    </a:cubicBezTo>
                    <a:cubicBezTo>
                      <a:pt x="1271895" y="177072"/>
                      <a:pt x="1272065" y="172171"/>
                      <a:pt x="1269501" y="169321"/>
                    </a:cubicBezTo>
                    <a:cubicBezTo>
                      <a:pt x="1265340" y="165160"/>
                      <a:pt x="1256791" y="167383"/>
                      <a:pt x="1253884" y="162311"/>
                    </a:cubicBezTo>
                    <a:cubicBezTo>
                      <a:pt x="1253086" y="161000"/>
                      <a:pt x="1252915" y="159347"/>
                      <a:pt x="1252003" y="158093"/>
                    </a:cubicBezTo>
                    <a:cubicBezTo>
                      <a:pt x="1250687" y="156682"/>
                      <a:pt x="1248948" y="155742"/>
                      <a:pt x="1247045" y="155414"/>
                    </a:cubicBezTo>
                    <a:cubicBezTo>
                      <a:pt x="1237732" y="152812"/>
                      <a:pt x="1228185" y="151113"/>
                      <a:pt x="1218548" y="150342"/>
                    </a:cubicBezTo>
                    <a:cubicBezTo>
                      <a:pt x="1213253" y="149516"/>
                      <a:pt x="1207832" y="150228"/>
                      <a:pt x="1202931" y="152394"/>
                    </a:cubicBezTo>
                    <a:cubicBezTo>
                      <a:pt x="1198012" y="155269"/>
                      <a:pt x="1194735" y="160296"/>
                      <a:pt x="1194097" y="165958"/>
                    </a:cubicBezTo>
                    <a:cubicBezTo>
                      <a:pt x="1193122" y="178164"/>
                      <a:pt x="1202224" y="188851"/>
                      <a:pt x="1214427" y="189828"/>
                    </a:cubicBezTo>
                    <a:cubicBezTo>
                      <a:pt x="1214906" y="189866"/>
                      <a:pt x="1215390" y="189889"/>
                      <a:pt x="1215869" y="189896"/>
                    </a:cubicBezTo>
                    <a:cubicBezTo>
                      <a:pt x="1218548" y="189896"/>
                      <a:pt x="1221568" y="189269"/>
                      <a:pt x="1223677" y="191093"/>
                    </a:cubicBezTo>
                    <a:cubicBezTo>
                      <a:pt x="1224583" y="192127"/>
                      <a:pt x="1225353" y="193277"/>
                      <a:pt x="1225957" y="194513"/>
                    </a:cubicBezTo>
                    <a:cubicBezTo>
                      <a:pt x="1228465" y="197505"/>
                      <a:pt x="1231383" y="200134"/>
                      <a:pt x="1234620" y="202321"/>
                    </a:cubicBezTo>
                    <a:cubicBezTo>
                      <a:pt x="1237527" y="205000"/>
                      <a:pt x="1239522" y="209673"/>
                      <a:pt x="1237071" y="212751"/>
                    </a:cubicBezTo>
                    <a:cubicBezTo>
                      <a:pt x="1242833" y="215295"/>
                      <a:pt x="1248396" y="218267"/>
                      <a:pt x="1253713" y="221642"/>
                    </a:cubicBezTo>
                    <a:lnTo>
                      <a:pt x="1257019" y="223637"/>
                    </a:lnTo>
                    <a:lnTo>
                      <a:pt x="1278734" y="236746"/>
                    </a:lnTo>
                    <a:cubicBezTo>
                      <a:pt x="1282951" y="238526"/>
                      <a:pt x="1285334" y="243029"/>
                      <a:pt x="1284433" y="247518"/>
                    </a:cubicBezTo>
                    <a:cubicBezTo>
                      <a:pt x="1284433" y="250994"/>
                      <a:pt x="1284034" y="255383"/>
                      <a:pt x="1280786" y="256466"/>
                    </a:cubicBezTo>
                    <a:cubicBezTo>
                      <a:pt x="1278574" y="256840"/>
                      <a:pt x="1276300" y="256329"/>
                      <a:pt x="1274459" y="255041"/>
                    </a:cubicBezTo>
                    <a:cubicBezTo>
                      <a:pt x="1261966" y="248305"/>
                      <a:pt x="1248948" y="242587"/>
                      <a:pt x="1235532" y="237943"/>
                    </a:cubicBezTo>
                    <a:cubicBezTo>
                      <a:pt x="1230824" y="236111"/>
                      <a:pt x="1225866" y="234997"/>
                      <a:pt x="1220827" y="234637"/>
                    </a:cubicBezTo>
                    <a:cubicBezTo>
                      <a:pt x="1213971" y="234632"/>
                      <a:pt x="1207262" y="236611"/>
                      <a:pt x="1201506" y="240336"/>
                    </a:cubicBezTo>
                    <a:cubicBezTo>
                      <a:pt x="1198303" y="242645"/>
                      <a:pt x="1194769" y="244451"/>
                      <a:pt x="1191019" y="245694"/>
                    </a:cubicBezTo>
                    <a:cubicBezTo>
                      <a:pt x="1186836" y="245905"/>
                      <a:pt x="1182664" y="246381"/>
                      <a:pt x="1178537" y="247119"/>
                    </a:cubicBezTo>
                    <a:cubicBezTo>
                      <a:pt x="1170558" y="250140"/>
                      <a:pt x="1169304" y="260741"/>
                      <a:pt x="1169361" y="269233"/>
                    </a:cubicBezTo>
                    <a:cubicBezTo>
                      <a:pt x="1177010" y="268494"/>
                      <a:pt x="1184727" y="269111"/>
                      <a:pt x="1192159" y="271057"/>
                    </a:cubicBezTo>
                    <a:cubicBezTo>
                      <a:pt x="1199637" y="272981"/>
                      <a:pt x="1207576" y="271788"/>
                      <a:pt x="1214159" y="267751"/>
                    </a:cubicBezTo>
                    <a:cubicBezTo>
                      <a:pt x="1217465" y="264392"/>
                      <a:pt x="1220588" y="260853"/>
                      <a:pt x="1223506" y="257150"/>
                    </a:cubicBezTo>
                    <a:cubicBezTo>
                      <a:pt x="1226590" y="253371"/>
                      <a:pt x="1231839" y="252153"/>
                      <a:pt x="1236273" y="254186"/>
                    </a:cubicBezTo>
                    <a:cubicBezTo>
                      <a:pt x="1237190" y="259490"/>
                      <a:pt x="1233628" y="264532"/>
                      <a:pt x="1228328" y="265448"/>
                    </a:cubicBezTo>
                    <a:cubicBezTo>
                      <a:pt x="1227883" y="265525"/>
                      <a:pt x="1227433" y="265570"/>
                      <a:pt x="1226983" y="265585"/>
                    </a:cubicBezTo>
                    <a:lnTo>
                      <a:pt x="1226983" y="272823"/>
                    </a:lnTo>
                    <a:cubicBezTo>
                      <a:pt x="1222554" y="271602"/>
                      <a:pt x="1217972" y="274203"/>
                      <a:pt x="1216746" y="278633"/>
                    </a:cubicBezTo>
                    <a:cubicBezTo>
                      <a:pt x="1215527" y="283064"/>
                      <a:pt x="1218131" y="287646"/>
                      <a:pt x="1222560" y="288867"/>
                    </a:cubicBezTo>
                    <a:cubicBezTo>
                      <a:pt x="1222760" y="288922"/>
                      <a:pt x="1222959" y="288970"/>
                      <a:pt x="1223164" y="289010"/>
                    </a:cubicBezTo>
                    <a:cubicBezTo>
                      <a:pt x="1225603" y="289037"/>
                      <a:pt x="1228037" y="289208"/>
                      <a:pt x="1230459" y="289523"/>
                    </a:cubicBezTo>
                    <a:cubicBezTo>
                      <a:pt x="1232830" y="290623"/>
                      <a:pt x="1234814" y="292410"/>
                      <a:pt x="1236159" y="294652"/>
                    </a:cubicBezTo>
                    <a:lnTo>
                      <a:pt x="1248299" y="310326"/>
                    </a:lnTo>
                    <a:cubicBezTo>
                      <a:pt x="1245352" y="312110"/>
                      <a:pt x="1242109" y="313346"/>
                      <a:pt x="1238724" y="313974"/>
                    </a:cubicBezTo>
                    <a:cubicBezTo>
                      <a:pt x="1239527" y="316120"/>
                      <a:pt x="1239858" y="318414"/>
                      <a:pt x="1239693" y="320699"/>
                    </a:cubicBezTo>
                    <a:cubicBezTo>
                      <a:pt x="1234763" y="320889"/>
                      <a:pt x="1229827" y="320506"/>
                      <a:pt x="1224988" y="319559"/>
                    </a:cubicBezTo>
                    <a:cubicBezTo>
                      <a:pt x="1223694" y="319398"/>
                      <a:pt x="1222480" y="318841"/>
                      <a:pt x="1221511" y="317963"/>
                    </a:cubicBezTo>
                    <a:cubicBezTo>
                      <a:pt x="1220668" y="316748"/>
                      <a:pt x="1220160" y="315333"/>
                      <a:pt x="1220029" y="313860"/>
                    </a:cubicBezTo>
                    <a:cubicBezTo>
                      <a:pt x="1218656" y="308210"/>
                      <a:pt x="1213897" y="304021"/>
                      <a:pt x="1208118" y="303373"/>
                    </a:cubicBezTo>
                    <a:cubicBezTo>
                      <a:pt x="1208152" y="297739"/>
                      <a:pt x="1204966" y="292582"/>
                      <a:pt x="1199910" y="290093"/>
                    </a:cubicBezTo>
                    <a:cubicBezTo>
                      <a:pt x="1194900" y="287726"/>
                      <a:pt x="1189486" y="286333"/>
                      <a:pt x="1183952" y="285989"/>
                    </a:cubicBezTo>
                    <a:lnTo>
                      <a:pt x="1172553" y="284564"/>
                    </a:lnTo>
                    <a:cubicBezTo>
                      <a:pt x="1170889" y="284308"/>
                      <a:pt x="1169202" y="284308"/>
                      <a:pt x="1167537" y="284564"/>
                    </a:cubicBezTo>
                    <a:cubicBezTo>
                      <a:pt x="1162505" y="285856"/>
                      <a:pt x="1159370" y="290872"/>
                      <a:pt x="1160413" y="295963"/>
                    </a:cubicBezTo>
                    <a:cubicBezTo>
                      <a:pt x="1161747" y="300928"/>
                      <a:pt x="1165964" y="304582"/>
                      <a:pt x="1171071" y="305196"/>
                    </a:cubicBezTo>
                    <a:cubicBezTo>
                      <a:pt x="1173630" y="305195"/>
                      <a:pt x="1176178" y="305521"/>
                      <a:pt x="1178651" y="306165"/>
                    </a:cubicBezTo>
                    <a:cubicBezTo>
                      <a:pt x="1183667" y="308217"/>
                      <a:pt x="1184864" y="314658"/>
                      <a:pt x="1185263" y="320015"/>
                    </a:cubicBezTo>
                    <a:cubicBezTo>
                      <a:pt x="1185508" y="321263"/>
                      <a:pt x="1185240" y="322557"/>
                      <a:pt x="1184522" y="323606"/>
                    </a:cubicBezTo>
                    <a:cubicBezTo>
                      <a:pt x="1183667" y="325031"/>
                      <a:pt x="1181615" y="325202"/>
                      <a:pt x="1179962" y="325202"/>
                    </a:cubicBezTo>
                    <a:cubicBezTo>
                      <a:pt x="1167851" y="324554"/>
                      <a:pt x="1155705" y="324935"/>
                      <a:pt x="1143656" y="326341"/>
                    </a:cubicBezTo>
                    <a:lnTo>
                      <a:pt x="1135620" y="327709"/>
                    </a:lnTo>
                    <a:cubicBezTo>
                      <a:pt x="1135939" y="331663"/>
                      <a:pt x="1132998" y="335128"/>
                      <a:pt x="1129043" y="335449"/>
                    </a:cubicBezTo>
                    <a:cubicBezTo>
                      <a:pt x="1128712" y="335477"/>
                      <a:pt x="1128376" y="335481"/>
                      <a:pt x="1128040" y="335461"/>
                    </a:cubicBezTo>
                    <a:cubicBezTo>
                      <a:pt x="1126541" y="339984"/>
                      <a:pt x="1128707" y="344909"/>
                      <a:pt x="1133055" y="346860"/>
                    </a:cubicBezTo>
                    <a:cubicBezTo>
                      <a:pt x="1137233" y="348680"/>
                      <a:pt x="1141804" y="349406"/>
                      <a:pt x="1146335" y="348968"/>
                    </a:cubicBezTo>
                    <a:lnTo>
                      <a:pt x="1192786" y="348341"/>
                    </a:lnTo>
                    <a:cubicBezTo>
                      <a:pt x="1195288" y="347928"/>
                      <a:pt x="1197841" y="348661"/>
                      <a:pt x="1199739" y="350336"/>
                    </a:cubicBezTo>
                    <a:cubicBezTo>
                      <a:pt x="1201449" y="352445"/>
                      <a:pt x="1200822" y="356036"/>
                      <a:pt x="1202532" y="357860"/>
                    </a:cubicBezTo>
                    <a:cubicBezTo>
                      <a:pt x="1205781" y="361849"/>
                      <a:pt x="1212734" y="357404"/>
                      <a:pt x="1217237" y="359854"/>
                    </a:cubicBezTo>
                    <a:cubicBezTo>
                      <a:pt x="1218776" y="360709"/>
                      <a:pt x="1219858" y="362248"/>
                      <a:pt x="1221454" y="362989"/>
                    </a:cubicBezTo>
                    <a:cubicBezTo>
                      <a:pt x="1223757" y="363737"/>
                      <a:pt x="1226259" y="363595"/>
                      <a:pt x="1228465" y="362590"/>
                    </a:cubicBezTo>
                    <a:cubicBezTo>
                      <a:pt x="1235304" y="360367"/>
                      <a:pt x="1242884" y="357632"/>
                      <a:pt x="1246247" y="351191"/>
                    </a:cubicBezTo>
                    <a:cubicBezTo>
                      <a:pt x="1247022" y="349081"/>
                      <a:pt x="1248202" y="347145"/>
                      <a:pt x="1249724" y="345492"/>
                    </a:cubicBezTo>
                    <a:cubicBezTo>
                      <a:pt x="1251758" y="344210"/>
                      <a:pt x="1254169" y="343649"/>
                      <a:pt x="1256563" y="343896"/>
                    </a:cubicBezTo>
                    <a:cubicBezTo>
                      <a:pt x="1275029" y="343896"/>
                      <a:pt x="1295091" y="343896"/>
                      <a:pt x="1309625" y="355295"/>
                    </a:cubicBezTo>
                    <a:cubicBezTo>
                      <a:pt x="1313495" y="358917"/>
                      <a:pt x="1317604" y="362269"/>
                      <a:pt x="1321936" y="365326"/>
                    </a:cubicBezTo>
                    <a:cubicBezTo>
                      <a:pt x="1326473" y="368352"/>
                      <a:pt x="1332389" y="368352"/>
                      <a:pt x="1336926" y="365326"/>
                    </a:cubicBezTo>
                    <a:cubicBezTo>
                      <a:pt x="1338447" y="363602"/>
                      <a:pt x="1340106" y="362001"/>
                      <a:pt x="1341884" y="360538"/>
                    </a:cubicBezTo>
                    <a:cubicBezTo>
                      <a:pt x="1346672" y="357632"/>
                      <a:pt x="1353853" y="361393"/>
                      <a:pt x="1358128" y="357803"/>
                    </a:cubicBezTo>
                    <a:cubicBezTo>
                      <a:pt x="1359496" y="356606"/>
                      <a:pt x="1360236" y="354782"/>
                      <a:pt x="1361604" y="353528"/>
                    </a:cubicBezTo>
                    <a:cubicBezTo>
                      <a:pt x="1365822" y="349595"/>
                      <a:pt x="1372661" y="352673"/>
                      <a:pt x="1378418" y="352046"/>
                    </a:cubicBezTo>
                    <a:cubicBezTo>
                      <a:pt x="1385759" y="350765"/>
                      <a:pt x="1390780" y="343930"/>
                      <a:pt x="1389817" y="336544"/>
                    </a:cubicBezTo>
                    <a:cubicBezTo>
                      <a:pt x="1388335" y="329262"/>
                      <a:pt x="1382082" y="323927"/>
                      <a:pt x="1374656" y="323606"/>
                    </a:cubicBezTo>
                    <a:cubicBezTo>
                      <a:pt x="1371464" y="323606"/>
                      <a:pt x="1367646" y="324860"/>
                      <a:pt x="1367019" y="327994"/>
                    </a:cubicBezTo>
                    <a:cubicBezTo>
                      <a:pt x="1367019" y="329191"/>
                      <a:pt x="1367019" y="330445"/>
                      <a:pt x="1367019" y="331642"/>
                    </a:cubicBezTo>
                    <a:cubicBezTo>
                      <a:pt x="1366386" y="334014"/>
                      <a:pt x="1363947" y="335422"/>
                      <a:pt x="1361576" y="334787"/>
                    </a:cubicBezTo>
                    <a:cubicBezTo>
                      <a:pt x="1361183" y="334683"/>
                      <a:pt x="1360812" y="334526"/>
                      <a:pt x="1360464" y="334321"/>
                    </a:cubicBezTo>
                    <a:cubicBezTo>
                      <a:pt x="1359376" y="333413"/>
                      <a:pt x="1358470" y="332312"/>
                      <a:pt x="1357786" y="331072"/>
                    </a:cubicBezTo>
                    <a:cubicBezTo>
                      <a:pt x="1352770" y="324062"/>
                      <a:pt x="1342853" y="323093"/>
                      <a:pt x="1334247" y="323777"/>
                    </a:cubicBezTo>
                    <a:cubicBezTo>
                      <a:pt x="1325641" y="324461"/>
                      <a:pt x="1316579" y="326114"/>
                      <a:pt x="1308941" y="322181"/>
                    </a:cubicBezTo>
                    <a:cubicBezTo>
                      <a:pt x="1308086" y="325829"/>
                      <a:pt x="1302444" y="326000"/>
                      <a:pt x="1300050" y="323207"/>
                    </a:cubicBezTo>
                    <a:cubicBezTo>
                      <a:pt x="1297981" y="320088"/>
                      <a:pt x="1297257" y="316264"/>
                      <a:pt x="1298055" y="312606"/>
                    </a:cubicBezTo>
                    <a:cubicBezTo>
                      <a:pt x="1297901" y="309870"/>
                      <a:pt x="1299092" y="307231"/>
                      <a:pt x="1301247" y="305538"/>
                    </a:cubicBezTo>
                    <a:cubicBezTo>
                      <a:pt x="1303270" y="304792"/>
                      <a:pt x="1305493" y="304792"/>
                      <a:pt x="1307516" y="305538"/>
                    </a:cubicBezTo>
                    <a:cubicBezTo>
                      <a:pt x="1331312" y="310274"/>
                      <a:pt x="1355848" y="309807"/>
                      <a:pt x="1379444" y="304171"/>
                    </a:cubicBezTo>
                    <a:cubicBezTo>
                      <a:pt x="1383775" y="294823"/>
                      <a:pt x="1368045" y="284051"/>
                      <a:pt x="1373744" y="275217"/>
                    </a:cubicBezTo>
                    <a:cubicBezTo>
                      <a:pt x="1376480" y="270772"/>
                      <a:pt x="1382749" y="270544"/>
                      <a:pt x="1387993" y="270829"/>
                    </a:cubicBezTo>
                    <a:lnTo>
                      <a:pt x="1408169" y="271912"/>
                    </a:lnTo>
                    <a:cubicBezTo>
                      <a:pt x="1412831" y="272566"/>
                      <a:pt x="1417590" y="271916"/>
                      <a:pt x="1421905" y="270031"/>
                    </a:cubicBezTo>
                    <a:cubicBezTo>
                      <a:pt x="1426225" y="267901"/>
                      <a:pt x="1427997" y="262673"/>
                      <a:pt x="1425872" y="258354"/>
                    </a:cubicBezTo>
                    <a:cubicBezTo>
                      <a:pt x="1425843" y="258294"/>
                      <a:pt x="1425809" y="258234"/>
                      <a:pt x="1425780" y="258176"/>
                    </a:cubicBezTo>
                    <a:cubicBezTo>
                      <a:pt x="1432164" y="257720"/>
                      <a:pt x="1435583" y="250709"/>
                      <a:pt x="1438262" y="244896"/>
                    </a:cubicBezTo>
                    <a:cubicBezTo>
                      <a:pt x="1441750" y="237275"/>
                      <a:pt x="1445991" y="230020"/>
                      <a:pt x="1450915" y="223238"/>
                    </a:cubicBezTo>
                    <a:lnTo>
                      <a:pt x="1398708" y="221015"/>
                    </a:lnTo>
                    <a:cubicBezTo>
                      <a:pt x="1394832" y="221015"/>
                      <a:pt x="1389988" y="220103"/>
                      <a:pt x="1388848" y="216399"/>
                    </a:cubicBezTo>
                    <a:cubicBezTo>
                      <a:pt x="1387423" y="211782"/>
                      <a:pt x="1393008" y="208248"/>
                      <a:pt x="1397625" y="206881"/>
                    </a:cubicBezTo>
                    <a:cubicBezTo>
                      <a:pt x="1412774" y="202316"/>
                      <a:pt x="1428642" y="200615"/>
                      <a:pt x="1444418" y="201865"/>
                    </a:cubicBezTo>
                    <a:cubicBezTo>
                      <a:pt x="1451348" y="203062"/>
                      <a:pt x="1458455" y="202790"/>
                      <a:pt x="1465278" y="201067"/>
                    </a:cubicBezTo>
                    <a:cubicBezTo>
                      <a:pt x="1471889" y="198616"/>
                      <a:pt x="1477304" y="191150"/>
                      <a:pt x="1474625" y="184653"/>
                    </a:cubicBezTo>
                    <a:lnTo>
                      <a:pt x="1480609" y="182544"/>
                    </a:lnTo>
                    <a:cubicBezTo>
                      <a:pt x="1488931" y="179637"/>
                      <a:pt x="1498278" y="183912"/>
                      <a:pt x="1507055" y="184881"/>
                    </a:cubicBezTo>
                    <a:cubicBezTo>
                      <a:pt x="1509751" y="185402"/>
                      <a:pt x="1512538" y="185225"/>
                      <a:pt x="1515148" y="184368"/>
                    </a:cubicBezTo>
                    <a:cubicBezTo>
                      <a:pt x="1518118" y="182671"/>
                      <a:pt x="1520432" y="180020"/>
                      <a:pt x="1521703" y="176844"/>
                    </a:cubicBezTo>
                    <a:cubicBezTo>
                      <a:pt x="1526661" y="167440"/>
                      <a:pt x="1531050" y="157181"/>
                      <a:pt x="1539656" y="151083"/>
                    </a:cubicBezTo>
                    <a:cubicBezTo>
                      <a:pt x="1547310" y="146594"/>
                      <a:pt x="1555808" y="143742"/>
                      <a:pt x="1564620" y="142704"/>
                    </a:cubicBezTo>
                    <a:cubicBezTo>
                      <a:pt x="1578595" y="140205"/>
                      <a:pt x="1591948" y="135018"/>
                      <a:pt x="1603946" y="127430"/>
                    </a:cubicBezTo>
                    <a:cubicBezTo>
                      <a:pt x="1613122" y="121160"/>
                      <a:pt x="1621044" y="112725"/>
                      <a:pt x="1630904" y="108052"/>
                    </a:cubicBezTo>
                    <a:cubicBezTo>
                      <a:pt x="1646920" y="100699"/>
                      <a:pt x="1666469" y="103948"/>
                      <a:pt x="1682200" y="95513"/>
                    </a:cubicBezTo>
                    <a:cubicBezTo>
                      <a:pt x="1677754" y="86907"/>
                      <a:pt x="1666697" y="84114"/>
                      <a:pt x="1657008" y="84513"/>
                    </a:cubicBezTo>
                    <a:cubicBezTo>
                      <a:pt x="1647319" y="84912"/>
                      <a:pt x="1637915" y="88445"/>
                      <a:pt x="1628226" y="88730"/>
                    </a:cubicBezTo>
                    <a:cubicBezTo>
                      <a:pt x="1622013" y="88730"/>
                      <a:pt x="1613863" y="85083"/>
                      <a:pt x="1615630" y="79155"/>
                    </a:cubicBezTo>
                    <a:cubicBezTo>
                      <a:pt x="1616827" y="75052"/>
                      <a:pt x="1622013" y="73855"/>
                      <a:pt x="1626288" y="73456"/>
                    </a:cubicBezTo>
                    <a:cubicBezTo>
                      <a:pt x="1648402" y="71404"/>
                      <a:pt x="1670801" y="71461"/>
                      <a:pt x="1692744" y="67756"/>
                    </a:cubicBezTo>
                    <a:cubicBezTo>
                      <a:pt x="1714687" y="64052"/>
                      <a:pt x="1736687" y="56015"/>
                      <a:pt x="1752474" y="40342"/>
                    </a:cubicBezTo>
                    <a:cubicBezTo>
                      <a:pt x="1755438" y="37378"/>
                      <a:pt x="1758174" y="32762"/>
                      <a:pt x="1756008" y="28943"/>
                    </a:cubicBezTo>
                    <a:cubicBezTo>
                      <a:pt x="1747516" y="25238"/>
                      <a:pt x="1738909" y="33959"/>
                      <a:pt x="1729619" y="35668"/>
                    </a:cubicBezTo>
                    <a:cubicBezTo>
                      <a:pt x="1709044" y="39601"/>
                      <a:pt x="1696733" y="8767"/>
                      <a:pt x="1675816" y="7171"/>
                    </a:cubicBezTo>
                    <a:cubicBezTo>
                      <a:pt x="1670863" y="7058"/>
                      <a:pt x="1665922" y="7810"/>
                      <a:pt x="1661226" y="9394"/>
                    </a:cubicBezTo>
                    <a:lnTo>
                      <a:pt x="1628511" y="18342"/>
                    </a:lnTo>
                    <a:cubicBezTo>
                      <a:pt x="1626938" y="18852"/>
                      <a:pt x="1625239" y="18852"/>
                      <a:pt x="1623666" y="18342"/>
                    </a:cubicBezTo>
                    <a:cubicBezTo>
                      <a:pt x="1621557" y="17544"/>
                      <a:pt x="1620588" y="15207"/>
                      <a:pt x="1619562" y="13212"/>
                    </a:cubicBezTo>
                    <a:cubicBezTo>
                      <a:pt x="1612375" y="641"/>
                      <a:pt x="1596360" y="-3725"/>
                      <a:pt x="1583792" y="3460"/>
                    </a:cubicBezTo>
                    <a:cubicBezTo>
                      <a:pt x="1583080" y="3866"/>
                      <a:pt x="1582391" y="4306"/>
                      <a:pt x="1581718" y="4777"/>
                    </a:cubicBezTo>
                    <a:cubicBezTo>
                      <a:pt x="1575335" y="9793"/>
                      <a:pt x="1570319" y="18285"/>
                      <a:pt x="1562283" y="18456"/>
                    </a:cubicBezTo>
                    <a:cubicBezTo>
                      <a:pt x="1555500" y="18456"/>
                      <a:pt x="1550371" y="12756"/>
                      <a:pt x="1544728" y="8995"/>
                    </a:cubicBezTo>
                    <a:cubicBezTo>
                      <a:pt x="1536783" y="3939"/>
                      <a:pt x="1526906" y="2945"/>
                      <a:pt x="1518112" y="6316"/>
                    </a:cubicBezTo>
                    <a:cubicBezTo>
                      <a:pt x="1514293" y="7855"/>
                      <a:pt x="1510817" y="10135"/>
                      <a:pt x="1506713" y="11503"/>
                    </a:cubicBezTo>
                    <a:cubicBezTo>
                      <a:pt x="1501646" y="12998"/>
                      <a:pt x="1496374" y="13671"/>
                      <a:pt x="1491096" y="13497"/>
                    </a:cubicBezTo>
                    <a:lnTo>
                      <a:pt x="1435298" y="14922"/>
                    </a:lnTo>
                    <a:cubicBezTo>
                      <a:pt x="1431976" y="15360"/>
                      <a:pt x="1428596" y="14657"/>
                      <a:pt x="1425723" y="12927"/>
                    </a:cubicBezTo>
                    <a:cubicBezTo>
                      <a:pt x="1423694" y="10768"/>
                      <a:pt x="1421990" y="8331"/>
                      <a:pt x="1420651" y="5689"/>
                    </a:cubicBezTo>
                    <a:cubicBezTo>
                      <a:pt x="1415140" y="-616"/>
                      <a:pt x="1405564" y="-1260"/>
                      <a:pt x="1399261" y="4249"/>
                    </a:cubicBezTo>
                    <a:cubicBezTo>
                      <a:pt x="1397255" y="5999"/>
                      <a:pt x="1395750" y="8245"/>
                      <a:pt x="1394889" y="10762"/>
                    </a:cubicBezTo>
                    <a:cubicBezTo>
                      <a:pt x="1394724" y="12457"/>
                      <a:pt x="1394177" y="14093"/>
                      <a:pt x="1393293" y="15549"/>
                    </a:cubicBezTo>
                    <a:cubicBezTo>
                      <a:pt x="1389931" y="19596"/>
                      <a:pt x="1384060" y="14295"/>
                      <a:pt x="1380527" y="10420"/>
                    </a:cubicBezTo>
                    <a:cubicBezTo>
                      <a:pt x="1369464" y="-777"/>
                      <a:pt x="1351425" y="-886"/>
                      <a:pt x="1340226" y="10175"/>
                    </a:cubicBezTo>
                    <a:cubicBezTo>
                      <a:pt x="1339080" y="11306"/>
                      <a:pt x="1338037" y="12532"/>
                      <a:pt x="1337096" y="13839"/>
                    </a:cubicBezTo>
                    <a:cubicBezTo>
                      <a:pt x="1331283" y="9523"/>
                      <a:pt x="1323076" y="10735"/>
                      <a:pt x="1318756" y="16547"/>
                    </a:cubicBezTo>
                    <a:cubicBezTo>
                      <a:pt x="1318072" y="17467"/>
                      <a:pt x="1317513" y="18473"/>
                      <a:pt x="1317091" y="19539"/>
                    </a:cubicBezTo>
                    <a:cubicBezTo>
                      <a:pt x="1316721" y="21474"/>
                      <a:pt x="1316208" y="23379"/>
                      <a:pt x="1315552" y="25238"/>
                    </a:cubicBezTo>
                    <a:cubicBezTo>
                      <a:pt x="1310423" y="36010"/>
                      <a:pt x="1290589" y="24782"/>
                      <a:pt x="1282895" y="33902"/>
                    </a:cubicBezTo>
                    <a:cubicBezTo>
                      <a:pt x="1280615" y="36580"/>
                      <a:pt x="1280159" y="40513"/>
                      <a:pt x="1277993" y="43306"/>
                    </a:cubicBezTo>
                    <a:cubicBezTo>
                      <a:pt x="1273188" y="47764"/>
                      <a:pt x="1265956" y="48353"/>
                      <a:pt x="1260496" y="44731"/>
                    </a:cubicBezTo>
                    <a:cubicBezTo>
                      <a:pt x="1254796" y="41653"/>
                      <a:pt x="1250579" y="36694"/>
                      <a:pt x="1245050" y="33332"/>
                    </a:cubicBezTo>
                    <a:cubicBezTo>
                      <a:pt x="1234118" y="27739"/>
                      <a:pt x="1221010" y="28547"/>
                      <a:pt x="1210853" y="35440"/>
                    </a:cubicBezTo>
                    <a:cubicBezTo>
                      <a:pt x="1200908" y="42558"/>
                      <a:pt x="1194091" y="53234"/>
                      <a:pt x="1191817" y="65249"/>
                    </a:cubicBezTo>
                    <a:lnTo>
                      <a:pt x="1177910" y="65249"/>
                    </a:lnTo>
                    <a:cubicBezTo>
                      <a:pt x="1177910" y="57269"/>
                      <a:pt x="1168620" y="51228"/>
                      <a:pt x="1160812" y="50544"/>
                    </a:cubicBezTo>
                    <a:cubicBezTo>
                      <a:pt x="1152434" y="50269"/>
                      <a:pt x="1144517" y="54399"/>
                      <a:pt x="1139952" y="61430"/>
                    </a:cubicBezTo>
                    <a:cubicBezTo>
                      <a:pt x="1139080" y="62767"/>
                      <a:pt x="1138025" y="63976"/>
                      <a:pt x="1136817" y="65021"/>
                    </a:cubicBezTo>
                    <a:cubicBezTo>
                      <a:pt x="1131460" y="69124"/>
                      <a:pt x="1121656" y="64565"/>
                      <a:pt x="1118009" y="70264"/>
                    </a:cubicBezTo>
                    <a:cubicBezTo>
                      <a:pt x="1116515" y="73398"/>
                      <a:pt x="1116983" y="77116"/>
                      <a:pt x="1119206" y="79782"/>
                    </a:cubicBezTo>
                    <a:cubicBezTo>
                      <a:pt x="1121383" y="82398"/>
                      <a:pt x="1123292" y="85224"/>
                      <a:pt x="1124905" y="88218"/>
                    </a:cubicBezTo>
                    <a:cubicBezTo>
                      <a:pt x="1127168" y="94093"/>
                      <a:pt x="1124238" y="100689"/>
                      <a:pt x="1118362" y="102951"/>
                    </a:cubicBezTo>
                    <a:cubicBezTo>
                      <a:pt x="1115188" y="104174"/>
                      <a:pt x="1111625" y="103913"/>
                      <a:pt x="1108662" y="102238"/>
                    </a:cubicBezTo>
                    <a:close/>
                    <a:moveTo>
                      <a:pt x="1089739" y="82803"/>
                    </a:moveTo>
                    <a:cubicBezTo>
                      <a:pt x="1091569" y="83868"/>
                      <a:pt x="1093661" y="84400"/>
                      <a:pt x="1095781" y="84342"/>
                    </a:cubicBezTo>
                    <a:cubicBezTo>
                      <a:pt x="1097890" y="84057"/>
                      <a:pt x="1099941" y="82233"/>
                      <a:pt x="1099656" y="80181"/>
                    </a:cubicBezTo>
                    <a:cubicBezTo>
                      <a:pt x="1101463" y="79638"/>
                      <a:pt x="1103418" y="79908"/>
                      <a:pt x="1105014" y="80922"/>
                    </a:cubicBezTo>
                    <a:cubicBezTo>
                      <a:pt x="1106724" y="81606"/>
                      <a:pt x="1109004" y="82005"/>
                      <a:pt x="1110200" y="80922"/>
                    </a:cubicBezTo>
                    <a:cubicBezTo>
                      <a:pt x="1111397" y="79839"/>
                      <a:pt x="1110200" y="76648"/>
                      <a:pt x="1108947" y="74881"/>
                    </a:cubicBezTo>
                    <a:cubicBezTo>
                      <a:pt x="1108132" y="73704"/>
                      <a:pt x="1107151" y="72649"/>
                      <a:pt x="1106040" y="71746"/>
                    </a:cubicBezTo>
                    <a:cubicBezTo>
                      <a:pt x="1103492" y="70313"/>
                      <a:pt x="1100580" y="69658"/>
                      <a:pt x="1097662" y="69865"/>
                    </a:cubicBezTo>
                    <a:lnTo>
                      <a:pt x="1091050" y="69865"/>
                    </a:lnTo>
                    <a:cubicBezTo>
                      <a:pt x="1091050" y="73570"/>
                      <a:pt x="1085351" y="75565"/>
                      <a:pt x="1085351" y="79155"/>
                    </a:cubicBezTo>
                    <a:cubicBezTo>
                      <a:pt x="1085864" y="80637"/>
                      <a:pt x="1087916" y="81834"/>
                      <a:pt x="1089739" y="82689"/>
                    </a:cubicBezTo>
                    <a:close/>
                    <a:moveTo>
                      <a:pt x="980594" y="183114"/>
                    </a:moveTo>
                    <a:cubicBezTo>
                      <a:pt x="984299" y="184368"/>
                      <a:pt x="989144" y="183456"/>
                      <a:pt x="991423" y="186590"/>
                    </a:cubicBezTo>
                    <a:cubicBezTo>
                      <a:pt x="992962" y="188699"/>
                      <a:pt x="992449" y="191606"/>
                      <a:pt x="992734" y="194228"/>
                    </a:cubicBezTo>
                    <a:cubicBezTo>
                      <a:pt x="993019" y="196849"/>
                      <a:pt x="995299" y="199927"/>
                      <a:pt x="997693" y="198730"/>
                    </a:cubicBezTo>
                    <a:cubicBezTo>
                      <a:pt x="996063" y="200889"/>
                      <a:pt x="996485" y="203964"/>
                      <a:pt x="998645" y="205596"/>
                    </a:cubicBezTo>
                    <a:cubicBezTo>
                      <a:pt x="998799" y="205710"/>
                      <a:pt x="998953" y="205816"/>
                      <a:pt x="999118" y="205912"/>
                    </a:cubicBezTo>
                    <a:cubicBezTo>
                      <a:pt x="1001648" y="207195"/>
                      <a:pt x="1004515" y="207672"/>
                      <a:pt x="1007325" y="207280"/>
                    </a:cubicBezTo>
                    <a:cubicBezTo>
                      <a:pt x="1024195" y="206551"/>
                      <a:pt x="1040992" y="204647"/>
                      <a:pt x="1057594" y="201580"/>
                    </a:cubicBezTo>
                    <a:cubicBezTo>
                      <a:pt x="1061692" y="200267"/>
                      <a:pt x="1066092" y="200267"/>
                      <a:pt x="1070190" y="201580"/>
                    </a:cubicBezTo>
                    <a:cubicBezTo>
                      <a:pt x="1074066" y="203347"/>
                      <a:pt x="1076289" y="209046"/>
                      <a:pt x="1073268" y="212010"/>
                    </a:cubicBezTo>
                    <a:cubicBezTo>
                      <a:pt x="1070247" y="214974"/>
                      <a:pt x="1063864" y="212979"/>
                      <a:pt x="1060558" y="216057"/>
                    </a:cubicBezTo>
                    <a:cubicBezTo>
                      <a:pt x="1059361" y="217140"/>
                      <a:pt x="1058734" y="218735"/>
                      <a:pt x="1057651" y="219932"/>
                    </a:cubicBezTo>
                    <a:cubicBezTo>
                      <a:pt x="1053320" y="224720"/>
                      <a:pt x="1044942" y="220445"/>
                      <a:pt x="1039185" y="223295"/>
                    </a:cubicBezTo>
                    <a:cubicBezTo>
                      <a:pt x="1037110" y="224406"/>
                      <a:pt x="1035583" y="226323"/>
                      <a:pt x="1034967" y="228596"/>
                    </a:cubicBezTo>
                    <a:cubicBezTo>
                      <a:pt x="1034249" y="233221"/>
                      <a:pt x="1036535" y="237794"/>
                      <a:pt x="1040667" y="239994"/>
                    </a:cubicBezTo>
                    <a:cubicBezTo>
                      <a:pt x="1044771" y="242000"/>
                      <a:pt x="1049268" y="243089"/>
                      <a:pt x="1053833" y="243186"/>
                    </a:cubicBezTo>
                    <a:cubicBezTo>
                      <a:pt x="1052066" y="245466"/>
                      <a:pt x="1054802" y="248601"/>
                      <a:pt x="1057537" y="249513"/>
                    </a:cubicBezTo>
                    <a:cubicBezTo>
                      <a:pt x="1060273" y="250425"/>
                      <a:pt x="1063579" y="250709"/>
                      <a:pt x="1065118" y="253160"/>
                    </a:cubicBezTo>
                    <a:cubicBezTo>
                      <a:pt x="1065733" y="254662"/>
                      <a:pt x="1066172" y="256231"/>
                      <a:pt x="1066429" y="257834"/>
                    </a:cubicBezTo>
                    <a:cubicBezTo>
                      <a:pt x="1068423" y="264160"/>
                      <a:pt x="1076973" y="264958"/>
                      <a:pt x="1083527" y="264502"/>
                    </a:cubicBezTo>
                    <a:cubicBezTo>
                      <a:pt x="1082866" y="267539"/>
                      <a:pt x="1084507" y="270607"/>
                      <a:pt x="1087403" y="271741"/>
                    </a:cubicBezTo>
                    <a:cubicBezTo>
                      <a:pt x="1090218" y="272800"/>
                      <a:pt x="1093250" y="273152"/>
                      <a:pt x="1096237" y="272766"/>
                    </a:cubicBezTo>
                    <a:lnTo>
                      <a:pt x="1107123" y="272310"/>
                    </a:lnTo>
                    <a:cubicBezTo>
                      <a:pt x="1109203" y="272452"/>
                      <a:pt x="1111261" y="271754"/>
                      <a:pt x="1112822" y="270373"/>
                    </a:cubicBezTo>
                    <a:cubicBezTo>
                      <a:pt x="1113455" y="269293"/>
                      <a:pt x="1114008" y="268169"/>
                      <a:pt x="1114475" y="267010"/>
                    </a:cubicBezTo>
                    <a:cubicBezTo>
                      <a:pt x="1116231" y="264831"/>
                      <a:pt x="1118767" y="263420"/>
                      <a:pt x="1121543" y="263077"/>
                    </a:cubicBezTo>
                    <a:cubicBezTo>
                      <a:pt x="1125224" y="261906"/>
                      <a:pt x="1129123" y="261594"/>
                      <a:pt x="1132941" y="262165"/>
                    </a:cubicBezTo>
                    <a:cubicBezTo>
                      <a:pt x="1136954" y="262841"/>
                      <a:pt x="1139935" y="266250"/>
                      <a:pt x="1140066" y="270316"/>
                    </a:cubicBezTo>
                    <a:cubicBezTo>
                      <a:pt x="1142784" y="272426"/>
                      <a:pt x="1146586" y="272426"/>
                      <a:pt x="1149299" y="270316"/>
                    </a:cubicBezTo>
                    <a:cubicBezTo>
                      <a:pt x="1151875" y="268111"/>
                      <a:pt x="1153340" y="264873"/>
                      <a:pt x="1153288" y="261481"/>
                    </a:cubicBezTo>
                    <a:cubicBezTo>
                      <a:pt x="1153288" y="258632"/>
                      <a:pt x="1152605" y="255782"/>
                      <a:pt x="1152548" y="253046"/>
                    </a:cubicBezTo>
                    <a:cubicBezTo>
                      <a:pt x="1152530" y="245564"/>
                      <a:pt x="1157033" y="238811"/>
                      <a:pt x="1163947" y="235948"/>
                    </a:cubicBezTo>
                    <a:cubicBezTo>
                      <a:pt x="1165423" y="235592"/>
                      <a:pt x="1166791" y="234888"/>
                      <a:pt x="1167936" y="233896"/>
                    </a:cubicBezTo>
                    <a:cubicBezTo>
                      <a:pt x="1169019" y="232699"/>
                      <a:pt x="1169247" y="230875"/>
                      <a:pt x="1170216" y="229621"/>
                    </a:cubicBezTo>
                    <a:cubicBezTo>
                      <a:pt x="1172610" y="226544"/>
                      <a:pt x="1177682" y="227855"/>
                      <a:pt x="1181102" y="226031"/>
                    </a:cubicBezTo>
                    <a:cubicBezTo>
                      <a:pt x="1184522" y="224207"/>
                      <a:pt x="1185776" y="217938"/>
                      <a:pt x="1189765" y="215658"/>
                    </a:cubicBezTo>
                    <a:cubicBezTo>
                      <a:pt x="1191845" y="214688"/>
                      <a:pt x="1194177" y="214388"/>
                      <a:pt x="1196434" y="214803"/>
                    </a:cubicBezTo>
                    <a:cubicBezTo>
                      <a:pt x="1201250" y="215742"/>
                      <a:pt x="1206208" y="215742"/>
                      <a:pt x="1211024" y="214803"/>
                    </a:cubicBezTo>
                    <a:cubicBezTo>
                      <a:pt x="1215755" y="213435"/>
                      <a:pt x="1219801" y="208248"/>
                      <a:pt x="1217864" y="203746"/>
                    </a:cubicBezTo>
                    <a:cubicBezTo>
                      <a:pt x="1215926" y="199243"/>
                      <a:pt x="1210340" y="198616"/>
                      <a:pt x="1205667" y="198388"/>
                    </a:cubicBezTo>
                    <a:lnTo>
                      <a:pt x="1178708" y="197191"/>
                    </a:lnTo>
                    <a:cubicBezTo>
                      <a:pt x="1177768" y="197283"/>
                      <a:pt x="1176827" y="197063"/>
                      <a:pt x="1176029" y="196564"/>
                    </a:cubicBezTo>
                    <a:cubicBezTo>
                      <a:pt x="1175129" y="195794"/>
                      <a:pt x="1174542" y="194719"/>
                      <a:pt x="1174377" y="193544"/>
                    </a:cubicBezTo>
                    <a:cubicBezTo>
                      <a:pt x="1173522" y="190295"/>
                      <a:pt x="1172667" y="187046"/>
                      <a:pt x="1171755" y="183798"/>
                    </a:cubicBezTo>
                    <a:cubicBezTo>
                      <a:pt x="1174838" y="182538"/>
                      <a:pt x="1178081" y="181694"/>
                      <a:pt x="1181387" y="181290"/>
                    </a:cubicBezTo>
                    <a:cubicBezTo>
                      <a:pt x="1183040" y="177984"/>
                      <a:pt x="1179848" y="174223"/>
                      <a:pt x="1176485" y="172570"/>
                    </a:cubicBezTo>
                    <a:cubicBezTo>
                      <a:pt x="1173123" y="170917"/>
                      <a:pt x="1169190" y="169663"/>
                      <a:pt x="1167480" y="166357"/>
                    </a:cubicBezTo>
                    <a:cubicBezTo>
                      <a:pt x="1165770" y="163052"/>
                      <a:pt x="1167480" y="158891"/>
                      <a:pt x="1167024" y="154958"/>
                    </a:cubicBezTo>
                    <a:cubicBezTo>
                      <a:pt x="1166568" y="151026"/>
                      <a:pt x="1162237" y="147207"/>
                      <a:pt x="1159615" y="149943"/>
                    </a:cubicBezTo>
                    <a:cubicBezTo>
                      <a:pt x="1159615" y="155015"/>
                      <a:pt x="1159216" y="160088"/>
                      <a:pt x="1158988" y="165160"/>
                    </a:cubicBezTo>
                    <a:cubicBezTo>
                      <a:pt x="1154998" y="165959"/>
                      <a:pt x="1150895" y="165959"/>
                      <a:pt x="1146905" y="165160"/>
                    </a:cubicBezTo>
                    <a:cubicBezTo>
                      <a:pt x="1142841" y="164215"/>
                      <a:pt x="1139752" y="160903"/>
                      <a:pt x="1139097" y="156782"/>
                    </a:cubicBezTo>
                    <a:cubicBezTo>
                      <a:pt x="1139142" y="155722"/>
                      <a:pt x="1139006" y="154663"/>
                      <a:pt x="1138698" y="153647"/>
                    </a:cubicBezTo>
                    <a:cubicBezTo>
                      <a:pt x="1137558" y="150969"/>
                      <a:pt x="1132998" y="151311"/>
                      <a:pt x="1131631" y="148917"/>
                    </a:cubicBezTo>
                    <a:cubicBezTo>
                      <a:pt x="1130263" y="146523"/>
                      <a:pt x="1131631" y="143217"/>
                      <a:pt x="1129636" y="141394"/>
                    </a:cubicBezTo>
                    <a:cubicBezTo>
                      <a:pt x="1128997" y="140788"/>
                      <a:pt x="1128239" y="140322"/>
                      <a:pt x="1127413" y="140026"/>
                    </a:cubicBezTo>
                    <a:lnTo>
                      <a:pt x="1104615" y="130679"/>
                    </a:lnTo>
                    <a:cubicBezTo>
                      <a:pt x="1102814" y="129807"/>
                      <a:pt x="1100893" y="129211"/>
                      <a:pt x="1098916" y="128912"/>
                    </a:cubicBezTo>
                    <a:cubicBezTo>
                      <a:pt x="1095895" y="128912"/>
                      <a:pt x="1092019" y="129425"/>
                      <a:pt x="1090594" y="126746"/>
                    </a:cubicBezTo>
                    <a:cubicBezTo>
                      <a:pt x="1090024" y="125663"/>
                      <a:pt x="1090138" y="124295"/>
                      <a:pt x="1089454" y="123269"/>
                    </a:cubicBezTo>
                    <a:cubicBezTo>
                      <a:pt x="1087631" y="120363"/>
                      <a:pt x="1082273" y="122870"/>
                      <a:pt x="1079993" y="120306"/>
                    </a:cubicBezTo>
                    <a:cubicBezTo>
                      <a:pt x="1078626" y="118881"/>
                      <a:pt x="1078967" y="116430"/>
                      <a:pt x="1077714" y="114891"/>
                    </a:cubicBezTo>
                    <a:cubicBezTo>
                      <a:pt x="1076460" y="113352"/>
                      <a:pt x="1071330" y="113637"/>
                      <a:pt x="1069848" y="110958"/>
                    </a:cubicBezTo>
                    <a:cubicBezTo>
                      <a:pt x="1069461" y="109800"/>
                      <a:pt x="1069250" y="108589"/>
                      <a:pt x="1069221" y="107368"/>
                    </a:cubicBezTo>
                    <a:cubicBezTo>
                      <a:pt x="1068366" y="102067"/>
                      <a:pt x="1061470" y="100756"/>
                      <a:pt x="1056055" y="100642"/>
                    </a:cubicBezTo>
                    <a:cubicBezTo>
                      <a:pt x="1050345" y="99925"/>
                      <a:pt x="1044554" y="101106"/>
                      <a:pt x="1039584" y="104005"/>
                    </a:cubicBezTo>
                    <a:cubicBezTo>
                      <a:pt x="1037561" y="106042"/>
                      <a:pt x="1035281" y="107805"/>
                      <a:pt x="1032802" y="109249"/>
                    </a:cubicBezTo>
                    <a:cubicBezTo>
                      <a:pt x="1030522" y="109913"/>
                      <a:pt x="1028117" y="110010"/>
                      <a:pt x="1025791" y="109534"/>
                    </a:cubicBezTo>
                    <a:lnTo>
                      <a:pt x="1009890" y="107026"/>
                    </a:lnTo>
                    <a:cubicBezTo>
                      <a:pt x="1008573" y="109035"/>
                      <a:pt x="1008881" y="111702"/>
                      <a:pt x="1010631" y="113352"/>
                    </a:cubicBezTo>
                    <a:cubicBezTo>
                      <a:pt x="1012375" y="114904"/>
                      <a:pt x="1014466" y="116018"/>
                      <a:pt x="1016729" y="116601"/>
                    </a:cubicBezTo>
                    <a:cubicBezTo>
                      <a:pt x="1021973" y="118368"/>
                      <a:pt x="1028128" y="122300"/>
                      <a:pt x="1026988" y="127487"/>
                    </a:cubicBezTo>
                    <a:cubicBezTo>
                      <a:pt x="1025848" y="132673"/>
                      <a:pt x="1018382" y="133186"/>
                      <a:pt x="1012911" y="133186"/>
                    </a:cubicBezTo>
                    <a:cubicBezTo>
                      <a:pt x="1006082" y="133115"/>
                      <a:pt x="999283" y="134056"/>
                      <a:pt x="992734" y="135979"/>
                    </a:cubicBezTo>
                    <a:cubicBezTo>
                      <a:pt x="989087" y="137119"/>
                      <a:pt x="984812" y="139456"/>
                      <a:pt x="984983" y="143274"/>
                    </a:cubicBezTo>
                    <a:cubicBezTo>
                      <a:pt x="985154" y="147093"/>
                      <a:pt x="988004" y="148404"/>
                      <a:pt x="990682" y="149430"/>
                    </a:cubicBezTo>
                    <a:cubicBezTo>
                      <a:pt x="993595" y="150150"/>
                      <a:pt x="996353" y="151385"/>
                      <a:pt x="998833" y="153078"/>
                    </a:cubicBezTo>
                    <a:cubicBezTo>
                      <a:pt x="996040" y="154274"/>
                      <a:pt x="996781" y="158777"/>
                      <a:pt x="999346" y="160430"/>
                    </a:cubicBezTo>
                    <a:cubicBezTo>
                      <a:pt x="1002161" y="161653"/>
                      <a:pt x="1005268" y="162029"/>
                      <a:pt x="1008294" y="161513"/>
                    </a:cubicBezTo>
                    <a:cubicBezTo>
                      <a:pt x="1011349" y="161018"/>
                      <a:pt x="1014438" y="162113"/>
                      <a:pt x="1016501" y="164419"/>
                    </a:cubicBezTo>
                    <a:lnTo>
                      <a:pt x="1006983" y="170974"/>
                    </a:lnTo>
                    <a:cubicBezTo>
                      <a:pt x="1002708" y="173995"/>
                      <a:pt x="996268" y="176673"/>
                      <a:pt x="992791" y="172798"/>
                    </a:cubicBezTo>
                    <a:cubicBezTo>
                      <a:pt x="992016" y="171835"/>
                      <a:pt x="991332" y="170805"/>
                      <a:pt x="990740" y="169720"/>
                    </a:cubicBezTo>
                    <a:cubicBezTo>
                      <a:pt x="988049" y="165610"/>
                      <a:pt x="982544" y="164457"/>
                      <a:pt x="978434" y="167145"/>
                    </a:cubicBezTo>
                    <a:cubicBezTo>
                      <a:pt x="974325" y="169832"/>
                      <a:pt x="973168" y="175343"/>
                      <a:pt x="975858" y="179452"/>
                    </a:cubicBezTo>
                    <a:cubicBezTo>
                      <a:pt x="976941" y="181110"/>
                      <a:pt x="978548" y="182359"/>
                      <a:pt x="980423" y="183000"/>
                    </a:cubicBezTo>
                    <a:close/>
                    <a:moveTo>
                      <a:pt x="1634780" y="796662"/>
                    </a:moveTo>
                    <a:cubicBezTo>
                      <a:pt x="1635510" y="798480"/>
                      <a:pt x="1636490" y="800184"/>
                      <a:pt x="1637687" y="801735"/>
                    </a:cubicBezTo>
                    <a:cubicBezTo>
                      <a:pt x="1640616" y="803895"/>
                      <a:pt x="1644139" y="805103"/>
                      <a:pt x="1647775" y="805211"/>
                    </a:cubicBezTo>
                    <a:cubicBezTo>
                      <a:pt x="1659208" y="808232"/>
                      <a:pt x="1667706" y="817830"/>
                      <a:pt x="1669319" y="829548"/>
                    </a:cubicBezTo>
                    <a:cubicBezTo>
                      <a:pt x="1669336" y="831241"/>
                      <a:pt x="1669940" y="832871"/>
                      <a:pt x="1671029" y="834165"/>
                    </a:cubicBezTo>
                    <a:cubicBezTo>
                      <a:pt x="1673422" y="836273"/>
                      <a:pt x="1677697" y="834165"/>
                      <a:pt x="1680034" y="836387"/>
                    </a:cubicBezTo>
                    <a:cubicBezTo>
                      <a:pt x="1682371" y="838610"/>
                      <a:pt x="1681174" y="841118"/>
                      <a:pt x="1682314" y="843341"/>
                    </a:cubicBezTo>
                    <a:cubicBezTo>
                      <a:pt x="1684080" y="846817"/>
                      <a:pt x="1689609" y="846418"/>
                      <a:pt x="1692288" y="843626"/>
                    </a:cubicBezTo>
                    <a:cubicBezTo>
                      <a:pt x="1694653" y="840502"/>
                      <a:pt x="1695992" y="836718"/>
                      <a:pt x="1696106" y="832797"/>
                    </a:cubicBezTo>
                    <a:cubicBezTo>
                      <a:pt x="1696266" y="828875"/>
                      <a:pt x="1697662" y="825102"/>
                      <a:pt x="1700096" y="822025"/>
                    </a:cubicBezTo>
                    <a:cubicBezTo>
                      <a:pt x="1702775" y="823849"/>
                      <a:pt x="1706422" y="821341"/>
                      <a:pt x="1707733" y="818434"/>
                    </a:cubicBezTo>
                    <a:cubicBezTo>
                      <a:pt x="1708600" y="815345"/>
                      <a:pt x="1709802" y="812364"/>
                      <a:pt x="1711324" y="809543"/>
                    </a:cubicBezTo>
                    <a:cubicBezTo>
                      <a:pt x="1714345" y="805667"/>
                      <a:pt x="1719987" y="805439"/>
                      <a:pt x="1724832" y="804812"/>
                    </a:cubicBezTo>
                    <a:cubicBezTo>
                      <a:pt x="1729676" y="804185"/>
                      <a:pt x="1735433" y="801507"/>
                      <a:pt x="1735547" y="796548"/>
                    </a:cubicBezTo>
                    <a:cubicBezTo>
                      <a:pt x="1727226" y="792957"/>
                      <a:pt x="1730987" y="777056"/>
                      <a:pt x="1722381" y="774206"/>
                    </a:cubicBezTo>
                    <a:cubicBezTo>
                      <a:pt x="1719645" y="773294"/>
                      <a:pt x="1716282" y="774206"/>
                      <a:pt x="1714117" y="772211"/>
                    </a:cubicBezTo>
                    <a:cubicBezTo>
                      <a:pt x="1711951" y="770216"/>
                      <a:pt x="1712236" y="767766"/>
                      <a:pt x="1710412" y="766512"/>
                    </a:cubicBezTo>
                    <a:cubicBezTo>
                      <a:pt x="1708588" y="765258"/>
                      <a:pt x="1706650" y="765315"/>
                      <a:pt x="1704713" y="764403"/>
                    </a:cubicBezTo>
                    <a:cubicBezTo>
                      <a:pt x="1701122" y="762465"/>
                      <a:pt x="1701008" y="757507"/>
                      <a:pt x="1699868" y="753631"/>
                    </a:cubicBezTo>
                    <a:cubicBezTo>
                      <a:pt x="1698728" y="749755"/>
                      <a:pt x="1693314" y="746165"/>
                      <a:pt x="1691091" y="749584"/>
                    </a:cubicBezTo>
                    <a:cubicBezTo>
                      <a:pt x="1692003" y="742631"/>
                      <a:pt x="1683454" y="738755"/>
                      <a:pt x="1676614" y="737217"/>
                    </a:cubicBezTo>
                    <a:lnTo>
                      <a:pt x="1648117" y="730719"/>
                    </a:lnTo>
                    <a:lnTo>
                      <a:pt x="1630448" y="721486"/>
                    </a:lnTo>
                    <a:cubicBezTo>
                      <a:pt x="1625496" y="717969"/>
                      <a:pt x="1619283" y="716704"/>
                      <a:pt x="1613350" y="718009"/>
                    </a:cubicBezTo>
                    <a:cubicBezTo>
                      <a:pt x="1614889" y="714818"/>
                      <a:pt x="1611982" y="711113"/>
                      <a:pt x="1608790" y="709574"/>
                    </a:cubicBezTo>
                    <a:cubicBezTo>
                      <a:pt x="1605405" y="708485"/>
                      <a:pt x="1602151" y="707015"/>
                      <a:pt x="1599101" y="705185"/>
                    </a:cubicBezTo>
                    <a:cubicBezTo>
                      <a:pt x="1594952" y="701304"/>
                      <a:pt x="1594604" y="694847"/>
                      <a:pt x="1598303" y="690538"/>
                    </a:cubicBezTo>
                    <a:cubicBezTo>
                      <a:pt x="1602196" y="686491"/>
                      <a:pt x="1608260" y="685431"/>
                      <a:pt x="1613293" y="687916"/>
                    </a:cubicBezTo>
                    <a:cubicBezTo>
                      <a:pt x="1615123" y="689084"/>
                      <a:pt x="1617026" y="690133"/>
                      <a:pt x="1618993" y="691051"/>
                    </a:cubicBezTo>
                    <a:cubicBezTo>
                      <a:pt x="1624327" y="692282"/>
                      <a:pt x="1629656" y="688959"/>
                      <a:pt x="1630887" y="683624"/>
                    </a:cubicBezTo>
                    <a:cubicBezTo>
                      <a:pt x="1631355" y="681612"/>
                      <a:pt x="1631178" y="679509"/>
                      <a:pt x="1630392" y="677600"/>
                    </a:cubicBezTo>
                    <a:lnTo>
                      <a:pt x="1601552" y="678512"/>
                    </a:lnTo>
                    <a:cubicBezTo>
                      <a:pt x="1603935" y="675018"/>
                      <a:pt x="1605080" y="670823"/>
                      <a:pt x="1604801" y="666600"/>
                    </a:cubicBezTo>
                    <a:lnTo>
                      <a:pt x="1623951" y="659248"/>
                    </a:lnTo>
                    <a:cubicBezTo>
                      <a:pt x="1623472" y="657025"/>
                      <a:pt x="1621432" y="655492"/>
                      <a:pt x="1619164" y="655657"/>
                    </a:cubicBezTo>
                    <a:cubicBezTo>
                      <a:pt x="1621244" y="649359"/>
                      <a:pt x="1617824" y="642577"/>
                      <a:pt x="1611526" y="640496"/>
                    </a:cubicBezTo>
                    <a:cubicBezTo>
                      <a:pt x="1605228" y="638416"/>
                      <a:pt x="1598446" y="641836"/>
                      <a:pt x="1596366" y="648134"/>
                    </a:cubicBezTo>
                    <a:cubicBezTo>
                      <a:pt x="1596001" y="649410"/>
                      <a:pt x="1595448" y="650619"/>
                      <a:pt x="1594713" y="651724"/>
                    </a:cubicBezTo>
                    <a:cubicBezTo>
                      <a:pt x="1592376" y="654574"/>
                      <a:pt x="1587360" y="653092"/>
                      <a:pt x="1585480" y="649901"/>
                    </a:cubicBezTo>
                    <a:cubicBezTo>
                      <a:pt x="1583998" y="646509"/>
                      <a:pt x="1583662" y="642731"/>
                      <a:pt x="1584511" y="639129"/>
                    </a:cubicBezTo>
                    <a:cubicBezTo>
                      <a:pt x="1588871" y="637128"/>
                      <a:pt x="1591920" y="633047"/>
                      <a:pt x="1592604" y="628300"/>
                    </a:cubicBezTo>
                    <a:cubicBezTo>
                      <a:pt x="1593197" y="625609"/>
                      <a:pt x="1592091" y="622834"/>
                      <a:pt x="1589811" y="621289"/>
                    </a:cubicBezTo>
                    <a:cubicBezTo>
                      <a:pt x="1588056" y="620691"/>
                      <a:pt x="1586152" y="620691"/>
                      <a:pt x="1584397" y="621289"/>
                    </a:cubicBezTo>
                    <a:lnTo>
                      <a:pt x="1549516" y="627844"/>
                    </a:lnTo>
                    <a:cubicBezTo>
                      <a:pt x="1553300" y="620127"/>
                      <a:pt x="1550114" y="610808"/>
                      <a:pt x="1542403" y="607023"/>
                    </a:cubicBezTo>
                    <a:cubicBezTo>
                      <a:pt x="1537547" y="604635"/>
                      <a:pt x="1531802" y="604949"/>
                      <a:pt x="1527231" y="607838"/>
                    </a:cubicBezTo>
                    <a:lnTo>
                      <a:pt x="1512697" y="622714"/>
                    </a:lnTo>
                    <a:cubicBezTo>
                      <a:pt x="1506599" y="622714"/>
                      <a:pt x="1499361" y="617642"/>
                      <a:pt x="1501811" y="612056"/>
                    </a:cubicBezTo>
                    <a:cubicBezTo>
                      <a:pt x="1503749" y="607667"/>
                      <a:pt x="1509677" y="607326"/>
                      <a:pt x="1514293" y="606357"/>
                    </a:cubicBezTo>
                    <a:cubicBezTo>
                      <a:pt x="1518910" y="605388"/>
                      <a:pt x="1523640" y="599232"/>
                      <a:pt x="1519993" y="596155"/>
                    </a:cubicBezTo>
                    <a:lnTo>
                      <a:pt x="1527402" y="593704"/>
                    </a:lnTo>
                    <a:lnTo>
                      <a:pt x="1527402" y="584813"/>
                    </a:lnTo>
                    <a:cubicBezTo>
                      <a:pt x="1521246" y="582248"/>
                      <a:pt x="1514122" y="579683"/>
                      <a:pt x="1508195" y="582704"/>
                    </a:cubicBezTo>
                    <a:cubicBezTo>
                      <a:pt x="1503920" y="584927"/>
                      <a:pt x="1501469" y="589486"/>
                      <a:pt x="1498050" y="592849"/>
                    </a:cubicBezTo>
                    <a:cubicBezTo>
                      <a:pt x="1494630" y="596212"/>
                      <a:pt x="1488474" y="598149"/>
                      <a:pt x="1485283" y="594559"/>
                    </a:cubicBezTo>
                    <a:cubicBezTo>
                      <a:pt x="1482091" y="590968"/>
                      <a:pt x="1483801" y="585383"/>
                      <a:pt x="1480438" y="582647"/>
                    </a:cubicBezTo>
                    <a:cubicBezTo>
                      <a:pt x="1478273" y="580823"/>
                      <a:pt x="1474739" y="581051"/>
                      <a:pt x="1472972" y="578828"/>
                    </a:cubicBezTo>
                    <a:cubicBezTo>
                      <a:pt x="1471205" y="576605"/>
                      <a:pt x="1471946" y="574326"/>
                      <a:pt x="1471490" y="572046"/>
                    </a:cubicBezTo>
                    <a:cubicBezTo>
                      <a:pt x="1470179" y="567720"/>
                      <a:pt x="1466583" y="564471"/>
                      <a:pt x="1462143" y="563611"/>
                    </a:cubicBezTo>
                    <a:cubicBezTo>
                      <a:pt x="1457766" y="562796"/>
                      <a:pt x="1453309" y="562488"/>
                      <a:pt x="1448863" y="562699"/>
                    </a:cubicBezTo>
                    <a:cubicBezTo>
                      <a:pt x="1447210" y="562761"/>
                      <a:pt x="1445575" y="562368"/>
                      <a:pt x="1444133" y="561559"/>
                    </a:cubicBezTo>
                    <a:cubicBezTo>
                      <a:pt x="1440029" y="558766"/>
                      <a:pt x="1442537" y="552497"/>
                      <a:pt x="1442594" y="547538"/>
                    </a:cubicBezTo>
                    <a:cubicBezTo>
                      <a:pt x="1442594" y="538932"/>
                      <a:pt x="1432449" y="535626"/>
                      <a:pt x="1423842" y="535626"/>
                    </a:cubicBezTo>
                    <a:lnTo>
                      <a:pt x="1384687" y="535626"/>
                    </a:lnTo>
                    <a:cubicBezTo>
                      <a:pt x="1382043" y="535375"/>
                      <a:pt x="1379387" y="535911"/>
                      <a:pt x="1377050" y="537165"/>
                    </a:cubicBezTo>
                    <a:cubicBezTo>
                      <a:pt x="1374297" y="539507"/>
                      <a:pt x="1372730" y="542956"/>
                      <a:pt x="1372775" y="546569"/>
                    </a:cubicBezTo>
                    <a:cubicBezTo>
                      <a:pt x="1372827" y="550126"/>
                      <a:pt x="1372029" y="553642"/>
                      <a:pt x="1370438" y="556828"/>
                    </a:cubicBezTo>
                    <a:cubicBezTo>
                      <a:pt x="1368444" y="559792"/>
                      <a:pt x="1363656" y="561217"/>
                      <a:pt x="1361376" y="558538"/>
                    </a:cubicBezTo>
                    <a:cubicBezTo>
                      <a:pt x="1362049" y="553773"/>
                      <a:pt x="1358903" y="549311"/>
                      <a:pt x="1354195" y="548336"/>
                    </a:cubicBezTo>
                    <a:cubicBezTo>
                      <a:pt x="1349613" y="547601"/>
                      <a:pt x="1344916" y="548068"/>
                      <a:pt x="1340573" y="549704"/>
                    </a:cubicBezTo>
                    <a:lnTo>
                      <a:pt x="1339718" y="553351"/>
                    </a:lnTo>
                    <a:lnTo>
                      <a:pt x="1329288" y="553636"/>
                    </a:lnTo>
                    <a:cubicBezTo>
                      <a:pt x="1331175" y="557335"/>
                      <a:pt x="1329704" y="561867"/>
                      <a:pt x="1326005" y="563759"/>
                    </a:cubicBezTo>
                    <a:cubicBezTo>
                      <a:pt x="1323230" y="565172"/>
                      <a:pt x="1319861" y="564733"/>
                      <a:pt x="1317547" y="562642"/>
                    </a:cubicBezTo>
                    <a:cubicBezTo>
                      <a:pt x="1315051" y="559689"/>
                      <a:pt x="1313769" y="555899"/>
                      <a:pt x="1313957" y="552041"/>
                    </a:cubicBezTo>
                    <a:cubicBezTo>
                      <a:pt x="1313558" y="545657"/>
                      <a:pt x="1313957" y="538077"/>
                      <a:pt x="1319086" y="534429"/>
                    </a:cubicBezTo>
                    <a:cubicBezTo>
                      <a:pt x="1321771" y="528576"/>
                      <a:pt x="1321474" y="521787"/>
                      <a:pt x="1318288" y="516191"/>
                    </a:cubicBezTo>
                    <a:cubicBezTo>
                      <a:pt x="1316983" y="514404"/>
                      <a:pt x="1315860" y="512495"/>
                      <a:pt x="1314926" y="510491"/>
                    </a:cubicBezTo>
                    <a:cubicBezTo>
                      <a:pt x="1314413" y="509124"/>
                      <a:pt x="1314299" y="507642"/>
                      <a:pt x="1313786" y="506331"/>
                    </a:cubicBezTo>
                    <a:cubicBezTo>
                      <a:pt x="1313273" y="504985"/>
                      <a:pt x="1312600" y="503704"/>
                      <a:pt x="1311791" y="502512"/>
                    </a:cubicBezTo>
                    <a:lnTo>
                      <a:pt x="1303641" y="488890"/>
                    </a:lnTo>
                    <a:cubicBezTo>
                      <a:pt x="1302307" y="486394"/>
                      <a:pt x="1300341" y="484292"/>
                      <a:pt x="1297941" y="482792"/>
                    </a:cubicBezTo>
                    <a:cubicBezTo>
                      <a:pt x="1295114" y="481622"/>
                      <a:pt x="1292014" y="481267"/>
                      <a:pt x="1288993" y="481766"/>
                    </a:cubicBezTo>
                    <a:lnTo>
                      <a:pt x="1278221" y="482621"/>
                    </a:lnTo>
                    <a:cubicBezTo>
                      <a:pt x="1275491" y="482597"/>
                      <a:pt x="1272801" y="483284"/>
                      <a:pt x="1270413" y="484616"/>
                    </a:cubicBezTo>
                    <a:cubicBezTo>
                      <a:pt x="1268498" y="486224"/>
                      <a:pt x="1266879" y="488153"/>
                      <a:pt x="1265625" y="490315"/>
                    </a:cubicBezTo>
                    <a:cubicBezTo>
                      <a:pt x="1260461" y="497148"/>
                      <a:pt x="1252522" y="501326"/>
                      <a:pt x="1243967" y="501714"/>
                    </a:cubicBezTo>
                    <a:cubicBezTo>
                      <a:pt x="1238838" y="501714"/>
                      <a:pt x="1233081" y="500973"/>
                      <a:pt x="1229092" y="504222"/>
                    </a:cubicBezTo>
                    <a:cubicBezTo>
                      <a:pt x="1225102" y="507471"/>
                      <a:pt x="1223392" y="517559"/>
                      <a:pt x="1217180" y="517559"/>
                    </a:cubicBezTo>
                    <a:cubicBezTo>
                      <a:pt x="1213868" y="529580"/>
                      <a:pt x="1219465" y="542272"/>
                      <a:pt x="1230573" y="547937"/>
                    </a:cubicBezTo>
                    <a:cubicBezTo>
                      <a:pt x="1232129" y="552759"/>
                      <a:pt x="1229479" y="557934"/>
                      <a:pt x="1224657" y="559484"/>
                    </a:cubicBezTo>
                    <a:cubicBezTo>
                      <a:pt x="1224133" y="559655"/>
                      <a:pt x="1223597" y="559775"/>
                      <a:pt x="1223050" y="559849"/>
                    </a:cubicBezTo>
                    <a:cubicBezTo>
                      <a:pt x="1219858" y="559849"/>
                      <a:pt x="1215356" y="559393"/>
                      <a:pt x="1214558" y="562471"/>
                    </a:cubicBezTo>
                    <a:cubicBezTo>
                      <a:pt x="1214432" y="564266"/>
                      <a:pt x="1215225" y="566004"/>
                      <a:pt x="1216667" y="567087"/>
                    </a:cubicBezTo>
                    <a:cubicBezTo>
                      <a:pt x="1221494" y="571994"/>
                      <a:pt x="1226960" y="576229"/>
                      <a:pt x="1232910" y="579683"/>
                    </a:cubicBezTo>
                    <a:cubicBezTo>
                      <a:pt x="1237584" y="582362"/>
                      <a:pt x="1243454" y="586522"/>
                      <a:pt x="1241801" y="591652"/>
                    </a:cubicBezTo>
                    <a:cubicBezTo>
                      <a:pt x="1233138" y="593305"/>
                      <a:pt x="1222651" y="594331"/>
                      <a:pt x="1216895" y="587662"/>
                    </a:cubicBezTo>
                    <a:cubicBezTo>
                      <a:pt x="1214216" y="584585"/>
                      <a:pt x="1212791" y="580025"/>
                      <a:pt x="1208915" y="578657"/>
                    </a:cubicBezTo>
                    <a:cubicBezTo>
                      <a:pt x="1206983" y="578384"/>
                      <a:pt x="1205074" y="577950"/>
                      <a:pt x="1203216" y="577346"/>
                    </a:cubicBezTo>
                    <a:cubicBezTo>
                      <a:pt x="1201899" y="576480"/>
                      <a:pt x="1200913" y="575198"/>
                      <a:pt x="1200423" y="573699"/>
                    </a:cubicBezTo>
                    <a:cubicBezTo>
                      <a:pt x="1198805" y="566939"/>
                      <a:pt x="1199038" y="559872"/>
                      <a:pt x="1201107" y="553238"/>
                    </a:cubicBezTo>
                    <a:cubicBezTo>
                      <a:pt x="1202361" y="546398"/>
                      <a:pt x="1202247" y="538305"/>
                      <a:pt x="1196946" y="533859"/>
                    </a:cubicBezTo>
                    <a:cubicBezTo>
                      <a:pt x="1194963" y="532547"/>
                      <a:pt x="1193059" y="531120"/>
                      <a:pt x="1191247" y="529585"/>
                    </a:cubicBezTo>
                    <a:cubicBezTo>
                      <a:pt x="1188392" y="525906"/>
                      <a:pt x="1189053" y="520606"/>
                      <a:pt x="1192735" y="517749"/>
                    </a:cubicBezTo>
                    <a:cubicBezTo>
                      <a:pt x="1193310" y="517302"/>
                      <a:pt x="1193937" y="516932"/>
                      <a:pt x="1194610" y="516647"/>
                    </a:cubicBezTo>
                    <a:cubicBezTo>
                      <a:pt x="1196827" y="516355"/>
                      <a:pt x="1198993" y="515760"/>
                      <a:pt x="1201050" y="514880"/>
                    </a:cubicBezTo>
                    <a:cubicBezTo>
                      <a:pt x="1204242" y="512714"/>
                      <a:pt x="1203900" y="508041"/>
                      <a:pt x="1203216" y="504279"/>
                    </a:cubicBezTo>
                    <a:cubicBezTo>
                      <a:pt x="1205393" y="502880"/>
                      <a:pt x="1208020" y="502351"/>
                      <a:pt x="1210568" y="502797"/>
                    </a:cubicBezTo>
                    <a:cubicBezTo>
                      <a:pt x="1208972" y="500061"/>
                      <a:pt x="1211423" y="496642"/>
                      <a:pt x="1214216" y="495160"/>
                    </a:cubicBezTo>
                    <a:cubicBezTo>
                      <a:pt x="1217202" y="494160"/>
                      <a:pt x="1220052" y="492801"/>
                      <a:pt x="1222708" y="491113"/>
                    </a:cubicBezTo>
                    <a:cubicBezTo>
                      <a:pt x="1225102" y="489004"/>
                      <a:pt x="1225501" y="484331"/>
                      <a:pt x="1222708" y="483305"/>
                    </a:cubicBezTo>
                    <a:cubicBezTo>
                      <a:pt x="1211007" y="481799"/>
                      <a:pt x="1199118" y="482789"/>
                      <a:pt x="1187827" y="486212"/>
                    </a:cubicBezTo>
                    <a:cubicBezTo>
                      <a:pt x="1184288" y="487816"/>
                      <a:pt x="1180652" y="489205"/>
                      <a:pt x="1176941" y="490372"/>
                    </a:cubicBezTo>
                    <a:cubicBezTo>
                      <a:pt x="1174320" y="490942"/>
                      <a:pt x="1171584" y="491056"/>
                      <a:pt x="1168962" y="491797"/>
                    </a:cubicBezTo>
                    <a:cubicBezTo>
                      <a:pt x="1165007" y="493261"/>
                      <a:pt x="1161353" y="495445"/>
                      <a:pt x="1158190" y="498238"/>
                    </a:cubicBezTo>
                    <a:lnTo>
                      <a:pt x="1146107" y="507756"/>
                    </a:lnTo>
                    <a:cubicBezTo>
                      <a:pt x="1143964" y="509198"/>
                      <a:pt x="1142043" y="510946"/>
                      <a:pt x="1140408" y="512942"/>
                    </a:cubicBezTo>
                    <a:cubicBezTo>
                      <a:pt x="1138590" y="516841"/>
                      <a:pt x="1136572" y="520646"/>
                      <a:pt x="1134366" y="524341"/>
                    </a:cubicBezTo>
                    <a:cubicBezTo>
                      <a:pt x="1133055" y="525766"/>
                      <a:pt x="1131403" y="526906"/>
                      <a:pt x="1130149" y="528445"/>
                    </a:cubicBezTo>
                    <a:cubicBezTo>
                      <a:pt x="1128707" y="530648"/>
                      <a:pt x="1127755" y="533136"/>
                      <a:pt x="1127356" y="535740"/>
                    </a:cubicBezTo>
                    <a:cubicBezTo>
                      <a:pt x="1125988" y="542010"/>
                      <a:pt x="1124563" y="548279"/>
                      <a:pt x="1123138" y="554548"/>
                    </a:cubicBezTo>
                    <a:cubicBezTo>
                      <a:pt x="1121485" y="560601"/>
                      <a:pt x="1120699" y="566854"/>
                      <a:pt x="1120802" y="573129"/>
                    </a:cubicBezTo>
                    <a:cubicBezTo>
                      <a:pt x="1120944" y="579478"/>
                      <a:pt x="1123811" y="585457"/>
                      <a:pt x="1128667" y="589543"/>
                    </a:cubicBezTo>
                    <a:cubicBezTo>
                      <a:pt x="1135848" y="595243"/>
                      <a:pt x="1145765" y="593590"/>
                      <a:pt x="1154770" y="594616"/>
                    </a:cubicBezTo>
                    <a:cubicBezTo>
                      <a:pt x="1163570" y="595619"/>
                      <a:pt x="1171892" y="599164"/>
                      <a:pt x="1178708" y="604818"/>
                    </a:cubicBezTo>
                    <a:cubicBezTo>
                      <a:pt x="1180407" y="605821"/>
                      <a:pt x="1181461" y="607633"/>
                      <a:pt x="1181501" y="609605"/>
                    </a:cubicBezTo>
                    <a:cubicBezTo>
                      <a:pt x="1181159" y="612911"/>
                      <a:pt x="1176542" y="613367"/>
                      <a:pt x="1173237" y="612911"/>
                    </a:cubicBezTo>
                    <a:lnTo>
                      <a:pt x="1148786" y="609548"/>
                    </a:lnTo>
                    <a:cubicBezTo>
                      <a:pt x="1145782" y="608864"/>
                      <a:pt x="1142670" y="608864"/>
                      <a:pt x="1139667" y="609548"/>
                    </a:cubicBezTo>
                    <a:cubicBezTo>
                      <a:pt x="1136612" y="610392"/>
                      <a:pt x="1134537" y="613219"/>
                      <a:pt x="1134651" y="616388"/>
                    </a:cubicBezTo>
                    <a:cubicBezTo>
                      <a:pt x="1135364" y="618747"/>
                      <a:pt x="1136902" y="620771"/>
                      <a:pt x="1138983" y="622087"/>
                    </a:cubicBezTo>
                    <a:cubicBezTo>
                      <a:pt x="1144808" y="627376"/>
                      <a:pt x="1151402" y="631753"/>
                      <a:pt x="1158532" y="635082"/>
                    </a:cubicBezTo>
                    <a:cubicBezTo>
                      <a:pt x="1165793" y="638416"/>
                      <a:pt x="1174171" y="638291"/>
                      <a:pt x="1181330" y="634740"/>
                    </a:cubicBezTo>
                    <a:cubicBezTo>
                      <a:pt x="1183342" y="633327"/>
                      <a:pt x="1185553" y="632209"/>
                      <a:pt x="1187884" y="631434"/>
                    </a:cubicBezTo>
                    <a:cubicBezTo>
                      <a:pt x="1194838" y="630123"/>
                      <a:pt x="1199283" y="638559"/>
                      <a:pt x="1201164" y="645398"/>
                    </a:cubicBezTo>
                    <a:cubicBezTo>
                      <a:pt x="1221129" y="648447"/>
                      <a:pt x="1241385" y="649194"/>
                      <a:pt x="1261522" y="647621"/>
                    </a:cubicBezTo>
                    <a:cubicBezTo>
                      <a:pt x="1268475" y="647108"/>
                      <a:pt x="1276625" y="646823"/>
                      <a:pt x="1281071" y="652180"/>
                    </a:cubicBezTo>
                    <a:cubicBezTo>
                      <a:pt x="1283636" y="655315"/>
                      <a:pt x="1284832" y="660274"/>
                      <a:pt x="1288765" y="661243"/>
                    </a:cubicBezTo>
                    <a:cubicBezTo>
                      <a:pt x="1291073" y="661619"/>
                      <a:pt x="1293421" y="660878"/>
                      <a:pt x="1295091" y="659248"/>
                    </a:cubicBezTo>
                    <a:cubicBezTo>
                      <a:pt x="1300791" y="654688"/>
                      <a:pt x="1302786" y="646025"/>
                      <a:pt x="1309625" y="644030"/>
                    </a:cubicBezTo>
                    <a:cubicBezTo>
                      <a:pt x="1314071" y="642719"/>
                      <a:pt x="1319086" y="644828"/>
                      <a:pt x="1323361" y="643004"/>
                    </a:cubicBezTo>
                    <a:cubicBezTo>
                      <a:pt x="1325071" y="642030"/>
                      <a:pt x="1326695" y="640901"/>
                      <a:pt x="1328205" y="639642"/>
                    </a:cubicBezTo>
                    <a:cubicBezTo>
                      <a:pt x="1337325" y="633315"/>
                      <a:pt x="1350319" y="638160"/>
                      <a:pt x="1358071" y="646139"/>
                    </a:cubicBezTo>
                    <a:cubicBezTo>
                      <a:pt x="1359609" y="647735"/>
                      <a:pt x="1361547" y="649673"/>
                      <a:pt x="1363770" y="649217"/>
                    </a:cubicBezTo>
                    <a:cubicBezTo>
                      <a:pt x="1365993" y="648761"/>
                      <a:pt x="1367133" y="645797"/>
                      <a:pt x="1366734" y="643517"/>
                    </a:cubicBezTo>
                    <a:cubicBezTo>
                      <a:pt x="1365195" y="634341"/>
                      <a:pt x="1351003" y="631662"/>
                      <a:pt x="1349635" y="622486"/>
                    </a:cubicBezTo>
                    <a:cubicBezTo>
                      <a:pt x="1365622" y="618958"/>
                      <a:pt x="1382140" y="625558"/>
                      <a:pt x="1391299" y="639129"/>
                    </a:cubicBezTo>
                    <a:cubicBezTo>
                      <a:pt x="1392336" y="640434"/>
                      <a:pt x="1393077" y="641950"/>
                      <a:pt x="1393464" y="643574"/>
                    </a:cubicBezTo>
                    <a:cubicBezTo>
                      <a:pt x="1393510" y="644931"/>
                      <a:pt x="1393641" y="646281"/>
                      <a:pt x="1393863" y="647621"/>
                    </a:cubicBezTo>
                    <a:cubicBezTo>
                      <a:pt x="1394775" y="650756"/>
                      <a:pt x="1398423" y="651952"/>
                      <a:pt x="1400988" y="653947"/>
                    </a:cubicBezTo>
                    <a:cubicBezTo>
                      <a:pt x="1406288" y="658108"/>
                      <a:pt x="1407371" y="666372"/>
                      <a:pt x="1413184" y="669906"/>
                    </a:cubicBezTo>
                    <a:cubicBezTo>
                      <a:pt x="1416479" y="671399"/>
                      <a:pt x="1420007" y="672328"/>
                      <a:pt x="1423615" y="672641"/>
                    </a:cubicBezTo>
                    <a:cubicBezTo>
                      <a:pt x="1426949" y="673382"/>
                      <a:pt x="1430129" y="674693"/>
                      <a:pt x="1433019" y="676517"/>
                    </a:cubicBezTo>
                    <a:cubicBezTo>
                      <a:pt x="1435185" y="677942"/>
                      <a:pt x="1437407" y="680336"/>
                      <a:pt x="1436552" y="682787"/>
                    </a:cubicBezTo>
                    <a:cubicBezTo>
                      <a:pt x="1436199" y="683670"/>
                      <a:pt x="1435635" y="684456"/>
                      <a:pt x="1434899" y="685066"/>
                    </a:cubicBezTo>
                    <a:cubicBezTo>
                      <a:pt x="1427570" y="692231"/>
                      <a:pt x="1417887" y="696482"/>
                      <a:pt x="1407656" y="697035"/>
                    </a:cubicBezTo>
                    <a:cubicBezTo>
                      <a:pt x="1404920" y="698859"/>
                      <a:pt x="1407656" y="703590"/>
                      <a:pt x="1410791" y="703989"/>
                    </a:cubicBezTo>
                    <a:cubicBezTo>
                      <a:pt x="1414102" y="703835"/>
                      <a:pt x="1417334" y="702940"/>
                      <a:pt x="1420252" y="701367"/>
                    </a:cubicBezTo>
                    <a:cubicBezTo>
                      <a:pt x="1424213" y="700677"/>
                      <a:pt x="1428054" y="699412"/>
                      <a:pt x="1431651" y="697605"/>
                    </a:cubicBezTo>
                    <a:cubicBezTo>
                      <a:pt x="1434102" y="695838"/>
                      <a:pt x="1435583" y="692989"/>
                      <a:pt x="1438034" y="691222"/>
                    </a:cubicBezTo>
                    <a:cubicBezTo>
                      <a:pt x="1442297" y="688953"/>
                      <a:pt x="1447262" y="688361"/>
                      <a:pt x="1451941" y="689569"/>
                    </a:cubicBezTo>
                    <a:cubicBezTo>
                      <a:pt x="1451941" y="691222"/>
                      <a:pt x="1452739" y="693331"/>
                      <a:pt x="1452967" y="695268"/>
                    </a:cubicBezTo>
                    <a:cubicBezTo>
                      <a:pt x="1450801" y="700341"/>
                      <a:pt x="1455190" y="706211"/>
                      <a:pt x="1460376" y="708206"/>
                    </a:cubicBezTo>
                    <a:cubicBezTo>
                      <a:pt x="1465785" y="709534"/>
                      <a:pt x="1471336" y="710201"/>
                      <a:pt x="1476905" y="710201"/>
                    </a:cubicBezTo>
                    <a:cubicBezTo>
                      <a:pt x="1482576" y="710230"/>
                      <a:pt x="1487779" y="713359"/>
                      <a:pt x="1490469" y="718351"/>
                    </a:cubicBezTo>
                    <a:cubicBezTo>
                      <a:pt x="1491837" y="722056"/>
                      <a:pt x="1490811" y="726444"/>
                      <a:pt x="1492749" y="729750"/>
                    </a:cubicBezTo>
                    <a:cubicBezTo>
                      <a:pt x="1494345" y="731842"/>
                      <a:pt x="1496158" y="733751"/>
                      <a:pt x="1498164" y="735450"/>
                    </a:cubicBezTo>
                    <a:cubicBezTo>
                      <a:pt x="1505915" y="744056"/>
                      <a:pt x="1499760" y="758248"/>
                      <a:pt x="1503122" y="769134"/>
                    </a:cubicBezTo>
                    <a:cubicBezTo>
                      <a:pt x="1503561" y="771009"/>
                      <a:pt x="1504678" y="772650"/>
                      <a:pt x="1506257" y="773750"/>
                    </a:cubicBezTo>
                    <a:cubicBezTo>
                      <a:pt x="1507471" y="774320"/>
                      <a:pt x="1508793" y="774616"/>
                      <a:pt x="1510133" y="774605"/>
                    </a:cubicBezTo>
                    <a:cubicBezTo>
                      <a:pt x="1519958" y="774183"/>
                      <a:pt x="1529756" y="773254"/>
                      <a:pt x="1539485" y="771812"/>
                    </a:cubicBezTo>
                    <a:cubicBezTo>
                      <a:pt x="1549408" y="770462"/>
                      <a:pt x="1559370" y="773961"/>
                      <a:pt x="1566272" y="781216"/>
                    </a:cubicBezTo>
                    <a:cubicBezTo>
                      <a:pt x="1572257" y="789025"/>
                      <a:pt x="1569407" y="803159"/>
                      <a:pt x="1559775" y="804983"/>
                    </a:cubicBezTo>
                    <a:cubicBezTo>
                      <a:pt x="1557723" y="805382"/>
                      <a:pt x="1555329" y="805325"/>
                      <a:pt x="1554075" y="806921"/>
                    </a:cubicBezTo>
                    <a:cubicBezTo>
                      <a:pt x="1553192" y="808300"/>
                      <a:pt x="1552628" y="809856"/>
                      <a:pt x="1552423" y="811481"/>
                    </a:cubicBezTo>
                    <a:cubicBezTo>
                      <a:pt x="1551009" y="816251"/>
                      <a:pt x="1545999" y="818970"/>
                      <a:pt x="1541229" y="817556"/>
                    </a:cubicBezTo>
                    <a:cubicBezTo>
                      <a:pt x="1537963" y="816587"/>
                      <a:pt x="1535524" y="813863"/>
                      <a:pt x="1534925" y="810512"/>
                    </a:cubicBezTo>
                    <a:cubicBezTo>
                      <a:pt x="1534851" y="808597"/>
                      <a:pt x="1534623" y="806693"/>
                      <a:pt x="1534241" y="804812"/>
                    </a:cubicBezTo>
                    <a:cubicBezTo>
                      <a:pt x="1532851" y="802179"/>
                      <a:pt x="1530537" y="800150"/>
                      <a:pt x="1527744" y="799113"/>
                    </a:cubicBezTo>
                    <a:lnTo>
                      <a:pt x="1513723" y="792045"/>
                    </a:lnTo>
                    <a:cubicBezTo>
                      <a:pt x="1506969" y="788141"/>
                      <a:pt x="1499583" y="785457"/>
                      <a:pt x="1491894" y="784123"/>
                    </a:cubicBezTo>
                    <a:cubicBezTo>
                      <a:pt x="1484513" y="783291"/>
                      <a:pt x="1477070" y="784955"/>
                      <a:pt x="1470749" y="788854"/>
                    </a:cubicBezTo>
                    <a:cubicBezTo>
                      <a:pt x="1465563" y="792159"/>
                      <a:pt x="1461459" y="800253"/>
                      <a:pt x="1466361" y="803786"/>
                    </a:cubicBezTo>
                    <a:cubicBezTo>
                      <a:pt x="1467729" y="804812"/>
                      <a:pt x="1469837" y="805724"/>
                      <a:pt x="1469552" y="807434"/>
                    </a:cubicBezTo>
                    <a:cubicBezTo>
                      <a:pt x="1469267" y="809144"/>
                      <a:pt x="1467899" y="809201"/>
                      <a:pt x="1466988" y="810113"/>
                    </a:cubicBezTo>
                    <a:cubicBezTo>
                      <a:pt x="1464480" y="812621"/>
                      <a:pt x="1466988" y="817009"/>
                      <a:pt x="1470350" y="818605"/>
                    </a:cubicBezTo>
                    <a:cubicBezTo>
                      <a:pt x="1473713" y="820201"/>
                      <a:pt x="1477475" y="820714"/>
                      <a:pt x="1479697" y="823507"/>
                    </a:cubicBezTo>
                    <a:cubicBezTo>
                      <a:pt x="1481903" y="826869"/>
                      <a:pt x="1481345" y="831332"/>
                      <a:pt x="1478386" y="834051"/>
                    </a:cubicBezTo>
                    <a:cubicBezTo>
                      <a:pt x="1475406" y="836644"/>
                      <a:pt x="1471484" y="837881"/>
                      <a:pt x="1467558" y="837470"/>
                    </a:cubicBezTo>
                    <a:cubicBezTo>
                      <a:pt x="1465278" y="836900"/>
                      <a:pt x="1462861" y="837248"/>
                      <a:pt x="1460832" y="838439"/>
                    </a:cubicBezTo>
                    <a:cubicBezTo>
                      <a:pt x="1459635" y="839522"/>
                      <a:pt x="1459179" y="841232"/>
                      <a:pt x="1458153" y="842486"/>
                    </a:cubicBezTo>
                    <a:cubicBezTo>
                      <a:pt x="1455828" y="844566"/>
                      <a:pt x="1452676" y="845472"/>
                      <a:pt x="1449604" y="844937"/>
                    </a:cubicBezTo>
                    <a:lnTo>
                      <a:pt x="1430568" y="844481"/>
                    </a:lnTo>
                    <a:cubicBezTo>
                      <a:pt x="1428186" y="844652"/>
                      <a:pt x="1425809" y="844116"/>
                      <a:pt x="1423729" y="842942"/>
                    </a:cubicBezTo>
                    <a:cubicBezTo>
                      <a:pt x="1422264" y="841591"/>
                      <a:pt x="1420907" y="840120"/>
                      <a:pt x="1419682" y="838553"/>
                    </a:cubicBezTo>
                    <a:cubicBezTo>
                      <a:pt x="1415441" y="835139"/>
                      <a:pt x="1409235" y="835806"/>
                      <a:pt x="1405815" y="840046"/>
                    </a:cubicBezTo>
                    <a:cubicBezTo>
                      <a:pt x="1404835" y="841272"/>
                      <a:pt x="1404151" y="842714"/>
                      <a:pt x="1403837" y="844253"/>
                    </a:cubicBezTo>
                    <a:cubicBezTo>
                      <a:pt x="1396639" y="843990"/>
                      <a:pt x="1389572" y="846225"/>
                      <a:pt x="1383832" y="850579"/>
                    </a:cubicBezTo>
                    <a:cubicBezTo>
                      <a:pt x="1378703" y="855538"/>
                      <a:pt x="1378988" y="866139"/>
                      <a:pt x="1385827" y="868247"/>
                    </a:cubicBezTo>
                    <a:cubicBezTo>
                      <a:pt x="1384265" y="869735"/>
                      <a:pt x="1383359" y="871787"/>
                      <a:pt x="1383319" y="873947"/>
                    </a:cubicBezTo>
                    <a:cubicBezTo>
                      <a:pt x="1387298" y="876415"/>
                      <a:pt x="1391675" y="878170"/>
                      <a:pt x="1396257" y="879133"/>
                    </a:cubicBezTo>
                    <a:cubicBezTo>
                      <a:pt x="1400931" y="880017"/>
                      <a:pt x="1405730" y="878392"/>
                      <a:pt x="1408910" y="874859"/>
                    </a:cubicBezTo>
                    <a:cubicBezTo>
                      <a:pt x="1409993" y="873548"/>
                      <a:pt x="1410734" y="871838"/>
                      <a:pt x="1412216" y="870983"/>
                    </a:cubicBezTo>
                    <a:cubicBezTo>
                      <a:pt x="1413618" y="870254"/>
                      <a:pt x="1415208" y="869974"/>
                      <a:pt x="1416775" y="870185"/>
                    </a:cubicBezTo>
                    <a:lnTo>
                      <a:pt x="1435640" y="870527"/>
                    </a:lnTo>
                    <a:cubicBezTo>
                      <a:pt x="1434786" y="873890"/>
                      <a:pt x="1438661" y="876968"/>
                      <a:pt x="1442081" y="876626"/>
                    </a:cubicBezTo>
                    <a:cubicBezTo>
                      <a:pt x="1445501" y="875908"/>
                      <a:pt x="1448493" y="873856"/>
                      <a:pt x="1450402" y="870926"/>
                    </a:cubicBezTo>
                    <a:cubicBezTo>
                      <a:pt x="1452294" y="868002"/>
                      <a:pt x="1454665" y="865420"/>
                      <a:pt x="1457412" y="863289"/>
                    </a:cubicBezTo>
                    <a:cubicBezTo>
                      <a:pt x="1461077" y="861442"/>
                      <a:pt x="1465169" y="860593"/>
                      <a:pt x="1469267" y="860838"/>
                    </a:cubicBezTo>
                    <a:cubicBezTo>
                      <a:pt x="1478956" y="860838"/>
                      <a:pt x="1491267" y="862149"/>
                      <a:pt x="1493946" y="871439"/>
                    </a:cubicBezTo>
                    <a:cubicBezTo>
                      <a:pt x="1494220" y="873177"/>
                      <a:pt x="1494801" y="874859"/>
                      <a:pt x="1495656" y="876398"/>
                    </a:cubicBezTo>
                    <a:cubicBezTo>
                      <a:pt x="1497081" y="878278"/>
                      <a:pt x="1499817" y="878734"/>
                      <a:pt x="1501355" y="880501"/>
                    </a:cubicBezTo>
                    <a:cubicBezTo>
                      <a:pt x="1502894" y="882268"/>
                      <a:pt x="1502837" y="886201"/>
                      <a:pt x="1503977" y="889164"/>
                    </a:cubicBezTo>
                    <a:cubicBezTo>
                      <a:pt x="1506143" y="894864"/>
                      <a:pt x="1513438" y="895491"/>
                      <a:pt x="1519366" y="895434"/>
                    </a:cubicBezTo>
                    <a:cubicBezTo>
                      <a:pt x="1524609" y="904382"/>
                      <a:pt x="1519366" y="917491"/>
                      <a:pt x="1526547" y="925071"/>
                    </a:cubicBezTo>
                    <a:cubicBezTo>
                      <a:pt x="1529146" y="927528"/>
                      <a:pt x="1532321" y="929289"/>
                      <a:pt x="1535780" y="930201"/>
                    </a:cubicBezTo>
                    <a:cubicBezTo>
                      <a:pt x="1547658" y="934099"/>
                      <a:pt x="1560197" y="935592"/>
                      <a:pt x="1572656" y="934589"/>
                    </a:cubicBezTo>
                    <a:cubicBezTo>
                      <a:pt x="1570604" y="939548"/>
                      <a:pt x="1577158" y="943936"/>
                      <a:pt x="1582573" y="944107"/>
                    </a:cubicBezTo>
                    <a:cubicBezTo>
                      <a:pt x="1587987" y="944278"/>
                      <a:pt x="1593972" y="943081"/>
                      <a:pt x="1598132" y="946615"/>
                    </a:cubicBezTo>
                    <a:cubicBezTo>
                      <a:pt x="1599557" y="947812"/>
                      <a:pt x="1600583" y="949522"/>
                      <a:pt x="1602236" y="950377"/>
                    </a:cubicBezTo>
                    <a:cubicBezTo>
                      <a:pt x="1604470" y="951129"/>
                      <a:pt x="1606853" y="951346"/>
                      <a:pt x="1609189" y="951004"/>
                    </a:cubicBezTo>
                    <a:cubicBezTo>
                      <a:pt x="1621272" y="951004"/>
                      <a:pt x="1629764" y="966107"/>
                      <a:pt x="1641847" y="965252"/>
                    </a:cubicBezTo>
                    <a:cubicBezTo>
                      <a:pt x="1641357" y="958698"/>
                      <a:pt x="1638376" y="952582"/>
                      <a:pt x="1633526" y="948154"/>
                    </a:cubicBezTo>
                    <a:cubicBezTo>
                      <a:pt x="1621044" y="933677"/>
                      <a:pt x="1607879" y="918631"/>
                      <a:pt x="1590153" y="911506"/>
                    </a:cubicBezTo>
                    <a:cubicBezTo>
                      <a:pt x="1588227" y="910885"/>
                      <a:pt x="1586454" y="909859"/>
                      <a:pt x="1584967" y="908486"/>
                    </a:cubicBezTo>
                    <a:cubicBezTo>
                      <a:pt x="1583553" y="906958"/>
                      <a:pt x="1583553" y="904599"/>
                      <a:pt x="1584967" y="903071"/>
                    </a:cubicBezTo>
                    <a:cubicBezTo>
                      <a:pt x="1585987" y="902376"/>
                      <a:pt x="1587212" y="902057"/>
                      <a:pt x="1588443" y="902159"/>
                    </a:cubicBezTo>
                    <a:cubicBezTo>
                      <a:pt x="1596531" y="901943"/>
                      <a:pt x="1604624" y="902262"/>
                      <a:pt x="1612666" y="903128"/>
                    </a:cubicBezTo>
                    <a:cubicBezTo>
                      <a:pt x="1615499" y="903060"/>
                      <a:pt x="1618189" y="904354"/>
                      <a:pt x="1619905" y="906605"/>
                    </a:cubicBezTo>
                    <a:cubicBezTo>
                      <a:pt x="1620759" y="908315"/>
                      <a:pt x="1620474" y="910424"/>
                      <a:pt x="1621158" y="912304"/>
                    </a:cubicBezTo>
                    <a:cubicBezTo>
                      <a:pt x="1622013" y="913974"/>
                      <a:pt x="1623318" y="915376"/>
                      <a:pt x="1624920" y="916351"/>
                    </a:cubicBezTo>
                    <a:cubicBezTo>
                      <a:pt x="1633754" y="922962"/>
                      <a:pt x="1644241" y="929916"/>
                      <a:pt x="1654956" y="927408"/>
                    </a:cubicBezTo>
                    <a:cubicBezTo>
                      <a:pt x="1659254" y="926240"/>
                      <a:pt x="1663306" y="924307"/>
                      <a:pt x="1666925" y="921708"/>
                    </a:cubicBezTo>
                    <a:lnTo>
                      <a:pt x="1673194" y="917605"/>
                    </a:lnTo>
                    <a:cubicBezTo>
                      <a:pt x="1674910" y="916607"/>
                      <a:pt x="1676449" y="915336"/>
                      <a:pt x="1677754" y="913843"/>
                    </a:cubicBezTo>
                    <a:cubicBezTo>
                      <a:pt x="1680330" y="909443"/>
                      <a:pt x="1678848" y="903784"/>
                      <a:pt x="1674448" y="901213"/>
                    </a:cubicBezTo>
                    <a:cubicBezTo>
                      <a:pt x="1672761" y="900227"/>
                      <a:pt x="1670807" y="899800"/>
                      <a:pt x="1668863" y="899993"/>
                    </a:cubicBezTo>
                    <a:cubicBezTo>
                      <a:pt x="1668863" y="897087"/>
                      <a:pt x="1668863" y="894294"/>
                      <a:pt x="1668863" y="891273"/>
                    </a:cubicBezTo>
                    <a:cubicBezTo>
                      <a:pt x="1662212" y="890971"/>
                      <a:pt x="1656341" y="886833"/>
                      <a:pt x="1653816" y="880672"/>
                    </a:cubicBezTo>
                    <a:cubicBezTo>
                      <a:pt x="1656096" y="874118"/>
                      <a:pt x="1656723" y="864144"/>
                      <a:pt x="1649884" y="862719"/>
                    </a:cubicBezTo>
                    <a:cubicBezTo>
                      <a:pt x="1645495" y="861864"/>
                      <a:pt x="1639283" y="864942"/>
                      <a:pt x="1637516" y="860895"/>
                    </a:cubicBezTo>
                    <a:cubicBezTo>
                      <a:pt x="1636832" y="859299"/>
                      <a:pt x="1637516" y="857418"/>
                      <a:pt x="1636889" y="855765"/>
                    </a:cubicBezTo>
                    <a:cubicBezTo>
                      <a:pt x="1635635" y="851947"/>
                      <a:pt x="1630163" y="852802"/>
                      <a:pt x="1626174" y="852175"/>
                    </a:cubicBezTo>
                    <a:cubicBezTo>
                      <a:pt x="1618138" y="851035"/>
                      <a:pt x="1614148" y="841973"/>
                      <a:pt x="1611697" y="834221"/>
                    </a:cubicBezTo>
                    <a:cubicBezTo>
                      <a:pt x="1605485" y="835236"/>
                      <a:pt x="1599626" y="831018"/>
                      <a:pt x="1598611" y="824806"/>
                    </a:cubicBezTo>
                    <a:cubicBezTo>
                      <a:pt x="1598537" y="824356"/>
                      <a:pt x="1598491" y="823905"/>
                      <a:pt x="1598474" y="823449"/>
                    </a:cubicBezTo>
                    <a:lnTo>
                      <a:pt x="1603661" y="820372"/>
                    </a:lnTo>
                    <a:cubicBezTo>
                      <a:pt x="1601552" y="815556"/>
                      <a:pt x="1603746" y="809942"/>
                      <a:pt x="1608557" y="807833"/>
                    </a:cubicBezTo>
                    <a:cubicBezTo>
                      <a:pt x="1609714" y="807331"/>
                      <a:pt x="1610951" y="807058"/>
                      <a:pt x="1612210" y="807035"/>
                    </a:cubicBezTo>
                    <a:cubicBezTo>
                      <a:pt x="1610392" y="803935"/>
                      <a:pt x="1608209" y="801068"/>
                      <a:pt x="1605713" y="798486"/>
                    </a:cubicBezTo>
                    <a:lnTo>
                      <a:pt x="1614889" y="791646"/>
                    </a:lnTo>
                    <a:cubicBezTo>
                      <a:pt x="1621831" y="788010"/>
                      <a:pt x="1630392" y="790170"/>
                      <a:pt x="1634780" y="796662"/>
                    </a:cubicBezTo>
                    <a:close/>
                    <a:moveTo>
                      <a:pt x="1325242" y="485585"/>
                    </a:moveTo>
                    <a:cubicBezTo>
                      <a:pt x="1321936" y="485585"/>
                      <a:pt x="1317718" y="486839"/>
                      <a:pt x="1317376" y="490144"/>
                    </a:cubicBezTo>
                    <a:cubicBezTo>
                      <a:pt x="1317393" y="491705"/>
                      <a:pt x="1317980" y="493206"/>
                      <a:pt x="1319029" y="494362"/>
                    </a:cubicBezTo>
                    <a:cubicBezTo>
                      <a:pt x="1325926" y="503595"/>
                      <a:pt x="1339262" y="508497"/>
                      <a:pt x="1341827" y="519782"/>
                    </a:cubicBezTo>
                    <a:cubicBezTo>
                      <a:pt x="1341981" y="523021"/>
                      <a:pt x="1342659" y="526216"/>
                      <a:pt x="1343822" y="529243"/>
                    </a:cubicBezTo>
                    <a:cubicBezTo>
                      <a:pt x="1346786" y="533289"/>
                      <a:pt x="1352149" y="534754"/>
                      <a:pt x="1356760" y="532776"/>
                    </a:cubicBezTo>
                    <a:cubicBezTo>
                      <a:pt x="1361131" y="530709"/>
                      <a:pt x="1365018" y="527736"/>
                      <a:pt x="1368159" y="524056"/>
                    </a:cubicBezTo>
                    <a:cubicBezTo>
                      <a:pt x="1371345" y="520364"/>
                      <a:pt x="1375454" y="517590"/>
                      <a:pt x="1380071" y="516020"/>
                    </a:cubicBezTo>
                    <a:cubicBezTo>
                      <a:pt x="1388962" y="513797"/>
                      <a:pt x="1397682" y="520238"/>
                      <a:pt x="1406801" y="520352"/>
                    </a:cubicBezTo>
                    <a:cubicBezTo>
                      <a:pt x="1409993" y="520639"/>
                      <a:pt x="1413116" y="519314"/>
                      <a:pt x="1415122" y="516818"/>
                    </a:cubicBezTo>
                    <a:cubicBezTo>
                      <a:pt x="1416758" y="513586"/>
                      <a:pt x="1416160" y="509672"/>
                      <a:pt x="1413641" y="507072"/>
                    </a:cubicBezTo>
                    <a:cubicBezTo>
                      <a:pt x="1411133" y="504565"/>
                      <a:pt x="1408123" y="502622"/>
                      <a:pt x="1404806" y="501372"/>
                    </a:cubicBezTo>
                    <a:lnTo>
                      <a:pt x="1385428" y="492709"/>
                    </a:lnTo>
                    <a:cubicBezTo>
                      <a:pt x="1383718" y="491895"/>
                      <a:pt x="1381969" y="491171"/>
                      <a:pt x="1380184" y="490543"/>
                    </a:cubicBezTo>
                    <a:cubicBezTo>
                      <a:pt x="1377945" y="489826"/>
                      <a:pt x="1375659" y="489255"/>
                      <a:pt x="1373345" y="488833"/>
                    </a:cubicBezTo>
                    <a:cubicBezTo>
                      <a:pt x="1357506" y="485779"/>
                      <a:pt x="1341348" y="484688"/>
                      <a:pt x="1325242" y="485585"/>
                    </a:cubicBezTo>
                    <a:close/>
                    <a:moveTo>
                      <a:pt x="773761" y="694071"/>
                    </a:moveTo>
                    <a:cubicBezTo>
                      <a:pt x="772301" y="693627"/>
                      <a:pt x="770768" y="693490"/>
                      <a:pt x="769258" y="693673"/>
                    </a:cubicBezTo>
                    <a:cubicBezTo>
                      <a:pt x="763821" y="694100"/>
                      <a:pt x="758566" y="695816"/>
                      <a:pt x="753926" y="698688"/>
                    </a:cubicBezTo>
                    <a:cubicBezTo>
                      <a:pt x="749492" y="702398"/>
                      <a:pt x="744380" y="705225"/>
                      <a:pt x="738880" y="707009"/>
                    </a:cubicBezTo>
                    <a:cubicBezTo>
                      <a:pt x="732895" y="707978"/>
                      <a:pt x="725942" y="705014"/>
                      <a:pt x="721097" y="708662"/>
                    </a:cubicBezTo>
                    <a:cubicBezTo>
                      <a:pt x="719080" y="710520"/>
                      <a:pt x="717438" y="712743"/>
                      <a:pt x="716253" y="715217"/>
                    </a:cubicBezTo>
                    <a:cubicBezTo>
                      <a:pt x="714971" y="717684"/>
                      <a:pt x="712525" y="719337"/>
                      <a:pt x="709755" y="719605"/>
                    </a:cubicBezTo>
                    <a:cubicBezTo>
                      <a:pt x="708536" y="723344"/>
                      <a:pt x="710394" y="727391"/>
                      <a:pt x="714030" y="728895"/>
                    </a:cubicBezTo>
                    <a:cubicBezTo>
                      <a:pt x="717644" y="730172"/>
                      <a:pt x="721639" y="729819"/>
                      <a:pt x="724973" y="727926"/>
                    </a:cubicBezTo>
                    <a:cubicBezTo>
                      <a:pt x="729048" y="724934"/>
                      <a:pt x="733596" y="722643"/>
                      <a:pt x="738424" y="721144"/>
                    </a:cubicBezTo>
                    <a:cubicBezTo>
                      <a:pt x="740704" y="721144"/>
                      <a:pt x="743040" y="721144"/>
                      <a:pt x="745377" y="721144"/>
                    </a:cubicBezTo>
                    <a:cubicBezTo>
                      <a:pt x="749766" y="720665"/>
                      <a:pt x="753567" y="717884"/>
                      <a:pt x="755351" y="713849"/>
                    </a:cubicBezTo>
                    <a:cubicBezTo>
                      <a:pt x="761244" y="710395"/>
                      <a:pt x="768192" y="709198"/>
                      <a:pt x="774900" y="710486"/>
                    </a:cubicBezTo>
                    <a:cubicBezTo>
                      <a:pt x="775869" y="710486"/>
                      <a:pt x="777009" y="711170"/>
                      <a:pt x="777750" y="710486"/>
                    </a:cubicBezTo>
                    <a:cubicBezTo>
                      <a:pt x="778155" y="710007"/>
                      <a:pt x="778400" y="709403"/>
                      <a:pt x="778434" y="708776"/>
                    </a:cubicBezTo>
                    <a:cubicBezTo>
                      <a:pt x="778890" y="706023"/>
                      <a:pt x="778890" y="703208"/>
                      <a:pt x="778434" y="700455"/>
                    </a:cubicBezTo>
                    <a:cubicBezTo>
                      <a:pt x="778012" y="697691"/>
                      <a:pt x="776268" y="695308"/>
                      <a:pt x="773761" y="694071"/>
                    </a:cubicBezTo>
                    <a:close/>
                    <a:moveTo>
                      <a:pt x="985895" y="677942"/>
                    </a:moveTo>
                    <a:lnTo>
                      <a:pt x="999004" y="675719"/>
                    </a:lnTo>
                    <a:lnTo>
                      <a:pt x="999004" y="671844"/>
                    </a:lnTo>
                    <a:lnTo>
                      <a:pt x="975921" y="672698"/>
                    </a:lnTo>
                    <a:cubicBezTo>
                      <a:pt x="972855" y="673063"/>
                      <a:pt x="969748" y="672693"/>
                      <a:pt x="966859" y="671616"/>
                    </a:cubicBezTo>
                    <a:cubicBezTo>
                      <a:pt x="961775" y="668259"/>
                      <a:pt x="958680" y="662605"/>
                      <a:pt x="958594" y="656512"/>
                    </a:cubicBezTo>
                    <a:cubicBezTo>
                      <a:pt x="958594" y="655600"/>
                      <a:pt x="958252" y="654631"/>
                      <a:pt x="957455" y="654232"/>
                    </a:cubicBezTo>
                    <a:cubicBezTo>
                      <a:pt x="957095" y="654152"/>
                      <a:pt x="956731" y="654152"/>
                      <a:pt x="956372" y="654232"/>
                    </a:cubicBezTo>
                    <a:cubicBezTo>
                      <a:pt x="951185" y="654232"/>
                      <a:pt x="944973" y="654232"/>
                      <a:pt x="942636" y="659134"/>
                    </a:cubicBezTo>
                    <a:cubicBezTo>
                      <a:pt x="941986" y="661100"/>
                      <a:pt x="941678" y="663163"/>
                      <a:pt x="941724" y="665232"/>
                    </a:cubicBezTo>
                    <a:cubicBezTo>
                      <a:pt x="940430" y="671581"/>
                      <a:pt x="937700" y="677543"/>
                      <a:pt x="933745" y="682673"/>
                    </a:cubicBezTo>
                    <a:cubicBezTo>
                      <a:pt x="932799" y="684325"/>
                      <a:pt x="931630" y="685841"/>
                      <a:pt x="930268" y="687175"/>
                    </a:cubicBezTo>
                    <a:cubicBezTo>
                      <a:pt x="925709" y="691222"/>
                      <a:pt x="918869" y="690367"/>
                      <a:pt x="912657" y="689170"/>
                    </a:cubicBezTo>
                    <a:cubicBezTo>
                      <a:pt x="919268" y="693274"/>
                      <a:pt x="927589" y="692761"/>
                      <a:pt x="935455" y="694356"/>
                    </a:cubicBezTo>
                    <a:cubicBezTo>
                      <a:pt x="941166" y="695770"/>
                      <a:pt x="946705" y="697799"/>
                      <a:pt x="951983" y="700398"/>
                    </a:cubicBezTo>
                    <a:cubicBezTo>
                      <a:pt x="952678" y="700666"/>
                      <a:pt x="953328" y="701031"/>
                      <a:pt x="953921" y="701481"/>
                    </a:cubicBezTo>
                    <a:cubicBezTo>
                      <a:pt x="955768" y="703607"/>
                      <a:pt x="956508" y="706479"/>
                      <a:pt x="955916" y="709232"/>
                    </a:cubicBezTo>
                    <a:lnTo>
                      <a:pt x="970620" y="708833"/>
                    </a:lnTo>
                    <a:cubicBezTo>
                      <a:pt x="972353" y="708953"/>
                      <a:pt x="974091" y="708662"/>
                      <a:pt x="975693" y="707978"/>
                    </a:cubicBezTo>
                    <a:cubicBezTo>
                      <a:pt x="978201" y="706724"/>
                      <a:pt x="979454" y="703989"/>
                      <a:pt x="981392" y="701937"/>
                    </a:cubicBezTo>
                    <a:cubicBezTo>
                      <a:pt x="983330" y="699885"/>
                      <a:pt x="987092" y="698631"/>
                      <a:pt x="988631" y="700740"/>
                    </a:cubicBezTo>
                    <a:cubicBezTo>
                      <a:pt x="989224" y="702142"/>
                      <a:pt x="990352" y="703253"/>
                      <a:pt x="991765" y="703818"/>
                    </a:cubicBezTo>
                    <a:cubicBezTo>
                      <a:pt x="997186" y="706770"/>
                      <a:pt x="1003940" y="705482"/>
                      <a:pt x="1007895" y="700740"/>
                    </a:cubicBezTo>
                    <a:cubicBezTo>
                      <a:pt x="1010853" y="695542"/>
                      <a:pt x="1009046" y="688931"/>
                      <a:pt x="1003848" y="685973"/>
                    </a:cubicBezTo>
                    <a:cubicBezTo>
                      <a:pt x="1002549" y="685232"/>
                      <a:pt x="1001113" y="684770"/>
                      <a:pt x="999631" y="684610"/>
                    </a:cubicBezTo>
                    <a:cubicBezTo>
                      <a:pt x="996929" y="684838"/>
                      <a:pt x="994267" y="685414"/>
                      <a:pt x="991709" y="686320"/>
                    </a:cubicBezTo>
                    <a:cubicBezTo>
                      <a:pt x="989127" y="687215"/>
                      <a:pt x="986288" y="687033"/>
                      <a:pt x="983843" y="685807"/>
                    </a:cubicBezTo>
                    <a:cubicBezTo>
                      <a:pt x="981660" y="684548"/>
                      <a:pt x="980914" y="681761"/>
                      <a:pt x="982173" y="679578"/>
                    </a:cubicBezTo>
                    <a:cubicBezTo>
                      <a:pt x="982310" y="679344"/>
                      <a:pt x="982470" y="679116"/>
                      <a:pt x="982646" y="678911"/>
                    </a:cubicBezTo>
                    <a:cubicBezTo>
                      <a:pt x="983632" y="678301"/>
                      <a:pt x="984744" y="677931"/>
                      <a:pt x="985895" y="677828"/>
                    </a:cubicBezTo>
                    <a:close/>
                    <a:moveTo>
                      <a:pt x="1435185" y="723538"/>
                    </a:moveTo>
                    <a:cubicBezTo>
                      <a:pt x="1432067" y="721110"/>
                      <a:pt x="1428413" y="719468"/>
                      <a:pt x="1424526" y="718750"/>
                    </a:cubicBezTo>
                    <a:cubicBezTo>
                      <a:pt x="1423558" y="718403"/>
                      <a:pt x="1422532" y="718249"/>
                      <a:pt x="1421506" y="718294"/>
                    </a:cubicBezTo>
                    <a:cubicBezTo>
                      <a:pt x="1420309" y="718442"/>
                      <a:pt x="1419163" y="718853"/>
                      <a:pt x="1418143" y="719491"/>
                    </a:cubicBezTo>
                    <a:cubicBezTo>
                      <a:pt x="1411361" y="722911"/>
                      <a:pt x="1404578" y="726331"/>
                      <a:pt x="1397853" y="729807"/>
                    </a:cubicBezTo>
                    <a:cubicBezTo>
                      <a:pt x="1396440" y="730394"/>
                      <a:pt x="1395169" y="731289"/>
                      <a:pt x="1394148" y="732429"/>
                    </a:cubicBezTo>
                    <a:cubicBezTo>
                      <a:pt x="1391299" y="736020"/>
                      <a:pt x="1394148" y="741434"/>
                      <a:pt x="1392951" y="745937"/>
                    </a:cubicBezTo>
                    <a:lnTo>
                      <a:pt x="1401444" y="751009"/>
                    </a:lnTo>
                    <a:cubicBezTo>
                      <a:pt x="1402298" y="753802"/>
                      <a:pt x="1400190" y="757849"/>
                      <a:pt x="1402811" y="759273"/>
                    </a:cubicBezTo>
                    <a:cubicBezTo>
                      <a:pt x="1404578" y="760242"/>
                      <a:pt x="1407200" y="758761"/>
                      <a:pt x="1408511" y="760242"/>
                    </a:cubicBezTo>
                    <a:lnTo>
                      <a:pt x="1408511" y="767367"/>
                    </a:lnTo>
                    <a:cubicBezTo>
                      <a:pt x="1411212" y="768159"/>
                      <a:pt x="1414022" y="768507"/>
                      <a:pt x="1416832" y="768393"/>
                    </a:cubicBezTo>
                    <a:cubicBezTo>
                      <a:pt x="1419699" y="768199"/>
                      <a:pt x="1422258" y="766512"/>
                      <a:pt x="1423558" y="763947"/>
                    </a:cubicBezTo>
                    <a:cubicBezTo>
                      <a:pt x="1423746" y="763394"/>
                      <a:pt x="1424013" y="762876"/>
                      <a:pt x="1424355" y="762408"/>
                    </a:cubicBezTo>
                    <a:cubicBezTo>
                      <a:pt x="1425319" y="761644"/>
                      <a:pt x="1426573" y="761348"/>
                      <a:pt x="1427775" y="761610"/>
                    </a:cubicBezTo>
                    <a:cubicBezTo>
                      <a:pt x="1434871" y="761673"/>
                      <a:pt x="1441562" y="758293"/>
                      <a:pt x="1445728" y="752548"/>
                    </a:cubicBezTo>
                    <a:cubicBezTo>
                      <a:pt x="1447056" y="750947"/>
                      <a:pt x="1447763" y="748929"/>
                      <a:pt x="1447723" y="746849"/>
                    </a:cubicBezTo>
                    <a:cubicBezTo>
                      <a:pt x="1447723" y="743714"/>
                      <a:pt x="1444646" y="741149"/>
                      <a:pt x="1444703" y="737957"/>
                    </a:cubicBezTo>
                    <a:cubicBezTo>
                      <a:pt x="1441887" y="737325"/>
                      <a:pt x="1439282" y="735991"/>
                      <a:pt x="1437122" y="734082"/>
                    </a:cubicBezTo>
                    <a:cubicBezTo>
                      <a:pt x="1439100" y="730599"/>
                      <a:pt x="1438336" y="726205"/>
                      <a:pt x="1435298" y="723595"/>
                    </a:cubicBezTo>
                    <a:close/>
                    <a:moveTo>
                      <a:pt x="1327407" y="902159"/>
                    </a:moveTo>
                    <a:cubicBezTo>
                      <a:pt x="1325601" y="894265"/>
                      <a:pt x="1319599" y="888002"/>
                      <a:pt x="1311791" y="885859"/>
                    </a:cubicBezTo>
                    <a:cubicBezTo>
                      <a:pt x="1306889" y="884548"/>
                      <a:pt x="1300962" y="884662"/>
                      <a:pt x="1297998" y="880558"/>
                    </a:cubicBezTo>
                    <a:cubicBezTo>
                      <a:pt x="1295661" y="877424"/>
                      <a:pt x="1296288" y="873035"/>
                      <a:pt x="1295376" y="869159"/>
                    </a:cubicBezTo>
                    <a:cubicBezTo>
                      <a:pt x="1294465" y="865284"/>
                      <a:pt x="1289962" y="861579"/>
                      <a:pt x="1286941" y="864087"/>
                    </a:cubicBezTo>
                    <a:cubicBezTo>
                      <a:pt x="1287169" y="859573"/>
                      <a:pt x="1284861" y="855304"/>
                      <a:pt x="1280957" y="853030"/>
                    </a:cubicBezTo>
                    <a:cubicBezTo>
                      <a:pt x="1277070" y="850875"/>
                      <a:pt x="1272818" y="849468"/>
                      <a:pt x="1268418" y="848869"/>
                    </a:cubicBezTo>
                    <a:lnTo>
                      <a:pt x="1250123" y="845278"/>
                    </a:lnTo>
                    <a:cubicBezTo>
                      <a:pt x="1248327" y="845108"/>
                      <a:pt x="1246629" y="844367"/>
                      <a:pt x="1245278" y="843170"/>
                    </a:cubicBezTo>
                    <a:cubicBezTo>
                      <a:pt x="1244446" y="841921"/>
                      <a:pt x="1243722" y="840605"/>
                      <a:pt x="1243112" y="839237"/>
                    </a:cubicBezTo>
                    <a:cubicBezTo>
                      <a:pt x="1240775" y="835532"/>
                      <a:pt x="1235475" y="835475"/>
                      <a:pt x="1231143" y="835817"/>
                    </a:cubicBezTo>
                    <a:cubicBezTo>
                      <a:pt x="1229662" y="831144"/>
                      <a:pt x="1228180" y="826470"/>
                      <a:pt x="1226755" y="821797"/>
                    </a:cubicBezTo>
                    <a:cubicBezTo>
                      <a:pt x="1221853" y="819004"/>
                      <a:pt x="1215356" y="822880"/>
                      <a:pt x="1212734" y="827781"/>
                    </a:cubicBezTo>
                    <a:cubicBezTo>
                      <a:pt x="1210112" y="832683"/>
                      <a:pt x="1209143" y="838496"/>
                      <a:pt x="1206294" y="843398"/>
                    </a:cubicBezTo>
                    <a:cubicBezTo>
                      <a:pt x="1204760" y="845615"/>
                      <a:pt x="1203393" y="847940"/>
                      <a:pt x="1202190" y="850351"/>
                    </a:cubicBezTo>
                    <a:cubicBezTo>
                      <a:pt x="1201272" y="855292"/>
                      <a:pt x="1200987" y="860331"/>
                      <a:pt x="1201335" y="865341"/>
                    </a:cubicBezTo>
                    <a:cubicBezTo>
                      <a:pt x="1200594" y="872294"/>
                      <a:pt x="1196035" y="879361"/>
                      <a:pt x="1198713" y="885859"/>
                    </a:cubicBezTo>
                    <a:cubicBezTo>
                      <a:pt x="1199568" y="887968"/>
                      <a:pt x="1201164" y="890304"/>
                      <a:pt x="1200024" y="892242"/>
                    </a:cubicBezTo>
                    <a:cubicBezTo>
                      <a:pt x="1198884" y="894180"/>
                      <a:pt x="1194325" y="893382"/>
                      <a:pt x="1191475" y="893496"/>
                    </a:cubicBezTo>
                    <a:cubicBezTo>
                      <a:pt x="1187428" y="894083"/>
                      <a:pt x="1184231" y="897218"/>
                      <a:pt x="1183553" y="901247"/>
                    </a:cubicBezTo>
                    <a:cubicBezTo>
                      <a:pt x="1183006" y="905197"/>
                      <a:pt x="1183313" y="909227"/>
                      <a:pt x="1184465" y="913045"/>
                    </a:cubicBezTo>
                    <a:cubicBezTo>
                      <a:pt x="1188984" y="908235"/>
                      <a:pt x="1194741" y="904764"/>
                      <a:pt x="1201107" y="903014"/>
                    </a:cubicBezTo>
                    <a:cubicBezTo>
                      <a:pt x="1207775" y="901487"/>
                      <a:pt x="1214427" y="905642"/>
                      <a:pt x="1215983" y="912304"/>
                    </a:cubicBezTo>
                    <a:cubicBezTo>
                      <a:pt x="1215983" y="914641"/>
                      <a:pt x="1215527" y="916921"/>
                      <a:pt x="1215983" y="919258"/>
                    </a:cubicBezTo>
                    <a:cubicBezTo>
                      <a:pt x="1216439" y="921594"/>
                      <a:pt x="1217636" y="924159"/>
                      <a:pt x="1219972" y="924159"/>
                    </a:cubicBezTo>
                    <a:cubicBezTo>
                      <a:pt x="1220998" y="924079"/>
                      <a:pt x="1221984" y="923726"/>
                      <a:pt x="1222822" y="923133"/>
                    </a:cubicBezTo>
                    <a:cubicBezTo>
                      <a:pt x="1231753" y="918175"/>
                      <a:pt x="1240240" y="912452"/>
                      <a:pt x="1248185" y="906035"/>
                    </a:cubicBezTo>
                    <a:cubicBezTo>
                      <a:pt x="1252636" y="902951"/>
                      <a:pt x="1256210" y="898768"/>
                      <a:pt x="1258558" y="893895"/>
                    </a:cubicBezTo>
                    <a:cubicBezTo>
                      <a:pt x="1259020" y="891991"/>
                      <a:pt x="1259869" y="890202"/>
                      <a:pt x="1261066" y="888651"/>
                    </a:cubicBezTo>
                    <a:cubicBezTo>
                      <a:pt x="1263180" y="887084"/>
                      <a:pt x="1265802" y="886372"/>
                      <a:pt x="1268418" y="886657"/>
                    </a:cubicBezTo>
                    <a:cubicBezTo>
                      <a:pt x="1273262" y="886657"/>
                      <a:pt x="1279076" y="887056"/>
                      <a:pt x="1281641" y="891216"/>
                    </a:cubicBezTo>
                    <a:cubicBezTo>
                      <a:pt x="1284205" y="895377"/>
                      <a:pt x="1282895" y="900050"/>
                      <a:pt x="1286143" y="902615"/>
                    </a:cubicBezTo>
                    <a:cubicBezTo>
                      <a:pt x="1289392" y="905180"/>
                      <a:pt x="1292242" y="904040"/>
                      <a:pt x="1295262" y="905066"/>
                    </a:cubicBezTo>
                    <a:cubicBezTo>
                      <a:pt x="1297234" y="905909"/>
                      <a:pt x="1299138" y="906901"/>
                      <a:pt x="1300962" y="908030"/>
                    </a:cubicBezTo>
                    <a:cubicBezTo>
                      <a:pt x="1309055" y="912760"/>
                      <a:pt x="1319257" y="907403"/>
                      <a:pt x="1327407" y="902216"/>
                    </a:cubicBezTo>
                    <a:close/>
                    <a:moveTo>
                      <a:pt x="1259584" y="939149"/>
                    </a:moveTo>
                    <a:cubicBezTo>
                      <a:pt x="1256295" y="939901"/>
                      <a:pt x="1253782" y="942551"/>
                      <a:pt x="1253200" y="945874"/>
                    </a:cubicBezTo>
                    <a:cubicBezTo>
                      <a:pt x="1252630" y="949129"/>
                      <a:pt x="1252750" y="952469"/>
                      <a:pt x="1253542" y="955677"/>
                    </a:cubicBezTo>
                    <a:cubicBezTo>
                      <a:pt x="1253571" y="956401"/>
                      <a:pt x="1253901" y="957085"/>
                      <a:pt x="1254454" y="957558"/>
                    </a:cubicBezTo>
                    <a:cubicBezTo>
                      <a:pt x="1254916" y="957837"/>
                      <a:pt x="1255457" y="957957"/>
                      <a:pt x="1255993" y="957900"/>
                    </a:cubicBezTo>
                    <a:lnTo>
                      <a:pt x="1266708" y="957900"/>
                    </a:lnTo>
                    <a:cubicBezTo>
                      <a:pt x="1267905" y="960465"/>
                      <a:pt x="1271553" y="960408"/>
                      <a:pt x="1274345" y="959895"/>
                    </a:cubicBezTo>
                    <a:cubicBezTo>
                      <a:pt x="1274858" y="959901"/>
                      <a:pt x="1275354" y="959695"/>
                      <a:pt x="1275713" y="959325"/>
                    </a:cubicBezTo>
                    <a:cubicBezTo>
                      <a:pt x="1275981" y="958858"/>
                      <a:pt x="1276084" y="958316"/>
                      <a:pt x="1275998" y="957786"/>
                    </a:cubicBezTo>
                    <a:cubicBezTo>
                      <a:pt x="1275998" y="952998"/>
                      <a:pt x="1281698" y="950092"/>
                      <a:pt x="1286599" y="950719"/>
                    </a:cubicBezTo>
                    <a:cubicBezTo>
                      <a:pt x="1287494" y="950975"/>
                      <a:pt x="1288440" y="950975"/>
                      <a:pt x="1289335" y="950719"/>
                    </a:cubicBezTo>
                    <a:cubicBezTo>
                      <a:pt x="1289990" y="950325"/>
                      <a:pt x="1290538" y="949778"/>
                      <a:pt x="1290931" y="949123"/>
                    </a:cubicBezTo>
                    <a:lnTo>
                      <a:pt x="1294465" y="943993"/>
                    </a:lnTo>
                    <a:cubicBezTo>
                      <a:pt x="1296630" y="940802"/>
                      <a:pt x="1298910" y="936641"/>
                      <a:pt x="1296915" y="933335"/>
                    </a:cubicBezTo>
                    <a:cubicBezTo>
                      <a:pt x="1293781" y="932138"/>
                      <a:pt x="1292128" y="928377"/>
                      <a:pt x="1288936" y="927294"/>
                    </a:cubicBezTo>
                    <a:cubicBezTo>
                      <a:pt x="1287511" y="926980"/>
                      <a:pt x="1286029" y="926980"/>
                      <a:pt x="1284604" y="927294"/>
                    </a:cubicBezTo>
                    <a:cubicBezTo>
                      <a:pt x="1279543" y="927813"/>
                      <a:pt x="1274516" y="928650"/>
                      <a:pt x="1269558" y="929802"/>
                    </a:cubicBezTo>
                    <a:cubicBezTo>
                      <a:pt x="1266822" y="930486"/>
                      <a:pt x="1263516" y="932081"/>
                      <a:pt x="1263858" y="934874"/>
                    </a:cubicBezTo>
                    <a:cubicBezTo>
                      <a:pt x="1263858" y="935729"/>
                      <a:pt x="1264428" y="936584"/>
                      <a:pt x="1264257" y="937496"/>
                    </a:cubicBezTo>
                    <a:cubicBezTo>
                      <a:pt x="1264086" y="938408"/>
                      <a:pt x="1261351" y="938636"/>
                      <a:pt x="1259584" y="939149"/>
                    </a:cubicBezTo>
                    <a:close/>
                    <a:moveTo>
                      <a:pt x="1336128" y="960921"/>
                    </a:moveTo>
                    <a:cubicBezTo>
                      <a:pt x="1333836" y="961496"/>
                      <a:pt x="1332138" y="963423"/>
                      <a:pt x="1331853" y="965765"/>
                    </a:cubicBezTo>
                    <a:cubicBezTo>
                      <a:pt x="1331779" y="968114"/>
                      <a:pt x="1332286" y="970445"/>
                      <a:pt x="1333335" y="972548"/>
                    </a:cubicBezTo>
                    <a:cubicBezTo>
                      <a:pt x="1333797" y="973636"/>
                      <a:pt x="1334349" y="974685"/>
                      <a:pt x="1334988" y="975682"/>
                    </a:cubicBezTo>
                    <a:cubicBezTo>
                      <a:pt x="1338379" y="980573"/>
                      <a:pt x="1345087" y="981787"/>
                      <a:pt x="1349977" y="978401"/>
                    </a:cubicBezTo>
                    <a:cubicBezTo>
                      <a:pt x="1352394" y="976725"/>
                      <a:pt x="1354018" y="974138"/>
                      <a:pt x="1354480" y="971237"/>
                    </a:cubicBezTo>
                    <a:cubicBezTo>
                      <a:pt x="1354480" y="969983"/>
                      <a:pt x="1354480" y="968672"/>
                      <a:pt x="1354936" y="967418"/>
                    </a:cubicBezTo>
                    <a:cubicBezTo>
                      <a:pt x="1355392" y="966164"/>
                      <a:pt x="1356190" y="964568"/>
                      <a:pt x="1356589" y="963030"/>
                    </a:cubicBezTo>
                    <a:cubicBezTo>
                      <a:pt x="1357107" y="958977"/>
                      <a:pt x="1355187" y="954999"/>
                      <a:pt x="1351687" y="952885"/>
                    </a:cubicBezTo>
                    <a:cubicBezTo>
                      <a:pt x="1349556" y="951152"/>
                      <a:pt x="1346843" y="950314"/>
                      <a:pt x="1344107" y="950548"/>
                    </a:cubicBezTo>
                    <a:cubicBezTo>
                      <a:pt x="1341411" y="950804"/>
                      <a:pt x="1339262" y="952924"/>
                      <a:pt x="1338977" y="955620"/>
                    </a:cubicBezTo>
                    <a:cubicBezTo>
                      <a:pt x="1338977" y="957387"/>
                      <a:pt x="1339661" y="959610"/>
                      <a:pt x="1338123" y="960465"/>
                    </a:cubicBezTo>
                    <a:cubicBezTo>
                      <a:pt x="1337473" y="960642"/>
                      <a:pt x="1336800" y="960716"/>
                      <a:pt x="1336128" y="960693"/>
                    </a:cubicBezTo>
                    <a:close/>
                    <a:moveTo>
                      <a:pt x="1869199" y="1295024"/>
                    </a:moveTo>
                    <a:cubicBezTo>
                      <a:pt x="1861779" y="1307796"/>
                      <a:pt x="1849211" y="1316745"/>
                      <a:pt x="1834718" y="1319589"/>
                    </a:cubicBezTo>
                    <a:cubicBezTo>
                      <a:pt x="1828157" y="1320176"/>
                      <a:pt x="1821677" y="1321475"/>
                      <a:pt x="1815396" y="1323464"/>
                    </a:cubicBezTo>
                    <a:cubicBezTo>
                      <a:pt x="1803370" y="1328822"/>
                      <a:pt x="1797842" y="1343241"/>
                      <a:pt x="1786557" y="1350081"/>
                    </a:cubicBezTo>
                    <a:cubicBezTo>
                      <a:pt x="1777723" y="1355438"/>
                      <a:pt x="1766723" y="1355381"/>
                      <a:pt x="1756350" y="1355153"/>
                    </a:cubicBezTo>
                    <a:lnTo>
                      <a:pt x="1648402" y="1352646"/>
                    </a:lnTo>
                    <a:cubicBezTo>
                      <a:pt x="1640081" y="1352646"/>
                      <a:pt x="1630392" y="1352931"/>
                      <a:pt x="1625604" y="1359713"/>
                    </a:cubicBezTo>
                    <a:cubicBezTo>
                      <a:pt x="1622355" y="1364216"/>
                      <a:pt x="1622013" y="1371112"/>
                      <a:pt x="1617511" y="1374133"/>
                    </a:cubicBezTo>
                    <a:cubicBezTo>
                      <a:pt x="1614205" y="1375734"/>
                      <a:pt x="1610666" y="1376794"/>
                      <a:pt x="1607024" y="1377267"/>
                    </a:cubicBezTo>
                    <a:cubicBezTo>
                      <a:pt x="1600806" y="1379786"/>
                      <a:pt x="1595448" y="1384038"/>
                      <a:pt x="1591578" y="1389521"/>
                    </a:cubicBezTo>
                    <a:cubicBezTo>
                      <a:pt x="1576645" y="1406922"/>
                      <a:pt x="1562038" y="1424613"/>
                      <a:pt x="1547749" y="1442583"/>
                    </a:cubicBezTo>
                    <a:cubicBezTo>
                      <a:pt x="1544329" y="1446858"/>
                      <a:pt x="1540967" y="1453184"/>
                      <a:pt x="1544614" y="1457288"/>
                    </a:cubicBezTo>
                    <a:cubicBezTo>
                      <a:pt x="1548262" y="1461392"/>
                      <a:pt x="1556013" y="1457915"/>
                      <a:pt x="1559889" y="1453412"/>
                    </a:cubicBezTo>
                    <a:cubicBezTo>
                      <a:pt x="1561257" y="1451816"/>
                      <a:pt x="1562511" y="1450164"/>
                      <a:pt x="1563708" y="1448454"/>
                    </a:cubicBezTo>
                    <a:cubicBezTo>
                      <a:pt x="1563149" y="1459499"/>
                      <a:pt x="1559165" y="1470095"/>
                      <a:pt x="1552309" y="1478775"/>
                    </a:cubicBezTo>
                    <a:cubicBezTo>
                      <a:pt x="1550855" y="1480713"/>
                      <a:pt x="1549721" y="1482867"/>
                      <a:pt x="1548946" y="1485158"/>
                    </a:cubicBezTo>
                    <a:cubicBezTo>
                      <a:pt x="1548644" y="1487421"/>
                      <a:pt x="1548228" y="1489667"/>
                      <a:pt x="1547692" y="1491884"/>
                    </a:cubicBezTo>
                    <a:cubicBezTo>
                      <a:pt x="1546324" y="1495474"/>
                      <a:pt x="1542848" y="1497583"/>
                      <a:pt x="1540112" y="1500319"/>
                    </a:cubicBezTo>
                    <a:cubicBezTo>
                      <a:pt x="1537376" y="1503055"/>
                      <a:pt x="1535495" y="1507557"/>
                      <a:pt x="1537889" y="1510521"/>
                    </a:cubicBezTo>
                    <a:cubicBezTo>
                      <a:pt x="1534794" y="1510869"/>
                      <a:pt x="1531813" y="1511900"/>
                      <a:pt x="1529169" y="1513542"/>
                    </a:cubicBezTo>
                    <a:cubicBezTo>
                      <a:pt x="1526456" y="1515280"/>
                      <a:pt x="1525202" y="1518591"/>
                      <a:pt x="1526091" y="1521692"/>
                    </a:cubicBezTo>
                    <a:lnTo>
                      <a:pt x="1523754" y="1521977"/>
                    </a:lnTo>
                    <a:lnTo>
                      <a:pt x="1448635" y="1521179"/>
                    </a:lnTo>
                    <a:cubicBezTo>
                      <a:pt x="1443813" y="1521977"/>
                      <a:pt x="1439254" y="1523932"/>
                      <a:pt x="1435356" y="1526878"/>
                    </a:cubicBezTo>
                    <a:cubicBezTo>
                      <a:pt x="1434421" y="1527448"/>
                      <a:pt x="1433703" y="1528309"/>
                      <a:pt x="1433304" y="1529329"/>
                    </a:cubicBezTo>
                    <a:cubicBezTo>
                      <a:pt x="1433304" y="1530070"/>
                      <a:pt x="1433304" y="1530868"/>
                      <a:pt x="1433304" y="1531609"/>
                    </a:cubicBezTo>
                    <a:cubicBezTo>
                      <a:pt x="1432905" y="1533889"/>
                      <a:pt x="1430454" y="1535143"/>
                      <a:pt x="1428231" y="1535713"/>
                    </a:cubicBezTo>
                    <a:cubicBezTo>
                      <a:pt x="1425963" y="1536026"/>
                      <a:pt x="1423791" y="1536864"/>
                      <a:pt x="1421905" y="1538163"/>
                    </a:cubicBezTo>
                    <a:cubicBezTo>
                      <a:pt x="1421568" y="1538517"/>
                      <a:pt x="1421266" y="1538899"/>
                      <a:pt x="1420993" y="1539303"/>
                    </a:cubicBezTo>
                    <a:cubicBezTo>
                      <a:pt x="1409161" y="1539503"/>
                      <a:pt x="1397351" y="1540301"/>
                      <a:pt x="1385599" y="1541697"/>
                    </a:cubicBezTo>
                    <a:lnTo>
                      <a:pt x="1376936" y="1542609"/>
                    </a:lnTo>
                    <a:cubicBezTo>
                      <a:pt x="1373528" y="1542860"/>
                      <a:pt x="1370148" y="1543430"/>
                      <a:pt x="1366848" y="1544319"/>
                    </a:cubicBezTo>
                    <a:cubicBezTo>
                      <a:pt x="1362476" y="1545818"/>
                      <a:pt x="1358378" y="1548012"/>
                      <a:pt x="1354708" y="1550816"/>
                    </a:cubicBezTo>
                    <a:cubicBezTo>
                      <a:pt x="1351499" y="1552868"/>
                      <a:pt x="1348855" y="1555689"/>
                      <a:pt x="1347014" y="1559024"/>
                    </a:cubicBezTo>
                    <a:cubicBezTo>
                      <a:pt x="1345235" y="1562489"/>
                      <a:pt x="1345902" y="1566706"/>
                      <a:pt x="1348666" y="1569454"/>
                    </a:cubicBezTo>
                    <a:cubicBezTo>
                      <a:pt x="1351174" y="1571562"/>
                      <a:pt x="1355620" y="1572474"/>
                      <a:pt x="1355506" y="1575780"/>
                    </a:cubicBezTo>
                    <a:cubicBezTo>
                      <a:pt x="1355455" y="1576652"/>
                      <a:pt x="1355135" y="1577490"/>
                      <a:pt x="1354594" y="1578174"/>
                    </a:cubicBezTo>
                    <a:cubicBezTo>
                      <a:pt x="1353386" y="1579946"/>
                      <a:pt x="1351590" y="1581240"/>
                      <a:pt x="1349521" y="1581821"/>
                    </a:cubicBezTo>
                    <a:cubicBezTo>
                      <a:pt x="1347167" y="1582084"/>
                      <a:pt x="1344854" y="1582619"/>
                      <a:pt x="1342625" y="1583417"/>
                    </a:cubicBezTo>
                    <a:cubicBezTo>
                      <a:pt x="1341599" y="1583987"/>
                      <a:pt x="1340744" y="1584842"/>
                      <a:pt x="1339718" y="1585469"/>
                    </a:cubicBezTo>
                    <a:cubicBezTo>
                      <a:pt x="1335672" y="1587071"/>
                      <a:pt x="1331169" y="1587071"/>
                      <a:pt x="1327122" y="1585469"/>
                    </a:cubicBezTo>
                    <a:cubicBezTo>
                      <a:pt x="1316898" y="1583161"/>
                      <a:pt x="1306285" y="1583161"/>
                      <a:pt x="1296060" y="1585469"/>
                    </a:cubicBezTo>
                    <a:lnTo>
                      <a:pt x="1295775" y="1585811"/>
                    </a:lnTo>
                    <a:cubicBezTo>
                      <a:pt x="1295479" y="1585389"/>
                      <a:pt x="1295137" y="1585007"/>
                      <a:pt x="1294749" y="1584671"/>
                    </a:cubicBezTo>
                    <a:cubicBezTo>
                      <a:pt x="1294208" y="1584346"/>
                      <a:pt x="1293610" y="1584130"/>
                      <a:pt x="1292983" y="1584044"/>
                    </a:cubicBezTo>
                    <a:cubicBezTo>
                      <a:pt x="1291404" y="1583725"/>
                      <a:pt x="1289762" y="1584056"/>
                      <a:pt x="1288423" y="1584956"/>
                    </a:cubicBezTo>
                    <a:cubicBezTo>
                      <a:pt x="1286656" y="1586267"/>
                      <a:pt x="1286029" y="1588718"/>
                      <a:pt x="1284205" y="1589972"/>
                    </a:cubicBezTo>
                    <a:cubicBezTo>
                      <a:pt x="1282667" y="1591060"/>
                      <a:pt x="1280615" y="1591060"/>
                      <a:pt x="1279076" y="1589972"/>
                    </a:cubicBezTo>
                    <a:cubicBezTo>
                      <a:pt x="1278797" y="1587789"/>
                      <a:pt x="1279150" y="1585572"/>
                      <a:pt x="1280102" y="1583588"/>
                    </a:cubicBezTo>
                    <a:lnTo>
                      <a:pt x="1280102" y="1585583"/>
                    </a:lnTo>
                    <a:cubicBezTo>
                      <a:pt x="1288634" y="1578453"/>
                      <a:pt x="1294863" y="1568952"/>
                      <a:pt x="1297998" y="1558283"/>
                    </a:cubicBezTo>
                    <a:cubicBezTo>
                      <a:pt x="1299708" y="1551044"/>
                      <a:pt x="1299252" y="1543407"/>
                      <a:pt x="1301190" y="1536169"/>
                    </a:cubicBezTo>
                    <a:cubicBezTo>
                      <a:pt x="1302529" y="1528640"/>
                      <a:pt x="1308423" y="1522746"/>
                      <a:pt x="1315951" y="1521407"/>
                    </a:cubicBezTo>
                    <a:cubicBezTo>
                      <a:pt x="1319052" y="1521048"/>
                      <a:pt x="1322010" y="1522792"/>
                      <a:pt x="1323190" y="1525682"/>
                    </a:cubicBezTo>
                    <a:cubicBezTo>
                      <a:pt x="1323332" y="1526856"/>
                      <a:pt x="1323560" y="1528018"/>
                      <a:pt x="1323874" y="1529158"/>
                    </a:cubicBezTo>
                    <a:cubicBezTo>
                      <a:pt x="1324786" y="1531267"/>
                      <a:pt x="1327407" y="1531837"/>
                      <a:pt x="1329573" y="1532065"/>
                    </a:cubicBezTo>
                    <a:cubicBezTo>
                      <a:pt x="1335273" y="1532692"/>
                      <a:pt x="1342967" y="1531552"/>
                      <a:pt x="1343480" y="1525910"/>
                    </a:cubicBezTo>
                    <a:cubicBezTo>
                      <a:pt x="1344107" y="1519184"/>
                      <a:pt x="1332936" y="1513884"/>
                      <a:pt x="1336470" y="1508127"/>
                    </a:cubicBezTo>
                    <a:cubicBezTo>
                      <a:pt x="1333050" y="1510806"/>
                      <a:pt x="1328433" y="1506303"/>
                      <a:pt x="1327521" y="1502086"/>
                    </a:cubicBezTo>
                    <a:cubicBezTo>
                      <a:pt x="1326609" y="1497868"/>
                      <a:pt x="1326553" y="1492682"/>
                      <a:pt x="1322962" y="1490345"/>
                    </a:cubicBezTo>
                    <a:cubicBezTo>
                      <a:pt x="1321526" y="1489530"/>
                      <a:pt x="1319930" y="1489028"/>
                      <a:pt x="1318288" y="1488863"/>
                    </a:cubicBezTo>
                    <a:lnTo>
                      <a:pt x="1260553" y="1478946"/>
                    </a:lnTo>
                    <a:cubicBezTo>
                      <a:pt x="1257743" y="1478558"/>
                      <a:pt x="1254990" y="1477852"/>
                      <a:pt x="1252345" y="1476837"/>
                    </a:cubicBezTo>
                    <a:cubicBezTo>
                      <a:pt x="1243454" y="1472961"/>
                      <a:pt x="1239522" y="1462645"/>
                      <a:pt x="1236501" y="1453412"/>
                    </a:cubicBezTo>
                    <a:cubicBezTo>
                      <a:pt x="1234506" y="1447314"/>
                      <a:pt x="1232454" y="1441215"/>
                      <a:pt x="1230459" y="1435060"/>
                    </a:cubicBezTo>
                    <a:cubicBezTo>
                      <a:pt x="1230095" y="1433367"/>
                      <a:pt x="1229148" y="1431851"/>
                      <a:pt x="1227781" y="1430785"/>
                    </a:cubicBezTo>
                    <a:cubicBezTo>
                      <a:pt x="1225974" y="1430039"/>
                      <a:pt x="1223973" y="1429902"/>
                      <a:pt x="1222081" y="1430386"/>
                    </a:cubicBezTo>
                    <a:cubicBezTo>
                      <a:pt x="1211041" y="1430860"/>
                      <a:pt x="1201711" y="1422293"/>
                      <a:pt x="1201238" y="1411259"/>
                    </a:cubicBezTo>
                    <a:cubicBezTo>
                      <a:pt x="1201227" y="1411059"/>
                      <a:pt x="1201221" y="1410866"/>
                      <a:pt x="1201221" y="1410666"/>
                    </a:cubicBezTo>
                    <a:cubicBezTo>
                      <a:pt x="1195544" y="1412684"/>
                      <a:pt x="1189281" y="1409937"/>
                      <a:pt x="1186916" y="1404397"/>
                    </a:cubicBezTo>
                    <a:cubicBezTo>
                      <a:pt x="1186534" y="1402624"/>
                      <a:pt x="1185815" y="1400943"/>
                      <a:pt x="1184807" y="1399438"/>
                    </a:cubicBezTo>
                    <a:cubicBezTo>
                      <a:pt x="1181900" y="1396418"/>
                      <a:pt x="1176827" y="1398925"/>
                      <a:pt x="1172724" y="1398184"/>
                    </a:cubicBezTo>
                    <a:cubicBezTo>
                      <a:pt x="1168620" y="1397443"/>
                      <a:pt x="1166625" y="1394480"/>
                      <a:pt x="1163206" y="1394480"/>
                    </a:cubicBezTo>
                    <a:cubicBezTo>
                      <a:pt x="1156993" y="1394480"/>
                      <a:pt x="1155112" y="1403143"/>
                      <a:pt x="1150154" y="1406848"/>
                    </a:cubicBezTo>
                    <a:cubicBezTo>
                      <a:pt x="1148102" y="1408443"/>
                      <a:pt x="1145366" y="1409127"/>
                      <a:pt x="1143371" y="1410837"/>
                    </a:cubicBezTo>
                    <a:cubicBezTo>
                      <a:pt x="1138698" y="1414770"/>
                      <a:pt x="1138812" y="1423376"/>
                      <a:pt x="1133055" y="1425542"/>
                    </a:cubicBezTo>
                    <a:cubicBezTo>
                      <a:pt x="1129465" y="1426853"/>
                      <a:pt x="1124221" y="1425542"/>
                      <a:pt x="1121656" y="1427195"/>
                    </a:cubicBezTo>
                    <a:cubicBezTo>
                      <a:pt x="1119821" y="1425872"/>
                      <a:pt x="1117684" y="1425029"/>
                      <a:pt x="1115444" y="1424744"/>
                    </a:cubicBezTo>
                    <a:cubicBezTo>
                      <a:pt x="1113278" y="1424864"/>
                      <a:pt x="1111152" y="1425382"/>
                      <a:pt x="1109175" y="1426283"/>
                    </a:cubicBezTo>
                    <a:cubicBezTo>
                      <a:pt x="1100397" y="1429041"/>
                      <a:pt x="1090817" y="1426864"/>
                      <a:pt x="1084097" y="1420583"/>
                    </a:cubicBezTo>
                    <a:cubicBezTo>
                      <a:pt x="1075183" y="1422863"/>
                      <a:pt x="1065842" y="1418896"/>
                      <a:pt x="1061299" y="1410894"/>
                    </a:cubicBezTo>
                    <a:cubicBezTo>
                      <a:pt x="1057270" y="1408825"/>
                      <a:pt x="1052322" y="1410415"/>
                      <a:pt x="1050248" y="1414445"/>
                    </a:cubicBezTo>
                    <a:cubicBezTo>
                      <a:pt x="1049900" y="1415123"/>
                      <a:pt x="1049649" y="1415847"/>
                      <a:pt x="1049501" y="1416594"/>
                    </a:cubicBezTo>
                    <a:cubicBezTo>
                      <a:pt x="1045620" y="1416810"/>
                      <a:pt x="1041738" y="1416206"/>
                      <a:pt x="1038102" y="1414827"/>
                    </a:cubicBezTo>
                    <a:cubicBezTo>
                      <a:pt x="1034426" y="1413436"/>
                      <a:pt x="1031935" y="1409982"/>
                      <a:pt x="1031776" y="1406050"/>
                    </a:cubicBezTo>
                    <a:lnTo>
                      <a:pt x="1018610" y="1405195"/>
                    </a:lnTo>
                    <a:lnTo>
                      <a:pt x="1020320" y="1386045"/>
                    </a:lnTo>
                    <a:cubicBezTo>
                      <a:pt x="1017977" y="1384677"/>
                      <a:pt x="1015270" y="1384078"/>
                      <a:pt x="1012568" y="1384335"/>
                    </a:cubicBezTo>
                    <a:cubicBezTo>
                      <a:pt x="1009947" y="1384848"/>
                      <a:pt x="1007667" y="1387868"/>
                      <a:pt x="1008921" y="1390034"/>
                    </a:cubicBezTo>
                    <a:lnTo>
                      <a:pt x="1004703" y="1392257"/>
                    </a:lnTo>
                    <a:cubicBezTo>
                      <a:pt x="1004247" y="1395791"/>
                      <a:pt x="1003734" y="1399324"/>
                      <a:pt x="1003221" y="1402915"/>
                    </a:cubicBezTo>
                    <a:lnTo>
                      <a:pt x="408709" y="1402915"/>
                    </a:lnTo>
                    <a:cubicBezTo>
                      <a:pt x="407951" y="1395090"/>
                      <a:pt x="403779" y="1387999"/>
                      <a:pt x="397310" y="1383537"/>
                    </a:cubicBezTo>
                    <a:cubicBezTo>
                      <a:pt x="387222" y="1377552"/>
                      <a:pt x="371093" y="1380288"/>
                      <a:pt x="366248" y="1369630"/>
                    </a:cubicBezTo>
                    <a:cubicBezTo>
                      <a:pt x="364424" y="1365697"/>
                      <a:pt x="364709" y="1360511"/>
                      <a:pt x="361290" y="1357832"/>
                    </a:cubicBezTo>
                    <a:cubicBezTo>
                      <a:pt x="355875" y="1353615"/>
                      <a:pt x="346300" y="1359770"/>
                      <a:pt x="341683" y="1354697"/>
                    </a:cubicBezTo>
                    <a:cubicBezTo>
                      <a:pt x="339404" y="1352247"/>
                      <a:pt x="339575" y="1348143"/>
                      <a:pt x="337124" y="1345863"/>
                    </a:cubicBezTo>
                    <a:cubicBezTo>
                      <a:pt x="335574" y="1344729"/>
                      <a:pt x="333738" y="1344056"/>
                      <a:pt x="331823" y="1343925"/>
                    </a:cubicBezTo>
                    <a:lnTo>
                      <a:pt x="312388" y="1340506"/>
                    </a:lnTo>
                    <a:cubicBezTo>
                      <a:pt x="308051" y="1340141"/>
                      <a:pt x="303885" y="1338648"/>
                      <a:pt x="300305" y="1336174"/>
                    </a:cubicBezTo>
                    <a:cubicBezTo>
                      <a:pt x="292440" y="1329620"/>
                      <a:pt x="292269" y="1313832"/>
                      <a:pt x="282067" y="1313376"/>
                    </a:cubicBezTo>
                    <a:lnTo>
                      <a:pt x="291243" y="1309330"/>
                    </a:lnTo>
                    <a:cubicBezTo>
                      <a:pt x="294834" y="1307791"/>
                      <a:pt x="298994" y="1305340"/>
                      <a:pt x="298823" y="1301464"/>
                    </a:cubicBezTo>
                    <a:cubicBezTo>
                      <a:pt x="298652" y="1297589"/>
                      <a:pt x="294264" y="1295423"/>
                      <a:pt x="290445" y="1294853"/>
                    </a:cubicBezTo>
                    <a:cubicBezTo>
                      <a:pt x="286575" y="1294876"/>
                      <a:pt x="282791" y="1293702"/>
                      <a:pt x="279616" y="1291490"/>
                    </a:cubicBezTo>
                    <a:cubicBezTo>
                      <a:pt x="278300" y="1289940"/>
                      <a:pt x="277308" y="1288133"/>
                      <a:pt x="276709" y="1286190"/>
                    </a:cubicBezTo>
                    <a:cubicBezTo>
                      <a:pt x="274430" y="1279977"/>
                      <a:pt x="272150" y="1273822"/>
                      <a:pt x="269813" y="1267666"/>
                    </a:cubicBezTo>
                    <a:cubicBezTo>
                      <a:pt x="269004" y="1264982"/>
                      <a:pt x="267710" y="1262469"/>
                      <a:pt x="265994" y="1260257"/>
                    </a:cubicBezTo>
                    <a:cubicBezTo>
                      <a:pt x="261492" y="1255242"/>
                      <a:pt x="252658" y="1254102"/>
                      <a:pt x="250834" y="1247604"/>
                    </a:cubicBezTo>
                    <a:cubicBezTo>
                      <a:pt x="250378" y="1246065"/>
                      <a:pt x="250435" y="1244413"/>
                      <a:pt x="249922" y="1242874"/>
                    </a:cubicBezTo>
                    <a:cubicBezTo>
                      <a:pt x="248668" y="1238998"/>
                      <a:pt x="244222" y="1237174"/>
                      <a:pt x="240860" y="1235236"/>
                    </a:cubicBezTo>
                    <a:cubicBezTo>
                      <a:pt x="237497" y="1233299"/>
                      <a:pt x="234476" y="1229537"/>
                      <a:pt x="235502" y="1226231"/>
                    </a:cubicBezTo>
                    <a:cubicBezTo>
                      <a:pt x="235878" y="1225827"/>
                      <a:pt x="236300" y="1225462"/>
                      <a:pt x="236756" y="1225148"/>
                    </a:cubicBezTo>
                    <a:cubicBezTo>
                      <a:pt x="238295" y="1224293"/>
                      <a:pt x="240290" y="1224008"/>
                      <a:pt x="241487" y="1222698"/>
                    </a:cubicBezTo>
                    <a:cubicBezTo>
                      <a:pt x="243709" y="1220247"/>
                      <a:pt x="241943" y="1216029"/>
                      <a:pt x="243652" y="1213236"/>
                    </a:cubicBezTo>
                    <a:cubicBezTo>
                      <a:pt x="245060" y="1211618"/>
                      <a:pt x="246839" y="1210364"/>
                      <a:pt x="248839" y="1209589"/>
                    </a:cubicBezTo>
                    <a:cubicBezTo>
                      <a:pt x="250663" y="1208506"/>
                      <a:pt x="252658" y="1207195"/>
                      <a:pt x="251404" y="1205485"/>
                    </a:cubicBezTo>
                    <a:cubicBezTo>
                      <a:pt x="246428" y="1199028"/>
                      <a:pt x="240791" y="1193106"/>
                      <a:pt x="234590" y="1187817"/>
                    </a:cubicBezTo>
                    <a:lnTo>
                      <a:pt x="245647" y="1178014"/>
                    </a:lnTo>
                    <a:cubicBezTo>
                      <a:pt x="238819" y="1170394"/>
                      <a:pt x="229620" y="1165298"/>
                      <a:pt x="219544" y="1163537"/>
                    </a:cubicBezTo>
                    <a:cubicBezTo>
                      <a:pt x="217281" y="1163372"/>
                      <a:pt x="215064" y="1162813"/>
                      <a:pt x="212989" y="1161884"/>
                    </a:cubicBezTo>
                    <a:cubicBezTo>
                      <a:pt x="210664" y="1160465"/>
                      <a:pt x="208709" y="1158510"/>
                      <a:pt x="207290" y="1156185"/>
                    </a:cubicBezTo>
                    <a:lnTo>
                      <a:pt x="194124" y="1136522"/>
                    </a:lnTo>
                    <a:cubicBezTo>
                      <a:pt x="192551" y="1134299"/>
                      <a:pt x="191160" y="1131956"/>
                      <a:pt x="189963" y="1129511"/>
                    </a:cubicBezTo>
                    <a:cubicBezTo>
                      <a:pt x="188482" y="1126263"/>
                      <a:pt x="187684" y="1122672"/>
                      <a:pt x="185974" y="1119480"/>
                    </a:cubicBezTo>
                    <a:cubicBezTo>
                      <a:pt x="183124" y="1114351"/>
                      <a:pt x="177881" y="1110532"/>
                      <a:pt x="176456" y="1104833"/>
                    </a:cubicBezTo>
                    <a:cubicBezTo>
                      <a:pt x="176296" y="1102501"/>
                      <a:pt x="175595" y="1100233"/>
                      <a:pt x="174404" y="1098221"/>
                    </a:cubicBezTo>
                    <a:cubicBezTo>
                      <a:pt x="172637" y="1096112"/>
                      <a:pt x="169502" y="1095941"/>
                      <a:pt x="166938" y="1094915"/>
                    </a:cubicBezTo>
                    <a:cubicBezTo>
                      <a:pt x="163626" y="1093154"/>
                      <a:pt x="160851" y="1090538"/>
                      <a:pt x="158901" y="1087335"/>
                    </a:cubicBezTo>
                    <a:lnTo>
                      <a:pt x="140891" y="1062713"/>
                    </a:lnTo>
                    <a:cubicBezTo>
                      <a:pt x="137614" y="1057299"/>
                      <a:pt x="132952" y="1052853"/>
                      <a:pt x="127383" y="1049833"/>
                    </a:cubicBezTo>
                    <a:cubicBezTo>
                      <a:pt x="121484" y="1047000"/>
                      <a:pt x="114394" y="1049280"/>
                      <a:pt x="111254" y="1055019"/>
                    </a:cubicBezTo>
                    <a:cubicBezTo>
                      <a:pt x="111083" y="1055960"/>
                      <a:pt x="110650" y="1056826"/>
                      <a:pt x="110000" y="1057527"/>
                    </a:cubicBezTo>
                    <a:cubicBezTo>
                      <a:pt x="108820" y="1058120"/>
                      <a:pt x="107481" y="1058319"/>
                      <a:pt x="106181" y="1058097"/>
                    </a:cubicBezTo>
                    <a:cubicBezTo>
                      <a:pt x="99912" y="1058097"/>
                      <a:pt x="96663" y="1066247"/>
                      <a:pt x="90736" y="1068299"/>
                    </a:cubicBezTo>
                    <a:cubicBezTo>
                      <a:pt x="88137" y="1069011"/>
                      <a:pt x="85407" y="1069125"/>
                      <a:pt x="82756" y="1068641"/>
                    </a:cubicBezTo>
                    <a:cubicBezTo>
                      <a:pt x="76658" y="1068014"/>
                      <a:pt x="69363" y="1066532"/>
                      <a:pt x="67254" y="1060776"/>
                    </a:cubicBezTo>
                    <a:cubicBezTo>
                      <a:pt x="65943" y="1057356"/>
                      <a:pt x="66798" y="1053024"/>
                      <a:pt x="64119" y="1050517"/>
                    </a:cubicBezTo>
                    <a:cubicBezTo>
                      <a:pt x="61440" y="1048009"/>
                      <a:pt x="57223" y="1049206"/>
                      <a:pt x="53746" y="1050517"/>
                    </a:cubicBezTo>
                    <a:cubicBezTo>
                      <a:pt x="50269" y="1051827"/>
                      <a:pt x="45539" y="1051770"/>
                      <a:pt x="43886" y="1048522"/>
                    </a:cubicBezTo>
                    <a:cubicBezTo>
                      <a:pt x="43151" y="1046151"/>
                      <a:pt x="43402" y="1043586"/>
                      <a:pt x="44570" y="1041397"/>
                    </a:cubicBezTo>
                    <a:cubicBezTo>
                      <a:pt x="46263" y="1037590"/>
                      <a:pt x="46798" y="1033367"/>
                      <a:pt x="46109" y="1029257"/>
                    </a:cubicBezTo>
                    <a:cubicBezTo>
                      <a:pt x="45288" y="1025068"/>
                      <a:pt x="41600" y="1022053"/>
                      <a:pt x="37332" y="1022076"/>
                    </a:cubicBezTo>
                    <a:cubicBezTo>
                      <a:pt x="35593" y="1022424"/>
                      <a:pt x="33923" y="1023039"/>
                      <a:pt x="32373" y="1023900"/>
                    </a:cubicBezTo>
                    <a:cubicBezTo>
                      <a:pt x="22319" y="1028648"/>
                      <a:pt x="10789" y="1029183"/>
                      <a:pt x="342" y="1025382"/>
                    </a:cubicBezTo>
                    <a:lnTo>
                      <a:pt x="0" y="668994"/>
                    </a:lnTo>
                    <a:cubicBezTo>
                      <a:pt x="4297" y="670926"/>
                      <a:pt x="8914" y="672032"/>
                      <a:pt x="13622" y="672242"/>
                    </a:cubicBezTo>
                    <a:cubicBezTo>
                      <a:pt x="24223" y="672584"/>
                      <a:pt x="36021" y="667683"/>
                      <a:pt x="44798" y="673667"/>
                    </a:cubicBezTo>
                    <a:cubicBezTo>
                      <a:pt x="47688" y="676038"/>
                      <a:pt x="50275" y="678757"/>
                      <a:pt x="52492" y="681761"/>
                    </a:cubicBezTo>
                    <a:cubicBezTo>
                      <a:pt x="59953" y="690070"/>
                      <a:pt x="70314" y="695211"/>
                      <a:pt x="81445" y="696123"/>
                    </a:cubicBezTo>
                    <a:cubicBezTo>
                      <a:pt x="92844" y="696978"/>
                      <a:pt x="104243" y="697434"/>
                      <a:pt x="113933" y="703704"/>
                    </a:cubicBezTo>
                    <a:cubicBezTo>
                      <a:pt x="117267" y="706747"/>
                      <a:pt x="121433" y="708731"/>
                      <a:pt x="125901" y="709403"/>
                    </a:cubicBezTo>
                    <a:cubicBezTo>
                      <a:pt x="130404" y="709403"/>
                      <a:pt x="134565" y="703704"/>
                      <a:pt x="131601" y="700455"/>
                    </a:cubicBezTo>
                    <a:cubicBezTo>
                      <a:pt x="121667" y="699013"/>
                      <a:pt x="113619" y="691649"/>
                      <a:pt x="111311" y="681875"/>
                    </a:cubicBezTo>
                    <a:cubicBezTo>
                      <a:pt x="124505" y="677486"/>
                      <a:pt x="138583" y="676409"/>
                      <a:pt x="152290" y="678740"/>
                    </a:cubicBezTo>
                    <a:cubicBezTo>
                      <a:pt x="156137" y="679732"/>
                      <a:pt x="160138" y="680017"/>
                      <a:pt x="164088" y="679595"/>
                    </a:cubicBezTo>
                    <a:cubicBezTo>
                      <a:pt x="168533" y="678244"/>
                      <a:pt x="172637" y="675947"/>
                      <a:pt x="176114" y="672869"/>
                    </a:cubicBezTo>
                    <a:cubicBezTo>
                      <a:pt x="194905" y="658604"/>
                      <a:pt x="217441" y="650129"/>
                      <a:pt x="240974" y="648476"/>
                    </a:cubicBezTo>
                    <a:cubicBezTo>
                      <a:pt x="241823" y="652004"/>
                      <a:pt x="241207" y="655725"/>
                      <a:pt x="239264" y="658792"/>
                    </a:cubicBezTo>
                    <a:cubicBezTo>
                      <a:pt x="209342" y="662166"/>
                      <a:pt x="182571" y="678939"/>
                      <a:pt x="166482" y="704388"/>
                    </a:cubicBezTo>
                    <a:cubicBezTo>
                      <a:pt x="168818" y="709460"/>
                      <a:pt x="176570" y="709403"/>
                      <a:pt x="181072" y="706040"/>
                    </a:cubicBezTo>
                    <a:cubicBezTo>
                      <a:pt x="185119" y="702165"/>
                      <a:pt x="188658" y="697799"/>
                      <a:pt x="191616" y="693046"/>
                    </a:cubicBezTo>
                    <a:cubicBezTo>
                      <a:pt x="198912" y="683983"/>
                      <a:pt x="210254" y="679481"/>
                      <a:pt x="221083" y="675320"/>
                    </a:cubicBezTo>
                    <a:lnTo>
                      <a:pt x="242684" y="667056"/>
                    </a:lnTo>
                    <a:cubicBezTo>
                      <a:pt x="252658" y="663237"/>
                      <a:pt x="265026" y="659761"/>
                      <a:pt x="273062" y="667056"/>
                    </a:cubicBezTo>
                    <a:cubicBezTo>
                      <a:pt x="274259" y="658507"/>
                      <a:pt x="281782" y="652579"/>
                      <a:pt x="286741" y="645512"/>
                    </a:cubicBezTo>
                    <a:cubicBezTo>
                      <a:pt x="291699" y="638445"/>
                      <a:pt x="292782" y="626305"/>
                      <a:pt x="284746" y="623113"/>
                    </a:cubicBezTo>
                    <a:cubicBezTo>
                      <a:pt x="289476" y="615989"/>
                      <a:pt x="299849" y="624595"/>
                      <a:pt x="303554" y="632346"/>
                    </a:cubicBezTo>
                    <a:cubicBezTo>
                      <a:pt x="310165" y="646310"/>
                      <a:pt x="317005" y="660217"/>
                      <a:pt x="324015" y="673952"/>
                    </a:cubicBezTo>
                    <a:cubicBezTo>
                      <a:pt x="325218" y="677098"/>
                      <a:pt x="327418" y="679766"/>
                      <a:pt x="330284" y="681533"/>
                    </a:cubicBezTo>
                    <a:cubicBezTo>
                      <a:pt x="336839" y="684610"/>
                      <a:pt x="343507" y="677771"/>
                      <a:pt x="347383" y="671730"/>
                    </a:cubicBezTo>
                    <a:lnTo>
                      <a:pt x="364481" y="646139"/>
                    </a:lnTo>
                    <a:cubicBezTo>
                      <a:pt x="370181" y="645056"/>
                      <a:pt x="372518" y="653833"/>
                      <a:pt x="370181" y="659191"/>
                    </a:cubicBezTo>
                    <a:cubicBezTo>
                      <a:pt x="367844" y="664548"/>
                      <a:pt x="363398" y="669906"/>
                      <a:pt x="365051" y="675491"/>
                    </a:cubicBezTo>
                    <a:cubicBezTo>
                      <a:pt x="371207" y="681191"/>
                      <a:pt x="381352" y="679139"/>
                      <a:pt x="388476" y="674693"/>
                    </a:cubicBezTo>
                    <a:cubicBezTo>
                      <a:pt x="395600" y="670248"/>
                      <a:pt x="401585" y="663807"/>
                      <a:pt x="409450" y="660901"/>
                    </a:cubicBezTo>
                    <a:cubicBezTo>
                      <a:pt x="426549" y="654631"/>
                      <a:pt x="443647" y="666600"/>
                      <a:pt x="460062" y="674123"/>
                    </a:cubicBezTo>
                    <a:cubicBezTo>
                      <a:pt x="497792" y="692305"/>
                      <a:pt x="542191" y="690424"/>
                      <a:pt x="581802" y="704046"/>
                    </a:cubicBezTo>
                    <a:cubicBezTo>
                      <a:pt x="588072" y="706154"/>
                      <a:pt x="595310" y="710543"/>
                      <a:pt x="594512" y="717040"/>
                    </a:cubicBezTo>
                    <a:cubicBezTo>
                      <a:pt x="582629" y="719702"/>
                      <a:pt x="571874" y="725994"/>
                      <a:pt x="563735" y="735051"/>
                    </a:cubicBezTo>
                    <a:cubicBezTo>
                      <a:pt x="567041" y="747419"/>
                      <a:pt x="582828" y="750439"/>
                      <a:pt x="595595" y="751123"/>
                    </a:cubicBezTo>
                    <a:cubicBezTo>
                      <a:pt x="622440" y="752605"/>
                      <a:pt x="650937" y="753688"/>
                      <a:pt x="674362" y="740522"/>
                    </a:cubicBezTo>
                    <a:cubicBezTo>
                      <a:pt x="677001" y="738613"/>
                      <a:pt x="680118" y="737467"/>
                      <a:pt x="683367" y="737217"/>
                    </a:cubicBezTo>
                    <a:cubicBezTo>
                      <a:pt x="689066" y="737217"/>
                      <a:pt x="692771" y="742916"/>
                      <a:pt x="696533" y="747533"/>
                    </a:cubicBezTo>
                    <a:cubicBezTo>
                      <a:pt x="700294" y="752149"/>
                      <a:pt x="707932" y="755170"/>
                      <a:pt x="711237" y="750553"/>
                    </a:cubicBezTo>
                    <a:cubicBezTo>
                      <a:pt x="715905" y="756298"/>
                      <a:pt x="719445" y="762870"/>
                      <a:pt x="721667" y="769931"/>
                    </a:cubicBezTo>
                    <a:lnTo>
                      <a:pt x="710610" y="775175"/>
                    </a:lnTo>
                    <a:cubicBezTo>
                      <a:pt x="715478" y="783154"/>
                      <a:pt x="724067" y="788119"/>
                      <a:pt x="733408" y="788341"/>
                    </a:cubicBezTo>
                    <a:cubicBezTo>
                      <a:pt x="735272" y="781490"/>
                      <a:pt x="741849" y="777016"/>
                      <a:pt x="748911" y="777797"/>
                    </a:cubicBezTo>
                    <a:lnTo>
                      <a:pt x="729704" y="752491"/>
                    </a:lnTo>
                    <a:cubicBezTo>
                      <a:pt x="726455" y="748216"/>
                      <a:pt x="723149" y="742061"/>
                      <a:pt x="726626" y="737957"/>
                    </a:cubicBezTo>
                    <a:cubicBezTo>
                      <a:pt x="749082" y="737957"/>
                      <a:pt x="767434" y="713507"/>
                      <a:pt x="789320" y="717496"/>
                    </a:cubicBezTo>
                    <a:cubicBezTo>
                      <a:pt x="799294" y="719320"/>
                      <a:pt x="807159" y="726672"/>
                      <a:pt x="815766" y="732087"/>
                    </a:cubicBezTo>
                    <a:cubicBezTo>
                      <a:pt x="824372" y="737501"/>
                      <a:pt x="836056" y="740978"/>
                      <a:pt x="844263" y="734937"/>
                    </a:cubicBezTo>
                    <a:cubicBezTo>
                      <a:pt x="840957" y="747305"/>
                      <a:pt x="859025" y="754714"/>
                      <a:pt x="871279" y="751009"/>
                    </a:cubicBezTo>
                    <a:cubicBezTo>
                      <a:pt x="883532" y="747305"/>
                      <a:pt x="894931" y="738413"/>
                      <a:pt x="907641" y="740237"/>
                    </a:cubicBezTo>
                    <a:cubicBezTo>
                      <a:pt x="915506" y="741377"/>
                      <a:pt x="922289" y="744569"/>
                      <a:pt x="929812" y="741947"/>
                    </a:cubicBezTo>
                    <a:cubicBezTo>
                      <a:pt x="937335" y="739325"/>
                      <a:pt x="941895" y="728268"/>
                      <a:pt x="935512" y="723196"/>
                    </a:cubicBezTo>
                    <a:cubicBezTo>
                      <a:pt x="941650" y="717798"/>
                      <a:pt x="949629" y="714966"/>
                      <a:pt x="957797" y="715274"/>
                    </a:cubicBezTo>
                    <a:cubicBezTo>
                      <a:pt x="959575" y="718038"/>
                      <a:pt x="959831" y="721514"/>
                      <a:pt x="958480" y="724507"/>
                    </a:cubicBezTo>
                    <a:cubicBezTo>
                      <a:pt x="964180" y="726046"/>
                      <a:pt x="969879" y="723937"/>
                      <a:pt x="975978" y="724507"/>
                    </a:cubicBezTo>
                    <a:cubicBezTo>
                      <a:pt x="982076" y="725077"/>
                      <a:pt x="988403" y="730206"/>
                      <a:pt x="986009" y="735621"/>
                    </a:cubicBezTo>
                    <a:cubicBezTo>
                      <a:pt x="984014" y="740066"/>
                      <a:pt x="977973" y="740294"/>
                      <a:pt x="973128" y="739895"/>
                    </a:cubicBezTo>
                    <a:lnTo>
                      <a:pt x="977232" y="756082"/>
                    </a:lnTo>
                    <a:lnTo>
                      <a:pt x="984983" y="756082"/>
                    </a:lnTo>
                    <a:cubicBezTo>
                      <a:pt x="986345" y="762021"/>
                      <a:pt x="989508" y="767395"/>
                      <a:pt x="994045" y="771470"/>
                    </a:cubicBezTo>
                    <a:cubicBezTo>
                      <a:pt x="998947" y="775061"/>
                      <a:pt x="1007382" y="774320"/>
                      <a:pt x="1009491" y="768621"/>
                    </a:cubicBezTo>
                    <a:cubicBezTo>
                      <a:pt x="1013423" y="758134"/>
                      <a:pt x="993304" y="747704"/>
                      <a:pt x="1000030" y="738698"/>
                    </a:cubicBezTo>
                    <a:cubicBezTo>
                      <a:pt x="1002281" y="736407"/>
                      <a:pt x="1005228" y="734925"/>
                      <a:pt x="1008408" y="734481"/>
                    </a:cubicBezTo>
                    <a:cubicBezTo>
                      <a:pt x="1020627" y="730953"/>
                      <a:pt x="1031622" y="724079"/>
                      <a:pt x="1040154" y="714647"/>
                    </a:cubicBezTo>
                    <a:cubicBezTo>
                      <a:pt x="1043528" y="711637"/>
                      <a:pt x="1045329" y="707249"/>
                      <a:pt x="1045055" y="702735"/>
                    </a:cubicBezTo>
                    <a:cubicBezTo>
                      <a:pt x="1043916" y="697035"/>
                      <a:pt x="1037646" y="694527"/>
                      <a:pt x="1033657" y="690481"/>
                    </a:cubicBezTo>
                    <a:cubicBezTo>
                      <a:pt x="1029667" y="686434"/>
                      <a:pt x="1030750" y="676859"/>
                      <a:pt x="1036335" y="677999"/>
                    </a:cubicBezTo>
                    <a:cubicBezTo>
                      <a:pt x="1034745" y="672938"/>
                      <a:pt x="1029735" y="669758"/>
                      <a:pt x="1024480" y="670476"/>
                    </a:cubicBezTo>
                    <a:cubicBezTo>
                      <a:pt x="1025506" y="665973"/>
                      <a:pt x="1020662" y="662097"/>
                      <a:pt x="1016045" y="661585"/>
                    </a:cubicBezTo>
                    <a:cubicBezTo>
                      <a:pt x="1011429" y="661072"/>
                      <a:pt x="1006869" y="662496"/>
                      <a:pt x="1002309" y="662154"/>
                    </a:cubicBezTo>
                    <a:cubicBezTo>
                      <a:pt x="995350" y="661009"/>
                      <a:pt x="988910" y="657766"/>
                      <a:pt x="983843" y="652864"/>
                    </a:cubicBezTo>
                    <a:cubicBezTo>
                      <a:pt x="978571" y="649690"/>
                      <a:pt x="974935" y="644389"/>
                      <a:pt x="973869" y="638331"/>
                    </a:cubicBezTo>
                    <a:cubicBezTo>
                      <a:pt x="973869" y="632289"/>
                      <a:pt x="982589" y="626932"/>
                      <a:pt x="986009" y="632175"/>
                    </a:cubicBezTo>
                    <a:cubicBezTo>
                      <a:pt x="989144" y="628813"/>
                      <a:pt x="986579" y="623170"/>
                      <a:pt x="982988" y="620320"/>
                    </a:cubicBezTo>
                    <a:cubicBezTo>
                      <a:pt x="979398" y="617471"/>
                      <a:pt x="974781" y="615533"/>
                      <a:pt x="972501" y="611543"/>
                    </a:cubicBezTo>
                    <a:cubicBezTo>
                      <a:pt x="969925" y="604880"/>
                      <a:pt x="973242" y="597386"/>
                      <a:pt x="979905" y="594809"/>
                    </a:cubicBezTo>
                    <a:cubicBezTo>
                      <a:pt x="980264" y="594673"/>
                      <a:pt x="980623" y="594553"/>
                      <a:pt x="980993" y="594445"/>
                    </a:cubicBezTo>
                    <a:cubicBezTo>
                      <a:pt x="988312" y="592843"/>
                      <a:pt x="995966" y="594553"/>
                      <a:pt x="1001910" y="599118"/>
                    </a:cubicBezTo>
                    <a:cubicBezTo>
                      <a:pt x="1008750" y="595186"/>
                      <a:pt x="994729" y="585155"/>
                      <a:pt x="998092" y="578030"/>
                    </a:cubicBezTo>
                    <a:cubicBezTo>
                      <a:pt x="999243" y="576349"/>
                      <a:pt x="1000714" y="574918"/>
                      <a:pt x="1002423" y="573813"/>
                    </a:cubicBezTo>
                    <a:cubicBezTo>
                      <a:pt x="1009947" y="567600"/>
                      <a:pt x="1009776" y="555802"/>
                      <a:pt x="1006356" y="546683"/>
                    </a:cubicBezTo>
                    <a:cubicBezTo>
                      <a:pt x="1002936" y="537564"/>
                      <a:pt x="997123" y="529585"/>
                      <a:pt x="994957" y="519725"/>
                    </a:cubicBezTo>
                    <a:cubicBezTo>
                      <a:pt x="991594" y="504108"/>
                      <a:pt x="999061" y="488378"/>
                      <a:pt x="1006356" y="474129"/>
                    </a:cubicBezTo>
                    <a:cubicBezTo>
                      <a:pt x="1021300" y="468613"/>
                      <a:pt x="1037361" y="466833"/>
                      <a:pt x="1053149" y="468942"/>
                    </a:cubicBezTo>
                    <a:cubicBezTo>
                      <a:pt x="1071672" y="471735"/>
                      <a:pt x="1090309" y="480854"/>
                      <a:pt x="1108377" y="475782"/>
                    </a:cubicBezTo>
                    <a:lnTo>
                      <a:pt x="1104729" y="480968"/>
                    </a:lnTo>
                    <a:cubicBezTo>
                      <a:pt x="1097251" y="490249"/>
                      <a:pt x="1091968" y="501102"/>
                      <a:pt x="1089283" y="512714"/>
                    </a:cubicBezTo>
                    <a:cubicBezTo>
                      <a:pt x="1077885" y="512714"/>
                      <a:pt x="1076973" y="536139"/>
                      <a:pt x="1066087" y="533688"/>
                    </a:cubicBezTo>
                    <a:cubicBezTo>
                      <a:pt x="1063408" y="532641"/>
                      <a:pt x="1061020" y="530959"/>
                      <a:pt x="1059133" y="528787"/>
                    </a:cubicBezTo>
                    <a:cubicBezTo>
                      <a:pt x="1049763" y="520921"/>
                      <a:pt x="1036233" y="520473"/>
                      <a:pt x="1026361" y="527704"/>
                    </a:cubicBezTo>
                    <a:cubicBezTo>
                      <a:pt x="1031462" y="528355"/>
                      <a:pt x="1036261" y="530496"/>
                      <a:pt x="1040154" y="533859"/>
                    </a:cubicBezTo>
                    <a:cubicBezTo>
                      <a:pt x="1043682" y="537273"/>
                      <a:pt x="1043773" y="542904"/>
                      <a:pt x="1040353" y="546432"/>
                    </a:cubicBezTo>
                    <a:cubicBezTo>
                      <a:pt x="1040114" y="546683"/>
                      <a:pt x="1039852" y="546917"/>
                      <a:pt x="1039584" y="547139"/>
                    </a:cubicBezTo>
                    <a:cubicBezTo>
                      <a:pt x="1029023" y="551528"/>
                      <a:pt x="1022115" y="561810"/>
                      <a:pt x="1022030" y="573243"/>
                    </a:cubicBezTo>
                    <a:cubicBezTo>
                      <a:pt x="1028641" y="571413"/>
                      <a:pt x="1035725" y="572832"/>
                      <a:pt x="1041123" y="577061"/>
                    </a:cubicBezTo>
                    <a:cubicBezTo>
                      <a:pt x="1046589" y="580338"/>
                      <a:pt x="1050772" y="585388"/>
                      <a:pt x="1052978" y="591367"/>
                    </a:cubicBezTo>
                    <a:cubicBezTo>
                      <a:pt x="1055024" y="597500"/>
                      <a:pt x="1053154" y="604259"/>
                      <a:pt x="1048247" y="608465"/>
                    </a:cubicBezTo>
                    <a:cubicBezTo>
                      <a:pt x="1059464" y="615060"/>
                      <a:pt x="1070310" y="622275"/>
                      <a:pt x="1080734" y="630066"/>
                    </a:cubicBezTo>
                    <a:cubicBezTo>
                      <a:pt x="1084496" y="632859"/>
                      <a:pt x="1088656" y="637533"/>
                      <a:pt x="1086434" y="641465"/>
                    </a:cubicBezTo>
                    <a:cubicBezTo>
                      <a:pt x="1080335" y="640901"/>
                      <a:pt x="1074744" y="644908"/>
                      <a:pt x="1073325" y="650869"/>
                    </a:cubicBezTo>
                    <a:cubicBezTo>
                      <a:pt x="1072157" y="656666"/>
                      <a:pt x="1072453" y="662656"/>
                      <a:pt x="1074180" y="668310"/>
                    </a:cubicBezTo>
                    <a:cubicBezTo>
                      <a:pt x="1088206" y="661111"/>
                      <a:pt x="1105379" y="664998"/>
                      <a:pt x="1114931" y="677543"/>
                    </a:cubicBezTo>
                    <a:cubicBezTo>
                      <a:pt x="1104689" y="677788"/>
                      <a:pt x="1095644" y="684280"/>
                      <a:pt x="1092133" y="693901"/>
                    </a:cubicBezTo>
                    <a:lnTo>
                      <a:pt x="1103532" y="694698"/>
                    </a:lnTo>
                    <a:cubicBezTo>
                      <a:pt x="1106000" y="702507"/>
                      <a:pt x="1107100" y="710680"/>
                      <a:pt x="1106781" y="718864"/>
                    </a:cubicBezTo>
                    <a:lnTo>
                      <a:pt x="1119833" y="719548"/>
                    </a:lnTo>
                    <a:cubicBezTo>
                      <a:pt x="1115558" y="707465"/>
                      <a:pt x="1124449" y="695040"/>
                      <a:pt x="1132827" y="685351"/>
                    </a:cubicBezTo>
                    <a:cubicBezTo>
                      <a:pt x="1133506" y="684422"/>
                      <a:pt x="1134406" y="683676"/>
                      <a:pt x="1135449" y="683185"/>
                    </a:cubicBezTo>
                    <a:cubicBezTo>
                      <a:pt x="1137165" y="682861"/>
                      <a:pt x="1138943" y="683203"/>
                      <a:pt x="1140408" y="684154"/>
                    </a:cubicBezTo>
                    <a:cubicBezTo>
                      <a:pt x="1154599" y="691108"/>
                      <a:pt x="1170501" y="703248"/>
                      <a:pt x="1167366" y="718693"/>
                    </a:cubicBezTo>
                    <a:cubicBezTo>
                      <a:pt x="1158766" y="719656"/>
                      <a:pt x="1152570" y="727413"/>
                      <a:pt x="1153539" y="736020"/>
                    </a:cubicBezTo>
                    <a:cubicBezTo>
                      <a:pt x="1153813" y="738436"/>
                      <a:pt x="1154639" y="740762"/>
                      <a:pt x="1155967" y="742802"/>
                    </a:cubicBezTo>
                    <a:cubicBezTo>
                      <a:pt x="1158019" y="745310"/>
                      <a:pt x="1160812" y="747134"/>
                      <a:pt x="1162921" y="749641"/>
                    </a:cubicBezTo>
                    <a:cubicBezTo>
                      <a:pt x="1165708" y="754195"/>
                      <a:pt x="1168056" y="759006"/>
                      <a:pt x="1169931" y="764004"/>
                    </a:cubicBezTo>
                    <a:cubicBezTo>
                      <a:pt x="1172496" y="768735"/>
                      <a:pt x="1178081" y="772838"/>
                      <a:pt x="1182983" y="770615"/>
                    </a:cubicBezTo>
                    <a:lnTo>
                      <a:pt x="1184693" y="759786"/>
                    </a:lnTo>
                    <a:cubicBezTo>
                      <a:pt x="1191395" y="761975"/>
                      <a:pt x="1198605" y="758310"/>
                      <a:pt x="1200788" y="751608"/>
                    </a:cubicBezTo>
                    <a:cubicBezTo>
                      <a:pt x="1201289" y="750075"/>
                      <a:pt x="1201495" y="748456"/>
                      <a:pt x="1201392" y="746849"/>
                    </a:cubicBezTo>
                    <a:cubicBezTo>
                      <a:pt x="1192336" y="747225"/>
                      <a:pt x="1184687" y="740192"/>
                      <a:pt x="1184305" y="731135"/>
                    </a:cubicBezTo>
                    <a:cubicBezTo>
                      <a:pt x="1184299" y="730879"/>
                      <a:pt x="1184294" y="730628"/>
                      <a:pt x="1184294" y="730377"/>
                    </a:cubicBezTo>
                    <a:cubicBezTo>
                      <a:pt x="1192421" y="732554"/>
                      <a:pt x="1200212" y="735854"/>
                      <a:pt x="1207433" y="740180"/>
                    </a:cubicBezTo>
                    <a:cubicBezTo>
                      <a:pt x="1205541" y="735381"/>
                      <a:pt x="1206584" y="729921"/>
                      <a:pt x="1210112" y="726160"/>
                    </a:cubicBezTo>
                    <a:cubicBezTo>
                      <a:pt x="1212056" y="724661"/>
                      <a:pt x="1213828" y="722962"/>
                      <a:pt x="1215413" y="721087"/>
                    </a:cubicBezTo>
                    <a:cubicBezTo>
                      <a:pt x="1217750" y="717553"/>
                      <a:pt x="1216895" y="712937"/>
                      <a:pt x="1217864" y="708890"/>
                    </a:cubicBezTo>
                    <a:cubicBezTo>
                      <a:pt x="1218832" y="704843"/>
                      <a:pt x="1224190" y="701139"/>
                      <a:pt x="1226869" y="704274"/>
                    </a:cubicBezTo>
                    <a:cubicBezTo>
                      <a:pt x="1228544" y="698927"/>
                      <a:pt x="1232848" y="694818"/>
                      <a:pt x="1238268" y="693388"/>
                    </a:cubicBezTo>
                    <a:cubicBezTo>
                      <a:pt x="1237926" y="686833"/>
                      <a:pt x="1230972" y="683072"/>
                      <a:pt x="1225159" y="680051"/>
                    </a:cubicBezTo>
                    <a:cubicBezTo>
                      <a:pt x="1219345" y="677030"/>
                      <a:pt x="1213019" y="671274"/>
                      <a:pt x="1214957" y="665574"/>
                    </a:cubicBezTo>
                    <a:cubicBezTo>
                      <a:pt x="1232340" y="664377"/>
                      <a:pt x="1249781" y="663522"/>
                      <a:pt x="1267164" y="663009"/>
                    </a:cubicBezTo>
                    <a:cubicBezTo>
                      <a:pt x="1269717" y="662639"/>
                      <a:pt x="1272322" y="663118"/>
                      <a:pt x="1274573" y="664377"/>
                    </a:cubicBezTo>
                    <a:cubicBezTo>
                      <a:pt x="1277138" y="666144"/>
                      <a:pt x="1277936" y="669621"/>
                      <a:pt x="1279874" y="672129"/>
                    </a:cubicBezTo>
                    <a:cubicBezTo>
                      <a:pt x="1283750" y="677144"/>
                      <a:pt x="1291273" y="677201"/>
                      <a:pt x="1296972" y="679994"/>
                    </a:cubicBezTo>
                    <a:cubicBezTo>
                      <a:pt x="1302672" y="682787"/>
                      <a:pt x="1305123" y="693217"/>
                      <a:pt x="1298853" y="694186"/>
                    </a:cubicBezTo>
                    <a:cubicBezTo>
                      <a:pt x="1305772" y="698016"/>
                      <a:pt x="1311027" y="704268"/>
                      <a:pt x="1313615" y="711740"/>
                    </a:cubicBezTo>
                    <a:lnTo>
                      <a:pt x="1278050" y="711740"/>
                    </a:lnTo>
                    <a:lnTo>
                      <a:pt x="1301133" y="749812"/>
                    </a:lnTo>
                    <a:cubicBezTo>
                      <a:pt x="1303014" y="752212"/>
                      <a:pt x="1303966" y="755204"/>
                      <a:pt x="1303812" y="758248"/>
                    </a:cubicBezTo>
                    <a:cubicBezTo>
                      <a:pt x="1303179" y="760619"/>
                      <a:pt x="1301851" y="762744"/>
                      <a:pt x="1299993" y="764346"/>
                    </a:cubicBezTo>
                    <a:cubicBezTo>
                      <a:pt x="1290247" y="774371"/>
                      <a:pt x="1279429" y="783297"/>
                      <a:pt x="1267734" y="790963"/>
                    </a:cubicBezTo>
                    <a:cubicBezTo>
                      <a:pt x="1271097" y="794895"/>
                      <a:pt x="1264143" y="800595"/>
                      <a:pt x="1259470" y="798372"/>
                    </a:cubicBezTo>
                    <a:cubicBezTo>
                      <a:pt x="1254796" y="796149"/>
                      <a:pt x="1253029" y="790621"/>
                      <a:pt x="1251319" y="785719"/>
                    </a:cubicBezTo>
                    <a:cubicBezTo>
                      <a:pt x="1250054" y="779923"/>
                      <a:pt x="1246270" y="774993"/>
                      <a:pt x="1241003" y="772268"/>
                    </a:cubicBezTo>
                    <a:cubicBezTo>
                      <a:pt x="1235304" y="770273"/>
                      <a:pt x="1227952" y="775745"/>
                      <a:pt x="1230402" y="781045"/>
                    </a:cubicBezTo>
                    <a:cubicBezTo>
                      <a:pt x="1240890" y="778652"/>
                      <a:pt x="1250180" y="793812"/>
                      <a:pt x="1243283" y="802076"/>
                    </a:cubicBezTo>
                    <a:cubicBezTo>
                      <a:pt x="1236387" y="810341"/>
                      <a:pt x="1219801" y="803957"/>
                      <a:pt x="1220485" y="793185"/>
                    </a:cubicBezTo>
                    <a:cubicBezTo>
                      <a:pt x="1215099" y="788763"/>
                      <a:pt x="1208460" y="786129"/>
                      <a:pt x="1201506" y="785662"/>
                    </a:cubicBezTo>
                    <a:cubicBezTo>
                      <a:pt x="1194610" y="785662"/>
                      <a:pt x="1187599" y="792672"/>
                      <a:pt x="1189822" y="799227"/>
                    </a:cubicBezTo>
                    <a:cubicBezTo>
                      <a:pt x="1192045" y="805781"/>
                      <a:pt x="1201620" y="806864"/>
                      <a:pt x="1208972" y="806294"/>
                    </a:cubicBezTo>
                    <a:lnTo>
                      <a:pt x="1197801" y="819460"/>
                    </a:lnTo>
                    <a:cubicBezTo>
                      <a:pt x="1190050" y="828579"/>
                      <a:pt x="1180361" y="838553"/>
                      <a:pt x="1168449" y="837356"/>
                    </a:cubicBezTo>
                    <a:cubicBezTo>
                      <a:pt x="1150781" y="835475"/>
                      <a:pt x="1138812" y="809429"/>
                      <a:pt x="1122055" y="815470"/>
                    </a:cubicBezTo>
                    <a:cubicBezTo>
                      <a:pt x="1119650" y="819847"/>
                      <a:pt x="1120625" y="825308"/>
                      <a:pt x="1124392" y="828579"/>
                    </a:cubicBezTo>
                    <a:cubicBezTo>
                      <a:pt x="1128160" y="831651"/>
                      <a:pt x="1132588" y="833794"/>
                      <a:pt x="1137330" y="834848"/>
                    </a:cubicBezTo>
                    <a:lnTo>
                      <a:pt x="1180817" y="848014"/>
                    </a:lnTo>
                    <a:lnTo>
                      <a:pt x="1170672" y="863061"/>
                    </a:lnTo>
                    <a:cubicBezTo>
                      <a:pt x="1164061" y="872978"/>
                      <a:pt x="1155397" y="883978"/>
                      <a:pt x="1143485" y="883864"/>
                    </a:cubicBezTo>
                    <a:cubicBezTo>
                      <a:pt x="1141023" y="883733"/>
                      <a:pt x="1138584" y="883368"/>
                      <a:pt x="1136190" y="882781"/>
                    </a:cubicBezTo>
                    <a:lnTo>
                      <a:pt x="1119092" y="879076"/>
                    </a:lnTo>
                    <a:cubicBezTo>
                      <a:pt x="1126045" y="884776"/>
                      <a:pt x="1121144" y="896973"/>
                      <a:pt x="1112822" y="899879"/>
                    </a:cubicBezTo>
                    <a:cubicBezTo>
                      <a:pt x="1104501" y="902786"/>
                      <a:pt x="1095325" y="899423"/>
                      <a:pt x="1087118" y="896118"/>
                    </a:cubicBezTo>
                    <a:lnTo>
                      <a:pt x="1075320" y="891387"/>
                    </a:lnTo>
                    <a:cubicBezTo>
                      <a:pt x="1069039" y="888435"/>
                      <a:pt x="1062285" y="886622"/>
                      <a:pt x="1055372" y="886030"/>
                    </a:cubicBezTo>
                    <a:cubicBezTo>
                      <a:pt x="1048350" y="885534"/>
                      <a:pt x="1041584" y="888783"/>
                      <a:pt x="1037589" y="894579"/>
                    </a:cubicBezTo>
                    <a:cubicBezTo>
                      <a:pt x="1050236" y="892470"/>
                      <a:pt x="1063151" y="896272"/>
                      <a:pt x="1072641" y="904895"/>
                    </a:cubicBezTo>
                    <a:lnTo>
                      <a:pt x="1103190" y="914299"/>
                    </a:lnTo>
                    <a:cubicBezTo>
                      <a:pt x="1105014" y="923247"/>
                      <a:pt x="1093501" y="928434"/>
                      <a:pt x="1084496" y="929802"/>
                    </a:cubicBezTo>
                    <a:cubicBezTo>
                      <a:pt x="1075491" y="931170"/>
                      <a:pt x="1063807" y="935045"/>
                      <a:pt x="1064206" y="944107"/>
                    </a:cubicBezTo>
                    <a:cubicBezTo>
                      <a:pt x="1051713" y="951767"/>
                      <a:pt x="1041020" y="962032"/>
                      <a:pt x="1032859" y="974201"/>
                    </a:cubicBezTo>
                    <a:cubicBezTo>
                      <a:pt x="1020434" y="990615"/>
                      <a:pt x="1014962" y="1011247"/>
                      <a:pt x="1011771" y="1031537"/>
                    </a:cubicBezTo>
                    <a:cubicBezTo>
                      <a:pt x="1009776" y="1043962"/>
                      <a:pt x="1008693" y="1057242"/>
                      <a:pt x="1014107" y="1068584"/>
                    </a:cubicBezTo>
                    <a:cubicBezTo>
                      <a:pt x="1019522" y="1079926"/>
                      <a:pt x="1033657" y="1087962"/>
                      <a:pt x="1044998" y="1082491"/>
                    </a:cubicBezTo>
                    <a:cubicBezTo>
                      <a:pt x="1056397" y="1103579"/>
                      <a:pt x="1067796" y="1128086"/>
                      <a:pt x="1059190" y="1150428"/>
                    </a:cubicBezTo>
                    <a:cubicBezTo>
                      <a:pt x="1081190" y="1133803"/>
                      <a:pt x="1111472" y="1133501"/>
                      <a:pt x="1133796" y="1149687"/>
                    </a:cubicBezTo>
                    <a:cubicBezTo>
                      <a:pt x="1140237" y="1154532"/>
                      <a:pt x="1145651" y="1160573"/>
                      <a:pt x="1152092" y="1165418"/>
                    </a:cubicBezTo>
                    <a:cubicBezTo>
                      <a:pt x="1156902" y="1168917"/>
                      <a:pt x="1162037" y="1171949"/>
                      <a:pt x="1167423" y="1174480"/>
                    </a:cubicBezTo>
                    <a:cubicBezTo>
                      <a:pt x="1203655" y="1192633"/>
                      <a:pt x="1243414" y="1202670"/>
                      <a:pt x="1283920" y="1203889"/>
                    </a:cubicBezTo>
                    <a:lnTo>
                      <a:pt x="1285801" y="1270003"/>
                    </a:lnTo>
                    <a:cubicBezTo>
                      <a:pt x="1285801" y="1278211"/>
                      <a:pt x="1286770" y="1287444"/>
                      <a:pt x="1293040" y="1292801"/>
                    </a:cubicBezTo>
                    <a:cubicBezTo>
                      <a:pt x="1296642" y="1295172"/>
                      <a:pt x="1300455" y="1297190"/>
                      <a:pt x="1304439" y="1298843"/>
                    </a:cubicBezTo>
                    <a:cubicBezTo>
                      <a:pt x="1313102" y="1303687"/>
                      <a:pt x="1318288" y="1312806"/>
                      <a:pt x="1324273" y="1320786"/>
                    </a:cubicBezTo>
                    <a:cubicBezTo>
                      <a:pt x="1330257" y="1328765"/>
                      <a:pt x="1338863" y="1336345"/>
                      <a:pt x="1348781" y="1335547"/>
                    </a:cubicBezTo>
                    <a:cubicBezTo>
                      <a:pt x="1349989" y="1327676"/>
                      <a:pt x="1357347" y="1322273"/>
                      <a:pt x="1365218" y="1323476"/>
                    </a:cubicBezTo>
                    <a:cubicBezTo>
                      <a:pt x="1366124" y="1323618"/>
                      <a:pt x="1367013" y="1323840"/>
                      <a:pt x="1367874" y="1324148"/>
                    </a:cubicBezTo>
                    <a:cubicBezTo>
                      <a:pt x="1367190" y="1317480"/>
                      <a:pt x="1366449" y="1310811"/>
                      <a:pt x="1365708" y="1304200"/>
                    </a:cubicBezTo>
                    <a:cubicBezTo>
                      <a:pt x="1370495" y="1307221"/>
                      <a:pt x="1375397" y="1299071"/>
                      <a:pt x="1373231" y="1293770"/>
                    </a:cubicBezTo>
                    <a:cubicBezTo>
                      <a:pt x="1371065" y="1288469"/>
                      <a:pt x="1365879" y="1284879"/>
                      <a:pt x="1364226" y="1279464"/>
                    </a:cubicBezTo>
                    <a:cubicBezTo>
                      <a:pt x="1363485" y="1275492"/>
                      <a:pt x="1363485" y="1271411"/>
                      <a:pt x="1364226" y="1267439"/>
                    </a:cubicBezTo>
                    <a:cubicBezTo>
                      <a:pt x="1365566" y="1250300"/>
                      <a:pt x="1358965" y="1233498"/>
                      <a:pt x="1346330" y="1221843"/>
                    </a:cubicBezTo>
                    <a:lnTo>
                      <a:pt x="1406801" y="1178185"/>
                    </a:lnTo>
                    <a:cubicBezTo>
                      <a:pt x="1411247" y="1175506"/>
                      <a:pt x="1414997" y="1171813"/>
                      <a:pt x="1417744" y="1167413"/>
                    </a:cubicBezTo>
                    <a:cubicBezTo>
                      <a:pt x="1419505" y="1163577"/>
                      <a:pt x="1420343" y="1159376"/>
                      <a:pt x="1420195" y="1155159"/>
                    </a:cubicBezTo>
                    <a:cubicBezTo>
                      <a:pt x="1420303" y="1141680"/>
                      <a:pt x="1416798" y="1128417"/>
                      <a:pt x="1410050" y="1116744"/>
                    </a:cubicBezTo>
                    <a:cubicBezTo>
                      <a:pt x="1407058" y="1112487"/>
                      <a:pt x="1404732" y="1107796"/>
                      <a:pt x="1403153" y="1102838"/>
                    </a:cubicBezTo>
                    <a:cubicBezTo>
                      <a:pt x="1401273" y="1094459"/>
                      <a:pt x="1405034" y="1084770"/>
                      <a:pt x="1400418" y="1077475"/>
                    </a:cubicBezTo>
                    <a:cubicBezTo>
                      <a:pt x="1397454" y="1072801"/>
                      <a:pt x="1391869" y="1070693"/>
                      <a:pt x="1387594" y="1067216"/>
                    </a:cubicBezTo>
                    <a:cubicBezTo>
                      <a:pt x="1383319" y="1063739"/>
                      <a:pt x="1380355" y="1056843"/>
                      <a:pt x="1384288" y="1052910"/>
                    </a:cubicBezTo>
                    <a:cubicBezTo>
                      <a:pt x="1386910" y="1050232"/>
                      <a:pt x="1391356" y="1050460"/>
                      <a:pt x="1394718" y="1048693"/>
                    </a:cubicBezTo>
                    <a:cubicBezTo>
                      <a:pt x="1403609" y="1044076"/>
                      <a:pt x="1399620" y="1030226"/>
                      <a:pt x="1392951" y="1022703"/>
                    </a:cubicBezTo>
                    <a:cubicBezTo>
                      <a:pt x="1386283" y="1015180"/>
                      <a:pt x="1377335" y="1006631"/>
                      <a:pt x="1380184" y="996998"/>
                    </a:cubicBezTo>
                    <a:cubicBezTo>
                      <a:pt x="1384847" y="997511"/>
                      <a:pt x="1389566" y="996867"/>
                      <a:pt x="1393920" y="995118"/>
                    </a:cubicBezTo>
                    <a:cubicBezTo>
                      <a:pt x="1398280" y="993174"/>
                      <a:pt x="1400543" y="988307"/>
                      <a:pt x="1399221" y="983719"/>
                    </a:cubicBezTo>
                    <a:cubicBezTo>
                      <a:pt x="1396713" y="978019"/>
                      <a:pt x="1388449" y="978019"/>
                      <a:pt x="1383718" y="974087"/>
                    </a:cubicBezTo>
                    <a:cubicBezTo>
                      <a:pt x="1376138" y="967589"/>
                      <a:pt x="1381153" y="955278"/>
                      <a:pt x="1386568" y="946900"/>
                    </a:cubicBezTo>
                    <a:cubicBezTo>
                      <a:pt x="1409497" y="948194"/>
                      <a:pt x="1432255" y="951591"/>
                      <a:pt x="1454563" y="957045"/>
                    </a:cubicBezTo>
                    <a:cubicBezTo>
                      <a:pt x="1460028" y="958208"/>
                      <a:pt x="1465301" y="960129"/>
                      <a:pt x="1470236" y="962745"/>
                    </a:cubicBezTo>
                    <a:cubicBezTo>
                      <a:pt x="1482034" y="969413"/>
                      <a:pt x="1488645" y="982465"/>
                      <a:pt x="1499133" y="991242"/>
                    </a:cubicBezTo>
                    <a:cubicBezTo>
                      <a:pt x="1516687" y="1005605"/>
                      <a:pt x="1541708" y="1005149"/>
                      <a:pt x="1564335" y="1003952"/>
                    </a:cubicBezTo>
                    <a:cubicBezTo>
                      <a:pt x="1569578" y="1010278"/>
                      <a:pt x="1559490" y="1017688"/>
                      <a:pt x="1555614" y="1024983"/>
                    </a:cubicBezTo>
                    <a:cubicBezTo>
                      <a:pt x="1550941" y="1033703"/>
                      <a:pt x="1556013" y="1044247"/>
                      <a:pt x="1561314" y="1052739"/>
                    </a:cubicBezTo>
                    <a:cubicBezTo>
                      <a:pt x="1567013" y="1062827"/>
                      <a:pt x="1573910" y="1073599"/>
                      <a:pt x="1584739" y="1077988"/>
                    </a:cubicBezTo>
                    <a:cubicBezTo>
                      <a:pt x="1589013" y="1079037"/>
                      <a:pt x="1593049" y="1080872"/>
                      <a:pt x="1596651" y="1083402"/>
                    </a:cubicBezTo>
                    <a:cubicBezTo>
                      <a:pt x="1600640" y="1087221"/>
                      <a:pt x="1601096" y="1093377"/>
                      <a:pt x="1603604" y="1098278"/>
                    </a:cubicBezTo>
                    <a:cubicBezTo>
                      <a:pt x="1606112" y="1103180"/>
                      <a:pt x="1613920" y="1106371"/>
                      <a:pt x="1616713" y="1101641"/>
                    </a:cubicBezTo>
                    <a:lnTo>
                      <a:pt x="1633811" y="1084200"/>
                    </a:lnTo>
                    <a:cubicBezTo>
                      <a:pt x="1635777" y="1080781"/>
                      <a:pt x="1640029" y="1079419"/>
                      <a:pt x="1643614" y="1081066"/>
                    </a:cubicBezTo>
                    <a:cubicBezTo>
                      <a:pt x="1646008" y="1080724"/>
                      <a:pt x="1649998" y="1080268"/>
                      <a:pt x="1652334" y="1079869"/>
                    </a:cubicBezTo>
                    <a:cubicBezTo>
                      <a:pt x="1657464" y="1063340"/>
                      <a:pt x="1662536" y="1046812"/>
                      <a:pt x="1667666" y="1030283"/>
                    </a:cubicBezTo>
                    <a:cubicBezTo>
                      <a:pt x="1668162" y="1028038"/>
                      <a:pt x="1669404" y="1026026"/>
                      <a:pt x="1671200" y="1024584"/>
                    </a:cubicBezTo>
                    <a:cubicBezTo>
                      <a:pt x="1675132" y="1022133"/>
                      <a:pt x="1680262" y="1026351"/>
                      <a:pt x="1680946" y="1030910"/>
                    </a:cubicBezTo>
                    <a:cubicBezTo>
                      <a:pt x="1681008" y="1035516"/>
                      <a:pt x="1680159" y="1040087"/>
                      <a:pt x="1678438" y="1044361"/>
                    </a:cubicBezTo>
                    <a:cubicBezTo>
                      <a:pt x="1676808" y="1048784"/>
                      <a:pt x="1677948" y="1053748"/>
                      <a:pt x="1681345" y="1057014"/>
                    </a:cubicBezTo>
                    <a:cubicBezTo>
                      <a:pt x="1683112" y="1058211"/>
                      <a:pt x="1685277" y="1058553"/>
                      <a:pt x="1687044" y="1059693"/>
                    </a:cubicBezTo>
                    <a:cubicBezTo>
                      <a:pt x="1692060" y="1062941"/>
                      <a:pt x="1691262" y="1070294"/>
                      <a:pt x="1691889" y="1076221"/>
                    </a:cubicBezTo>
                    <a:cubicBezTo>
                      <a:pt x="1694682" y="1102610"/>
                      <a:pt x="1731329" y="1111330"/>
                      <a:pt x="1742215" y="1135496"/>
                    </a:cubicBezTo>
                    <a:cubicBezTo>
                      <a:pt x="1744062" y="1138659"/>
                      <a:pt x="1744273" y="1142523"/>
                      <a:pt x="1742785" y="1145869"/>
                    </a:cubicBezTo>
                    <a:cubicBezTo>
                      <a:pt x="1737884" y="1154247"/>
                      <a:pt x="1723806" y="1145299"/>
                      <a:pt x="1715485" y="1150200"/>
                    </a:cubicBezTo>
                    <a:cubicBezTo>
                      <a:pt x="1716442" y="1156230"/>
                      <a:pt x="1722102" y="1160345"/>
                      <a:pt x="1728137" y="1159394"/>
                    </a:cubicBezTo>
                    <a:cubicBezTo>
                      <a:pt x="1728776" y="1159291"/>
                      <a:pt x="1729408" y="1159131"/>
                      <a:pt x="1730018" y="1158920"/>
                    </a:cubicBezTo>
                    <a:lnTo>
                      <a:pt x="1730816" y="1167128"/>
                    </a:lnTo>
                    <a:lnTo>
                      <a:pt x="1738682" y="1167128"/>
                    </a:lnTo>
                    <a:cubicBezTo>
                      <a:pt x="1737895" y="1173591"/>
                      <a:pt x="1739343" y="1180128"/>
                      <a:pt x="1742785" y="1185651"/>
                    </a:cubicBezTo>
                    <a:cubicBezTo>
                      <a:pt x="1746461" y="1190849"/>
                      <a:pt x="1751129" y="1195266"/>
                      <a:pt x="1756521" y="1198646"/>
                    </a:cubicBezTo>
                    <a:cubicBezTo>
                      <a:pt x="1776469" y="1212382"/>
                      <a:pt x="1802117" y="1221444"/>
                      <a:pt x="1824914" y="1213521"/>
                    </a:cubicBezTo>
                    <a:cubicBezTo>
                      <a:pt x="1826938" y="1215642"/>
                      <a:pt x="1827679" y="1218685"/>
                      <a:pt x="1826852" y="1221501"/>
                    </a:cubicBezTo>
                    <a:cubicBezTo>
                      <a:pt x="1825821" y="1224208"/>
                      <a:pt x="1823911" y="1226493"/>
                      <a:pt x="1821438" y="1227998"/>
                    </a:cubicBezTo>
                    <a:cubicBezTo>
                      <a:pt x="1812718" y="1233698"/>
                      <a:pt x="1801490" y="1234439"/>
                      <a:pt x="1791687" y="1238371"/>
                    </a:cubicBezTo>
                    <a:cubicBezTo>
                      <a:pt x="1781883" y="1242304"/>
                      <a:pt x="1772935" y="1253247"/>
                      <a:pt x="1777495" y="1262708"/>
                    </a:cubicBezTo>
                    <a:cubicBezTo>
                      <a:pt x="1786836" y="1260434"/>
                      <a:pt x="1795722" y="1256575"/>
                      <a:pt x="1803769" y="1251309"/>
                    </a:cubicBezTo>
                    <a:cubicBezTo>
                      <a:pt x="1814029" y="1244584"/>
                      <a:pt x="1824914" y="1235179"/>
                      <a:pt x="1836769" y="1238143"/>
                    </a:cubicBezTo>
                    <a:lnTo>
                      <a:pt x="1835231" y="1259003"/>
                    </a:lnTo>
                    <a:cubicBezTo>
                      <a:pt x="1841739" y="1260405"/>
                      <a:pt x="1848522" y="1258507"/>
                      <a:pt x="1853355" y="1253931"/>
                    </a:cubicBezTo>
                    <a:cubicBezTo>
                      <a:pt x="1855646" y="1256815"/>
                      <a:pt x="1855897" y="1260816"/>
                      <a:pt x="1853982" y="1263962"/>
                    </a:cubicBezTo>
                    <a:cubicBezTo>
                      <a:pt x="1863420" y="1264230"/>
                      <a:pt x="1870858" y="1272095"/>
                      <a:pt x="1870590" y="1281533"/>
                    </a:cubicBezTo>
                    <a:cubicBezTo>
                      <a:pt x="1870584" y="1281721"/>
                      <a:pt x="1870579" y="1281904"/>
                      <a:pt x="1870567" y="1282086"/>
                    </a:cubicBezTo>
                    <a:lnTo>
                      <a:pt x="1857686" y="1282599"/>
                    </a:lnTo>
                    <a:cubicBezTo>
                      <a:pt x="1857704" y="1289068"/>
                      <a:pt x="1862742" y="1294403"/>
                      <a:pt x="1869199" y="1294796"/>
                    </a:cubicBezTo>
                    <a:close/>
                    <a:moveTo>
                      <a:pt x="521673" y="794724"/>
                    </a:moveTo>
                    <a:cubicBezTo>
                      <a:pt x="521582" y="793299"/>
                      <a:pt x="520898" y="791977"/>
                      <a:pt x="519792" y="791077"/>
                    </a:cubicBezTo>
                    <a:cubicBezTo>
                      <a:pt x="518589" y="790484"/>
                      <a:pt x="517250" y="790227"/>
                      <a:pt x="515916" y="790336"/>
                    </a:cubicBezTo>
                    <a:lnTo>
                      <a:pt x="502409" y="790336"/>
                    </a:lnTo>
                    <a:cubicBezTo>
                      <a:pt x="501559" y="797010"/>
                      <a:pt x="496874" y="802561"/>
                      <a:pt x="490440" y="804527"/>
                    </a:cubicBezTo>
                    <a:cubicBezTo>
                      <a:pt x="484125" y="806402"/>
                      <a:pt x="477445" y="806653"/>
                      <a:pt x="471005" y="805268"/>
                    </a:cubicBezTo>
                    <a:cubicBezTo>
                      <a:pt x="469756" y="805160"/>
                      <a:pt x="468565" y="804687"/>
                      <a:pt x="467585" y="803900"/>
                    </a:cubicBezTo>
                    <a:cubicBezTo>
                      <a:pt x="466810" y="802920"/>
                      <a:pt x="466354" y="801729"/>
                      <a:pt x="466274" y="800481"/>
                    </a:cubicBezTo>
                    <a:cubicBezTo>
                      <a:pt x="465761" y="798001"/>
                      <a:pt x="465761" y="795437"/>
                      <a:pt x="466274" y="792957"/>
                    </a:cubicBezTo>
                    <a:cubicBezTo>
                      <a:pt x="466833" y="790415"/>
                      <a:pt x="468930" y="788495"/>
                      <a:pt x="471517" y="788170"/>
                    </a:cubicBezTo>
                    <a:cubicBezTo>
                      <a:pt x="473341" y="788170"/>
                      <a:pt x="475450" y="789082"/>
                      <a:pt x="476818" y="787828"/>
                    </a:cubicBezTo>
                    <a:cubicBezTo>
                      <a:pt x="477394" y="787195"/>
                      <a:pt x="477753" y="786397"/>
                      <a:pt x="477844" y="785548"/>
                    </a:cubicBezTo>
                    <a:cubicBezTo>
                      <a:pt x="478756" y="781444"/>
                      <a:pt x="479668" y="777398"/>
                      <a:pt x="480523" y="773351"/>
                    </a:cubicBezTo>
                    <a:cubicBezTo>
                      <a:pt x="471409" y="773340"/>
                      <a:pt x="462301" y="773990"/>
                      <a:pt x="453279" y="775289"/>
                    </a:cubicBezTo>
                    <a:cubicBezTo>
                      <a:pt x="446896" y="775129"/>
                      <a:pt x="440723" y="777580"/>
                      <a:pt x="436181" y="782071"/>
                    </a:cubicBezTo>
                    <a:cubicBezTo>
                      <a:pt x="435246" y="783747"/>
                      <a:pt x="434049" y="785263"/>
                      <a:pt x="432647" y="786574"/>
                    </a:cubicBezTo>
                    <a:cubicBezTo>
                      <a:pt x="429056" y="789196"/>
                      <a:pt x="423642" y="786574"/>
                      <a:pt x="419652" y="788398"/>
                    </a:cubicBezTo>
                    <a:cubicBezTo>
                      <a:pt x="415663" y="790222"/>
                      <a:pt x="415093" y="794097"/>
                      <a:pt x="412300" y="796662"/>
                    </a:cubicBezTo>
                    <a:cubicBezTo>
                      <a:pt x="408612" y="799027"/>
                      <a:pt x="404235" y="800087"/>
                      <a:pt x="399875" y="799683"/>
                    </a:cubicBezTo>
                    <a:cubicBezTo>
                      <a:pt x="386681" y="800834"/>
                      <a:pt x="373692" y="803684"/>
                      <a:pt x="361233" y="808175"/>
                    </a:cubicBezTo>
                    <a:cubicBezTo>
                      <a:pt x="360110" y="810141"/>
                      <a:pt x="360788" y="812649"/>
                      <a:pt x="362754" y="813772"/>
                    </a:cubicBezTo>
                    <a:cubicBezTo>
                      <a:pt x="362817" y="813812"/>
                      <a:pt x="362880" y="813840"/>
                      <a:pt x="362943" y="813874"/>
                    </a:cubicBezTo>
                    <a:cubicBezTo>
                      <a:pt x="364966" y="814826"/>
                      <a:pt x="367229" y="815162"/>
                      <a:pt x="369440" y="814843"/>
                    </a:cubicBezTo>
                    <a:lnTo>
                      <a:pt x="394347" y="813874"/>
                    </a:lnTo>
                    <a:cubicBezTo>
                      <a:pt x="395099" y="813903"/>
                      <a:pt x="395840" y="813681"/>
                      <a:pt x="396455" y="813247"/>
                    </a:cubicBezTo>
                    <a:cubicBezTo>
                      <a:pt x="397481" y="812279"/>
                      <a:pt x="396854" y="810569"/>
                      <a:pt x="397082" y="809144"/>
                    </a:cubicBezTo>
                    <a:cubicBezTo>
                      <a:pt x="397310" y="807719"/>
                      <a:pt x="399704" y="805724"/>
                      <a:pt x="401756" y="805040"/>
                    </a:cubicBezTo>
                    <a:cubicBezTo>
                      <a:pt x="411092" y="801900"/>
                      <a:pt x="421277" y="802407"/>
                      <a:pt x="430253" y="806465"/>
                    </a:cubicBezTo>
                    <a:cubicBezTo>
                      <a:pt x="432191" y="807320"/>
                      <a:pt x="434300" y="808688"/>
                      <a:pt x="434585" y="810797"/>
                    </a:cubicBezTo>
                    <a:cubicBezTo>
                      <a:pt x="434653" y="812854"/>
                      <a:pt x="433519" y="814769"/>
                      <a:pt x="431678" y="815698"/>
                    </a:cubicBezTo>
                    <a:cubicBezTo>
                      <a:pt x="427637" y="817750"/>
                      <a:pt x="422918" y="817995"/>
                      <a:pt x="418683" y="816382"/>
                    </a:cubicBezTo>
                    <a:cubicBezTo>
                      <a:pt x="417042" y="815710"/>
                      <a:pt x="415269" y="815413"/>
                      <a:pt x="413497" y="815527"/>
                    </a:cubicBezTo>
                    <a:cubicBezTo>
                      <a:pt x="410402" y="816428"/>
                      <a:pt x="408151" y="819107"/>
                      <a:pt x="407797" y="822310"/>
                    </a:cubicBezTo>
                    <a:cubicBezTo>
                      <a:pt x="407484" y="825427"/>
                      <a:pt x="406931" y="828511"/>
                      <a:pt x="406144" y="831543"/>
                    </a:cubicBezTo>
                    <a:cubicBezTo>
                      <a:pt x="403808" y="836991"/>
                      <a:pt x="397692" y="839739"/>
                      <a:pt x="392067" y="837869"/>
                    </a:cubicBezTo>
                    <a:cubicBezTo>
                      <a:pt x="391696" y="841899"/>
                      <a:pt x="391810" y="845951"/>
                      <a:pt x="392409" y="849952"/>
                    </a:cubicBezTo>
                    <a:cubicBezTo>
                      <a:pt x="392346" y="851839"/>
                      <a:pt x="393822" y="853423"/>
                      <a:pt x="395715" y="853486"/>
                    </a:cubicBezTo>
                    <a:cubicBezTo>
                      <a:pt x="395732" y="853486"/>
                      <a:pt x="395754" y="853486"/>
                      <a:pt x="395771" y="853486"/>
                    </a:cubicBezTo>
                    <a:cubicBezTo>
                      <a:pt x="403591" y="854654"/>
                      <a:pt x="411576" y="853292"/>
                      <a:pt x="418569" y="849610"/>
                    </a:cubicBezTo>
                    <a:cubicBezTo>
                      <a:pt x="425483" y="845962"/>
                      <a:pt x="431883" y="841426"/>
                      <a:pt x="437606" y="836102"/>
                    </a:cubicBezTo>
                    <a:cubicBezTo>
                      <a:pt x="439361" y="834347"/>
                      <a:pt x="441481" y="833002"/>
                      <a:pt x="443818" y="832170"/>
                    </a:cubicBezTo>
                    <a:cubicBezTo>
                      <a:pt x="446246" y="831429"/>
                      <a:pt x="448873" y="832381"/>
                      <a:pt x="450258" y="834506"/>
                    </a:cubicBezTo>
                    <a:cubicBezTo>
                      <a:pt x="450703" y="835567"/>
                      <a:pt x="450840" y="836735"/>
                      <a:pt x="450657" y="837869"/>
                    </a:cubicBezTo>
                    <a:cubicBezTo>
                      <a:pt x="450298" y="841790"/>
                      <a:pt x="448440" y="845427"/>
                      <a:pt x="445471" y="848014"/>
                    </a:cubicBezTo>
                    <a:cubicBezTo>
                      <a:pt x="442849" y="850351"/>
                      <a:pt x="439771" y="851719"/>
                      <a:pt x="436922" y="854113"/>
                    </a:cubicBezTo>
                    <a:cubicBezTo>
                      <a:pt x="434078" y="856353"/>
                      <a:pt x="433223" y="860297"/>
                      <a:pt x="434870" y="863517"/>
                    </a:cubicBezTo>
                    <a:cubicBezTo>
                      <a:pt x="444616" y="863517"/>
                      <a:pt x="449062" y="850123"/>
                      <a:pt x="458352" y="847216"/>
                    </a:cubicBezTo>
                    <a:cubicBezTo>
                      <a:pt x="461258" y="846361"/>
                      <a:pt x="464393" y="846532"/>
                      <a:pt x="467300" y="845734"/>
                    </a:cubicBezTo>
                    <a:cubicBezTo>
                      <a:pt x="472515" y="844230"/>
                      <a:pt x="476316" y="839733"/>
                      <a:pt x="476932" y="834336"/>
                    </a:cubicBezTo>
                    <a:cubicBezTo>
                      <a:pt x="476943" y="832318"/>
                      <a:pt x="477194" y="830312"/>
                      <a:pt x="477673" y="828351"/>
                    </a:cubicBezTo>
                    <a:cubicBezTo>
                      <a:pt x="479440" y="823791"/>
                      <a:pt x="485367" y="822937"/>
                      <a:pt x="490212" y="823051"/>
                    </a:cubicBezTo>
                    <a:cubicBezTo>
                      <a:pt x="495045" y="823461"/>
                      <a:pt x="499907" y="822999"/>
                      <a:pt x="504574" y="821683"/>
                    </a:cubicBezTo>
                    <a:cubicBezTo>
                      <a:pt x="509379" y="820309"/>
                      <a:pt x="512730" y="815966"/>
                      <a:pt x="512839" y="810968"/>
                    </a:cubicBezTo>
                    <a:cubicBezTo>
                      <a:pt x="512440" y="809338"/>
                      <a:pt x="512440" y="807639"/>
                      <a:pt x="512839" y="806009"/>
                    </a:cubicBezTo>
                    <a:cubicBezTo>
                      <a:pt x="513637" y="804413"/>
                      <a:pt x="515631" y="803843"/>
                      <a:pt x="517227" y="802874"/>
                    </a:cubicBezTo>
                    <a:cubicBezTo>
                      <a:pt x="520151" y="801239"/>
                      <a:pt x="521878" y="798070"/>
                      <a:pt x="521673" y="794724"/>
                    </a:cubicBezTo>
                    <a:close/>
                    <a:moveTo>
                      <a:pt x="687755" y="934988"/>
                    </a:moveTo>
                    <a:cubicBezTo>
                      <a:pt x="686530" y="933700"/>
                      <a:pt x="684940" y="932828"/>
                      <a:pt x="683196" y="932480"/>
                    </a:cubicBezTo>
                    <a:cubicBezTo>
                      <a:pt x="676659" y="931996"/>
                      <a:pt x="670207" y="934173"/>
                      <a:pt x="665300" y="938522"/>
                    </a:cubicBezTo>
                    <a:cubicBezTo>
                      <a:pt x="664410" y="939041"/>
                      <a:pt x="663618" y="939719"/>
                      <a:pt x="662963" y="940517"/>
                    </a:cubicBezTo>
                    <a:cubicBezTo>
                      <a:pt x="662507" y="941201"/>
                      <a:pt x="662279" y="941999"/>
                      <a:pt x="661823" y="942682"/>
                    </a:cubicBezTo>
                    <a:cubicBezTo>
                      <a:pt x="658859" y="947527"/>
                      <a:pt x="651108" y="944848"/>
                      <a:pt x="646092" y="947470"/>
                    </a:cubicBezTo>
                    <a:cubicBezTo>
                      <a:pt x="641077" y="950092"/>
                      <a:pt x="639538" y="958527"/>
                      <a:pt x="633781" y="960180"/>
                    </a:cubicBezTo>
                    <a:cubicBezTo>
                      <a:pt x="632015" y="960693"/>
                      <a:pt x="630077" y="960180"/>
                      <a:pt x="628082" y="961035"/>
                    </a:cubicBezTo>
                    <a:cubicBezTo>
                      <a:pt x="626190" y="961981"/>
                      <a:pt x="624446" y="963189"/>
                      <a:pt x="622896" y="964625"/>
                    </a:cubicBezTo>
                    <a:cubicBezTo>
                      <a:pt x="618222" y="967623"/>
                      <a:pt x="612237" y="967623"/>
                      <a:pt x="607564" y="964625"/>
                    </a:cubicBezTo>
                    <a:cubicBezTo>
                      <a:pt x="603004" y="961542"/>
                      <a:pt x="600155" y="956498"/>
                      <a:pt x="599870" y="951004"/>
                    </a:cubicBezTo>
                    <a:cubicBezTo>
                      <a:pt x="594170" y="952087"/>
                      <a:pt x="589098" y="946729"/>
                      <a:pt x="586533" y="941429"/>
                    </a:cubicBezTo>
                    <a:cubicBezTo>
                      <a:pt x="585860" y="939451"/>
                      <a:pt x="584584" y="937741"/>
                      <a:pt x="582885" y="936527"/>
                    </a:cubicBezTo>
                    <a:cubicBezTo>
                      <a:pt x="581039" y="935900"/>
                      <a:pt x="579032" y="935900"/>
                      <a:pt x="577186" y="936527"/>
                    </a:cubicBezTo>
                    <a:lnTo>
                      <a:pt x="564761" y="938864"/>
                    </a:lnTo>
                    <a:cubicBezTo>
                      <a:pt x="563758" y="939012"/>
                      <a:pt x="562795" y="939343"/>
                      <a:pt x="561911" y="939833"/>
                    </a:cubicBezTo>
                    <a:cubicBezTo>
                      <a:pt x="558947" y="941657"/>
                      <a:pt x="559745" y="946558"/>
                      <a:pt x="562481" y="948667"/>
                    </a:cubicBezTo>
                    <a:cubicBezTo>
                      <a:pt x="565456" y="950479"/>
                      <a:pt x="568927" y="951300"/>
                      <a:pt x="572398" y="951004"/>
                    </a:cubicBezTo>
                    <a:cubicBezTo>
                      <a:pt x="570842" y="954184"/>
                      <a:pt x="571196" y="957968"/>
                      <a:pt x="573310" y="960807"/>
                    </a:cubicBezTo>
                    <a:cubicBezTo>
                      <a:pt x="575191" y="963942"/>
                      <a:pt x="577642" y="967418"/>
                      <a:pt x="576559" y="970895"/>
                    </a:cubicBezTo>
                    <a:cubicBezTo>
                      <a:pt x="575174" y="973802"/>
                      <a:pt x="572524" y="975905"/>
                      <a:pt x="569377" y="976594"/>
                    </a:cubicBezTo>
                    <a:cubicBezTo>
                      <a:pt x="565052" y="978025"/>
                      <a:pt x="560577" y="978982"/>
                      <a:pt x="556041" y="979444"/>
                    </a:cubicBezTo>
                    <a:cubicBezTo>
                      <a:pt x="556611" y="985144"/>
                      <a:pt x="556611" y="991641"/>
                      <a:pt x="551880" y="994491"/>
                    </a:cubicBezTo>
                    <a:cubicBezTo>
                      <a:pt x="549464" y="995631"/>
                      <a:pt x="546790" y="996121"/>
                      <a:pt x="544129" y="995916"/>
                    </a:cubicBezTo>
                    <a:lnTo>
                      <a:pt x="529082" y="995916"/>
                    </a:lnTo>
                    <a:cubicBezTo>
                      <a:pt x="529960" y="1000162"/>
                      <a:pt x="533015" y="1003633"/>
                      <a:pt x="537118" y="1005035"/>
                    </a:cubicBezTo>
                    <a:cubicBezTo>
                      <a:pt x="541154" y="1006408"/>
                      <a:pt x="545400" y="1007041"/>
                      <a:pt x="549657" y="1006916"/>
                    </a:cubicBezTo>
                    <a:lnTo>
                      <a:pt x="587217" y="1008112"/>
                    </a:lnTo>
                    <a:cubicBezTo>
                      <a:pt x="592381" y="1009081"/>
                      <a:pt x="597692" y="1007491"/>
                      <a:pt x="601465" y="1003838"/>
                    </a:cubicBezTo>
                    <a:cubicBezTo>
                      <a:pt x="603232" y="1001387"/>
                      <a:pt x="603460" y="998138"/>
                      <a:pt x="604999" y="995460"/>
                    </a:cubicBezTo>
                    <a:cubicBezTo>
                      <a:pt x="608647" y="989304"/>
                      <a:pt x="617424" y="989418"/>
                      <a:pt x="624491" y="990216"/>
                    </a:cubicBezTo>
                    <a:cubicBezTo>
                      <a:pt x="624873" y="984363"/>
                      <a:pt x="629336" y="979592"/>
                      <a:pt x="635149" y="978817"/>
                    </a:cubicBezTo>
                    <a:cubicBezTo>
                      <a:pt x="636494" y="978880"/>
                      <a:pt x="637834" y="978589"/>
                      <a:pt x="639025" y="977962"/>
                    </a:cubicBezTo>
                    <a:cubicBezTo>
                      <a:pt x="640678" y="976879"/>
                      <a:pt x="640735" y="974543"/>
                      <a:pt x="641362" y="972605"/>
                    </a:cubicBezTo>
                    <a:cubicBezTo>
                      <a:pt x="642525" y="969236"/>
                      <a:pt x="645562" y="966865"/>
                      <a:pt x="649113" y="966563"/>
                    </a:cubicBezTo>
                    <a:cubicBezTo>
                      <a:pt x="652248" y="966563"/>
                      <a:pt x="656123" y="967475"/>
                      <a:pt x="658004" y="964967"/>
                    </a:cubicBezTo>
                    <a:cubicBezTo>
                      <a:pt x="658802" y="963885"/>
                      <a:pt x="658916" y="962346"/>
                      <a:pt x="659714" y="961206"/>
                    </a:cubicBezTo>
                    <a:cubicBezTo>
                      <a:pt x="662165" y="958014"/>
                      <a:pt x="668491" y="960750"/>
                      <a:pt x="670657" y="957387"/>
                    </a:cubicBezTo>
                    <a:cubicBezTo>
                      <a:pt x="671854" y="955506"/>
                      <a:pt x="670999" y="952828"/>
                      <a:pt x="672310" y="951061"/>
                    </a:cubicBezTo>
                    <a:cubicBezTo>
                      <a:pt x="673621" y="949294"/>
                      <a:pt x="675559" y="949408"/>
                      <a:pt x="677439" y="949237"/>
                    </a:cubicBezTo>
                    <a:cubicBezTo>
                      <a:pt x="681070" y="949026"/>
                      <a:pt x="684490" y="947464"/>
                      <a:pt x="687015" y="944848"/>
                    </a:cubicBezTo>
                    <a:cubicBezTo>
                      <a:pt x="689534" y="942135"/>
                      <a:pt x="689841" y="938043"/>
                      <a:pt x="687755" y="934988"/>
                    </a:cubicBezTo>
                    <a:close/>
                    <a:moveTo>
                      <a:pt x="986180" y="1340563"/>
                    </a:moveTo>
                    <a:cubicBezTo>
                      <a:pt x="985411" y="1334020"/>
                      <a:pt x="982578" y="1327887"/>
                      <a:pt x="978087" y="1323065"/>
                    </a:cubicBezTo>
                    <a:cubicBezTo>
                      <a:pt x="976776" y="1322136"/>
                      <a:pt x="975590" y="1321042"/>
                      <a:pt x="974553" y="1319817"/>
                    </a:cubicBezTo>
                    <a:cubicBezTo>
                      <a:pt x="971076" y="1314744"/>
                      <a:pt x="976776" y="1307848"/>
                      <a:pt x="975351" y="1301863"/>
                    </a:cubicBezTo>
                    <a:cubicBezTo>
                      <a:pt x="972273" y="1302747"/>
                      <a:pt x="968990" y="1301430"/>
                      <a:pt x="967372" y="1298672"/>
                    </a:cubicBezTo>
                    <a:cubicBezTo>
                      <a:pt x="965861" y="1295936"/>
                      <a:pt x="964984" y="1292898"/>
                      <a:pt x="964807" y="1289780"/>
                    </a:cubicBezTo>
                    <a:cubicBezTo>
                      <a:pt x="964009" y="1283568"/>
                      <a:pt x="963268" y="1277356"/>
                      <a:pt x="962470" y="1271143"/>
                    </a:cubicBezTo>
                    <a:cubicBezTo>
                      <a:pt x="962322" y="1269148"/>
                      <a:pt x="961758" y="1267205"/>
                      <a:pt x="960817" y="1265444"/>
                    </a:cubicBezTo>
                    <a:cubicBezTo>
                      <a:pt x="958252" y="1261682"/>
                      <a:pt x="952097" y="1260998"/>
                      <a:pt x="950501" y="1256723"/>
                    </a:cubicBezTo>
                    <a:cubicBezTo>
                      <a:pt x="950142" y="1254712"/>
                      <a:pt x="950005" y="1252665"/>
                      <a:pt x="950102" y="1250625"/>
                    </a:cubicBezTo>
                    <a:cubicBezTo>
                      <a:pt x="949042" y="1244874"/>
                      <a:pt x="943793" y="1240856"/>
                      <a:pt x="937962" y="1241335"/>
                    </a:cubicBezTo>
                    <a:cubicBezTo>
                      <a:pt x="932308" y="1241996"/>
                      <a:pt x="927247" y="1245154"/>
                      <a:pt x="924170" y="1249941"/>
                    </a:cubicBezTo>
                    <a:cubicBezTo>
                      <a:pt x="922785" y="1251748"/>
                      <a:pt x="921793" y="1253828"/>
                      <a:pt x="921263" y="1256040"/>
                    </a:cubicBezTo>
                    <a:cubicBezTo>
                      <a:pt x="919667" y="1263905"/>
                      <a:pt x="926620" y="1271143"/>
                      <a:pt x="926677" y="1279179"/>
                    </a:cubicBezTo>
                    <a:cubicBezTo>
                      <a:pt x="926119" y="1282457"/>
                      <a:pt x="926256" y="1285819"/>
                      <a:pt x="927076" y="1289039"/>
                    </a:cubicBezTo>
                    <a:cubicBezTo>
                      <a:pt x="927817" y="1290339"/>
                      <a:pt x="928781" y="1291496"/>
                      <a:pt x="929926" y="1292459"/>
                    </a:cubicBezTo>
                    <a:cubicBezTo>
                      <a:pt x="936173" y="1298261"/>
                      <a:pt x="942756" y="1303687"/>
                      <a:pt x="949646" y="1308703"/>
                    </a:cubicBezTo>
                    <a:cubicBezTo>
                      <a:pt x="951447" y="1309877"/>
                      <a:pt x="953112" y="1311256"/>
                      <a:pt x="954605" y="1312806"/>
                    </a:cubicBezTo>
                    <a:cubicBezTo>
                      <a:pt x="961957" y="1321070"/>
                      <a:pt x="957512" y="1334806"/>
                      <a:pt x="962926" y="1344438"/>
                    </a:cubicBezTo>
                    <a:cubicBezTo>
                      <a:pt x="964870" y="1347077"/>
                      <a:pt x="966642" y="1349836"/>
                      <a:pt x="968227" y="1352703"/>
                    </a:cubicBezTo>
                    <a:cubicBezTo>
                      <a:pt x="968740" y="1354686"/>
                      <a:pt x="969486" y="1356595"/>
                      <a:pt x="970449" y="1358402"/>
                    </a:cubicBezTo>
                    <a:cubicBezTo>
                      <a:pt x="971589" y="1360055"/>
                      <a:pt x="974211" y="1361024"/>
                      <a:pt x="975693" y="1359656"/>
                    </a:cubicBezTo>
                    <a:cubicBezTo>
                      <a:pt x="977169" y="1356635"/>
                      <a:pt x="977728" y="1353244"/>
                      <a:pt x="977289" y="1349910"/>
                    </a:cubicBezTo>
                    <a:cubicBezTo>
                      <a:pt x="978657" y="1348029"/>
                      <a:pt x="981677" y="1349625"/>
                      <a:pt x="983900" y="1348941"/>
                    </a:cubicBezTo>
                    <a:cubicBezTo>
                      <a:pt x="986123" y="1348257"/>
                      <a:pt x="986864" y="1343811"/>
                      <a:pt x="986180" y="13405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7" name="Freihandform: Form 621">
                <a:extLst>
                  <a:ext uri="{FF2B5EF4-FFF2-40B4-BE49-F238E27FC236}">
                    <a16:creationId xmlns:a16="http://schemas.microsoft.com/office/drawing/2014/main" id="{331CC4CD-441B-590F-FF44-115CB6C99205}"/>
                  </a:ext>
                </a:extLst>
              </p:cNvPr>
              <p:cNvSpPr/>
              <p:nvPr/>
            </p:nvSpPr>
            <p:spPr>
              <a:xfrm>
                <a:off x="85660" y="2203920"/>
                <a:ext cx="2206810" cy="1448389"/>
              </a:xfrm>
              <a:custGeom>
                <a:avLst/>
                <a:gdLst>
                  <a:gd name="connsiteX0" fmla="*/ 94447 w 2206810"/>
                  <a:gd name="connsiteY0" fmla="*/ 600251 h 1448389"/>
                  <a:gd name="connsiteX1" fmla="*/ 98949 w 2206810"/>
                  <a:gd name="connsiteY1" fmla="*/ 605153 h 1448389"/>
                  <a:gd name="connsiteX2" fmla="*/ 97524 w 2206810"/>
                  <a:gd name="connsiteY2" fmla="*/ 608630 h 1448389"/>
                  <a:gd name="connsiteX3" fmla="*/ 93022 w 2206810"/>
                  <a:gd name="connsiteY3" fmla="*/ 615982 h 1448389"/>
                  <a:gd name="connsiteX4" fmla="*/ 90400 w 2206810"/>
                  <a:gd name="connsiteY4" fmla="*/ 619458 h 1448389"/>
                  <a:gd name="connsiteX5" fmla="*/ 75866 w 2206810"/>
                  <a:gd name="connsiteY5" fmla="*/ 621396 h 1448389"/>
                  <a:gd name="connsiteX6" fmla="*/ 68457 w 2206810"/>
                  <a:gd name="connsiteY6" fmla="*/ 623049 h 1448389"/>
                  <a:gd name="connsiteX7" fmla="*/ 65094 w 2206810"/>
                  <a:gd name="connsiteY7" fmla="*/ 629661 h 1448389"/>
                  <a:gd name="connsiteX8" fmla="*/ 61162 w 2206810"/>
                  <a:gd name="connsiteY8" fmla="*/ 625500 h 1448389"/>
                  <a:gd name="connsiteX9" fmla="*/ 61162 w 2206810"/>
                  <a:gd name="connsiteY9" fmla="*/ 611935 h 1448389"/>
                  <a:gd name="connsiteX10" fmla="*/ 62758 w 2206810"/>
                  <a:gd name="connsiteY10" fmla="*/ 607832 h 1448389"/>
                  <a:gd name="connsiteX11" fmla="*/ 68457 w 2206810"/>
                  <a:gd name="connsiteY11" fmla="*/ 607091 h 1448389"/>
                  <a:gd name="connsiteX12" fmla="*/ 87436 w 2206810"/>
                  <a:gd name="connsiteY12" fmla="*/ 601391 h 1448389"/>
                  <a:gd name="connsiteX13" fmla="*/ 94447 w 2206810"/>
                  <a:gd name="connsiteY13" fmla="*/ 600251 h 1448389"/>
                  <a:gd name="connsiteX14" fmla="*/ 37452 w 2206810"/>
                  <a:gd name="connsiteY14" fmla="*/ 440324 h 1448389"/>
                  <a:gd name="connsiteX15" fmla="*/ 46286 w 2206810"/>
                  <a:gd name="connsiteY15" fmla="*/ 438956 h 1448389"/>
                  <a:gd name="connsiteX16" fmla="*/ 47141 w 2206810"/>
                  <a:gd name="connsiteY16" fmla="*/ 429837 h 1448389"/>
                  <a:gd name="connsiteX17" fmla="*/ 37224 w 2206810"/>
                  <a:gd name="connsiteY17" fmla="*/ 426303 h 1448389"/>
                  <a:gd name="connsiteX18" fmla="*/ 35001 w 2206810"/>
                  <a:gd name="connsiteY18" fmla="*/ 422998 h 1448389"/>
                  <a:gd name="connsiteX19" fmla="*/ 32151 w 2206810"/>
                  <a:gd name="connsiteY19" fmla="*/ 417868 h 1448389"/>
                  <a:gd name="connsiteX20" fmla="*/ 17960 w 2206810"/>
                  <a:gd name="connsiteY20" fmla="*/ 416785 h 1448389"/>
                  <a:gd name="connsiteX21" fmla="*/ 14654 w 2206810"/>
                  <a:gd name="connsiteY21" fmla="*/ 430920 h 1448389"/>
                  <a:gd name="connsiteX22" fmla="*/ 15395 w 2206810"/>
                  <a:gd name="connsiteY22" fmla="*/ 433998 h 1448389"/>
                  <a:gd name="connsiteX23" fmla="*/ 17846 w 2206810"/>
                  <a:gd name="connsiteY23" fmla="*/ 435366 h 1448389"/>
                  <a:gd name="connsiteX24" fmla="*/ 37281 w 2206810"/>
                  <a:gd name="connsiteY24" fmla="*/ 440153 h 1448389"/>
                  <a:gd name="connsiteX25" fmla="*/ 288229 w 2206810"/>
                  <a:gd name="connsiteY25" fmla="*/ 524847 h 1448389"/>
                  <a:gd name="connsiteX26" fmla="*/ 305327 w 2206810"/>
                  <a:gd name="connsiteY26" fmla="*/ 517096 h 1448389"/>
                  <a:gd name="connsiteX27" fmla="*/ 323338 w 2206810"/>
                  <a:gd name="connsiteY27" fmla="*/ 509972 h 1448389"/>
                  <a:gd name="connsiteX28" fmla="*/ 327498 w 2206810"/>
                  <a:gd name="connsiteY28" fmla="*/ 504614 h 1448389"/>
                  <a:gd name="connsiteX29" fmla="*/ 332799 w 2206810"/>
                  <a:gd name="connsiteY29" fmla="*/ 496521 h 1448389"/>
                  <a:gd name="connsiteX30" fmla="*/ 347731 w 2206810"/>
                  <a:gd name="connsiteY30" fmla="*/ 480562 h 1448389"/>
                  <a:gd name="connsiteX31" fmla="*/ 334395 w 2206810"/>
                  <a:gd name="connsiteY31" fmla="*/ 482044 h 1448389"/>
                  <a:gd name="connsiteX32" fmla="*/ 331260 w 2206810"/>
                  <a:gd name="connsiteY32" fmla="*/ 483526 h 1448389"/>
                  <a:gd name="connsiteX33" fmla="*/ 326244 w 2206810"/>
                  <a:gd name="connsiteY33" fmla="*/ 489226 h 1448389"/>
                  <a:gd name="connsiteX34" fmla="*/ 307322 w 2206810"/>
                  <a:gd name="connsiteY34" fmla="*/ 509573 h 1448389"/>
                  <a:gd name="connsiteX35" fmla="*/ 299001 w 2206810"/>
                  <a:gd name="connsiteY35" fmla="*/ 514531 h 1448389"/>
                  <a:gd name="connsiteX36" fmla="*/ 295068 w 2206810"/>
                  <a:gd name="connsiteY36" fmla="*/ 515329 h 1448389"/>
                  <a:gd name="connsiteX37" fmla="*/ 288001 w 2206810"/>
                  <a:gd name="connsiteY37" fmla="*/ 524676 h 1448389"/>
                  <a:gd name="connsiteX38" fmla="*/ 766700 w 2206810"/>
                  <a:gd name="connsiteY38" fmla="*/ 630459 h 1448389"/>
                  <a:gd name="connsiteX39" fmla="*/ 764306 w 2206810"/>
                  <a:gd name="connsiteY39" fmla="*/ 634961 h 1448389"/>
                  <a:gd name="connsiteX40" fmla="*/ 764306 w 2206810"/>
                  <a:gd name="connsiteY40" fmla="*/ 645106 h 1448389"/>
                  <a:gd name="connsiteX41" fmla="*/ 772171 w 2206810"/>
                  <a:gd name="connsiteY41" fmla="*/ 653427 h 1448389"/>
                  <a:gd name="connsiteX42" fmla="*/ 773482 w 2206810"/>
                  <a:gd name="connsiteY42" fmla="*/ 667163 h 1448389"/>
                  <a:gd name="connsiteX43" fmla="*/ 780264 w 2206810"/>
                  <a:gd name="connsiteY43" fmla="*/ 670868 h 1448389"/>
                  <a:gd name="connsiteX44" fmla="*/ 788244 w 2206810"/>
                  <a:gd name="connsiteY44" fmla="*/ 670868 h 1448389"/>
                  <a:gd name="connsiteX45" fmla="*/ 793031 w 2206810"/>
                  <a:gd name="connsiteY45" fmla="*/ 648640 h 1448389"/>
                  <a:gd name="connsiteX46" fmla="*/ 790181 w 2206810"/>
                  <a:gd name="connsiteY46" fmla="*/ 640718 h 1448389"/>
                  <a:gd name="connsiteX47" fmla="*/ 786762 w 2206810"/>
                  <a:gd name="connsiteY47" fmla="*/ 633137 h 1448389"/>
                  <a:gd name="connsiteX48" fmla="*/ 785109 w 2206810"/>
                  <a:gd name="connsiteY48" fmla="*/ 630686 h 1448389"/>
                  <a:gd name="connsiteX49" fmla="*/ 782202 w 2206810"/>
                  <a:gd name="connsiteY49" fmla="*/ 630117 h 1448389"/>
                  <a:gd name="connsiteX50" fmla="*/ 770005 w 2206810"/>
                  <a:gd name="connsiteY50" fmla="*/ 630117 h 1448389"/>
                  <a:gd name="connsiteX51" fmla="*/ 766472 w 2206810"/>
                  <a:gd name="connsiteY51" fmla="*/ 630288 h 1448389"/>
                  <a:gd name="connsiteX52" fmla="*/ 829850 w 2206810"/>
                  <a:gd name="connsiteY52" fmla="*/ 610168 h 1448389"/>
                  <a:gd name="connsiteX53" fmla="*/ 832016 w 2206810"/>
                  <a:gd name="connsiteY53" fmla="*/ 600707 h 1448389"/>
                  <a:gd name="connsiteX54" fmla="*/ 837202 w 2206810"/>
                  <a:gd name="connsiteY54" fmla="*/ 597060 h 1448389"/>
                  <a:gd name="connsiteX55" fmla="*/ 839767 w 2206810"/>
                  <a:gd name="connsiteY55" fmla="*/ 592956 h 1448389"/>
                  <a:gd name="connsiteX56" fmla="*/ 822953 w 2206810"/>
                  <a:gd name="connsiteY56" fmla="*/ 575288 h 1448389"/>
                  <a:gd name="connsiteX57" fmla="*/ 834010 w 2206810"/>
                  <a:gd name="connsiteY57" fmla="*/ 565484 h 1448389"/>
                  <a:gd name="connsiteX58" fmla="*/ 807907 w 2206810"/>
                  <a:gd name="connsiteY58" fmla="*/ 551008 h 1448389"/>
                  <a:gd name="connsiteX59" fmla="*/ 801352 w 2206810"/>
                  <a:gd name="connsiteY59" fmla="*/ 549355 h 1448389"/>
                  <a:gd name="connsiteX60" fmla="*/ 795653 w 2206810"/>
                  <a:gd name="connsiteY60" fmla="*/ 543656 h 1448389"/>
                  <a:gd name="connsiteX61" fmla="*/ 782487 w 2206810"/>
                  <a:gd name="connsiteY61" fmla="*/ 523992 h 1448389"/>
                  <a:gd name="connsiteX62" fmla="*/ 778327 w 2206810"/>
                  <a:gd name="connsiteY62" fmla="*/ 516982 h 1448389"/>
                  <a:gd name="connsiteX63" fmla="*/ 774337 w 2206810"/>
                  <a:gd name="connsiteY63" fmla="*/ 506951 h 1448389"/>
                  <a:gd name="connsiteX64" fmla="*/ 764819 w 2206810"/>
                  <a:gd name="connsiteY64" fmla="*/ 492303 h 1448389"/>
                  <a:gd name="connsiteX65" fmla="*/ 762767 w 2206810"/>
                  <a:gd name="connsiteY65" fmla="*/ 485692 h 1448389"/>
                  <a:gd name="connsiteX66" fmla="*/ 755301 w 2206810"/>
                  <a:gd name="connsiteY66" fmla="*/ 482386 h 1448389"/>
                  <a:gd name="connsiteX67" fmla="*/ 747264 w 2206810"/>
                  <a:gd name="connsiteY67" fmla="*/ 474806 h 1448389"/>
                  <a:gd name="connsiteX68" fmla="*/ 729254 w 2206810"/>
                  <a:gd name="connsiteY68" fmla="*/ 450184 h 1448389"/>
                  <a:gd name="connsiteX69" fmla="*/ 715746 w 2206810"/>
                  <a:gd name="connsiteY69" fmla="*/ 437303 h 1448389"/>
                  <a:gd name="connsiteX70" fmla="*/ 699617 w 2206810"/>
                  <a:gd name="connsiteY70" fmla="*/ 442490 h 1448389"/>
                  <a:gd name="connsiteX71" fmla="*/ 698363 w 2206810"/>
                  <a:gd name="connsiteY71" fmla="*/ 444998 h 1448389"/>
                  <a:gd name="connsiteX72" fmla="*/ 694544 w 2206810"/>
                  <a:gd name="connsiteY72" fmla="*/ 445568 h 1448389"/>
                  <a:gd name="connsiteX73" fmla="*/ 679099 w 2206810"/>
                  <a:gd name="connsiteY73" fmla="*/ 455770 h 1448389"/>
                  <a:gd name="connsiteX74" fmla="*/ 671119 w 2206810"/>
                  <a:gd name="connsiteY74" fmla="*/ 456112 h 1448389"/>
                  <a:gd name="connsiteX75" fmla="*/ 655617 w 2206810"/>
                  <a:gd name="connsiteY75" fmla="*/ 448246 h 1448389"/>
                  <a:gd name="connsiteX76" fmla="*/ 652482 w 2206810"/>
                  <a:gd name="connsiteY76" fmla="*/ 437987 h 1448389"/>
                  <a:gd name="connsiteX77" fmla="*/ 642109 w 2206810"/>
                  <a:gd name="connsiteY77" fmla="*/ 437987 h 1448389"/>
                  <a:gd name="connsiteX78" fmla="*/ 632249 w 2206810"/>
                  <a:gd name="connsiteY78" fmla="*/ 435992 h 1448389"/>
                  <a:gd name="connsiteX79" fmla="*/ 632933 w 2206810"/>
                  <a:gd name="connsiteY79" fmla="*/ 428868 h 1448389"/>
                  <a:gd name="connsiteX80" fmla="*/ 634472 w 2206810"/>
                  <a:gd name="connsiteY80" fmla="*/ 416728 h 1448389"/>
                  <a:gd name="connsiteX81" fmla="*/ 625695 w 2206810"/>
                  <a:gd name="connsiteY81" fmla="*/ 409547 h 1448389"/>
                  <a:gd name="connsiteX82" fmla="*/ 620736 w 2206810"/>
                  <a:gd name="connsiteY82" fmla="*/ 411371 h 1448389"/>
                  <a:gd name="connsiteX83" fmla="*/ 588705 w 2206810"/>
                  <a:gd name="connsiteY83" fmla="*/ 412853 h 1448389"/>
                  <a:gd name="connsiteX84" fmla="*/ 588363 w 2206810"/>
                  <a:gd name="connsiteY84" fmla="*/ 56465 h 1448389"/>
                  <a:gd name="connsiteX85" fmla="*/ 558954 w 2206810"/>
                  <a:gd name="connsiteY85" fmla="*/ 39366 h 1448389"/>
                  <a:gd name="connsiteX86" fmla="*/ 546073 w 2206810"/>
                  <a:gd name="connsiteY86" fmla="*/ 35547 h 1448389"/>
                  <a:gd name="connsiteX87" fmla="*/ 533591 w 2206810"/>
                  <a:gd name="connsiteY87" fmla="*/ 41247 h 1448389"/>
                  <a:gd name="connsiteX88" fmla="*/ 516493 w 2206810"/>
                  <a:gd name="connsiteY88" fmla="*/ 64045 h 1448389"/>
                  <a:gd name="connsiteX89" fmla="*/ 497399 w 2206810"/>
                  <a:gd name="connsiteY89" fmla="*/ 55211 h 1448389"/>
                  <a:gd name="connsiteX90" fmla="*/ 477793 w 2206810"/>
                  <a:gd name="connsiteY90" fmla="*/ 49910 h 1448389"/>
                  <a:gd name="connsiteX91" fmla="*/ 475115 w 2206810"/>
                  <a:gd name="connsiteY91" fmla="*/ 61309 h 1448389"/>
                  <a:gd name="connsiteX92" fmla="*/ 449695 w 2206810"/>
                  <a:gd name="connsiteY92" fmla="*/ 72708 h 1448389"/>
                  <a:gd name="connsiteX93" fmla="*/ 436130 w 2206810"/>
                  <a:gd name="connsiteY93" fmla="*/ 64501 h 1448389"/>
                  <a:gd name="connsiteX94" fmla="*/ 389280 w 2206810"/>
                  <a:gd name="connsiteY94" fmla="*/ 42045 h 1448389"/>
                  <a:gd name="connsiteX95" fmla="*/ 376001 w 2206810"/>
                  <a:gd name="connsiteY95" fmla="*/ 44724 h 1448389"/>
                  <a:gd name="connsiteX96" fmla="*/ 366141 w 2206810"/>
                  <a:gd name="connsiteY96" fmla="*/ 37314 h 1448389"/>
                  <a:gd name="connsiteX97" fmla="*/ 366141 w 2206810"/>
                  <a:gd name="connsiteY97" fmla="*/ 31615 h 1448389"/>
                  <a:gd name="connsiteX98" fmla="*/ 354742 w 2206810"/>
                  <a:gd name="connsiteY98" fmla="*/ 27169 h 1448389"/>
                  <a:gd name="connsiteX99" fmla="*/ 352804 w 2206810"/>
                  <a:gd name="connsiteY99" fmla="*/ 20900 h 1448389"/>
                  <a:gd name="connsiteX100" fmla="*/ 341405 w 2206810"/>
                  <a:gd name="connsiteY100" fmla="*/ 13263 h 1448389"/>
                  <a:gd name="connsiteX101" fmla="*/ 335705 w 2206810"/>
                  <a:gd name="connsiteY101" fmla="*/ 2491 h 1448389"/>
                  <a:gd name="connsiteX102" fmla="*/ 292788 w 2206810"/>
                  <a:gd name="connsiteY102" fmla="*/ 6480 h 1448389"/>
                  <a:gd name="connsiteX103" fmla="*/ 285379 w 2206810"/>
                  <a:gd name="connsiteY103" fmla="*/ 2263 h 1448389"/>
                  <a:gd name="connsiteX104" fmla="*/ 269990 w 2206810"/>
                  <a:gd name="connsiteY104" fmla="*/ 3003 h 1448389"/>
                  <a:gd name="connsiteX105" fmla="*/ 209633 w 2206810"/>
                  <a:gd name="connsiteY105" fmla="*/ 35320 h 1448389"/>
                  <a:gd name="connsiteX106" fmla="*/ 197835 w 2206810"/>
                  <a:gd name="connsiteY106" fmla="*/ 42501 h 1448389"/>
                  <a:gd name="connsiteX107" fmla="*/ 186436 w 2206810"/>
                  <a:gd name="connsiteY107" fmla="*/ 42501 h 1448389"/>
                  <a:gd name="connsiteX108" fmla="*/ 165177 w 2206810"/>
                  <a:gd name="connsiteY108" fmla="*/ 48200 h 1448389"/>
                  <a:gd name="connsiteX109" fmla="*/ 97524 w 2206810"/>
                  <a:gd name="connsiteY109" fmla="*/ 75900 h 1448389"/>
                  <a:gd name="connsiteX110" fmla="*/ 80768 w 2206810"/>
                  <a:gd name="connsiteY110" fmla="*/ 90604 h 1448389"/>
                  <a:gd name="connsiteX111" fmla="*/ 62245 w 2206810"/>
                  <a:gd name="connsiteY111" fmla="*/ 102003 h 1448389"/>
                  <a:gd name="connsiteX112" fmla="*/ 33747 w 2206810"/>
                  <a:gd name="connsiteY112" fmla="*/ 104967 h 1448389"/>
                  <a:gd name="connsiteX113" fmla="*/ 41442 w 2206810"/>
                  <a:gd name="connsiteY113" fmla="*/ 115169 h 1448389"/>
                  <a:gd name="connsiteX114" fmla="*/ 55519 w 2206810"/>
                  <a:gd name="connsiteY114" fmla="*/ 115169 h 1448389"/>
                  <a:gd name="connsiteX115" fmla="*/ 97809 w 2206810"/>
                  <a:gd name="connsiteY115" fmla="*/ 135858 h 1448389"/>
                  <a:gd name="connsiteX116" fmla="*/ 103509 w 2206810"/>
                  <a:gd name="connsiteY116" fmla="*/ 144977 h 1448389"/>
                  <a:gd name="connsiteX117" fmla="*/ 120151 w 2206810"/>
                  <a:gd name="connsiteY117" fmla="*/ 144977 h 1448389"/>
                  <a:gd name="connsiteX118" fmla="*/ 128131 w 2206810"/>
                  <a:gd name="connsiteY118" fmla="*/ 156775 h 1448389"/>
                  <a:gd name="connsiteX119" fmla="*/ 134571 w 2206810"/>
                  <a:gd name="connsiteY119" fmla="*/ 163045 h 1448389"/>
                  <a:gd name="connsiteX120" fmla="*/ 137763 w 2206810"/>
                  <a:gd name="connsiteY120" fmla="*/ 172164 h 1448389"/>
                  <a:gd name="connsiteX121" fmla="*/ 152068 w 2206810"/>
                  <a:gd name="connsiteY121" fmla="*/ 174729 h 1448389"/>
                  <a:gd name="connsiteX122" fmla="*/ 159307 w 2206810"/>
                  <a:gd name="connsiteY122" fmla="*/ 184076 h 1448389"/>
                  <a:gd name="connsiteX123" fmla="*/ 170136 w 2206810"/>
                  <a:gd name="connsiteY123" fmla="*/ 191314 h 1448389"/>
                  <a:gd name="connsiteX124" fmla="*/ 138789 w 2206810"/>
                  <a:gd name="connsiteY124" fmla="*/ 193423 h 1448389"/>
                  <a:gd name="connsiteX125" fmla="*/ 132291 w 2206810"/>
                  <a:gd name="connsiteY125" fmla="*/ 195247 h 1448389"/>
                  <a:gd name="connsiteX126" fmla="*/ 127789 w 2206810"/>
                  <a:gd name="connsiteY126" fmla="*/ 202998 h 1448389"/>
                  <a:gd name="connsiteX127" fmla="*/ 113770 w 2206810"/>
                  <a:gd name="connsiteY127" fmla="*/ 205170 h 1448389"/>
                  <a:gd name="connsiteX128" fmla="*/ 112001 w 2206810"/>
                  <a:gd name="connsiteY128" fmla="*/ 203511 h 1448389"/>
                  <a:gd name="connsiteX129" fmla="*/ 108467 w 2206810"/>
                  <a:gd name="connsiteY129" fmla="*/ 198381 h 1448389"/>
                  <a:gd name="connsiteX130" fmla="*/ 86809 w 2206810"/>
                  <a:gd name="connsiteY130" fmla="*/ 200490 h 1448389"/>
                  <a:gd name="connsiteX131" fmla="*/ 79514 w 2206810"/>
                  <a:gd name="connsiteY131" fmla="*/ 186185 h 1448389"/>
                  <a:gd name="connsiteX132" fmla="*/ 68115 w 2206810"/>
                  <a:gd name="connsiteY132" fmla="*/ 177635 h 1448389"/>
                  <a:gd name="connsiteX133" fmla="*/ 62416 w 2206810"/>
                  <a:gd name="connsiteY133" fmla="*/ 188236 h 1448389"/>
                  <a:gd name="connsiteX134" fmla="*/ 51473 w 2206810"/>
                  <a:gd name="connsiteY134" fmla="*/ 193252 h 1448389"/>
                  <a:gd name="connsiteX135" fmla="*/ 41271 w 2206810"/>
                  <a:gd name="connsiteY135" fmla="*/ 204024 h 1448389"/>
                  <a:gd name="connsiteX136" fmla="*/ 31354 w 2206810"/>
                  <a:gd name="connsiteY136" fmla="*/ 204024 h 1448389"/>
                  <a:gd name="connsiteX137" fmla="*/ 291 w 2206810"/>
                  <a:gd name="connsiteY137" fmla="*/ 215423 h 1448389"/>
                  <a:gd name="connsiteX138" fmla="*/ 13742 w 2206810"/>
                  <a:gd name="connsiteY138" fmla="*/ 229900 h 1448389"/>
                  <a:gd name="connsiteX139" fmla="*/ 34488 w 2206810"/>
                  <a:gd name="connsiteY139" fmla="*/ 236568 h 1448389"/>
                  <a:gd name="connsiteX140" fmla="*/ 36312 w 2206810"/>
                  <a:gd name="connsiteY140" fmla="*/ 243635 h 1448389"/>
                  <a:gd name="connsiteX141" fmla="*/ 32493 w 2206810"/>
                  <a:gd name="connsiteY141" fmla="*/ 247967 h 1448389"/>
                  <a:gd name="connsiteX142" fmla="*/ 42183 w 2206810"/>
                  <a:gd name="connsiteY142" fmla="*/ 258967 h 1448389"/>
                  <a:gd name="connsiteX143" fmla="*/ 46229 w 2206810"/>
                  <a:gd name="connsiteY143" fmla="*/ 267003 h 1448389"/>
                  <a:gd name="connsiteX144" fmla="*/ 60136 w 2206810"/>
                  <a:gd name="connsiteY144" fmla="*/ 262501 h 1448389"/>
                  <a:gd name="connsiteX145" fmla="*/ 90400 w 2206810"/>
                  <a:gd name="connsiteY145" fmla="*/ 260563 h 1448389"/>
                  <a:gd name="connsiteX146" fmla="*/ 105447 w 2206810"/>
                  <a:gd name="connsiteY146" fmla="*/ 265749 h 1448389"/>
                  <a:gd name="connsiteX147" fmla="*/ 110576 w 2206810"/>
                  <a:gd name="connsiteY147" fmla="*/ 261019 h 1448389"/>
                  <a:gd name="connsiteX148" fmla="*/ 138105 w 2206810"/>
                  <a:gd name="connsiteY148" fmla="*/ 239931 h 1448389"/>
                  <a:gd name="connsiteX149" fmla="*/ 156058 w 2206810"/>
                  <a:gd name="connsiteY149" fmla="*/ 256687 h 1448389"/>
                  <a:gd name="connsiteX150" fmla="*/ 146882 w 2206810"/>
                  <a:gd name="connsiteY150" fmla="*/ 268086 h 1448389"/>
                  <a:gd name="connsiteX151" fmla="*/ 152581 w 2206810"/>
                  <a:gd name="connsiteY151" fmla="*/ 285184 h 1448389"/>
                  <a:gd name="connsiteX152" fmla="*/ 141182 w 2206810"/>
                  <a:gd name="connsiteY152" fmla="*/ 300858 h 1448389"/>
                  <a:gd name="connsiteX153" fmla="*/ 120892 w 2206810"/>
                  <a:gd name="connsiteY153" fmla="*/ 303879 h 1448389"/>
                  <a:gd name="connsiteX154" fmla="*/ 110918 w 2206810"/>
                  <a:gd name="connsiteY154" fmla="*/ 306557 h 1448389"/>
                  <a:gd name="connsiteX155" fmla="*/ 110291 w 2206810"/>
                  <a:gd name="connsiteY155" fmla="*/ 322402 h 1448389"/>
                  <a:gd name="connsiteX156" fmla="*/ 94732 w 2206810"/>
                  <a:gd name="connsiteY156" fmla="*/ 319267 h 1448389"/>
                  <a:gd name="connsiteX157" fmla="*/ 79343 w 2206810"/>
                  <a:gd name="connsiteY157" fmla="*/ 313568 h 1448389"/>
                  <a:gd name="connsiteX158" fmla="*/ 72561 w 2206810"/>
                  <a:gd name="connsiteY158" fmla="*/ 347423 h 1448389"/>
                  <a:gd name="connsiteX159" fmla="*/ 59737 w 2206810"/>
                  <a:gd name="connsiteY159" fmla="*/ 351184 h 1448389"/>
                  <a:gd name="connsiteX160" fmla="*/ 55405 w 2206810"/>
                  <a:gd name="connsiteY160" fmla="*/ 365661 h 1448389"/>
                  <a:gd name="connsiteX161" fmla="*/ 46286 w 2206810"/>
                  <a:gd name="connsiteY161" fmla="*/ 376775 h 1448389"/>
                  <a:gd name="connsiteX162" fmla="*/ 50390 w 2206810"/>
                  <a:gd name="connsiteY162" fmla="*/ 383557 h 1448389"/>
                  <a:gd name="connsiteX163" fmla="*/ 59965 w 2206810"/>
                  <a:gd name="connsiteY163" fmla="*/ 384754 h 1448389"/>
                  <a:gd name="connsiteX164" fmla="*/ 62815 w 2206810"/>
                  <a:gd name="connsiteY164" fmla="*/ 400713 h 1448389"/>
                  <a:gd name="connsiteX165" fmla="*/ 51758 w 2206810"/>
                  <a:gd name="connsiteY165" fmla="*/ 405044 h 1448389"/>
                  <a:gd name="connsiteX166" fmla="*/ 66291 w 2206810"/>
                  <a:gd name="connsiteY166" fmla="*/ 417868 h 1448389"/>
                  <a:gd name="connsiteX167" fmla="*/ 71364 w 2206810"/>
                  <a:gd name="connsiteY167" fmla="*/ 421231 h 1448389"/>
                  <a:gd name="connsiteX168" fmla="*/ 77975 w 2206810"/>
                  <a:gd name="connsiteY168" fmla="*/ 421630 h 1448389"/>
                  <a:gd name="connsiteX169" fmla="*/ 109550 w 2206810"/>
                  <a:gd name="connsiteY169" fmla="*/ 434397 h 1448389"/>
                  <a:gd name="connsiteX170" fmla="*/ 120949 w 2206810"/>
                  <a:gd name="connsiteY170" fmla="*/ 419122 h 1448389"/>
                  <a:gd name="connsiteX171" fmla="*/ 133488 w 2206810"/>
                  <a:gd name="connsiteY171" fmla="*/ 438785 h 1448389"/>
                  <a:gd name="connsiteX172" fmla="*/ 138504 w 2206810"/>
                  <a:gd name="connsiteY172" fmla="*/ 444485 h 1448389"/>
                  <a:gd name="connsiteX173" fmla="*/ 133431 w 2206810"/>
                  <a:gd name="connsiteY173" fmla="*/ 450184 h 1448389"/>
                  <a:gd name="connsiteX174" fmla="*/ 126649 w 2206810"/>
                  <a:gd name="connsiteY174" fmla="*/ 468422 h 1448389"/>
                  <a:gd name="connsiteX175" fmla="*/ 144146 w 2206810"/>
                  <a:gd name="connsiteY175" fmla="*/ 469790 h 1448389"/>
                  <a:gd name="connsiteX176" fmla="*/ 146996 w 2206810"/>
                  <a:gd name="connsiteY176" fmla="*/ 463236 h 1448389"/>
                  <a:gd name="connsiteX177" fmla="*/ 169794 w 2206810"/>
                  <a:gd name="connsiteY177" fmla="*/ 459075 h 1448389"/>
                  <a:gd name="connsiteX178" fmla="*/ 191623 w 2206810"/>
                  <a:gd name="connsiteY178" fmla="*/ 453376 h 1448389"/>
                  <a:gd name="connsiteX179" fmla="*/ 193675 w 2206810"/>
                  <a:gd name="connsiteY179" fmla="*/ 448645 h 1448389"/>
                  <a:gd name="connsiteX180" fmla="*/ 197664 w 2206810"/>
                  <a:gd name="connsiteY180" fmla="*/ 447733 h 1448389"/>
                  <a:gd name="connsiteX181" fmla="*/ 214763 w 2206810"/>
                  <a:gd name="connsiteY181" fmla="*/ 449158 h 1448389"/>
                  <a:gd name="connsiteX182" fmla="*/ 215731 w 2206810"/>
                  <a:gd name="connsiteY182" fmla="*/ 455257 h 1448389"/>
                  <a:gd name="connsiteX183" fmla="*/ 223141 w 2206810"/>
                  <a:gd name="connsiteY183" fmla="*/ 456910 h 1448389"/>
                  <a:gd name="connsiteX184" fmla="*/ 230151 w 2206810"/>
                  <a:gd name="connsiteY184" fmla="*/ 465345 h 1448389"/>
                  <a:gd name="connsiteX185" fmla="*/ 239384 w 2206810"/>
                  <a:gd name="connsiteY185" fmla="*/ 472640 h 1448389"/>
                  <a:gd name="connsiteX186" fmla="*/ 232545 w 2206810"/>
                  <a:gd name="connsiteY186" fmla="*/ 478340 h 1448389"/>
                  <a:gd name="connsiteX187" fmla="*/ 225535 w 2206810"/>
                  <a:gd name="connsiteY187" fmla="*/ 493614 h 1448389"/>
                  <a:gd name="connsiteX188" fmla="*/ 221089 w 2206810"/>
                  <a:gd name="connsiteY188" fmla="*/ 521200 h 1448389"/>
                  <a:gd name="connsiteX189" fmla="*/ 211856 w 2206810"/>
                  <a:gd name="connsiteY189" fmla="*/ 525417 h 1448389"/>
                  <a:gd name="connsiteX190" fmla="*/ 206156 w 2206810"/>
                  <a:gd name="connsiteY190" fmla="*/ 535334 h 1448389"/>
                  <a:gd name="connsiteX191" fmla="*/ 187006 w 2206810"/>
                  <a:gd name="connsiteY191" fmla="*/ 541034 h 1448389"/>
                  <a:gd name="connsiteX192" fmla="*/ 181307 w 2206810"/>
                  <a:gd name="connsiteY192" fmla="*/ 549412 h 1448389"/>
                  <a:gd name="connsiteX193" fmla="*/ 136623 w 2206810"/>
                  <a:gd name="connsiteY193" fmla="*/ 574490 h 1448389"/>
                  <a:gd name="connsiteX194" fmla="*/ 130923 w 2206810"/>
                  <a:gd name="connsiteY194" fmla="*/ 574832 h 1448389"/>
                  <a:gd name="connsiteX195" fmla="*/ 125737 w 2206810"/>
                  <a:gd name="connsiteY195" fmla="*/ 578764 h 1448389"/>
                  <a:gd name="connsiteX196" fmla="*/ 110462 w 2206810"/>
                  <a:gd name="connsiteY196" fmla="*/ 598655 h 1448389"/>
                  <a:gd name="connsiteX197" fmla="*/ 109607 w 2206810"/>
                  <a:gd name="connsiteY197" fmla="*/ 606635 h 1448389"/>
                  <a:gd name="connsiteX198" fmla="*/ 127048 w 2206810"/>
                  <a:gd name="connsiteY198" fmla="*/ 597629 h 1448389"/>
                  <a:gd name="connsiteX199" fmla="*/ 132120 w 2206810"/>
                  <a:gd name="connsiteY199" fmla="*/ 593013 h 1448389"/>
                  <a:gd name="connsiteX200" fmla="*/ 136908 w 2206810"/>
                  <a:gd name="connsiteY200" fmla="*/ 593013 h 1448389"/>
                  <a:gd name="connsiteX201" fmla="*/ 157597 w 2206810"/>
                  <a:gd name="connsiteY201" fmla="*/ 581614 h 1448389"/>
                  <a:gd name="connsiteX202" fmla="*/ 188260 w 2206810"/>
                  <a:gd name="connsiteY202" fmla="*/ 574604 h 1448389"/>
                  <a:gd name="connsiteX203" fmla="*/ 202965 w 2206810"/>
                  <a:gd name="connsiteY203" fmla="*/ 570614 h 1448389"/>
                  <a:gd name="connsiteX204" fmla="*/ 210488 w 2206810"/>
                  <a:gd name="connsiteY204" fmla="*/ 558132 h 1448389"/>
                  <a:gd name="connsiteX205" fmla="*/ 210488 w 2206810"/>
                  <a:gd name="connsiteY205" fmla="*/ 551578 h 1448389"/>
                  <a:gd name="connsiteX206" fmla="*/ 214421 w 2206810"/>
                  <a:gd name="connsiteY206" fmla="*/ 549298 h 1448389"/>
                  <a:gd name="connsiteX207" fmla="*/ 232203 w 2206810"/>
                  <a:gd name="connsiteY207" fmla="*/ 532200 h 1448389"/>
                  <a:gd name="connsiteX208" fmla="*/ 250498 w 2206810"/>
                  <a:gd name="connsiteY208" fmla="*/ 525531 h 1448389"/>
                  <a:gd name="connsiteX209" fmla="*/ 265602 w 2206810"/>
                  <a:gd name="connsiteY209" fmla="*/ 511510 h 1448389"/>
                  <a:gd name="connsiteX210" fmla="*/ 277001 w 2206810"/>
                  <a:gd name="connsiteY210" fmla="*/ 504044 h 1448389"/>
                  <a:gd name="connsiteX211" fmla="*/ 277001 w 2206810"/>
                  <a:gd name="connsiteY211" fmla="*/ 500738 h 1448389"/>
                  <a:gd name="connsiteX212" fmla="*/ 285265 w 2206810"/>
                  <a:gd name="connsiteY212" fmla="*/ 498402 h 1448389"/>
                  <a:gd name="connsiteX213" fmla="*/ 302373 w 2206810"/>
                  <a:gd name="connsiteY213" fmla="*/ 481315 h 1448389"/>
                  <a:gd name="connsiteX214" fmla="*/ 302363 w 2206810"/>
                  <a:gd name="connsiteY214" fmla="*/ 480733 h 1448389"/>
                  <a:gd name="connsiteX215" fmla="*/ 314902 w 2206810"/>
                  <a:gd name="connsiteY215" fmla="*/ 478966 h 1448389"/>
                  <a:gd name="connsiteX216" fmla="*/ 310343 w 2206810"/>
                  <a:gd name="connsiteY216" fmla="*/ 463122 h 1448389"/>
                  <a:gd name="connsiteX217" fmla="*/ 294327 w 2206810"/>
                  <a:gd name="connsiteY217" fmla="*/ 453319 h 1448389"/>
                  <a:gd name="connsiteX218" fmla="*/ 302762 w 2206810"/>
                  <a:gd name="connsiteY218" fmla="*/ 443117 h 1448389"/>
                  <a:gd name="connsiteX219" fmla="*/ 312794 w 2206810"/>
                  <a:gd name="connsiteY219" fmla="*/ 433941 h 1448389"/>
                  <a:gd name="connsiteX220" fmla="*/ 313477 w 2206810"/>
                  <a:gd name="connsiteY220" fmla="*/ 430236 h 1448389"/>
                  <a:gd name="connsiteX221" fmla="*/ 317866 w 2206810"/>
                  <a:gd name="connsiteY221" fmla="*/ 428355 h 1448389"/>
                  <a:gd name="connsiteX222" fmla="*/ 333369 w 2206810"/>
                  <a:gd name="connsiteY222" fmla="*/ 411599 h 1448389"/>
                  <a:gd name="connsiteX223" fmla="*/ 343628 w 2206810"/>
                  <a:gd name="connsiteY223" fmla="*/ 407951 h 1448389"/>
                  <a:gd name="connsiteX224" fmla="*/ 344882 w 2206810"/>
                  <a:gd name="connsiteY224" fmla="*/ 397122 h 1448389"/>
                  <a:gd name="connsiteX225" fmla="*/ 351436 w 2206810"/>
                  <a:gd name="connsiteY225" fmla="*/ 392620 h 1448389"/>
                  <a:gd name="connsiteX226" fmla="*/ 359643 w 2206810"/>
                  <a:gd name="connsiteY226" fmla="*/ 383215 h 1448389"/>
                  <a:gd name="connsiteX227" fmla="*/ 380503 w 2206810"/>
                  <a:gd name="connsiteY227" fmla="*/ 377516 h 1448389"/>
                  <a:gd name="connsiteX228" fmla="*/ 382669 w 2206810"/>
                  <a:gd name="connsiteY228" fmla="*/ 384412 h 1448389"/>
                  <a:gd name="connsiteX229" fmla="*/ 398400 w 2206810"/>
                  <a:gd name="connsiteY229" fmla="*/ 389656 h 1448389"/>
                  <a:gd name="connsiteX230" fmla="*/ 395491 w 2206810"/>
                  <a:gd name="connsiteY230" fmla="*/ 402217 h 1448389"/>
                  <a:gd name="connsiteX231" fmla="*/ 383296 w 2206810"/>
                  <a:gd name="connsiteY231" fmla="*/ 399858 h 1448389"/>
                  <a:gd name="connsiteX232" fmla="*/ 379762 w 2206810"/>
                  <a:gd name="connsiteY232" fmla="*/ 395355 h 1448389"/>
                  <a:gd name="connsiteX233" fmla="*/ 372353 w 2206810"/>
                  <a:gd name="connsiteY233" fmla="*/ 400713 h 1448389"/>
                  <a:gd name="connsiteX234" fmla="*/ 365400 w 2206810"/>
                  <a:gd name="connsiteY234" fmla="*/ 404075 h 1448389"/>
                  <a:gd name="connsiteX235" fmla="*/ 363918 w 2206810"/>
                  <a:gd name="connsiteY235" fmla="*/ 412625 h 1448389"/>
                  <a:gd name="connsiteX236" fmla="*/ 352519 w 2206810"/>
                  <a:gd name="connsiteY236" fmla="*/ 426246 h 1448389"/>
                  <a:gd name="connsiteX237" fmla="*/ 353887 w 2206810"/>
                  <a:gd name="connsiteY237" fmla="*/ 434055 h 1448389"/>
                  <a:gd name="connsiteX238" fmla="*/ 360099 w 2206810"/>
                  <a:gd name="connsiteY238" fmla="*/ 440039 h 1448389"/>
                  <a:gd name="connsiteX239" fmla="*/ 355798 w 2206810"/>
                  <a:gd name="connsiteY239" fmla="*/ 451250 h 1448389"/>
                  <a:gd name="connsiteX240" fmla="*/ 350239 w 2206810"/>
                  <a:gd name="connsiteY240" fmla="*/ 451723 h 1448389"/>
                  <a:gd name="connsiteX241" fmla="*/ 354856 w 2206810"/>
                  <a:gd name="connsiteY241" fmla="*/ 460842 h 1448389"/>
                  <a:gd name="connsiteX242" fmla="*/ 365115 w 2206810"/>
                  <a:gd name="connsiteY242" fmla="*/ 460842 h 1448389"/>
                  <a:gd name="connsiteX243" fmla="*/ 376001 w 2206810"/>
                  <a:gd name="connsiteY243" fmla="*/ 445796 h 1448389"/>
                  <a:gd name="connsiteX244" fmla="*/ 391104 w 2206810"/>
                  <a:gd name="connsiteY244" fmla="*/ 442205 h 1448389"/>
                  <a:gd name="connsiteX245" fmla="*/ 403415 w 2206810"/>
                  <a:gd name="connsiteY245" fmla="*/ 430806 h 1448389"/>
                  <a:gd name="connsiteX246" fmla="*/ 422052 w 2206810"/>
                  <a:gd name="connsiteY246" fmla="*/ 430806 h 1448389"/>
                  <a:gd name="connsiteX247" fmla="*/ 436814 w 2206810"/>
                  <a:gd name="connsiteY247" fmla="*/ 422257 h 1448389"/>
                  <a:gd name="connsiteX248" fmla="*/ 427638 w 2206810"/>
                  <a:gd name="connsiteY248" fmla="*/ 407153 h 1448389"/>
                  <a:gd name="connsiteX249" fmla="*/ 428094 w 2206810"/>
                  <a:gd name="connsiteY249" fmla="*/ 385552 h 1448389"/>
                  <a:gd name="connsiteX250" fmla="*/ 450892 w 2206810"/>
                  <a:gd name="connsiteY250" fmla="*/ 386236 h 1448389"/>
                  <a:gd name="connsiteX251" fmla="*/ 463146 w 2206810"/>
                  <a:gd name="connsiteY251" fmla="*/ 397635 h 1448389"/>
                  <a:gd name="connsiteX252" fmla="*/ 478135 w 2206810"/>
                  <a:gd name="connsiteY252" fmla="*/ 403049 h 1448389"/>
                  <a:gd name="connsiteX253" fmla="*/ 462747 w 2206810"/>
                  <a:gd name="connsiteY253" fmla="*/ 415474 h 1448389"/>
                  <a:gd name="connsiteX254" fmla="*/ 497627 w 2206810"/>
                  <a:gd name="connsiteY254" fmla="*/ 414790 h 1448389"/>
                  <a:gd name="connsiteX255" fmla="*/ 506918 w 2206810"/>
                  <a:gd name="connsiteY255" fmla="*/ 410288 h 1448389"/>
                  <a:gd name="connsiteX256" fmla="*/ 510565 w 2206810"/>
                  <a:gd name="connsiteY256" fmla="*/ 403904 h 1448389"/>
                  <a:gd name="connsiteX257" fmla="*/ 527094 w 2206810"/>
                  <a:gd name="connsiteY257" fmla="*/ 399231 h 1448389"/>
                  <a:gd name="connsiteX258" fmla="*/ 544192 w 2206810"/>
                  <a:gd name="connsiteY258" fmla="*/ 409661 h 1448389"/>
                  <a:gd name="connsiteX259" fmla="*/ 549550 w 2206810"/>
                  <a:gd name="connsiteY259" fmla="*/ 414676 h 1448389"/>
                  <a:gd name="connsiteX260" fmla="*/ 558213 w 2206810"/>
                  <a:gd name="connsiteY260" fmla="*/ 413765 h 1448389"/>
                  <a:gd name="connsiteX261" fmla="*/ 581011 w 2206810"/>
                  <a:gd name="connsiteY261" fmla="*/ 421516 h 1448389"/>
                  <a:gd name="connsiteX262" fmla="*/ 594917 w 2206810"/>
                  <a:gd name="connsiteY262" fmla="*/ 442262 h 1448389"/>
                  <a:gd name="connsiteX263" fmla="*/ 620052 w 2206810"/>
                  <a:gd name="connsiteY263" fmla="*/ 423340 h 1448389"/>
                  <a:gd name="connsiteX264" fmla="*/ 615322 w 2206810"/>
                  <a:gd name="connsiteY264" fmla="*/ 443402 h 1448389"/>
                  <a:gd name="connsiteX265" fmla="*/ 627119 w 2206810"/>
                  <a:gd name="connsiteY265" fmla="*/ 445910 h 1448389"/>
                  <a:gd name="connsiteX266" fmla="*/ 637607 w 2206810"/>
                  <a:gd name="connsiteY266" fmla="*/ 456739 h 1448389"/>
                  <a:gd name="connsiteX267" fmla="*/ 662912 w 2206810"/>
                  <a:gd name="connsiteY267" fmla="*/ 465117 h 1448389"/>
                  <a:gd name="connsiteX268" fmla="*/ 677161 w 2206810"/>
                  <a:gd name="connsiteY268" fmla="*/ 487459 h 1448389"/>
                  <a:gd name="connsiteX269" fmla="*/ 686109 w 2206810"/>
                  <a:gd name="connsiteY269" fmla="*/ 473951 h 1448389"/>
                  <a:gd name="connsiteX270" fmla="*/ 703207 w 2206810"/>
                  <a:gd name="connsiteY270" fmla="*/ 483127 h 1448389"/>
                  <a:gd name="connsiteX271" fmla="*/ 707368 w 2206810"/>
                  <a:gd name="connsiteY271" fmla="*/ 459132 h 1448389"/>
                  <a:gd name="connsiteX272" fmla="*/ 726074 w 2206810"/>
                  <a:gd name="connsiteY272" fmla="*/ 485390 h 1448389"/>
                  <a:gd name="connsiteX273" fmla="*/ 720591 w 2206810"/>
                  <a:gd name="connsiteY273" fmla="*/ 496806 h 1448389"/>
                  <a:gd name="connsiteX274" fmla="*/ 714036 w 2206810"/>
                  <a:gd name="connsiteY274" fmla="*/ 500852 h 1448389"/>
                  <a:gd name="connsiteX275" fmla="*/ 702638 w 2206810"/>
                  <a:gd name="connsiteY275" fmla="*/ 495666 h 1448389"/>
                  <a:gd name="connsiteX276" fmla="*/ 691239 w 2206810"/>
                  <a:gd name="connsiteY276" fmla="*/ 495666 h 1448389"/>
                  <a:gd name="connsiteX277" fmla="*/ 725435 w 2206810"/>
                  <a:gd name="connsiteY277" fmla="*/ 544054 h 1448389"/>
                  <a:gd name="connsiteX278" fmla="*/ 719736 w 2206810"/>
                  <a:gd name="connsiteY278" fmla="*/ 509231 h 1448389"/>
                  <a:gd name="connsiteX279" fmla="*/ 739057 w 2206810"/>
                  <a:gd name="connsiteY279" fmla="*/ 512821 h 1448389"/>
                  <a:gd name="connsiteX280" fmla="*/ 739057 w 2206810"/>
                  <a:gd name="connsiteY280" fmla="*/ 496578 h 1448389"/>
                  <a:gd name="connsiteX281" fmla="*/ 740197 w 2206810"/>
                  <a:gd name="connsiteY281" fmla="*/ 492075 h 1448389"/>
                  <a:gd name="connsiteX282" fmla="*/ 746751 w 2206810"/>
                  <a:gd name="connsiteY282" fmla="*/ 491391 h 1448389"/>
                  <a:gd name="connsiteX283" fmla="*/ 759689 w 2206810"/>
                  <a:gd name="connsiteY283" fmla="*/ 513904 h 1448389"/>
                  <a:gd name="connsiteX284" fmla="*/ 741565 w 2206810"/>
                  <a:gd name="connsiteY284" fmla="*/ 532997 h 1448389"/>
                  <a:gd name="connsiteX285" fmla="*/ 733814 w 2206810"/>
                  <a:gd name="connsiteY285" fmla="*/ 535163 h 1448389"/>
                  <a:gd name="connsiteX286" fmla="*/ 734384 w 2206810"/>
                  <a:gd name="connsiteY286" fmla="*/ 557049 h 1448389"/>
                  <a:gd name="connsiteX287" fmla="*/ 757580 w 2206810"/>
                  <a:gd name="connsiteY287" fmla="*/ 547132 h 1448389"/>
                  <a:gd name="connsiteX288" fmla="*/ 779694 w 2206810"/>
                  <a:gd name="connsiteY288" fmla="*/ 533852 h 1448389"/>
                  <a:gd name="connsiteX289" fmla="*/ 788928 w 2206810"/>
                  <a:gd name="connsiteY289" fmla="*/ 550951 h 1448389"/>
                  <a:gd name="connsiteX290" fmla="*/ 790352 w 2206810"/>
                  <a:gd name="connsiteY290" fmla="*/ 569246 h 1448389"/>
                  <a:gd name="connsiteX291" fmla="*/ 756954 w 2206810"/>
                  <a:gd name="connsiteY291" fmla="*/ 571013 h 1448389"/>
                  <a:gd name="connsiteX292" fmla="*/ 763679 w 2206810"/>
                  <a:gd name="connsiteY292" fmla="*/ 587142 h 1448389"/>
                  <a:gd name="connsiteX293" fmla="*/ 755130 w 2206810"/>
                  <a:gd name="connsiteY293" fmla="*/ 590448 h 1448389"/>
                  <a:gd name="connsiteX294" fmla="*/ 758777 w 2206810"/>
                  <a:gd name="connsiteY294" fmla="*/ 602759 h 1448389"/>
                  <a:gd name="connsiteX295" fmla="*/ 769264 w 2206810"/>
                  <a:gd name="connsiteY295" fmla="*/ 606008 h 1448389"/>
                  <a:gd name="connsiteX296" fmla="*/ 777529 w 2206810"/>
                  <a:gd name="connsiteY296" fmla="*/ 599909 h 1448389"/>
                  <a:gd name="connsiteX297" fmla="*/ 806026 w 2206810"/>
                  <a:gd name="connsiteY297" fmla="*/ 589194 h 1448389"/>
                  <a:gd name="connsiteX298" fmla="*/ 812124 w 2206810"/>
                  <a:gd name="connsiteY298" fmla="*/ 590790 h 1448389"/>
                  <a:gd name="connsiteX299" fmla="*/ 824492 w 2206810"/>
                  <a:gd name="connsiteY299" fmla="*/ 613588 h 1448389"/>
                  <a:gd name="connsiteX300" fmla="*/ 824492 w 2206810"/>
                  <a:gd name="connsiteY300" fmla="*/ 614329 h 1448389"/>
                  <a:gd name="connsiteX301" fmla="*/ 825746 w 2206810"/>
                  <a:gd name="connsiteY301" fmla="*/ 613246 h 1448389"/>
                  <a:gd name="connsiteX302" fmla="*/ 829622 w 2206810"/>
                  <a:gd name="connsiteY302" fmla="*/ 609997 h 1448389"/>
                  <a:gd name="connsiteX303" fmla="*/ 2205760 w 2206810"/>
                  <a:gd name="connsiteY303" fmla="*/ 892007 h 1448389"/>
                  <a:gd name="connsiteX304" fmla="*/ 2204449 w 2206810"/>
                  <a:gd name="connsiteY304" fmla="*/ 888075 h 1448389"/>
                  <a:gd name="connsiteX305" fmla="*/ 2199661 w 2206810"/>
                  <a:gd name="connsiteY305" fmla="*/ 881235 h 1448389"/>
                  <a:gd name="connsiteX306" fmla="*/ 2201314 w 2206810"/>
                  <a:gd name="connsiteY306" fmla="*/ 878101 h 1448389"/>
                  <a:gd name="connsiteX307" fmla="*/ 2199091 w 2206810"/>
                  <a:gd name="connsiteY307" fmla="*/ 869893 h 1448389"/>
                  <a:gd name="connsiteX308" fmla="*/ 2194361 w 2206810"/>
                  <a:gd name="connsiteY308" fmla="*/ 862427 h 1448389"/>
                  <a:gd name="connsiteX309" fmla="*/ 2198692 w 2206810"/>
                  <a:gd name="connsiteY309" fmla="*/ 849204 h 1448389"/>
                  <a:gd name="connsiteX310" fmla="*/ 2189687 w 2206810"/>
                  <a:gd name="connsiteY310" fmla="*/ 836836 h 1448389"/>
                  <a:gd name="connsiteX311" fmla="*/ 2185698 w 2206810"/>
                  <a:gd name="connsiteY311" fmla="*/ 835070 h 1448389"/>
                  <a:gd name="connsiteX312" fmla="*/ 2181423 w 2206810"/>
                  <a:gd name="connsiteY312" fmla="*/ 835925 h 1448389"/>
                  <a:gd name="connsiteX313" fmla="*/ 2161646 w 2206810"/>
                  <a:gd name="connsiteY313" fmla="*/ 827204 h 1448389"/>
                  <a:gd name="connsiteX314" fmla="*/ 2158853 w 2206810"/>
                  <a:gd name="connsiteY314" fmla="*/ 825380 h 1448389"/>
                  <a:gd name="connsiteX315" fmla="*/ 2151786 w 2206810"/>
                  <a:gd name="connsiteY315" fmla="*/ 835867 h 1448389"/>
                  <a:gd name="connsiteX316" fmla="*/ 2140387 w 2206810"/>
                  <a:gd name="connsiteY316" fmla="*/ 866189 h 1448389"/>
                  <a:gd name="connsiteX317" fmla="*/ 2137024 w 2206810"/>
                  <a:gd name="connsiteY317" fmla="*/ 872572 h 1448389"/>
                  <a:gd name="connsiteX318" fmla="*/ 2135770 w 2206810"/>
                  <a:gd name="connsiteY318" fmla="*/ 879297 h 1448389"/>
                  <a:gd name="connsiteX319" fmla="*/ 2128190 w 2206810"/>
                  <a:gd name="connsiteY319" fmla="*/ 887733 h 1448389"/>
                  <a:gd name="connsiteX320" fmla="*/ 2125967 w 2206810"/>
                  <a:gd name="connsiteY320" fmla="*/ 897935 h 1448389"/>
                  <a:gd name="connsiteX321" fmla="*/ 2117247 w 2206810"/>
                  <a:gd name="connsiteY321" fmla="*/ 900956 h 1448389"/>
                  <a:gd name="connsiteX322" fmla="*/ 2114169 w 2206810"/>
                  <a:gd name="connsiteY322" fmla="*/ 909106 h 1448389"/>
                  <a:gd name="connsiteX323" fmla="*/ 2111832 w 2206810"/>
                  <a:gd name="connsiteY323" fmla="*/ 909391 h 1448389"/>
                  <a:gd name="connsiteX324" fmla="*/ 2036713 w 2206810"/>
                  <a:gd name="connsiteY324" fmla="*/ 908593 h 1448389"/>
                  <a:gd name="connsiteX325" fmla="*/ 2023434 w 2206810"/>
                  <a:gd name="connsiteY325" fmla="*/ 914292 h 1448389"/>
                  <a:gd name="connsiteX326" fmla="*/ 2021382 w 2206810"/>
                  <a:gd name="connsiteY326" fmla="*/ 916743 h 1448389"/>
                  <a:gd name="connsiteX327" fmla="*/ 2021382 w 2206810"/>
                  <a:gd name="connsiteY327" fmla="*/ 919023 h 1448389"/>
                  <a:gd name="connsiteX328" fmla="*/ 2016309 w 2206810"/>
                  <a:gd name="connsiteY328" fmla="*/ 923126 h 1448389"/>
                  <a:gd name="connsiteX329" fmla="*/ 2009983 w 2206810"/>
                  <a:gd name="connsiteY329" fmla="*/ 925577 h 1448389"/>
                  <a:gd name="connsiteX330" fmla="*/ 2009071 w 2206810"/>
                  <a:gd name="connsiteY330" fmla="*/ 926717 h 1448389"/>
                  <a:gd name="connsiteX331" fmla="*/ 2010040 w 2206810"/>
                  <a:gd name="connsiteY331" fmla="*/ 926717 h 1448389"/>
                  <a:gd name="connsiteX332" fmla="*/ 2002345 w 2206810"/>
                  <a:gd name="connsiteY332" fmla="*/ 941992 h 1448389"/>
                  <a:gd name="connsiteX333" fmla="*/ 1994822 w 2206810"/>
                  <a:gd name="connsiteY333" fmla="*/ 944670 h 1448389"/>
                  <a:gd name="connsiteX334" fmla="*/ 1991403 w 2206810"/>
                  <a:gd name="connsiteY334" fmla="*/ 951510 h 1448389"/>
                  <a:gd name="connsiteX335" fmla="*/ 1984620 w 2206810"/>
                  <a:gd name="connsiteY335" fmla="*/ 955043 h 1448389"/>
                  <a:gd name="connsiteX336" fmla="*/ 1958232 w 2206810"/>
                  <a:gd name="connsiteY336" fmla="*/ 959831 h 1448389"/>
                  <a:gd name="connsiteX337" fmla="*/ 1950822 w 2206810"/>
                  <a:gd name="connsiteY337" fmla="*/ 961712 h 1448389"/>
                  <a:gd name="connsiteX338" fmla="*/ 1936574 w 2206810"/>
                  <a:gd name="connsiteY338" fmla="*/ 979437 h 1448389"/>
                  <a:gd name="connsiteX339" fmla="*/ 1931501 w 2206810"/>
                  <a:gd name="connsiteY339" fmla="*/ 981147 h 1448389"/>
                  <a:gd name="connsiteX340" fmla="*/ 1928879 w 2206810"/>
                  <a:gd name="connsiteY340" fmla="*/ 984567 h 1448389"/>
                  <a:gd name="connsiteX341" fmla="*/ 1924890 w 2206810"/>
                  <a:gd name="connsiteY341" fmla="*/ 986504 h 1448389"/>
                  <a:gd name="connsiteX342" fmla="*/ 1912978 w 2206810"/>
                  <a:gd name="connsiteY342" fmla="*/ 989924 h 1448389"/>
                  <a:gd name="connsiteX343" fmla="*/ 1912636 w 2206810"/>
                  <a:gd name="connsiteY343" fmla="*/ 994370 h 1448389"/>
                  <a:gd name="connsiteX344" fmla="*/ 1902149 w 2206810"/>
                  <a:gd name="connsiteY344" fmla="*/ 997847 h 1448389"/>
                  <a:gd name="connsiteX345" fmla="*/ 1901408 w 2206810"/>
                  <a:gd name="connsiteY345" fmla="*/ 1000525 h 1448389"/>
                  <a:gd name="connsiteX346" fmla="*/ 1893144 w 2206810"/>
                  <a:gd name="connsiteY346" fmla="*/ 1007650 h 1448389"/>
                  <a:gd name="connsiteX347" fmla="*/ 1881745 w 2206810"/>
                  <a:gd name="connsiteY347" fmla="*/ 1007650 h 1448389"/>
                  <a:gd name="connsiteX348" fmla="*/ 1879807 w 2206810"/>
                  <a:gd name="connsiteY348" fmla="*/ 1015002 h 1448389"/>
                  <a:gd name="connsiteX349" fmla="*/ 1865159 w 2206810"/>
                  <a:gd name="connsiteY349" fmla="*/ 1017852 h 1448389"/>
                  <a:gd name="connsiteX350" fmla="*/ 1862366 w 2206810"/>
                  <a:gd name="connsiteY350" fmla="*/ 1016598 h 1448389"/>
                  <a:gd name="connsiteX351" fmla="*/ 1861683 w 2206810"/>
                  <a:gd name="connsiteY351" fmla="*/ 1013520 h 1448389"/>
                  <a:gd name="connsiteX352" fmla="*/ 1852107 w 2206810"/>
                  <a:gd name="connsiteY352" fmla="*/ 1005370 h 1448389"/>
                  <a:gd name="connsiteX353" fmla="*/ 1846750 w 2206810"/>
                  <a:gd name="connsiteY353" fmla="*/ 995168 h 1448389"/>
                  <a:gd name="connsiteX354" fmla="*/ 1851366 w 2206810"/>
                  <a:gd name="connsiteY354" fmla="*/ 992033 h 1448389"/>
                  <a:gd name="connsiteX355" fmla="*/ 1853190 w 2206810"/>
                  <a:gd name="connsiteY355" fmla="*/ 987302 h 1448389"/>
                  <a:gd name="connsiteX356" fmla="*/ 1875988 w 2206810"/>
                  <a:gd name="connsiteY356" fmla="*/ 989411 h 1448389"/>
                  <a:gd name="connsiteX357" fmla="*/ 1883910 w 2206810"/>
                  <a:gd name="connsiteY357" fmla="*/ 973567 h 1448389"/>
                  <a:gd name="connsiteX358" fmla="*/ 1882885 w 2206810"/>
                  <a:gd name="connsiteY358" fmla="*/ 972427 h 1448389"/>
                  <a:gd name="connsiteX359" fmla="*/ 1881118 w 2206810"/>
                  <a:gd name="connsiteY359" fmla="*/ 971800 h 1448389"/>
                  <a:gd name="connsiteX360" fmla="*/ 1876558 w 2206810"/>
                  <a:gd name="connsiteY360" fmla="*/ 972712 h 1448389"/>
                  <a:gd name="connsiteX361" fmla="*/ 1872341 w 2206810"/>
                  <a:gd name="connsiteY361" fmla="*/ 977727 h 1448389"/>
                  <a:gd name="connsiteX362" fmla="*/ 1867211 w 2206810"/>
                  <a:gd name="connsiteY362" fmla="*/ 977727 h 1448389"/>
                  <a:gd name="connsiteX363" fmla="*/ 1868237 w 2206810"/>
                  <a:gd name="connsiteY363" fmla="*/ 971344 h 1448389"/>
                  <a:gd name="connsiteX364" fmla="*/ 1870118 w 2206810"/>
                  <a:gd name="connsiteY364" fmla="*/ 950256 h 1448389"/>
                  <a:gd name="connsiteX365" fmla="*/ 1869662 w 2206810"/>
                  <a:gd name="connsiteY365" fmla="*/ 944100 h 1448389"/>
                  <a:gd name="connsiteX366" fmla="*/ 1853133 w 2206810"/>
                  <a:gd name="connsiteY366" fmla="*/ 941764 h 1448389"/>
                  <a:gd name="connsiteX367" fmla="*/ 1836320 w 2206810"/>
                  <a:gd name="connsiteY367" fmla="*/ 950085 h 1448389"/>
                  <a:gd name="connsiteX368" fmla="*/ 1837346 w 2206810"/>
                  <a:gd name="connsiteY368" fmla="*/ 937957 h 1448389"/>
                  <a:gd name="connsiteX369" fmla="*/ 1839227 w 2206810"/>
                  <a:gd name="connsiteY369" fmla="*/ 936748 h 1448389"/>
                  <a:gd name="connsiteX370" fmla="*/ 1843729 w 2206810"/>
                  <a:gd name="connsiteY370" fmla="*/ 935266 h 1448389"/>
                  <a:gd name="connsiteX371" fmla="*/ 1846055 w 2206810"/>
                  <a:gd name="connsiteY371" fmla="*/ 926210 h 1448389"/>
                  <a:gd name="connsiteX372" fmla="*/ 1845496 w 2206810"/>
                  <a:gd name="connsiteY372" fmla="*/ 925406 h 1448389"/>
                  <a:gd name="connsiteX373" fmla="*/ 1852803 w 2206810"/>
                  <a:gd name="connsiteY373" fmla="*/ 907755 h 1448389"/>
                  <a:gd name="connsiteX374" fmla="*/ 1850341 w 2206810"/>
                  <a:gd name="connsiteY374" fmla="*/ 903862 h 1448389"/>
                  <a:gd name="connsiteX375" fmla="*/ 1844014 w 2206810"/>
                  <a:gd name="connsiteY375" fmla="*/ 897593 h 1448389"/>
                  <a:gd name="connsiteX376" fmla="*/ 1841734 w 2206810"/>
                  <a:gd name="connsiteY376" fmla="*/ 890753 h 1448389"/>
                  <a:gd name="connsiteX377" fmla="*/ 1838315 w 2206810"/>
                  <a:gd name="connsiteY377" fmla="*/ 889613 h 1448389"/>
                  <a:gd name="connsiteX378" fmla="*/ 1806797 w 2206810"/>
                  <a:gd name="connsiteY378" fmla="*/ 902323 h 1448389"/>
                  <a:gd name="connsiteX379" fmla="*/ 1802294 w 2206810"/>
                  <a:gd name="connsiteY379" fmla="*/ 907168 h 1448389"/>
                  <a:gd name="connsiteX380" fmla="*/ 1793916 w 2206810"/>
                  <a:gd name="connsiteY380" fmla="*/ 910360 h 1448389"/>
                  <a:gd name="connsiteX381" fmla="*/ 1786677 w 2206810"/>
                  <a:gd name="connsiteY381" fmla="*/ 928085 h 1448389"/>
                  <a:gd name="connsiteX382" fmla="*/ 1784170 w 2206810"/>
                  <a:gd name="connsiteY382" fmla="*/ 981318 h 1448389"/>
                  <a:gd name="connsiteX383" fmla="*/ 1782631 w 2206810"/>
                  <a:gd name="connsiteY383" fmla="*/ 986619 h 1448389"/>
                  <a:gd name="connsiteX384" fmla="*/ 1774651 w 2206810"/>
                  <a:gd name="connsiteY384" fmla="*/ 990266 h 1448389"/>
                  <a:gd name="connsiteX385" fmla="*/ 1770719 w 2206810"/>
                  <a:gd name="connsiteY385" fmla="*/ 1001323 h 1448389"/>
                  <a:gd name="connsiteX386" fmla="*/ 1767413 w 2206810"/>
                  <a:gd name="connsiteY386" fmla="*/ 1002349 h 1448389"/>
                  <a:gd name="connsiteX387" fmla="*/ 1753734 w 2206810"/>
                  <a:gd name="connsiteY387" fmla="*/ 989639 h 1448389"/>
                  <a:gd name="connsiteX388" fmla="*/ 1753222 w 2206810"/>
                  <a:gd name="connsiteY388" fmla="*/ 983940 h 1448389"/>
                  <a:gd name="connsiteX389" fmla="*/ 1748776 w 2206810"/>
                  <a:gd name="connsiteY389" fmla="*/ 979551 h 1448389"/>
                  <a:gd name="connsiteX390" fmla="*/ 1746667 w 2206810"/>
                  <a:gd name="connsiteY390" fmla="*/ 964676 h 1448389"/>
                  <a:gd name="connsiteX391" fmla="*/ 1752367 w 2206810"/>
                  <a:gd name="connsiteY391" fmla="*/ 944499 h 1448389"/>
                  <a:gd name="connsiteX392" fmla="*/ 1758066 w 2206810"/>
                  <a:gd name="connsiteY392" fmla="*/ 926945 h 1448389"/>
                  <a:gd name="connsiteX393" fmla="*/ 1766501 w 2206810"/>
                  <a:gd name="connsiteY393" fmla="*/ 915147 h 1448389"/>
                  <a:gd name="connsiteX394" fmla="*/ 1753963 w 2206810"/>
                  <a:gd name="connsiteY394" fmla="*/ 906028 h 1448389"/>
                  <a:gd name="connsiteX395" fmla="*/ 1758636 w 2206810"/>
                  <a:gd name="connsiteY395" fmla="*/ 899189 h 1448389"/>
                  <a:gd name="connsiteX396" fmla="*/ 1772600 w 2206810"/>
                  <a:gd name="connsiteY396" fmla="*/ 889557 h 1448389"/>
                  <a:gd name="connsiteX397" fmla="*/ 1782745 w 2206810"/>
                  <a:gd name="connsiteY397" fmla="*/ 883173 h 1448389"/>
                  <a:gd name="connsiteX398" fmla="*/ 1796594 w 2206810"/>
                  <a:gd name="connsiteY398" fmla="*/ 878158 h 1448389"/>
                  <a:gd name="connsiteX399" fmla="*/ 1823496 w 2206810"/>
                  <a:gd name="connsiteY399" fmla="*/ 875821 h 1448389"/>
                  <a:gd name="connsiteX400" fmla="*/ 1836035 w 2206810"/>
                  <a:gd name="connsiteY400" fmla="*/ 870121 h 1448389"/>
                  <a:gd name="connsiteX401" fmla="*/ 1824636 w 2206810"/>
                  <a:gd name="connsiteY401" fmla="*/ 862541 h 1448389"/>
                  <a:gd name="connsiteX402" fmla="*/ 1811299 w 2206810"/>
                  <a:gd name="connsiteY402" fmla="*/ 856841 h 1448389"/>
                  <a:gd name="connsiteX403" fmla="*/ 1795740 w 2206810"/>
                  <a:gd name="connsiteY403" fmla="*/ 856101 h 1448389"/>
                  <a:gd name="connsiteX404" fmla="*/ 1783087 w 2206810"/>
                  <a:gd name="connsiteY404" fmla="*/ 862712 h 1448389"/>
                  <a:gd name="connsiteX405" fmla="*/ 1755501 w 2206810"/>
                  <a:gd name="connsiteY405" fmla="*/ 862427 h 1448389"/>
                  <a:gd name="connsiteX406" fmla="*/ 1748947 w 2206810"/>
                  <a:gd name="connsiteY406" fmla="*/ 846560 h 1448389"/>
                  <a:gd name="connsiteX407" fmla="*/ 1740854 w 2206810"/>
                  <a:gd name="connsiteY407" fmla="*/ 846127 h 1448389"/>
                  <a:gd name="connsiteX408" fmla="*/ 1740341 w 2206810"/>
                  <a:gd name="connsiteY408" fmla="*/ 840712 h 1448389"/>
                  <a:gd name="connsiteX409" fmla="*/ 1729284 w 2206810"/>
                  <a:gd name="connsiteY409" fmla="*/ 840256 h 1448389"/>
                  <a:gd name="connsiteX410" fmla="*/ 1727745 w 2206810"/>
                  <a:gd name="connsiteY410" fmla="*/ 844987 h 1448389"/>
                  <a:gd name="connsiteX411" fmla="*/ 1717828 w 2206810"/>
                  <a:gd name="connsiteY411" fmla="*/ 848064 h 1448389"/>
                  <a:gd name="connsiteX412" fmla="*/ 1713781 w 2206810"/>
                  <a:gd name="connsiteY412" fmla="*/ 856044 h 1448389"/>
                  <a:gd name="connsiteX413" fmla="*/ 1703693 w 2206810"/>
                  <a:gd name="connsiteY413" fmla="*/ 859748 h 1448389"/>
                  <a:gd name="connsiteX414" fmla="*/ 1701299 w 2206810"/>
                  <a:gd name="connsiteY414" fmla="*/ 862883 h 1448389"/>
                  <a:gd name="connsiteX415" fmla="*/ 1691097 w 2206810"/>
                  <a:gd name="connsiteY415" fmla="*/ 859292 h 1448389"/>
                  <a:gd name="connsiteX416" fmla="*/ 1678900 w 2206810"/>
                  <a:gd name="connsiteY416" fmla="*/ 857298 h 1448389"/>
                  <a:gd name="connsiteX417" fmla="*/ 1666533 w 2206810"/>
                  <a:gd name="connsiteY417" fmla="*/ 855873 h 1448389"/>
                  <a:gd name="connsiteX418" fmla="*/ 1662030 w 2206810"/>
                  <a:gd name="connsiteY418" fmla="*/ 845557 h 1448389"/>
                  <a:gd name="connsiteX419" fmla="*/ 1673429 w 2206810"/>
                  <a:gd name="connsiteY419" fmla="*/ 840655 h 1448389"/>
                  <a:gd name="connsiteX420" fmla="*/ 1676279 w 2206810"/>
                  <a:gd name="connsiteY420" fmla="*/ 829541 h 1448389"/>
                  <a:gd name="connsiteX421" fmla="*/ 1690926 w 2206810"/>
                  <a:gd name="connsiteY421" fmla="*/ 827489 h 1448389"/>
                  <a:gd name="connsiteX422" fmla="*/ 1693662 w 2206810"/>
                  <a:gd name="connsiteY422" fmla="*/ 824013 h 1448389"/>
                  <a:gd name="connsiteX423" fmla="*/ 1707569 w 2206810"/>
                  <a:gd name="connsiteY423" fmla="*/ 820821 h 1448389"/>
                  <a:gd name="connsiteX424" fmla="*/ 1707968 w 2206810"/>
                  <a:gd name="connsiteY424" fmla="*/ 816774 h 1448389"/>
                  <a:gd name="connsiteX425" fmla="*/ 1709621 w 2206810"/>
                  <a:gd name="connsiteY425" fmla="*/ 814665 h 1448389"/>
                  <a:gd name="connsiteX426" fmla="*/ 1703408 w 2206810"/>
                  <a:gd name="connsiteY426" fmla="*/ 812215 h 1448389"/>
                  <a:gd name="connsiteX427" fmla="*/ 1697139 w 2206810"/>
                  <a:gd name="connsiteY427" fmla="*/ 813753 h 1448389"/>
                  <a:gd name="connsiteX428" fmla="*/ 1672061 w 2206810"/>
                  <a:gd name="connsiteY428" fmla="*/ 808054 h 1448389"/>
                  <a:gd name="connsiteX429" fmla="*/ 1649263 w 2206810"/>
                  <a:gd name="connsiteY429" fmla="*/ 798365 h 1448389"/>
                  <a:gd name="connsiteX430" fmla="*/ 1638212 w 2206810"/>
                  <a:gd name="connsiteY430" fmla="*/ 801916 h 1448389"/>
                  <a:gd name="connsiteX431" fmla="*/ 1637465 w 2206810"/>
                  <a:gd name="connsiteY431" fmla="*/ 804064 h 1448389"/>
                  <a:gd name="connsiteX432" fmla="*/ 1626066 w 2206810"/>
                  <a:gd name="connsiteY432" fmla="*/ 802298 h 1448389"/>
                  <a:gd name="connsiteX433" fmla="*/ 1619740 w 2206810"/>
                  <a:gd name="connsiteY433" fmla="*/ 793520 h 1448389"/>
                  <a:gd name="connsiteX434" fmla="*/ 1606574 w 2206810"/>
                  <a:gd name="connsiteY434" fmla="*/ 792665 h 1448389"/>
                  <a:gd name="connsiteX435" fmla="*/ 1608284 w 2206810"/>
                  <a:gd name="connsiteY435" fmla="*/ 773515 h 1448389"/>
                  <a:gd name="connsiteX436" fmla="*/ 1600533 w 2206810"/>
                  <a:gd name="connsiteY436" fmla="*/ 771805 h 1448389"/>
                  <a:gd name="connsiteX437" fmla="*/ 1596885 w 2206810"/>
                  <a:gd name="connsiteY437" fmla="*/ 777505 h 1448389"/>
                  <a:gd name="connsiteX438" fmla="*/ 1592667 w 2206810"/>
                  <a:gd name="connsiteY438" fmla="*/ 779728 h 1448389"/>
                  <a:gd name="connsiteX439" fmla="*/ 1591186 w 2206810"/>
                  <a:gd name="connsiteY439" fmla="*/ 790386 h 1448389"/>
                  <a:gd name="connsiteX440" fmla="*/ 996787 w 2206810"/>
                  <a:gd name="connsiteY440" fmla="*/ 790386 h 1448389"/>
                  <a:gd name="connsiteX441" fmla="*/ 997357 w 2206810"/>
                  <a:gd name="connsiteY441" fmla="*/ 795458 h 1448389"/>
                  <a:gd name="connsiteX442" fmla="*/ 999580 w 2206810"/>
                  <a:gd name="connsiteY442" fmla="*/ 808738 h 1448389"/>
                  <a:gd name="connsiteX443" fmla="*/ 1004026 w 2206810"/>
                  <a:gd name="connsiteY443" fmla="*/ 815862 h 1448389"/>
                  <a:gd name="connsiteX444" fmla="*/ 1004026 w 2206810"/>
                  <a:gd name="connsiteY444" fmla="*/ 822018 h 1448389"/>
                  <a:gd name="connsiteX445" fmla="*/ 1002145 w 2206810"/>
                  <a:gd name="connsiteY445" fmla="*/ 843334 h 1448389"/>
                  <a:gd name="connsiteX446" fmla="*/ 990176 w 2206810"/>
                  <a:gd name="connsiteY446" fmla="*/ 837634 h 1448389"/>
                  <a:gd name="connsiteX447" fmla="*/ 989777 w 2206810"/>
                  <a:gd name="connsiteY447" fmla="*/ 821733 h 1448389"/>
                  <a:gd name="connsiteX448" fmla="*/ 980031 w 2206810"/>
                  <a:gd name="connsiteY448" fmla="*/ 811417 h 1448389"/>
                  <a:gd name="connsiteX449" fmla="*/ 960995 w 2206810"/>
                  <a:gd name="connsiteY449" fmla="*/ 777904 h 1448389"/>
                  <a:gd name="connsiteX450" fmla="*/ 939337 w 2206810"/>
                  <a:gd name="connsiteY450" fmla="*/ 762515 h 1448389"/>
                  <a:gd name="connsiteX451" fmla="*/ 937798 w 2206810"/>
                  <a:gd name="connsiteY451" fmla="*/ 754365 h 1448389"/>
                  <a:gd name="connsiteX452" fmla="*/ 928793 w 2206810"/>
                  <a:gd name="connsiteY452" fmla="*/ 749235 h 1448389"/>
                  <a:gd name="connsiteX453" fmla="*/ 906394 w 2206810"/>
                  <a:gd name="connsiteY453" fmla="*/ 743935 h 1448389"/>
                  <a:gd name="connsiteX454" fmla="*/ 897901 w 2206810"/>
                  <a:gd name="connsiteY454" fmla="*/ 740800 h 1448389"/>
                  <a:gd name="connsiteX455" fmla="*/ 890549 w 2206810"/>
                  <a:gd name="connsiteY455" fmla="*/ 734246 h 1448389"/>
                  <a:gd name="connsiteX456" fmla="*/ 873451 w 2206810"/>
                  <a:gd name="connsiteY456" fmla="*/ 734246 h 1448389"/>
                  <a:gd name="connsiteX457" fmla="*/ 879492 w 2206810"/>
                  <a:gd name="connsiteY457" fmla="*/ 748666 h 1448389"/>
                  <a:gd name="connsiteX458" fmla="*/ 895622 w 2206810"/>
                  <a:gd name="connsiteY458" fmla="*/ 756702 h 1448389"/>
                  <a:gd name="connsiteX459" fmla="*/ 899098 w 2206810"/>
                  <a:gd name="connsiteY459" fmla="*/ 761831 h 1448389"/>
                  <a:gd name="connsiteX460" fmla="*/ 926342 w 2206810"/>
                  <a:gd name="connsiteY460" fmla="*/ 775282 h 1448389"/>
                  <a:gd name="connsiteX461" fmla="*/ 949140 w 2206810"/>
                  <a:gd name="connsiteY461" fmla="*/ 793919 h 1448389"/>
                  <a:gd name="connsiteX462" fmla="*/ 950337 w 2206810"/>
                  <a:gd name="connsiteY462" fmla="*/ 803095 h 1448389"/>
                  <a:gd name="connsiteX463" fmla="*/ 956606 w 2206810"/>
                  <a:gd name="connsiteY463" fmla="*/ 810790 h 1448389"/>
                  <a:gd name="connsiteX464" fmla="*/ 967150 w 2206810"/>
                  <a:gd name="connsiteY464" fmla="*/ 853251 h 1448389"/>
                  <a:gd name="connsiteX465" fmla="*/ 978549 w 2206810"/>
                  <a:gd name="connsiteY465" fmla="*/ 871774 h 1448389"/>
                  <a:gd name="connsiteX466" fmla="*/ 961964 w 2206810"/>
                  <a:gd name="connsiteY466" fmla="*/ 875935 h 1448389"/>
                  <a:gd name="connsiteX467" fmla="*/ 961964 w 2206810"/>
                  <a:gd name="connsiteY467" fmla="*/ 912525 h 1448389"/>
                  <a:gd name="connsiteX468" fmla="*/ 966238 w 2206810"/>
                  <a:gd name="connsiteY468" fmla="*/ 924551 h 1448389"/>
                  <a:gd name="connsiteX469" fmla="*/ 972565 w 2206810"/>
                  <a:gd name="connsiteY469" fmla="*/ 927743 h 1448389"/>
                  <a:gd name="connsiteX470" fmla="*/ 974217 w 2206810"/>
                  <a:gd name="connsiteY470" fmla="*/ 934354 h 1448389"/>
                  <a:gd name="connsiteX471" fmla="*/ 974217 w 2206810"/>
                  <a:gd name="connsiteY471" fmla="*/ 955043 h 1448389"/>
                  <a:gd name="connsiteX472" fmla="*/ 963958 w 2206810"/>
                  <a:gd name="connsiteY472" fmla="*/ 955043 h 1448389"/>
                  <a:gd name="connsiteX473" fmla="*/ 972565 w 2206810"/>
                  <a:gd name="connsiteY473" fmla="*/ 1005598 h 1448389"/>
                  <a:gd name="connsiteX474" fmla="*/ 972565 w 2206810"/>
                  <a:gd name="connsiteY474" fmla="*/ 1016199 h 1448389"/>
                  <a:gd name="connsiteX475" fmla="*/ 968860 w 2206810"/>
                  <a:gd name="connsiteY475" fmla="*/ 1022582 h 1448389"/>
                  <a:gd name="connsiteX476" fmla="*/ 965440 w 2206810"/>
                  <a:gd name="connsiteY476" fmla="*/ 1046976 h 1448389"/>
                  <a:gd name="connsiteX477" fmla="*/ 990518 w 2206810"/>
                  <a:gd name="connsiteY477" fmla="*/ 1099582 h 1448389"/>
                  <a:gd name="connsiteX478" fmla="*/ 1028590 w 2206810"/>
                  <a:gd name="connsiteY478" fmla="*/ 1144323 h 1448389"/>
                  <a:gd name="connsiteX479" fmla="*/ 1033948 w 2206810"/>
                  <a:gd name="connsiteY479" fmla="*/ 1150706 h 1448389"/>
                  <a:gd name="connsiteX480" fmla="*/ 1036114 w 2206810"/>
                  <a:gd name="connsiteY480" fmla="*/ 1160624 h 1448389"/>
                  <a:gd name="connsiteX481" fmla="*/ 1037881 w 2206810"/>
                  <a:gd name="connsiteY481" fmla="*/ 1182110 h 1448389"/>
                  <a:gd name="connsiteX482" fmla="*/ 1039590 w 2206810"/>
                  <a:gd name="connsiteY482" fmla="*/ 1189919 h 1448389"/>
                  <a:gd name="connsiteX483" fmla="*/ 1046259 w 2206810"/>
                  <a:gd name="connsiteY483" fmla="*/ 1196245 h 1448389"/>
                  <a:gd name="connsiteX484" fmla="*/ 1058285 w 2206810"/>
                  <a:gd name="connsiteY484" fmla="*/ 1204566 h 1448389"/>
                  <a:gd name="connsiteX485" fmla="*/ 1097212 w 2206810"/>
                  <a:gd name="connsiteY485" fmla="*/ 1214369 h 1448389"/>
                  <a:gd name="connsiteX486" fmla="*/ 1111062 w 2206810"/>
                  <a:gd name="connsiteY486" fmla="*/ 1234090 h 1448389"/>
                  <a:gd name="connsiteX487" fmla="*/ 1114994 w 2206810"/>
                  <a:gd name="connsiteY487" fmla="*/ 1250903 h 1448389"/>
                  <a:gd name="connsiteX488" fmla="*/ 1116134 w 2206810"/>
                  <a:gd name="connsiteY488" fmla="*/ 1255919 h 1448389"/>
                  <a:gd name="connsiteX489" fmla="*/ 1155062 w 2206810"/>
                  <a:gd name="connsiteY489" fmla="*/ 1250219 h 1448389"/>
                  <a:gd name="connsiteX490" fmla="*/ 1178772 w 2206810"/>
                  <a:gd name="connsiteY490" fmla="*/ 1253867 h 1448389"/>
                  <a:gd name="connsiteX491" fmla="*/ 1187834 w 2206810"/>
                  <a:gd name="connsiteY491" fmla="*/ 1262587 h 1448389"/>
                  <a:gd name="connsiteX492" fmla="*/ 1204932 w 2206810"/>
                  <a:gd name="connsiteY492" fmla="*/ 1264867 h 1448389"/>
                  <a:gd name="connsiteX493" fmla="*/ 1211031 w 2206810"/>
                  <a:gd name="connsiteY493" fmla="*/ 1274157 h 1448389"/>
                  <a:gd name="connsiteX494" fmla="*/ 1217243 w 2206810"/>
                  <a:gd name="connsiteY494" fmla="*/ 1276380 h 1448389"/>
                  <a:gd name="connsiteX495" fmla="*/ 1269108 w 2206810"/>
                  <a:gd name="connsiteY495" fmla="*/ 1285214 h 1448389"/>
                  <a:gd name="connsiteX496" fmla="*/ 1303305 w 2206810"/>
                  <a:gd name="connsiteY496" fmla="*/ 1283447 h 1448389"/>
                  <a:gd name="connsiteX497" fmla="*/ 1315502 w 2206810"/>
                  <a:gd name="connsiteY497" fmla="*/ 1274955 h 1448389"/>
                  <a:gd name="connsiteX498" fmla="*/ 1333797 w 2206810"/>
                  <a:gd name="connsiteY498" fmla="*/ 1270395 h 1448389"/>
                  <a:gd name="connsiteX499" fmla="*/ 1374719 w 2206810"/>
                  <a:gd name="connsiteY499" fmla="*/ 1298323 h 1448389"/>
                  <a:gd name="connsiteX500" fmla="*/ 1376372 w 2206810"/>
                  <a:gd name="connsiteY500" fmla="*/ 1306473 h 1448389"/>
                  <a:gd name="connsiteX501" fmla="*/ 1388678 w 2206810"/>
                  <a:gd name="connsiteY501" fmla="*/ 1323634 h 1448389"/>
                  <a:gd name="connsiteX502" fmla="*/ 1388512 w 2206810"/>
                  <a:gd name="connsiteY502" fmla="*/ 1324483 h 1448389"/>
                  <a:gd name="connsiteX503" fmla="*/ 1400994 w 2206810"/>
                  <a:gd name="connsiteY503" fmla="*/ 1334400 h 1448389"/>
                  <a:gd name="connsiteX504" fmla="*/ 1414730 w 2206810"/>
                  <a:gd name="connsiteY504" fmla="*/ 1340556 h 1448389"/>
                  <a:gd name="connsiteX505" fmla="*/ 1417807 w 2206810"/>
                  <a:gd name="connsiteY505" fmla="*/ 1347965 h 1448389"/>
                  <a:gd name="connsiteX506" fmla="*/ 1424932 w 2206810"/>
                  <a:gd name="connsiteY506" fmla="*/ 1347965 h 1448389"/>
                  <a:gd name="connsiteX507" fmla="*/ 1425673 w 2206810"/>
                  <a:gd name="connsiteY507" fmla="*/ 1331608 h 1448389"/>
                  <a:gd name="connsiteX508" fmla="*/ 1434963 w 2206810"/>
                  <a:gd name="connsiteY508" fmla="*/ 1331608 h 1448389"/>
                  <a:gd name="connsiteX509" fmla="*/ 1444994 w 2206810"/>
                  <a:gd name="connsiteY509" fmla="*/ 1325110 h 1448389"/>
                  <a:gd name="connsiteX510" fmla="*/ 1468533 w 2206810"/>
                  <a:gd name="connsiteY510" fmla="*/ 1336965 h 1448389"/>
                  <a:gd name="connsiteX511" fmla="*/ 1484605 w 2206810"/>
                  <a:gd name="connsiteY511" fmla="*/ 1358338 h 1448389"/>
                  <a:gd name="connsiteX512" fmla="*/ 1500336 w 2206810"/>
                  <a:gd name="connsiteY512" fmla="*/ 1377659 h 1448389"/>
                  <a:gd name="connsiteX513" fmla="*/ 1498911 w 2206810"/>
                  <a:gd name="connsiteY513" fmla="*/ 1384271 h 1448389"/>
                  <a:gd name="connsiteX514" fmla="*/ 1506149 w 2206810"/>
                  <a:gd name="connsiteY514" fmla="*/ 1388602 h 1448389"/>
                  <a:gd name="connsiteX515" fmla="*/ 1505180 w 2206810"/>
                  <a:gd name="connsiteY515" fmla="*/ 1411400 h 1448389"/>
                  <a:gd name="connsiteX516" fmla="*/ 1542170 w 2206810"/>
                  <a:gd name="connsiteY516" fmla="*/ 1426618 h 1448389"/>
                  <a:gd name="connsiteX517" fmla="*/ 1547584 w 2206810"/>
                  <a:gd name="connsiteY517" fmla="*/ 1428499 h 1448389"/>
                  <a:gd name="connsiteX518" fmla="*/ 1542512 w 2206810"/>
                  <a:gd name="connsiteY518" fmla="*/ 1396924 h 1448389"/>
                  <a:gd name="connsiteX519" fmla="*/ 1547641 w 2206810"/>
                  <a:gd name="connsiteY519" fmla="*/ 1387690 h 1448389"/>
                  <a:gd name="connsiteX520" fmla="*/ 1546901 w 2206810"/>
                  <a:gd name="connsiteY520" fmla="*/ 1368369 h 1448389"/>
                  <a:gd name="connsiteX521" fmla="*/ 1557502 w 2206810"/>
                  <a:gd name="connsiteY521" fmla="*/ 1363126 h 1448389"/>
                  <a:gd name="connsiteX522" fmla="*/ 1582636 w 2206810"/>
                  <a:gd name="connsiteY522" fmla="*/ 1330639 h 1448389"/>
                  <a:gd name="connsiteX523" fmla="*/ 1621564 w 2206810"/>
                  <a:gd name="connsiteY523" fmla="*/ 1302141 h 1448389"/>
                  <a:gd name="connsiteX524" fmla="*/ 1676393 w 2206810"/>
                  <a:gd name="connsiteY524" fmla="*/ 1328815 h 1448389"/>
                  <a:gd name="connsiteX525" fmla="*/ 1683460 w 2206810"/>
                  <a:gd name="connsiteY525" fmla="*/ 1337991 h 1448389"/>
                  <a:gd name="connsiteX526" fmla="*/ 1689729 w 2206810"/>
                  <a:gd name="connsiteY526" fmla="*/ 1337991 h 1448389"/>
                  <a:gd name="connsiteX527" fmla="*/ 1716061 w 2206810"/>
                  <a:gd name="connsiteY527" fmla="*/ 1333317 h 1448389"/>
                  <a:gd name="connsiteX528" fmla="*/ 1711843 w 2206810"/>
                  <a:gd name="connsiteY528" fmla="*/ 1323343 h 1448389"/>
                  <a:gd name="connsiteX529" fmla="*/ 1729512 w 2206810"/>
                  <a:gd name="connsiteY529" fmla="*/ 1305162 h 1448389"/>
                  <a:gd name="connsiteX530" fmla="*/ 1754817 w 2206810"/>
                  <a:gd name="connsiteY530" fmla="*/ 1293250 h 1448389"/>
                  <a:gd name="connsiteX531" fmla="*/ 1770035 w 2206810"/>
                  <a:gd name="connsiteY531" fmla="*/ 1314110 h 1448389"/>
                  <a:gd name="connsiteX532" fmla="*/ 1801439 w 2206810"/>
                  <a:gd name="connsiteY532" fmla="*/ 1306803 h 1448389"/>
                  <a:gd name="connsiteX533" fmla="*/ 1804574 w 2206810"/>
                  <a:gd name="connsiteY533" fmla="*/ 1309152 h 1448389"/>
                  <a:gd name="connsiteX534" fmla="*/ 1818480 w 2206810"/>
                  <a:gd name="connsiteY534" fmla="*/ 1325224 h 1448389"/>
                  <a:gd name="connsiteX535" fmla="*/ 1831304 w 2206810"/>
                  <a:gd name="connsiteY535" fmla="*/ 1316675 h 1448389"/>
                  <a:gd name="connsiteX536" fmla="*/ 1854729 w 2206810"/>
                  <a:gd name="connsiteY536" fmla="*/ 1327675 h 1448389"/>
                  <a:gd name="connsiteX537" fmla="*/ 1860429 w 2206810"/>
                  <a:gd name="connsiteY537" fmla="*/ 1356172 h 1448389"/>
                  <a:gd name="connsiteX538" fmla="*/ 1874848 w 2206810"/>
                  <a:gd name="connsiteY538" fmla="*/ 1388545 h 1448389"/>
                  <a:gd name="connsiteX539" fmla="*/ 1909330 w 2206810"/>
                  <a:gd name="connsiteY539" fmla="*/ 1448390 h 1448389"/>
                  <a:gd name="connsiteX540" fmla="*/ 1906936 w 2206810"/>
                  <a:gd name="connsiteY540" fmla="*/ 1366260 h 1448389"/>
                  <a:gd name="connsiteX541" fmla="*/ 1886760 w 2206810"/>
                  <a:gd name="connsiteY541" fmla="*/ 1320950 h 1448389"/>
                  <a:gd name="connsiteX542" fmla="*/ 1892460 w 2206810"/>
                  <a:gd name="connsiteY542" fmla="*/ 1270908 h 1448389"/>
                  <a:gd name="connsiteX543" fmla="*/ 1929791 w 2206810"/>
                  <a:gd name="connsiteY543" fmla="*/ 1231012 h 1448389"/>
                  <a:gd name="connsiteX544" fmla="*/ 1943242 w 2206810"/>
                  <a:gd name="connsiteY544" fmla="*/ 1219898 h 1448389"/>
                  <a:gd name="connsiteX545" fmla="*/ 1986216 w 2206810"/>
                  <a:gd name="connsiteY545" fmla="*/ 1184504 h 1448389"/>
                  <a:gd name="connsiteX546" fmla="*/ 2000465 w 2206810"/>
                  <a:gd name="connsiteY546" fmla="*/ 1175385 h 1448389"/>
                  <a:gd name="connsiteX547" fmla="*/ 2019102 w 2206810"/>
                  <a:gd name="connsiteY547" fmla="*/ 1163359 h 1448389"/>
                  <a:gd name="connsiteX548" fmla="*/ 2011693 w 2206810"/>
                  <a:gd name="connsiteY548" fmla="*/ 1150763 h 1448389"/>
                  <a:gd name="connsiteX549" fmla="*/ 2009071 w 2206810"/>
                  <a:gd name="connsiteY549" fmla="*/ 1137598 h 1448389"/>
                  <a:gd name="connsiteX550" fmla="*/ 1999667 w 2206810"/>
                  <a:gd name="connsiteY550" fmla="*/ 1130188 h 1448389"/>
                  <a:gd name="connsiteX551" fmla="*/ 2002602 w 2206810"/>
                  <a:gd name="connsiteY551" fmla="*/ 1122682 h 1448389"/>
                  <a:gd name="connsiteX552" fmla="*/ 2003485 w 2206810"/>
                  <a:gd name="connsiteY552" fmla="*/ 1122380 h 1448389"/>
                  <a:gd name="connsiteX553" fmla="*/ 1987071 w 2206810"/>
                  <a:gd name="connsiteY553" fmla="*/ 1101406 h 1448389"/>
                  <a:gd name="connsiteX554" fmla="*/ 1988496 w 2206810"/>
                  <a:gd name="connsiteY554" fmla="*/ 1093883 h 1448389"/>
                  <a:gd name="connsiteX555" fmla="*/ 2003998 w 2206810"/>
                  <a:gd name="connsiteY555" fmla="*/ 1052334 h 1448389"/>
                  <a:gd name="connsiteX556" fmla="*/ 2012263 w 2206810"/>
                  <a:gd name="connsiteY556" fmla="*/ 1074448 h 1448389"/>
                  <a:gd name="connsiteX557" fmla="*/ 2019615 w 2206810"/>
                  <a:gd name="connsiteY557" fmla="*/ 1097245 h 1448389"/>
                  <a:gd name="connsiteX558" fmla="*/ 2042413 w 2206810"/>
                  <a:gd name="connsiteY558" fmla="*/ 1049712 h 1448389"/>
                  <a:gd name="connsiteX559" fmla="*/ 2064869 w 2206810"/>
                  <a:gd name="connsiteY559" fmla="*/ 1026401 h 1448389"/>
                  <a:gd name="connsiteX560" fmla="*/ 2067718 w 2206810"/>
                  <a:gd name="connsiteY560" fmla="*/ 1015458 h 1448389"/>
                  <a:gd name="connsiteX561" fmla="*/ 2106646 w 2206810"/>
                  <a:gd name="connsiteY561" fmla="*/ 1005199 h 1448389"/>
                  <a:gd name="connsiteX562" fmla="*/ 2108869 w 2206810"/>
                  <a:gd name="connsiteY562" fmla="*/ 995168 h 1448389"/>
                  <a:gd name="connsiteX563" fmla="*/ 2126412 w 2206810"/>
                  <a:gd name="connsiteY563" fmla="*/ 1003324 h 1448389"/>
                  <a:gd name="connsiteX564" fmla="*/ 2126423 w 2206810"/>
                  <a:gd name="connsiteY564" fmla="*/ 1003318 h 1448389"/>
                  <a:gd name="connsiteX565" fmla="*/ 2123573 w 2206810"/>
                  <a:gd name="connsiteY565" fmla="*/ 940624 h 1448389"/>
                  <a:gd name="connsiteX566" fmla="*/ 2164154 w 2206810"/>
                  <a:gd name="connsiteY566" fmla="*/ 918282 h 1448389"/>
                  <a:gd name="connsiteX567" fmla="*/ 2173786 w 2206810"/>
                  <a:gd name="connsiteY567" fmla="*/ 914976 h 1448389"/>
                  <a:gd name="connsiteX568" fmla="*/ 2185812 w 2206810"/>
                  <a:gd name="connsiteY568" fmla="*/ 918681 h 1448389"/>
                  <a:gd name="connsiteX569" fmla="*/ 2206786 w 2206810"/>
                  <a:gd name="connsiteY569" fmla="*/ 910645 h 1448389"/>
                  <a:gd name="connsiteX570" fmla="*/ 2205760 w 2206810"/>
                  <a:gd name="connsiteY570" fmla="*/ 892007 h 144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Lst>
                <a:rect l="l" t="t" r="r" b="b"/>
                <a:pathLst>
                  <a:path w="2206810" h="1448389">
                    <a:moveTo>
                      <a:pt x="94447" y="600251"/>
                    </a:moveTo>
                    <a:cubicBezTo>
                      <a:pt x="96948" y="600559"/>
                      <a:pt x="98856" y="602634"/>
                      <a:pt x="98949" y="605153"/>
                    </a:cubicBezTo>
                    <a:cubicBezTo>
                      <a:pt x="98781" y="606412"/>
                      <a:pt x="98290" y="607615"/>
                      <a:pt x="97524" y="608630"/>
                    </a:cubicBezTo>
                    <a:cubicBezTo>
                      <a:pt x="96043" y="611080"/>
                      <a:pt x="94561" y="613531"/>
                      <a:pt x="93022" y="615982"/>
                    </a:cubicBezTo>
                    <a:cubicBezTo>
                      <a:pt x="92330" y="617270"/>
                      <a:pt x="91446" y="618438"/>
                      <a:pt x="90400" y="619458"/>
                    </a:cubicBezTo>
                    <a:cubicBezTo>
                      <a:pt x="86581" y="622764"/>
                      <a:pt x="80882" y="621339"/>
                      <a:pt x="75866" y="621396"/>
                    </a:cubicBezTo>
                    <a:cubicBezTo>
                      <a:pt x="73289" y="621220"/>
                      <a:pt x="70716" y="621795"/>
                      <a:pt x="68457" y="623049"/>
                    </a:cubicBezTo>
                    <a:cubicBezTo>
                      <a:pt x="66225" y="624485"/>
                      <a:pt x="64940" y="627010"/>
                      <a:pt x="65094" y="629661"/>
                    </a:cubicBezTo>
                    <a:cubicBezTo>
                      <a:pt x="63100" y="630573"/>
                      <a:pt x="61447" y="627723"/>
                      <a:pt x="61162" y="625500"/>
                    </a:cubicBezTo>
                    <a:cubicBezTo>
                      <a:pt x="60592" y="620997"/>
                      <a:pt x="60592" y="616438"/>
                      <a:pt x="61162" y="611935"/>
                    </a:cubicBezTo>
                    <a:cubicBezTo>
                      <a:pt x="61170" y="610419"/>
                      <a:pt x="61738" y="608954"/>
                      <a:pt x="62758" y="607832"/>
                    </a:cubicBezTo>
                    <a:cubicBezTo>
                      <a:pt x="64493" y="606863"/>
                      <a:pt x="66532" y="606600"/>
                      <a:pt x="68457" y="607091"/>
                    </a:cubicBezTo>
                    <a:cubicBezTo>
                      <a:pt x="75131" y="606635"/>
                      <a:pt x="81617" y="604691"/>
                      <a:pt x="87436" y="601391"/>
                    </a:cubicBezTo>
                    <a:cubicBezTo>
                      <a:pt x="89621" y="600365"/>
                      <a:pt x="92049" y="599972"/>
                      <a:pt x="94447" y="600251"/>
                    </a:cubicBezTo>
                    <a:close/>
                    <a:moveTo>
                      <a:pt x="37452" y="440324"/>
                    </a:moveTo>
                    <a:cubicBezTo>
                      <a:pt x="40442" y="441356"/>
                      <a:pt x="43748" y="440843"/>
                      <a:pt x="46286" y="438956"/>
                    </a:cubicBezTo>
                    <a:cubicBezTo>
                      <a:pt x="48061" y="436243"/>
                      <a:pt x="48381" y="432829"/>
                      <a:pt x="47141" y="429837"/>
                    </a:cubicBezTo>
                    <a:cubicBezTo>
                      <a:pt x="43524" y="429854"/>
                      <a:pt x="40016" y="428600"/>
                      <a:pt x="37224" y="426303"/>
                    </a:cubicBezTo>
                    <a:cubicBezTo>
                      <a:pt x="36335" y="425306"/>
                      <a:pt x="35587" y="424195"/>
                      <a:pt x="35001" y="422998"/>
                    </a:cubicBezTo>
                    <a:lnTo>
                      <a:pt x="32151" y="417868"/>
                    </a:lnTo>
                    <a:cubicBezTo>
                      <a:pt x="27489" y="416882"/>
                      <a:pt x="22717" y="416517"/>
                      <a:pt x="17960" y="416785"/>
                    </a:cubicBezTo>
                    <a:cubicBezTo>
                      <a:pt x="15842" y="421202"/>
                      <a:pt x="14714" y="426024"/>
                      <a:pt x="14654" y="430920"/>
                    </a:cubicBezTo>
                    <a:cubicBezTo>
                      <a:pt x="14545" y="432003"/>
                      <a:pt x="14806" y="433086"/>
                      <a:pt x="15395" y="433998"/>
                    </a:cubicBezTo>
                    <a:cubicBezTo>
                      <a:pt x="16055" y="434693"/>
                      <a:pt x="16909" y="435166"/>
                      <a:pt x="17846" y="435366"/>
                    </a:cubicBezTo>
                    <a:cubicBezTo>
                      <a:pt x="24223" y="437349"/>
                      <a:pt x="30713" y="438945"/>
                      <a:pt x="37281" y="440153"/>
                    </a:cubicBezTo>
                    <a:close/>
                    <a:moveTo>
                      <a:pt x="288229" y="524847"/>
                    </a:moveTo>
                    <a:cubicBezTo>
                      <a:pt x="294498" y="524847"/>
                      <a:pt x="299628" y="519718"/>
                      <a:pt x="305327" y="517096"/>
                    </a:cubicBezTo>
                    <a:cubicBezTo>
                      <a:pt x="311027" y="514474"/>
                      <a:pt x="318493" y="514303"/>
                      <a:pt x="323338" y="509972"/>
                    </a:cubicBezTo>
                    <a:cubicBezTo>
                      <a:pt x="324940" y="508364"/>
                      <a:pt x="326337" y="506563"/>
                      <a:pt x="327498" y="504614"/>
                    </a:cubicBezTo>
                    <a:lnTo>
                      <a:pt x="332799" y="496521"/>
                    </a:lnTo>
                    <a:cubicBezTo>
                      <a:pt x="340216" y="494167"/>
                      <a:pt x="345873" y="488120"/>
                      <a:pt x="347731" y="480562"/>
                    </a:cubicBezTo>
                    <a:cubicBezTo>
                      <a:pt x="343231" y="479987"/>
                      <a:pt x="338659" y="480494"/>
                      <a:pt x="334395" y="482044"/>
                    </a:cubicBezTo>
                    <a:cubicBezTo>
                      <a:pt x="333299" y="482420"/>
                      <a:pt x="332247" y="482916"/>
                      <a:pt x="331260" y="483526"/>
                    </a:cubicBezTo>
                    <a:cubicBezTo>
                      <a:pt x="329273" y="485122"/>
                      <a:pt x="327576" y="487054"/>
                      <a:pt x="326244" y="489226"/>
                    </a:cubicBezTo>
                    <a:cubicBezTo>
                      <a:pt x="320756" y="496726"/>
                      <a:pt x="314405" y="503554"/>
                      <a:pt x="307322" y="509573"/>
                    </a:cubicBezTo>
                    <a:cubicBezTo>
                      <a:pt x="304986" y="511870"/>
                      <a:pt x="302132" y="513568"/>
                      <a:pt x="299001" y="514531"/>
                    </a:cubicBezTo>
                    <a:cubicBezTo>
                      <a:pt x="297673" y="514708"/>
                      <a:pt x="296360" y="514976"/>
                      <a:pt x="295068" y="515329"/>
                    </a:cubicBezTo>
                    <a:cubicBezTo>
                      <a:pt x="291222" y="516971"/>
                      <a:pt x="288533" y="520527"/>
                      <a:pt x="288001" y="524676"/>
                    </a:cubicBezTo>
                    <a:close/>
                    <a:moveTo>
                      <a:pt x="766700" y="630459"/>
                    </a:moveTo>
                    <a:cubicBezTo>
                      <a:pt x="765326" y="631576"/>
                      <a:pt x="764465" y="633200"/>
                      <a:pt x="764306" y="634961"/>
                    </a:cubicBezTo>
                    <a:cubicBezTo>
                      <a:pt x="763075" y="638233"/>
                      <a:pt x="763075" y="641835"/>
                      <a:pt x="764306" y="645106"/>
                    </a:cubicBezTo>
                    <a:cubicBezTo>
                      <a:pt x="766244" y="648469"/>
                      <a:pt x="770632" y="649894"/>
                      <a:pt x="772171" y="653427"/>
                    </a:cubicBezTo>
                    <a:cubicBezTo>
                      <a:pt x="773710" y="656961"/>
                      <a:pt x="771088" y="663116"/>
                      <a:pt x="773482" y="667163"/>
                    </a:cubicBezTo>
                    <a:cubicBezTo>
                      <a:pt x="775044" y="669386"/>
                      <a:pt x="777551" y="670759"/>
                      <a:pt x="780264" y="670868"/>
                    </a:cubicBezTo>
                    <a:cubicBezTo>
                      <a:pt x="782886" y="670868"/>
                      <a:pt x="785565" y="670868"/>
                      <a:pt x="788244" y="670868"/>
                    </a:cubicBezTo>
                    <a:cubicBezTo>
                      <a:pt x="792057" y="664114"/>
                      <a:pt x="793727" y="656363"/>
                      <a:pt x="793031" y="648640"/>
                    </a:cubicBezTo>
                    <a:cubicBezTo>
                      <a:pt x="792370" y="645904"/>
                      <a:pt x="791418" y="643248"/>
                      <a:pt x="790181" y="640718"/>
                    </a:cubicBezTo>
                    <a:lnTo>
                      <a:pt x="786762" y="633137"/>
                    </a:lnTo>
                    <a:cubicBezTo>
                      <a:pt x="786460" y="632180"/>
                      <a:pt x="785884" y="631331"/>
                      <a:pt x="785109" y="630686"/>
                    </a:cubicBezTo>
                    <a:cubicBezTo>
                      <a:pt x="784208" y="630242"/>
                      <a:pt x="783205" y="630048"/>
                      <a:pt x="782202" y="630117"/>
                    </a:cubicBezTo>
                    <a:lnTo>
                      <a:pt x="770005" y="630117"/>
                    </a:lnTo>
                    <a:cubicBezTo>
                      <a:pt x="768837" y="629797"/>
                      <a:pt x="767600" y="629854"/>
                      <a:pt x="766472" y="630288"/>
                    </a:cubicBezTo>
                    <a:close/>
                    <a:moveTo>
                      <a:pt x="829850" y="610168"/>
                    </a:moveTo>
                    <a:cubicBezTo>
                      <a:pt x="832073" y="607718"/>
                      <a:pt x="830306" y="603500"/>
                      <a:pt x="832016" y="600707"/>
                    </a:cubicBezTo>
                    <a:cubicBezTo>
                      <a:pt x="833423" y="599089"/>
                      <a:pt x="835202" y="597835"/>
                      <a:pt x="837202" y="597060"/>
                    </a:cubicBezTo>
                    <a:cubicBezTo>
                      <a:pt x="839026" y="595977"/>
                      <a:pt x="841021" y="594666"/>
                      <a:pt x="839767" y="592956"/>
                    </a:cubicBezTo>
                    <a:cubicBezTo>
                      <a:pt x="834791" y="586498"/>
                      <a:pt x="829154" y="580577"/>
                      <a:pt x="822953" y="575288"/>
                    </a:cubicBezTo>
                    <a:lnTo>
                      <a:pt x="834010" y="565484"/>
                    </a:lnTo>
                    <a:cubicBezTo>
                      <a:pt x="827182" y="557864"/>
                      <a:pt x="817983" y="552769"/>
                      <a:pt x="807907" y="551008"/>
                    </a:cubicBezTo>
                    <a:cubicBezTo>
                      <a:pt x="805644" y="550843"/>
                      <a:pt x="803427" y="550284"/>
                      <a:pt x="801352" y="549355"/>
                    </a:cubicBezTo>
                    <a:cubicBezTo>
                      <a:pt x="799027" y="547936"/>
                      <a:pt x="797072" y="545981"/>
                      <a:pt x="795653" y="543656"/>
                    </a:cubicBezTo>
                    <a:lnTo>
                      <a:pt x="782487" y="523992"/>
                    </a:lnTo>
                    <a:cubicBezTo>
                      <a:pt x="780914" y="521769"/>
                      <a:pt x="779523" y="519427"/>
                      <a:pt x="778327" y="516982"/>
                    </a:cubicBezTo>
                    <a:cubicBezTo>
                      <a:pt x="776845" y="513733"/>
                      <a:pt x="776047" y="510143"/>
                      <a:pt x="774337" y="506951"/>
                    </a:cubicBezTo>
                    <a:cubicBezTo>
                      <a:pt x="771487" y="501821"/>
                      <a:pt x="766244" y="498003"/>
                      <a:pt x="764819" y="492303"/>
                    </a:cubicBezTo>
                    <a:cubicBezTo>
                      <a:pt x="764659" y="489972"/>
                      <a:pt x="763958" y="487704"/>
                      <a:pt x="762767" y="485692"/>
                    </a:cubicBezTo>
                    <a:cubicBezTo>
                      <a:pt x="761000" y="483583"/>
                      <a:pt x="757865" y="483412"/>
                      <a:pt x="755301" y="482386"/>
                    </a:cubicBezTo>
                    <a:cubicBezTo>
                      <a:pt x="751989" y="480625"/>
                      <a:pt x="749214" y="478009"/>
                      <a:pt x="747264" y="474806"/>
                    </a:cubicBezTo>
                    <a:lnTo>
                      <a:pt x="729254" y="450184"/>
                    </a:lnTo>
                    <a:cubicBezTo>
                      <a:pt x="725977" y="444770"/>
                      <a:pt x="721315" y="440324"/>
                      <a:pt x="715746" y="437303"/>
                    </a:cubicBezTo>
                    <a:cubicBezTo>
                      <a:pt x="709847" y="434471"/>
                      <a:pt x="702757" y="436751"/>
                      <a:pt x="699617" y="442490"/>
                    </a:cubicBezTo>
                    <a:cubicBezTo>
                      <a:pt x="699446" y="443430"/>
                      <a:pt x="699013" y="444297"/>
                      <a:pt x="698363" y="444998"/>
                    </a:cubicBezTo>
                    <a:cubicBezTo>
                      <a:pt x="697183" y="445590"/>
                      <a:pt x="695844" y="445790"/>
                      <a:pt x="694544" y="445568"/>
                    </a:cubicBezTo>
                    <a:cubicBezTo>
                      <a:pt x="688275" y="445568"/>
                      <a:pt x="685026" y="453718"/>
                      <a:pt x="679099" y="455770"/>
                    </a:cubicBezTo>
                    <a:cubicBezTo>
                      <a:pt x="676500" y="456482"/>
                      <a:pt x="673770" y="456596"/>
                      <a:pt x="671119" y="456112"/>
                    </a:cubicBezTo>
                    <a:cubicBezTo>
                      <a:pt x="665021" y="455485"/>
                      <a:pt x="657726" y="454003"/>
                      <a:pt x="655617" y="448246"/>
                    </a:cubicBezTo>
                    <a:cubicBezTo>
                      <a:pt x="654306" y="444827"/>
                      <a:pt x="655161" y="440495"/>
                      <a:pt x="652482" y="437987"/>
                    </a:cubicBezTo>
                    <a:cubicBezTo>
                      <a:pt x="649803" y="435479"/>
                      <a:pt x="645586" y="436676"/>
                      <a:pt x="642109" y="437987"/>
                    </a:cubicBezTo>
                    <a:cubicBezTo>
                      <a:pt x="638632" y="439298"/>
                      <a:pt x="633902" y="439241"/>
                      <a:pt x="632249" y="435992"/>
                    </a:cubicBezTo>
                    <a:cubicBezTo>
                      <a:pt x="631514" y="433622"/>
                      <a:pt x="631765" y="431057"/>
                      <a:pt x="632933" y="428868"/>
                    </a:cubicBezTo>
                    <a:cubicBezTo>
                      <a:pt x="634626" y="425061"/>
                      <a:pt x="635161" y="420838"/>
                      <a:pt x="634472" y="416728"/>
                    </a:cubicBezTo>
                    <a:cubicBezTo>
                      <a:pt x="633651" y="412539"/>
                      <a:pt x="629964" y="409524"/>
                      <a:pt x="625695" y="409547"/>
                    </a:cubicBezTo>
                    <a:cubicBezTo>
                      <a:pt x="623956" y="409895"/>
                      <a:pt x="622286" y="410510"/>
                      <a:pt x="620736" y="411371"/>
                    </a:cubicBezTo>
                    <a:cubicBezTo>
                      <a:pt x="610682" y="416118"/>
                      <a:pt x="599152" y="416654"/>
                      <a:pt x="588705" y="412853"/>
                    </a:cubicBezTo>
                    <a:lnTo>
                      <a:pt x="588363" y="56465"/>
                    </a:lnTo>
                    <a:cubicBezTo>
                      <a:pt x="578218" y="52190"/>
                      <a:pt x="568928" y="44610"/>
                      <a:pt x="558954" y="39366"/>
                    </a:cubicBezTo>
                    <a:cubicBezTo>
                      <a:pt x="555026" y="37086"/>
                      <a:pt x="550610" y="35775"/>
                      <a:pt x="546073" y="35547"/>
                    </a:cubicBezTo>
                    <a:cubicBezTo>
                      <a:pt x="541308" y="35661"/>
                      <a:pt x="536798" y="37719"/>
                      <a:pt x="533591" y="41247"/>
                    </a:cubicBezTo>
                    <a:cubicBezTo>
                      <a:pt x="527094" y="48371"/>
                      <a:pt x="526011" y="61309"/>
                      <a:pt x="516493" y="64045"/>
                    </a:cubicBezTo>
                    <a:cubicBezTo>
                      <a:pt x="509425" y="65926"/>
                      <a:pt x="502871" y="60112"/>
                      <a:pt x="497399" y="55211"/>
                    </a:cubicBezTo>
                    <a:cubicBezTo>
                      <a:pt x="491928" y="50309"/>
                      <a:pt x="483835" y="45750"/>
                      <a:pt x="477793" y="49910"/>
                    </a:cubicBezTo>
                    <a:cubicBezTo>
                      <a:pt x="474236" y="52543"/>
                      <a:pt x="473103" y="57365"/>
                      <a:pt x="475115" y="61309"/>
                    </a:cubicBezTo>
                    <a:cubicBezTo>
                      <a:pt x="465767" y="59200"/>
                      <a:pt x="459270" y="72366"/>
                      <a:pt x="449695" y="72708"/>
                    </a:cubicBezTo>
                    <a:cubicBezTo>
                      <a:pt x="444254" y="71904"/>
                      <a:pt x="439365" y="68946"/>
                      <a:pt x="436130" y="64501"/>
                    </a:cubicBezTo>
                    <a:cubicBezTo>
                      <a:pt x="422850" y="52361"/>
                      <a:pt x="406949" y="38853"/>
                      <a:pt x="389280" y="42045"/>
                    </a:cubicBezTo>
                    <a:cubicBezTo>
                      <a:pt x="384940" y="43322"/>
                      <a:pt x="380496" y="44216"/>
                      <a:pt x="376001" y="44724"/>
                    </a:cubicBezTo>
                    <a:cubicBezTo>
                      <a:pt x="371498" y="44724"/>
                      <a:pt x="366426" y="41817"/>
                      <a:pt x="366141" y="37314"/>
                    </a:cubicBezTo>
                    <a:cubicBezTo>
                      <a:pt x="366141" y="35320"/>
                      <a:pt x="366882" y="33154"/>
                      <a:pt x="366141" y="31615"/>
                    </a:cubicBezTo>
                    <a:cubicBezTo>
                      <a:pt x="364203" y="27910"/>
                      <a:pt x="357648" y="30304"/>
                      <a:pt x="354742" y="27169"/>
                    </a:cubicBezTo>
                    <a:cubicBezTo>
                      <a:pt x="353317" y="25459"/>
                      <a:pt x="353545" y="23009"/>
                      <a:pt x="352804" y="20900"/>
                    </a:cubicBezTo>
                    <a:cubicBezTo>
                      <a:pt x="351208" y="16454"/>
                      <a:pt x="345736" y="15200"/>
                      <a:pt x="341405" y="13263"/>
                    </a:cubicBezTo>
                    <a:cubicBezTo>
                      <a:pt x="337073" y="11325"/>
                      <a:pt x="332685" y="6309"/>
                      <a:pt x="335705" y="2491"/>
                    </a:cubicBezTo>
                    <a:cubicBezTo>
                      <a:pt x="323737" y="-6572"/>
                      <a:pt x="306467" y="12465"/>
                      <a:pt x="292788" y="6480"/>
                    </a:cubicBezTo>
                    <a:cubicBezTo>
                      <a:pt x="290167" y="5340"/>
                      <a:pt x="288001" y="3402"/>
                      <a:pt x="285379" y="2263"/>
                    </a:cubicBezTo>
                    <a:cubicBezTo>
                      <a:pt x="280312" y="769"/>
                      <a:pt x="274891" y="1031"/>
                      <a:pt x="269990" y="3003"/>
                    </a:cubicBezTo>
                    <a:cubicBezTo>
                      <a:pt x="247918" y="9643"/>
                      <a:pt x="227397" y="20632"/>
                      <a:pt x="209633" y="35320"/>
                    </a:cubicBezTo>
                    <a:cubicBezTo>
                      <a:pt x="206306" y="38591"/>
                      <a:pt x="202269" y="41047"/>
                      <a:pt x="197835" y="42501"/>
                    </a:cubicBezTo>
                    <a:cubicBezTo>
                      <a:pt x="194047" y="42911"/>
                      <a:pt x="190225" y="42911"/>
                      <a:pt x="186436" y="42501"/>
                    </a:cubicBezTo>
                    <a:cubicBezTo>
                      <a:pt x="179047" y="43002"/>
                      <a:pt x="171826" y="44935"/>
                      <a:pt x="165177" y="48200"/>
                    </a:cubicBezTo>
                    <a:lnTo>
                      <a:pt x="97524" y="75900"/>
                    </a:lnTo>
                    <a:cubicBezTo>
                      <a:pt x="92614" y="81519"/>
                      <a:pt x="86979" y="86467"/>
                      <a:pt x="80768" y="90604"/>
                    </a:cubicBezTo>
                    <a:cubicBezTo>
                      <a:pt x="75070" y="95130"/>
                      <a:pt x="68851" y="98954"/>
                      <a:pt x="62245" y="102003"/>
                    </a:cubicBezTo>
                    <a:cubicBezTo>
                      <a:pt x="53269" y="105868"/>
                      <a:pt x="43327" y="106905"/>
                      <a:pt x="33747" y="104967"/>
                    </a:cubicBezTo>
                    <a:cubicBezTo>
                      <a:pt x="33388" y="109817"/>
                      <a:pt x="36680" y="114183"/>
                      <a:pt x="41442" y="115169"/>
                    </a:cubicBezTo>
                    <a:cubicBezTo>
                      <a:pt x="46105" y="115910"/>
                      <a:pt x="50856" y="115910"/>
                      <a:pt x="55519" y="115169"/>
                    </a:cubicBezTo>
                    <a:cubicBezTo>
                      <a:pt x="72195" y="114525"/>
                      <a:pt x="88080" y="122299"/>
                      <a:pt x="97809" y="135858"/>
                    </a:cubicBezTo>
                    <a:cubicBezTo>
                      <a:pt x="99885" y="138782"/>
                      <a:pt x="101788" y="141831"/>
                      <a:pt x="103509" y="144977"/>
                    </a:cubicBezTo>
                    <a:cubicBezTo>
                      <a:pt x="108957" y="143496"/>
                      <a:pt x="114703" y="143496"/>
                      <a:pt x="120151" y="144977"/>
                    </a:cubicBezTo>
                    <a:cubicBezTo>
                      <a:pt x="125395" y="146972"/>
                      <a:pt x="130296" y="151589"/>
                      <a:pt x="128131" y="156775"/>
                    </a:cubicBezTo>
                    <a:cubicBezTo>
                      <a:pt x="131379" y="156376"/>
                      <a:pt x="133830" y="159853"/>
                      <a:pt x="134571" y="163045"/>
                    </a:cubicBezTo>
                    <a:cubicBezTo>
                      <a:pt x="134869" y="166299"/>
                      <a:pt x="135966" y="169434"/>
                      <a:pt x="137763" y="172164"/>
                    </a:cubicBezTo>
                    <a:cubicBezTo>
                      <a:pt x="141239" y="175755"/>
                      <a:pt x="147053" y="174444"/>
                      <a:pt x="152068" y="174729"/>
                    </a:cubicBezTo>
                    <a:cubicBezTo>
                      <a:pt x="157084" y="175014"/>
                      <a:pt x="162726" y="180428"/>
                      <a:pt x="159307" y="184076"/>
                    </a:cubicBezTo>
                    <a:cubicBezTo>
                      <a:pt x="163964" y="184338"/>
                      <a:pt x="168111" y="187114"/>
                      <a:pt x="170136" y="191314"/>
                    </a:cubicBezTo>
                    <a:lnTo>
                      <a:pt x="138789" y="193423"/>
                    </a:lnTo>
                    <a:cubicBezTo>
                      <a:pt x="136488" y="193360"/>
                      <a:pt x="134223" y="193999"/>
                      <a:pt x="132291" y="195247"/>
                    </a:cubicBezTo>
                    <a:cubicBezTo>
                      <a:pt x="129897" y="197128"/>
                      <a:pt x="129441" y="200490"/>
                      <a:pt x="127789" y="202998"/>
                    </a:cubicBezTo>
                    <a:cubicBezTo>
                      <a:pt x="124517" y="207466"/>
                      <a:pt x="118240" y="208441"/>
                      <a:pt x="113770" y="205170"/>
                    </a:cubicBezTo>
                    <a:cubicBezTo>
                      <a:pt x="113115" y="204691"/>
                      <a:pt x="112521" y="204132"/>
                      <a:pt x="112001" y="203511"/>
                    </a:cubicBezTo>
                    <a:cubicBezTo>
                      <a:pt x="111009" y="201681"/>
                      <a:pt x="109824" y="199960"/>
                      <a:pt x="108467" y="198381"/>
                    </a:cubicBezTo>
                    <a:cubicBezTo>
                      <a:pt x="102768" y="193480"/>
                      <a:pt x="93934" y="203055"/>
                      <a:pt x="86809" y="200490"/>
                    </a:cubicBezTo>
                    <a:cubicBezTo>
                      <a:pt x="81509" y="198552"/>
                      <a:pt x="80768" y="191656"/>
                      <a:pt x="79514" y="186185"/>
                    </a:cubicBezTo>
                    <a:cubicBezTo>
                      <a:pt x="78260" y="180713"/>
                      <a:pt x="72846" y="174786"/>
                      <a:pt x="68115" y="177635"/>
                    </a:cubicBezTo>
                    <a:cubicBezTo>
                      <a:pt x="64752" y="179858"/>
                      <a:pt x="65208" y="185216"/>
                      <a:pt x="62416" y="188236"/>
                    </a:cubicBezTo>
                    <a:cubicBezTo>
                      <a:pt x="59623" y="191257"/>
                      <a:pt x="54835" y="190972"/>
                      <a:pt x="51473" y="193252"/>
                    </a:cubicBezTo>
                    <a:cubicBezTo>
                      <a:pt x="48110" y="195532"/>
                      <a:pt x="45773" y="202314"/>
                      <a:pt x="41271" y="204024"/>
                    </a:cubicBezTo>
                    <a:cubicBezTo>
                      <a:pt x="38136" y="205164"/>
                      <a:pt x="34716" y="203739"/>
                      <a:pt x="31354" y="204024"/>
                    </a:cubicBezTo>
                    <a:cubicBezTo>
                      <a:pt x="19955" y="204024"/>
                      <a:pt x="10550" y="221122"/>
                      <a:pt x="291" y="215423"/>
                    </a:cubicBezTo>
                    <a:cubicBezTo>
                      <a:pt x="-1646" y="222604"/>
                      <a:pt x="6447" y="228475"/>
                      <a:pt x="13742" y="229900"/>
                    </a:cubicBezTo>
                    <a:cubicBezTo>
                      <a:pt x="21037" y="231324"/>
                      <a:pt x="29302" y="231267"/>
                      <a:pt x="34488" y="236568"/>
                    </a:cubicBezTo>
                    <a:cubicBezTo>
                      <a:pt x="36531" y="238301"/>
                      <a:pt x="37261" y="241133"/>
                      <a:pt x="36312" y="243635"/>
                    </a:cubicBezTo>
                    <a:cubicBezTo>
                      <a:pt x="35343" y="245345"/>
                      <a:pt x="33234" y="246200"/>
                      <a:pt x="32493" y="247967"/>
                    </a:cubicBezTo>
                    <a:cubicBezTo>
                      <a:pt x="30442" y="252868"/>
                      <a:pt x="39105" y="254692"/>
                      <a:pt x="42183" y="258967"/>
                    </a:cubicBezTo>
                    <a:cubicBezTo>
                      <a:pt x="44006" y="261418"/>
                      <a:pt x="43949" y="265008"/>
                      <a:pt x="46229" y="267003"/>
                    </a:cubicBezTo>
                    <a:cubicBezTo>
                      <a:pt x="50276" y="270537"/>
                      <a:pt x="55918" y="265806"/>
                      <a:pt x="60136" y="262501"/>
                    </a:cubicBezTo>
                    <a:cubicBezTo>
                      <a:pt x="68943" y="255901"/>
                      <a:pt x="80823" y="255137"/>
                      <a:pt x="90400" y="260563"/>
                    </a:cubicBezTo>
                    <a:cubicBezTo>
                      <a:pt x="95188" y="263355"/>
                      <a:pt x="100317" y="267858"/>
                      <a:pt x="105447" y="265749"/>
                    </a:cubicBezTo>
                    <a:cubicBezTo>
                      <a:pt x="107540" y="264649"/>
                      <a:pt x="109308" y="263013"/>
                      <a:pt x="110576" y="261019"/>
                    </a:cubicBezTo>
                    <a:cubicBezTo>
                      <a:pt x="117758" y="251444"/>
                      <a:pt x="126079" y="240045"/>
                      <a:pt x="138105" y="239931"/>
                    </a:cubicBezTo>
                    <a:cubicBezTo>
                      <a:pt x="147464" y="240176"/>
                      <a:pt x="155168" y="247368"/>
                      <a:pt x="156058" y="256687"/>
                    </a:cubicBezTo>
                    <a:cubicBezTo>
                      <a:pt x="150643" y="254008"/>
                      <a:pt x="145571" y="261988"/>
                      <a:pt x="146882" y="268086"/>
                    </a:cubicBezTo>
                    <a:cubicBezTo>
                      <a:pt x="148193" y="274184"/>
                      <a:pt x="152581" y="279143"/>
                      <a:pt x="152581" y="285184"/>
                    </a:cubicBezTo>
                    <a:cubicBezTo>
                      <a:pt x="152242" y="292212"/>
                      <a:pt x="147764" y="298367"/>
                      <a:pt x="141182" y="300858"/>
                    </a:cubicBezTo>
                    <a:cubicBezTo>
                      <a:pt x="134687" y="303200"/>
                      <a:pt x="127789" y="304232"/>
                      <a:pt x="120892" y="303879"/>
                    </a:cubicBezTo>
                    <a:cubicBezTo>
                      <a:pt x="117353" y="303531"/>
                      <a:pt x="113807" y="304483"/>
                      <a:pt x="110918" y="306557"/>
                    </a:cubicBezTo>
                    <a:cubicBezTo>
                      <a:pt x="106758" y="310376"/>
                      <a:pt x="108410" y="317102"/>
                      <a:pt x="110291" y="322402"/>
                    </a:cubicBezTo>
                    <a:cubicBezTo>
                      <a:pt x="105846" y="326050"/>
                      <a:pt x="99177" y="322858"/>
                      <a:pt x="94732" y="319267"/>
                    </a:cubicBezTo>
                    <a:cubicBezTo>
                      <a:pt x="90286" y="315677"/>
                      <a:pt x="84758" y="311402"/>
                      <a:pt x="79343" y="313568"/>
                    </a:cubicBezTo>
                    <a:cubicBezTo>
                      <a:pt x="79967" y="325246"/>
                      <a:pt x="77634" y="336890"/>
                      <a:pt x="72561" y="347423"/>
                    </a:cubicBezTo>
                    <a:cubicBezTo>
                      <a:pt x="68628" y="344174"/>
                      <a:pt x="62416" y="346910"/>
                      <a:pt x="59737" y="351184"/>
                    </a:cubicBezTo>
                    <a:cubicBezTo>
                      <a:pt x="57595" y="355772"/>
                      <a:pt x="56136" y="360651"/>
                      <a:pt x="55405" y="365661"/>
                    </a:cubicBezTo>
                    <a:cubicBezTo>
                      <a:pt x="54617" y="370751"/>
                      <a:pt x="51124" y="375008"/>
                      <a:pt x="46286" y="376775"/>
                    </a:cubicBezTo>
                    <a:cubicBezTo>
                      <a:pt x="44120" y="379169"/>
                      <a:pt x="47198" y="382987"/>
                      <a:pt x="50390" y="383557"/>
                    </a:cubicBezTo>
                    <a:cubicBezTo>
                      <a:pt x="53623" y="383489"/>
                      <a:pt x="56849" y="383888"/>
                      <a:pt x="59965" y="384754"/>
                    </a:cubicBezTo>
                    <a:cubicBezTo>
                      <a:pt x="65151" y="387490"/>
                      <a:pt x="64353" y="395070"/>
                      <a:pt x="62815" y="400713"/>
                    </a:cubicBezTo>
                    <a:lnTo>
                      <a:pt x="51758" y="405044"/>
                    </a:lnTo>
                    <a:lnTo>
                      <a:pt x="66291" y="417868"/>
                    </a:lnTo>
                    <a:cubicBezTo>
                      <a:pt x="67732" y="419327"/>
                      <a:pt x="69459" y="420473"/>
                      <a:pt x="71364" y="421231"/>
                    </a:cubicBezTo>
                    <a:cubicBezTo>
                      <a:pt x="73520" y="421795"/>
                      <a:pt x="75767" y="421926"/>
                      <a:pt x="77975" y="421630"/>
                    </a:cubicBezTo>
                    <a:cubicBezTo>
                      <a:pt x="89812" y="421339"/>
                      <a:pt x="101240" y="425961"/>
                      <a:pt x="109550" y="434397"/>
                    </a:cubicBezTo>
                    <a:cubicBezTo>
                      <a:pt x="110291" y="427215"/>
                      <a:pt x="113939" y="417697"/>
                      <a:pt x="120949" y="419122"/>
                    </a:cubicBezTo>
                    <a:cubicBezTo>
                      <a:pt x="128872" y="420661"/>
                      <a:pt x="127504" y="433314"/>
                      <a:pt x="133488" y="438785"/>
                    </a:cubicBezTo>
                    <a:cubicBezTo>
                      <a:pt x="135426" y="440552"/>
                      <a:pt x="138390" y="441863"/>
                      <a:pt x="138504" y="444485"/>
                    </a:cubicBezTo>
                    <a:cubicBezTo>
                      <a:pt x="138618" y="447106"/>
                      <a:pt x="135654" y="448816"/>
                      <a:pt x="133431" y="450184"/>
                    </a:cubicBezTo>
                    <a:cubicBezTo>
                      <a:pt x="127594" y="454259"/>
                      <a:pt x="124893" y="461526"/>
                      <a:pt x="126649" y="468422"/>
                    </a:cubicBezTo>
                    <a:cubicBezTo>
                      <a:pt x="132348" y="472013"/>
                      <a:pt x="140270" y="474977"/>
                      <a:pt x="144146" y="469790"/>
                    </a:cubicBezTo>
                    <a:cubicBezTo>
                      <a:pt x="145256" y="467682"/>
                      <a:pt x="146209" y="465487"/>
                      <a:pt x="146996" y="463236"/>
                    </a:cubicBezTo>
                    <a:cubicBezTo>
                      <a:pt x="150928" y="455941"/>
                      <a:pt x="161586" y="457138"/>
                      <a:pt x="169794" y="459075"/>
                    </a:cubicBezTo>
                    <a:cubicBezTo>
                      <a:pt x="178001" y="461013"/>
                      <a:pt x="188944" y="461070"/>
                      <a:pt x="191623" y="453376"/>
                    </a:cubicBezTo>
                    <a:cubicBezTo>
                      <a:pt x="192193" y="451723"/>
                      <a:pt x="192364" y="449785"/>
                      <a:pt x="193675" y="448645"/>
                    </a:cubicBezTo>
                    <a:cubicBezTo>
                      <a:pt x="194869" y="447910"/>
                      <a:pt x="196270" y="447591"/>
                      <a:pt x="197664" y="447733"/>
                    </a:cubicBezTo>
                    <a:cubicBezTo>
                      <a:pt x="203393" y="447750"/>
                      <a:pt x="209110" y="448229"/>
                      <a:pt x="214763" y="449158"/>
                    </a:cubicBezTo>
                    <a:cubicBezTo>
                      <a:pt x="215105" y="451153"/>
                      <a:pt x="215390" y="453205"/>
                      <a:pt x="215731" y="455257"/>
                    </a:cubicBezTo>
                    <a:lnTo>
                      <a:pt x="223141" y="456910"/>
                    </a:lnTo>
                    <a:cubicBezTo>
                      <a:pt x="220405" y="460386"/>
                      <a:pt x="225820" y="464547"/>
                      <a:pt x="230151" y="465345"/>
                    </a:cubicBezTo>
                    <a:cubicBezTo>
                      <a:pt x="234483" y="466143"/>
                      <a:pt x="240410" y="468365"/>
                      <a:pt x="239384" y="472640"/>
                    </a:cubicBezTo>
                    <a:cubicBezTo>
                      <a:pt x="238700" y="475661"/>
                      <a:pt x="235110" y="476687"/>
                      <a:pt x="232545" y="478340"/>
                    </a:cubicBezTo>
                    <a:cubicBezTo>
                      <a:pt x="228226" y="482266"/>
                      <a:pt x="225694" y="487778"/>
                      <a:pt x="225535" y="493614"/>
                    </a:cubicBezTo>
                    <a:lnTo>
                      <a:pt x="221089" y="521200"/>
                    </a:lnTo>
                    <a:cubicBezTo>
                      <a:pt x="217897" y="519148"/>
                      <a:pt x="213680" y="522111"/>
                      <a:pt x="211856" y="525417"/>
                    </a:cubicBezTo>
                    <a:cubicBezTo>
                      <a:pt x="210569" y="529036"/>
                      <a:pt x="208638" y="532399"/>
                      <a:pt x="206156" y="535334"/>
                    </a:cubicBezTo>
                    <a:cubicBezTo>
                      <a:pt x="201027" y="539723"/>
                      <a:pt x="192535" y="536873"/>
                      <a:pt x="187006" y="541034"/>
                    </a:cubicBezTo>
                    <a:cubicBezTo>
                      <a:pt x="184515" y="543376"/>
                      <a:pt x="182569" y="546237"/>
                      <a:pt x="181307" y="549412"/>
                    </a:cubicBezTo>
                    <a:cubicBezTo>
                      <a:pt x="172276" y="565473"/>
                      <a:pt x="155036" y="575151"/>
                      <a:pt x="136623" y="574490"/>
                    </a:cubicBezTo>
                    <a:cubicBezTo>
                      <a:pt x="134717" y="574267"/>
                      <a:pt x="132788" y="574381"/>
                      <a:pt x="130923" y="574832"/>
                    </a:cubicBezTo>
                    <a:cubicBezTo>
                      <a:pt x="128889" y="575681"/>
                      <a:pt x="127104" y="577037"/>
                      <a:pt x="125737" y="578764"/>
                    </a:cubicBezTo>
                    <a:cubicBezTo>
                      <a:pt x="120090" y="584948"/>
                      <a:pt x="114980" y="591605"/>
                      <a:pt x="110462" y="598655"/>
                    </a:cubicBezTo>
                    <a:cubicBezTo>
                      <a:pt x="110462" y="601106"/>
                      <a:pt x="109607" y="604355"/>
                      <a:pt x="109607" y="606635"/>
                    </a:cubicBezTo>
                    <a:cubicBezTo>
                      <a:pt x="116437" y="606247"/>
                      <a:pt x="122779" y="602976"/>
                      <a:pt x="127048" y="597629"/>
                    </a:cubicBezTo>
                    <a:cubicBezTo>
                      <a:pt x="128530" y="595806"/>
                      <a:pt x="129897" y="593640"/>
                      <a:pt x="132120" y="593013"/>
                    </a:cubicBezTo>
                    <a:cubicBezTo>
                      <a:pt x="133708" y="592791"/>
                      <a:pt x="135320" y="592791"/>
                      <a:pt x="136908" y="593013"/>
                    </a:cubicBezTo>
                    <a:cubicBezTo>
                      <a:pt x="144944" y="593526"/>
                      <a:pt x="150814" y="585889"/>
                      <a:pt x="157597" y="581614"/>
                    </a:cubicBezTo>
                    <a:cubicBezTo>
                      <a:pt x="166488" y="575915"/>
                      <a:pt x="177716" y="575915"/>
                      <a:pt x="188260" y="574604"/>
                    </a:cubicBezTo>
                    <a:cubicBezTo>
                      <a:pt x="193392" y="574347"/>
                      <a:pt x="198408" y="572991"/>
                      <a:pt x="202965" y="570614"/>
                    </a:cubicBezTo>
                    <a:cubicBezTo>
                      <a:pt x="207545" y="568118"/>
                      <a:pt x="210422" y="563347"/>
                      <a:pt x="210488" y="558132"/>
                    </a:cubicBezTo>
                    <a:cubicBezTo>
                      <a:pt x="210488" y="555909"/>
                      <a:pt x="209519" y="553459"/>
                      <a:pt x="210488" y="551578"/>
                    </a:cubicBezTo>
                    <a:cubicBezTo>
                      <a:pt x="211512" y="550404"/>
                      <a:pt x="212894" y="549606"/>
                      <a:pt x="214421" y="549298"/>
                    </a:cubicBezTo>
                    <a:cubicBezTo>
                      <a:pt x="222799" y="546448"/>
                      <a:pt x="232317" y="540920"/>
                      <a:pt x="232203" y="532200"/>
                    </a:cubicBezTo>
                    <a:cubicBezTo>
                      <a:pt x="238529" y="535049"/>
                      <a:pt x="245768" y="530661"/>
                      <a:pt x="250498" y="525531"/>
                    </a:cubicBezTo>
                    <a:cubicBezTo>
                      <a:pt x="254437" y="519803"/>
                      <a:pt x="259595" y="515010"/>
                      <a:pt x="265602" y="511510"/>
                    </a:cubicBezTo>
                    <a:cubicBezTo>
                      <a:pt x="269990" y="509744"/>
                      <a:pt x="276203" y="508775"/>
                      <a:pt x="277001" y="504044"/>
                    </a:cubicBezTo>
                    <a:cubicBezTo>
                      <a:pt x="276887" y="502944"/>
                      <a:pt x="276887" y="501838"/>
                      <a:pt x="277001" y="500738"/>
                    </a:cubicBezTo>
                    <a:cubicBezTo>
                      <a:pt x="277970" y="497832"/>
                      <a:pt x="282187" y="498231"/>
                      <a:pt x="285265" y="498402"/>
                    </a:cubicBezTo>
                    <a:cubicBezTo>
                      <a:pt x="294709" y="498407"/>
                      <a:pt x="302367" y="490759"/>
                      <a:pt x="302373" y="481315"/>
                    </a:cubicBezTo>
                    <a:cubicBezTo>
                      <a:pt x="302373" y="481121"/>
                      <a:pt x="302370" y="480927"/>
                      <a:pt x="302363" y="480733"/>
                    </a:cubicBezTo>
                    <a:lnTo>
                      <a:pt x="314902" y="478966"/>
                    </a:lnTo>
                    <a:cubicBezTo>
                      <a:pt x="317583" y="473290"/>
                      <a:pt x="315631" y="466507"/>
                      <a:pt x="310343" y="463122"/>
                    </a:cubicBezTo>
                    <a:cubicBezTo>
                      <a:pt x="304643" y="459759"/>
                      <a:pt x="295353" y="459816"/>
                      <a:pt x="294327" y="453319"/>
                    </a:cubicBezTo>
                    <a:cubicBezTo>
                      <a:pt x="293586" y="448588"/>
                      <a:pt x="298431" y="445112"/>
                      <a:pt x="302762" y="443117"/>
                    </a:cubicBezTo>
                    <a:cubicBezTo>
                      <a:pt x="307094" y="441122"/>
                      <a:pt x="312224" y="438671"/>
                      <a:pt x="312794" y="433941"/>
                    </a:cubicBezTo>
                    <a:cubicBezTo>
                      <a:pt x="312756" y="432670"/>
                      <a:pt x="312989" y="431410"/>
                      <a:pt x="313477" y="430236"/>
                    </a:cubicBezTo>
                    <a:cubicBezTo>
                      <a:pt x="314389" y="428925"/>
                      <a:pt x="316327" y="428811"/>
                      <a:pt x="317866" y="428355"/>
                    </a:cubicBezTo>
                    <a:cubicBezTo>
                      <a:pt x="325332" y="426075"/>
                      <a:pt x="326130" y="414391"/>
                      <a:pt x="333369" y="411599"/>
                    </a:cubicBezTo>
                    <a:cubicBezTo>
                      <a:pt x="336902" y="410288"/>
                      <a:pt x="341633" y="411086"/>
                      <a:pt x="343628" y="407951"/>
                    </a:cubicBezTo>
                    <a:cubicBezTo>
                      <a:pt x="345622" y="404816"/>
                      <a:pt x="343115" y="400371"/>
                      <a:pt x="344882" y="397122"/>
                    </a:cubicBezTo>
                    <a:cubicBezTo>
                      <a:pt x="346192" y="394728"/>
                      <a:pt x="349156" y="394044"/>
                      <a:pt x="351436" y="392620"/>
                    </a:cubicBezTo>
                    <a:cubicBezTo>
                      <a:pt x="354595" y="389878"/>
                      <a:pt x="357357" y="386715"/>
                      <a:pt x="359643" y="383215"/>
                    </a:cubicBezTo>
                    <a:cubicBezTo>
                      <a:pt x="364935" y="377482"/>
                      <a:pt x="373032" y="375270"/>
                      <a:pt x="380503" y="377516"/>
                    </a:cubicBezTo>
                    <a:cubicBezTo>
                      <a:pt x="381244" y="379796"/>
                      <a:pt x="381985" y="382132"/>
                      <a:pt x="382669" y="384412"/>
                    </a:cubicBezTo>
                    <a:cubicBezTo>
                      <a:pt x="388477" y="383153"/>
                      <a:pt x="394510" y="385165"/>
                      <a:pt x="398400" y="389656"/>
                    </a:cubicBezTo>
                    <a:cubicBezTo>
                      <a:pt x="401066" y="393930"/>
                      <a:pt x="399764" y="399556"/>
                      <a:pt x="395491" y="402217"/>
                    </a:cubicBezTo>
                    <a:cubicBezTo>
                      <a:pt x="391435" y="404748"/>
                      <a:pt x="386113" y="403722"/>
                      <a:pt x="383296" y="399858"/>
                    </a:cubicBezTo>
                    <a:cubicBezTo>
                      <a:pt x="382156" y="398262"/>
                      <a:pt x="381415" y="396267"/>
                      <a:pt x="379762" y="395355"/>
                    </a:cubicBezTo>
                    <a:cubicBezTo>
                      <a:pt x="376628" y="393702"/>
                      <a:pt x="372923" y="397236"/>
                      <a:pt x="372353" y="400713"/>
                    </a:cubicBezTo>
                    <a:cubicBezTo>
                      <a:pt x="369845" y="399288"/>
                      <a:pt x="366654" y="401397"/>
                      <a:pt x="365400" y="404075"/>
                    </a:cubicBezTo>
                    <a:cubicBezTo>
                      <a:pt x="364589" y="406862"/>
                      <a:pt x="364092" y="409729"/>
                      <a:pt x="363918" y="412625"/>
                    </a:cubicBezTo>
                    <a:cubicBezTo>
                      <a:pt x="362715" y="418826"/>
                      <a:pt x="358409" y="423967"/>
                      <a:pt x="352519" y="426246"/>
                    </a:cubicBezTo>
                    <a:cubicBezTo>
                      <a:pt x="351015" y="428834"/>
                      <a:pt x="351593" y="432128"/>
                      <a:pt x="353887" y="434055"/>
                    </a:cubicBezTo>
                    <a:cubicBezTo>
                      <a:pt x="356187" y="435799"/>
                      <a:pt x="358272" y="437805"/>
                      <a:pt x="360099" y="440039"/>
                    </a:cubicBezTo>
                    <a:cubicBezTo>
                      <a:pt x="362008" y="444325"/>
                      <a:pt x="360083" y="449346"/>
                      <a:pt x="355798" y="451250"/>
                    </a:cubicBezTo>
                    <a:cubicBezTo>
                      <a:pt x="354051" y="452031"/>
                      <a:pt x="352093" y="452196"/>
                      <a:pt x="350239" y="451723"/>
                    </a:cubicBezTo>
                    <a:cubicBezTo>
                      <a:pt x="349002" y="455513"/>
                      <a:pt x="351067" y="459594"/>
                      <a:pt x="354856" y="460842"/>
                    </a:cubicBezTo>
                    <a:cubicBezTo>
                      <a:pt x="358203" y="461840"/>
                      <a:pt x="361767" y="461840"/>
                      <a:pt x="365115" y="460842"/>
                    </a:cubicBezTo>
                    <a:cubicBezTo>
                      <a:pt x="371612" y="459816"/>
                      <a:pt x="374462" y="452179"/>
                      <a:pt x="376001" y="445796"/>
                    </a:cubicBezTo>
                    <a:cubicBezTo>
                      <a:pt x="380503" y="449215"/>
                      <a:pt x="387400" y="446251"/>
                      <a:pt x="391104" y="442205"/>
                    </a:cubicBezTo>
                    <a:cubicBezTo>
                      <a:pt x="394809" y="438158"/>
                      <a:pt x="398172" y="432915"/>
                      <a:pt x="403415" y="430806"/>
                    </a:cubicBezTo>
                    <a:cubicBezTo>
                      <a:pt x="408659" y="428697"/>
                      <a:pt x="415783" y="430407"/>
                      <a:pt x="422052" y="430806"/>
                    </a:cubicBezTo>
                    <a:cubicBezTo>
                      <a:pt x="428322" y="431205"/>
                      <a:pt x="436130" y="428526"/>
                      <a:pt x="436814" y="422257"/>
                    </a:cubicBezTo>
                    <a:cubicBezTo>
                      <a:pt x="437498" y="415987"/>
                      <a:pt x="431115" y="412112"/>
                      <a:pt x="427638" y="407153"/>
                    </a:cubicBezTo>
                    <a:cubicBezTo>
                      <a:pt x="423192" y="400587"/>
                      <a:pt x="423375" y="391924"/>
                      <a:pt x="428094" y="385552"/>
                    </a:cubicBezTo>
                    <a:cubicBezTo>
                      <a:pt x="435731" y="386179"/>
                      <a:pt x="443824" y="383158"/>
                      <a:pt x="450892" y="386236"/>
                    </a:cubicBezTo>
                    <a:cubicBezTo>
                      <a:pt x="455672" y="389211"/>
                      <a:pt x="459833" y="393081"/>
                      <a:pt x="463146" y="397635"/>
                    </a:cubicBezTo>
                    <a:cubicBezTo>
                      <a:pt x="466561" y="402337"/>
                      <a:pt x="472501" y="404486"/>
                      <a:pt x="478135" y="403049"/>
                    </a:cubicBezTo>
                    <a:cubicBezTo>
                      <a:pt x="472684" y="406777"/>
                      <a:pt x="467538" y="410932"/>
                      <a:pt x="462747" y="415474"/>
                    </a:cubicBezTo>
                    <a:cubicBezTo>
                      <a:pt x="474311" y="417469"/>
                      <a:pt x="486150" y="417241"/>
                      <a:pt x="497627" y="414790"/>
                    </a:cubicBezTo>
                    <a:cubicBezTo>
                      <a:pt x="501135" y="414352"/>
                      <a:pt x="504400" y="412767"/>
                      <a:pt x="506918" y="410288"/>
                    </a:cubicBezTo>
                    <a:cubicBezTo>
                      <a:pt x="508456" y="408407"/>
                      <a:pt x="509140" y="405956"/>
                      <a:pt x="510565" y="403904"/>
                    </a:cubicBezTo>
                    <a:cubicBezTo>
                      <a:pt x="514687" y="399248"/>
                      <a:pt x="521145" y="397424"/>
                      <a:pt x="527094" y="399231"/>
                    </a:cubicBezTo>
                    <a:cubicBezTo>
                      <a:pt x="533807" y="400678"/>
                      <a:pt x="539833" y="404355"/>
                      <a:pt x="544192" y="409661"/>
                    </a:cubicBezTo>
                    <a:cubicBezTo>
                      <a:pt x="545488" y="411787"/>
                      <a:pt x="547341" y="413525"/>
                      <a:pt x="549550" y="414676"/>
                    </a:cubicBezTo>
                    <a:cubicBezTo>
                      <a:pt x="552467" y="415161"/>
                      <a:pt x="555461" y="414847"/>
                      <a:pt x="558213" y="413765"/>
                    </a:cubicBezTo>
                    <a:cubicBezTo>
                      <a:pt x="566624" y="412448"/>
                      <a:pt x="575146" y="415349"/>
                      <a:pt x="581011" y="421516"/>
                    </a:cubicBezTo>
                    <a:cubicBezTo>
                      <a:pt x="586744" y="427626"/>
                      <a:pt x="591441" y="434636"/>
                      <a:pt x="594917" y="442262"/>
                    </a:cubicBezTo>
                    <a:cubicBezTo>
                      <a:pt x="601643" y="433884"/>
                      <a:pt x="609394" y="425163"/>
                      <a:pt x="620052" y="423340"/>
                    </a:cubicBezTo>
                    <a:cubicBezTo>
                      <a:pt x="624783" y="429039"/>
                      <a:pt x="610762" y="437474"/>
                      <a:pt x="615322" y="443402"/>
                    </a:cubicBezTo>
                    <a:cubicBezTo>
                      <a:pt x="617886" y="446650"/>
                      <a:pt x="623130" y="444656"/>
                      <a:pt x="627119" y="445910"/>
                    </a:cubicBezTo>
                    <a:cubicBezTo>
                      <a:pt x="631109" y="447163"/>
                      <a:pt x="633731" y="453376"/>
                      <a:pt x="637607" y="456739"/>
                    </a:cubicBezTo>
                    <a:cubicBezTo>
                      <a:pt x="644389" y="462438"/>
                      <a:pt x="655959" y="459360"/>
                      <a:pt x="662912" y="465117"/>
                    </a:cubicBezTo>
                    <a:cubicBezTo>
                      <a:pt x="669866" y="470873"/>
                      <a:pt x="669182" y="483241"/>
                      <a:pt x="677161" y="487459"/>
                    </a:cubicBezTo>
                    <a:cubicBezTo>
                      <a:pt x="682290" y="485065"/>
                      <a:pt x="680638" y="475319"/>
                      <a:pt x="686109" y="473951"/>
                    </a:cubicBezTo>
                    <a:cubicBezTo>
                      <a:pt x="692948" y="472298"/>
                      <a:pt x="697508" y="487231"/>
                      <a:pt x="703207" y="483127"/>
                    </a:cubicBezTo>
                    <a:cubicBezTo>
                      <a:pt x="702922" y="474926"/>
                      <a:pt x="704336" y="466758"/>
                      <a:pt x="707368" y="459132"/>
                    </a:cubicBezTo>
                    <a:cubicBezTo>
                      <a:pt x="719787" y="461218"/>
                      <a:pt x="728160" y="472976"/>
                      <a:pt x="726074" y="485390"/>
                    </a:cubicBezTo>
                    <a:cubicBezTo>
                      <a:pt x="725361" y="489636"/>
                      <a:pt x="723458" y="493597"/>
                      <a:pt x="720591" y="496806"/>
                    </a:cubicBezTo>
                    <a:cubicBezTo>
                      <a:pt x="718989" y="498926"/>
                      <a:pt x="716653" y="500374"/>
                      <a:pt x="714036" y="500852"/>
                    </a:cubicBezTo>
                    <a:cubicBezTo>
                      <a:pt x="709819" y="501365"/>
                      <a:pt x="706228" y="498060"/>
                      <a:pt x="702638" y="495666"/>
                    </a:cubicBezTo>
                    <a:cubicBezTo>
                      <a:pt x="699047" y="493272"/>
                      <a:pt x="693632" y="492018"/>
                      <a:pt x="691239" y="495666"/>
                    </a:cubicBezTo>
                    <a:cubicBezTo>
                      <a:pt x="696830" y="515204"/>
                      <a:pt x="708884" y="532262"/>
                      <a:pt x="725435" y="544054"/>
                    </a:cubicBezTo>
                    <a:cubicBezTo>
                      <a:pt x="722603" y="532621"/>
                      <a:pt x="720693" y="520972"/>
                      <a:pt x="719736" y="509231"/>
                    </a:cubicBezTo>
                    <a:cubicBezTo>
                      <a:pt x="726005" y="511220"/>
                      <a:pt x="732491" y="512422"/>
                      <a:pt x="739057" y="512821"/>
                    </a:cubicBezTo>
                    <a:cubicBezTo>
                      <a:pt x="739057" y="507407"/>
                      <a:pt x="739057" y="501992"/>
                      <a:pt x="739057" y="496578"/>
                    </a:cubicBezTo>
                    <a:cubicBezTo>
                      <a:pt x="738869" y="494988"/>
                      <a:pt x="739274" y="493386"/>
                      <a:pt x="740197" y="492075"/>
                    </a:cubicBezTo>
                    <a:cubicBezTo>
                      <a:pt x="742049" y="490559"/>
                      <a:pt x="744626" y="490286"/>
                      <a:pt x="746751" y="491391"/>
                    </a:cubicBezTo>
                    <a:cubicBezTo>
                      <a:pt x="755637" y="495130"/>
                      <a:pt x="760932" y="504346"/>
                      <a:pt x="759689" y="513904"/>
                    </a:cubicBezTo>
                    <a:cubicBezTo>
                      <a:pt x="758059" y="523348"/>
                      <a:pt x="750912" y="530877"/>
                      <a:pt x="741565" y="532997"/>
                    </a:cubicBezTo>
                    <a:cubicBezTo>
                      <a:pt x="738875" y="533265"/>
                      <a:pt x="736253" y="534001"/>
                      <a:pt x="733814" y="535163"/>
                    </a:cubicBezTo>
                    <a:cubicBezTo>
                      <a:pt x="726917" y="539495"/>
                      <a:pt x="730280" y="550039"/>
                      <a:pt x="734384" y="557049"/>
                    </a:cubicBezTo>
                    <a:cubicBezTo>
                      <a:pt x="742819" y="559785"/>
                      <a:pt x="751482" y="553459"/>
                      <a:pt x="757580" y="547132"/>
                    </a:cubicBezTo>
                    <a:cubicBezTo>
                      <a:pt x="763679" y="540806"/>
                      <a:pt x="770860" y="533567"/>
                      <a:pt x="779694" y="533852"/>
                    </a:cubicBezTo>
                    <a:cubicBezTo>
                      <a:pt x="780207" y="540464"/>
                      <a:pt x="785394" y="545650"/>
                      <a:pt x="788928" y="550951"/>
                    </a:cubicBezTo>
                    <a:cubicBezTo>
                      <a:pt x="792461" y="556251"/>
                      <a:pt x="794912" y="564402"/>
                      <a:pt x="790352" y="569246"/>
                    </a:cubicBezTo>
                    <a:cubicBezTo>
                      <a:pt x="782373" y="577681"/>
                      <a:pt x="766871" y="564915"/>
                      <a:pt x="756954" y="571013"/>
                    </a:cubicBezTo>
                    <a:cubicBezTo>
                      <a:pt x="753534" y="576712"/>
                      <a:pt x="767270" y="581842"/>
                      <a:pt x="763679" y="587142"/>
                    </a:cubicBezTo>
                    <a:cubicBezTo>
                      <a:pt x="761912" y="589707"/>
                      <a:pt x="757637" y="588624"/>
                      <a:pt x="755130" y="590448"/>
                    </a:cubicBezTo>
                    <a:cubicBezTo>
                      <a:pt x="751026" y="593412"/>
                      <a:pt x="754674" y="599852"/>
                      <a:pt x="758777" y="602759"/>
                    </a:cubicBezTo>
                    <a:cubicBezTo>
                      <a:pt x="761656" y="605278"/>
                      <a:pt x="765469" y="606458"/>
                      <a:pt x="769264" y="606008"/>
                    </a:cubicBezTo>
                    <a:cubicBezTo>
                      <a:pt x="772524" y="604765"/>
                      <a:pt x="775380" y="602656"/>
                      <a:pt x="777529" y="599909"/>
                    </a:cubicBezTo>
                    <a:cubicBezTo>
                      <a:pt x="785155" y="592574"/>
                      <a:pt x="795459" y="588704"/>
                      <a:pt x="806026" y="589194"/>
                    </a:cubicBezTo>
                    <a:cubicBezTo>
                      <a:pt x="808163" y="589172"/>
                      <a:pt x="810272" y="589719"/>
                      <a:pt x="812124" y="590790"/>
                    </a:cubicBezTo>
                    <a:cubicBezTo>
                      <a:pt x="819192" y="595407"/>
                      <a:pt x="817083" y="609370"/>
                      <a:pt x="824492" y="613588"/>
                    </a:cubicBezTo>
                    <a:cubicBezTo>
                      <a:pt x="824469" y="613833"/>
                      <a:pt x="824469" y="614084"/>
                      <a:pt x="824492" y="614329"/>
                    </a:cubicBezTo>
                    <a:cubicBezTo>
                      <a:pt x="824868" y="613924"/>
                      <a:pt x="825290" y="613560"/>
                      <a:pt x="825746" y="613246"/>
                    </a:cubicBezTo>
                    <a:cubicBezTo>
                      <a:pt x="826487" y="611650"/>
                      <a:pt x="828425" y="611308"/>
                      <a:pt x="829622" y="609997"/>
                    </a:cubicBezTo>
                    <a:close/>
                    <a:moveTo>
                      <a:pt x="2205760" y="892007"/>
                    </a:moveTo>
                    <a:cubicBezTo>
                      <a:pt x="2205555" y="890628"/>
                      <a:pt x="2205116" y="889300"/>
                      <a:pt x="2204449" y="888075"/>
                    </a:cubicBezTo>
                    <a:cubicBezTo>
                      <a:pt x="2202853" y="885681"/>
                      <a:pt x="2199148" y="884085"/>
                      <a:pt x="2199661" y="881235"/>
                    </a:cubicBezTo>
                    <a:cubicBezTo>
                      <a:pt x="2200089" y="880130"/>
                      <a:pt x="2200642" y="879075"/>
                      <a:pt x="2201314" y="878101"/>
                    </a:cubicBezTo>
                    <a:cubicBezTo>
                      <a:pt x="2202118" y="875165"/>
                      <a:pt x="2201269" y="872019"/>
                      <a:pt x="2199091" y="869893"/>
                    </a:cubicBezTo>
                    <a:cubicBezTo>
                      <a:pt x="2196852" y="867893"/>
                      <a:pt x="2195210" y="865305"/>
                      <a:pt x="2194361" y="862427"/>
                    </a:cubicBezTo>
                    <a:cubicBezTo>
                      <a:pt x="2193848" y="857753"/>
                      <a:pt x="2198407" y="853878"/>
                      <a:pt x="2198692" y="849204"/>
                    </a:cubicBezTo>
                    <a:cubicBezTo>
                      <a:pt x="2198977" y="844531"/>
                      <a:pt x="2194133" y="839857"/>
                      <a:pt x="2189687" y="836836"/>
                    </a:cubicBezTo>
                    <a:cubicBezTo>
                      <a:pt x="2188525" y="835925"/>
                      <a:pt x="2187151" y="835320"/>
                      <a:pt x="2185698" y="835070"/>
                    </a:cubicBezTo>
                    <a:cubicBezTo>
                      <a:pt x="2184239" y="835126"/>
                      <a:pt x="2182797" y="835417"/>
                      <a:pt x="2181423" y="835925"/>
                    </a:cubicBezTo>
                    <a:cubicBezTo>
                      <a:pt x="2174128" y="837634"/>
                      <a:pt x="2167459" y="831878"/>
                      <a:pt x="2161646" y="827204"/>
                    </a:cubicBezTo>
                    <a:cubicBezTo>
                      <a:pt x="2160774" y="826509"/>
                      <a:pt x="2159839" y="825899"/>
                      <a:pt x="2158853" y="825380"/>
                    </a:cubicBezTo>
                    <a:cubicBezTo>
                      <a:pt x="2156516" y="828857"/>
                      <a:pt x="2154236" y="832448"/>
                      <a:pt x="2151786" y="835867"/>
                    </a:cubicBezTo>
                    <a:cubicBezTo>
                      <a:pt x="2151227" y="846913"/>
                      <a:pt x="2147243" y="857508"/>
                      <a:pt x="2140387" y="866189"/>
                    </a:cubicBezTo>
                    <a:cubicBezTo>
                      <a:pt x="2138933" y="868126"/>
                      <a:pt x="2137799" y="870281"/>
                      <a:pt x="2137024" y="872572"/>
                    </a:cubicBezTo>
                    <a:cubicBezTo>
                      <a:pt x="2136722" y="874835"/>
                      <a:pt x="2136306" y="877080"/>
                      <a:pt x="2135770" y="879297"/>
                    </a:cubicBezTo>
                    <a:cubicBezTo>
                      <a:pt x="2134402" y="882888"/>
                      <a:pt x="2130926" y="884997"/>
                      <a:pt x="2128190" y="887733"/>
                    </a:cubicBezTo>
                    <a:cubicBezTo>
                      <a:pt x="2125454" y="890469"/>
                      <a:pt x="2123573" y="894971"/>
                      <a:pt x="2125967" y="897935"/>
                    </a:cubicBezTo>
                    <a:cubicBezTo>
                      <a:pt x="2122872" y="898282"/>
                      <a:pt x="2119891" y="899314"/>
                      <a:pt x="2117247" y="900956"/>
                    </a:cubicBezTo>
                    <a:cubicBezTo>
                      <a:pt x="2114534" y="902694"/>
                      <a:pt x="2113280" y="906005"/>
                      <a:pt x="2114169" y="909106"/>
                    </a:cubicBezTo>
                    <a:lnTo>
                      <a:pt x="2111832" y="909391"/>
                    </a:lnTo>
                    <a:lnTo>
                      <a:pt x="2036713" y="908593"/>
                    </a:lnTo>
                    <a:cubicBezTo>
                      <a:pt x="2031891" y="909391"/>
                      <a:pt x="2027332" y="911346"/>
                      <a:pt x="2023434" y="914292"/>
                    </a:cubicBezTo>
                    <a:cubicBezTo>
                      <a:pt x="2022499" y="914862"/>
                      <a:pt x="2021781" y="915723"/>
                      <a:pt x="2021382" y="916743"/>
                    </a:cubicBezTo>
                    <a:cubicBezTo>
                      <a:pt x="2021382" y="917484"/>
                      <a:pt x="2021382" y="918282"/>
                      <a:pt x="2021382" y="919023"/>
                    </a:cubicBezTo>
                    <a:cubicBezTo>
                      <a:pt x="2020983" y="921302"/>
                      <a:pt x="2018532" y="922556"/>
                      <a:pt x="2016309" y="923126"/>
                    </a:cubicBezTo>
                    <a:cubicBezTo>
                      <a:pt x="2014041" y="923440"/>
                      <a:pt x="2011869" y="924278"/>
                      <a:pt x="2009983" y="925577"/>
                    </a:cubicBezTo>
                    <a:cubicBezTo>
                      <a:pt x="2009647" y="925931"/>
                      <a:pt x="2009344" y="926312"/>
                      <a:pt x="2009071" y="926717"/>
                    </a:cubicBezTo>
                    <a:lnTo>
                      <a:pt x="2010040" y="926717"/>
                    </a:lnTo>
                    <a:cubicBezTo>
                      <a:pt x="2011978" y="933049"/>
                      <a:pt x="2008586" y="939780"/>
                      <a:pt x="2002345" y="941992"/>
                    </a:cubicBezTo>
                    <a:cubicBezTo>
                      <a:pt x="1999781" y="942733"/>
                      <a:pt x="1996646" y="942733"/>
                      <a:pt x="1994822" y="944670"/>
                    </a:cubicBezTo>
                    <a:cubicBezTo>
                      <a:pt x="1992998" y="946608"/>
                      <a:pt x="1992941" y="949458"/>
                      <a:pt x="1991403" y="951510"/>
                    </a:cubicBezTo>
                    <a:cubicBezTo>
                      <a:pt x="1989619" y="953436"/>
                      <a:pt x="1987219" y="954684"/>
                      <a:pt x="1984620" y="955043"/>
                    </a:cubicBezTo>
                    <a:cubicBezTo>
                      <a:pt x="1975951" y="957266"/>
                      <a:pt x="1967129" y="958862"/>
                      <a:pt x="1958232" y="959831"/>
                    </a:cubicBezTo>
                    <a:cubicBezTo>
                      <a:pt x="1955661" y="959962"/>
                      <a:pt x="1953142" y="960600"/>
                      <a:pt x="1950822" y="961712"/>
                    </a:cubicBezTo>
                    <a:cubicBezTo>
                      <a:pt x="1944097" y="965588"/>
                      <a:pt x="1943983" y="976986"/>
                      <a:pt x="1936574" y="979437"/>
                    </a:cubicBezTo>
                    <a:cubicBezTo>
                      <a:pt x="1934778" y="979642"/>
                      <a:pt x="1933051" y="980224"/>
                      <a:pt x="1931501" y="981147"/>
                    </a:cubicBezTo>
                    <a:cubicBezTo>
                      <a:pt x="1930361" y="982059"/>
                      <a:pt x="1929905" y="983541"/>
                      <a:pt x="1928879" y="984567"/>
                    </a:cubicBezTo>
                    <a:cubicBezTo>
                      <a:pt x="1927745" y="985558"/>
                      <a:pt x="1926366" y="986225"/>
                      <a:pt x="1924890" y="986504"/>
                    </a:cubicBezTo>
                    <a:lnTo>
                      <a:pt x="1912978" y="989924"/>
                    </a:lnTo>
                    <a:cubicBezTo>
                      <a:pt x="1913377" y="991400"/>
                      <a:pt x="1913257" y="992973"/>
                      <a:pt x="1912636" y="994370"/>
                    </a:cubicBezTo>
                    <a:cubicBezTo>
                      <a:pt x="1909330" y="996251"/>
                      <a:pt x="1903973" y="994370"/>
                      <a:pt x="1902149" y="997847"/>
                    </a:cubicBezTo>
                    <a:cubicBezTo>
                      <a:pt x="1901807" y="998713"/>
                      <a:pt x="1901562" y="999608"/>
                      <a:pt x="1901408" y="1000525"/>
                    </a:cubicBezTo>
                    <a:cubicBezTo>
                      <a:pt x="1900182" y="1004247"/>
                      <a:pt x="1897002" y="1006983"/>
                      <a:pt x="1893144" y="1007650"/>
                    </a:cubicBezTo>
                    <a:cubicBezTo>
                      <a:pt x="1889376" y="1008334"/>
                      <a:pt x="1885512" y="1008334"/>
                      <a:pt x="1881745" y="1007650"/>
                    </a:cubicBezTo>
                    <a:cubicBezTo>
                      <a:pt x="1881779" y="1010232"/>
                      <a:pt x="1881112" y="1012773"/>
                      <a:pt x="1879807" y="1015002"/>
                    </a:cubicBezTo>
                    <a:cubicBezTo>
                      <a:pt x="1876729" y="1019276"/>
                      <a:pt x="1870346" y="1018821"/>
                      <a:pt x="1865159" y="1017852"/>
                    </a:cubicBezTo>
                    <a:cubicBezTo>
                      <a:pt x="1864099" y="1017812"/>
                      <a:pt x="1863102" y="1017361"/>
                      <a:pt x="1862366" y="1016598"/>
                    </a:cubicBezTo>
                    <a:cubicBezTo>
                      <a:pt x="1861899" y="1015640"/>
                      <a:pt x="1861665" y="1014586"/>
                      <a:pt x="1861683" y="1013520"/>
                    </a:cubicBezTo>
                    <a:cubicBezTo>
                      <a:pt x="1860999" y="1009188"/>
                      <a:pt x="1855983" y="1007308"/>
                      <a:pt x="1852107" y="1005370"/>
                    </a:cubicBezTo>
                    <a:cubicBezTo>
                      <a:pt x="1848232" y="1003432"/>
                      <a:pt x="1844185" y="998758"/>
                      <a:pt x="1846750" y="995168"/>
                    </a:cubicBezTo>
                    <a:cubicBezTo>
                      <a:pt x="1848089" y="993857"/>
                      <a:pt x="1849651" y="992797"/>
                      <a:pt x="1851366" y="992033"/>
                    </a:cubicBezTo>
                    <a:cubicBezTo>
                      <a:pt x="1852905" y="991007"/>
                      <a:pt x="1854216" y="988898"/>
                      <a:pt x="1853190" y="987302"/>
                    </a:cubicBezTo>
                    <a:cubicBezTo>
                      <a:pt x="1860543" y="984624"/>
                      <a:pt x="1869263" y="993515"/>
                      <a:pt x="1875988" y="989411"/>
                    </a:cubicBezTo>
                    <a:cubicBezTo>
                      <a:pt x="1881118" y="986277"/>
                      <a:pt x="1880263" y="978354"/>
                      <a:pt x="1883910" y="973567"/>
                    </a:cubicBezTo>
                    <a:cubicBezTo>
                      <a:pt x="1883614" y="973145"/>
                      <a:pt x="1883272" y="972763"/>
                      <a:pt x="1882885" y="972427"/>
                    </a:cubicBezTo>
                    <a:cubicBezTo>
                      <a:pt x="1882343" y="972102"/>
                      <a:pt x="1881745" y="971885"/>
                      <a:pt x="1881118" y="971800"/>
                    </a:cubicBezTo>
                    <a:cubicBezTo>
                      <a:pt x="1879539" y="971481"/>
                      <a:pt x="1877898" y="971811"/>
                      <a:pt x="1876558" y="972712"/>
                    </a:cubicBezTo>
                    <a:cubicBezTo>
                      <a:pt x="1874791" y="974023"/>
                      <a:pt x="1874164" y="976474"/>
                      <a:pt x="1872341" y="977727"/>
                    </a:cubicBezTo>
                    <a:cubicBezTo>
                      <a:pt x="1870802" y="978816"/>
                      <a:pt x="1868750" y="978816"/>
                      <a:pt x="1867211" y="977727"/>
                    </a:cubicBezTo>
                    <a:cubicBezTo>
                      <a:pt x="1866932" y="975544"/>
                      <a:pt x="1867285" y="973327"/>
                      <a:pt x="1868237" y="971344"/>
                    </a:cubicBezTo>
                    <a:lnTo>
                      <a:pt x="1870118" y="950256"/>
                    </a:lnTo>
                    <a:cubicBezTo>
                      <a:pt x="1870454" y="948198"/>
                      <a:pt x="1870294" y="946089"/>
                      <a:pt x="1869662" y="944100"/>
                    </a:cubicBezTo>
                    <a:cubicBezTo>
                      <a:pt x="1867325" y="938401"/>
                      <a:pt x="1858605" y="938401"/>
                      <a:pt x="1853133" y="941764"/>
                    </a:cubicBezTo>
                    <a:cubicBezTo>
                      <a:pt x="1847662" y="945126"/>
                      <a:pt x="1842646" y="949914"/>
                      <a:pt x="1836320" y="950085"/>
                    </a:cubicBezTo>
                    <a:cubicBezTo>
                      <a:pt x="1833254" y="946454"/>
                      <a:pt x="1833709" y="941023"/>
                      <a:pt x="1837346" y="937957"/>
                    </a:cubicBezTo>
                    <a:cubicBezTo>
                      <a:pt x="1837916" y="937472"/>
                      <a:pt x="1838548" y="937067"/>
                      <a:pt x="1839227" y="936748"/>
                    </a:cubicBezTo>
                    <a:cubicBezTo>
                      <a:pt x="1840754" y="936332"/>
                      <a:pt x="1842253" y="935836"/>
                      <a:pt x="1843729" y="935266"/>
                    </a:cubicBezTo>
                    <a:cubicBezTo>
                      <a:pt x="1846870" y="933408"/>
                      <a:pt x="1847912" y="929356"/>
                      <a:pt x="1846055" y="926210"/>
                    </a:cubicBezTo>
                    <a:cubicBezTo>
                      <a:pt x="1845889" y="925931"/>
                      <a:pt x="1845701" y="925663"/>
                      <a:pt x="1845496" y="925406"/>
                    </a:cubicBezTo>
                    <a:cubicBezTo>
                      <a:pt x="1852387" y="922551"/>
                      <a:pt x="1855658" y="914651"/>
                      <a:pt x="1852803" y="907755"/>
                    </a:cubicBezTo>
                    <a:cubicBezTo>
                      <a:pt x="1852216" y="906324"/>
                      <a:pt x="1851378" y="905008"/>
                      <a:pt x="1850341" y="903862"/>
                    </a:cubicBezTo>
                    <a:cubicBezTo>
                      <a:pt x="1848118" y="901810"/>
                      <a:pt x="1845097" y="900386"/>
                      <a:pt x="1844014" y="897593"/>
                    </a:cubicBezTo>
                    <a:cubicBezTo>
                      <a:pt x="1842931" y="894800"/>
                      <a:pt x="1843558" y="892349"/>
                      <a:pt x="1841734" y="890753"/>
                    </a:cubicBezTo>
                    <a:cubicBezTo>
                      <a:pt x="1840731" y="890041"/>
                      <a:pt x="1839540" y="889642"/>
                      <a:pt x="1838315" y="889613"/>
                    </a:cubicBezTo>
                    <a:cubicBezTo>
                      <a:pt x="1826351" y="888348"/>
                      <a:pt x="1814536" y="893113"/>
                      <a:pt x="1806797" y="902323"/>
                    </a:cubicBezTo>
                    <a:cubicBezTo>
                      <a:pt x="1805554" y="904159"/>
                      <a:pt x="1804038" y="905794"/>
                      <a:pt x="1802294" y="907168"/>
                    </a:cubicBezTo>
                    <a:cubicBezTo>
                      <a:pt x="1799786" y="908821"/>
                      <a:pt x="1796594" y="908935"/>
                      <a:pt x="1793916" y="910360"/>
                    </a:cubicBezTo>
                    <a:cubicBezTo>
                      <a:pt x="1788216" y="913494"/>
                      <a:pt x="1787019" y="921417"/>
                      <a:pt x="1786677" y="928085"/>
                    </a:cubicBezTo>
                    <a:lnTo>
                      <a:pt x="1784170" y="981318"/>
                    </a:lnTo>
                    <a:cubicBezTo>
                      <a:pt x="1784267" y="983205"/>
                      <a:pt x="1783725" y="985074"/>
                      <a:pt x="1782631" y="986619"/>
                    </a:cubicBezTo>
                    <a:cubicBezTo>
                      <a:pt x="1780579" y="988784"/>
                      <a:pt x="1776931" y="988214"/>
                      <a:pt x="1774651" y="990266"/>
                    </a:cubicBezTo>
                    <a:cubicBezTo>
                      <a:pt x="1772372" y="992318"/>
                      <a:pt x="1773911" y="998872"/>
                      <a:pt x="1770719" y="1001323"/>
                    </a:cubicBezTo>
                    <a:cubicBezTo>
                      <a:pt x="1769739" y="1001979"/>
                      <a:pt x="1768593" y="1002332"/>
                      <a:pt x="1767413" y="1002349"/>
                    </a:cubicBezTo>
                    <a:cubicBezTo>
                      <a:pt x="1760163" y="1002514"/>
                      <a:pt x="1754105" y="996878"/>
                      <a:pt x="1753734" y="989639"/>
                    </a:cubicBezTo>
                    <a:cubicBezTo>
                      <a:pt x="1753945" y="987724"/>
                      <a:pt x="1753774" y="985786"/>
                      <a:pt x="1753222" y="983940"/>
                    </a:cubicBezTo>
                    <a:cubicBezTo>
                      <a:pt x="1752310" y="982059"/>
                      <a:pt x="1750258" y="981033"/>
                      <a:pt x="1748776" y="979551"/>
                    </a:cubicBezTo>
                    <a:cubicBezTo>
                      <a:pt x="1745818" y="975185"/>
                      <a:pt x="1745037" y="969691"/>
                      <a:pt x="1746667" y="964676"/>
                    </a:cubicBezTo>
                    <a:cubicBezTo>
                      <a:pt x="1747573" y="957711"/>
                      <a:pt x="1749494" y="950911"/>
                      <a:pt x="1752367" y="944499"/>
                    </a:cubicBezTo>
                    <a:cubicBezTo>
                      <a:pt x="1755216" y="938800"/>
                      <a:pt x="1759719" y="933100"/>
                      <a:pt x="1758066" y="926945"/>
                    </a:cubicBezTo>
                    <a:cubicBezTo>
                      <a:pt x="1763082" y="924779"/>
                      <a:pt x="1769180" y="919935"/>
                      <a:pt x="1766501" y="915147"/>
                    </a:cubicBezTo>
                    <a:cubicBezTo>
                      <a:pt x="1763822" y="910360"/>
                      <a:pt x="1754646" y="911385"/>
                      <a:pt x="1753963" y="906028"/>
                    </a:cubicBezTo>
                    <a:cubicBezTo>
                      <a:pt x="1753563" y="903121"/>
                      <a:pt x="1756242" y="900841"/>
                      <a:pt x="1758636" y="899189"/>
                    </a:cubicBezTo>
                    <a:lnTo>
                      <a:pt x="1772600" y="889557"/>
                    </a:lnTo>
                    <a:cubicBezTo>
                      <a:pt x="1775843" y="887214"/>
                      <a:pt x="1779234" y="885082"/>
                      <a:pt x="1782745" y="883173"/>
                    </a:cubicBezTo>
                    <a:cubicBezTo>
                      <a:pt x="1787139" y="880939"/>
                      <a:pt x="1791790" y="879258"/>
                      <a:pt x="1796594" y="878158"/>
                    </a:cubicBezTo>
                    <a:cubicBezTo>
                      <a:pt x="1805406" y="876129"/>
                      <a:pt x="1814462" y="875342"/>
                      <a:pt x="1823496" y="875821"/>
                    </a:cubicBezTo>
                    <a:cubicBezTo>
                      <a:pt x="1828512" y="875821"/>
                      <a:pt x="1835351" y="875308"/>
                      <a:pt x="1836035" y="870121"/>
                    </a:cubicBezTo>
                    <a:cubicBezTo>
                      <a:pt x="1836719" y="864935"/>
                      <a:pt x="1829765" y="862484"/>
                      <a:pt x="1824636" y="862541"/>
                    </a:cubicBezTo>
                    <a:cubicBezTo>
                      <a:pt x="1819506" y="862598"/>
                      <a:pt x="1812610" y="861971"/>
                      <a:pt x="1811299" y="856841"/>
                    </a:cubicBezTo>
                    <a:cubicBezTo>
                      <a:pt x="1806118" y="857702"/>
                      <a:pt x="1800812" y="857451"/>
                      <a:pt x="1795740" y="856101"/>
                    </a:cubicBezTo>
                    <a:cubicBezTo>
                      <a:pt x="1790496" y="855531"/>
                      <a:pt x="1783942" y="857526"/>
                      <a:pt x="1783087" y="862712"/>
                    </a:cubicBezTo>
                    <a:lnTo>
                      <a:pt x="1755501" y="862427"/>
                    </a:lnTo>
                    <a:cubicBezTo>
                      <a:pt x="1758072" y="856237"/>
                      <a:pt x="1755137" y="849130"/>
                      <a:pt x="1748947" y="846560"/>
                    </a:cubicBezTo>
                    <a:cubicBezTo>
                      <a:pt x="1746376" y="845494"/>
                      <a:pt x="1743521" y="845340"/>
                      <a:pt x="1740854" y="846127"/>
                    </a:cubicBezTo>
                    <a:lnTo>
                      <a:pt x="1740341" y="840712"/>
                    </a:lnTo>
                    <a:lnTo>
                      <a:pt x="1729284" y="840256"/>
                    </a:lnTo>
                    <a:lnTo>
                      <a:pt x="1727745" y="844987"/>
                    </a:lnTo>
                    <a:cubicBezTo>
                      <a:pt x="1724234" y="845169"/>
                      <a:pt x="1720826" y="846229"/>
                      <a:pt x="1717828" y="848064"/>
                    </a:cubicBezTo>
                    <a:cubicBezTo>
                      <a:pt x="1720563" y="850515"/>
                      <a:pt x="1717258" y="855018"/>
                      <a:pt x="1713781" y="856044"/>
                    </a:cubicBezTo>
                    <a:cubicBezTo>
                      <a:pt x="1710305" y="857070"/>
                      <a:pt x="1706030" y="856956"/>
                      <a:pt x="1703693" y="859748"/>
                    </a:cubicBezTo>
                    <a:cubicBezTo>
                      <a:pt x="1702838" y="860774"/>
                      <a:pt x="1702382" y="862085"/>
                      <a:pt x="1701299" y="862883"/>
                    </a:cubicBezTo>
                    <a:cubicBezTo>
                      <a:pt x="1698222" y="865220"/>
                      <a:pt x="1694403" y="861344"/>
                      <a:pt x="1691097" y="859292"/>
                    </a:cubicBezTo>
                    <a:cubicBezTo>
                      <a:pt x="1687313" y="857451"/>
                      <a:pt x="1683072" y="856762"/>
                      <a:pt x="1678900" y="857298"/>
                    </a:cubicBezTo>
                    <a:cubicBezTo>
                      <a:pt x="1674723" y="857868"/>
                      <a:pt x="1670471" y="857377"/>
                      <a:pt x="1666533" y="855873"/>
                    </a:cubicBezTo>
                    <a:cubicBezTo>
                      <a:pt x="1662537" y="854168"/>
                      <a:pt x="1660565" y="849643"/>
                      <a:pt x="1662030" y="845557"/>
                    </a:cubicBezTo>
                    <a:cubicBezTo>
                      <a:pt x="1666156" y="844816"/>
                      <a:pt x="1670055" y="843140"/>
                      <a:pt x="1673429" y="840655"/>
                    </a:cubicBezTo>
                    <a:cubicBezTo>
                      <a:pt x="1676826" y="838050"/>
                      <a:pt x="1678006" y="833462"/>
                      <a:pt x="1676279" y="829541"/>
                    </a:cubicBezTo>
                    <a:cubicBezTo>
                      <a:pt x="1680667" y="827033"/>
                      <a:pt x="1687279" y="830966"/>
                      <a:pt x="1690926" y="827489"/>
                    </a:cubicBezTo>
                    <a:cubicBezTo>
                      <a:pt x="1691952" y="826463"/>
                      <a:pt x="1692522" y="824925"/>
                      <a:pt x="1693662" y="824013"/>
                    </a:cubicBezTo>
                    <a:cubicBezTo>
                      <a:pt x="1697538" y="820764"/>
                      <a:pt x="1705859" y="825608"/>
                      <a:pt x="1707569" y="820821"/>
                    </a:cubicBezTo>
                    <a:cubicBezTo>
                      <a:pt x="1708025" y="819510"/>
                      <a:pt x="1707569" y="818085"/>
                      <a:pt x="1707968" y="816774"/>
                    </a:cubicBezTo>
                    <a:cubicBezTo>
                      <a:pt x="1708213" y="815879"/>
                      <a:pt x="1708811" y="815121"/>
                      <a:pt x="1709621" y="814665"/>
                    </a:cubicBezTo>
                    <a:cubicBezTo>
                      <a:pt x="1707785" y="813343"/>
                      <a:pt x="1705654" y="812500"/>
                      <a:pt x="1703408" y="812215"/>
                    </a:cubicBezTo>
                    <a:cubicBezTo>
                      <a:pt x="1701242" y="812334"/>
                      <a:pt x="1699116" y="812853"/>
                      <a:pt x="1697139" y="813753"/>
                    </a:cubicBezTo>
                    <a:cubicBezTo>
                      <a:pt x="1688362" y="816512"/>
                      <a:pt x="1678781" y="814335"/>
                      <a:pt x="1672061" y="808054"/>
                    </a:cubicBezTo>
                    <a:cubicBezTo>
                      <a:pt x="1663147" y="810334"/>
                      <a:pt x="1653806" y="806367"/>
                      <a:pt x="1649263" y="798365"/>
                    </a:cubicBezTo>
                    <a:cubicBezTo>
                      <a:pt x="1645234" y="796296"/>
                      <a:pt x="1640286" y="797886"/>
                      <a:pt x="1638212" y="801916"/>
                    </a:cubicBezTo>
                    <a:cubicBezTo>
                      <a:pt x="1637864" y="802594"/>
                      <a:pt x="1637613" y="803318"/>
                      <a:pt x="1637465" y="804064"/>
                    </a:cubicBezTo>
                    <a:cubicBezTo>
                      <a:pt x="1633584" y="804281"/>
                      <a:pt x="1629703" y="803677"/>
                      <a:pt x="1626066" y="802298"/>
                    </a:cubicBezTo>
                    <a:cubicBezTo>
                      <a:pt x="1622390" y="800907"/>
                      <a:pt x="1619899" y="797453"/>
                      <a:pt x="1619740" y="793520"/>
                    </a:cubicBezTo>
                    <a:lnTo>
                      <a:pt x="1606574" y="792665"/>
                    </a:lnTo>
                    <a:lnTo>
                      <a:pt x="1608284" y="773515"/>
                    </a:lnTo>
                    <a:cubicBezTo>
                      <a:pt x="1605941" y="772147"/>
                      <a:pt x="1603234" y="771549"/>
                      <a:pt x="1600533" y="771805"/>
                    </a:cubicBezTo>
                    <a:cubicBezTo>
                      <a:pt x="1597911" y="772318"/>
                      <a:pt x="1595631" y="775339"/>
                      <a:pt x="1596885" y="777505"/>
                    </a:cubicBezTo>
                    <a:lnTo>
                      <a:pt x="1592667" y="779728"/>
                    </a:lnTo>
                    <a:cubicBezTo>
                      <a:pt x="1592211" y="783261"/>
                      <a:pt x="1591698" y="786795"/>
                      <a:pt x="1591186" y="790386"/>
                    </a:cubicBezTo>
                    <a:lnTo>
                      <a:pt x="996787" y="790386"/>
                    </a:lnTo>
                    <a:cubicBezTo>
                      <a:pt x="997084" y="792061"/>
                      <a:pt x="997278" y="793754"/>
                      <a:pt x="997357" y="795458"/>
                    </a:cubicBezTo>
                    <a:cubicBezTo>
                      <a:pt x="997107" y="799995"/>
                      <a:pt x="997865" y="804532"/>
                      <a:pt x="999580" y="808738"/>
                    </a:cubicBezTo>
                    <a:cubicBezTo>
                      <a:pt x="1001296" y="810961"/>
                      <a:pt x="1002783" y="813349"/>
                      <a:pt x="1004026" y="815862"/>
                    </a:cubicBezTo>
                    <a:cubicBezTo>
                      <a:pt x="1004453" y="817891"/>
                      <a:pt x="1004453" y="819989"/>
                      <a:pt x="1004026" y="822018"/>
                    </a:cubicBezTo>
                    <a:lnTo>
                      <a:pt x="1002145" y="843334"/>
                    </a:lnTo>
                    <a:cubicBezTo>
                      <a:pt x="998098" y="846811"/>
                      <a:pt x="991601" y="842536"/>
                      <a:pt x="990176" y="837634"/>
                    </a:cubicBezTo>
                    <a:cubicBezTo>
                      <a:pt x="989555" y="832357"/>
                      <a:pt x="989424" y="827033"/>
                      <a:pt x="989777" y="821733"/>
                    </a:cubicBezTo>
                    <a:cubicBezTo>
                      <a:pt x="989264" y="816489"/>
                      <a:pt x="985274" y="810334"/>
                      <a:pt x="980031" y="811417"/>
                    </a:cubicBezTo>
                    <a:cubicBezTo>
                      <a:pt x="981752" y="797276"/>
                      <a:pt x="974024" y="783672"/>
                      <a:pt x="960995" y="777904"/>
                    </a:cubicBezTo>
                    <a:cubicBezTo>
                      <a:pt x="952616" y="774028"/>
                      <a:pt x="941388" y="771520"/>
                      <a:pt x="939337" y="762515"/>
                    </a:cubicBezTo>
                    <a:cubicBezTo>
                      <a:pt x="939206" y="759740"/>
                      <a:pt x="938687" y="756998"/>
                      <a:pt x="937798" y="754365"/>
                    </a:cubicBezTo>
                    <a:cubicBezTo>
                      <a:pt x="935626" y="751498"/>
                      <a:pt x="932372" y="749640"/>
                      <a:pt x="928793" y="749235"/>
                    </a:cubicBezTo>
                    <a:lnTo>
                      <a:pt x="906394" y="743935"/>
                    </a:lnTo>
                    <a:cubicBezTo>
                      <a:pt x="903407" y="743371"/>
                      <a:pt x="900535" y="742311"/>
                      <a:pt x="897901" y="740800"/>
                    </a:cubicBezTo>
                    <a:cubicBezTo>
                      <a:pt x="895166" y="738976"/>
                      <a:pt x="893171" y="736184"/>
                      <a:pt x="890549" y="734246"/>
                    </a:cubicBezTo>
                    <a:cubicBezTo>
                      <a:pt x="885425" y="730627"/>
                      <a:pt x="878575" y="730627"/>
                      <a:pt x="873451" y="734246"/>
                    </a:cubicBezTo>
                    <a:cubicBezTo>
                      <a:pt x="869461" y="738805"/>
                      <a:pt x="874021" y="746044"/>
                      <a:pt x="879492" y="748666"/>
                    </a:cubicBezTo>
                    <a:cubicBezTo>
                      <a:pt x="884964" y="751287"/>
                      <a:pt x="891632" y="752199"/>
                      <a:pt x="895622" y="756702"/>
                    </a:cubicBezTo>
                    <a:cubicBezTo>
                      <a:pt x="896990" y="758298"/>
                      <a:pt x="897901" y="760122"/>
                      <a:pt x="899098" y="761831"/>
                    </a:cubicBezTo>
                    <a:cubicBezTo>
                      <a:pt x="905140" y="770210"/>
                      <a:pt x="916197" y="772489"/>
                      <a:pt x="926342" y="775282"/>
                    </a:cubicBezTo>
                    <a:cubicBezTo>
                      <a:pt x="936487" y="778075"/>
                      <a:pt x="947373" y="783717"/>
                      <a:pt x="949140" y="793919"/>
                    </a:cubicBezTo>
                    <a:cubicBezTo>
                      <a:pt x="949157" y="797014"/>
                      <a:pt x="949561" y="800098"/>
                      <a:pt x="950337" y="803095"/>
                    </a:cubicBezTo>
                    <a:cubicBezTo>
                      <a:pt x="952069" y="805934"/>
                      <a:pt x="954178" y="808521"/>
                      <a:pt x="956606" y="810790"/>
                    </a:cubicBezTo>
                    <a:cubicBezTo>
                      <a:pt x="966010" y="822189"/>
                      <a:pt x="957803" y="841681"/>
                      <a:pt x="967150" y="853251"/>
                    </a:cubicBezTo>
                    <a:cubicBezTo>
                      <a:pt x="972052" y="859292"/>
                      <a:pt x="981741" y="864650"/>
                      <a:pt x="978549" y="871774"/>
                    </a:cubicBezTo>
                    <a:cubicBezTo>
                      <a:pt x="976212" y="877474"/>
                      <a:pt x="968062" y="877474"/>
                      <a:pt x="961964" y="875935"/>
                    </a:cubicBezTo>
                    <a:lnTo>
                      <a:pt x="961964" y="912525"/>
                    </a:lnTo>
                    <a:cubicBezTo>
                      <a:pt x="961964" y="916971"/>
                      <a:pt x="962477" y="922214"/>
                      <a:pt x="966238" y="924551"/>
                    </a:cubicBezTo>
                    <a:cubicBezTo>
                      <a:pt x="968233" y="925862"/>
                      <a:pt x="970912" y="926033"/>
                      <a:pt x="972565" y="927743"/>
                    </a:cubicBezTo>
                    <a:cubicBezTo>
                      <a:pt x="973921" y="929664"/>
                      <a:pt x="974514" y="932023"/>
                      <a:pt x="974217" y="934354"/>
                    </a:cubicBezTo>
                    <a:lnTo>
                      <a:pt x="974217" y="955043"/>
                    </a:lnTo>
                    <a:lnTo>
                      <a:pt x="963958" y="955043"/>
                    </a:lnTo>
                    <a:cubicBezTo>
                      <a:pt x="966808" y="972142"/>
                      <a:pt x="969658" y="988727"/>
                      <a:pt x="972565" y="1005598"/>
                    </a:cubicBezTo>
                    <a:cubicBezTo>
                      <a:pt x="973448" y="1009075"/>
                      <a:pt x="973448" y="1012722"/>
                      <a:pt x="972565" y="1016199"/>
                    </a:cubicBezTo>
                    <a:cubicBezTo>
                      <a:pt x="971539" y="1018444"/>
                      <a:pt x="970302" y="1020582"/>
                      <a:pt x="968860" y="1022582"/>
                    </a:cubicBezTo>
                    <a:cubicBezTo>
                      <a:pt x="964870" y="1029194"/>
                      <a:pt x="965383" y="1039225"/>
                      <a:pt x="965440" y="1046976"/>
                    </a:cubicBezTo>
                    <a:cubicBezTo>
                      <a:pt x="965440" y="1066753"/>
                      <a:pt x="978378" y="1083966"/>
                      <a:pt x="990518" y="1099582"/>
                    </a:cubicBezTo>
                    <a:cubicBezTo>
                      <a:pt x="1002225" y="1115307"/>
                      <a:pt x="1014946" y="1130251"/>
                      <a:pt x="1028590" y="1144323"/>
                    </a:cubicBezTo>
                    <a:cubicBezTo>
                      <a:pt x="1030693" y="1146164"/>
                      <a:pt x="1032500" y="1148318"/>
                      <a:pt x="1033948" y="1150706"/>
                    </a:cubicBezTo>
                    <a:cubicBezTo>
                      <a:pt x="1035322" y="1153835"/>
                      <a:pt x="1036062" y="1157204"/>
                      <a:pt x="1036114" y="1160624"/>
                    </a:cubicBezTo>
                    <a:lnTo>
                      <a:pt x="1037881" y="1182110"/>
                    </a:lnTo>
                    <a:cubicBezTo>
                      <a:pt x="1037926" y="1184801"/>
                      <a:pt x="1038507" y="1187457"/>
                      <a:pt x="1039590" y="1189919"/>
                    </a:cubicBezTo>
                    <a:cubicBezTo>
                      <a:pt x="1041283" y="1192523"/>
                      <a:pt x="1043569" y="1194689"/>
                      <a:pt x="1046259" y="1196245"/>
                    </a:cubicBezTo>
                    <a:lnTo>
                      <a:pt x="1058285" y="1204566"/>
                    </a:lnTo>
                    <a:cubicBezTo>
                      <a:pt x="1069684" y="1212546"/>
                      <a:pt x="1084673" y="1220867"/>
                      <a:pt x="1097212" y="1214369"/>
                    </a:cubicBezTo>
                    <a:cubicBezTo>
                      <a:pt x="1099378" y="1222178"/>
                      <a:pt x="1107414" y="1226908"/>
                      <a:pt x="1111062" y="1234090"/>
                    </a:cubicBezTo>
                    <a:cubicBezTo>
                      <a:pt x="1113211" y="1239464"/>
                      <a:pt x="1114538" y="1245135"/>
                      <a:pt x="1114994" y="1250903"/>
                    </a:cubicBezTo>
                    <a:cubicBezTo>
                      <a:pt x="1114994" y="1252556"/>
                      <a:pt x="1115678" y="1254266"/>
                      <a:pt x="1116134" y="1255919"/>
                    </a:cubicBezTo>
                    <a:cubicBezTo>
                      <a:pt x="1129129" y="1254380"/>
                      <a:pt x="1142124" y="1252271"/>
                      <a:pt x="1155062" y="1250219"/>
                    </a:cubicBezTo>
                    <a:cubicBezTo>
                      <a:pt x="1163212" y="1249022"/>
                      <a:pt x="1172616" y="1248281"/>
                      <a:pt x="1178772" y="1253867"/>
                    </a:cubicBezTo>
                    <a:cubicBezTo>
                      <a:pt x="1181963" y="1256660"/>
                      <a:pt x="1183958" y="1260991"/>
                      <a:pt x="1187834" y="1262587"/>
                    </a:cubicBezTo>
                    <a:cubicBezTo>
                      <a:pt x="1193533" y="1264867"/>
                      <a:pt x="1200601" y="1260991"/>
                      <a:pt x="1204932" y="1264867"/>
                    </a:cubicBezTo>
                    <a:cubicBezTo>
                      <a:pt x="1207782" y="1267261"/>
                      <a:pt x="1208181" y="1271706"/>
                      <a:pt x="1211031" y="1274157"/>
                    </a:cubicBezTo>
                    <a:cubicBezTo>
                      <a:pt x="1212877" y="1275411"/>
                      <a:pt x="1215015" y="1276180"/>
                      <a:pt x="1217243" y="1276380"/>
                    </a:cubicBezTo>
                    <a:lnTo>
                      <a:pt x="1269108" y="1285214"/>
                    </a:lnTo>
                    <a:cubicBezTo>
                      <a:pt x="1280507" y="1287152"/>
                      <a:pt x="1292932" y="1288976"/>
                      <a:pt x="1303305" y="1283447"/>
                    </a:cubicBezTo>
                    <a:cubicBezTo>
                      <a:pt x="1307694" y="1281110"/>
                      <a:pt x="1311284" y="1277748"/>
                      <a:pt x="1315502" y="1274955"/>
                    </a:cubicBezTo>
                    <a:cubicBezTo>
                      <a:pt x="1321008" y="1271644"/>
                      <a:pt x="1327380" y="1270053"/>
                      <a:pt x="1333797" y="1270395"/>
                    </a:cubicBezTo>
                    <a:cubicBezTo>
                      <a:pt x="1350896" y="1271421"/>
                      <a:pt x="1363719" y="1285385"/>
                      <a:pt x="1374719" y="1298323"/>
                    </a:cubicBezTo>
                    <a:cubicBezTo>
                      <a:pt x="1376714" y="1300660"/>
                      <a:pt x="1378652" y="1304421"/>
                      <a:pt x="1376372" y="1306473"/>
                    </a:cubicBezTo>
                    <a:cubicBezTo>
                      <a:pt x="1384511" y="1307812"/>
                      <a:pt x="1390017" y="1315501"/>
                      <a:pt x="1388678" y="1323634"/>
                    </a:cubicBezTo>
                    <a:cubicBezTo>
                      <a:pt x="1388632" y="1323919"/>
                      <a:pt x="1388575" y="1324204"/>
                      <a:pt x="1388512" y="1324483"/>
                    </a:cubicBezTo>
                    <a:cubicBezTo>
                      <a:pt x="1394212" y="1324483"/>
                      <a:pt x="1397745" y="1329841"/>
                      <a:pt x="1400994" y="1334400"/>
                    </a:cubicBezTo>
                    <a:cubicBezTo>
                      <a:pt x="1404243" y="1338960"/>
                      <a:pt x="1409999" y="1343463"/>
                      <a:pt x="1414730" y="1340556"/>
                    </a:cubicBezTo>
                    <a:lnTo>
                      <a:pt x="1417807" y="1347965"/>
                    </a:lnTo>
                    <a:lnTo>
                      <a:pt x="1424932" y="1347965"/>
                    </a:lnTo>
                    <a:cubicBezTo>
                      <a:pt x="1426516" y="1342653"/>
                      <a:pt x="1426767" y="1337039"/>
                      <a:pt x="1425673" y="1331608"/>
                    </a:cubicBezTo>
                    <a:lnTo>
                      <a:pt x="1434963" y="1331608"/>
                    </a:lnTo>
                    <a:cubicBezTo>
                      <a:pt x="1432170" y="1327276"/>
                      <a:pt x="1439978" y="1323970"/>
                      <a:pt x="1444994" y="1325110"/>
                    </a:cubicBezTo>
                    <a:cubicBezTo>
                      <a:pt x="1453680" y="1327117"/>
                      <a:pt x="1461750" y="1331180"/>
                      <a:pt x="1468533" y="1336965"/>
                    </a:cubicBezTo>
                    <a:cubicBezTo>
                      <a:pt x="1475292" y="1342921"/>
                      <a:pt x="1480764" y="1350194"/>
                      <a:pt x="1484605" y="1358338"/>
                    </a:cubicBezTo>
                    <a:cubicBezTo>
                      <a:pt x="1488367" y="1366089"/>
                      <a:pt x="1492015" y="1375437"/>
                      <a:pt x="1500336" y="1377659"/>
                    </a:cubicBezTo>
                    <a:cubicBezTo>
                      <a:pt x="1499880" y="1379882"/>
                      <a:pt x="1499424" y="1382105"/>
                      <a:pt x="1498911" y="1384271"/>
                    </a:cubicBezTo>
                    <a:lnTo>
                      <a:pt x="1506149" y="1388602"/>
                    </a:lnTo>
                    <a:cubicBezTo>
                      <a:pt x="1505807" y="1396240"/>
                      <a:pt x="1505522" y="1403934"/>
                      <a:pt x="1505180" y="1411400"/>
                    </a:cubicBezTo>
                    <a:cubicBezTo>
                      <a:pt x="1514870" y="1420804"/>
                      <a:pt x="1529289" y="1422799"/>
                      <a:pt x="1542170" y="1426618"/>
                    </a:cubicBezTo>
                    <a:cubicBezTo>
                      <a:pt x="1543994" y="1427188"/>
                      <a:pt x="1545761" y="1427872"/>
                      <a:pt x="1547584" y="1428499"/>
                    </a:cubicBezTo>
                    <a:cubicBezTo>
                      <a:pt x="1547584" y="1417727"/>
                      <a:pt x="1537952" y="1406841"/>
                      <a:pt x="1542512" y="1396924"/>
                    </a:cubicBezTo>
                    <a:cubicBezTo>
                      <a:pt x="1544530" y="1394028"/>
                      <a:pt x="1546245" y="1390933"/>
                      <a:pt x="1547641" y="1387690"/>
                    </a:cubicBezTo>
                    <a:cubicBezTo>
                      <a:pt x="1549123" y="1381250"/>
                      <a:pt x="1543139" y="1373784"/>
                      <a:pt x="1546901" y="1368369"/>
                    </a:cubicBezTo>
                    <a:cubicBezTo>
                      <a:pt x="1549237" y="1365064"/>
                      <a:pt x="1553854" y="1364722"/>
                      <a:pt x="1557502" y="1363126"/>
                    </a:cubicBezTo>
                    <a:cubicBezTo>
                      <a:pt x="1570268" y="1357426"/>
                      <a:pt x="1571465" y="1338846"/>
                      <a:pt x="1582636" y="1330639"/>
                    </a:cubicBezTo>
                    <a:lnTo>
                      <a:pt x="1621564" y="1302141"/>
                    </a:lnTo>
                    <a:cubicBezTo>
                      <a:pt x="1643809" y="1297308"/>
                      <a:pt x="1666464" y="1308331"/>
                      <a:pt x="1676393" y="1328815"/>
                    </a:cubicBezTo>
                    <a:cubicBezTo>
                      <a:pt x="1678045" y="1332463"/>
                      <a:pt x="1679698" y="1336737"/>
                      <a:pt x="1683460" y="1337991"/>
                    </a:cubicBezTo>
                    <a:cubicBezTo>
                      <a:pt x="1685518" y="1338533"/>
                      <a:pt x="1687672" y="1338533"/>
                      <a:pt x="1689729" y="1337991"/>
                    </a:cubicBezTo>
                    <a:lnTo>
                      <a:pt x="1716061" y="1333317"/>
                    </a:lnTo>
                    <a:cubicBezTo>
                      <a:pt x="1717486" y="1329841"/>
                      <a:pt x="1713496" y="1326706"/>
                      <a:pt x="1711843" y="1323343"/>
                    </a:cubicBezTo>
                    <a:cubicBezTo>
                      <a:pt x="1707512" y="1314395"/>
                      <a:pt x="1719652" y="1306245"/>
                      <a:pt x="1729512" y="1305162"/>
                    </a:cubicBezTo>
                    <a:cubicBezTo>
                      <a:pt x="1739372" y="1304079"/>
                      <a:pt x="1752025" y="1302768"/>
                      <a:pt x="1754817" y="1293250"/>
                    </a:cubicBezTo>
                    <a:cubicBezTo>
                      <a:pt x="1756271" y="1302232"/>
                      <a:pt x="1761925" y="1309984"/>
                      <a:pt x="1770035" y="1314110"/>
                    </a:cubicBezTo>
                    <a:cubicBezTo>
                      <a:pt x="1776686" y="1303418"/>
                      <a:pt x="1790747" y="1300146"/>
                      <a:pt x="1801439" y="1306803"/>
                    </a:cubicBezTo>
                    <a:cubicBezTo>
                      <a:pt x="1802550" y="1307493"/>
                      <a:pt x="1803599" y="1308280"/>
                      <a:pt x="1804574" y="1309152"/>
                    </a:cubicBezTo>
                    <a:cubicBezTo>
                      <a:pt x="1809646" y="1314167"/>
                      <a:pt x="1812325" y="1321634"/>
                      <a:pt x="1818480" y="1325224"/>
                    </a:cubicBezTo>
                    <a:cubicBezTo>
                      <a:pt x="1824636" y="1328815"/>
                      <a:pt x="1835579" y="1322546"/>
                      <a:pt x="1831304" y="1316675"/>
                    </a:cubicBezTo>
                    <a:cubicBezTo>
                      <a:pt x="1839740" y="1311831"/>
                      <a:pt x="1850683" y="1318784"/>
                      <a:pt x="1854729" y="1327675"/>
                    </a:cubicBezTo>
                    <a:cubicBezTo>
                      <a:pt x="1858776" y="1336566"/>
                      <a:pt x="1858434" y="1346654"/>
                      <a:pt x="1860429" y="1356172"/>
                    </a:cubicBezTo>
                    <a:cubicBezTo>
                      <a:pt x="1863558" y="1367634"/>
                      <a:pt x="1868425" y="1378548"/>
                      <a:pt x="1874848" y="1388545"/>
                    </a:cubicBezTo>
                    <a:cubicBezTo>
                      <a:pt x="1886247" y="1408494"/>
                      <a:pt x="1897743" y="1428442"/>
                      <a:pt x="1909330" y="1448390"/>
                    </a:cubicBezTo>
                    <a:cubicBezTo>
                      <a:pt x="1918558" y="1421636"/>
                      <a:pt x="1917708" y="1392432"/>
                      <a:pt x="1906936" y="1366260"/>
                    </a:cubicBezTo>
                    <a:cubicBezTo>
                      <a:pt x="1900610" y="1350929"/>
                      <a:pt x="1890921" y="1336965"/>
                      <a:pt x="1886760" y="1320950"/>
                    </a:cubicBezTo>
                    <a:cubicBezTo>
                      <a:pt x="1882417" y="1304136"/>
                      <a:pt x="1884446" y="1286314"/>
                      <a:pt x="1892460" y="1270908"/>
                    </a:cubicBezTo>
                    <a:cubicBezTo>
                      <a:pt x="1901009" y="1254665"/>
                      <a:pt x="1915599" y="1242411"/>
                      <a:pt x="1929791" y="1231012"/>
                    </a:cubicBezTo>
                    <a:lnTo>
                      <a:pt x="1943242" y="1219898"/>
                    </a:lnTo>
                    <a:lnTo>
                      <a:pt x="1986216" y="1184504"/>
                    </a:lnTo>
                    <a:cubicBezTo>
                      <a:pt x="1990388" y="1180640"/>
                      <a:pt x="1995210" y="1177557"/>
                      <a:pt x="2000465" y="1175385"/>
                    </a:cubicBezTo>
                    <a:cubicBezTo>
                      <a:pt x="2008045" y="1172763"/>
                      <a:pt x="2019273" y="1171395"/>
                      <a:pt x="2019102" y="1163359"/>
                    </a:cubicBezTo>
                    <a:cubicBezTo>
                      <a:pt x="2019102" y="1158401"/>
                      <a:pt x="2013915" y="1155209"/>
                      <a:pt x="2011693" y="1150763"/>
                    </a:cubicBezTo>
                    <a:cubicBezTo>
                      <a:pt x="2010330" y="1146489"/>
                      <a:pt x="2009447" y="1142072"/>
                      <a:pt x="2009071" y="1137598"/>
                    </a:cubicBezTo>
                    <a:cubicBezTo>
                      <a:pt x="2007988" y="1133209"/>
                      <a:pt x="2003884" y="1128763"/>
                      <a:pt x="1999667" y="1130188"/>
                    </a:cubicBezTo>
                    <a:cubicBezTo>
                      <a:pt x="1998407" y="1127304"/>
                      <a:pt x="1999718" y="1123942"/>
                      <a:pt x="2002602" y="1122682"/>
                    </a:cubicBezTo>
                    <a:cubicBezTo>
                      <a:pt x="2002887" y="1122557"/>
                      <a:pt x="2003183" y="1122454"/>
                      <a:pt x="2003485" y="1122380"/>
                    </a:cubicBezTo>
                    <a:cubicBezTo>
                      <a:pt x="2005366" y="1113204"/>
                      <a:pt x="1988553" y="1110639"/>
                      <a:pt x="1987071" y="1101406"/>
                    </a:cubicBezTo>
                    <a:cubicBezTo>
                      <a:pt x="1986900" y="1098818"/>
                      <a:pt x="1987390" y="1096231"/>
                      <a:pt x="1988496" y="1093883"/>
                    </a:cubicBezTo>
                    <a:cubicBezTo>
                      <a:pt x="1993665" y="1080050"/>
                      <a:pt x="1998829" y="1066200"/>
                      <a:pt x="2003998" y="1052334"/>
                    </a:cubicBezTo>
                    <a:cubicBezTo>
                      <a:pt x="2012548" y="1054100"/>
                      <a:pt x="2013573" y="1065841"/>
                      <a:pt x="2012263" y="1074448"/>
                    </a:cubicBezTo>
                    <a:cubicBezTo>
                      <a:pt x="2010952" y="1083054"/>
                      <a:pt x="2011237" y="1094624"/>
                      <a:pt x="2019615" y="1097245"/>
                    </a:cubicBezTo>
                    <a:cubicBezTo>
                      <a:pt x="2020344" y="1078939"/>
                      <a:pt x="2028592" y="1061738"/>
                      <a:pt x="2042413" y="1049712"/>
                    </a:cubicBezTo>
                    <a:cubicBezTo>
                      <a:pt x="2050734" y="1042644"/>
                      <a:pt x="2061449" y="1036831"/>
                      <a:pt x="2064869" y="1026401"/>
                    </a:cubicBezTo>
                    <a:cubicBezTo>
                      <a:pt x="2066066" y="1022810"/>
                      <a:pt x="2066237" y="1018934"/>
                      <a:pt x="2067718" y="1015458"/>
                    </a:cubicBezTo>
                    <a:cubicBezTo>
                      <a:pt x="2073418" y="1002007"/>
                      <a:pt x="2092283" y="1002463"/>
                      <a:pt x="2106646" y="1005199"/>
                    </a:cubicBezTo>
                    <a:lnTo>
                      <a:pt x="2108869" y="995168"/>
                    </a:lnTo>
                    <a:cubicBezTo>
                      <a:pt x="2111462" y="1002264"/>
                      <a:pt x="2119316" y="1005917"/>
                      <a:pt x="2126412" y="1003324"/>
                    </a:cubicBezTo>
                    <a:cubicBezTo>
                      <a:pt x="2126417" y="1003324"/>
                      <a:pt x="2126417" y="1003318"/>
                      <a:pt x="2126423" y="1003318"/>
                    </a:cubicBezTo>
                    <a:cubicBezTo>
                      <a:pt x="2125112" y="981546"/>
                      <a:pt x="2124884" y="962624"/>
                      <a:pt x="2123573" y="940624"/>
                    </a:cubicBezTo>
                    <a:lnTo>
                      <a:pt x="2164154" y="918282"/>
                    </a:lnTo>
                    <a:cubicBezTo>
                      <a:pt x="2167026" y="916373"/>
                      <a:pt x="2170343" y="915233"/>
                      <a:pt x="2173786" y="914976"/>
                    </a:cubicBezTo>
                    <a:cubicBezTo>
                      <a:pt x="2177918" y="915774"/>
                      <a:pt x="2181947" y="917017"/>
                      <a:pt x="2185812" y="918681"/>
                    </a:cubicBezTo>
                    <a:cubicBezTo>
                      <a:pt x="2193791" y="920619"/>
                      <a:pt x="2200402" y="916401"/>
                      <a:pt x="2206786" y="910645"/>
                    </a:cubicBezTo>
                    <a:cubicBezTo>
                      <a:pt x="2206911" y="904415"/>
                      <a:pt x="2206569" y="898185"/>
                      <a:pt x="2205760" y="89200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28" name="Freihandform: Form 622">
                <a:extLst>
                  <a:ext uri="{FF2B5EF4-FFF2-40B4-BE49-F238E27FC236}">
                    <a16:creationId xmlns:a16="http://schemas.microsoft.com/office/drawing/2014/main" id="{A8AA94B7-C407-1687-34B6-7483F49A48DA}"/>
                  </a:ext>
                </a:extLst>
              </p:cNvPr>
              <p:cNvSpPr/>
              <p:nvPr/>
            </p:nvSpPr>
            <p:spPr>
              <a:xfrm>
                <a:off x="1201794" y="3453123"/>
                <a:ext cx="664730" cy="445004"/>
              </a:xfrm>
              <a:custGeom>
                <a:avLst/>
                <a:gdLst>
                  <a:gd name="connsiteX0" fmla="*/ 533927 w 664730"/>
                  <a:gd name="connsiteY0" fmla="*/ 445005 h 445004"/>
                  <a:gd name="connsiteX1" fmla="*/ 497906 w 664730"/>
                  <a:gd name="connsiteY1" fmla="*/ 416906 h 445004"/>
                  <a:gd name="connsiteX2" fmla="*/ 478528 w 664730"/>
                  <a:gd name="connsiteY2" fmla="*/ 410637 h 445004"/>
                  <a:gd name="connsiteX3" fmla="*/ 445015 w 664730"/>
                  <a:gd name="connsiteY3" fmla="*/ 429616 h 445004"/>
                  <a:gd name="connsiteX4" fmla="*/ 430823 w 664730"/>
                  <a:gd name="connsiteY4" fmla="*/ 407844 h 445004"/>
                  <a:gd name="connsiteX5" fmla="*/ 356730 w 664730"/>
                  <a:gd name="connsiteY5" fmla="*/ 385046 h 445004"/>
                  <a:gd name="connsiteX6" fmla="*/ 313357 w 664730"/>
                  <a:gd name="connsiteY6" fmla="*/ 360938 h 445004"/>
                  <a:gd name="connsiteX7" fmla="*/ 297228 w 664730"/>
                  <a:gd name="connsiteY7" fmla="*/ 338140 h 445004"/>
                  <a:gd name="connsiteX8" fmla="*/ 272606 w 664730"/>
                  <a:gd name="connsiteY8" fmla="*/ 323036 h 445004"/>
                  <a:gd name="connsiteX9" fmla="*/ 268103 w 664730"/>
                  <a:gd name="connsiteY9" fmla="*/ 308958 h 445004"/>
                  <a:gd name="connsiteX10" fmla="*/ 238352 w 664730"/>
                  <a:gd name="connsiteY10" fmla="*/ 244098 h 445004"/>
                  <a:gd name="connsiteX11" fmla="*/ 213502 w 664730"/>
                  <a:gd name="connsiteY11" fmla="*/ 218679 h 445004"/>
                  <a:gd name="connsiteX12" fmla="*/ 199140 w 664730"/>
                  <a:gd name="connsiteY12" fmla="*/ 208648 h 445004"/>
                  <a:gd name="connsiteX13" fmla="*/ 198513 w 664730"/>
                  <a:gd name="connsiteY13" fmla="*/ 197249 h 445004"/>
                  <a:gd name="connsiteX14" fmla="*/ 181927 w 664730"/>
                  <a:gd name="connsiteY14" fmla="*/ 186762 h 445004"/>
                  <a:gd name="connsiteX15" fmla="*/ 171212 w 664730"/>
                  <a:gd name="connsiteY15" fmla="*/ 172342 h 445004"/>
                  <a:gd name="connsiteX16" fmla="*/ 175544 w 664730"/>
                  <a:gd name="connsiteY16" fmla="*/ 167042 h 445004"/>
                  <a:gd name="connsiteX17" fmla="*/ 167508 w 664730"/>
                  <a:gd name="connsiteY17" fmla="*/ 150741 h 445004"/>
                  <a:gd name="connsiteX18" fmla="*/ 149440 w 664730"/>
                  <a:gd name="connsiteY18" fmla="*/ 141508 h 445004"/>
                  <a:gd name="connsiteX19" fmla="*/ 131544 w 664730"/>
                  <a:gd name="connsiteY19" fmla="*/ 118026 h 445004"/>
                  <a:gd name="connsiteX20" fmla="*/ 124191 w 664730"/>
                  <a:gd name="connsiteY20" fmla="*/ 117456 h 445004"/>
                  <a:gd name="connsiteX21" fmla="*/ 122197 w 664730"/>
                  <a:gd name="connsiteY21" fmla="*/ 110047 h 445004"/>
                  <a:gd name="connsiteX22" fmla="*/ 105554 w 664730"/>
                  <a:gd name="connsiteY22" fmla="*/ 100415 h 445004"/>
                  <a:gd name="connsiteX23" fmla="*/ 96093 w 664730"/>
                  <a:gd name="connsiteY23" fmla="*/ 86394 h 445004"/>
                  <a:gd name="connsiteX24" fmla="*/ 104300 w 664730"/>
                  <a:gd name="connsiteY24" fmla="*/ 81891 h 445004"/>
                  <a:gd name="connsiteX25" fmla="*/ 100482 w 664730"/>
                  <a:gd name="connsiteY25" fmla="*/ 71347 h 445004"/>
                  <a:gd name="connsiteX26" fmla="*/ 83383 w 664730"/>
                  <a:gd name="connsiteY26" fmla="*/ 45928 h 445004"/>
                  <a:gd name="connsiteX27" fmla="*/ 92844 w 664730"/>
                  <a:gd name="connsiteY27" fmla="*/ 36865 h 445004"/>
                  <a:gd name="connsiteX28" fmla="*/ 63777 w 664730"/>
                  <a:gd name="connsiteY28" fmla="*/ 22503 h 445004"/>
                  <a:gd name="connsiteX29" fmla="*/ 55000 w 664730"/>
                  <a:gd name="connsiteY29" fmla="*/ 23130 h 445004"/>
                  <a:gd name="connsiteX30" fmla="*/ 51580 w 664730"/>
                  <a:gd name="connsiteY30" fmla="*/ 32420 h 445004"/>
                  <a:gd name="connsiteX31" fmla="*/ 62352 w 664730"/>
                  <a:gd name="connsiteY31" fmla="*/ 75109 h 445004"/>
                  <a:gd name="connsiteX32" fmla="*/ 78596 w 664730"/>
                  <a:gd name="connsiteY32" fmla="*/ 86109 h 445004"/>
                  <a:gd name="connsiteX33" fmla="*/ 81388 w 664730"/>
                  <a:gd name="connsiteY33" fmla="*/ 103207 h 445004"/>
                  <a:gd name="connsiteX34" fmla="*/ 91590 w 664730"/>
                  <a:gd name="connsiteY34" fmla="*/ 106855 h 445004"/>
                  <a:gd name="connsiteX35" fmla="*/ 93870 w 664730"/>
                  <a:gd name="connsiteY35" fmla="*/ 114891 h 445004"/>
                  <a:gd name="connsiteX36" fmla="*/ 111368 w 664730"/>
                  <a:gd name="connsiteY36" fmla="*/ 147549 h 445004"/>
                  <a:gd name="connsiteX37" fmla="*/ 116725 w 664730"/>
                  <a:gd name="connsiteY37" fmla="*/ 157637 h 445004"/>
                  <a:gd name="connsiteX38" fmla="*/ 142487 w 664730"/>
                  <a:gd name="connsiteY38" fmla="*/ 205855 h 445004"/>
                  <a:gd name="connsiteX39" fmla="*/ 148186 w 664730"/>
                  <a:gd name="connsiteY39" fmla="*/ 214575 h 445004"/>
                  <a:gd name="connsiteX40" fmla="*/ 158730 w 664730"/>
                  <a:gd name="connsiteY40" fmla="*/ 222554 h 445004"/>
                  <a:gd name="connsiteX41" fmla="*/ 156479 w 664730"/>
                  <a:gd name="connsiteY41" fmla="*/ 246629 h 445004"/>
                  <a:gd name="connsiteX42" fmla="*/ 153943 w 664730"/>
                  <a:gd name="connsiteY42" fmla="*/ 248373 h 445004"/>
                  <a:gd name="connsiteX43" fmla="*/ 138440 w 664730"/>
                  <a:gd name="connsiteY43" fmla="*/ 225575 h 445004"/>
                  <a:gd name="connsiteX44" fmla="*/ 116782 w 664730"/>
                  <a:gd name="connsiteY44" fmla="*/ 196109 h 445004"/>
                  <a:gd name="connsiteX45" fmla="*/ 107036 w 664730"/>
                  <a:gd name="connsiteY45" fmla="*/ 172627 h 445004"/>
                  <a:gd name="connsiteX46" fmla="*/ 97005 w 664730"/>
                  <a:gd name="connsiteY46" fmla="*/ 169948 h 445004"/>
                  <a:gd name="connsiteX47" fmla="*/ 93357 w 664730"/>
                  <a:gd name="connsiteY47" fmla="*/ 161741 h 445004"/>
                  <a:gd name="connsiteX48" fmla="*/ 70844 w 664730"/>
                  <a:gd name="connsiteY48" fmla="*/ 147720 h 445004"/>
                  <a:gd name="connsiteX49" fmla="*/ 64119 w 664730"/>
                  <a:gd name="connsiteY49" fmla="*/ 142021 h 445004"/>
                  <a:gd name="connsiteX50" fmla="*/ 68166 w 664730"/>
                  <a:gd name="connsiteY50" fmla="*/ 107824 h 445004"/>
                  <a:gd name="connsiteX51" fmla="*/ 62466 w 664730"/>
                  <a:gd name="connsiteY51" fmla="*/ 100700 h 445004"/>
                  <a:gd name="connsiteX52" fmla="*/ 40808 w 664730"/>
                  <a:gd name="connsiteY52" fmla="*/ 86907 h 445004"/>
                  <a:gd name="connsiteX53" fmla="*/ 33741 w 664730"/>
                  <a:gd name="connsiteY53" fmla="*/ 82860 h 445004"/>
                  <a:gd name="connsiteX54" fmla="*/ 28497 w 664730"/>
                  <a:gd name="connsiteY54" fmla="*/ 70378 h 445004"/>
                  <a:gd name="connsiteX55" fmla="*/ 0 w 664730"/>
                  <a:gd name="connsiteY55" fmla="*/ 6544 h 445004"/>
                  <a:gd name="connsiteX56" fmla="*/ 38927 w 664730"/>
                  <a:gd name="connsiteY56" fmla="*/ 845 h 445004"/>
                  <a:gd name="connsiteX57" fmla="*/ 62637 w 664730"/>
                  <a:gd name="connsiteY57" fmla="*/ 4492 h 445004"/>
                  <a:gd name="connsiteX58" fmla="*/ 71699 w 664730"/>
                  <a:gd name="connsiteY58" fmla="*/ 13213 h 445004"/>
                  <a:gd name="connsiteX59" fmla="*/ 88798 w 664730"/>
                  <a:gd name="connsiteY59" fmla="*/ 15492 h 445004"/>
                  <a:gd name="connsiteX60" fmla="*/ 94896 w 664730"/>
                  <a:gd name="connsiteY60" fmla="*/ 24783 h 445004"/>
                  <a:gd name="connsiteX61" fmla="*/ 101109 w 664730"/>
                  <a:gd name="connsiteY61" fmla="*/ 27005 h 445004"/>
                  <a:gd name="connsiteX62" fmla="*/ 152974 w 664730"/>
                  <a:gd name="connsiteY62" fmla="*/ 35840 h 445004"/>
                  <a:gd name="connsiteX63" fmla="*/ 187171 w 664730"/>
                  <a:gd name="connsiteY63" fmla="*/ 34073 h 445004"/>
                  <a:gd name="connsiteX64" fmla="*/ 199368 w 664730"/>
                  <a:gd name="connsiteY64" fmla="*/ 25581 h 445004"/>
                  <a:gd name="connsiteX65" fmla="*/ 217663 w 664730"/>
                  <a:gd name="connsiteY65" fmla="*/ 21021 h 445004"/>
                  <a:gd name="connsiteX66" fmla="*/ 258585 w 664730"/>
                  <a:gd name="connsiteY66" fmla="*/ 48948 h 445004"/>
                  <a:gd name="connsiteX67" fmla="*/ 260238 w 664730"/>
                  <a:gd name="connsiteY67" fmla="*/ 57099 h 445004"/>
                  <a:gd name="connsiteX68" fmla="*/ 272543 w 664730"/>
                  <a:gd name="connsiteY68" fmla="*/ 74260 h 445004"/>
                  <a:gd name="connsiteX69" fmla="*/ 272378 w 664730"/>
                  <a:gd name="connsiteY69" fmla="*/ 75109 h 445004"/>
                  <a:gd name="connsiteX70" fmla="*/ 284860 w 664730"/>
                  <a:gd name="connsiteY70" fmla="*/ 85026 h 445004"/>
                  <a:gd name="connsiteX71" fmla="*/ 298595 w 664730"/>
                  <a:gd name="connsiteY71" fmla="*/ 91181 h 445004"/>
                  <a:gd name="connsiteX72" fmla="*/ 301673 w 664730"/>
                  <a:gd name="connsiteY72" fmla="*/ 98591 h 445004"/>
                  <a:gd name="connsiteX73" fmla="*/ 308797 w 664730"/>
                  <a:gd name="connsiteY73" fmla="*/ 98591 h 445004"/>
                  <a:gd name="connsiteX74" fmla="*/ 309538 w 664730"/>
                  <a:gd name="connsiteY74" fmla="*/ 82233 h 445004"/>
                  <a:gd name="connsiteX75" fmla="*/ 318828 w 664730"/>
                  <a:gd name="connsiteY75" fmla="*/ 82233 h 445004"/>
                  <a:gd name="connsiteX76" fmla="*/ 328860 w 664730"/>
                  <a:gd name="connsiteY76" fmla="*/ 75736 h 445004"/>
                  <a:gd name="connsiteX77" fmla="*/ 352398 w 664730"/>
                  <a:gd name="connsiteY77" fmla="*/ 87591 h 445004"/>
                  <a:gd name="connsiteX78" fmla="*/ 368471 w 664730"/>
                  <a:gd name="connsiteY78" fmla="*/ 108964 h 445004"/>
                  <a:gd name="connsiteX79" fmla="*/ 384202 w 664730"/>
                  <a:gd name="connsiteY79" fmla="*/ 128285 h 445004"/>
                  <a:gd name="connsiteX80" fmla="*/ 382777 w 664730"/>
                  <a:gd name="connsiteY80" fmla="*/ 134896 h 445004"/>
                  <a:gd name="connsiteX81" fmla="*/ 390015 w 664730"/>
                  <a:gd name="connsiteY81" fmla="*/ 139228 h 445004"/>
                  <a:gd name="connsiteX82" fmla="*/ 389046 w 664730"/>
                  <a:gd name="connsiteY82" fmla="*/ 162026 h 445004"/>
                  <a:gd name="connsiteX83" fmla="*/ 426036 w 664730"/>
                  <a:gd name="connsiteY83" fmla="*/ 177243 h 445004"/>
                  <a:gd name="connsiteX84" fmla="*/ 431450 w 664730"/>
                  <a:gd name="connsiteY84" fmla="*/ 179124 h 445004"/>
                  <a:gd name="connsiteX85" fmla="*/ 431450 w 664730"/>
                  <a:gd name="connsiteY85" fmla="*/ 182316 h 445004"/>
                  <a:gd name="connsiteX86" fmla="*/ 426093 w 664730"/>
                  <a:gd name="connsiteY86" fmla="*/ 194627 h 445004"/>
                  <a:gd name="connsiteX87" fmla="*/ 421818 w 664730"/>
                  <a:gd name="connsiteY87" fmla="*/ 223124 h 445004"/>
                  <a:gd name="connsiteX88" fmla="*/ 421305 w 664730"/>
                  <a:gd name="connsiteY88" fmla="*/ 277782 h 445004"/>
                  <a:gd name="connsiteX89" fmla="*/ 432077 w 664730"/>
                  <a:gd name="connsiteY89" fmla="*/ 302404 h 445004"/>
                  <a:gd name="connsiteX90" fmla="*/ 437036 w 664730"/>
                  <a:gd name="connsiteY90" fmla="*/ 304057 h 445004"/>
                  <a:gd name="connsiteX91" fmla="*/ 439885 w 664730"/>
                  <a:gd name="connsiteY91" fmla="*/ 312777 h 445004"/>
                  <a:gd name="connsiteX92" fmla="*/ 456984 w 664730"/>
                  <a:gd name="connsiteY92" fmla="*/ 332554 h 445004"/>
                  <a:gd name="connsiteX93" fmla="*/ 467003 w 664730"/>
                  <a:gd name="connsiteY93" fmla="*/ 354560 h 445004"/>
                  <a:gd name="connsiteX94" fmla="*/ 468383 w 664730"/>
                  <a:gd name="connsiteY94" fmla="*/ 355010 h 445004"/>
                  <a:gd name="connsiteX95" fmla="*/ 477445 w 664730"/>
                  <a:gd name="connsiteY95" fmla="*/ 357461 h 445004"/>
                  <a:gd name="connsiteX96" fmla="*/ 482118 w 664730"/>
                  <a:gd name="connsiteY96" fmla="*/ 365782 h 445004"/>
                  <a:gd name="connsiteX97" fmla="*/ 489927 w 664730"/>
                  <a:gd name="connsiteY97" fmla="*/ 367207 h 445004"/>
                  <a:gd name="connsiteX98" fmla="*/ 497792 w 664730"/>
                  <a:gd name="connsiteY98" fmla="*/ 361906 h 445004"/>
                  <a:gd name="connsiteX99" fmla="*/ 534098 w 664730"/>
                  <a:gd name="connsiteY99" fmla="*/ 365782 h 445004"/>
                  <a:gd name="connsiteX100" fmla="*/ 538144 w 664730"/>
                  <a:gd name="connsiteY100" fmla="*/ 355751 h 445004"/>
                  <a:gd name="connsiteX101" fmla="*/ 557237 w 664730"/>
                  <a:gd name="connsiteY101" fmla="*/ 357632 h 445004"/>
                  <a:gd name="connsiteX102" fmla="*/ 568352 w 664730"/>
                  <a:gd name="connsiteY102" fmla="*/ 346575 h 445004"/>
                  <a:gd name="connsiteX103" fmla="*/ 582999 w 664730"/>
                  <a:gd name="connsiteY103" fmla="*/ 339394 h 445004"/>
                  <a:gd name="connsiteX104" fmla="*/ 583740 w 664730"/>
                  <a:gd name="connsiteY104" fmla="*/ 299839 h 445004"/>
                  <a:gd name="connsiteX105" fmla="*/ 599471 w 664730"/>
                  <a:gd name="connsiteY105" fmla="*/ 297160 h 445004"/>
                  <a:gd name="connsiteX106" fmla="*/ 602719 w 664730"/>
                  <a:gd name="connsiteY106" fmla="*/ 287528 h 445004"/>
                  <a:gd name="connsiteX107" fmla="*/ 613434 w 664730"/>
                  <a:gd name="connsiteY107" fmla="*/ 284850 h 445004"/>
                  <a:gd name="connsiteX108" fmla="*/ 655040 w 664730"/>
                  <a:gd name="connsiteY108" fmla="*/ 283710 h 445004"/>
                  <a:gd name="connsiteX109" fmla="*/ 662735 w 664730"/>
                  <a:gd name="connsiteY109" fmla="*/ 285648 h 445004"/>
                  <a:gd name="connsiteX110" fmla="*/ 660398 w 664730"/>
                  <a:gd name="connsiteY110" fmla="*/ 298243 h 445004"/>
                  <a:gd name="connsiteX111" fmla="*/ 646206 w 664730"/>
                  <a:gd name="connsiteY111" fmla="*/ 302119 h 445004"/>
                  <a:gd name="connsiteX112" fmla="*/ 634009 w 664730"/>
                  <a:gd name="connsiteY112" fmla="*/ 309471 h 445004"/>
                  <a:gd name="connsiteX113" fmla="*/ 639709 w 664730"/>
                  <a:gd name="connsiteY113" fmla="*/ 329989 h 445004"/>
                  <a:gd name="connsiteX114" fmla="*/ 629792 w 664730"/>
                  <a:gd name="connsiteY114" fmla="*/ 359057 h 445004"/>
                  <a:gd name="connsiteX115" fmla="*/ 628766 w 664730"/>
                  <a:gd name="connsiteY115" fmla="*/ 359684 h 445004"/>
                  <a:gd name="connsiteX116" fmla="*/ 610642 w 664730"/>
                  <a:gd name="connsiteY116" fmla="*/ 372564 h 445004"/>
                  <a:gd name="connsiteX117" fmla="*/ 608077 w 664730"/>
                  <a:gd name="connsiteY117" fmla="*/ 377238 h 445004"/>
                  <a:gd name="connsiteX118" fmla="*/ 602719 w 664730"/>
                  <a:gd name="connsiteY118" fmla="*/ 378378 h 445004"/>
                  <a:gd name="connsiteX119" fmla="*/ 571201 w 664730"/>
                  <a:gd name="connsiteY119" fmla="*/ 374103 h 445004"/>
                  <a:gd name="connsiteX120" fmla="*/ 568397 w 664730"/>
                  <a:gd name="connsiteY120" fmla="*/ 383696 h 445004"/>
                  <a:gd name="connsiteX121" fmla="*/ 567098 w 664730"/>
                  <a:gd name="connsiteY121" fmla="*/ 384248 h 445004"/>
                  <a:gd name="connsiteX122" fmla="*/ 562880 w 664730"/>
                  <a:gd name="connsiteY122" fmla="*/ 385502 h 445004"/>
                  <a:gd name="connsiteX123" fmla="*/ 564020 w 664730"/>
                  <a:gd name="connsiteY123" fmla="*/ 393197 h 445004"/>
                  <a:gd name="connsiteX124" fmla="*/ 567953 w 664730"/>
                  <a:gd name="connsiteY124" fmla="*/ 398497 h 445004"/>
                  <a:gd name="connsiteX125" fmla="*/ 581916 w 664730"/>
                  <a:gd name="connsiteY125" fmla="*/ 410295 h 445004"/>
                  <a:gd name="connsiteX126" fmla="*/ 580947 w 664730"/>
                  <a:gd name="connsiteY126" fmla="*/ 419243 h 445004"/>
                  <a:gd name="connsiteX127" fmla="*/ 569548 w 664730"/>
                  <a:gd name="connsiteY127" fmla="*/ 418958 h 445004"/>
                  <a:gd name="connsiteX128" fmla="*/ 558149 w 664730"/>
                  <a:gd name="connsiteY128" fmla="*/ 417077 h 445004"/>
                  <a:gd name="connsiteX129" fmla="*/ 557237 w 664730"/>
                  <a:gd name="connsiteY129" fmla="*/ 421067 h 445004"/>
                  <a:gd name="connsiteX130" fmla="*/ 542590 w 664730"/>
                  <a:gd name="connsiteY130" fmla="*/ 421922 h 445004"/>
                  <a:gd name="connsiteX131" fmla="*/ 544357 w 664730"/>
                  <a:gd name="connsiteY131" fmla="*/ 437424 h 445004"/>
                  <a:gd name="connsiteX132" fmla="*/ 533927 w 664730"/>
                  <a:gd name="connsiteY132" fmla="*/ 445005 h 44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664730" h="445004">
                    <a:moveTo>
                      <a:pt x="533927" y="445005"/>
                    </a:moveTo>
                    <a:cubicBezTo>
                      <a:pt x="523240" y="434056"/>
                      <a:pt x="511123" y="424606"/>
                      <a:pt x="497906" y="416906"/>
                    </a:cubicBezTo>
                    <a:cubicBezTo>
                      <a:pt x="492492" y="412404"/>
                      <a:pt x="485555" y="410158"/>
                      <a:pt x="478528" y="410637"/>
                    </a:cubicBezTo>
                    <a:cubicBezTo>
                      <a:pt x="465305" y="413430"/>
                      <a:pt x="457440" y="434917"/>
                      <a:pt x="445015" y="429616"/>
                    </a:cubicBezTo>
                    <a:cubicBezTo>
                      <a:pt x="437412" y="424703"/>
                      <a:pt x="432254" y="416787"/>
                      <a:pt x="430823" y="407844"/>
                    </a:cubicBezTo>
                    <a:lnTo>
                      <a:pt x="356730" y="385046"/>
                    </a:lnTo>
                    <a:cubicBezTo>
                      <a:pt x="340657" y="380031"/>
                      <a:pt x="323502" y="374331"/>
                      <a:pt x="313357" y="360938"/>
                    </a:cubicBezTo>
                    <a:cubicBezTo>
                      <a:pt x="307658" y="353528"/>
                      <a:pt x="304580" y="343839"/>
                      <a:pt x="297228" y="338140"/>
                    </a:cubicBezTo>
                    <a:cubicBezTo>
                      <a:pt x="289875" y="332440"/>
                      <a:pt x="278191" y="331015"/>
                      <a:pt x="272606" y="323036"/>
                    </a:cubicBezTo>
                    <a:cubicBezTo>
                      <a:pt x="270126" y="318716"/>
                      <a:pt x="268593" y="313917"/>
                      <a:pt x="268103" y="308958"/>
                    </a:cubicBezTo>
                    <a:cubicBezTo>
                      <a:pt x="263658" y="285226"/>
                      <a:pt x="253438" y="262952"/>
                      <a:pt x="238352" y="244098"/>
                    </a:cubicBezTo>
                    <a:cubicBezTo>
                      <a:pt x="230943" y="234865"/>
                      <a:pt x="224160" y="223922"/>
                      <a:pt x="213502" y="218679"/>
                    </a:cubicBezTo>
                    <a:cubicBezTo>
                      <a:pt x="208088" y="216000"/>
                      <a:pt x="201020" y="214347"/>
                      <a:pt x="199140" y="208648"/>
                    </a:cubicBezTo>
                    <a:cubicBezTo>
                      <a:pt x="197943" y="204943"/>
                      <a:pt x="199539" y="200782"/>
                      <a:pt x="198513" y="197249"/>
                    </a:cubicBezTo>
                    <a:cubicBezTo>
                      <a:pt x="196746" y="190580"/>
                      <a:pt x="188539" y="188699"/>
                      <a:pt x="181927" y="186762"/>
                    </a:cubicBezTo>
                    <a:cubicBezTo>
                      <a:pt x="175316" y="184824"/>
                      <a:pt x="168020" y="178440"/>
                      <a:pt x="171212" y="172342"/>
                    </a:cubicBezTo>
                    <a:cubicBezTo>
                      <a:pt x="172295" y="170347"/>
                      <a:pt x="174347" y="168979"/>
                      <a:pt x="175544" y="167042"/>
                    </a:cubicBezTo>
                    <a:cubicBezTo>
                      <a:pt x="179134" y="161342"/>
                      <a:pt x="173663" y="153762"/>
                      <a:pt x="167508" y="150741"/>
                    </a:cubicBezTo>
                    <a:cubicBezTo>
                      <a:pt x="161352" y="147720"/>
                      <a:pt x="154057" y="146580"/>
                      <a:pt x="149440" y="141508"/>
                    </a:cubicBezTo>
                    <a:cubicBezTo>
                      <a:pt x="142487" y="133871"/>
                      <a:pt x="141917" y="118197"/>
                      <a:pt x="131544" y="118026"/>
                    </a:cubicBezTo>
                    <a:cubicBezTo>
                      <a:pt x="129036" y="118026"/>
                      <a:pt x="126186" y="118995"/>
                      <a:pt x="124191" y="117456"/>
                    </a:cubicBezTo>
                    <a:cubicBezTo>
                      <a:pt x="122197" y="115917"/>
                      <a:pt x="122767" y="112611"/>
                      <a:pt x="122197" y="110047"/>
                    </a:cubicBezTo>
                    <a:cubicBezTo>
                      <a:pt x="120658" y="103435"/>
                      <a:pt x="112166" y="102011"/>
                      <a:pt x="105554" y="100415"/>
                    </a:cubicBezTo>
                    <a:cubicBezTo>
                      <a:pt x="98943" y="98819"/>
                      <a:pt x="91705" y="91580"/>
                      <a:pt x="96093" y="86394"/>
                    </a:cubicBezTo>
                    <a:cubicBezTo>
                      <a:pt x="99000" y="88845"/>
                      <a:pt x="103844" y="85653"/>
                      <a:pt x="104300" y="81891"/>
                    </a:cubicBezTo>
                    <a:cubicBezTo>
                      <a:pt x="104300" y="78038"/>
                      <a:pt x="102950" y="74305"/>
                      <a:pt x="100482" y="71347"/>
                    </a:cubicBezTo>
                    <a:lnTo>
                      <a:pt x="83383" y="45928"/>
                    </a:lnTo>
                    <a:cubicBezTo>
                      <a:pt x="88410" y="45819"/>
                      <a:pt x="92519" y="41881"/>
                      <a:pt x="92844" y="36865"/>
                    </a:cubicBezTo>
                    <a:cubicBezTo>
                      <a:pt x="84329" y="29998"/>
                      <a:pt x="74407" y="25096"/>
                      <a:pt x="63777" y="22503"/>
                    </a:cubicBezTo>
                    <a:cubicBezTo>
                      <a:pt x="60893" y="21465"/>
                      <a:pt x="57707" y="21693"/>
                      <a:pt x="55000" y="23130"/>
                    </a:cubicBezTo>
                    <a:cubicBezTo>
                      <a:pt x="52555" y="25575"/>
                      <a:pt x="51301" y="28972"/>
                      <a:pt x="51580" y="32420"/>
                    </a:cubicBezTo>
                    <a:cubicBezTo>
                      <a:pt x="50782" y="47637"/>
                      <a:pt x="50896" y="65078"/>
                      <a:pt x="62352" y="75109"/>
                    </a:cubicBezTo>
                    <a:cubicBezTo>
                      <a:pt x="67311" y="79440"/>
                      <a:pt x="73751" y="81720"/>
                      <a:pt x="78596" y="86109"/>
                    </a:cubicBezTo>
                    <a:cubicBezTo>
                      <a:pt x="83440" y="90497"/>
                      <a:pt x="86062" y="98819"/>
                      <a:pt x="81388" y="103207"/>
                    </a:cubicBezTo>
                    <a:lnTo>
                      <a:pt x="91590" y="106855"/>
                    </a:lnTo>
                    <a:cubicBezTo>
                      <a:pt x="91499" y="109705"/>
                      <a:pt x="92297" y="112515"/>
                      <a:pt x="93870" y="114891"/>
                    </a:cubicBezTo>
                    <a:cubicBezTo>
                      <a:pt x="99684" y="125760"/>
                      <a:pt x="105514" y="136646"/>
                      <a:pt x="111368" y="147549"/>
                    </a:cubicBezTo>
                    <a:lnTo>
                      <a:pt x="116725" y="157637"/>
                    </a:lnTo>
                    <a:lnTo>
                      <a:pt x="142487" y="205855"/>
                    </a:lnTo>
                    <a:cubicBezTo>
                      <a:pt x="143929" y="209035"/>
                      <a:pt x="145850" y="211976"/>
                      <a:pt x="148186" y="214575"/>
                    </a:cubicBezTo>
                    <a:cubicBezTo>
                      <a:pt x="151378" y="217653"/>
                      <a:pt x="155653" y="219420"/>
                      <a:pt x="158730" y="222554"/>
                    </a:cubicBezTo>
                    <a:cubicBezTo>
                      <a:pt x="164755" y="229827"/>
                      <a:pt x="163752" y="240605"/>
                      <a:pt x="156479" y="246629"/>
                    </a:cubicBezTo>
                    <a:cubicBezTo>
                      <a:pt x="155687" y="247284"/>
                      <a:pt x="154838" y="247871"/>
                      <a:pt x="153943" y="248373"/>
                    </a:cubicBezTo>
                    <a:cubicBezTo>
                      <a:pt x="154513" y="238855"/>
                      <a:pt x="145792" y="231674"/>
                      <a:pt x="138440" y="225575"/>
                    </a:cubicBezTo>
                    <a:cubicBezTo>
                      <a:pt x="128204" y="218377"/>
                      <a:pt x="120601" y="208026"/>
                      <a:pt x="116782" y="196109"/>
                    </a:cubicBezTo>
                    <a:cubicBezTo>
                      <a:pt x="114787" y="187503"/>
                      <a:pt x="115015" y="176446"/>
                      <a:pt x="107036" y="172627"/>
                    </a:cubicBezTo>
                    <a:cubicBezTo>
                      <a:pt x="103901" y="171088"/>
                      <a:pt x="100197" y="171259"/>
                      <a:pt x="97005" y="169948"/>
                    </a:cubicBezTo>
                    <a:cubicBezTo>
                      <a:pt x="93813" y="168637"/>
                      <a:pt x="91306" y="164249"/>
                      <a:pt x="93357" y="161741"/>
                    </a:cubicBezTo>
                    <a:lnTo>
                      <a:pt x="70844" y="147720"/>
                    </a:lnTo>
                    <a:cubicBezTo>
                      <a:pt x="68206" y="146347"/>
                      <a:pt x="65909" y="144397"/>
                      <a:pt x="64119" y="142021"/>
                    </a:cubicBezTo>
                    <a:cubicBezTo>
                      <a:pt x="57907" y="131990"/>
                      <a:pt x="72554" y="119223"/>
                      <a:pt x="68166" y="107824"/>
                    </a:cubicBezTo>
                    <a:cubicBezTo>
                      <a:pt x="66878" y="105020"/>
                      <a:pt x="64917" y="102575"/>
                      <a:pt x="62466" y="100700"/>
                    </a:cubicBezTo>
                    <a:cubicBezTo>
                      <a:pt x="55946" y="95086"/>
                      <a:pt x="48651" y="90441"/>
                      <a:pt x="40808" y="86907"/>
                    </a:cubicBezTo>
                    <a:cubicBezTo>
                      <a:pt x="38243" y="85966"/>
                      <a:pt x="35850" y="84598"/>
                      <a:pt x="33741" y="82860"/>
                    </a:cubicBezTo>
                    <a:cubicBezTo>
                      <a:pt x="30903" y="79247"/>
                      <a:pt x="29090" y="74932"/>
                      <a:pt x="28497" y="70378"/>
                    </a:cubicBezTo>
                    <a:cubicBezTo>
                      <a:pt x="22798" y="47580"/>
                      <a:pt x="5699" y="28943"/>
                      <a:pt x="0" y="6544"/>
                    </a:cubicBezTo>
                    <a:cubicBezTo>
                      <a:pt x="12995" y="5005"/>
                      <a:pt x="25990" y="2897"/>
                      <a:pt x="38927" y="845"/>
                    </a:cubicBezTo>
                    <a:cubicBezTo>
                      <a:pt x="47078" y="-352"/>
                      <a:pt x="56482" y="-1093"/>
                      <a:pt x="62637" y="4492"/>
                    </a:cubicBezTo>
                    <a:cubicBezTo>
                      <a:pt x="65829" y="7285"/>
                      <a:pt x="67824" y="11617"/>
                      <a:pt x="71699" y="13213"/>
                    </a:cubicBezTo>
                    <a:cubicBezTo>
                      <a:pt x="77399" y="15492"/>
                      <a:pt x="84466" y="11617"/>
                      <a:pt x="88798" y="15492"/>
                    </a:cubicBezTo>
                    <a:cubicBezTo>
                      <a:pt x="91647" y="17886"/>
                      <a:pt x="92046" y="22332"/>
                      <a:pt x="94896" y="24783"/>
                    </a:cubicBezTo>
                    <a:cubicBezTo>
                      <a:pt x="96743" y="26036"/>
                      <a:pt x="98880" y="26806"/>
                      <a:pt x="101109" y="27005"/>
                    </a:cubicBezTo>
                    <a:lnTo>
                      <a:pt x="152974" y="35840"/>
                    </a:lnTo>
                    <a:cubicBezTo>
                      <a:pt x="164373" y="37777"/>
                      <a:pt x="176798" y="39601"/>
                      <a:pt x="187171" y="34073"/>
                    </a:cubicBezTo>
                    <a:cubicBezTo>
                      <a:pt x="191559" y="31736"/>
                      <a:pt x="195150" y="28373"/>
                      <a:pt x="199368" y="25581"/>
                    </a:cubicBezTo>
                    <a:cubicBezTo>
                      <a:pt x="204873" y="22269"/>
                      <a:pt x="211245" y="20679"/>
                      <a:pt x="217663" y="21021"/>
                    </a:cubicBezTo>
                    <a:cubicBezTo>
                      <a:pt x="234761" y="22047"/>
                      <a:pt x="247585" y="36011"/>
                      <a:pt x="258585" y="48948"/>
                    </a:cubicBezTo>
                    <a:cubicBezTo>
                      <a:pt x="260580" y="51285"/>
                      <a:pt x="262518" y="55047"/>
                      <a:pt x="260238" y="57099"/>
                    </a:cubicBezTo>
                    <a:cubicBezTo>
                      <a:pt x="268377" y="58438"/>
                      <a:pt x="273882" y="66127"/>
                      <a:pt x="272543" y="74260"/>
                    </a:cubicBezTo>
                    <a:cubicBezTo>
                      <a:pt x="272497" y="74545"/>
                      <a:pt x="272441" y="74830"/>
                      <a:pt x="272378" y="75109"/>
                    </a:cubicBezTo>
                    <a:cubicBezTo>
                      <a:pt x="278077" y="75109"/>
                      <a:pt x="281611" y="80467"/>
                      <a:pt x="284860" y="85026"/>
                    </a:cubicBezTo>
                    <a:cubicBezTo>
                      <a:pt x="288108" y="89586"/>
                      <a:pt x="293865" y="94088"/>
                      <a:pt x="298595" y="91181"/>
                    </a:cubicBezTo>
                    <a:lnTo>
                      <a:pt x="301673" y="98591"/>
                    </a:lnTo>
                    <a:lnTo>
                      <a:pt x="308797" y="98591"/>
                    </a:lnTo>
                    <a:cubicBezTo>
                      <a:pt x="310382" y="93279"/>
                      <a:pt x="310633" y="87665"/>
                      <a:pt x="309538" y="82233"/>
                    </a:cubicBezTo>
                    <a:lnTo>
                      <a:pt x="318828" y="82233"/>
                    </a:lnTo>
                    <a:cubicBezTo>
                      <a:pt x="316036" y="77902"/>
                      <a:pt x="323844" y="74596"/>
                      <a:pt x="328860" y="75736"/>
                    </a:cubicBezTo>
                    <a:cubicBezTo>
                      <a:pt x="337546" y="77742"/>
                      <a:pt x="345616" y="81806"/>
                      <a:pt x="352398" y="87591"/>
                    </a:cubicBezTo>
                    <a:cubicBezTo>
                      <a:pt x="359158" y="93547"/>
                      <a:pt x="364629" y="100819"/>
                      <a:pt x="368471" y="108964"/>
                    </a:cubicBezTo>
                    <a:cubicBezTo>
                      <a:pt x="372233" y="116715"/>
                      <a:pt x="375880" y="126062"/>
                      <a:pt x="384202" y="128285"/>
                    </a:cubicBezTo>
                    <a:cubicBezTo>
                      <a:pt x="383745" y="130508"/>
                      <a:pt x="383290" y="132731"/>
                      <a:pt x="382777" y="134896"/>
                    </a:cubicBezTo>
                    <a:lnTo>
                      <a:pt x="390015" y="139228"/>
                    </a:lnTo>
                    <a:cubicBezTo>
                      <a:pt x="389673" y="146865"/>
                      <a:pt x="389388" y="154560"/>
                      <a:pt x="389046" y="162026"/>
                    </a:cubicBezTo>
                    <a:cubicBezTo>
                      <a:pt x="398735" y="171430"/>
                      <a:pt x="413155" y="173425"/>
                      <a:pt x="426036" y="177243"/>
                    </a:cubicBezTo>
                    <a:cubicBezTo>
                      <a:pt x="427860" y="177813"/>
                      <a:pt x="429626" y="178497"/>
                      <a:pt x="431450" y="179124"/>
                    </a:cubicBezTo>
                    <a:cubicBezTo>
                      <a:pt x="431536" y="180184"/>
                      <a:pt x="431536" y="181256"/>
                      <a:pt x="431450" y="182316"/>
                    </a:cubicBezTo>
                    <a:cubicBezTo>
                      <a:pt x="430179" y="186625"/>
                      <a:pt x="428378" y="190763"/>
                      <a:pt x="426093" y="194627"/>
                    </a:cubicBezTo>
                    <a:cubicBezTo>
                      <a:pt x="422684" y="203718"/>
                      <a:pt x="421225" y="213429"/>
                      <a:pt x="421818" y="223124"/>
                    </a:cubicBezTo>
                    <a:lnTo>
                      <a:pt x="421305" y="277782"/>
                    </a:lnTo>
                    <a:cubicBezTo>
                      <a:pt x="421305" y="287414"/>
                      <a:pt x="422844" y="299611"/>
                      <a:pt x="432077" y="302404"/>
                    </a:cubicBezTo>
                    <a:cubicBezTo>
                      <a:pt x="433810" y="302689"/>
                      <a:pt x="435480" y="303247"/>
                      <a:pt x="437036" y="304057"/>
                    </a:cubicBezTo>
                    <a:cubicBezTo>
                      <a:pt x="439543" y="305938"/>
                      <a:pt x="439543" y="309756"/>
                      <a:pt x="439885" y="312777"/>
                    </a:cubicBezTo>
                    <a:cubicBezTo>
                      <a:pt x="441094" y="322204"/>
                      <a:pt x="447830" y="329995"/>
                      <a:pt x="456984" y="332554"/>
                    </a:cubicBezTo>
                    <a:cubicBezTo>
                      <a:pt x="453672" y="341400"/>
                      <a:pt x="458164" y="351248"/>
                      <a:pt x="467003" y="354560"/>
                    </a:cubicBezTo>
                    <a:cubicBezTo>
                      <a:pt x="467459" y="354731"/>
                      <a:pt x="467915" y="354879"/>
                      <a:pt x="468383" y="355010"/>
                    </a:cubicBezTo>
                    <a:cubicBezTo>
                      <a:pt x="471552" y="355107"/>
                      <a:pt x="474658" y="355945"/>
                      <a:pt x="477445" y="357461"/>
                    </a:cubicBezTo>
                    <a:cubicBezTo>
                      <a:pt x="479896" y="359513"/>
                      <a:pt x="480466" y="363160"/>
                      <a:pt x="482118" y="365782"/>
                    </a:cubicBezTo>
                    <a:cubicBezTo>
                      <a:pt x="483771" y="368404"/>
                      <a:pt x="488502" y="370057"/>
                      <a:pt x="489927" y="367207"/>
                    </a:cubicBezTo>
                    <a:cubicBezTo>
                      <a:pt x="489471" y="363673"/>
                      <a:pt x="494258" y="362134"/>
                      <a:pt x="497792" y="361906"/>
                    </a:cubicBezTo>
                    <a:cubicBezTo>
                      <a:pt x="510103" y="361166"/>
                      <a:pt x="522984" y="360539"/>
                      <a:pt x="534098" y="365782"/>
                    </a:cubicBezTo>
                    <a:lnTo>
                      <a:pt x="538144" y="355751"/>
                    </a:lnTo>
                    <a:cubicBezTo>
                      <a:pt x="544568" y="355232"/>
                      <a:pt x="551037" y="355871"/>
                      <a:pt x="557237" y="357632"/>
                    </a:cubicBezTo>
                    <a:cubicBezTo>
                      <a:pt x="557636" y="351932"/>
                      <a:pt x="562937" y="348456"/>
                      <a:pt x="568352" y="346575"/>
                    </a:cubicBezTo>
                    <a:cubicBezTo>
                      <a:pt x="573749" y="345418"/>
                      <a:pt x="578781" y="342950"/>
                      <a:pt x="582999" y="339394"/>
                    </a:cubicBezTo>
                    <a:cubicBezTo>
                      <a:pt x="592118" y="329248"/>
                      <a:pt x="580719" y="313119"/>
                      <a:pt x="583740" y="299839"/>
                    </a:cubicBezTo>
                    <a:cubicBezTo>
                      <a:pt x="588801" y="298095"/>
                      <a:pt x="594119" y="297195"/>
                      <a:pt x="599471" y="297160"/>
                    </a:cubicBezTo>
                    <a:cubicBezTo>
                      <a:pt x="597977" y="293587"/>
                      <a:pt x="599368" y="289466"/>
                      <a:pt x="602719" y="287528"/>
                    </a:cubicBezTo>
                    <a:cubicBezTo>
                      <a:pt x="605996" y="285722"/>
                      <a:pt x="609690" y="284798"/>
                      <a:pt x="613434" y="284850"/>
                    </a:cubicBezTo>
                    <a:cubicBezTo>
                      <a:pt x="627284" y="283938"/>
                      <a:pt x="641191" y="283539"/>
                      <a:pt x="655040" y="283710"/>
                    </a:cubicBezTo>
                    <a:cubicBezTo>
                      <a:pt x="657754" y="283413"/>
                      <a:pt x="660483" y="284103"/>
                      <a:pt x="662735" y="285648"/>
                    </a:cubicBezTo>
                    <a:cubicBezTo>
                      <a:pt x="666496" y="288839"/>
                      <a:pt x="664502" y="295451"/>
                      <a:pt x="660398" y="298243"/>
                    </a:cubicBezTo>
                    <a:cubicBezTo>
                      <a:pt x="655992" y="300523"/>
                      <a:pt x="651159" y="301845"/>
                      <a:pt x="646206" y="302119"/>
                    </a:cubicBezTo>
                    <a:cubicBezTo>
                      <a:pt x="641185" y="302438"/>
                      <a:pt x="636637" y="305180"/>
                      <a:pt x="634009" y="309471"/>
                    </a:cubicBezTo>
                    <a:cubicBezTo>
                      <a:pt x="630989" y="316197"/>
                      <a:pt x="636859" y="323150"/>
                      <a:pt x="639709" y="329989"/>
                    </a:cubicBezTo>
                    <a:cubicBezTo>
                      <a:pt x="643590" y="340807"/>
                      <a:pt x="639475" y="352867"/>
                      <a:pt x="629792" y="359057"/>
                    </a:cubicBezTo>
                    <a:lnTo>
                      <a:pt x="628766" y="359684"/>
                    </a:lnTo>
                    <a:cubicBezTo>
                      <a:pt x="620975" y="360738"/>
                      <a:pt x="614204" y="365554"/>
                      <a:pt x="610642" y="372564"/>
                    </a:cubicBezTo>
                    <a:cubicBezTo>
                      <a:pt x="610169" y="374303"/>
                      <a:pt x="609291" y="375904"/>
                      <a:pt x="608077" y="377238"/>
                    </a:cubicBezTo>
                    <a:cubicBezTo>
                      <a:pt x="606475" y="378218"/>
                      <a:pt x="604583" y="378617"/>
                      <a:pt x="602719" y="378378"/>
                    </a:cubicBezTo>
                    <a:cubicBezTo>
                      <a:pt x="592090" y="378099"/>
                      <a:pt x="581523" y="376668"/>
                      <a:pt x="571201" y="374103"/>
                    </a:cubicBezTo>
                    <a:cubicBezTo>
                      <a:pt x="573076" y="377529"/>
                      <a:pt x="571822" y="381820"/>
                      <a:pt x="568397" y="383696"/>
                    </a:cubicBezTo>
                    <a:cubicBezTo>
                      <a:pt x="567987" y="383923"/>
                      <a:pt x="567548" y="384106"/>
                      <a:pt x="567098" y="384248"/>
                    </a:cubicBezTo>
                    <a:cubicBezTo>
                      <a:pt x="565673" y="384647"/>
                      <a:pt x="564020" y="384533"/>
                      <a:pt x="562880" y="385502"/>
                    </a:cubicBezTo>
                    <a:cubicBezTo>
                      <a:pt x="560657" y="387326"/>
                      <a:pt x="562310" y="391202"/>
                      <a:pt x="564020" y="393197"/>
                    </a:cubicBezTo>
                    <a:lnTo>
                      <a:pt x="567953" y="398497"/>
                    </a:lnTo>
                    <a:cubicBezTo>
                      <a:pt x="571082" y="403946"/>
                      <a:pt x="576023" y="408123"/>
                      <a:pt x="581916" y="410295"/>
                    </a:cubicBezTo>
                    <a:cubicBezTo>
                      <a:pt x="582971" y="413270"/>
                      <a:pt x="582617" y="416564"/>
                      <a:pt x="580947" y="419243"/>
                    </a:cubicBezTo>
                    <a:cubicBezTo>
                      <a:pt x="578155" y="422264"/>
                      <a:pt x="573139" y="420839"/>
                      <a:pt x="569548" y="418958"/>
                    </a:cubicBezTo>
                    <a:cubicBezTo>
                      <a:pt x="565958" y="417077"/>
                      <a:pt x="561455" y="414912"/>
                      <a:pt x="558149" y="417077"/>
                    </a:cubicBezTo>
                    <a:cubicBezTo>
                      <a:pt x="557807" y="418388"/>
                      <a:pt x="557523" y="419699"/>
                      <a:pt x="557237" y="421067"/>
                    </a:cubicBezTo>
                    <a:cubicBezTo>
                      <a:pt x="552382" y="421694"/>
                      <a:pt x="547486" y="421979"/>
                      <a:pt x="542590" y="421922"/>
                    </a:cubicBezTo>
                    <a:cubicBezTo>
                      <a:pt x="545480" y="426561"/>
                      <a:pt x="546129" y="432255"/>
                      <a:pt x="544357" y="437424"/>
                    </a:cubicBezTo>
                    <a:cubicBezTo>
                      <a:pt x="542607" y="441733"/>
                      <a:pt x="538566" y="444674"/>
                      <a:pt x="533927" y="445005"/>
                    </a:cubicBezTo>
                    <a:close/>
                  </a:path>
                </a:pathLst>
              </a:custGeom>
              <a:solidFill>
                <a:srgbClr val="19BADE"/>
              </a:solidFill>
              <a:ln w="3175" cap="flat">
                <a:solidFill>
                  <a:schemeClr val="accent2"/>
                </a:solidFill>
                <a:prstDash val="solid"/>
                <a:miter/>
              </a:ln>
            </p:spPr>
            <p:txBody>
              <a:bodyPr rtlCol="0" anchor="ctr"/>
              <a:lstStyle/>
              <a:p>
                <a:endParaRPr lang="en-US"/>
              </a:p>
            </p:txBody>
          </p:sp>
          <p:sp>
            <p:nvSpPr>
              <p:cNvPr id="829" name="Freihandform: Form 623">
                <a:extLst>
                  <a:ext uri="{FF2B5EF4-FFF2-40B4-BE49-F238E27FC236}">
                    <a16:creationId xmlns:a16="http://schemas.microsoft.com/office/drawing/2014/main" id="{687C0C1B-0C78-4EC8-F0A5-E0686DB2100F}"/>
                  </a:ext>
                </a:extLst>
              </p:cNvPr>
              <p:cNvSpPr/>
              <p:nvPr/>
            </p:nvSpPr>
            <p:spPr>
              <a:xfrm>
                <a:off x="1735949" y="3813149"/>
                <a:ext cx="94554" cy="114502"/>
              </a:xfrm>
              <a:custGeom>
                <a:avLst/>
                <a:gdLst>
                  <a:gd name="connsiteX0" fmla="*/ 59958 w 94554"/>
                  <a:gd name="connsiteY0" fmla="*/ 111995 h 114502"/>
                  <a:gd name="connsiteX1" fmla="*/ 54601 w 94554"/>
                  <a:gd name="connsiteY1" fmla="*/ 114502 h 114502"/>
                  <a:gd name="connsiteX2" fmla="*/ 39212 w 94554"/>
                  <a:gd name="connsiteY2" fmla="*/ 109943 h 114502"/>
                  <a:gd name="connsiteX3" fmla="*/ 25021 w 94554"/>
                  <a:gd name="connsiteY3" fmla="*/ 108689 h 114502"/>
                  <a:gd name="connsiteX4" fmla="*/ 20803 w 94554"/>
                  <a:gd name="connsiteY4" fmla="*/ 97290 h 114502"/>
                  <a:gd name="connsiteX5" fmla="*/ 0 w 94554"/>
                  <a:gd name="connsiteY5" fmla="*/ 85207 h 114502"/>
                  <a:gd name="connsiteX6" fmla="*/ 0 w 94554"/>
                  <a:gd name="connsiteY6" fmla="*/ 85207 h 114502"/>
                  <a:gd name="connsiteX7" fmla="*/ 10145 w 94554"/>
                  <a:gd name="connsiteY7" fmla="*/ 77741 h 114502"/>
                  <a:gd name="connsiteX8" fmla="*/ 8378 w 94554"/>
                  <a:gd name="connsiteY8" fmla="*/ 62238 h 114502"/>
                  <a:gd name="connsiteX9" fmla="*/ 23026 w 94554"/>
                  <a:gd name="connsiteY9" fmla="*/ 61383 h 114502"/>
                  <a:gd name="connsiteX10" fmla="*/ 23938 w 94554"/>
                  <a:gd name="connsiteY10" fmla="*/ 57394 h 114502"/>
                  <a:gd name="connsiteX11" fmla="*/ 35337 w 94554"/>
                  <a:gd name="connsiteY11" fmla="*/ 59274 h 114502"/>
                  <a:gd name="connsiteX12" fmla="*/ 46736 w 94554"/>
                  <a:gd name="connsiteY12" fmla="*/ 59560 h 114502"/>
                  <a:gd name="connsiteX13" fmla="*/ 47705 w 94554"/>
                  <a:gd name="connsiteY13" fmla="*/ 50611 h 114502"/>
                  <a:gd name="connsiteX14" fmla="*/ 33741 w 94554"/>
                  <a:gd name="connsiteY14" fmla="*/ 38813 h 114502"/>
                  <a:gd name="connsiteX15" fmla="*/ 29808 w 94554"/>
                  <a:gd name="connsiteY15" fmla="*/ 33513 h 114502"/>
                  <a:gd name="connsiteX16" fmla="*/ 28668 w 94554"/>
                  <a:gd name="connsiteY16" fmla="*/ 25819 h 114502"/>
                  <a:gd name="connsiteX17" fmla="*/ 32886 w 94554"/>
                  <a:gd name="connsiteY17" fmla="*/ 24565 h 114502"/>
                  <a:gd name="connsiteX18" fmla="*/ 37542 w 94554"/>
                  <a:gd name="connsiteY18" fmla="*/ 15719 h 114502"/>
                  <a:gd name="connsiteX19" fmla="*/ 36990 w 94554"/>
                  <a:gd name="connsiteY19" fmla="*/ 14420 h 114502"/>
                  <a:gd name="connsiteX20" fmla="*/ 68508 w 94554"/>
                  <a:gd name="connsiteY20" fmla="*/ 18694 h 114502"/>
                  <a:gd name="connsiteX21" fmla="*/ 73865 w 94554"/>
                  <a:gd name="connsiteY21" fmla="*/ 17554 h 114502"/>
                  <a:gd name="connsiteX22" fmla="*/ 76430 w 94554"/>
                  <a:gd name="connsiteY22" fmla="*/ 12881 h 114502"/>
                  <a:gd name="connsiteX23" fmla="*/ 94554 w 94554"/>
                  <a:gd name="connsiteY23" fmla="*/ 0 h 114502"/>
                  <a:gd name="connsiteX24" fmla="*/ 89767 w 94554"/>
                  <a:gd name="connsiteY24" fmla="*/ 3477 h 114502"/>
                  <a:gd name="connsiteX25" fmla="*/ 87544 w 94554"/>
                  <a:gd name="connsiteY25" fmla="*/ 12938 h 114502"/>
                  <a:gd name="connsiteX26" fmla="*/ 87544 w 94554"/>
                  <a:gd name="connsiteY26" fmla="*/ 51694 h 114502"/>
                  <a:gd name="connsiteX27" fmla="*/ 86176 w 94554"/>
                  <a:gd name="connsiteY27" fmla="*/ 58249 h 114502"/>
                  <a:gd name="connsiteX28" fmla="*/ 78596 w 94554"/>
                  <a:gd name="connsiteY28" fmla="*/ 62694 h 114502"/>
                  <a:gd name="connsiteX29" fmla="*/ 76145 w 94554"/>
                  <a:gd name="connsiteY29" fmla="*/ 69932 h 114502"/>
                  <a:gd name="connsiteX30" fmla="*/ 88969 w 94554"/>
                  <a:gd name="connsiteY30" fmla="*/ 69932 h 114502"/>
                  <a:gd name="connsiteX31" fmla="*/ 85777 w 94554"/>
                  <a:gd name="connsiteY31" fmla="*/ 71414 h 114502"/>
                  <a:gd name="connsiteX32" fmla="*/ 83098 w 94554"/>
                  <a:gd name="connsiteY32" fmla="*/ 80876 h 114502"/>
                  <a:gd name="connsiteX33" fmla="*/ 75347 w 94554"/>
                  <a:gd name="connsiteY33" fmla="*/ 84751 h 114502"/>
                  <a:gd name="connsiteX34" fmla="*/ 74948 w 94554"/>
                  <a:gd name="connsiteY34" fmla="*/ 91647 h 114502"/>
                  <a:gd name="connsiteX35" fmla="*/ 64974 w 94554"/>
                  <a:gd name="connsiteY35" fmla="*/ 100881 h 114502"/>
                  <a:gd name="connsiteX36" fmla="*/ 59958 w 94554"/>
                  <a:gd name="connsiteY36" fmla="*/ 111995 h 11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4554" h="114502">
                    <a:moveTo>
                      <a:pt x="59958" y="111995"/>
                    </a:moveTo>
                    <a:cubicBezTo>
                      <a:pt x="58266" y="113015"/>
                      <a:pt x="56470" y="113853"/>
                      <a:pt x="54601" y="114502"/>
                    </a:cubicBezTo>
                    <a:cubicBezTo>
                      <a:pt x="49813" y="112012"/>
                      <a:pt x="44587" y="110462"/>
                      <a:pt x="39212" y="109943"/>
                    </a:cubicBezTo>
                    <a:cubicBezTo>
                      <a:pt x="34448" y="110251"/>
                      <a:pt x="29660" y="109829"/>
                      <a:pt x="25021" y="108689"/>
                    </a:cubicBezTo>
                    <a:cubicBezTo>
                      <a:pt x="20575" y="106865"/>
                      <a:pt x="17497" y="100710"/>
                      <a:pt x="20803" y="97290"/>
                    </a:cubicBezTo>
                    <a:cubicBezTo>
                      <a:pt x="12653" y="99684"/>
                      <a:pt x="5642" y="91591"/>
                      <a:pt x="0" y="85207"/>
                    </a:cubicBezTo>
                    <a:lnTo>
                      <a:pt x="0" y="85207"/>
                    </a:lnTo>
                    <a:cubicBezTo>
                      <a:pt x="4502" y="84791"/>
                      <a:pt x="8412" y="81919"/>
                      <a:pt x="10145" y="77741"/>
                    </a:cubicBezTo>
                    <a:cubicBezTo>
                      <a:pt x="11918" y="72571"/>
                      <a:pt x="11268" y="66878"/>
                      <a:pt x="8378" y="62238"/>
                    </a:cubicBezTo>
                    <a:cubicBezTo>
                      <a:pt x="13274" y="62295"/>
                      <a:pt x="18170" y="62010"/>
                      <a:pt x="23026" y="61383"/>
                    </a:cubicBezTo>
                    <a:cubicBezTo>
                      <a:pt x="23026" y="60015"/>
                      <a:pt x="23596" y="58705"/>
                      <a:pt x="23938" y="57394"/>
                    </a:cubicBezTo>
                    <a:cubicBezTo>
                      <a:pt x="27414" y="55228"/>
                      <a:pt x="31860" y="57394"/>
                      <a:pt x="35337" y="59274"/>
                    </a:cubicBezTo>
                    <a:cubicBezTo>
                      <a:pt x="38813" y="61155"/>
                      <a:pt x="44000" y="62580"/>
                      <a:pt x="46736" y="59560"/>
                    </a:cubicBezTo>
                    <a:cubicBezTo>
                      <a:pt x="48406" y="56881"/>
                      <a:pt x="48759" y="53586"/>
                      <a:pt x="47705" y="50611"/>
                    </a:cubicBezTo>
                    <a:cubicBezTo>
                      <a:pt x="41811" y="48440"/>
                      <a:pt x="36870" y="44262"/>
                      <a:pt x="33741" y="38813"/>
                    </a:cubicBezTo>
                    <a:lnTo>
                      <a:pt x="29808" y="33513"/>
                    </a:lnTo>
                    <a:cubicBezTo>
                      <a:pt x="28098" y="31233"/>
                      <a:pt x="26445" y="27813"/>
                      <a:pt x="28668" y="25819"/>
                    </a:cubicBezTo>
                    <a:cubicBezTo>
                      <a:pt x="29808" y="24850"/>
                      <a:pt x="31461" y="24964"/>
                      <a:pt x="32886" y="24565"/>
                    </a:cubicBezTo>
                    <a:cubicBezTo>
                      <a:pt x="36613" y="23408"/>
                      <a:pt x="38699" y="19447"/>
                      <a:pt x="37542" y="15719"/>
                    </a:cubicBezTo>
                    <a:cubicBezTo>
                      <a:pt x="37400" y="15269"/>
                      <a:pt x="37218" y="14836"/>
                      <a:pt x="36990" y="14420"/>
                    </a:cubicBezTo>
                    <a:cubicBezTo>
                      <a:pt x="47311" y="16984"/>
                      <a:pt x="57878" y="18415"/>
                      <a:pt x="68508" y="18694"/>
                    </a:cubicBezTo>
                    <a:cubicBezTo>
                      <a:pt x="70371" y="18934"/>
                      <a:pt x="72264" y="18535"/>
                      <a:pt x="73865" y="17554"/>
                    </a:cubicBezTo>
                    <a:cubicBezTo>
                      <a:pt x="75079" y="16221"/>
                      <a:pt x="75957" y="14619"/>
                      <a:pt x="76430" y="12881"/>
                    </a:cubicBezTo>
                    <a:cubicBezTo>
                      <a:pt x="79992" y="5870"/>
                      <a:pt x="86763" y="1054"/>
                      <a:pt x="94554" y="0"/>
                    </a:cubicBezTo>
                    <a:cubicBezTo>
                      <a:pt x="92759" y="855"/>
                      <a:pt x="91135" y="2035"/>
                      <a:pt x="89767" y="3477"/>
                    </a:cubicBezTo>
                    <a:cubicBezTo>
                      <a:pt x="87966" y="6281"/>
                      <a:pt x="87179" y="9621"/>
                      <a:pt x="87544" y="12938"/>
                    </a:cubicBezTo>
                    <a:lnTo>
                      <a:pt x="87544" y="51694"/>
                    </a:lnTo>
                    <a:cubicBezTo>
                      <a:pt x="87755" y="53968"/>
                      <a:pt x="87276" y="56248"/>
                      <a:pt x="86176" y="58249"/>
                    </a:cubicBezTo>
                    <a:cubicBezTo>
                      <a:pt x="84466" y="60642"/>
                      <a:pt x="81160" y="61269"/>
                      <a:pt x="78596" y="62694"/>
                    </a:cubicBezTo>
                    <a:cubicBezTo>
                      <a:pt x="76031" y="64119"/>
                      <a:pt x="73979" y="67938"/>
                      <a:pt x="76145" y="69932"/>
                    </a:cubicBezTo>
                    <a:cubicBezTo>
                      <a:pt x="80419" y="69932"/>
                      <a:pt x="84694" y="69932"/>
                      <a:pt x="88969" y="69932"/>
                    </a:cubicBezTo>
                    <a:cubicBezTo>
                      <a:pt x="87949" y="70520"/>
                      <a:pt x="86883" y="71015"/>
                      <a:pt x="85777" y="71414"/>
                    </a:cubicBezTo>
                    <a:cubicBezTo>
                      <a:pt x="87493" y="74783"/>
                      <a:pt x="86324" y="78903"/>
                      <a:pt x="83098" y="80876"/>
                    </a:cubicBezTo>
                    <a:cubicBezTo>
                      <a:pt x="80534" y="82300"/>
                      <a:pt x="76886" y="82243"/>
                      <a:pt x="75347" y="84751"/>
                    </a:cubicBezTo>
                    <a:cubicBezTo>
                      <a:pt x="73808" y="87259"/>
                      <a:pt x="75005" y="89311"/>
                      <a:pt x="74948" y="91647"/>
                    </a:cubicBezTo>
                    <a:cubicBezTo>
                      <a:pt x="74731" y="96948"/>
                      <a:pt x="70274" y="101075"/>
                      <a:pt x="64974" y="100881"/>
                    </a:cubicBezTo>
                    <a:cubicBezTo>
                      <a:pt x="66279" y="105315"/>
                      <a:pt x="64148" y="110040"/>
                      <a:pt x="59958" y="1119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0" name="Freihandform: Form 624">
                <a:extLst>
                  <a:ext uri="{FF2B5EF4-FFF2-40B4-BE49-F238E27FC236}">
                    <a16:creationId xmlns:a16="http://schemas.microsoft.com/office/drawing/2014/main" id="{013B6443-DAB5-902E-08BC-E3458DD387AD}"/>
                  </a:ext>
                </a:extLst>
              </p:cNvPr>
              <p:cNvSpPr/>
              <p:nvPr/>
            </p:nvSpPr>
            <p:spPr>
              <a:xfrm>
                <a:off x="1790550" y="3913801"/>
                <a:ext cx="57738" cy="27325"/>
              </a:xfrm>
              <a:custGeom>
                <a:avLst/>
                <a:gdLst>
                  <a:gd name="connsiteX0" fmla="*/ 57394 w 57738"/>
                  <a:gd name="connsiteY0" fmla="*/ 24565 h 27325"/>
                  <a:gd name="connsiteX1" fmla="*/ 18580 w 57738"/>
                  <a:gd name="connsiteY1" fmla="*/ 23197 h 27325"/>
                  <a:gd name="connsiteX2" fmla="*/ 0 w 57738"/>
                  <a:gd name="connsiteY2" fmla="*/ 13907 h 27325"/>
                  <a:gd name="connsiteX3" fmla="*/ 5358 w 57738"/>
                  <a:gd name="connsiteY3" fmla="*/ 11399 h 27325"/>
                  <a:gd name="connsiteX4" fmla="*/ 10202 w 57738"/>
                  <a:gd name="connsiteY4" fmla="*/ 0 h 27325"/>
                  <a:gd name="connsiteX5" fmla="*/ 12653 w 57738"/>
                  <a:gd name="connsiteY5" fmla="*/ 0 h 27325"/>
                  <a:gd name="connsiteX6" fmla="*/ 24736 w 57738"/>
                  <a:gd name="connsiteY6" fmla="*/ 3705 h 27325"/>
                  <a:gd name="connsiteX7" fmla="*/ 29808 w 57738"/>
                  <a:gd name="connsiteY7" fmla="*/ 3306 h 27325"/>
                  <a:gd name="connsiteX8" fmla="*/ 34254 w 57738"/>
                  <a:gd name="connsiteY8" fmla="*/ 6611 h 27325"/>
                  <a:gd name="connsiteX9" fmla="*/ 43145 w 57738"/>
                  <a:gd name="connsiteY9" fmla="*/ 6953 h 27325"/>
                  <a:gd name="connsiteX10" fmla="*/ 51409 w 57738"/>
                  <a:gd name="connsiteY10" fmla="*/ 9461 h 27325"/>
                  <a:gd name="connsiteX11" fmla="*/ 53860 w 57738"/>
                  <a:gd name="connsiteY11" fmla="*/ 15616 h 27325"/>
                  <a:gd name="connsiteX12" fmla="*/ 56368 w 57738"/>
                  <a:gd name="connsiteY12" fmla="*/ 18067 h 27325"/>
                  <a:gd name="connsiteX13" fmla="*/ 57394 w 57738"/>
                  <a:gd name="connsiteY13" fmla="*/ 24565 h 2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738" h="27325">
                    <a:moveTo>
                      <a:pt x="57394" y="24565"/>
                    </a:moveTo>
                    <a:cubicBezTo>
                      <a:pt x="44695" y="28668"/>
                      <a:pt x="30960" y="28184"/>
                      <a:pt x="18580" y="23197"/>
                    </a:cubicBezTo>
                    <a:cubicBezTo>
                      <a:pt x="12197" y="20632"/>
                      <a:pt x="6212" y="16870"/>
                      <a:pt x="0" y="13907"/>
                    </a:cubicBezTo>
                    <a:cubicBezTo>
                      <a:pt x="1869" y="13257"/>
                      <a:pt x="3665" y="12419"/>
                      <a:pt x="5358" y="11399"/>
                    </a:cubicBezTo>
                    <a:cubicBezTo>
                      <a:pt x="9621" y="9370"/>
                      <a:pt x="11695" y="4480"/>
                      <a:pt x="10202" y="0"/>
                    </a:cubicBezTo>
                    <a:cubicBezTo>
                      <a:pt x="11017" y="114"/>
                      <a:pt x="11838" y="114"/>
                      <a:pt x="12653" y="0"/>
                    </a:cubicBezTo>
                    <a:cubicBezTo>
                      <a:pt x="16130" y="2599"/>
                      <a:pt x="20398" y="3910"/>
                      <a:pt x="24736" y="3705"/>
                    </a:cubicBezTo>
                    <a:cubicBezTo>
                      <a:pt x="26092" y="2325"/>
                      <a:pt x="28252" y="2154"/>
                      <a:pt x="29808" y="3306"/>
                    </a:cubicBezTo>
                    <a:cubicBezTo>
                      <a:pt x="31404" y="4275"/>
                      <a:pt x="32601" y="5757"/>
                      <a:pt x="34254" y="6611"/>
                    </a:cubicBezTo>
                    <a:cubicBezTo>
                      <a:pt x="37121" y="7580"/>
                      <a:pt x="40210" y="7700"/>
                      <a:pt x="43145" y="6953"/>
                    </a:cubicBezTo>
                    <a:cubicBezTo>
                      <a:pt x="46149" y="6269"/>
                      <a:pt x="49289" y="7221"/>
                      <a:pt x="51409" y="9461"/>
                    </a:cubicBezTo>
                    <a:cubicBezTo>
                      <a:pt x="52606" y="11285"/>
                      <a:pt x="52492" y="13850"/>
                      <a:pt x="53860" y="15616"/>
                    </a:cubicBezTo>
                    <a:cubicBezTo>
                      <a:pt x="55228" y="17383"/>
                      <a:pt x="55627" y="17155"/>
                      <a:pt x="56368" y="18067"/>
                    </a:cubicBezTo>
                    <a:cubicBezTo>
                      <a:pt x="57713" y="19948"/>
                      <a:pt x="58095" y="22359"/>
                      <a:pt x="57394" y="2456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1" name="Freihandform: Form 625">
                <a:extLst>
                  <a:ext uri="{FF2B5EF4-FFF2-40B4-BE49-F238E27FC236}">
                    <a16:creationId xmlns:a16="http://schemas.microsoft.com/office/drawing/2014/main" id="{3AA45C9C-BCD0-DCCA-3DC9-1DD7FF86FD35}"/>
                  </a:ext>
                </a:extLst>
              </p:cNvPr>
              <p:cNvSpPr/>
              <p:nvPr/>
            </p:nvSpPr>
            <p:spPr>
              <a:xfrm>
                <a:off x="1803203" y="3873133"/>
                <a:ext cx="136841" cy="78512"/>
              </a:xfrm>
              <a:custGeom>
                <a:avLst/>
                <a:gdLst>
                  <a:gd name="connsiteX0" fmla="*/ 51751 w 136841"/>
                  <a:gd name="connsiteY0" fmla="*/ 76176 h 78512"/>
                  <a:gd name="connsiteX1" fmla="*/ 48047 w 136841"/>
                  <a:gd name="connsiteY1" fmla="*/ 78512 h 78512"/>
                  <a:gd name="connsiteX2" fmla="*/ 45539 w 136841"/>
                  <a:gd name="connsiteY2" fmla="*/ 64948 h 78512"/>
                  <a:gd name="connsiteX3" fmla="*/ 44741 w 136841"/>
                  <a:gd name="connsiteY3" fmla="*/ 64948 h 78512"/>
                  <a:gd name="connsiteX4" fmla="*/ 43715 w 136841"/>
                  <a:gd name="connsiteY4" fmla="*/ 58279 h 78512"/>
                  <a:gd name="connsiteX5" fmla="*/ 41207 w 136841"/>
                  <a:gd name="connsiteY5" fmla="*/ 55829 h 78512"/>
                  <a:gd name="connsiteX6" fmla="*/ 38757 w 136841"/>
                  <a:gd name="connsiteY6" fmla="*/ 49673 h 78512"/>
                  <a:gd name="connsiteX7" fmla="*/ 30492 w 136841"/>
                  <a:gd name="connsiteY7" fmla="*/ 47165 h 78512"/>
                  <a:gd name="connsiteX8" fmla="*/ 21601 w 136841"/>
                  <a:gd name="connsiteY8" fmla="*/ 46823 h 78512"/>
                  <a:gd name="connsiteX9" fmla="*/ 17155 w 136841"/>
                  <a:gd name="connsiteY9" fmla="*/ 43518 h 78512"/>
                  <a:gd name="connsiteX10" fmla="*/ 12083 w 136841"/>
                  <a:gd name="connsiteY10" fmla="*/ 43917 h 78512"/>
                  <a:gd name="connsiteX11" fmla="*/ 0 w 136841"/>
                  <a:gd name="connsiteY11" fmla="*/ 40212 h 78512"/>
                  <a:gd name="connsiteX12" fmla="*/ 7523 w 136841"/>
                  <a:gd name="connsiteY12" fmla="*/ 31207 h 78512"/>
                  <a:gd name="connsiteX13" fmla="*/ 7922 w 136841"/>
                  <a:gd name="connsiteY13" fmla="*/ 24310 h 78512"/>
                  <a:gd name="connsiteX14" fmla="*/ 15674 w 136841"/>
                  <a:gd name="connsiteY14" fmla="*/ 20435 h 78512"/>
                  <a:gd name="connsiteX15" fmla="*/ 18352 w 136841"/>
                  <a:gd name="connsiteY15" fmla="*/ 10974 h 78512"/>
                  <a:gd name="connsiteX16" fmla="*/ 21544 w 136841"/>
                  <a:gd name="connsiteY16" fmla="*/ 9492 h 78512"/>
                  <a:gd name="connsiteX17" fmla="*/ 75404 w 136841"/>
                  <a:gd name="connsiteY17" fmla="*/ 2026 h 78512"/>
                  <a:gd name="connsiteX18" fmla="*/ 88741 w 136841"/>
                  <a:gd name="connsiteY18" fmla="*/ 31 h 78512"/>
                  <a:gd name="connsiteX19" fmla="*/ 122026 w 136841"/>
                  <a:gd name="connsiteY19" fmla="*/ 9492 h 78512"/>
                  <a:gd name="connsiteX20" fmla="*/ 129150 w 136841"/>
                  <a:gd name="connsiteY20" fmla="*/ 19922 h 78512"/>
                  <a:gd name="connsiteX21" fmla="*/ 135875 w 136841"/>
                  <a:gd name="connsiteY21" fmla="*/ 30466 h 78512"/>
                  <a:gd name="connsiteX22" fmla="*/ 122026 w 136841"/>
                  <a:gd name="connsiteY22" fmla="*/ 32005 h 78512"/>
                  <a:gd name="connsiteX23" fmla="*/ 121285 w 136841"/>
                  <a:gd name="connsiteY23" fmla="*/ 37704 h 78512"/>
                  <a:gd name="connsiteX24" fmla="*/ 118207 w 136841"/>
                  <a:gd name="connsiteY24" fmla="*/ 36963 h 78512"/>
                  <a:gd name="connsiteX25" fmla="*/ 110798 w 136841"/>
                  <a:gd name="connsiteY25" fmla="*/ 36507 h 78512"/>
                  <a:gd name="connsiteX26" fmla="*/ 94953 w 136841"/>
                  <a:gd name="connsiteY26" fmla="*/ 36507 h 78512"/>
                  <a:gd name="connsiteX27" fmla="*/ 92730 w 136841"/>
                  <a:gd name="connsiteY27" fmla="*/ 36849 h 78512"/>
                  <a:gd name="connsiteX28" fmla="*/ 90679 w 136841"/>
                  <a:gd name="connsiteY28" fmla="*/ 40725 h 78512"/>
                  <a:gd name="connsiteX29" fmla="*/ 79964 w 136841"/>
                  <a:gd name="connsiteY29" fmla="*/ 49844 h 78512"/>
                  <a:gd name="connsiteX30" fmla="*/ 76715 w 136841"/>
                  <a:gd name="connsiteY30" fmla="*/ 50243 h 78512"/>
                  <a:gd name="connsiteX31" fmla="*/ 74606 w 136841"/>
                  <a:gd name="connsiteY31" fmla="*/ 52409 h 78512"/>
                  <a:gd name="connsiteX32" fmla="*/ 71243 w 136841"/>
                  <a:gd name="connsiteY32" fmla="*/ 53435 h 78512"/>
                  <a:gd name="connsiteX33" fmla="*/ 59503 w 136841"/>
                  <a:gd name="connsiteY33" fmla="*/ 54518 h 78512"/>
                  <a:gd name="connsiteX34" fmla="*/ 60585 w 136841"/>
                  <a:gd name="connsiteY34" fmla="*/ 61984 h 78512"/>
                  <a:gd name="connsiteX35" fmla="*/ 60186 w 136841"/>
                  <a:gd name="connsiteY35" fmla="*/ 65290 h 78512"/>
                  <a:gd name="connsiteX36" fmla="*/ 53746 w 136841"/>
                  <a:gd name="connsiteY36" fmla="*/ 66031 h 78512"/>
                  <a:gd name="connsiteX37" fmla="*/ 50554 w 136841"/>
                  <a:gd name="connsiteY37" fmla="*/ 70419 h 78512"/>
                  <a:gd name="connsiteX38" fmla="*/ 51751 w 136841"/>
                  <a:gd name="connsiteY38" fmla="*/ 76176 h 7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6841" h="78512">
                    <a:moveTo>
                      <a:pt x="51751" y="76176"/>
                    </a:moveTo>
                    <a:cubicBezTo>
                      <a:pt x="50469" y="76882"/>
                      <a:pt x="49232" y="77657"/>
                      <a:pt x="48047" y="78512"/>
                    </a:cubicBezTo>
                    <a:cubicBezTo>
                      <a:pt x="47249" y="74010"/>
                      <a:pt x="46394" y="69450"/>
                      <a:pt x="45539" y="64948"/>
                    </a:cubicBezTo>
                    <a:lnTo>
                      <a:pt x="44741" y="64948"/>
                    </a:lnTo>
                    <a:cubicBezTo>
                      <a:pt x="45499" y="62691"/>
                      <a:pt x="45117" y="60206"/>
                      <a:pt x="43715" y="58279"/>
                    </a:cubicBezTo>
                    <a:cubicBezTo>
                      <a:pt x="42974" y="57367"/>
                      <a:pt x="41891" y="56797"/>
                      <a:pt x="41207" y="55829"/>
                    </a:cubicBezTo>
                    <a:cubicBezTo>
                      <a:pt x="40523" y="54860"/>
                      <a:pt x="39953" y="51497"/>
                      <a:pt x="38757" y="49673"/>
                    </a:cubicBezTo>
                    <a:cubicBezTo>
                      <a:pt x="36636" y="47433"/>
                      <a:pt x="33496" y="46481"/>
                      <a:pt x="30492" y="47165"/>
                    </a:cubicBezTo>
                    <a:cubicBezTo>
                      <a:pt x="27557" y="47912"/>
                      <a:pt x="24468" y="47792"/>
                      <a:pt x="21601" y="46823"/>
                    </a:cubicBezTo>
                    <a:cubicBezTo>
                      <a:pt x="19948" y="45968"/>
                      <a:pt x="18751" y="44486"/>
                      <a:pt x="17155" y="43518"/>
                    </a:cubicBezTo>
                    <a:cubicBezTo>
                      <a:pt x="15599" y="42366"/>
                      <a:pt x="13439" y="42537"/>
                      <a:pt x="12083" y="43917"/>
                    </a:cubicBezTo>
                    <a:cubicBezTo>
                      <a:pt x="7746" y="44122"/>
                      <a:pt x="3477" y="42811"/>
                      <a:pt x="0" y="40212"/>
                    </a:cubicBezTo>
                    <a:cubicBezTo>
                      <a:pt x="4258" y="39260"/>
                      <a:pt x="7347" y="35567"/>
                      <a:pt x="7523" y="31207"/>
                    </a:cubicBezTo>
                    <a:cubicBezTo>
                      <a:pt x="7523" y="28870"/>
                      <a:pt x="6725" y="26305"/>
                      <a:pt x="7922" y="24310"/>
                    </a:cubicBezTo>
                    <a:cubicBezTo>
                      <a:pt x="9119" y="22316"/>
                      <a:pt x="13109" y="21860"/>
                      <a:pt x="15674" y="20435"/>
                    </a:cubicBezTo>
                    <a:cubicBezTo>
                      <a:pt x="18900" y="18463"/>
                      <a:pt x="20068" y="14342"/>
                      <a:pt x="18352" y="10974"/>
                    </a:cubicBezTo>
                    <a:cubicBezTo>
                      <a:pt x="19458" y="10575"/>
                      <a:pt x="20524" y="10079"/>
                      <a:pt x="21544" y="9492"/>
                    </a:cubicBezTo>
                    <a:cubicBezTo>
                      <a:pt x="39731" y="9178"/>
                      <a:pt x="57816" y="6671"/>
                      <a:pt x="75404" y="2026"/>
                    </a:cubicBezTo>
                    <a:cubicBezTo>
                      <a:pt x="79684" y="521"/>
                      <a:pt x="84210" y="-157"/>
                      <a:pt x="88741" y="31"/>
                    </a:cubicBezTo>
                    <a:cubicBezTo>
                      <a:pt x="100596" y="1342"/>
                      <a:pt x="111539" y="14735"/>
                      <a:pt x="122026" y="9492"/>
                    </a:cubicBezTo>
                    <a:cubicBezTo>
                      <a:pt x="119062" y="13367"/>
                      <a:pt x="124591" y="18098"/>
                      <a:pt x="129150" y="19922"/>
                    </a:cubicBezTo>
                    <a:cubicBezTo>
                      <a:pt x="133710" y="21746"/>
                      <a:pt x="139067" y="26761"/>
                      <a:pt x="135875" y="30466"/>
                    </a:cubicBezTo>
                    <a:lnTo>
                      <a:pt x="122026" y="32005"/>
                    </a:lnTo>
                    <a:cubicBezTo>
                      <a:pt x="121598" y="33880"/>
                      <a:pt x="121353" y="35784"/>
                      <a:pt x="121285" y="37704"/>
                    </a:cubicBezTo>
                    <a:cubicBezTo>
                      <a:pt x="120270" y="37402"/>
                      <a:pt x="119244" y="37157"/>
                      <a:pt x="118207" y="36963"/>
                    </a:cubicBezTo>
                    <a:cubicBezTo>
                      <a:pt x="115756" y="36587"/>
                      <a:pt x="113277" y="36433"/>
                      <a:pt x="110798" y="36507"/>
                    </a:cubicBezTo>
                    <a:lnTo>
                      <a:pt x="94953" y="36507"/>
                    </a:lnTo>
                    <a:cubicBezTo>
                      <a:pt x="94195" y="36445"/>
                      <a:pt x="93437" y="36564"/>
                      <a:pt x="92730" y="36849"/>
                    </a:cubicBezTo>
                    <a:cubicBezTo>
                      <a:pt x="91420" y="37590"/>
                      <a:pt x="91078" y="39300"/>
                      <a:pt x="90679" y="40725"/>
                    </a:cubicBezTo>
                    <a:cubicBezTo>
                      <a:pt x="89430" y="45746"/>
                      <a:pt x="85122" y="49411"/>
                      <a:pt x="79964" y="49844"/>
                    </a:cubicBezTo>
                    <a:cubicBezTo>
                      <a:pt x="78864" y="49685"/>
                      <a:pt x="77741" y="49827"/>
                      <a:pt x="76715" y="50243"/>
                    </a:cubicBezTo>
                    <a:cubicBezTo>
                      <a:pt x="75860" y="50756"/>
                      <a:pt x="75404" y="51782"/>
                      <a:pt x="74606" y="52409"/>
                    </a:cubicBezTo>
                    <a:cubicBezTo>
                      <a:pt x="73609" y="53070"/>
                      <a:pt x="72440" y="53429"/>
                      <a:pt x="71243" y="53435"/>
                    </a:cubicBezTo>
                    <a:lnTo>
                      <a:pt x="59503" y="54518"/>
                    </a:lnTo>
                    <a:cubicBezTo>
                      <a:pt x="59902" y="57025"/>
                      <a:pt x="60243" y="59533"/>
                      <a:pt x="60585" y="61984"/>
                    </a:cubicBezTo>
                    <a:cubicBezTo>
                      <a:pt x="60899" y="63095"/>
                      <a:pt x="60756" y="64287"/>
                      <a:pt x="60186" y="65290"/>
                    </a:cubicBezTo>
                    <a:cubicBezTo>
                      <a:pt x="58762" y="66999"/>
                      <a:pt x="55912" y="65290"/>
                      <a:pt x="53746" y="66031"/>
                    </a:cubicBezTo>
                    <a:cubicBezTo>
                      <a:pt x="51854" y="66663"/>
                      <a:pt x="50572" y="68424"/>
                      <a:pt x="50554" y="70419"/>
                    </a:cubicBezTo>
                    <a:cubicBezTo>
                      <a:pt x="50543" y="72403"/>
                      <a:pt x="50948" y="74363"/>
                      <a:pt x="51751" y="76176"/>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32" name="Freihandform: Form 626">
                <a:extLst>
                  <a:ext uri="{FF2B5EF4-FFF2-40B4-BE49-F238E27FC236}">
                    <a16:creationId xmlns:a16="http://schemas.microsoft.com/office/drawing/2014/main" id="{A608F4D4-04B9-9551-9D14-E5A6E5F946DD}"/>
                  </a:ext>
                </a:extLst>
              </p:cNvPr>
              <p:cNvSpPr/>
              <p:nvPr/>
            </p:nvSpPr>
            <p:spPr>
              <a:xfrm>
                <a:off x="1851249" y="3909812"/>
                <a:ext cx="80173" cy="89922"/>
              </a:xfrm>
              <a:custGeom>
                <a:avLst/>
                <a:gdLst>
                  <a:gd name="connsiteX0" fmla="*/ 62181 w 80173"/>
                  <a:gd name="connsiteY0" fmla="*/ 89539 h 89922"/>
                  <a:gd name="connsiteX1" fmla="*/ 36705 w 80173"/>
                  <a:gd name="connsiteY1" fmla="*/ 88342 h 89922"/>
                  <a:gd name="connsiteX2" fmla="*/ 23767 w 80173"/>
                  <a:gd name="connsiteY2" fmla="*/ 75404 h 89922"/>
                  <a:gd name="connsiteX3" fmla="*/ 15731 w 80173"/>
                  <a:gd name="connsiteY3" fmla="*/ 59958 h 89922"/>
                  <a:gd name="connsiteX4" fmla="*/ 2394 w 80173"/>
                  <a:gd name="connsiteY4" fmla="*/ 54715 h 89922"/>
                  <a:gd name="connsiteX5" fmla="*/ 0 w 80173"/>
                  <a:gd name="connsiteY5" fmla="*/ 41834 h 89922"/>
                  <a:gd name="connsiteX6" fmla="*/ 3705 w 80173"/>
                  <a:gd name="connsiteY6" fmla="*/ 39497 h 89922"/>
                  <a:gd name="connsiteX7" fmla="*/ 2508 w 80173"/>
                  <a:gd name="connsiteY7" fmla="*/ 33798 h 89922"/>
                  <a:gd name="connsiteX8" fmla="*/ 5699 w 80173"/>
                  <a:gd name="connsiteY8" fmla="*/ 29409 h 89922"/>
                  <a:gd name="connsiteX9" fmla="*/ 12140 w 80173"/>
                  <a:gd name="connsiteY9" fmla="*/ 28668 h 89922"/>
                  <a:gd name="connsiteX10" fmla="*/ 12539 w 80173"/>
                  <a:gd name="connsiteY10" fmla="*/ 25363 h 89922"/>
                  <a:gd name="connsiteX11" fmla="*/ 11456 w 80173"/>
                  <a:gd name="connsiteY11" fmla="*/ 17896 h 89922"/>
                  <a:gd name="connsiteX12" fmla="*/ 23197 w 80173"/>
                  <a:gd name="connsiteY12" fmla="*/ 16813 h 89922"/>
                  <a:gd name="connsiteX13" fmla="*/ 26560 w 80173"/>
                  <a:gd name="connsiteY13" fmla="*/ 15788 h 89922"/>
                  <a:gd name="connsiteX14" fmla="*/ 28668 w 80173"/>
                  <a:gd name="connsiteY14" fmla="*/ 13622 h 89922"/>
                  <a:gd name="connsiteX15" fmla="*/ 31917 w 80173"/>
                  <a:gd name="connsiteY15" fmla="*/ 13223 h 89922"/>
                  <a:gd name="connsiteX16" fmla="*/ 42632 w 80173"/>
                  <a:gd name="connsiteY16" fmla="*/ 4104 h 89922"/>
                  <a:gd name="connsiteX17" fmla="*/ 44684 w 80173"/>
                  <a:gd name="connsiteY17" fmla="*/ 228 h 89922"/>
                  <a:gd name="connsiteX18" fmla="*/ 46907 w 80173"/>
                  <a:gd name="connsiteY18" fmla="*/ 57 h 89922"/>
                  <a:gd name="connsiteX19" fmla="*/ 62751 w 80173"/>
                  <a:gd name="connsiteY19" fmla="*/ 57 h 89922"/>
                  <a:gd name="connsiteX20" fmla="*/ 70161 w 80173"/>
                  <a:gd name="connsiteY20" fmla="*/ 513 h 89922"/>
                  <a:gd name="connsiteX21" fmla="*/ 73238 w 80173"/>
                  <a:gd name="connsiteY21" fmla="*/ 1254 h 89922"/>
                  <a:gd name="connsiteX22" fmla="*/ 79793 w 80173"/>
                  <a:gd name="connsiteY22" fmla="*/ 47477 h 89922"/>
                  <a:gd name="connsiteX23" fmla="*/ 77798 w 80173"/>
                  <a:gd name="connsiteY23" fmla="*/ 64575 h 89922"/>
                  <a:gd name="connsiteX24" fmla="*/ 79679 w 80173"/>
                  <a:gd name="connsiteY24" fmla="*/ 88741 h 89922"/>
                  <a:gd name="connsiteX25" fmla="*/ 74264 w 80173"/>
                  <a:gd name="connsiteY25" fmla="*/ 89767 h 89922"/>
                  <a:gd name="connsiteX26" fmla="*/ 62181 w 80173"/>
                  <a:gd name="connsiteY26" fmla="*/ 89539 h 8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0173" h="89922">
                    <a:moveTo>
                      <a:pt x="62181" y="89539"/>
                    </a:moveTo>
                    <a:lnTo>
                      <a:pt x="36705" y="88342"/>
                    </a:lnTo>
                    <a:cubicBezTo>
                      <a:pt x="37674" y="82243"/>
                      <a:pt x="29922" y="77912"/>
                      <a:pt x="23767" y="75404"/>
                    </a:cubicBezTo>
                    <a:cubicBezTo>
                      <a:pt x="17611" y="72896"/>
                      <a:pt x="10487" y="64575"/>
                      <a:pt x="15731" y="59958"/>
                    </a:cubicBezTo>
                    <a:lnTo>
                      <a:pt x="2394" y="54715"/>
                    </a:lnTo>
                    <a:lnTo>
                      <a:pt x="0" y="41834"/>
                    </a:lnTo>
                    <a:cubicBezTo>
                      <a:pt x="1186" y="40979"/>
                      <a:pt x="2422" y="40204"/>
                      <a:pt x="3705" y="39497"/>
                    </a:cubicBezTo>
                    <a:cubicBezTo>
                      <a:pt x="2907" y="37702"/>
                      <a:pt x="2502" y="35759"/>
                      <a:pt x="2508" y="33798"/>
                    </a:cubicBezTo>
                    <a:cubicBezTo>
                      <a:pt x="2525" y="31803"/>
                      <a:pt x="3807" y="30042"/>
                      <a:pt x="5699" y="29409"/>
                    </a:cubicBezTo>
                    <a:cubicBezTo>
                      <a:pt x="7865" y="28896"/>
                      <a:pt x="10715" y="30378"/>
                      <a:pt x="12140" y="28668"/>
                    </a:cubicBezTo>
                    <a:cubicBezTo>
                      <a:pt x="12710" y="27665"/>
                      <a:pt x="12852" y="26474"/>
                      <a:pt x="12539" y="25363"/>
                    </a:cubicBezTo>
                    <a:cubicBezTo>
                      <a:pt x="12197" y="22912"/>
                      <a:pt x="11855" y="20404"/>
                      <a:pt x="11456" y="17896"/>
                    </a:cubicBezTo>
                    <a:lnTo>
                      <a:pt x="23197" y="16813"/>
                    </a:lnTo>
                    <a:cubicBezTo>
                      <a:pt x="24394" y="16808"/>
                      <a:pt x="25562" y="16449"/>
                      <a:pt x="26560" y="15788"/>
                    </a:cubicBezTo>
                    <a:cubicBezTo>
                      <a:pt x="27358" y="15161"/>
                      <a:pt x="27813" y="14135"/>
                      <a:pt x="28668" y="13622"/>
                    </a:cubicBezTo>
                    <a:cubicBezTo>
                      <a:pt x="29694" y="13206"/>
                      <a:pt x="30817" y="13063"/>
                      <a:pt x="31917" y="13223"/>
                    </a:cubicBezTo>
                    <a:cubicBezTo>
                      <a:pt x="37075" y="12790"/>
                      <a:pt x="41384" y="9125"/>
                      <a:pt x="42632" y="4104"/>
                    </a:cubicBezTo>
                    <a:cubicBezTo>
                      <a:pt x="43031" y="2679"/>
                      <a:pt x="43373" y="969"/>
                      <a:pt x="44684" y="228"/>
                    </a:cubicBezTo>
                    <a:cubicBezTo>
                      <a:pt x="45402" y="0"/>
                      <a:pt x="46160" y="-57"/>
                      <a:pt x="46907" y="57"/>
                    </a:cubicBezTo>
                    <a:lnTo>
                      <a:pt x="62751" y="57"/>
                    </a:lnTo>
                    <a:cubicBezTo>
                      <a:pt x="65231" y="-17"/>
                      <a:pt x="67710" y="137"/>
                      <a:pt x="70161" y="513"/>
                    </a:cubicBezTo>
                    <a:cubicBezTo>
                      <a:pt x="71198" y="707"/>
                      <a:pt x="72224" y="952"/>
                      <a:pt x="73238" y="1254"/>
                    </a:cubicBezTo>
                    <a:cubicBezTo>
                      <a:pt x="72497" y="16529"/>
                      <a:pt x="82186" y="32031"/>
                      <a:pt x="79793" y="47477"/>
                    </a:cubicBezTo>
                    <a:cubicBezTo>
                      <a:pt x="78026" y="52994"/>
                      <a:pt x="77353" y="58801"/>
                      <a:pt x="77798" y="64575"/>
                    </a:cubicBezTo>
                    <a:cubicBezTo>
                      <a:pt x="75210" y="72560"/>
                      <a:pt x="75889" y="81252"/>
                      <a:pt x="79679" y="88741"/>
                    </a:cubicBezTo>
                    <a:cubicBezTo>
                      <a:pt x="77855" y="89140"/>
                      <a:pt x="76088" y="89539"/>
                      <a:pt x="74264" y="89767"/>
                    </a:cubicBezTo>
                    <a:cubicBezTo>
                      <a:pt x="70235" y="90034"/>
                      <a:pt x="66194" y="89955"/>
                      <a:pt x="62181" y="8953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33" name="Freihandform: Form 627">
                <a:extLst>
                  <a:ext uri="{FF2B5EF4-FFF2-40B4-BE49-F238E27FC236}">
                    <a16:creationId xmlns:a16="http://schemas.microsoft.com/office/drawing/2014/main" id="{A3210682-F131-9EEE-88C8-BCF399023E7D}"/>
                  </a:ext>
                </a:extLst>
              </p:cNvPr>
              <p:cNvSpPr/>
              <p:nvPr/>
            </p:nvSpPr>
            <p:spPr>
              <a:xfrm>
                <a:off x="1875596" y="3998040"/>
                <a:ext cx="83601" cy="60357"/>
              </a:xfrm>
              <a:custGeom>
                <a:avLst/>
                <a:gdLst>
                  <a:gd name="connsiteX0" fmla="*/ 64679 w 83601"/>
                  <a:gd name="connsiteY0" fmla="*/ 60357 h 60357"/>
                  <a:gd name="connsiteX1" fmla="*/ 63995 w 83601"/>
                  <a:gd name="connsiteY1" fmla="*/ 60357 h 60357"/>
                  <a:gd name="connsiteX2" fmla="*/ 55845 w 83601"/>
                  <a:gd name="connsiteY2" fmla="*/ 43544 h 60357"/>
                  <a:gd name="connsiteX3" fmla="*/ 40719 w 83601"/>
                  <a:gd name="connsiteY3" fmla="*/ 25300 h 60357"/>
                  <a:gd name="connsiteX4" fmla="*/ 40855 w 83601"/>
                  <a:gd name="connsiteY4" fmla="*/ 24223 h 60357"/>
                  <a:gd name="connsiteX5" fmla="*/ 14923 w 83601"/>
                  <a:gd name="connsiteY5" fmla="*/ 21658 h 60357"/>
                  <a:gd name="connsiteX6" fmla="*/ 3524 w 83601"/>
                  <a:gd name="connsiteY6" fmla="*/ 18409 h 60357"/>
                  <a:gd name="connsiteX7" fmla="*/ 1073 w 83601"/>
                  <a:gd name="connsiteY7" fmla="*/ 7979 h 60357"/>
                  <a:gd name="connsiteX8" fmla="*/ 12472 w 83601"/>
                  <a:gd name="connsiteY8" fmla="*/ 969 h 60357"/>
                  <a:gd name="connsiteX9" fmla="*/ 12472 w 83601"/>
                  <a:gd name="connsiteY9" fmla="*/ 0 h 60357"/>
                  <a:gd name="connsiteX10" fmla="*/ 37949 w 83601"/>
                  <a:gd name="connsiteY10" fmla="*/ 1197 h 60357"/>
                  <a:gd name="connsiteX11" fmla="*/ 50032 w 83601"/>
                  <a:gd name="connsiteY11" fmla="*/ 1197 h 60357"/>
                  <a:gd name="connsiteX12" fmla="*/ 55446 w 83601"/>
                  <a:gd name="connsiteY12" fmla="*/ 171 h 60357"/>
                  <a:gd name="connsiteX13" fmla="*/ 74140 w 83601"/>
                  <a:gd name="connsiteY13" fmla="*/ 26445 h 60357"/>
                  <a:gd name="connsiteX14" fmla="*/ 83602 w 83601"/>
                  <a:gd name="connsiteY14" fmla="*/ 36534 h 60357"/>
                  <a:gd name="connsiteX15" fmla="*/ 82063 w 83601"/>
                  <a:gd name="connsiteY15" fmla="*/ 38984 h 60357"/>
                  <a:gd name="connsiteX16" fmla="*/ 77446 w 83601"/>
                  <a:gd name="connsiteY16" fmla="*/ 41492 h 60357"/>
                  <a:gd name="connsiteX17" fmla="*/ 74425 w 83601"/>
                  <a:gd name="connsiteY17" fmla="*/ 55456 h 60357"/>
                  <a:gd name="connsiteX18" fmla="*/ 64679 w 83601"/>
                  <a:gd name="connsiteY18" fmla="*/ 60357 h 6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3601" h="60357">
                    <a:moveTo>
                      <a:pt x="64679" y="60357"/>
                    </a:moveTo>
                    <a:lnTo>
                      <a:pt x="63995" y="60357"/>
                    </a:lnTo>
                    <a:cubicBezTo>
                      <a:pt x="57555" y="56881"/>
                      <a:pt x="52596" y="49813"/>
                      <a:pt x="55845" y="43544"/>
                    </a:cubicBezTo>
                    <a:cubicBezTo>
                      <a:pt x="46629" y="42683"/>
                      <a:pt x="39858" y="34516"/>
                      <a:pt x="40719" y="25300"/>
                    </a:cubicBezTo>
                    <a:cubicBezTo>
                      <a:pt x="40753" y="24941"/>
                      <a:pt x="40799" y="24582"/>
                      <a:pt x="40855" y="24223"/>
                    </a:cubicBezTo>
                    <a:lnTo>
                      <a:pt x="14923" y="21658"/>
                    </a:lnTo>
                    <a:cubicBezTo>
                      <a:pt x="10899" y="21624"/>
                      <a:pt x="6961" y="20501"/>
                      <a:pt x="3524" y="18409"/>
                    </a:cubicBezTo>
                    <a:cubicBezTo>
                      <a:pt x="47" y="16147"/>
                      <a:pt x="-1030" y="11553"/>
                      <a:pt x="1073" y="7979"/>
                    </a:cubicBezTo>
                    <a:cubicBezTo>
                      <a:pt x="5633" y="7010"/>
                      <a:pt x="10876" y="5415"/>
                      <a:pt x="12472" y="969"/>
                    </a:cubicBezTo>
                    <a:cubicBezTo>
                      <a:pt x="12506" y="644"/>
                      <a:pt x="12506" y="325"/>
                      <a:pt x="12472" y="0"/>
                    </a:cubicBezTo>
                    <a:lnTo>
                      <a:pt x="37949" y="1197"/>
                    </a:lnTo>
                    <a:cubicBezTo>
                      <a:pt x="41967" y="1539"/>
                      <a:pt x="46013" y="1539"/>
                      <a:pt x="50032" y="1197"/>
                    </a:cubicBezTo>
                    <a:cubicBezTo>
                      <a:pt x="51856" y="1197"/>
                      <a:pt x="53622" y="570"/>
                      <a:pt x="55446" y="171"/>
                    </a:cubicBezTo>
                    <a:cubicBezTo>
                      <a:pt x="60348" y="9803"/>
                      <a:pt x="66646" y="18660"/>
                      <a:pt x="74140" y="26445"/>
                    </a:cubicBezTo>
                    <a:cubicBezTo>
                      <a:pt x="77161" y="29922"/>
                      <a:pt x="80296" y="33342"/>
                      <a:pt x="83602" y="36534"/>
                    </a:cubicBezTo>
                    <a:cubicBezTo>
                      <a:pt x="83339" y="37485"/>
                      <a:pt x="82804" y="38335"/>
                      <a:pt x="82063" y="38984"/>
                    </a:cubicBezTo>
                    <a:cubicBezTo>
                      <a:pt x="80752" y="40124"/>
                      <a:pt x="78814" y="40352"/>
                      <a:pt x="77446" y="41492"/>
                    </a:cubicBezTo>
                    <a:cubicBezTo>
                      <a:pt x="73627" y="44570"/>
                      <a:pt x="76648" y="51067"/>
                      <a:pt x="74425" y="55456"/>
                    </a:cubicBezTo>
                    <a:cubicBezTo>
                      <a:pt x="72146" y="58556"/>
                      <a:pt x="68526" y="60374"/>
                      <a:pt x="64679" y="6035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34" name="Freihandform: Form 628">
                <a:extLst>
                  <a:ext uri="{FF2B5EF4-FFF2-40B4-BE49-F238E27FC236}">
                    <a16:creationId xmlns:a16="http://schemas.microsoft.com/office/drawing/2014/main" id="{10EC4354-D8C2-F401-5954-B5B4EA247532}"/>
                  </a:ext>
                </a:extLst>
              </p:cNvPr>
              <p:cNvSpPr/>
              <p:nvPr/>
            </p:nvSpPr>
            <p:spPr>
              <a:xfrm>
                <a:off x="1939648" y="4029263"/>
                <a:ext cx="118093" cy="52461"/>
              </a:xfrm>
              <a:custGeom>
                <a:avLst/>
                <a:gdLst>
                  <a:gd name="connsiteX0" fmla="*/ 118093 w 118093"/>
                  <a:gd name="connsiteY0" fmla="*/ 23662 h 52461"/>
                  <a:gd name="connsiteX1" fmla="*/ 102875 w 118093"/>
                  <a:gd name="connsiteY1" fmla="*/ 25030 h 52461"/>
                  <a:gd name="connsiteX2" fmla="*/ 89197 w 118093"/>
                  <a:gd name="connsiteY2" fmla="*/ 13631 h 52461"/>
                  <a:gd name="connsiteX3" fmla="*/ 67995 w 118093"/>
                  <a:gd name="connsiteY3" fmla="*/ 25030 h 52461"/>
                  <a:gd name="connsiteX4" fmla="*/ 66798 w 118093"/>
                  <a:gd name="connsiteY4" fmla="*/ 51590 h 52461"/>
                  <a:gd name="connsiteX5" fmla="*/ 28782 w 118093"/>
                  <a:gd name="connsiteY5" fmla="*/ 34491 h 52461"/>
                  <a:gd name="connsiteX6" fmla="*/ 3876 w 118093"/>
                  <a:gd name="connsiteY6" fmla="*/ 30559 h 52461"/>
                  <a:gd name="connsiteX7" fmla="*/ 0 w 118093"/>
                  <a:gd name="connsiteY7" fmla="*/ 28963 h 52461"/>
                  <a:gd name="connsiteX8" fmla="*/ 684 w 118093"/>
                  <a:gd name="connsiteY8" fmla="*/ 28963 h 52461"/>
                  <a:gd name="connsiteX9" fmla="*/ 10316 w 118093"/>
                  <a:gd name="connsiteY9" fmla="*/ 24118 h 52461"/>
                  <a:gd name="connsiteX10" fmla="*/ 13337 w 118093"/>
                  <a:gd name="connsiteY10" fmla="*/ 10155 h 52461"/>
                  <a:gd name="connsiteX11" fmla="*/ 17953 w 118093"/>
                  <a:gd name="connsiteY11" fmla="*/ 7647 h 52461"/>
                  <a:gd name="connsiteX12" fmla="*/ 19492 w 118093"/>
                  <a:gd name="connsiteY12" fmla="*/ 5196 h 52461"/>
                  <a:gd name="connsiteX13" fmla="*/ 33855 w 118093"/>
                  <a:gd name="connsiteY13" fmla="*/ 16082 h 52461"/>
                  <a:gd name="connsiteX14" fmla="*/ 64176 w 118093"/>
                  <a:gd name="connsiteY14" fmla="*/ 15398 h 52461"/>
                  <a:gd name="connsiteX15" fmla="*/ 83212 w 118093"/>
                  <a:gd name="connsiteY15" fmla="*/ 10 h 52461"/>
                  <a:gd name="connsiteX16" fmla="*/ 99912 w 118093"/>
                  <a:gd name="connsiteY16" fmla="*/ 6735 h 52461"/>
                  <a:gd name="connsiteX17" fmla="*/ 118093 w 118093"/>
                  <a:gd name="connsiteY17" fmla="*/ 23662 h 5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093" h="52461">
                    <a:moveTo>
                      <a:pt x="118093" y="23662"/>
                    </a:moveTo>
                    <a:cubicBezTo>
                      <a:pt x="116041" y="29362"/>
                      <a:pt x="107606" y="28621"/>
                      <a:pt x="102875" y="25030"/>
                    </a:cubicBezTo>
                    <a:cubicBezTo>
                      <a:pt x="98145" y="21439"/>
                      <a:pt x="94725" y="15911"/>
                      <a:pt x="89197" y="13631"/>
                    </a:cubicBezTo>
                    <a:cubicBezTo>
                      <a:pt x="80876" y="10497"/>
                      <a:pt x="71414" y="16937"/>
                      <a:pt x="67995" y="25030"/>
                    </a:cubicBezTo>
                    <a:cubicBezTo>
                      <a:pt x="65305" y="33631"/>
                      <a:pt x="64889" y="42784"/>
                      <a:pt x="66798" y="51590"/>
                    </a:cubicBezTo>
                    <a:cubicBezTo>
                      <a:pt x="53233" y="56434"/>
                      <a:pt x="42233" y="39735"/>
                      <a:pt x="28782" y="34491"/>
                    </a:cubicBezTo>
                    <a:cubicBezTo>
                      <a:pt x="20860" y="31585"/>
                      <a:pt x="12026" y="32782"/>
                      <a:pt x="3876" y="30559"/>
                    </a:cubicBezTo>
                    <a:cubicBezTo>
                      <a:pt x="2525" y="30182"/>
                      <a:pt x="1225" y="29647"/>
                      <a:pt x="0" y="28963"/>
                    </a:cubicBezTo>
                    <a:lnTo>
                      <a:pt x="684" y="28963"/>
                    </a:lnTo>
                    <a:cubicBezTo>
                      <a:pt x="4480" y="28957"/>
                      <a:pt x="8048" y="27162"/>
                      <a:pt x="10316" y="24118"/>
                    </a:cubicBezTo>
                    <a:cubicBezTo>
                      <a:pt x="12539" y="19730"/>
                      <a:pt x="9518" y="13232"/>
                      <a:pt x="13337" y="10155"/>
                    </a:cubicBezTo>
                    <a:cubicBezTo>
                      <a:pt x="14705" y="9015"/>
                      <a:pt x="16643" y="8787"/>
                      <a:pt x="17953" y="7647"/>
                    </a:cubicBezTo>
                    <a:cubicBezTo>
                      <a:pt x="18694" y="6997"/>
                      <a:pt x="19230" y="6148"/>
                      <a:pt x="19492" y="5196"/>
                    </a:cubicBezTo>
                    <a:cubicBezTo>
                      <a:pt x="23693" y="9539"/>
                      <a:pt x="28537" y="13209"/>
                      <a:pt x="33855" y="16082"/>
                    </a:cubicBezTo>
                    <a:cubicBezTo>
                      <a:pt x="43305" y="21497"/>
                      <a:pt x="54977" y="21234"/>
                      <a:pt x="64176" y="15398"/>
                    </a:cubicBezTo>
                    <a:cubicBezTo>
                      <a:pt x="70788" y="10382"/>
                      <a:pt x="75005" y="1320"/>
                      <a:pt x="83212" y="10"/>
                    </a:cubicBezTo>
                    <a:cubicBezTo>
                      <a:pt x="89470" y="-173"/>
                      <a:pt x="95529" y="2261"/>
                      <a:pt x="99912" y="6735"/>
                    </a:cubicBezTo>
                    <a:cubicBezTo>
                      <a:pt x="106335" y="11973"/>
                      <a:pt x="112411" y="17626"/>
                      <a:pt x="118093" y="2366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5" name="Freihandform: Form 629">
                <a:extLst>
                  <a:ext uri="{FF2B5EF4-FFF2-40B4-BE49-F238E27FC236}">
                    <a16:creationId xmlns:a16="http://schemas.microsoft.com/office/drawing/2014/main" id="{AEA66611-ACE9-12FB-566B-4048E85203B7}"/>
                  </a:ext>
                </a:extLst>
              </p:cNvPr>
              <p:cNvSpPr/>
              <p:nvPr/>
            </p:nvSpPr>
            <p:spPr>
              <a:xfrm>
                <a:off x="2188371" y="3780491"/>
                <a:ext cx="77191" cy="49680"/>
              </a:xfrm>
              <a:custGeom>
                <a:avLst/>
                <a:gdLst>
                  <a:gd name="connsiteX0" fmla="*/ 72043 w 77191"/>
                  <a:gd name="connsiteY0" fmla="*/ 32487 h 49680"/>
                  <a:gd name="connsiteX1" fmla="*/ 59960 w 77191"/>
                  <a:gd name="connsiteY1" fmla="*/ 33285 h 49680"/>
                  <a:gd name="connsiteX2" fmla="*/ 20520 w 77191"/>
                  <a:gd name="connsiteY2" fmla="*/ 38985 h 49680"/>
                  <a:gd name="connsiteX3" fmla="*/ 19095 w 77191"/>
                  <a:gd name="connsiteY3" fmla="*/ 48959 h 49680"/>
                  <a:gd name="connsiteX4" fmla="*/ 1997 w 77191"/>
                  <a:gd name="connsiteY4" fmla="*/ 48560 h 49680"/>
                  <a:gd name="connsiteX5" fmla="*/ 1085 w 77191"/>
                  <a:gd name="connsiteY5" fmla="*/ 33741 h 49680"/>
                  <a:gd name="connsiteX6" fmla="*/ 2453 w 77191"/>
                  <a:gd name="connsiteY6" fmla="*/ 26959 h 49680"/>
                  <a:gd name="connsiteX7" fmla="*/ 1028 w 77191"/>
                  <a:gd name="connsiteY7" fmla="*/ 12938 h 49680"/>
                  <a:gd name="connsiteX8" fmla="*/ 4561 w 77191"/>
                  <a:gd name="connsiteY8" fmla="*/ 9974 h 49680"/>
                  <a:gd name="connsiteX9" fmla="*/ 7354 w 77191"/>
                  <a:gd name="connsiteY9" fmla="*/ 0 h 49680"/>
                  <a:gd name="connsiteX10" fmla="*/ 10945 w 77191"/>
                  <a:gd name="connsiteY10" fmla="*/ 0 h 49680"/>
                  <a:gd name="connsiteX11" fmla="*/ 37846 w 77191"/>
                  <a:gd name="connsiteY11" fmla="*/ 1710 h 49680"/>
                  <a:gd name="connsiteX12" fmla="*/ 43546 w 77191"/>
                  <a:gd name="connsiteY12" fmla="*/ 2850 h 49680"/>
                  <a:gd name="connsiteX13" fmla="*/ 48561 w 77191"/>
                  <a:gd name="connsiteY13" fmla="*/ 7580 h 49680"/>
                  <a:gd name="connsiteX14" fmla="*/ 56028 w 77191"/>
                  <a:gd name="connsiteY14" fmla="*/ 12197 h 49680"/>
                  <a:gd name="connsiteX15" fmla="*/ 76318 w 77191"/>
                  <a:gd name="connsiteY15" fmla="*/ 22114 h 49680"/>
                  <a:gd name="connsiteX16" fmla="*/ 73394 w 77191"/>
                  <a:gd name="connsiteY16" fmla="*/ 31923 h 49680"/>
                  <a:gd name="connsiteX17" fmla="*/ 72043 w 77191"/>
                  <a:gd name="connsiteY17" fmla="*/ 32487 h 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91" h="49680">
                    <a:moveTo>
                      <a:pt x="72043" y="32487"/>
                    </a:moveTo>
                    <a:cubicBezTo>
                      <a:pt x="68139" y="33724"/>
                      <a:pt x="63996" y="33998"/>
                      <a:pt x="59960" y="33285"/>
                    </a:cubicBezTo>
                    <a:cubicBezTo>
                      <a:pt x="46550" y="32168"/>
                      <a:pt x="33065" y="34117"/>
                      <a:pt x="20520" y="38985"/>
                    </a:cubicBezTo>
                    <a:cubicBezTo>
                      <a:pt x="21198" y="42376"/>
                      <a:pt x="20691" y="45892"/>
                      <a:pt x="19095" y="48959"/>
                    </a:cubicBezTo>
                    <a:cubicBezTo>
                      <a:pt x="13430" y="50041"/>
                      <a:pt x="7605" y="49905"/>
                      <a:pt x="1997" y="48560"/>
                    </a:cubicBezTo>
                    <a:cubicBezTo>
                      <a:pt x="503" y="43766"/>
                      <a:pt x="196" y="38682"/>
                      <a:pt x="1085" y="33741"/>
                    </a:cubicBezTo>
                    <a:cubicBezTo>
                      <a:pt x="1814" y="31547"/>
                      <a:pt x="2276" y="29267"/>
                      <a:pt x="2453" y="26959"/>
                    </a:cubicBezTo>
                    <a:cubicBezTo>
                      <a:pt x="2453" y="22057"/>
                      <a:pt x="-1936" y="16814"/>
                      <a:pt x="1028" y="12938"/>
                    </a:cubicBezTo>
                    <a:cubicBezTo>
                      <a:pt x="2099" y="11832"/>
                      <a:pt x="3285" y="10835"/>
                      <a:pt x="4561" y="9974"/>
                    </a:cubicBezTo>
                    <a:cubicBezTo>
                      <a:pt x="6881" y="7204"/>
                      <a:pt x="7896" y="3574"/>
                      <a:pt x="7354" y="0"/>
                    </a:cubicBezTo>
                    <a:lnTo>
                      <a:pt x="10945" y="0"/>
                    </a:lnTo>
                    <a:lnTo>
                      <a:pt x="37846" y="1710"/>
                    </a:lnTo>
                    <a:cubicBezTo>
                      <a:pt x="39807" y="1653"/>
                      <a:pt x="41756" y="2046"/>
                      <a:pt x="43546" y="2850"/>
                    </a:cubicBezTo>
                    <a:cubicBezTo>
                      <a:pt x="45432" y="4183"/>
                      <a:pt x="47119" y="5774"/>
                      <a:pt x="48561" y="7580"/>
                    </a:cubicBezTo>
                    <a:cubicBezTo>
                      <a:pt x="50784" y="9512"/>
                      <a:pt x="53303" y="11074"/>
                      <a:pt x="56028" y="12197"/>
                    </a:cubicBezTo>
                    <a:lnTo>
                      <a:pt x="76318" y="22114"/>
                    </a:lnTo>
                    <a:cubicBezTo>
                      <a:pt x="78222" y="25631"/>
                      <a:pt x="76911" y="30025"/>
                      <a:pt x="73394" y="31923"/>
                    </a:cubicBezTo>
                    <a:cubicBezTo>
                      <a:pt x="72966" y="32156"/>
                      <a:pt x="72511" y="32345"/>
                      <a:pt x="72043" y="3248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36" name="Freihandform: Form 630">
                <a:extLst>
                  <a:ext uri="{FF2B5EF4-FFF2-40B4-BE49-F238E27FC236}">
                    <a16:creationId xmlns:a16="http://schemas.microsoft.com/office/drawing/2014/main" id="{A393B93D-D0D1-62E5-F201-C8F4EC0D6588}"/>
                  </a:ext>
                </a:extLst>
              </p:cNvPr>
              <p:cNvSpPr/>
              <p:nvPr/>
            </p:nvSpPr>
            <p:spPr>
              <a:xfrm>
                <a:off x="2135081" y="3771679"/>
                <a:ext cx="60559" cy="58396"/>
              </a:xfrm>
              <a:custGeom>
                <a:avLst/>
                <a:gdLst>
                  <a:gd name="connsiteX0" fmla="*/ 55173 w 60559"/>
                  <a:gd name="connsiteY0" fmla="*/ 57656 h 58396"/>
                  <a:gd name="connsiteX1" fmla="*/ 47536 w 60559"/>
                  <a:gd name="connsiteY1" fmla="*/ 51956 h 58396"/>
                  <a:gd name="connsiteX2" fmla="*/ 32489 w 60559"/>
                  <a:gd name="connsiteY2" fmla="*/ 49734 h 58396"/>
                  <a:gd name="connsiteX3" fmla="*/ 27701 w 60559"/>
                  <a:gd name="connsiteY3" fmla="*/ 49734 h 58396"/>
                  <a:gd name="connsiteX4" fmla="*/ 22002 w 60559"/>
                  <a:gd name="connsiteY4" fmla="*/ 54692 h 58396"/>
                  <a:gd name="connsiteX5" fmla="*/ 3707 w 60559"/>
                  <a:gd name="connsiteY5" fmla="*/ 54521 h 58396"/>
                  <a:gd name="connsiteX6" fmla="*/ 401 w 60559"/>
                  <a:gd name="connsiteY6" fmla="*/ 42267 h 58396"/>
                  <a:gd name="connsiteX7" fmla="*/ 37390 w 60559"/>
                  <a:gd name="connsiteY7" fmla="*/ 41526 h 58396"/>
                  <a:gd name="connsiteX8" fmla="*/ 41893 w 60559"/>
                  <a:gd name="connsiteY8" fmla="*/ 40273 h 58396"/>
                  <a:gd name="connsiteX9" fmla="*/ 39784 w 60559"/>
                  <a:gd name="connsiteY9" fmla="*/ 32692 h 58396"/>
                  <a:gd name="connsiteX10" fmla="*/ 33401 w 60559"/>
                  <a:gd name="connsiteY10" fmla="*/ 26708 h 58396"/>
                  <a:gd name="connsiteX11" fmla="*/ 32774 w 60559"/>
                  <a:gd name="connsiteY11" fmla="*/ 22832 h 58396"/>
                  <a:gd name="connsiteX12" fmla="*/ 23598 w 60559"/>
                  <a:gd name="connsiteY12" fmla="*/ 5734 h 58396"/>
                  <a:gd name="connsiteX13" fmla="*/ 34997 w 60559"/>
                  <a:gd name="connsiteY13" fmla="*/ 319 h 58396"/>
                  <a:gd name="connsiteX14" fmla="*/ 47820 w 60559"/>
                  <a:gd name="connsiteY14" fmla="*/ 6361 h 58396"/>
                  <a:gd name="connsiteX15" fmla="*/ 60416 w 60559"/>
                  <a:gd name="connsiteY15" fmla="*/ 8982 h 58396"/>
                  <a:gd name="connsiteX16" fmla="*/ 57624 w 60559"/>
                  <a:gd name="connsiteY16" fmla="*/ 18956 h 58396"/>
                  <a:gd name="connsiteX17" fmla="*/ 54090 w 60559"/>
                  <a:gd name="connsiteY17" fmla="*/ 21920 h 58396"/>
                  <a:gd name="connsiteX18" fmla="*/ 55515 w 60559"/>
                  <a:gd name="connsiteY18" fmla="*/ 35941 h 58396"/>
                  <a:gd name="connsiteX19" fmla="*/ 54147 w 60559"/>
                  <a:gd name="connsiteY19" fmla="*/ 42723 h 58396"/>
                  <a:gd name="connsiteX20" fmla="*/ 55173 w 60559"/>
                  <a:gd name="connsiteY20" fmla="*/ 57656 h 5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9" h="58396">
                    <a:moveTo>
                      <a:pt x="55173" y="57656"/>
                    </a:moveTo>
                    <a:cubicBezTo>
                      <a:pt x="52004" y="56784"/>
                      <a:pt x="49274" y="54749"/>
                      <a:pt x="47536" y="51956"/>
                    </a:cubicBezTo>
                    <a:lnTo>
                      <a:pt x="32489" y="49734"/>
                    </a:lnTo>
                    <a:cubicBezTo>
                      <a:pt x="30916" y="49363"/>
                      <a:pt x="29274" y="49363"/>
                      <a:pt x="27701" y="49734"/>
                    </a:cubicBezTo>
                    <a:cubicBezTo>
                      <a:pt x="25308" y="50532"/>
                      <a:pt x="23883" y="52925"/>
                      <a:pt x="22002" y="54692"/>
                    </a:cubicBezTo>
                    <a:cubicBezTo>
                      <a:pt x="16901" y="59696"/>
                      <a:pt x="8711" y="59622"/>
                      <a:pt x="3707" y="54521"/>
                    </a:cubicBezTo>
                    <a:cubicBezTo>
                      <a:pt x="538" y="51295"/>
                      <a:pt x="-716" y="46650"/>
                      <a:pt x="401" y="42267"/>
                    </a:cubicBezTo>
                    <a:lnTo>
                      <a:pt x="37390" y="41526"/>
                    </a:lnTo>
                    <a:cubicBezTo>
                      <a:pt x="38998" y="41686"/>
                      <a:pt x="40605" y="41241"/>
                      <a:pt x="41893" y="40273"/>
                    </a:cubicBezTo>
                    <a:cubicBezTo>
                      <a:pt x="43945" y="38164"/>
                      <a:pt x="41893" y="34573"/>
                      <a:pt x="39784" y="32692"/>
                    </a:cubicBezTo>
                    <a:cubicBezTo>
                      <a:pt x="37675" y="30811"/>
                      <a:pt x="34370" y="29501"/>
                      <a:pt x="33401" y="26708"/>
                    </a:cubicBezTo>
                    <a:cubicBezTo>
                      <a:pt x="33076" y="25437"/>
                      <a:pt x="32865" y="24143"/>
                      <a:pt x="32774" y="22832"/>
                    </a:cubicBezTo>
                    <a:cubicBezTo>
                      <a:pt x="31463" y="16278"/>
                      <a:pt x="22344" y="12288"/>
                      <a:pt x="23598" y="5734"/>
                    </a:cubicBezTo>
                    <a:cubicBezTo>
                      <a:pt x="24453" y="1117"/>
                      <a:pt x="30437" y="-821"/>
                      <a:pt x="34997" y="319"/>
                    </a:cubicBezTo>
                    <a:cubicBezTo>
                      <a:pt x="39419" y="2006"/>
                      <a:pt x="43706" y="4024"/>
                      <a:pt x="47820" y="6361"/>
                    </a:cubicBezTo>
                    <a:cubicBezTo>
                      <a:pt x="51856" y="7900"/>
                      <a:pt x="56108" y="8783"/>
                      <a:pt x="60416" y="8982"/>
                    </a:cubicBezTo>
                    <a:cubicBezTo>
                      <a:pt x="60958" y="12556"/>
                      <a:pt x="59943" y="16187"/>
                      <a:pt x="57624" y="18956"/>
                    </a:cubicBezTo>
                    <a:cubicBezTo>
                      <a:pt x="56347" y="19817"/>
                      <a:pt x="55161" y="20815"/>
                      <a:pt x="54090" y="21920"/>
                    </a:cubicBezTo>
                    <a:cubicBezTo>
                      <a:pt x="51126" y="25796"/>
                      <a:pt x="55344" y="31039"/>
                      <a:pt x="55515" y="35941"/>
                    </a:cubicBezTo>
                    <a:cubicBezTo>
                      <a:pt x="55338" y="38249"/>
                      <a:pt x="54876" y="40529"/>
                      <a:pt x="54147" y="42723"/>
                    </a:cubicBezTo>
                    <a:cubicBezTo>
                      <a:pt x="53275" y="47710"/>
                      <a:pt x="53628" y="52834"/>
                      <a:pt x="55173" y="5765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7" name="Freihandform: Form 631">
                <a:extLst>
                  <a:ext uri="{FF2B5EF4-FFF2-40B4-BE49-F238E27FC236}">
                    <a16:creationId xmlns:a16="http://schemas.microsoft.com/office/drawing/2014/main" id="{F28D64C3-3447-00EE-0849-E54386353506}"/>
                  </a:ext>
                </a:extLst>
              </p:cNvPr>
              <p:cNvSpPr/>
              <p:nvPr/>
            </p:nvSpPr>
            <p:spPr>
              <a:xfrm>
                <a:off x="2036769" y="3988556"/>
                <a:ext cx="256438" cy="340854"/>
              </a:xfrm>
              <a:custGeom>
                <a:avLst/>
                <a:gdLst>
                  <a:gd name="connsiteX0" fmla="*/ 28324 w 256438"/>
                  <a:gd name="connsiteY0" fmla="*/ 250229 h 340854"/>
                  <a:gd name="connsiteX1" fmla="*/ 4444 w 256438"/>
                  <a:gd name="connsiteY1" fmla="*/ 240141 h 340854"/>
                  <a:gd name="connsiteX2" fmla="*/ 5014 w 256438"/>
                  <a:gd name="connsiteY2" fmla="*/ 236436 h 340854"/>
                  <a:gd name="connsiteX3" fmla="*/ 910 w 256438"/>
                  <a:gd name="connsiteY3" fmla="*/ 231592 h 340854"/>
                  <a:gd name="connsiteX4" fmla="*/ 8832 w 256438"/>
                  <a:gd name="connsiteY4" fmla="*/ 208053 h 340854"/>
                  <a:gd name="connsiteX5" fmla="*/ 26501 w 256438"/>
                  <a:gd name="connsiteY5" fmla="*/ 197566 h 340854"/>
                  <a:gd name="connsiteX6" fmla="*/ 28552 w 256438"/>
                  <a:gd name="connsiteY6" fmla="*/ 192550 h 340854"/>
                  <a:gd name="connsiteX7" fmla="*/ 40236 w 256438"/>
                  <a:gd name="connsiteY7" fmla="*/ 188048 h 340854"/>
                  <a:gd name="connsiteX8" fmla="*/ 43314 w 256438"/>
                  <a:gd name="connsiteY8" fmla="*/ 174483 h 340854"/>
                  <a:gd name="connsiteX9" fmla="*/ 32998 w 256438"/>
                  <a:gd name="connsiteY9" fmla="*/ 167530 h 340854"/>
                  <a:gd name="connsiteX10" fmla="*/ 32485 w 256438"/>
                  <a:gd name="connsiteY10" fmla="*/ 156131 h 340854"/>
                  <a:gd name="connsiteX11" fmla="*/ 35107 w 256438"/>
                  <a:gd name="connsiteY11" fmla="*/ 153680 h 340854"/>
                  <a:gd name="connsiteX12" fmla="*/ 33454 w 256438"/>
                  <a:gd name="connsiteY12" fmla="*/ 132934 h 340854"/>
                  <a:gd name="connsiteX13" fmla="*/ 35050 w 256438"/>
                  <a:gd name="connsiteY13" fmla="*/ 121250 h 340854"/>
                  <a:gd name="connsiteX14" fmla="*/ 29065 w 256438"/>
                  <a:gd name="connsiteY14" fmla="*/ 105178 h 340854"/>
                  <a:gd name="connsiteX15" fmla="*/ 11511 w 256438"/>
                  <a:gd name="connsiteY15" fmla="*/ 88079 h 340854"/>
                  <a:gd name="connsiteX16" fmla="*/ 10542 w 256438"/>
                  <a:gd name="connsiteY16" fmla="*/ 84830 h 340854"/>
                  <a:gd name="connsiteX17" fmla="*/ 7863 w 256438"/>
                  <a:gd name="connsiteY17" fmla="*/ 82665 h 340854"/>
                  <a:gd name="connsiteX18" fmla="*/ 3589 w 256438"/>
                  <a:gd name="connsiteY18" fmla="*/ 76281 h 340854"/>
                  <a:gd name="connsiteX19" fmla="*/ 13506 w 256438"/>
                  <a:gd name="connsiteY19" fmla="*/ 70582 h 340854"/>
                  <a:gd name="connsiteX20" fmla="*/ 22739 w 256438"/>
                  <a:gd name="connsiteY20" fmla="*/ 64198 h 340854"/>
                  <a:gd name="connsiteX21" fmla="*/ 30348 w 256438"/>
                  <a:gd name="connsiteY21" fmla="*/ 66849 h 340854"/>
                  <a:gd name="connsiteX22" fmla="*/ 30889 w 256438"/>
                  <a:gd name="connsiteY22" fmla="*/ 69898 h 340854"/>
                  <a:gd name="connsiteX23" fmla="*/ 35392 w 256438"/>
                  <a:gd name="connsiteY23" fmla="*/ 70468 h 340854"/>
                  <a:gd name="connsiteX24" fmla="*/ 32599 w 256438"/>
                  <a:gd name="connsiteY24" fmla="*/ 77877 h 340854"/>
                  <a:gd name="connsiteX25" fmla="*/ 43656 w 256438"/>
                  <a:gd name="connsiteY25" fmla="*/ 74856 h 340854"/>
                  <a:gd name="connsiteX26" fmla="*/ 44055 w 256438"/>
                  <a:gd name="connsiteY26" fmla="*/ 67276 h 340854"/>
                  <a:gd name="connsiteX27" fmla="*/ 54713 w 256438"/>
                  <a:gd name="connsiteY27" fmla="*/ 64141 h 340854"/>
                  <a:gd name="connsiteX28" fmla="*/ 56024 w 256438"/>
                  <a:gd name="connsiteY28" fmla="*/ 55022 h 340854"/>
                  <a:gd name="connsiteX29" fmla="*/ 65086 w 256438"/>
                  <a:gd name="connsiteY29" fmla="*/ 52001 h 340854"/>
                  <a:gd name="connsiteX30" fmla="*/ 69190 w 256438"/>
                  <a:gd name="connsiteY30" fmla="*/ 45675 h 340854"/>
                  <a:gd name="connsiteX31" fmla="*/ 73407 w 256438"/>
                  <a:gd name="connsiteY31" fmla="*/ 44592 h 340854"/>
                  <a:gd name="connsiteX32" fmla="*/ 75003 w 256438"/>
                  <a:gd name="connsiteY32" fmla="*/ 39919 h 340854"/>
                  <a:gd name="connsiteX33" fmla="*/ 84863 w 256438"/>
                  <a:gd name="connsiteY33" fmla="*/ 32623 h 340854"/>
                  <a:gd name="connsiteX34" fmla="*/ 88910 w 256438"/>
                  <a:gd name="connsiteY34" fmla="*/ 32167 h 340854"/>
                  <a:gd name="connsiteX35" fmla="*/ 92329 w 256438"/>
                  <a:gd name="connsiteY35" fmla="*/ 23447 h 340854"/>
                  <a:gd name="connsiteX36" fmla="*/ 104583 w 256438"/>
                  <a:gd name="connsiteY36" fmla="*/ 16893 h 340854"/>
                  <a:gd name="connsiteX37" fmla="*/ 118832 w 256438"/>
                  <a:gd name="connsiteY37" fmla="*/ 13986 h 340854"/>
                  <a:gd name="connsiteX38" fmla="*/ 123449 w 256438"/>
                  <a:gd name="connsiteY38" fmla="*/ 9027 h 340854"/>
                  <a:gd name="connsiteX39" fmla="*/ 141744 w 256438"/>
                  <a:gd name="connsiteY39" fmla="*/ 79 h 340854"/>
                  <a:gd name="connsiteX40" fmla="*/ 150464 w 256438"/>
                  <a:gd name="connsiteY40" fmla="*/ 1789 h 340854"/>
                  <a:gd name="connsiteX41" fmla="*/ 138780 w 256438"/>
                  <a:gd name="connsiteY41" fmla="*/ 8458 h 340854"/>
                  <a:gd name="connsiteX42" fmla="*/ 136273 w 256438"/>
                  <a:gd name="connsiteY42" fmla="*/ 15411 h 340854"/>
                  <a:gd name="connsiteX43" fmla="*/ 130573 w 256438"/>
                  <a:gd name="connsiteY43" fmla="*/ 17235 h 340854"/>
                  <a:gd name="connsiteX44" fmla="*/ 125329 w 256438"/>
                  <a:gd name="connsiteY44" fmla="*/ 28235 h 340854"/>
                  <a:gd name="connsiteX45" fmla="*/ 126412 w 256438"/>
                  <a:gd name="connsiteY45" fmla="*/ 41286 h 340854"/>
                  <a:gd name="connsiteX46" fmla="*/ 117179 w 256438"/>
                  <a:gd name="connsiteY46" fmla="*/ 48012 h 340854"/>
                  <a:gd name="connsiteX47" fmla="*/ 125443 w 256438"/>
                  <a:gd name="connsiteY47" fmla="*/ 56960 h 340854"/>
                  <a:gd name="connsiteX48" fmla="*/ 137640 w 256438"/>
                  <a:gd name="connsiteY48" fmla="*/ 62659 h 340854"/>
                  <a:gd name="connsiteX49" fmla="*/ 139008 w 256438"/>
                  <a:gd name="connsiteY49" fmla="*/ 69955 h 340854"/>
                  <a:gd name="connsiteX50" fmla="*/ 143055 w 256438"/>
                  <a:gd name="connsiteY50" fmla="*/ 76566 h 340854"/>
                  <a:gd name="connsiteX51" fmla="*/ 142257 w 256438"/>
                  <a:gd name="connsiteY51" fmla="*/ 91442 h 340854"/>
                  <a:gd name="connsiteX52" fmla="*/ 151946 w 256438"/>
                  <a:gd name="connsiteY52" fmla="*/ 107742 h 340854"/>
                  <a:gd name="connsiteX53" fmla="*/ 172008 w 256438"/>
                  <a:gd name="connsiteY53" fmla="*/ 105975 h 340854"/>
                  <a:gd name="connsiteX54" fmla="*/ 191329 w 256438"/>
                  <a:gd name="connsiteY54" fmla="*/ 107685 h 340854"/>
                  <a:gd name="connsiteX55" fmla="*/ 193381 w 256438"/>
                  <a:gd name="connsiteY55" fmla="*/ 111789 h 340854"/>
                  <a:gd name="connsiteX56" fmla="*/ 204780 w 256438"/>
                  <a:gd name="connsiteY56" fmla="*/ 117773 h 340854"/>
                  <a:gd name="connsiteX57" fmla="*/ 211278 w 256438"/>
                  <a:gd name="connsiteY57" fmla="*/ 127348 h 340854"/>
                  <a:gd name="connsiteX58" fmla="*/ 245474 w 256438"/>
                  <a:gd name="connsiteY58" fmla="*/ 123815 h 340854"/>
                  <a:gd name="connsiteX59" fmla="*/ 248723 w 256438"/>
                  <a:gd name="connsiteY59" fmla="*/ 124214 h 340854"/>
                  <a:gd name="connsiteX60" fmla="*/ 250091 w 256438"/>
                  <a:gd name="connsiteY60" fmla="*/ 127634 h 340854"/>
                  <a:gd name="connsiteX61" fmla="*/ 241941 w 256438"/>
                  <a:gd name="connsiteY61" fmla="*/ 147069 h 340854"/>
                  <a:gd name="connsiteX62" fmla="*/ 248837 w 256438"/>
                  <a:gd name="connsiteY62" fmla="*/ 175566 h 340854"/>
                  <a:gd name="connsiteX63" fmla="*/ 255050 w 256438"/>
                  <a:gd name="connsiteY63" fmla="*/ 181265 h 340854"/>
                  <a:gd name="connsiteX64" fmla="*/ 255050 w 256438"/>
                  <a:gd name="connsiteY64" fmla="*/ 189017 h 340854"/>
                  <a:gd name="connsiteX65" fmla="*/ 250433 w 256438"/>
                  <a:gd name="connsiteY65" fmla="*/ 191239 h 340854"/>
                  <a:gd name="connsiteX66" fmla="*/ 250433 w 256438"/>
                  <a:gd name="connsiteY66" fmla="*/ 205773 h 340854"/>
                  <a:gd name="connsiteX67" fmla="*/ 256132 w 256438"/>
                  <a:gd name="connsiteY67" fmla="*/ 220535 h 340854"/>
                  <a:gd name="connsiteX68" fmla="*/ 238635 w 256438"/>
                  <a:gd name="connsiteY68" fmla="*/ 228172 h 340854"/>
                  <a:gd name="connsiteX69" fmla="*/ 214184 w 256438"/>
                  <a:gd name="connsiteY69" fmla="*/ 227716 h 340854"/>
                  <a:gd name="connsiteX70" fmla="*/ 198454 w 256438"/>
                  <a:gd name="connsiteY70" fmla="*/ 233872 h 340854"/>
                  <a:gd name="connsiteX71" fmla="*/ 202329 w 256438"/>
                  <a:gd name="connsiteY71" fmla="*/ 245271 h 340854"/>
                  <a:gd name="connsiteX72" fmla="*/ 214469 w 256438"/>
                  <a:gd name="connsiteY72" fmla="*/ 250115 h 340854"/>
                  <a:gd name="connsiteX73" fmla="*/ 213329 w 256438"/>
                  <a:gd name="connsiteY73" fmla="*/ 256727 h 340854"/>
                  <a:gd name="connsiteX74" fmla="*/ 196447 w 256438"/>
                  <a:gd name="connsiteY74" fmla="*/ 263349 h 340854"/>
                  <a:gd name="connsiteX75" fmla="*/ 196231 w 256438"/>
                  <a:gd name="connsiteY75" fmla="*/ 273084 h 340854"/>
                  <a:gd name="connsiteX76" fmla="*/ 200961 w 256438"/>
                  <a:gd name="connsiteY76" fmla="*/ 289270 h 340854"/>
                  <a:gd name="connsiteX77" fmla="*/ 207516 w 256438"/>
                  <a:gd name="connsiteY77" fmla="*/ 313208 h 340854"/>
                  <a:gd name="connsiteX78" fmla="*/ 195034 w 256438"/>
                  <a:gd name="connsiteY78" fmla="*/ 339141 h 340854"/>
                  <a:gd name="connsiteX79" fmla="*/ 188651 w 256438"/>
                  <a:gd name="connsiteY79" fmla="*/ 339141 h 340854"/>
                  <a:gd name="connsiteX80" fmla="*/ 185972 w 256438"/>
                  <a:gd name="connsiteY80" fmla="*/ 331788 h 340854"/>
                  <a:gd name="connsiteX81" fmla="*/ 172236 w 256438"/>
                  <a:gd name="connsiteY81" fmla="*/ 324322 h 340854"/>
                  <a:gd name="connsiteX82" fmla="*/ 163801 w 256438"/>
                  <a:gd name="connsiteY82" fmla="*/ 327058 h 340854"/>
                  <a:gd name="connsiteX83" fmla="*/ 147785 w 256438"/>
                  <a:gd name="connsiteY83" fmla="*/ 324949 h 340854"/>
                  <a:gd name="connsiteX84" fmla="*/ 136386 w 256438"/>
                  <a:gd name="connsiteY84" fmla="*/ 328426 h 340854"/>
                  <a:gd name="connsiteX85" fmla="*/ 121397 w 256438"/>
                  <a:gd name="connsiteY85" fmla="*/ 315317 h 340854"/>
                  <a:gd name="connsiteX86" fmla="*/ 109998 w 256438"/>
                  <a:gd name="connsiteY86" fmla="*/ 297820 h 340854"/>
                  <a:gd name="connsiteX87" fmla="*/ 99739 w 256438"/>
                  <a:gd name="connsiteY87" fmla="*/ 292918 h 340854"/>
                  <a:gd name="connsiteX88" fmla="*/ 94438 w 256438"/>
                  <a:gd name="connsiteY88" fmla="*/ 282887 h 340854"/>
                  <a:gd name="connsiteX89" fmla="*/ 73863 w 256438"/>
                  <a:gd name="connsiteY89" fmla="*/ 274452 h 340854"/>
                  <a:gd name="connsiteX90" fmla="*/ 71013 w 256438"/>
                  <a:gd name="connsiteY90" fmla="*/ 269892 h 340854"/>
                  <a:gd name="connsiteX91" fmla="*/ 64288 w 256438"/>
                  <a:gd name="connsiteY91" fmla="*/ 269892 h 340854"/>
                  <a:gd name="connsiteX92" fmla="*/ 45138 w 256438"/>
                  <a:gd name="connsiteY92" fmla="*/ 259918 h 340854"/>
                  <a:gd name="connsiteX93" fmla="*/ 34879 w 256438"/>
                  <a:gd name="connsiteY93" fmla="*/ 259918 h 340854"/>
                  <a:gd name="connsiteX94" fmla="*/ 28324 w 256438"/>
                  <a:gd name="connsiteY94" fmla="*/ 250229 h 34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56438" h="340854">
                    <a:moveTo>
                      <a:pt x="28324" y="250229"/>
                    </a:moveTo>
                    <a:cubicBezTo>
                      <a:pt x="19747" y="248565"/>
                      <a:pt x="11614" y="245128"/>
                      <a:pt x="4444" y="240141"/>
                    </a:cubicBezTo>
                    <a:cubicBezTo>
                      <a:pt x="5247" y="239081"/>
                      <a:pt x="5464" y="237690"/>
                      <a:pt x="5014" y="236436"/>
                    </a:cubicBezTo>
                    <a:cubicBezTo>
                      <a:pt x="4273" y="234442"/>
                      <a:pt x="2107" y="233359"/>
                      <a:pt x="910" y="231592"/>
                    </a:cubicBezTo>
                    <a:cubicBezTo>
                      <a:pt x="-3935" y="224183"/>
                      <a:pt x="12309" y="216146"/>
                      <a:pt x="8832" y="208053"/>
                    </a:cubicBezTo>
                    <a:cubicBezTo>
                      <a:pt x="16458" y="209153"/>
                      <a:pt x="23816" y="204787"/>
                      <a:pt x="26501" y="197566"/>
                    </a:cubicBezTo>
                    <a:cubicBezTo>
                      <a:pt x="26882" y="195788"/>
                      <a:pt x="27578" y="194089"/>
                      <a:pt x="28552" y="192550"/>
                    </a:cubicBezTo>
                    <a:cubicBezTo>
                      <a:pt x="31231" y="189302"/>
                      <a:pt x="36703" y="190442"/>
                      <a:pt x="40236" y="188048"/>
                    </a:cubicBezTo>
                    <a:cubicBezTo>
                      <a:pt x="43770" y="185654"/>
                      <a:pt x="43998" y="179328"/>
                      <a:pt x="43314" y="174483"/>
                    </a:cubicBezTo>
                    <a:cubicBezTo>
                      <a:pt x="39370" y="173018"/>
                      <a:pt x="35836" y="170636"/>
                      <a:pt x="32998" y="167530"/>
                    </a:cubicBezTo>
                    <a:cubicBezTo>
                      <a:pt x="30239" y="164292"/>
                      <a:pt x="30028" y="159602"/>
                      <a:pt x="32485" y="156131"/>
                    </a:cubicBezTo>
                    <a:cubicBezTo>
                      <a:pt x="33283" y="155276"/>
                      <a:pt x="34309" y="154592"/>
                      <a:pt x="35107" y="153680"/>
                    </a:cubicBezTo>
                    <a:cubicBezTo>
                      <a:pt x="39951" y="148322"/>
                      <a:pt x="33967" y="140172"/>
                      <a:pt x="33454" y="132934"/>
                    </a:cubicBezTo>
                    <a:cubicBezTo>
                      <a:pt x="33619" y="128996"/>
                      <a:pt x="34155" y="125086"/>
                      <a:pt x="35050" y="121250"/>
                    </a:cubicBezTo>
                    <a:cubicBezTo>
                      <a:pt x="35169" y="115328"/>
                      <a:pt x="33032" y="109578"/>
                      <a:pt x="29065" y="105178"/>
                    </a:cubicBezTo>
                    <a:cubicBezTo>
                      <a:pt x="28666" y="96571"/>
                      <a:pt x="13677" y="96172"/>
                      <a:pt x="11511" y="88079"/>
                    </a:cubicBezTo>
                    <a:cubicBezTo>
                      <a:pt x="11334" y="86956"/>
                      <a:pt x="11009" y="85862"/>
                      <a:pt x="10542" y="84830"/>
                    </a:cubicBezTo>
                    <a:cubicBezTo>
                      <a:pt x="9812" y="83930"/>
                      <a:pt x="8895" y="83189"/>
                      <a:pt x="7863" y="82665"/>
                    </a:cubicBezTo>
                    <a:cubicBezTo>
                      <a:pt x="5333" y="81530"/>
                      <a:pt x="3674" y="79051"/>
                      <a:pt x="3589" y="76281"/>
                    </a:cubicBezTo>
                    <a:cubicBezTo>
                      <a:pt x="3988" y="72121"/>
                      <a:pt x="9288" y="70867"/>
                      <a:pt x="13506" y="70582"/>
                    </a:cubicBezTo>
                    <a:cubicBezTo>
                      <a:pt x="17723" y="70297"/>
                      <a:pt x="23024" y="68359"/>
                      <a:pt x="22739" y="64198"/>
                    </a:cubicBezTo>
                    <a:cubicBezTo>
                      <a:pt x="25572" y="62830"/>
                      <a:pt x="28980" y="64016"/>
                      <a:pt x="30348" y="66849"/>
                    </a:cubicBezTo>
                    <a:cubicBezTo>
                      <a:pt x="30809" y="67800"/>
                      <a:pt x="30992" y="68855"/>
                      <a:pt x="30889" y="69898"/>
                    </a:cubicBezTo>
                    <a:lnTo>
                      <a:pt x="35392" y="70468"/>
                    </a:lnTo>
                    <a:lnTo>
                      <a:pt x="32599" y="77877"/>
                    </a:lnTo>
                    <a:cubicBezTo>
                      <a:pt x="36760" y="78903"/>
                      <a:pt x="42573" y="78960"/>
                      <a:pt x="43656" y="74856"/>
                    </a:cubicBezTo>
                    <a:cubicBezTo>
                      <a:pt x="44283" y="72349"/>
                      <a:pt x="42573" y="69157"/>
                      <a:pt x="44055" y="67276"/>
                    </a:cubicBezTo>
                    <a:cubicBezTo>
                      <a:pt x="46221" y="64084"/>
                      <a:pt x="52262" y="67276"/>
                      <a:pt x="54713" y="64141"/>
                    </a:cubicBezTo>
                    <a:cubicBezTo>
                      <a:pt x="57164" y="61007"/>
                      <a:pt x="54371" y="57701"/>
                      <a:pt x="56024" y="55022"/>
                    </a:cubicBezTo>
                    <a:cubicBezTo>
                      <a:pt x="57677" y="52343"/>
                      <a:pt x="62008" y="53198"/>
                      <a:pt x="65086" y="52001"/>
                    </a:cubicBezTo>
                    <a:cubicBezTo>
                      <a:pt x="67651" y="50970"/>
                      <a:pt x="69292" y="48439"/>
                      <a:pt x="69190" y="45675"/>
                    </a:cubicBezTo>
                    <a:cubicBezTo>
                      <a:pt x="70387" y="46758"/>
                      <a:pt x="72495" y="45675"/>
                      <a:pt x="73407" y="44592"/>
                    </a:cubicBezTo>
                    <a:cubicBezTo>
                      <a:pt x="74148" y="43116"/>
                      <a:pt x="74690" y="41543"/>
                      <a:pt x="75003" y="39919"/>
                    </a:cubicBezTo>
                    <a:cubicBezTo>
                      <a:pt x="76491" y="35701"/>
                      <a:pt x="80395" y="32811"/>
                      <a:pt x="84863" y="32623"/>
                    </a:cubicBezTo>
                    <a:cubicBezTo>
                      <a:pt x="86231" y="32760"/>
                      <a:pt x="87610" y="32606"/>
                      <a:pt x="88910" y="32167"/>
                    </a:cubicBezTo>
                    <a:cubicBezTo>
                      <a:pt x="91874" y="30742"/>
                      <a:pt x="91247" y="26468"/>
                      <a:pt x="92329" y="23447"/>
                    </a:cubicBezTo>
                    <a:cubicBezTo>
                      <a:pt x="93982" y="18774"/>
                      <a:pt x="99682" y="17121"/>
                      <a:pt x="104583" y="16893"/>
                    </a:cubicBezTo>
                    <a:cubicBezTo>
                      <a:pt x="109513" y="17292"/>
                      <a:pt x="114455" y="16283"/>
                      <a:pt x="118832" y="13986"/>
                    </a:cubicBezTo>
                    <a:cubicBezTo>
                      <a:pt x="120530" y="12487"/>
                      <a:pt x="122075" y="10828"/>
                      <a:pt x="123449" y="9027"/>
                    </a:cubicBezTo>
                    <a:cubicBezTo>
                      <a:pt x="128156" y="3784"/>
                      <a:pt x="134716" y="581"/>
                      <a:pt x="141744" y="79"/>
                    </a:cubicBezTo>
                    <a:cubicBezTo>
                      <a:pt x="144759" y="-229"/>
                      <a:pt x="147791" y="364"/>
                      <a:pt x="150464" y="1789"/>
                    </a:cubicBezTo>
                    <a:cubicBezTo>
                      <a:pt x="145335" y="2815"/>
                      <a:pt x="140433" y="4012"/>
                      <a:pt x="138780" y="8458"/>
                    </a:cubicBezTo>
                    <a:cubicBezTo>
                      <a:pt x="137868" y="10794"/>
                      <a:pt x="138153" y="13815"/>
                      <a:pt x="136273" y="15411"/>
                    </a:cubicBezTo>
                    <a:cubicBezTo>
                      <a:pt x="134392" y="17007"/>
                      <a:pt x="132340" y="16551"/>
                      <a:pt x="130573" y="17235"/>
                    </a:cubicBezTo>
                    <a:cubicBezTo>
                      <a:pt x="126618" y="19366"/>
                      <a:pt x="124492" y="23817"/>
                      <a:pt x="125329" y="28235"/>
                    </a:cubicBezTo>
                    <a:cubicBezTo>
                      <a:pt x="126224" y="32526"/>
                      <a:pt x="126583" y="36909"/>
                      <a:pt x="126412" y="41286"/>
                    </a:cubicBezTo>
                    <a:cubicBezTo>
                      <a:pt x="125614" y="45618"/>
                      <a:pt x="121169" y="49779"/>
                      <a:pt x="117179" y="48012"/>
                    </a:cubicBezTo>
                    <a:cubicBezTo>
                      <a:pt x="115298" y="52343"/>
                      <a:pt x="120770" y="56162"/>
                      <a:pt x="125443" y="56960"/>
                    </a:cubicBezTo>
                    <a:cubicBezTo>
                      <a:pt x="130117" y="57758"/>
                      <a:pt x="135760" y="58271"/>
                      <a:pt x="137640" y="62659"/>
                    </a:cubicBezTo>
                    <a:cubicBezTo>
                      <a:pt x="138609" y="64939"/>
                      <a:pt x="138153" y="67618"/>
                      <a:pt x="139008" y="69955"/>
                    </a:cubicBezTo>
                    <a:cubicBezTo>
                      <a:pt x="139863" y="72291"/>
                      <a:pt x="142143" y="74115"/>
                      <a:pt x="143055" y="76566"/>
                    </a:cubicBezTo>
                    <a:cubicBezTo>
                      <a:pt x="144822" y="81297"/>
                      <a:pt x="141003" y="86597"/>
                      <a:pt x="142257" y="91442"/>
                    </a:cubicBezTo>
                    <a:cubicBezTo>
                      <a:pt x="143910" y="97825"/>
                      <a:pt x="153656" y="101359"/>
                      <a:pt x="151946" y="107742"/>
                    </a:cubicBezTo>
                    <a:cubicBezTo>
                      <a:pt x="157646" y="112074"/>
                      <a:pt x="165511" y="108825"/>
                      <a:pt x="172008" y="105975"/>
                    </a:cubicBezTo>
                    <a:cubicBezTo>
                      <a:pt x="178506" y="103126"/>
                      <a:pt x="187568" y="101701"/>
                      <a:pt x="191329" y="107685"/>
                    </a:cubicBezTo>
                    <a:cubicBezTo>
                      <a:pt x="192127" y="108996"/>
                      <a:pt x="192583" y="110535"/>
                      <a:pt x="193381" y="111789"/>
                    </a:cubicBezTo>
                    <a:cubicBezTo>
                      <a:pt x="195775" y="115437"/>
                      <a:pt x="200619" y="116235"/>
                      <a:pt x="204780" y="117773"/>
                    </a:cubicBezTo>
                    <a:cubicBezTo>
                      <a:pt x="208941" y="119312"/>
                      <a:pt x="213044" y="123473"/>
                      <a:pt x="211278" y="127348"/>
                    </a:cubicBezTo>
                    <a:lnTo>
                      <a:pt x="245474" y="123815"/>
                    </a:lnTo>
                    <a:cubicBezTo>
                      <a:pt x="246569" y="123570"/>
                      <a:pt x="247720" y="123706"/>
                      <a:pt x="248723" y="124214"/>
                    </a:cubicBezTo>
                    <a:cubicBezTo>
                      <a:pt x="249669" y="125091"/>
                      <a:pt x="250176" y="126345"/>
                      <a:pt x="250091" y="127634"/>
                    </a:cubicBezTo>
                    <a:cubicBezTo>
                      <a:pt x="250091" y="134758"/>
                      <a:pt x="244392" y="140514"/>
                      <a:pt x="241941" y="147069"/>
                    </a:cubicBezTo>
                    <a:cubicBezTo>
                      <a:pt x="238031" y="157071"/>
                      <a:pt x="240784" y="168453"/>
                      <a:pt x="248837" y="175566"/>
                    </a:cubicBezTo>
                    <a:cubicBezTo>
                      <a:pt x="251145" y="177190"/>
                      <a:pt x="253231" y="179105"/>
                      <a:pt x="255050" y="181265"/>
                    </a:cubicBezTo>
                    <a:cubicBezTo>
                      <a:pt x="256902" y="183517"/>
                      <a:pt x="256902" y="186766"/>
                      <a:pt x="255050" y="189017"/>
                    </a:cubicBezTo>
                    <a:cubicBezTo>
                      <a:pt x="253562" y="189860"/>
                      <a:pt x="252017" y="190601"/>
                      <a:pt x="250433" y="191239"/>
                    </a:cubicBezTo>
                    <a:cubicBezTo>
                      <a:pt x="245816" y="194032"/>
                      <a:pt x="247298" y="201214"/>
                      <a:pt x="250433" y="205773"/>
                    </a:cubicBezTo>
                    <a:cubicBezTo>
                      <a:pt x="253568" y="210333"/>
                      <a:pt x="257443" y="215291"/>
                      <a:pt x="256132" y="220535"/>
                    </a:cubicBezTo>
                    <a:cubicBezTo>
                      <a:pt x="254252" y="227146"/>
                      <a:pt x="245531" y="228286"/>
                      <a:pt x="238635" y="228172"/>
                    </a:cubicBezTo>
                    <a:lnTo>
                      <a:pt x="214184" y="227716"/>
                    </a:lnTo>
                    <a:cubicBezTo>
                      <a:pt x="208200" y="227716"/>
                      <a:pt x="200790" y="228343"/>
                      <a:pt x="198454" y="233872"/>
                    </a:cubicBezTo>
                    <a:cubicBezTo>
                      <a:pt x="197183" y="238106"/>
                      <a:pt x="198739" y="242689"/>
                      <a:pt x="202329" y="245271"/>
                    </a:cubicBezTo>
                    <a:cubicBezTo>
                      <a:pt x="205983" y="247738"/>
                      <a:pt x="210121" y="249391"/>
                      <a:pt x="214469" y="250115"/>
                    </a:cubicBezTo>
                    <a:cubicBezTo>
                      <a:pt x="214070" y="252338"/>
                      <a:pt x="213728" y="254561"/>
                      <a:pt x="213329" y="256727"/>
                    </a:cubicBezTo>
                    <a:cubicBezTo>
                      <a:pt x="206838" y="253894"/>
                      <a:pt x="199280" y="256858"/>
                      <a:pt x="196447" y="263349"/>
                    </a:cubicBezTo>
                    <a:cubicBezTo>
                      <a:pt x="195097" y="266438"/>
                      <a:pt x="195023" y="269938"/>
                      <a:pt x="196231" y="273084"/>
                    </a:cubicBezTo>
                    <a:cubicBezTo>
                      <a:pt x="198397" y="278783"/>
                      <a:pt x="204381" y="284483"/>
                      <a:pt x="200961" y="289270"/>
                    </a:cubicBezTo>
                    <a:cubicBezTo>
                      <a:pt x="207003" y="295654"/>
                      <a:pt x="209465" y="304636"/>
                      <a:pt x="207516" y="313208"/>
                    </a:cubicBezTo>
                    <a:cubicBezTo>
                      <a:pt x="206005" y="322897"/>
                      <a:pt x="201663" y="331920"/>
                      <a:pt x="195034" y="339141"/>
                    </a:cubicBezTo>
                    <a:cubicBezTo>
                      <a:pt x="194236" y="341649"/>
                      <a:pt x="190247" y="341193"/>
                      <a:pt x="188651" y="339141"/>
                    </a:cubicBezTo>
                    <a:cubicBezTo>
                      <a:pt x="187408" y="336833"/>
                      <a:pt x="186502" y="334359"/>
                      <a:pt x="185972" y="331788"/>
                    </a:cubicBezTo>
                    <a:cubicBezTo>
                      <a:pt x="183709" y="326385"/>
                      <a:pt x="177998" y="323279"/>
                      <a:pt x="172236" y="324322"/>
                    </a:cubicBezTo>
                    <a:cubicBezTo>
                      <a:pt x="169329" y="324949"/>
                      <a:pt x="166537" y="326659"/>
                      <a:pt x="163801" y="327058"/>
                    </a:cubicBezTo>
                    <a:cubicBezTo>
                      <a:pt x="158443" y="327799"/>
                      <a:pt x="153143" y="324265"/>
                      <a:pt x="147785" y="324949"/>
                    </a:cubicBezTo>
                    <a:cubicBezTo>
                      <a:pt x="143853" y="325462"/>
                      <a:pt x="140490" y="328141"/>
                      <a:pt x="136386" y="328426"/>
                    </a:cubicBezTo>
                    <a:cubicBezTo>
                      <a:pt x="129319" y="328996"/>
                      <a:pt x="124076" y="321929"/>
                      <a:pt x="121397" y="315317"/>
                    </a:cubicBezTo>
                    <a:cubicBezTo>
                      <a:pt x="118718" y="308706"/>
                      <a:pt x="116381" y="301125"/>
                      <a:pt x="109998" y="297820"/>
                    </a:cubicBezTo>
                    <a:cubicBezTo>
                      <a:pt x="106635" y="296053"/>
                      <a:pt x="102361" y="295711"/>
                      <a:pt x="99739" y="292918"/>
                    </a:cubicBezTo>
                    <a:cubicBezTo>
                      <a:pt x="97117" y="290125"/>
                      <a:pt x="97003" y="285680"/>
                      <a:pt x="94438" y="282887"/>
                    </a:cubicBezTo>
                    <a:cubicBezTo>
                      <a:pt x="89309" y="277188"/>
                      <a:pt x="77796" y="281006"/>
                      <a:pt x="73863" y="274452"/>
                    </a:cubicBezTo>
                    <a:cubicBezTo>
                      <a:pt x="72894" y="272913"/>
                      <a:pt x="72552" y="270918"/>
                      <a:pt x="71013" y="269892"/>
                    </a:cubicBezTo>
                    <a:cubicBezTo>
                      <a:pt x="69475" y="268866"/>
                      <a:pt x="66625" y="269892"/>
                      <a:pt x="64288" y="269892"/>
                    </a:cubicBezTo>
                    <a:cubicBezTo>
                      <a:pt x="56936" y="270291"/>
                      <a:pt x="52433" y="260716"/>
                      <a:pt x="45138" y="259918"/>
                    </a:cubicBezTo>
                    <a:cubicBezTo>
                      <a:pt x="41718" y="259519"/>
                      <a:pt x="38128" y="261115"/>
                      <a:pt x="34879" y="259918"/>
                    </a:cubicBezTo>
                    <a:cubicBezTo>
                      <a:pt x="31630" y="258721"/>
                      <a:pt x="29521" y="253820"/>
                      <a:pt x="28324" y="25022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8" name="Freihandform: Form 632">
                <a:extLst>
                  <a:ext uri="{FF2B5EF4-FFF2-40B4-BE49-F238E27FC236}">
                    <a16:creationId xmlns:a16="http://schemas.microsoft.com/office/drawing/2014/main" id="{0E2F0040-24B0-A713-DFA6-0FD2DCDB0BE8}"/>
                  </a:ext>
                </a:extLst>
              </p:cNvPr>
              <p:cNvSpPr/>
              <p:nvPr/>
            </p:nvSpPr>
            <p:spPr>
              <a:xfrm>
                <a:off x="2153058" y="3967718"/>
                <a:ext cx="298174" cy="272662"/>
              </a:xfrm>
              <a:custGeom>
                <a:avLst/>
                <a:gdLst>
                  <a:gd name="connsiteX0" fmla="*/ 136424 w 298174"/>
                  <a:gd name="connsiteY0" fmla="*/ 244678 h 272662"/>
                  <a:gd name="connsiteX1" fmla="*/ 139330 w 298174"/>
                  <a:gd name="connsiteY1" fmla="*/ 240461 h 272662"/>
                  <a:gd name="connsiteX2" fmla="*/ 133631 w 298174"/>
                  <a:gd name="connsiteY2" fmla="*/ 225699 h 272662"/>
                  <a:gd name="connsiteX3" fmla="*/ 133631 w 298174"/>
                  <a:gd name="connsiteY3" fmla="*/ 211166 h 272662"/>
                  <a:gd name="connsiteX4" fmla="*/ 138248 w 298174"/>
                  <a:gd name="connsiteY4" fmla="*/ 208943 h 272662"/>
                  <a:gd name="connsiteX5" fmla="*/ 138248 w 298174"/>
                  <a:gd name="connsiteY5" fmla="*/ 201191 h 272662"/>
                  <a:gd name="connsiteX6" fmla="*/ 132035 w 298174"/>
                  <a:gd name="connsiteY6" fmla="*/ 195492 h 272662"/>
                  <a:gd name="connsiteX7" fmla="*/ 125139 w 298174"/>
                  <a:gd name="connsiteY7" fmla="*/ 166995 h 272662"/>
                  <a:gd name="connsiteX8" fmla="*/ 133289 w 298174"/>
                  <a:gd name="connsiteY8" fmla="*/ 147559 h 272662"/>
                  <a:gd name="connsiteX9" fmla="*/ 131921 w 298174"/>
                  <a:gd name="connsiteY9" fmla="*/ 144140 h 272662"/>
                  <a:gd name="connsiteX10" fmla="*/ 128672 w 298174"/>
                  <a:gd name="connsiteY10" fmla="*/ 143741 h 272662"/>
                  <a:gd name="connsiteX11" fmla="*/ 94475 w 298174"/>
                  <a:gd name="connsiteY11" fmla="*/ 147274 h 272662"/>
                  <a:gd name="connsiteX12" fmla="*/ 87978 w 298174"/>
                  <a:gd name="connsiteY12" fmla="*/ 137699 h 272662"/>
                  <a:gd name="connsiteX13" fmla="*/ 76579 w 298174"/>
                  <a:gd name="connsiteY13" fmla="*/ 131715 h 272662"/>
                  <a:gd name="connsiteX14" fmla="*/ 74527 w 298174"/>
                  <a:gd name="connsiteY14" fmla="*/ 127611 h 272662"/>
                  <a:gd name="connsiteX15" fmla="*/ 55206 w 298174"/>
                  <a:gd name="connsiteY15" fmla="*/ 125901 h 272662"/>
                  <a:gd name="connsiteX16" fmla="*/ 35144 w 298174"/>
                  <a:gd name="connsiteY16" fmla="*/ 127668 h 272662"/>
                  <a:gd name="connsiteX17" fmla="*/ 25455 w 298174"/>
                  <a:gd name="connsiteY17" fmla="*/ 111368 h 272662"/>
                  <a:gd name="connsiteX18" fmla="*/ 26253 w 298174"/>
                  <a:gd name="connsiteY18" fmla="*/ 96492 h 272662"/>
                  <a:gd name="connsiteX19" fmla="*/ 22206 w 298174"/>
                  <a:gd name="connsiteY19" fmla="*/ 89881 h 272662"/>
                  <a:gd name="connsiteX20" fmla="*/ 20838 w 298174"/>
                  <a:gd name="connsiteY20" fmla="*/ 82585 h 272662"/>
                  <a:gd name="connsiteX21" fmla="*/ 8641 w 298174"/>
                  <a:gd name="connsiteY21" fmla="*/ 76886 h 272662"/>
                  <a:gd name="connsiteX22" fmla="*/ 377 w 298174"/>
                  <a:gd name="connsiteY22" fmla="*/ 67938 h 272662"/>
                  <a:gd name="connsiteX23" fmla="*/ 9610 w 298174"/>
                  <a:gd name="connsiteY23" fmla="*/ 61212 h 272662"/>
                  <a:gd name="connsiteX24" fmla="*/ 8527 w 298174"/>
                  <a:gd name="connsiteY24" fmla="*/ 48161 h 272662"/>
                  <a:gd name="connsiteX25" fmla="*/ 13771 w 298174"/>
                  <a:gd name="connsiteY25" fmla="*/ 37161 h 272662"/>
                  <a:gd name="connsiteX26" fmla="*/ 19471 w 298174"/>
                  <a:gd name="connsiteY26" fmla="*/ 35337 h 272662"/>
                  <a:gd name="connsiteX27" fmla="*/ 21978 w 298174"/>
                  <a:gd name="connsiteY27" fmla="*/ 28383 h 272662"/>
                  <a:gd name="connsiteX28" fmla="*/ 33662 w 298174"/>
                  <a:gd name="connsiteY28" fmla="*/ 21715 h 272662"/>
                  <a:gd name="connsiteX29" fmla="*/ 35372 w 298174"/>
                  <a:gd name="connsiteY29" fmla="*/ 22912 h 272662"/>
                  <a:gd name="connsiteX30" fmla="*/ 36398 w 298174"/>
                  <a:gd name="connsiteY30" fmla="*/ 32886 h 272662"/>
                  <a:gd name="connsiteX31" fmla="*/ 31382 w 298174"/>
                  <a:gd name="connsiteY31" fmla="*/ 37275 h 272662"/>
                  <a:gd name="connsiteX32" fmla="*/ 30926 w 298174"/>
                  <a:gd name="connsiteY32" fmla="*/ 41378 h 272662"/>
                  <a:gd name="connsiteX33" fmla="*/ 26310 w 298174"/>
                  <a:gd name="connsiteY33" fmla="*/ 52321 h 272662"/>
                  <a:gd name="connsiteX34" fmla="*/ 28932 w 298174"/>
                  <a:gd name="connsiteY34" fmla="*/ 65829 h 272662"/>
                  <a:gd name="connsiteX35" fmla="*/ 39875 w 298174"/>
                  <a:gd name="connsiteY35" fmla="*/ 68565 h 272662"/>
                  <a:gd name="connsiteX36" fmla="*/ 50989 w 298174"/>
                  <a:gd name="connsiteY36" fmla="*/ 73238 h 272662"/>
                  <a:gd name="connsiteX37" fmla="*/ 56688 w 298174"/>
                  <a:gd name="connsiteY37" fmla="*/ 59445 h 272662"/>
                  <a:gd name="connsiteX38" fmla="*/ 55491 w 298174"/>
                  <a:gd name="connsiteY38" fmla="*/ 53746 h 272662"/>
                  <a:gd name="connsiteX39" fmla="*/ 48652 w 298174"/>
                  <a:gd name="connsiteY39" fmla="*/ 48047 h 272662"/>
                  <a:gd name="connsiteX40" fmla="*/ 45688 w 298174"/>
                  <a:gd name="connsiteY40" fmla="*/ 40295 h 272662"/>
                  <a:gd name="connsiteX41" fmla="*/ 50875 w 298174"/>
                  <a:gd name="connsiteY41" fmla="*/ 36249 h 272662"/>
                  <a:gd name="connsiteX42" fmla="*/ 58968 w 298174"/>
                  <a:gd name="connsiteY42" fmla="*/ 23881 h 272662"/>
                  <a:gd name="connsiteX43" fmla="*/ 67745 w 298174"/>
                  <a:gd name="connsiteY43" fmla="*/ 23881 h 272662"/>
                  <a:gd name="connsiteX44" fmla="*/ 80113 w 298174"/>
                  <a:gd name="connsiteY44" fmla="*/ 17042 h 272662"/>
                  <a:gd name="connsiteX45" fmla="*/ 80113 w 298174"/>
                  <a:gd name="connsiteY45" fmla="*/ 6839 h 272662"/>
                  <a:gd name="connsiteX46" fmla="*/ 87009 w 298174"/>
                  <a:gd name="connsiteY46" fmla="*/ 0 h 272662"/>
                  <a:gd name="connsiteX47" fmla="*/ 88833 w 298174"/>
                  <a:gd name="connsiteY47" fmla="*/ 13565 h 272662"/>
                  <a:gd name="connsiteX48" fmla="*/ 89916 w 298174"/>
                  <a:gd name="connsiteY48" fmla="*/ 17042 h 272662"/>
                  <a:gd name="connsiteX49" fmla="*/ 98009 w 298174"/>
                  <a:gd name="connsiteY49" fmla="*/ 21943 h 272662"/>
                  <a:gd name="connsiteX50" fmla="*/ 99890 w 298174"/>
                  <a:gd name="connsiteY50" fmla="*/ 31689 h 272662"/>
                  <a:gd name="connsiteX51" fmla="*/ 104336 w 298174"/>
                  <a:gd name="connsiteY51" fmla="*/ 32829 h 272662"/>
                  <a:gd name="connsiteX52" fmla="*/ 107527 w 298174"/>
                  <a:gd name="connsiteY52" fmla="*/ 39326 h 272662"/>
                  <a:gd name="connsiteX53" fmla="*/ 118926 w 298174"/>
                  <a:gd name="connsiteY53" fmla="*/ 44171 h 272662"/>
                  <a:gd name="connsiteX54" fmla="*/ 120636 w 298174"/>
                  <a:gd name="connsiteY54" fmla="*/ 48275 h 272662"/>
                  <a:gd name="connsiteX55" fmla="*/ 134144 w 298174"/>
                  <a:gd name="connsiteY55" fmla="*/ 51922 h 272662"/>
                  <a:gd name="connsiteX56" fmla="*/ 153123 w 298174"/>
                  <a:gd name="connsiteY56" fmla="*/ 54373 h 272662"/>
                  <a:gd name="connsiteX57" fmla="*/ 167999 w 298174"/>
                  <a:gd name="connsiteY57" fmla="*/ 44285 h 272662"/>
                  <a:gd name="connsiteX58" fmla="*/ 173299 w 298174"/>
                  <a:gd name="connsiteY58" fmla="*/ 40181 h 272662"/>
                  <a:gd name="connsiteX59" fmla="*/ 176092 w 298174"/>
                  <a:gd name="connsiteY59" fmla="*/ 53347 h 272662"/>
                  <a:gd name="connsiteX60" fmla="*/ 187115 w 298174"/>
                  <a:gd name="connsiteY60" fmla="*/ 55758 h 272662"/>
                  <a:gd name="connsiteX61" fmla="*/ 187776 w 298174"/>
                  <a:gd name="connsiteY61" fmla="*/ 55285 h 272662"/>
                  <a:gd name="connsiteX62" fmla="*/ 248475 w 298174"/>
                  <a:gd name="connsiteY62" fmla="*/ 34824 h 272662"/>
                  <a:gd name="connsiteX63" fmla="*/ 237281 w 298174"/>
                  <a:gd name="connsiteY63" fmla="*/ 42005 h 272662"/>
                  <a:gd name="connsiteX64" fmla="*/ 236620 w 298174"/>
                  <a:gd name="connsiteY64" fmla="*/ 41834 h 272662"/>
                  <a:gd name="connsiteX65" fmla="*/ 237817 w 298174"/>
                  <a:gd name="connsiteY65" fmla="*/ 49528 h 272662"/>
                  <a:gd name="connsiteX66" fmla="*/ 246423 w 298174"/>
                  <a:gd name="connsiteY66" fmla="*/ 54601 h 272662"/>
                  <a:gd name="connsiteX67" fmla="*/ 245455 w 298174"/>
                  <a:gd name="connsiteY67" fmla="*/ 67710 h 272662"/>
                  <a:gd name="connsiteX68" fmla="*/ 248874 w 298174"/>
                  <a:gd name="connsiteY68" fmla="*/ 71756 h 272662"/>
                  <a:gd name="connsiteX69" fmla="*/ 260729 w 298174"/>
                  <a:gd name="connsiteY69" fmla="*/ 81674 h 272662"/>
                  <a:gd name="connsiteX70" fmla="*/ 286377 w 298174"/>
                  <a:gd name="connsiteY70" fmla="*/ 89425 h 272662"/>
                  <a:gd name="connsiteX71" fmla="*/ 294299 w 298174"/>
                  <a:gd name="connsiteY71" fmla="*/ 85663 h 272662"/>
                  <a:gd name="connsiteX72" fmla="*/ 298175 w 298174"/>
                  <a:gd name="connsiteY72" fmla="*/ 87886 h 272662"/>
                  <a:gd name="connsiteX73" fmla="*/ 287859 w 298174"/>
                  <a:gd name="connsiteY73" fmla="*/ 102534 h 272662"/>
                  <a:gd name="connsiteX74" fmla="*/ 279480 w 298174"/>
                  <a:gd name="connsiteY74" fmla="*/ 126243 h 272662"/>
                  <a:gd name="connsiteX75" fmla="*/ 274465 w 298174"/>
                  <a:gd name="connsiteY75" fmla="*/ 127782 h 272662"/>
                  <a:gd name="connsiteX76" fmla="*/ 272926 w 298174"/>
                  <a:gd name="connsiteY76" fmla="*/ 152404 h 272662"/>
                  <a:gd name="connsiteX77" fmla="*/ 280563 w 298174"/>
                  <a:gd name="connsiteY77" fmla="*/ 162948 h 272662"/>
                  <a:gd name="connsiteX78" fmla="*/ 283242 w 298174"/>
                  <a:gd name="connsiteY78" fmla="*/ 174917 h 272662"/>
                  <a:gd name="connsiteX79" fmla="*/ 273553 w 298174"/>
                  <a:gd name="connsiteY79" fmla="*/ 180958 h 272662"/>
                  <a:gd name="connsiteX80" fmla="*/ 267854 w 298174"/>
                  <a:gd name="connsiteY80" fmla="*/ 189849 h 272662"/>
                  <a:gd name="connsiteX81" fmla="*/ 250755 w 298174"/>
                  <a:gd name="connsiteY81" fmla="*/ 189849 h 272662"/>
                  <a:gd name="connsiteX82" fmla="*/ 246081 w 298174"/>
                  <a:gd name="connsiteY82" fmla="*/ 190704 h 272662"/>
                  <a:gd name="connsiteX83" fmla="*/ 242263 w 298174"/>
                  <a:gd name="connsiteY83" fmla="*/ 200564 h 272662"/>
                  <a:gd name="connsiteX84" fmla="*/ 234740 w 298174"/>
                  <a:gd name="connsiteY84" fmla="*/ 205238 h 272662"/>
                  <a:gd name="connsiteX85" fmla="*/ 231434 w 298174"/>
                  <a:gd name="connsiteY85" fmla="*/ 198798 h 272662"/>
                  <a:gd name="connsiteX86" fmla="*/ 222657 w 298174"/>
                  <a:gd name="connsiteY86" fmla="*/ 197145 h 272662"/>
                  <a:gd name="connsiteX87" fmla="*/ 218838 w 298174"/>
                  <a:gd name="connsiteY87" fmla="*/ 192756 h 272662"/>
                  <a:gd name="connsiteX88" fmla="*/ 200714 w 298174"/>
                  <a:gd name="connsiteY88" fmla="*/ 188767 h 272662"/>
                  <a:gd name="connsiteX89" fmla="*/ 201968 w 298174"/>
                  <a:gd name="connsiteY89" fmla="*/ 202730 h 272662"/>
                  <a:gd name="connsiteX90" fmla="*/ 203962 w 298174"/>
                  <a:gd name="connsiteY90" fmla="*/ 210824 h 272662"/>
                  <a:gd name="connsiteX91" fmla="*/ 219807 w 298174"/>
                  <a:gd name="connsiteY91" fmla="*/ 231342 h 272662"/>
                  <a:gd name="connsiteX92" fmla="*/ 215703 w 298174"/>
                  <a:gd name="connsiteY92" fmla="*/ 244336 h 272662"/>
                  <a:gd name="connsiteX93" fmla="*/ 203677 w 298174"/>
                  <a:gd name="connsiteY93" fmla="*/ 249067 h 272662"/>
                  <a:gd name="connsiteX94" fmla="*/ 203051 w 298174"/>
                  <a:gd name="connsiteY94" fmla="*/ 258072 h 272662"/>
                  <a:gd name="connsiteX95" fmla="*/ 194045 w 298174"/>
                  <a:gd name="connsiteY95" fmla="*/ 260979 h 272662"/>
                  <a:gd name="connsiteX96" fmla="*/ 188346 w 298174"/>
                  <a:gd name="connsiteY96" fmla="*/ 260466 h 272662"/>
                  <a:gd name="connsiteX97" fmla="*/ 183957 w 298174"/>
                  <a:gd name="connsiteY97" fmla="*/ 272663 h 272662"/>
                  <a:gd name="connsiteX98" fmla="*/ 161444 w 298174"/>
                  <a:gd name="connsiteY98" fmla="*/ 270212 h 272662"/>
                  <a:gd name="connsiteX99" fmla="*/ 153180 w 298174"/>
                  <a:gd name="connsiteY99" fmla="*/ 267818 h 272662"/>
                  <a:gd name="connsiteX100" fmla="*/ 150900 w 298174"/>
                  <a:gd name="connsiteY100" fmla="*/ 260295 h 272662"/>
                  <a:gd name="connsiteX101" fmla="*/ 136424 w 298174"/>
                  <a:gd name="connsiteY101" fmla="*/ 244678 h 27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98174" h="272662">
                    <a:moveTo>
                      <a:pt x="136424" y="244678"/>
                    </a:moveTo>
                    <a:cubicBezTo>
                      <a:pt x="137820" y="243618"/>
                      <a:pt x="138835" y="242142"/>
                      <a:pt x="139330" y="240461"/>
                    </a:cubicBezTo>
                    <a:cubicBezTo>
                      <a:pt x="140812" y="235217"/>
                      <a:pt x="136766" y="230259"/>
                      <a:pt x="133631" y="225699"/>
                    </a:cubicBezTo>
                    <a:cubicBezTo>
                      <a:pt x="130496" y="221140"/>
                      <a:pt x="129185" y="213958"/>
                      <a:pt x="133631" y="211166"/>
                    </a:cubicBezTo>
                    <a:cubicBezTo>
                      <a:pt x="135215" y="210527"/>
                      <a:pt x="136760" y="209786"/>
                      <a:pt x="138248" y="208943"/>
                    </a:cubicBezTo>
                    <a:cubicBezTo>
                      <a:pt x="140100" y="206691"/>
                      <a:pt x="140100" y="203443"/>
                      <a:pt x="138248" y="201191"/>
                    </a:cubicBezTo>
                    <a:cubicBezTo>
                      <a:pt x="136429" y="199031"/>
                      <a:pt x="134343" y="197116"/>
                      <a:pt x="132035" y="195492"/>
                    </a:cubicBezTo>
                    <a:cubicBezTo>
                      <a:pt x="123982" y="188379"/>
                      <a:pt x="121229" y="176997"/>
                      <a:pt x="125139" y="166995"/>
                    </a:cubicBezTo>
                    <a:cubicBezTo>
                      <a:pt x="127817" y="160440"/>
                      <a:pt x="133346" y="154684"/>
                      <a:pt x="133289" y="147559"/>
                    </a:cubicBezTo>
                    <a:cubicBezTo>
                      <a:pt x="133374" y="146271"/>
                      <a:pt x="132867" y="145017"/>
                      <a:pt x="131921" y="144140"/>
                    </a:cubicBezTo>
                    <a:cubicBezTo>
                      <a:pt x="130918" y="143633"/>
                      <a:pt x="129767" y="143496"/>
                      <a:pt x="128672" y="143741"/>
                    </a:cubicBezTo>
                    <a:lnTo>
                      <a:pt x="94475" y="147274"/>
                    </a:lnTo>
                    <a:cubicBezTo>
                      <a:pt x="96242" y="143342"/>
                      <a:pt x="92025" y="139181"/>
                      <a:pt x="87978" y="137699"/>
                    </a:cubicBezTo>
                    <a:cubicBezTo>
                      <a:pt x="83932" y="136217"/>
                      <a:pt x="79030" y="135362"/>
                      <a:pt x="76579" y="131715"/>
                    </a:cubicBezTo>
                    <a:cubicBezTo>
                      <a:pt x="75781" y="130461"/>
                      <a:pt x="75325" y="128922"/>
                      <a:pt x="74527" y="127611"/>
                    </a:cubicBezTo>
                    <a:cubicBezTo>
                      <a:pt x="70766" y="121627"/>
                      <a:pt x="61703" y="123109"/>
                      <a:pt x="55206" y="125901"/>
                    </a:cubicBezTo>
                    <a:cubicBezTo>
                      <a:pt x="48709" y="128694"/>
                      <a:pt x="40729" y="132000"/>
                      <a:pt x="35144" y="127668"/>
                    </a:cubicBezTo>
                    <a:cubicBezTo>
                      <a:pt x="36683" y="121285"/>
                      <a:pt x="27108" y="117751"/>
                      <a:pt x="25455" y="111368"/>
                    </a:cubicBezTo>
                    <a:cubicBezTo>
                      <a:pt x="24201" y="106523"/>
                      <a:pt x="28020" y="101223"/>
                      <a:pt x="26253" y="96492"/>
                    </a:cubicBezTo>
                    <a:cubicBezTo>
                      <a:pt x="25341" y="94041"/>
                      <a:pt x="23061" y="92332"/>
                      <a:pt x="22206" y="89881"/>
                    </a:cubicBezTo>
                    <a:cubicBezTo>
                      <a:pt x="21351" y="87430"/>
                      <a:pt x="21807" y="84865"/>
                      <a:pt x="20838" y="82585"/>
                    </a:cubicBezTo>
                    <a:cubicBezTo>
                      <a:pt x="18957" y="78311"/>
                      <a:pt x="13258" y="77798"/>
                      <a:pt x="8641" y="76886"/>
                    </a:cubicBezTo>
                    <a:cubicBezTo>
                      <a:pt x="4025" y="75974"/>
                      <a:pt x="-1504" y="72269"/>
                      <a:pt x="377" y="67938"/>
                    </a:cubicBezTo>
                    <a:cubicBezTo>
                      <a:pt x="4367" y="69705"/>
                      <a:pt x="8812" y="65544"/>
                      <a:pt x="9610" y="61212"/>
                    </a:cubicBezTo>
                    <a:cubicBezTo>
                      <a:pt x="9781" y="56835"/>
                      <a:pt x="9422" y="52452"/>
                      <a:pt x="8527" y="48161"/>
                    </a:cubicBezTo>
                    <a:cubicBezTo>
                      <a:pt x="7690" y="43744"/>
                      <a:pt x="9816" y="39292"/>
                      <a:pt x="13771" y="37161"/>
                    </a:cubicBezTo>
                    <a:cubicBezTo>
                      <a:pt x="15709" y="36477"/>
                      <a:pt x="18046" y="36705"/>
                      <a:pt x="19471" y="35337"/>
                    </a:cubicBezTo>
                    <a:cubicBezTo>
                      <a:pt x="20895" y="33969"/>
                      <a:pt x="21066" y="30720"/>
                      <a:pt x="21978" y="28383"/>
                    </a:cubicBezTo>
                    <a:cubicBezTo>
                      <a:pt x="23631" y="23938"/>
                      <a:pt x="28533" y="22684"/>
                      <a:pt x="33662" y="21715"/>
                    </a:cubicBezTo>
                    <a:cubicBezTo>
                      <a:pt x="34266" y="22063"/>
                      <a:pt x="34842" y="22462"/>
                      <a:pt x="35372" y="22912"/>
                    </a:cubicBezTo>
                    <a:cubicBezTo>
                      <a:pt x="38307" y="25437"/>
                      <a:pt x="38757" y="29814"/>
                      <a:pt x="36398" y="32886"/>
                    </a:cubicBezTo>
                    <a:cubicBezTo>
                      <a:pt x="34802" y="34482"/>
                      <a:pt x="32237" y="35223"/>
                      <a:pt x="31382" y="37275"/>
                    </a:cubicBezTo>
                    <a:cubicBezTo>
                      <a:pt x="31000" y="38608"/>
                      <a:pt x="30847" y="39993"/>
                      <a:pt x="30926" y="41378"/>
                    </a:cubicBezTo>
                    <a:cubicBezTo>
                      <a:pt x="30641" y="45368"/>
                      <a:pt x="27678" y="48560"/>
                      <a:pt x="26310" y="52321"/>
                    </a:cubicBezTo>
                    <a:cubicBezTo>
                      <a:pt x="24703" y="56966"/>
                      <a:pt x="25700" y="62119"/>
                      <a:pt x="28932" y="65829"/>
                    </a:cubicBezTo>
                    <a:cubicBezTo>
                      <a:pt x="32237" y="63492"/>
                      <a:pt x="36797" y="65829"/>
                      <a:pt x="39875" y="68565"/>
                    </a:cubicBezTo>
                    <a:cubicBezTo>
                      <a:pt x="42952" y="71300"/>
                      <a:pt x="46942" y="74264"/>
                      <a:pt x="50989" y="73238"/>
                    </a:cubicBezTo>
                    <a:cubicBezTo>
                      <a:pt x="56232" y="71813"/>
                      <a:pt x="57144" y="64860"/>
                      <a:pt x="56688" y="59445"/>
                    </a:cubicBezTo>
                    <a:cubicBezTo>
                      <a:pt x="56722" y="57479"/>
                      <a:pt x="56312" y="55530"/>
                      <a:pt x="55491" y="53746"/>
                    </a:cubicBezTo>
                    <a:cubicBezTo>
                      <a:pt x="53650" y="51375"/>
                      <a:pt x="51319" y="49432"/>
                      <a:pt x="48652" y="48047"/>
                    </a:cubicBezTo>
                    <a:cubicBezTo>
                      <a:pt x="46258" y="46223"/>
                      <a:pt x="44206" y="42917"/>
                      <a:pt x="45688" y="40295"/>
                    </a:cubicBezTo>
                    <a:cubicBezTo>
                      <a:pt x="47170" y="37674"/>
                      <a:pt x="49222" y="37674"/>
                      <a:pt x="50875" y="36249"/>
                    </a:cubicBezTo>
                    <a:cubicBezTo>
                      <a:pt x="54693" y="32943"/>
                      <a:pt x="54294" y="25705"/>
                      <a:pt x="58968" y="23881"/>
                    </a:cubicBezTo>
                    <a:cubicBezTo>
                      <a:pt x="61761" y="22798"/>
                      <a:pt x="64667" y="24280"/>
                      <a:pt x="67745" y="23881"/>
                    </a:cubicBezTo>
                    <a:cubicBezTo>
                      <a:pt x="72476" y="22798"/>
                      <a:pt x="75325" y="16357"/>
                      <a:pt x="80113" y="17042"/>
                    </a:cubicBezTo>
                    <a:cubicBezTo>
                      <a:pt x="79457" y="13673"/>
                      <a:pt x="79457" y="10208"/>
                      <a:pt x="80113" y="6839"/>
                    </a:cubicBezTo>
                    <a:cubicBezTo>
                      <a:pt x="80882" y="3408"/>
                      <a:pt x="83572" y="741"/>
                      <a:pt x="87009" y="0"/>
                    </a:cubicBezTo>
                    <a:cubicBezTo>
                      <a:pt x="87579" y="4503"/>
                      <a:pt x="88206" y="9005"/>
                      <a:pt x="88833" y="13565"/>
                    </a:cubicBezTo>
                    <a:cubicBezTo>
                      <a:pt x="88901" y="14796"/>
                      <a:pt x="89278" y="15987"/>
                      <a:pt x="89916" y="17042"/>
                    </a:cubicBezTo>
                    <a:cubicBezTo>
                      <a:pt x="91797" y="19606"/>
                      <a:pt x="96356" y="19150"/>
                      <a:pt x="98009" y="21943"/>
                    </a:cubicBezTo>
                    <a:cubicBezTo>
                      <a:pt x="99662" y="24736"/>
                      <a:pt x="97040" y="29751"/>
                      <a:pt x="99890" y="31689"/>
                    </a:cubicBezTo>
                    <a:cubicBezTo>
                      <a:pt x="101144" y="32544"/>
                      <a:pt x="102911" y="32202"/>
                      <a:pt x="104336" y="32829"/>
                    </a:cubicBezTo>
                    <a:cubicBezTo>
                      <a:pt x="106672" y="33798"/>
                      <a:pt x="107299" y="36819"/>
                      <a:pt x="107527" y="39326"/>
                    </a:cubicBezTo>
                    <a:cubicBezTo>
                      <a:pt x="111996" y="38033"/>
                      <a:pt x="116755" y="40056"/>
                      <a:pt x="118926" y="44171"/>
                    </a:cubicBezTo>
                    <a:cubicBezTo>
                      <a:pt x="119411" y="45573"/>
                      <a:pt x="119986" y="46941"/>
                      <a:pt x="120636" y="48275"/>
                    </a:cubicBezTo>
                    <a:cubicBezTo>
                      <a:pt x="123201" y="52492"/>
                      <a:pt x="129242" y="52435"/>
                      <a:pt x="134144" y="51922"/>
                    </a:cubicBezTo>
                    <a:cubicBezTo>
                      <a:pt x="140527" y="51181"/>
                      <a:pt x="146740" y="54544"/>
                      <a:pt x="153123" y="54373"/>
                    </a:cubicBezTo>
                    <a:cubicBezTo>
                      <a:pt x="159712" y="54487"/>
                      <a:pt x="165668" y="50452"/>
                      <a:pt x="167999" y="44285"/>
                    </a:cubicBezTo>
                    <a:cubicBezTo>
                      <a:pt x="168797" y="41264"/>
                      <a:pt x="172558" y="37218"/>
                      <a:pt x="173299" y="40181"/>
                    </a:cubicBezTo>
                    <a:cubicBezTo>
                      <a:pt x="172883" y="44752"/>
                      <a:pt x="173858" y="49340"/>
                      <a:pt x="176092" y="53347"/>
                    </a:cubicBezTo>
                    <a:cubicBezTo>
                      <a:pt x="178469" y="57058"/>
                      <a:pt x="183404" y="58135"/>
                      <a:pt x="187115" y="55758"/>
                    </a:cubicBezTo>
                    <a:cubicBezTo>
                      <a:pt x="187343" y="55610"/>
                      <a:pt x="187565" y="55456"/>
                      <a:pt x="187776" y="55285"/>
                    </a:cubicBezTo>
                    <a:cubicBezTo>
                      <a:pt x="203370" y="38825"/>
                      <a:pt x="226099" y="31165"/>
                      <a:pt x="248475" y="34824"/>
                    </a:cubicBezTo>
                    <a:cubicBezTo>
                      <a:pt x="247364" y="39896"/>
                      <a:pt x="242354" y="43111"/>
                      <a:pt x="237281" y="42005"/>
                    </a:cubicBezTo>
                    <a:cubicBezTo>
                      <a:pt x="237059" y="41954"/>
                      <a:pt x="236837" y="41897"/>
                      <a:pt x="236620" y="41834"/>
                    </a:cubicBezTo>
                    <a:cubicBezTo>
                      <a:pt x="233315" y="42518"/>
                      <a:pt x="234797" y="47990"/>
                      <a:pt x="237817" y="49528"/>
                    </a:cubicBezTo>
                    <a:cubicBezTo>
                      <a:pt x="240838" y="51067"/>
                      <a:pt x="244885" y="51523"/>
                      <a:pt x="246423" y="54601"/>
                    </a:cubicBezTo>
                    <a:cubicBezTo>
                      <a:pt x="248361" y="58648"/>
                      <a:pt x="243973" y="63492"/>
                      <a:pt x="245455" y="67710"/>
                    </a:cubicBezTo>
                    <a:cubicBezTo>
                      <a:pt x="246218" y="69334"/>
                      <a:pt x="247398" y="70730"/>
                      <a:pt x="248874" y="71756"/>
                    </a:cubicBezTo>
                    <a:lnTo>
                      <a:pt x="260729" y="81674"/>
                    </a:lnTo>
                    <a:cubicBezTo>
                      <a:pt x="268082" y="87772"/>
                      <a:pt x="278113" y="94155"/>
                      <a:pt x="286377" y="89425"/>
                    </a:cubicBezTo>
                    <a:cubicBezTo>
                      <a:pt x="288942" y="87943"/>
                      <a:pt x="291335" y="85378"/>
                      <a:pt x="294299" y="85663"/>
                    </a:cubicBezTo>
                    <a:cubicBezTo>
                      <a:pt x="295838" y="85846"/>
                      <a:pt x="297240" y="86649"/>
                      <a:pt x="298175" y="87886"/>
                    </a:cubicBezTo>
                    <a:cubicBezTo>
                      <a:pt x="295348" y="93175"/>
                      <a:pt x="291888" y="98094"/>
                      <a:pt x="287859" y="102534"/>
                    </a:cubicBezTo>
                    <a:cubicBezTo>
                      <a:pt x="292093" y="111396"/>
                      <a:pt x="288337" y="122009"/>
                      <a:pt x="279480" y="126243"/>
                    </a:cubicBezTo>
                    <a:cubicBezTo>
                      <a:pt x="277890" y="127001"/>
                      <a:pt x="276203" y="127520"/>
                      <a:pt x="274465" y="127782"/>
                    </a:cubicBezTo>
                    <a:cubicBezTo>
                      <a:pt x="276517" y="135875"/>
                      <a:pt x="270247" y="144539"/>
                      <a:pt x="272926" y="152404"/>
                    </a:cubicBezTo>
                    <a:cubicBezTo>
                      <a:pt x="274830" y="156342"/>
                      <a:pt x="277412" y="159916"/>
                      <a:pt x="280563" y="162948"/>
                    </a:cubicBezTo>
                    <a:cubicBezTo>
                      <a:pt x="283710" y="166077"/>
                      <a:pt x="284752" y="170745"/>
                      <a:pt x="283242" y="174917"/>
                    </a:cubicBezTo>
                    <a:cubicBezTo>
                      <a:pt x="281361" y="178337"/>
                      <a:pt x="277087" y="179419"/>
                      <a:pt x="273553" y="180958"/>
                    </a:cubicBezTo>
                    <a:cubicBezTo>
                      <a:pt x="270019" y="182497"/>
                      <a:pt x="266372" y="186316"/>
                      <a:pt x="267854" y="189849"/>
                    </a:cubicBezTo>
                    <a:lnTo>
                      <a:pt x="250755" y="189849"/>
                    </a:lnTo>
                    <a:cubicBezTo>
                      <a:pt x="249148" y="189724"/>
                      <a:pt x="247541" y="190020"/>
                      <a:pt x="246081" y="190704"/>
                    </a:cubicBezTo>
                    <a:cubicBezTo>
                      <a:pt x="242890" y="192528"/>
                      <a:pt x="243004" y="196974"/>
                      <a:pt x="242263" y="200564"/>
                    </a:cubicBezTo>
                    <a:cubicBezTo>
                      <a:pt x="241522" y="204155"/>
                      <a:pt x="237190" y="207917"/>
                      <a:pt x="234740" y="205238"/>
                    </a:cubicBezTo>
                    <a:cubicBezTo>
                      <a:pt x="237019" y="203300"/>
                      <a:pt x="234341" y="199539"/>
                      <a:pt x="231434" y="198798"/>
                    </a:cubicBezTo>
                    <a:cubicBezTo>
                      <a:pt x="228527" y="198057"/>
                      <a:pt x="225165" y="198798"/>
                      <a:pt x="222657" y="197145"/>
                    </a:cubicBezTo>
                    <a:cubicBezTo>
                      <a:pt x="221135" y="195919"/>
                      <a:pt x="219847" y="194432"/>
                      <a:pt x="218838" y="192756"/>
                    </a:cubicBezTo>
                    <a:cubicBezTo>
                      <a:pt x="214409" y="187450"/>
                      <a:pt x="206960" y="185814"/>
                      <a:pt x="200714" y="188767"/>
                    </a:cubicBezTo>
                    <a:cubicBezTo>
                      <a:pt x="200081" y="193457"/>
                      <a:pt x="200508" y="198228"/>
                      <a:pt x="201968" y="202730"/>
                    </a:cubicBezTo>
                    <a:lnTo>
                      <a:pt x="203962" y="210824"/>
                    </a:lnTo>
                    <a:cubicBezTo>
                      <a:pt x="206128" y="219886"/>
                      <a:pt x="210517" y="230829"/>
                      <a:pt x="219807" y="231342"/>
                    </a:cubicBezTo>
                    <a:cubicBezTo>
                      <a:pt x="219716" y="235975"/>
                      <a:pt x="218291" y="240489"/>
                      <a:pt x="215703" y="244336"/>
                    </a:cubicBezTo>
                    <a:cubicBezTo>
                      <a:pt x="213002" y="248178"/>
                      <a:pt x="208271" y="250036"/>
                      <a:pt x="203677" y="249067"/>
                    </a:cubicBezTo>
                    <a:cubicBezTo>
                      <a:pt x="205615" y="251843"/>
                      <a:pt x="205353" y="255593"/>
                      <a:pt x="203051" y="258072"/>
                    </a:cubicBezTo>
                    <a:cubicBezTo>
                      <a:pt x="200714" y="260466"/>
                      <a:pt x="197345" y="261554"/>
                      <a:pt x="194045" y="260979"/>
                    </a:cubicBezTo>
                    <a:cubicBezTo>
                      <a:pt x="192193" y="260449"/>
                      <a:pt x="190261" y="260272"/>
                      <a:pt x="188346" y="260466"/>
                    </a:cubicBezTo>
                    <a:cubicBezTo>
                      <a:pt x="183729" y="261606"/>
                      <a:pt x="183330" y="267989"/>
                      <a:pt x="183957" y="272663"/>
                    </a:cubicBezTo>
                    <a:lnTo>
                      <a:pt x="161444" y="270212"/>
                    </a:lnTo>
                    <a:cubicBezTo>
                      <a:pt x="158538" y="270098"/>
                      <a:pt x="155699" y="269277"/>
                      <a:pt x="153180" y="267818"/>
                    </a:cubicBezTo>
                    <a:cubicBezTo>
                      <a:pt x="150650" y="266234"/>
                      <a:pt x="149675" y="263019"/>
                      <a:pt x="150900" y="260295"/>
                    </a:cubicBezTo>
                    <a:cubicBezTo>
                      <a:pt x="143822" y="257753"/>
                      <a:pt x="138424" y="251928"/>
                      <a:pt x="136424" y="24467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39" name="Freihandform: Form 633">
                <a:extLst>
                  <a:ext uri="{FF2B5EF4-FFF2-40B4-BE49-F238E27FC236}">
                    <a16:creationId xmlns:a16="http://schemas.microsoft.com/office/drawing/2014/main" id="{3BB11B41-78CC-6375-3A93-E3B170F9F5AD}"/>
                  </a:ext>
                </a:extLst>
              </p:cNvPr>
              <p:cNvSpPr/>
              <p:nvPr/>
            </p:nvSpPr>
            <p:spPr>
              <a:xfrm>
                <a:off x="2426219" y="4055661"/>
                <a:ext cx="93852" cy="171991"/>
              </a:xfrm>
              <a:custGeom>
                <a:avLst/>
                <a:gdLst>
                  <a:gd name="connsiteX0" fmla="*/ 16522 w 93852"/>
                  <a:gd name="connsiteY0" fmla="*/ 84979 h 171991"/>
                  <a:gd name="connsiteX1" fmla="*/ 11735 w 93852"/>
                  <a:gd name="connsiteY1" fmla="*/ 82073 h 171991"/>
                  <a:gd name="connsiteX2" fmla="*/ 8315 w 93852"/>
                  <a:gd name="connsiteY2" fmla="*/ 75062 h 171991"/>
                  <a:gd name="connsiteX3" fmla="*/ 678 w 93852"/>
                  <a:gd name="connsiteY3" fmla="*/ 64518 h 171991"/>
                  <a:gd name="connsiteX4" fmla="*/ 2216 w 93852"/>
                  <a:gd name="connsiteY4" fmla="*/ 39896 h 171991"/>
                  <a:gd name="connsiteX5" fmla="*/ 17149 w 93852"/>
                  <a:gd name="connsiteY5" fmla="*/ 19663 h 171991"/>
                  <a:gd name="connsiteX6" fmla="*/ 15610 w 93852"/>
                  <a:gd name="connsiteY6" fmla="*/ 14648 h 171991"/>
                  <a:gd name="connsiteX7" fmla="*/ 25926 w 93852"/>
                  <a:gd name="connsiteY7" fmla="*/ 0 h 171991"/>
                  <a:gd name="connsiteX8" fmla="*/ 29574 w 93852"/>
                  <a:gd name="connsiteY8" fmla="*/ 4902 h 171991"/>
                  <a:gd name="connsiteX9" fmla="*/ 58926 w 93852"/>
                  <a:gd name="connsiteY9" fmla="*/ 22570 h 171991"/>
                  <a:gd name="connsiteX10" fmla="*/ 64284 w 93852"/>
                  <a:gd name="connsiteY10" fmla="*/ 43943 h 171991"/>
                  <a:gd name="connsiteX11" fmla="*/ 84916 w 93852"/>
                  <a:gd name="connsiteY11" fmla="*/ 48218 h 171991"/>
                  <a:gd name="connsiteX12" fmla="*/ 90957 w 93852"/>
                  <a:gd name="connsiteY12" fmla="*/ 59617 h 171991"/>
                  <a:gd name="connsiteX13" fmla="*/ 89361 w 93852"/>
                  <a:gd name="connsiteY13" fmla="*/ 71358 h 171991"/>
                  <a:gd name="connsiteX14" fmla="*/ 75341 w 93852"/>
                  <a:gd name="connsiteY14" fmla="*/ 86176 h 171991"/>
                  <a:gd name="connsiteX15" fmla="*/ 75797 w 93852"/>
                  <a:gd name="connsiteY15" fmla="*/ 103275 h 171991"/>
                  <a:gd name="connsiteX16" fmla="*/ 74201 w 93852"/>
                  <a:gd name="connsiteY16" fmla="*/ 108974 h 171991"/>
                  <a:gd name="connsiteX17" fmla="*/ 86056 w 93852"/>
                  <a:gd name="connsiteY17" fmla="*/ 124591 h 171991"/>
                  <a:gd name="connsiteX18" fmla="*/ 86683 w 93852"/>
                  <a:gd name="connsiteY18" fmla="*/ 131031 h 171991"/>
                  <a:gd name="connsiteX19" fmla="*/ 90444 w 93852"/>
                  <a:gd name="connsiteY19" fmla="*/ 137072 h 171991"/>
                  <a:gd name="connsiteX20" fmla="*/ 93636 w 93852"/>
                  <a:gd name="connsiteY20" fmla="*/ 149554 h 171991"/>
                  <a:gd name="connsiteX21" fmla="*/ 84574 w 93852"/>
                  <a:gd name="connsiteY21" fmla="*/ 157989 h 171991"/>
                  <a:gd name="connsiteX22" fmla="*/ 72662 w 93852"/>
                  <a:gd name="connsiteY22" fmla="*/ 159528 h 171991"/>
                  <a:gd name="connsiteX23" fmla="*/ 71693 w 93852"/>
                  <a:gd name="connsiteY23" fmla="*/ 169331 h 171991"/>
                  <a:gd name="connsiteX24" fmla="*/ 65025 w 93852"/>
                  <a:gd name="connsiteY24" fmla="*/ 171953 h 171991"/>
                  <a:gd name="connsiteX25" fmla="*/ 40688 w 93852"/>
                  <a:gd name="connsiteY25" fmla="*/ 161067 h 171991"/>
                  <a:gd name="connsiteX26" fmla="*/ 38921 w 93852"/>
                  <a:gd name="connsiteY26" fmla="*/ 156565 h 171991"/>
                  <a:gd name="connsiteX27" fmla="*/ 35330 w 93852"/>
                  <a:gd name="connsiteY27" fmla="*/ 153544 h 171991"/>
                  <a:gd name="connsiteX28" fmla="*/ 25926 w 93852"/>
                  <a:gd name="connsiteY28" fmla="*/ 147844 h 171991"/>
                  <a:gd name="connsiteX29" fmla="*/ 27123 w 93852"/>
                  <a:gd name="connsiteY29" fmla="*/ 125616 h 171991"/>
                  <a:gd name="connsiteX30" fmla="*/ 30600 w 93852"/>
                  <a:gd name="connsiteY30" fmla="*/ 97119 h 171991"/>
                  <a:gd name="connsiteX31" fmla="*/ 28434 w 93852"/>
                  <a:gd name="connsiteY31" fmla="*/ 94725 h 171991"/>
                  <a:gd name="connsiteX32" fmla="*/ 24102 w 93852"/>
                  <a:gd name="connsiteY32" fmla="*/ 94041 h 171991"/>
                  <a:gd name="connsiteX33" fmla="*/ 16522 w 93852"/>
                  <a:gd name="connsiteY33" fmla="*/ 84979 h 17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3852" h="171991">
                    <a:moveTo>
                      <a:pt x="16522" y="84979"/>
                    </a:moveTo>
                    <a:cubicBezTo>
                      <a:pt x="15223" y="83589"/>
                      <a:pt x="13564" y="82585"/>
                      <a:pt x="11735" y="82073"/>
                    </a:cubicBezTo>
                    <a:cubicBezTo>
                      <a:pt x="11222" y="79479"/>
                      <a:pt x="10042" y="77063"/>
                      <a:pt x="8315" y="75062"/>
                    </a:cubicBezTo>
                    <a:cubicBezTo>
                      <a:pt x="5163" y="72030"/>
                      <a:pt x="2581" y="68456"/>
                      <a:pt x="678" y="64518"/>
                    </a:cubicBezTo>
                    <a:cubicBezTo>
                      <a:pt x="-2001" y="56653"/>
                      <a:pt x="4268" y="47990"/>
                      <a:pt x="2216" y="39896"/>
                    </a:cubicBezTo>
                    <a:cubicBezTo>
                      <a:pt x="11928" y="38432"/>
                      <a:pt x="18614" y="29369"/>
                      <a:pt x="17149" y="19663"/>
                    </a:cubicBezTo>
                    <a:cubicBezTo>
                      <a:pt x="16887" y="17925"/>
                      <a:pt x="16368" y="16232"/>
                      <a:pt x="15610" y="14648"/>
                    </a:cubicBezTo>
                    <a:cubicBezTo>
                      <a:pt x="19640" y="10208"/>
                      <a:pt x="23099" y="5289"/>
                      <a:pt x="25926" y="0"/>
                    </a:cubicBezTo>
                    <a:cubicBezTo>
                      <a:pt x="27237" y="1482"/>
                      <a:pt x="28320" y="3363"/>
                      <a:pt x="29574" y="4902"/>
                    </a:cubicBezTo>
                    <a:cubicBezTo>
                      <a:pt x="36926" y="14021"/>
                      <a:pt x="54253" y="11855"/>
                      <a:pt x="58926" y="22570"/>
                    </a:cubicBezTo>
                    <a:cubicBezTo>
                      <a:pt x="61947" y="29523"/>
                      <a:pt x="58185" y="39668"/>
                      <a:pt x="64284" y="43943"/>
                    </a:cubicBezTo>
                    <a:cubicBezTo>
                      <a:pt x="70382" y="48218"/>
                      <a:pt x="80014" y="42917"/>
                      <a:pt x="84916" y="48218"/>
                    </a:cubicBezTo>
                    <a:cubicBezTo>
                      <a:pt x="87936" y="51466"/>
                      <a:pt x="87538" y="57394"/>
                      <a:pt x="90957" y="59617"/>
                    </a:cubicBezTo>
                    <a:cubicBezTo>
                      <a:pt x="90860" y="63578"/>
                      <a:pt x="90325" y="67516"/>
                      <a:pt x="89361" y="71358"/>
                    </a:cubicBezTo>
                    <a:cubicBezTo>
                      <a:pt x="87840" y="78539"/>
                      <a:pt x="82425" y="84261"/>
                      <a:pt x="75341" y="86176"/>
                    </a:cubicBezTo>
                    <a:cubicBezTo>
                      <a:pt x="77626" y="91619"/>
                      <a:pt x="77786" y="97718"/>
                      <a:pt x="75797" y="103275"/>
                    </a:cubicBezTo>
                    <a:cubicBezTo>
                      <a:pt x="74930" y="105064"/>
                      <a:pt x="74389" y="106996"/>
                      <a:pt x="74201" y="108974"/>
                    </a:cubicBezTo>
                    <a:cubicBezTo>
                      <a:pt x="74201" y="115642"/>
                      <a:pt x="84403" y="118036"/>
                      <a:pt x="86056" y="124591"/>
                    </a:cubicBezTo>
                    <a:cubicBezTo>
                      <a:pt x="86569" y="126699"/>
                      <a:pt x="86056" y="128922"/>
                      <a:pt x="86683" y="131031"/>
                    </a:cubicBezTo>
                    <a:cubicBezTo>
                      <a:pt x="87526" y="133271"/>
                      <a:pt x="88803" y="135328"/>
                      <a:pt x="90444" y="137072"/>
                    </a:cubicBezTo>
                    <a:cubicBezTo>
                      <a:pt x="93214" y="140600"/>
                      <a:pt x="94371" y="145131"/>
                      <a:pt x="93636" y="149554"/>
                    </a:cubicBezTo>
                    <a:cubicBezTo>
                      <a:pt x="92724" y="154011"/>
                      <a:pt x="89088" y="157402"/>
                      <a:pt x="84574" y="157989"/>
                    </a:cubicBezTo>
                    <a:cubicBezTo>
                      <a:pt x="80356" y="157989"/>
                      <a:pt x="74885" y="155938"/>
                      <a:pt x="72662" y="159528"/>
                    </a:cubicBezTo>
                    <a:cubicBezTo>
                      <a:pt x="70439" y="163119"/>
                      <a:pt x="73346" y="166425"/>
                      <a:pt x="71693" y="169331"/>
                    </a:cubicBezTo>
                    <a:cubicBezTo>
                      <a:pt x="70023" y="171224"/>
                      <a:pt x="67538" y="172204"/>
                      <a:pt x="65025" y="171953"/>
                    </a:cubicBezTo>
                    <a:cubicBezTo>
                      <a:pt x="55507" y="172238"/>
                      <a:pt x="44051" y="169958"/>
                      <a:pt x="40688" y="161067"/>
                    </a:cubicBezTo>
                    <a:cubicBezTo>
                      <a:pt x="40277" y="159500"/>
                      <a:pt x="39685" y="157989"/>
                      <a:pt x="38921" y="156565"/>
                    </a:cubicBezTo>
                    <a:cubicBezTo>
                      <a:pt x="37958" y="155311"/>
                      <a:pt x="36732" y="154279"/>
                      <a:pt x="35330" y="153544"/>
                    </a:cubicBezTo>
                    <a:lnTo>
                      <a:pt x="25926" y="147844"/>
                    </a:lnTo>
                    <a:cubicBezTo>
                      <a:pt x="25294" y="140418"/>
                      <a:pt x="25698" y="132935"/>
                      <a:pt x="27123" y="125616"/>
                    </a:cubicBezTo>
                    <a:cubicBezTo>
                      <a:pt x="29460" y="115984"/>
                      <a:pt x="35216" y="105725"/>
                      <a:pt x="30600" y="97119"/>
                    </a:cubicBezTo>
                    <a:cubicBezTo>
                      <a:pt x="30150" y="96116"/>
                      <a:pt x="29392" y="95278"/>
                      <a:pt x="28434" y="94725"/>
                    </a:cubicBezTo>
                    <a:cubicBezTo>
                      <a:pt x="27015" y="94349"/>
                      <a:pt x="25567" y="94121"/>
                      <a:pt x="24102" y="94041"/>
                    </a:cubicBezTo>
                    <a:cubicBezTo>
                      <a:pt x="20227" y="93015"/>
                      <a:pt x="19087" y="87886"/>
                      <a:pt x="16522" y="849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0" name="Freihandform: Form 634">
                <a:extLst>
                  <a:ext uri="{FF2B5EF4-FFF2-40B4-BE49-F238E27FC236}">
                    <a16:creationId xmlns:a16="http://schemas.microsoft.com/office/drawing/2014/main" id="{19885524-DCAD-2FD9-5ADF-66A291A92410}"/>
                  </a:ext>
                </a:extLst>
              </p:cNvPr>
              <p:cNvSpPr/>
              <p:nvPr/>
            </p:nvSpPr>
            <p:spPr>
              <a:xfrm>
                <a:off x="2500420" y="4113777"/>
                <a:ext cx="88113" cy="103977"/>
              </a:xfrm>
              <a:custGeom>
                <a:avLst/>
                <a:gdLst>
                  <a:gd name="connsiteX0" fmla="*/ 19663 w 88113"/>
                  <a:gd name="connsiteY0" fmla="*/ 88247 h 103977"/>
                  <a:gd name="connsiteX1" fmla="*/ 16243 w 88113"/>
                  <a:gd name="connsiteY1" fmla="*/ 79127 h 103977"/>
                  <a:gd name="connsiteX2" fmla="*/ 12482 w 88113"/>
                  <a:gd name="connsiteY2" fmla="*/ 73086 h 103977"/>
                  <a:gd name="connsiteX3" fmla="*/ 11855 w 88113"/>
                  <a:gd name="connsiteY3" fmla="*/ 66645 h 103977"/>
                  <a:gd name="connsiteX4" fmla="*/ 0 w 88113"/>
                  <a:gd name="connsiteY4" fmla="*/ 51029 h 103977"/>
                  <a:gd name="connsiteX5" fmla="*/ 1596 w 88113"/>
                  <a:gd name="connsiteY5" fmla="*/ 45329 h 103977"/>
                  <a:gd name="connsiteX6" fmla="*/ 1140 w 88113"/>
                  <a:gd name="connsiteY6" fmla="*/ 28231 h 103977"/>
                  <a:gd name="connsiteX7" fmla="*/ 15160 w 88113"/>
                  <a:gd name="connsiteY7" fmla="*/ 13412 h 103977"/>
                  <a:gd name="connsiteX8" fmla="*/ 16756 w 88113"/>
                  <a:gd name="connsiteY8" fmla="*/ 1671 h 103977"/>
                  <a:gd name="connsiteX9" fmla="*/ 17497 w 88113"/>
                  <a:gd name="connsiteY9" fmla="*/ 2184 h 103977"/>
                  <a:gd name="connsiteX10" fmla="*/ 26559 w 88113"/>
                  <a:gd name="connsiteY10" fmla="*/ 1501 h 103977"/>
                  <a:gd name="connsiteX11" fmla="*/ 58249 w 88113"/>
                  <a:gd name="connsiteY11" fmla="*/ 5889 h 103977"/>
                  <a:gd name="connsiteX12" fmla="*/ 62751 w 88113"/>
                  <a:gd name="connsiteY12" fmla="*/ 873 h 103977"/>
                  <a:gd name="connsiteX13" fmla="*/ 74150 w 88113"/>
                  <a:gd name="connsiteY13" fmla="*/ 2982 h 103977"/>
                  <a:gd name="connsiteX14" fmla="*/ 88114 w 88113"/>
                  <a:gd name="connsiteY14" fmla="*/ 12159 h 103977"/>
                  <a:gd name="connsiteX15" fmla="*/ 78083 w 88113"/>
                  <a:gd name="connsiteY15" fmla="*/ 30568 h 103977"/>
                  <a:gd name="connsiteX16" fmla="*/ 73637 w 88113"/>
                  <a:gd name="connsiteY16" fmla="*/ 39573 h 103977"/>
                  <a:gd name="connsiteX17" fmla="*/ 76088 w 88113"/>
                  <a:gd name="connsiteY17" fmla="*/ 45899 h 103977"/>
                  <a:gd name="connsiteX18" fmla="*/ 78881 w 88113"/>
                  <a:gd name="connsiteY18" fmla="*/ 69609 h 103977"/>
                  <a:gd name="connsiteX19" fmla="*/ 72497 w 88113"/>
                  <a:gd name="connsiteY19" fmla="*/ 80039 h 103977"/>
                  <a:gd name="connsiteX20" fmla="*/ 68394 w 88113"/>
                  <a:gd name="connsiteY20" fmla="*/ 80039 h 103977"/>
                  <a:gd name="connsiteX21" fmla="*/ 65259 w 88113"/>
                  <a:gd name="connsiteY21" fmla="*/ 84770 h 103977"/>
                  <a:gd name="connsiteX22" fmla="*/ 61326 w 88113"/>
                  <a:gd name="connsiteY22" fmla="*/ 85967 h 103977"/>
                  <a:gd name="connsiteX23" fmla="*/ 40922 w 88113"/>
                  <a:gd name="connsiteY23" fmla="*/ 86879 h 103977"/>
                  <a:gd name="connsiteX24" fmla="*/ 40922 w 88113"/>
                  <a:gd name="connsiteY24" fmla="*/ 95827 h 103977"/>
                  <a:gd name="connsiteX25" fmla="*/ 37730 w 88113"/>
                  <a:gd name="connsiteY25" fmla="*/ 103635 h 103977"/>
                  <a:gd name="connsiteX26" fmla="*/ 33684 w 88113"/>
                  <a:gd name="connsiteY26" fmla="*/ 103635 h 103977"/>
                  <a:gd name="connsiteX27" fmla="*/ 19663 w 88113"/>
                  <a:gd name="connsiteY27" fmla="*/ 88247 h 1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113" h="103977">
                    <a:moveTo>
                      <a:pt x="19663" y="88247"/>
                    </a:moveTo>
                    <a:cubicBezTo>
                      <a:pt x="19429" y="84941"/>
                      <a:pt x="18244" y="81772"/>
                      <a:pt x="16243" y="79127"/>
                    </a:cubicBezTo>
                    <a:cubicBezTo>
                      <a:pt x="14602" y="77383"/>
                      <a:pt x="13325" y="75326"/>
                      <a:pt x="12482" y="73086"/>
                    </a:cubicBezTo>
                    <a:cubicBezTo>
                      <a:pt x="11912" y="70977"/>
                      <a:pt x="12482" y="68754"/>
                      <a:pt x="11855" y="66645"/>
                    </a:cubicBezTo>
                    <a:cubicBezTo>
                      <a:pt x="10202" y="60091"/>
                      <a:pt x="171" y="57697"/>
                      <a:pt x="0" y="51029"/>
                    </a:cubicBezTo>
                    <a:cubicBezTo>
                      <a:pt x="188" y="49051"/>
                      <a:pt x="729" y="47119"/>
                      <a:pt x="1596" y="45329"/>
                    </a:cubicBezTo>
                    <a:cubicBezTo>
                      <a:pt x="3585" y="39772"/>
                      <a:pt x="3425" y="33674"/>
                      <a:pt x="1140" y="28231"/>
                    </a:cubicBezTo>
                    <a:cubicBezTo>
                      <a:pt x="8224" y="26316"/>
                      <a:pt x="13639" y="20594"/>
                      <a:pt x="15160" y="13412"/>
                    </a:cubicBezTo>
                    <a:cubicBezTo>
                      <a:pt x="16124" y="9571"/>
                      <a:pt x="16659" y="5633"/>
                      <a:pt x="16756" y="1671"/>
                    </a:cubicBezTo>
                    <a:lnTo>
                      <a:pt x="17497" y="2184"/>
                    </a:lnTo>
                    <a:cubicBezTo>
                      <a:pt x="20290" y="3495"/>
                      <a:pt x="23482" y="1899"/>
                      <a:pt x="26559" y="1501"/>
                    </a:cubicBezTo>
                    <a:cubicBezTo>
                      <a:pt x="37673" y="76"/>
                      <a:pt x="50155" y="13697"/>
                      <a:pt x="58249" y="5889"/>
                    </a:cubicBezTo>
                    <a:cubicBezTo>
                      <a:pt x="59844" y="4350"/>
                      <a:pt x="60870" y="2070"/>
                      <a:pt x="62751" y="873"/>
                    </a:cubicBezTo>
                    <a:cubicBezTo>
                      <a:pt x="66171" y="-1235"/>
                      <a:pt x="70559" y="873"/>
                      <a:pt x="74150" y="2982"/>
                    </a:cubicBezTo>
                    <a:cubicBezTo>
                      <a:pt x="78881" y="5946"/>
                      <a:pt x="83497" y="9081"/>
                      <a:pt x="88114" y="12159"/>
                    </a:cubicBezTo>
                    <a:cubicBezTo>
                      <a:pt x="85840" y="18821"/>
                      <a:pt x="82443" y="25045"/>
                      <a:pt x="78083" y="30568"/>
                    </a:cubicBezTo>
                    <a:cubicBezTo>
                      <a:pt x="75564" y="32933"/>
                      <a:pt x="73985" y="36130"/>
                      <a:pt x="73637" y="39573"/>
                    </a:cubicBezTo>
                    <a:cubicBezTo>
                      <a:pt x="74013" y="41830"/>
                      <a:pt x="74845" y="43979"/>
                      <a:pt x="76088" y="45899"/>
                    </a:cubicBezTo>
                    <a:cubicBezTo>
                      <a:pt x="78966" y="53451"/>
                      <a:pt x="79924" y="61596"/>
                      <a:pt x="78881" y="69609"/>
                    </a:cubicBezTo>
                    <a:cubicBezTo>
                      <a:pt x="78881" y="74112"/>
                      <a:pt x="77057" y="80096"/>
                      <a:pt x="72497" y="80039"/>
                    </a:cubicBezTo>
                    <a:cubicBezTo>
                      <a:pt x="71129" y="80039"/>
                      <a:pt x="69648" y="79355"/>
                      <a:pt x="68394" y="80039"/>
                    </a:cubicBezTo>
                    <a:cubicBezTo>
                      <a:pt x="67140" y="80723"/>
                      <a:pt x="66684" y="83459"/>
                      <a:pt x="65259" y="84770"/>
                    </a:cubicBezTo>
                    <a:cubicBezTo>
                      <a:pt x="64119" y="85596"/>
                      <a:pt x="62734" y="86018"/>
                      <a:pt x="61326" y="85967"/>
                    </a:cubicBezTo>
                    <a:lnTo>
                      <a:pt x="40922" y="86879"/>
                    </a:lnTo>
                    <a:cubicBezTo>
                      <a:pt x="40329" y="89831"/>
                      <a:pt x="40329" y="92874"/>
                      <a:pt x="40922" y="95827"/>
                    </a:cubicBezTo>
                    <a:cubicBezTo>
                      <a:pt x="41572" y="98836"/>
                      <a:pt x="40301" y="101942"/>
                      <a:pt x="37730" y="103635"/>
                    </a:cubicBezTo>
                    <a:cubicBezTo>
                      <a:pt x="36420" y="104091"/>
                      <a:pt x="34995" y="104091"/>
                      <a:pt x="33684" y="103635"/>
                    </a:cubicBezTo>
                    <a:cubicBezTo>
                      <a:pt x="26730" y="101925"/>
                      <a:pt x="23938" y="94288"/>
                      <a:pt x="19663" y="8824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1" name="Freihandform: Form 635">
                <a:extLst>
                  <a:ext uri="{FF2B5EF4-FFF2-40B4-BE49-F238E27FC236}">
                    <a16:creationId xmlns:a16="http://schemas.microsoft.com/office/drawing/2014/main" id="{6B82DC2B-0F64-5CE7-BE9A-F779899ED71D}"/>
                  </a:ext>
                </a:extLst>
              </p:cNvPr>
              <p:cNvSpPr/>
              <p:nvPr/>
            </p:nvSpPr>
            <p:spPr>
              <a:xfrm>
                <a:off x="2573145" y="4125936"/>
                <a:ext cx="61725" cy="86974"/>
              </a:xfrm>
              <a:custGeom>
                <a:avLst/>
                <a:gdLst>
                  <a:gd name="connsiteX0" fmla="*/ 2793 w 61725"/>
                  <a:gd name="connsiteY0" fmla="*/ 79736 h 86974"/>
                  <a:gd name="connsiteX1" fmla="*/ 0 w 61725"/>
                  <a:gd name="connsiteY1" fmla="*/ 67824 h 86974"/>
                  <a:gd name="connsiteX2" fmla="*/ 5985 w 61725"/>
                  <a:gd name="connsiteY2" fmla="*/ 57451 h 86974"/>
                  <a:gd name="connsiteX3" fmla="*/ 3192 w 61725"/>
                  <a:gd name="connsiteY3" fmla="*/ 33741 h 86974"/>
                  <a:gd name="connsiteX4" fmla="*/ 741 w 61725"/>
                  <a:gd name="connsiteY4" fmla="*/ 27414 h 86974"/>
                  <a:gd name="connsiteX5" fmla="*/ 5187 w 61725"/>
                  <a:gd name="connsiteY5" fmla="*/ 18409 h 86974"/>
                  <a:gd name="connsiteX6" fmla="*/ 15218 w 61725"/>
                  <a:gd name="connsiteY6" fmla="*/ 0 h 86974"/>
                  <a:gd name="connsiteX7" fmla="*/ 20005 w 61725"/>
                  <a:gd name="connsiteY7" fmla="*/ 3192 h 86974"/>
                  <a:gd name="connsiteX8" fmla="*/ 27529 w 61725"/>
                  <a:gd name="connsiteY8" fmla="*/ 8435 h 86974"/>
                  <a:gd name="connsiteX9" fmla="*/ 61725 w 61725"/>
                  <a:gd name="connsiteY9" fmla="*/ 42632 h 86974"/>
                  <a:gd name="connsiteX10" fmla="*/ 53461 w 61725"/>
                  <a:gd name="connsiteY10" fmla="*/ 45083 h 86974"/>
                  <a:gd name="connsiteX11" fmla="*/ 55507 w 61725"/>
                  <a:gd name="connsiteY11" fmla="*/ 52880 h 86974"/>
                  <a:gd name="connsiteX12" fmla="*/ 55627 w 61725"/>
                  <a:gd name="connsiteY12" fmla="*/ 52948 h 86974"/>
                  <a:gd name="connsiteX13" fmla="*/ 52036 w 61725"/>
                  <a:gd name="connsiteY13" fmla="*/ 59844 h 86974"/>
                  <a:gd name="connsiteX14" fmla="*/ 59788 w 61725"/>
                  <a:gd name="connsiteY14" fmla="*/ 60243 h 86974"/>
                  <a:gd name="connsiteX15" fmla="*/ 55855 w 61725"/>
                  <a:gd name="connsiteY15" fmla="*/ 62466 h 86974"/>
                  <a:gd name="connsiteX16" fmla="*/ 47420 w 61725"/>
                  <a:gd name="connsiteY16" fmla="*/ 66171 h 86974"/>
                  <a:gd name="connsiteX17" fmla="*/ 43259 w 61725"/>
                  <a:gd name="connsiteY17" fmla="*/ 67083 h 86974"/>
                  <a:gd name="connsiteX18" fmla="*/ 38129 w 61725"/>
                  <a:gd name="connsiteY18" fmla="*/ 74435 h 86974"/>
                  <a:gd name="connsiteX19" fmla="*/ 38928 w 61725"/>
                  <a:gd name="connsiteY19" fmla="*/ 83725 h 86974"/>
                  <a:gd name="connsiteX20" fmla="*/ 17383 w 61725"/>
                  <a:gd name="connsiteY20" fmla="*/ 83326 h 86974"/>
                  <a:gd name="connsiteX21" fmla="*/ 13679 w 61725"/>
                  <a:gd name="connsiteY21" fmla="*/ 86347 h 86974"/>
                  <a:gd name="connsiteX22" fmla="*/ 2793 w 61725"/>
                  <a:gd name="connsiteY22" fmla="*/ 79736 h 8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1725" h="86974">
                    <a:moveTo>
                      <a:pt x="2793" y="79736"/>
                    </a:moveTo>
                    <a:cubicBezTo>
                      <a:pt x="1539" y="75860"/>
                      <a:pt x="1425" y="71585"/>
                      <a:pt x="0" y="67824"/>
                    </a:cubicBezTo>
                    <a:cubicBezTo>
                      <a:pt x="4218" y="67539"/>
                      <a:pt x="5699" y="61839"/>
                      <a:pt x="5985" y="57451"/>
                    </a:cubicBezTo>
                    <a:cubicBezTo>
                      <a:pt x="7027" y="49437"/>
                      <a:pt x="6070" y="41293"/>
                      <a:pt x="3192" y="33741"/>
                    </a:cubicBezTo>
                    <a:cubicBezTo>
                      <a:pt x="1949" y="31820"/>
                      <a:pt x="1117" y="29671"/>
                      <a:pt x="741" y="27414"/>
                    </a:cubicBezTo>
                    <a:cubicBezTo>
                      <a:pt x="1089" y="23972"/>
                      <a:pt x="2667" y="20775"/>
                      <a:pt x="5187" y="18409"/>
                    </a:cubicBezTo>
                    <a:cubicBezTo>
                      <a:pt x="9547" y="12886"/>
                      <a:pt x="12943" y="6663"/>
                      <a:pt x="15218" y="0"/>
                    </a:cubicBezTo>
                    <a:cubicBezTo>
                      <a:pt x="16814" y="1083"/>
                      <a:pt x="18466" y="2109"/>
                      <a:pt x="20005" y="3192"/>
                    </a:cubicBezTo>
                    <a:lnTo>
                      <a:pt x="27529" y="8435"/>
                    </a:lnTo>
                    <a:cubicBezTo>
                      <a:pt x="40751" y="17896"/>
                      <a:pt x="53974" y="28269"/>
                      <a:pt x="61725" y="42632"/>
                    </a:cubicBezTo>
                    <a:cubicBezTo>
                      <a:pt x="58733" y="41521"/>
                      <a:pt x="55365" y="42518"/>
                      <a:pt x="53461" y="45083"/>
                    </a:cubicBezTo>
                    <a:cubicBezTo>
                      <a:pt x="51871" y="47801"/>
                      <a:pt x="52788" y="51290"/>
                      <a:pt x="55507" y="52880"/>
                    </a:cubicBezTo>
                    <a:cubicBezTo>
                      <a:pt x="55547" y="52902"/>
                      <a:pt x="55587" y="52925"/>
                      <a:pt x="55627" y="52948"/>
                    </a:cubicBezTo>
                    <a:cubicBezTo>
                      <a:pt x="53136" y="54299"/>
                      <a:pt x="51717" y="57029"/>
                      <a:pt x="52036" y="59844"/>
                    </a:cubicBezTo>
                    <a:lnTo>
                      <a:pt x="59788" y="60243"/>
                    </a:lnTo>
                    <a:lnTo>
                      <a:pt x="55855" y="62466"/>
                    </a:lnTo>
                    <a:cubicBezTo>
                      <a:pt x="53256" y="64136"/>
                      <a:pt x="50412" y="65390"/>
                      <a:pt x="47420" y="66171"/>
                    </a:cubicBezTo>
                    <a:cubicBezTo>
                      <a:pt x="46006" y="66353"/>
                      <a:pt x="44615" y="66661"/>
                      <a:pt x="43259" y="67083"/>
                    </a:cubicBezTo>
                    <a:cubicBezTo>
                      <a:pt x="40369" y="68456"/>
                      <a:pt x="38420" y="71249"/>
                      <a:pt x="38129" y="74435"/>
                    </a:cubicBezTo>
                    <a:cubicBezTo>
                      <a:pt x="37856" y="77553"/>
                      <a:pt x="38124" y="80699"/>
                      <a:pt x="38928" y="83725"/>
                    </a:cubicBezTo>
                    <a:cubicBezTo>
                      <a:pt x="31689" y="85036"/>
                      <a:pt x="23368" y="78995"/>
                      <a:pt x="17383" y="83326"/>
                    </a:cubicBezTo>
                    <a:cubicBezTo>
                      <a:pt x="16215" y="84409"/>
                      <a:pt x="14978" y="85418"/>
                      <a:pt x="13679" y="86347"/>
                    </a:cubicBezTo>
                    <a:cubicBezTo>
                      <a:pt x="9347" y="88627"/>
                      <a:pt x="4332" y="84295"/>
                      <a:pt x="2793" y="7973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2" name="Freihandform: Form 636">
                <a:extLst>
                  <a:ext uri="{FF2B5EF4-FFF2-40B4-BE49-F238E27FC236}">
                    <a16:creationId xmlns:a16="http://schemas.microsoft.com/office/drawing/2014/main" id="{CD77FCA7-98E0-FCA2-5BA6-CDED2BB9DFA4}"/>
                  </a:ext>
                </a:extLst>
              </p:cNvPr>
              <p:cNvSpPr/>
              <p:nvPr/>
            </p:nvSpPr>
            <p:spPr>
              <a:xfrm>
                <a:off x="1987125" y="4228982"/>
                <a:ext cx="129093" cy="146327"/>
              </a:xfrm>
              <a:custGeom>
                <a:avLst/>
                <a:gdLst>
                  <a:gd name="connsiteX0" fmla="*/ 15617 w 129093"/>
                  <a:gd name="connsiteY0" fmla="*/ 115072 h 146327"/>
                  <a:gd name="connsiteX1" fmla="*/ 16358 w 129093"/>
                  <a:gd name="connsiteY1" fmla="*/ 115072 h 146327"/>
                  <a:gd name="connsiteX2" fmla="*/ 30720 w 129093"/>
                  <a:gd name="connsiteY2" fmla="*/ 96264 h 146327"/>
                  <a:gd name="connsiteX3" fmla="*/ 11399 w 129093"/>
                  <a:gd name="connsiteY3" fmla="*/ 86347 h 146327"/>
                  <a:gd name="connsiteX4" fmla="*/ 0 w 129093"/>
                  <a:gd name="connsiteY4" fmla="*/ 75803 h 146327"/>
                  <a:gd name="connsiteX5" fmla="*/ 4058 w 129093"/>
                  <a:gd name="connsiteY5" fmla="*/ 64757 h 146327"/>
                  <a:gd name="connsiteX6" fmla="*/ 0 w 129093"/>
                  <a:gd name="connsiteY6" fmla="*/ 60700 h 146327"/>
                  <a:gd name="connsiteX7" fmla="*/ 2337 w 129093"/>
                  <a:gd name="connsiteY7" fmla="*/ 48674 h 146327"/>
                  <a:gd name="connsiteX8" fmla="*/ 12368 w 129093"/>
                  <a:gd name="connsiteY8" fmla="*/ 46166 h 146327"/>
                  <a:gd name="connsiteX9" fmla="*/ 17098 w 129093"/>
                  <a:gd name="connsiteY9" fmla="*/ 30321 h 146327"/>
                  <a:gd name="connsiteX10" fmla="*/ 21772 w 129093"/>
                  <a:gd name="connsiteY10" fmla="*/ 29238 h 146327"/>
                  <a:gd name="connsiteX11" fmla="*/ 25249 w 129093"/>
                  <a:gd name="connsiteY11" fmla="*/ 18295 h 146327"/>
                  <a:gd name="connsiteX12" fmla="*/ 36021 w 129093"/>
                  <a:gd name="connsiteY12" fmla="*/ 1197 h 146327"/>
                  <a:gd name="connsiteX13" fmla="*/ 47705 w 129093"/>
                  <a:gd name="connsiteY13" fmla="*/ 3021 h 146327"/>
                  <a:gd name="connsiteX14" fmla="*/ 54487 w 129093"/>
                  <a:gd name="connsiteY14" fmla="*/ 0 h 146327"/>
                  <a:gd name="connsiteX15" fmla="*/ 78368 w 129093"/>
                  <a:gd name="connsiteY15" fmla="*/ 10088 h 146327"/>
                  <a:gd name="connsiteX16" fmla="*/ 84694 w 129093"/>
                  <a:gd name="connsiteY16" fmla="*/ 18922 h 146327"/>
                  <a:gd name="connsiteX17" fmla="*/ 94953 w 129093"/>
                  <a:gd name="connsiteY17" fmla="*/ 18922 h 146327"/>
                  <a:gd name="connsiteX18" fmla="*/ 114104 w 129093"/>
                  <a:gd name="connsiteY18" fmla="*/ 28896 h 146327"/>
                  <a:gd name="connsiteX19" fmla="*/ 120829 w 129093"/>
                  <a:gd name="connsiteY19" fmla="*/ 28896 h 146327"/>
                  <a:gd name="connsiteX20" fmla="*/ 123679 w 129093"/>
                  <a:gd name="connsiteY20" fmla="*/ 33456 h 146327"/>
                  <a:gd name="connsiteX21" fmla="*/ 129093 w 129093"/>
                  <a:gd name="connsiteY21" fmla="*/ 37104 h 146327"/>
                  <a:gd name="connsiteX22" fmla="*/ 124078 w 129093"/>
                  <a:gd name="connsiteY22" fmla="*/ 49016 h 146327"/>
                  <a:gd name="connsiteX23" fmla="*/ 120430 w 129093"/>
                  <a:gd name="connsiteY23" fmla="*/ 56938 h 146327"/>
                  <a:gd name="connsiteX24" fmla="*/ 121114 w 129093"/>
                  <a:gd name="connsiteY24" fmla="*/ 65715 h 146327"/>
                  <a:gd name="connsiteX25" fmla="*/ 104015 w 129093"/>
                  <a:gd name="connsiteY25" fmla="*/ 77741 h 146327"/>
                  <a:gd name="connsiteX26" fmla="*/ 99496 w 129093"/>
                  <a:gd name="connsiteY26" fmla="*/ 92708 h 146327"/>
                  <a:gd name="connsiteX27" fmla="*/ 99000 w 129093"/>
                  <a:gd name="connsiteY27" fmla="*/ 92958 h 146327"/>
                  <a:gd name="connsiteX28" fmla="*/ 84010 w 129093"/>
                  <a:gd name="connsiteY28" fmla="*/ 96777 h 146327"/>
                  <a:gd name="connsiteX29" fmla="*/ 80648 w 129093"/>
                  <a:gd name="connsiteY29" fmla="*/ 100140 h 146327"/>
                  <a:gd name="connsiteX30" fmla="*/ 63891 w 129093"/>
                  <a:gd name="connsiteY30" fmla="*/ 104471 h 146327"/>
                  <a:gd name="connsiteX31" fmla="*/ 61953 w 129093"/>
                  <a:gd name="connsiteY31" fmla="*/ 110171 h 146327"/>
                  <a:gd name="connsiteX32" fmla="*/ 57052 w 129093"/>
                  <a:gd name="connsiteY32" fmla="*/ 114331 h 146327"/>
                  <a:gd name="connsiteX33" fmla="*/ 59673 w 129093"/>
                  <a:gd name="connsiteY33" fmla="*/ 127098 h 146327"/>
                  <a:gd name="connsiteX34" fmla="*/ 50384 w 129093"/>
                  <a:gd name="connsiteY34" fmla="*/ 131487 h 146327"/>
                  <a:gd name="connsiteX35" fmla="*/ 51124 w 129093"/>
                  <a:gd name="connsiteY35" fmla="*/ 146248 h 146327"/>
                  <a:gd name="connsiteX36" fmla="*/ 39725 w 129093"/>
                  <a:gd name="connsiteY36" fmla="*/ 146248 h 146327"/>
                  <a:gd name="connsiteX37" fmla="*/ 35907 w 129093"/>
                  <a:gd name="connsiteY37" fmla="*/ 143838 h 146327"/>
                  <a:gd name="connsiteX38" fmla="*/ 35850 w 129093"/>
                  <a:gd name="connsiteY38" fmla="*/ 142772 h 146327"/>
                  <a:gd name="connsiteX39" fmla="*/ 34767 w 129093"/>
                  <a:gd name="connsiteY39" fmla="*/ 133482 h 146327"/>
                  <a:gd name="connsiteX40" fmla="*/ 27073 w 129093"/>
                  <a:gd name="connsiteY40" fmla="*/ 138212 h 146327"/>
                  <a:gd name="connsiteX41" fmla="*/ 17857 w 129093"/>
                  <a:gd name="connsiteY41" fmla="*/ 135283 h 146327"/>
                  <a:gd name="connsiteX42" fmla="*/ 17725 w 129093"/>
                  <a:gd name="connsiteY42" fmla="*/ 135021 h 146327"/>
                  <a:gd name="connsiteX43" fmla="*/ 16585 w 129093"/>
                  <a:gd name="connsiteY43" fmla="*/ 124078 h 146327"/>
                  <a:gd name="connsiteX44" fmla="*/ 15617 w 129093"/>
                  <a:gd name="connsiteY44" fmla="*/ 115072 h 14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9093" h="146327">
                    <a:moveTo>
                      <a:pt x="15617" y="115072"/>
                    </a:moveTo>
                    <a:lnTo>
                      <a:pt x="16358" y="115072"/>
                    </a:lnTo>
                    <a:cubicBezTo>
                      <a:pt x="24736" y="114104"/>
                      <a:pt x="28839" y="104471"/>
                      <a:pt x="30720" y="96264"/>
                    </a:cubicBezTo>
                    <a:cubicBezTo>
                      <a:pt x="22627" y="96606"/>
                      <a:pt x="11627" y="94497"/>
                      <a:pt x="11399" y="86347"/>
                    </a:cubicBezTo>
                    <a:cubicBezTo>
                      <a:pt x="5420" y="86364"/>
                      <a:pt x="450" y="81765"/>
                      <a:pt x="0" y="75803"/>
                    </a:cubicBezTo>
                    <a:cubicBezTo>
                      <a:pt x="4172" y="73871"/>
                      <a:pt x="5985" y="68930"/>
                      <a:pt x="4058" y="64757"/>
                    </a:cubicBezTo>
                    <a:cubicBezTo>
                      <a:pt x="3226" y="62968"/>
                      <a:pt x="1790" y="61526"/>
                      <a:pt x="0" y="60700"/>
                    </a:cubicBezTo>
                    <a:cubicBezTo>
                      <a:pt x="1539" y="56875"/>
                      <a:pt x="2331" y="52794"/>
                      <a:pt x="2337" y="48674"/>
                    </a:cubicBezTo>
                    <a:lnTo>
                      <a:pt x="12368" y="46166"/>
                    </a:lnTo>
                    <a:cubicBezTo>
                      <a:pt x="11228" y="40466"/>
                      <a:pt x="11342" y="32145"/>
                      <a:pt x="17098" y="30321"/>
                    </a:cubicBezTo>
                    <a:cubicBezTo>
                      <a:pt x="18671" y="30042"/>
                      <a:pt x="20233" y="29683"/>
                      <a:pt x="21772" y="29238"/>
                    </a:cubicBezTo>
                    <a:cubicBezTo>
                      <a:pt x="25477" y="27529"/>
                      <a:pt x="25306" y="22342"/>
                      <a:pt x="25249" y="18295"/>
                    </a:cubicBezTo>
                    <a:cubicBezTo>
                      <a:pt x="25249" y="10829"/>
                      <a:pt x="28611" y="1881"/>
                      <a:pt x="36021" y="1197"/>
                    </a:cubicBezTo>
                    <a:cubicBezTo>
                      <a:pt x="39959" y="1470"/>
                      <a:pt x="43869" y="2080"/>
                      <a:pt x="47705" y="3021"/>
                    </a:cubicBezTo>
                    <a:cubicBezTo>
                      <a:pt x="50309" y="3101"/>
                      <a:pt x="52806" y="1989"/>
                      <a:pt x="54487" y="0"/>
                    </a:cubicBezTo>
                    <a:cubicBezTo>
                      <a:pt x="61657" y="4987"/>
                      <a:pt x="69790" y="8424"/>
                      <a:pt x="78368" y="10088"/>
                    </a:cubicBezTo>
                    <a:cubicBezTo>
                      <a:pt x="79565" y="13679"/>
                      <a:pt x="81161" y="17668"/>
                      <a:pt x="84694" y="18922"/>
                    </a:cubicBezTo>
                    <a:cubicBezTo>
                      <a:pt x="88228" y="20176"/>
                      <a:pt x="91534" y="18523"/>
                      <a:pt x="94953" y="18922"/>
                    </a:cubicBezTo>
                    <a:cubicBezTo>
                      <a:pt x="102249" y="19720"/>
                      <a:pt x="106751" y="29295"/>
                      <a:pt x="114104" y="28896"/>
                    </a:cubicBezTo>
                    <a:cubicBezTo>
                      <a:pt x="116440" y="28896"/>
                      <a:pt x="118948" y="27756"/>
                      <a:pt x="120829" y="28896"/>
                    </a:cubicBezTo>
                    <a:cubicBezTo>
                      <a:pt x="122710" y="30036"/>
                      <a:pt x="122710" y="31917"/>
                      <a:pt x="123679" y="33456"/>
                    </a:cubicBezTo>
                    <a:cubicBezTo>
                      <a:pt x="124927" y="35343"/>
                      <a:pt x="126876" y="36659"/>
                      <a:pt x="129093" y="37104"/>
                    </a:cubicBezTo>
                    <a:cubicBezTo>
                      <a:pt x="127959" y="41281"/>
                      <a:pt x="126272" y="45288"/>
                      <a:pt x="124078" y="49016"/>
                    </a:cubicBezTo>
                    <a:cubicBezTo>
                      <a:pt x="122328" y="51375"/>
                      <a:pt x="121085" y="54077"/>
                      <a:pt x="120430" y="56938"/>
                    </a:cubicBezTo>
                    <a:cubicBezTo>
                      <a:pt x="120088" y="59902"/>
                      <a:pt x="121342" y="62637"/>
                      <a:pt x="121114" y="65715"/>
                    </a:cubicBezTo>
                    <a:cubicBezTo>
                      <a:pt x="120430" y="73124"/>
                      <a:pt x="111539" y="76259"/>
                      <a:pt x="104015" y="77741"/>
                    </a:cubicBezTo>
                    <a:cubicBezTo>
                      <a:pt x="106899" y="83121"/>
                      <a:pt x="104876" y="89824"/>
                      <a:pt x="99496" y="92708"/>
                    </a:cubicBezTo>
                    <a:cubicBezTo>
                      <a:pt x="99330" y="92799"/>
                      <a:pt x="99165" y="92879"/>
                      <a:pt x="99000" y="92958"/>
                    </a:cubicBezTo>
                    <a:cubicBezTo>
                      <a:pt x="94155" y="94953"/>
                      <a:pt x="88000" y="93414"/>
                      <a:pt x="84010" y="96777"/>
                    </a:cubicBezTo>
                    <a:cubicBezTo>
                      <a:pt x="82944" y="97957"/>
                      <a:pt x="81827" y="99074"/>
                      <a:pt x="80648" y="100140"/>
                    </a:cubicBezTo>
                    <a:cubicBezTo>
                      <a:pt x="75746" y="103617"/>
                      <a:pt x="66855" y="99228"/>
                      <a:pt x="63891" y="104471"/>
                    </a:cubicBezTo>
                    <a:cubicBezTo>
                      <a:pt x="62922" y="106181"/>
                      <a:pt x="63093" y="108518"/>
                      <a:pt x="61953" y="110171"/>
                    </a:cubicBezTo>
                    <a:cubicBezTo>
                      <a:pt x="60813" y="111824"/>
                      <a:pt x="58135" y="112451"/>
                      <a:pt x="57052" y="114331"/>
                    </a:cubicBezTo>
                    <a:cubicBezTo>
                      <a:pt x="54886" y="118264"/>
                      <a:pt x="61497" y="122938"/>
                      <a:pt x="59673" y="127098"/>
                    </a:cubicBezTo>
                    <a:lnTo>
                      <a:pt x="50384" y="131487"/>
                    </a:lnTo>
                    <a:lnTo>
                      <a:pt x="51124" y="146248"/>
                    </a:lnTo>
                    <a:lnTo>
                      <a:pt x="39725" y="146248"/>
                    </a:lnTo>
                    <a:cubicBezTo>
                      <a:pt x="38004" y="146636"/>
                      <a:pt x="36294" y="145559"/>
                      <a:pt x="35907" y="143838"/>
                    </a:cubicBezTo>
                    <a:cubicBezTo>
                      <a:pt x="35827" y="143490"/>
                      <a:pt x="35810" y="143131"/>
                      <a:pt x="35850" y="142772"/>
                    </a:cubicBezTo>
                    <a:cubicBezTo>
                      <a:pt x="35508" y="139694"/>
                      <a:pt x="35109" y="136616"/>
                      <a:pt x="34767" y="133482"/>
                    </a:cubicBezTo>
                    <a:cubicBezTo>
                      <a:pt x="32202" y="131316"/>
                      <a:pt x="29751" y="136218"/>
                      <a:pt x="27073" y="138212"/>
                    </a:cubicBezTo>
                    <a:cubicBezTo>
                      <a:pt x="23716" y="139951"/>
                      <a:pt x="19589" y="138640"/>
                      <a:pt x="17857" y="135283"/>
                    </a:cubicBezTo>
                    <a:cubicBezTo>
                      <a:pt x="17811" y="135197"/>
                      <a:pt x="17765" y="135106"/>
                      <a:pt x="17725" y="135021"/>
                    </a:cubicBezTo>
                    <a:cubicBezTo>
                      <a:pt x="16346" y="131550"/>
                      <a:pt x="15953" y="127759"/>
                      <a:pt x="16585" y="124078"/>
                    </a:cubicBezTo>
                    <a:cubicBezTo>
                      <a:pt x="16848" y="121040"/>
                      <a:pt x="16523" y="117985"/>
                      <a:pt x="15617" y="115072"/>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43" name="Freihandform: Form 637">
                <a:extLst>
                  <a:ext uri="{FF2B5EF4-FFF2-40B4-BE49-F238E27FC236}">
                    <a16:creationId xmlns:a16="http://schemas.microsoft.com/office/drawing/2014/main" id="{90033C4A-B8C7-4491-48A8-C786A7824647}"/>
                  </a:ext>
                </a:extLst>
              </p:cNvPr>
              <p:cNvSpPr/>
              <p:nvPr/>
            </p:nvSpPr>
            <p:spPr>
              <a:xfrm>
                <a:off x="1981239" y="4266200"/>
                <a:ext cx="277347" cy="434698"/>
              </a:xfrm>
              <a:custGeom>
                <a:avLst/>
                <a:gdLst>
                  <a:gd name="connsiteX0" fmla="*/ 242699 w 277347"/>
                  <a:gd name="connsiteY0" fmla="*/ 434699 h 434698"/>
                  <a:gd name="connsiteX1" fmla="*/ 239108 w 277347"/>
                  <a:gd name="connsiteY1" fmla="*/ 428999 h 434698"/>
                  <a:gd name="connsiteX2" fmla="*/ 225886 w 277347"/>
                  <a:gd name="connsiteY2" fmla="*/ 422103 h 434698"/>
                  <a:gd name="connsiteX3" fmla="*/ 217849 w 277347"/>
                  <a:gd name="connsiteY3" fmla="*/ 413041 h 434698"/>
                  <a:gd name="connsiteX4" fmla="*/ 197559 w 277347"/>
                  <a:gd name="connsiteY4" fmla="*/ 395942 h 434698"/>
                  <a:gd name="connsiteX5" fmla="*/ 183083 w 277347"/>
                  <a:gd name="connsiteY5" fmla="*/ 391497 h 434698"/>
                  <a:gd name="connsiteX6" fmla="*/ 181430 w 277347"/>
                  <a:gd name="connsiteY6" fmla="*/ 385798 h 434698"/>
                  <a:gd name="connsiteX7" fmla="*/ 149741 w 277347"/>
                  <a:gd name="connsiteY7" fmla="*/ 367388 h 434698"/>
                  <a:gd name="connsiteX8" fmla="*/ 139197 w 277347"/>
                  <a:gd name="connsiteY8" fmla="*/ 351657 h 434698"/>
                  <a:gd name="connsiteX9" fmla="*/ 128596 w 277347"/>
                  <a:gd name="connsiteY9" fmla="*/ 344020 h 434698"/>
                  <a:gd name="connsiteX10" fmla="*/ 125860 w 277347"/>
                  <a:gd name="connsiteY10" fmla="*/ 334445 h 434698"/>
                  <a:gd name="connsiteX11" fmla="*/ 107451 w 277347"/>
                  <a:gd name="connsiteY11" fmla="*/ 287368 h 434698"/>
                  <a:gd name="connsiteX12" fmla="*/ 98958 w 277347"/>
                  <a:gd name="connsiteY12" fmla="*/ 274373 h 434698"/>
                  <a:gd name="connsiteX13" fmla="*/ 96280 w 277347"/>
                  <a:gd name="connsiteY13" fmla="*/ 238352 h 434698"/>
                  <a:gd name="connsiteX14" fmla="*/ 94684 w 277347"/>
                  <a:gd name="connsiteY14" fmla="*/ 231342 h 434698"/>
                  <a:gd name="connsiteX15" fmla="*/ 75932 w 277347"/>
                  <a:gd name="connsiteY15" fmla="*/ 222223 h 434698"/>
                  <a:gd name="connsiteX16" fmla="*/ 55870 w 277347"/>
                  <a:gd name="connsiteY16" fmla="*/ 195720 h 434698"/>
                  <a:gd name="connsiteX17" fmla="*/ 39969 w 277347"/>
                  <a:gd name="connsiteY17" fmla="*/ 165798 h 434698"/>
                  <a:gd name="connsiteX18" fmla="*/ 30109 w 277347"/>
                  <a:gd name="connsiteY18" fmla="*/ 157248 h 434698"/>
                  <a:gd name="connsiteX19" fmla="*/ 26518 w 277347"/>
                  <a:gd name="connsiteY19" fmla="*/ 150580 h 434698"/>
                  <a:gd name="connsiteX20" fmla="*/ 10161 w 277347"/>
                  <a:gd name="connsiteY20" fmla="*/ 139523 h 434698"/>
                  <a:gd name="connsiteX21" fmla="*/ 243 w 277347"/>
                  <a:gd name="connsiteY21" fmla="*/ 123850 h 434698"/>
                  <a:gd name="connsiteX22" fmla="*/ 13523 w 277347"/>
                  <a:gd name="connsiteY22" fmla="*/ 120031 h 434698"/>
                  <a:gd name="connsiteX23" fmla="*/ 4917 w 277347"/>
                  <a:gd name="connsiteY23" fmla="*/ 90280 h 434698"/>
                  <a:gd name="connsiteX24" fmla="*/ 12839 w 277347"/>
                  <a:gd name="connsiteY24" fmla="*/ 78026 h 434698"/>
                  <a:gd name="connsiteX25" fmla="*/ 21503 w 277347"/>
                  <a:gd name="connsiteY25" fmla="*/ 78026 h 434698"/>
                  <a:gd name="connsiteX26" fmla="*/ 22129 w 277347"/>
                  <a:gd name="connsiteY26" fmla="*/ 86974 h 434698"/>
                  <a:gd name="connsiteX27" fmla="*/ 23269 w 277347"/>
                  <a:gd name="connsiteY27" fmla="*/ 97917 h 434698"/>
                  <a:gd name="connsiteX28" fmla="*/ 32354 w 277347"/>
                  <a:gd name="connsiteY28" fmla="*/ 101240 h 434698"/>
                  <a:gd name="connsiteX29" fmla="*/ 32616 w 277347"/>
                  <a:gd name="connsiteY29" fmla="*/ 101109 h 434698"/>
                  <a:gd name="connsiteX30" fmla="*/ 40311 w 277347"/>
                  <a:gd name="connsiteY30" fmla="*/ 96378 h 434698"/>
                  <a:gd name="connsiteX31" fmla="*/ 41394 w 277347"/>
                  <a:gd name="connsiteY31" fmla="*/ 105668 h 434698"/>
                  <a:gd name="connsiteX32" fmla="*/ 44204 w 277347"/>
                  <a:gd name="connsiteY32" fmla="*/ 109202 h 434698"/>
                  <a:gd name="connsiteX33" fmla="*/ 45269 w 277347"/>
                  <a:gd name="connsiteY33" fmla="*/ 109145 h 434698"/>
                  <a:gd name="connsiteX34" fmla="*/ 56668 w 277347"/>
                  <a:gd name="connsiteY34" fmla="*/ 109145 h 434698"/>
                  <a:gd name="connsiteX35" fmla="*/ 55927 w 277347"/>
                  <a:gd name="connsiteY35" fmla="*/ 94383 h 434698"/>
                  <a:gd name="connsiteX36" fmla="*/ 65217 w 277347"/>
                  <a:gd name="connsiteY36" fmla="*/ 89995 h 434698"/>
                  <a:gd name="connsiteX37" fmla="*/ 62596 w 277347"/>
                  <a:gd name="connsiteY37" fmla="*/ 77228 h 434698"/>
                  <a:gd name="connsiteX38" fmla="*/ 67497 w 277347"/>
                  <a:gd name="connsiteY38" fmla="*/ 73067 h 434698"/>
                  <a:gd name="connsiteX39" fmla="*/ 69435 w 277347"/>
                  <a:gd name="connsiteY39" fmla="*/ 67368 h 434698"/>
                  <a:gd name="connsiteX40" fmla="*/ 86192 w 277347"/>
                  <a:gd name="connsiteY40" fmla="*/ 63036 h 434698"/>
                  <a:gd name="connsiteX41" fmla="*/ 89554 w 277347"/>
                  <a:gd name="connsiteY41" fmla="*/ 59673 h 434698"/>
                  <a:gd name="connsiteX42" fmla="*/ 104544 w 277347"/>
                  <a:gd name="connsiteY42" fmla="*/ 55855 h 434698"/>
                  <a:gd name="connsiteX43" fmla="*/ 109810 w 277347"/>
                  <a:gd name="connsiteY43" fmla="*/ 41133 h 434698"/>
                  <a:gd name="connsiteX44" fmla="*/ 109559 w 277347"/>
                  <a:gd name="connsiteY44" fmla="*/ 40637 h 434698"/>
                  <a:gd name="connsiteX45" fmla="*/ 126658 w 277347"/>
                  <a:gd name="connsiteY45" fmla="*/ 28611 h 434698"/>
                  <a:gd name="connsiteX46" fmla="*/ 125974 w 277347"/>
                  <a:gd name="connsiteY46" fmla="*/ 19834 h 434698"/>
                  <a:gd name="connsiteX47" fmla="*/ 129622 w 277347"/>
                  <a:gd name="connsiteY47" fmla="*/ 11912 h 434698"/>
                  <a:gd name="connsiteX48" fmla="*/ 134637 w 277347"/>
                  <a:gd name="connsiteY48" fmla="*/ 0 h 434698"/>
                  <a:gd name="connsiteX49" fmla="*/ 149798 w 277347"/>
                  <a:gd name="connsiteY49" fmla="*/ 4788 h 434698"/>
                  <a:gd name="connsiteX50" fmla="*/ 155098 w 277347"/>
                  <a:gd name="connsiteY50" fmla="*/ 14819 h 434698"/>
                  <a:gd name="connsiteX51" fmla="*/ 165357 w 277347"/>
                  <a:gd name="connsiteY51" fmla="*/ 19720 h 434698"/>
                  <a:gd name="connsiteX52" fmla="*/ 176756 w 277347"/>
                  <a:gd name="connsiteY52" fmla="*/ 37218 h 434698"/>
                  <a:gd name="connsiteX53" fmla="*/ 191746 w 277347"/>
                  <a:gd name="connsiteY53" fmla="*/ 50326 h 434698"/>
                  <a:gd name="connsiteX54" fmla="*/ 203145 w 277347"/>
                  <a:gd name="connsiteY54" fmla="*/ 46850 h 434698"/>
                  <a:gd name="connsiteX55" fmla="*/ 219160 w 277347"/>
                  <a:gd name="connsiteY55" fmla="*/ 48958 h 434698"/>
                  <a:gd name="connsiteX56" fmla="*/ 227596 w 277347"/>
                  <a:gd name="connsiteY56" fmla="*/ 46223 h 434698"/>
                  <a:gd name="connsiteX57" fmla="*/ 241331 w 277347"/>
                  <a:gd name="connsiteY57" fmla="*/ 53689 h 434698"/>
                  <a:gd name="connsiteX58" fmla="*/ 244010 w 277347"/>
                  <a:gd name="connsiteY58" fmla="*/ 61041 h 434698"/>
                  <a:gd name="connsiteX59" fmla="*/ 250393 w 277347"/>
                  <a:gd name="connsiteY59" fmla="*/ 61041 h 434698"/>
                  <a:gd name="connsiteX60" fmla="*/ 252673 w 277347"/>
                  <a:gd name="connsiteY60" fmla="*/ 58192 h 434698"/>
                  <a:gd name="connsiteX61" fmla="*/ 243269 w 277347"/>
                  <a:gd name="connsiteY61" fmla="*/ 84922 h 434698"/>
                  <a:gd name="connsiteX62" fmla="*/ 227823 w 277347"/>
                  <a:gd name="connsiteY62" fmla="*/ 90280 h 434698"/>
                  <a:gd name="connsiteX63" fmla="*/ 197160 w 277347"/>
                  <a:gd name="connsiteY63" fmla="*/ 110285 h 434698"/>
                  <a:gd name="connsiteX64" fmla="*/ 186331 w 277347"/>
                  <a:gd name="connsiteY64" fmla="*/ 122482 h 434698"/>
                  <a:gd name="connsiteX65" fmla="*/ 182513 w 277347"/>
                  <a:gd name="connsiteY65" fmla="*/ 129036 h 434698"/>
                  <a:gd name="connsiteX66" fmla="*/ 180404 w 277347"/>
                  <a:gd name="connsiteY66" fmla="*/ 144596 h 434698"/>
                  <a:gd name="connsiteX67" fmla="*/ 173849 w 277347"/>
                  <a:gd name="connsiteY67" fmla="*/ 151378 h 434698"/>
                  <a:gd name="connsiteX68" fmla="*/ 175217 w 277347"/>
                  <a:gd name="connsiteY68" fmla="*/ 158046 h 434698"/>
                  <a:gd name="connsiteX69" fmla="*/ 173507 w 277347"/>
                  <a:gd name="connsiteY69" fmla="*/ 163746 h 434698"/>
                  <a:gd name="connsiteX70" fmla="*/ 171171 w 277347"/>
                  <a:gd name="connsiteY70" fmla="*/ 180160 h 434698"/>
                  <a:gd name="connsiteX71" fmla="*/ 180176 w 277347"/>
                  <a:gd name="connsiteY71" fmla="*/ 201419 h 434698"/>
                  <a:gd name="connsiteX72" fmla="*/ 188782 w 277347"/>
                  <a:gd name="connsiteY72" fmla="*/ 213445 h 434698"/>
                  <a:gd name="connsiteX73" fmla="*/ 209357 w 277347"/>
                  <a:gd name="connsiteY73" fmla="*/ 230088 h 434698"/>
                  <a:gd name="connsiteX74" fmla="*/ 223549 w 277347"/>
                  <a:gd name="connsiteY74" fmla="*/ 231399 h 434698"/>
                  <a:gd name="connsiteX75" fmla="*/ 234948 w 277347"/>
                  <a:gd name="connsiteY75" fmla="*/ 223077 h 434698"/>
                  <a:gd name="connsiteX76" fmla="*/ 244067 w 277347"/>
                  <a:gd name="connsiteY76" fmla="*/ 257274 h 434698"/>
                  <a:gd name="connsiteX77" fmla="*/ 261165 w 277347"/>
                  <a:gd name="connsiteY77" fmla="*/ 255849 h 434698"/>
                  <a:gd name="connsiteX78" fmla="*/ 274160 w 277347"/>
                  <a:gd name="connsiteY78" fmla="*/ 264398 h 434698"/>
                  <a:gd name="connsiteX79" fmla="*/ 273305 w 277347"/>
                  <a:gd name="connsiteY79" fmla="*/ 271922 h 434698"/>
                  <a:gd name="connsiteX80" fmla="*/ 276497 w 277347"/>
                  <a:gd name="connsiteY80" fmla="*/ 290445 h 434698"/>
                  <a:gd name="connsiteX81" fmla="*/ 270798 w 277347"/>
                  <a:gd name="connsiteY81" fmla="*/ 299108 h 434698"/>
                  <a:gd name="connsiteX82" fmla="*/ 272849 w 277347"/>
                  <a:gd name="connsiteY82" fmla="*/ 303326 h 434698"/>
                  <a:gd name="connsiteX83" fmla="*/ 272165 w 277347"/>
                  <a:gd name="connsiteY83" fmla="*/ 336554 h 434698"/>
                  <a:gd name="connsiteX84" fmla="*/ 268632 w 277347"/>
                  <a:gd name="connsiteY84" fmla="*/ 370010 h 434698"/>
                  <a:gd name="connsiteX85" fmla="*/ 267378 w 277347"/>
                  <a:gd name="connsiteY85" fmla="*/ 379357 h 434698"/>
                  <a:gd name="connsiteX86" fmla="*/ 274274 w 277347"/>
                  <a:gd name="connsiteY86" fmla="*/ 393093 h 434698"/>
                  <a:gd name="connsiteX87" fmla="*/ 257632 w 277347"/>
                  <a:gd name="connsiteY87" fmla="*/ 413326 h 434698"/>
                  <a:gd name="connsiteX88" fmla="*/ 254668 w 277347"/>
                  <a:gd name="connsiteY88" fmla="*/ 423072 h 434698"/>
                  <a:gd name="connsiteX89" fmla="*/ 242699 w 277347"/>
                  <a:gd name="connsiteY89" fmla="*/ 434699 h 43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77347" h="434698">
                    <a:moveTo>
                      <a:pt x="242699" y="434699"/>
                    </a:moveTo>
                    <a:cubicBezTo>
                      <a:pt x="242067" y="432499"/>
                      <a:pt x="240818" y="430521"/>
                      <a:pt x="239108" y="428999"/>
                    </a:cubicBezTo>
                    <a:cubicBezTo>
                      <a:pt x="235176" y="425865"/>
                      <a:pt x="229077" y="425979"/>
                      <a:pt x="225886" y="422103"/>
                    </a:cubicBezTo>
                    <a:cubicBezTo>
                      <a:pt x="223777" y="419652"/>
                      <a:pt x="219673" y="415663"/>
                      <a:pt x="217849" y="413041"/>
                    </a:cubicBezTo>
                    <a:cubicBezTo>
                      <a:pt x="212720" y="405404"/>
                      <a:pt x="206450" y="397139"/>
                      <a:pt x="197559" y="395942"/>
                    </a:cubicBezTo>
                    <a:cubicBezTo>
                      <a:pt x="192373" y="395088"/>
                      <a:pt x="185704" y="395942"/>
                      <a:pt x="183083" y="391497"/>
                    </a:cubicBezTo>
                    <a:cubicBezTo>
                      <a:pt x="182307" y="389667"/>
                      <a:pt x="181755" y="387758"/>
                      <a:pt x="181430" y="385798"/>
                    </a:cubicBezTo>
                    <a:cubicBezTo>
                      <a:pt x="177611" y="373771"/>
                      <a:pt x="158632" y="376393"/>
                      <a:pt x="149741" y="367388"/>
                    </a:cubicBezTo>
                    <a:cubicBezTo>
                      <a:pt x="145295" y="362828"/>
                      <a:pt x="144041" y="355989"/>
                      <a:pt x="139197" y="351657"/>
                    </a:cubicBezTo>
                    <a:cubicBezTo>
                      <a:pt x="135891" y="348751"/>
                      <a:pt x="131160" y="347554"/>
                      <a:pt x="128596" y="344020"/>
                    </a:cubicBezTo>
                    <a:cubicBezTo>
                      <a:pt x="126880" y="341113"/>
                      <a:pt x="125934" y="337819"/>
                      <a:pt x="125860" y="334445"/>
                    </a:cubicBezTo>
                    <a:cubicBezTo>
                      <a:pt x="123791" y="317449"/>
                      <a:pt x="117459" y="301257"/>
                      <a:pt x="107451" y="287368"/>
                    </a:cubicBezTo>
                    <a:cubicBezTo>
                      <a:pt x="104191" y="283332"/>
                      <a:pt x="101347" y="278978"/>
                      <a:pt x="98958" y="274373"/>
                    </a:cubicBezTo>
                    <a:cubicBezTo>
                      <a:pt x="94057" y="263259"/>
                      <a:pt x="96964" y="250435"/>
                      <a:pt x="96280" y="238352"/>
                    </a:cubicBezTo>
                    <a:cubicBezTo>
                      <a:pt x="96308" y="235924"/>
                      <a:pt x="95761" y="233519"/>
                      <a:pt x="94684" y="231342"/>
                    </a:cubicBezTo>
                    <a:cubicBezTo>
                      <a:pt x="91207" y="225072"/>
                      <a:pt x="82544" y="224901"/>
                      <a:pt x="75932" y="222223"/>
                    </a:cubicBezTo>
                    <a:cubicBezTo>
                      <a:pt x="65332" y="217891"/>
                      <a:pt x="59689" y="206492"/>
                      <a:pt x="55870" y="195720"/>
                    </a:cubicBezTo>
                    <a:cubicBezTo>
                      <a:pt x="52052" y="184948"/>
                      <a:pt x="48632" y="173207"/>
                      <a:pt x="39969" y="165798"/>
                    </a:cubicBezTo>
                    <a:cubicBezTo>
                      <a:pt x="36304" y="163415"/>
                      <a:pt x="32987" y="160537"/>
                      <a:pt x="30109" y="157248"/>
                    </a:cubicBezTo>
                    <a:cubicBezTo>
                      <a:pt x="28684" y="155140"/>
                      <a:pt x="27943" y="152689"/>
                      <a:pt x="26518" y="150580"/>
                    </a:cubicBezTo>
                    <a:cubicBezTo>
                      <a:pt x="22927" y="144881"/>
                      <a:pt x="16031" y="142715"/>
                      <a:pt x="10161" y="139523"/>
                    </a:cubicBezTo>
                    <a:cubicBezTo>
                      <a:pt x="4290" y="136331"/>
                      <a:pt x="-1238" y="130290"/>
                      <a:pt x="243" y="123850"/>
                    </a:cubicBezTo>
                    <a:cubicBezTo>
                      <a:pt x="4974" y="124123"/>
                      <a:pt x="9659" y="122778"/>
                      <a:pt x="13523" y="120031"/>
                    </a:cubicBezTo>
                    <a:cubicBezTo>
                      <a:pt x="6764" y="111676"/>
                      <a:pt x="3663" y="100949"/>
                      <a:pt x="4917" y="90280"/>
                    </a:cubicBezTo>
                    <a:cubicBezTo>
                      <a:pt x="4963" y="85008"/>
                      <a:pt x="8052" y="80231"/>
                      <a:pt x="12839" y="78026"/>
                    </a:cubicBezTo>
                    <a:cubicBezTo>
                      <a:pt x="15718" y="77712"/>
                      <a:pt x="18624" y="77712"/>
                      <a:pt x="21503" y="78026"/>
                    </a:cubicBezTo>
                    <a:cubicBezTo>
                      <a:pt x="22283" y="80938"/>
                      <a:pt x="22500" y="83976"/>
                      <a:pt x="22129" y="86974"/>
                    </a:cubicBezTo>
                    <a:cubicBezTo>
                      <a:pt x="21497" y="90656"/>
                      <a:pt x="21890" y="94446"/>
                      <a:pt x="23269" y="97917"/>
                    </a:cubicBezTo>
                    <a:cubicBezTo>
                      <a:pt x="24860" y="101342"/>
                      <a:pt x="28929" y="102830"/>
                      <a:pt x="32354" y="101240"/>
                    </a:cubicBezTo>
                    <a:cubicBezTo>
                      <a:pt x="32440" y="101194"/>
                      <a:pt x="32531" y="101154"/>
                      <a:pt x="32616" y="101109"/>
                    </a:cubicBezTo>
                    <a:cubicBezTo>
                      <a:pt x="35295" y="99114"/>
                      <a:pt x="37746" y="94212"/>
                      <a:pt x="40311" y="96378"/>
                    </a:cubicBezTo>
                    <a:cubicBezTo>
                      <a:pt x="40653" y="99513"/>
                      <a:pt x="41052" y="102591"/>
                      <a:pt x="41394" y="105668"/>
                    </a:cubicBezTo>
                    <a:cubicBezTo>
                      <a:pt x="41194" y="107418"/>
                      <a:pt x="42448" y="109002"/>
                      <a:pt x="44204" y="109202"/>
                    </a:cubicBezTo>
                    <a:cubicBezTo>
                      <a:pt x="44557" y="109242"/>
                      <a:pt x="44922" y="109225"/>
                      <a:pt x="45269" y="109145"/>
                    </a:cubicBezTo>
                    <a:lnTo>
                      <a:pt x="56668" y="109145"/>
                    </a:lnTo>
                    <a:lnTo>
                      <a:pt x="55927" y="94383"/>
                    </a:lnTo>
                    <a:lnTo>
                      <a:pt x="65217" y="89995"/>
                    </a:lnTo>
                    <a:cubicBezTo>
                      <a:pt x="67041" y="85834"/>
                      <a:pt x="60430" y="81161"/>
                      <a:pt x="62596" y="77228"/>
                    </a:cubicBezTo>
                    <a:cubicBezTo>
                      <a:pt x="63679" y="75347"/>
                      <a:pt x="66186" y="74777"/>
                      <a:pt x="67497" y="73067"/>
                    </a:cubicBezTo>
                    <a:cubicBezTo>
                      <a:pt x="68808" y="71358"/>
                      <a:pt x="68466" y="69135"/>
                      <a:pt x="69435" y="67368"/>
                    </a:cubicBezTo>
                    <a:cubicBezTo>
                      <a:pt x="72399" y="62124"/>
                      <a:pt x="81290" y="66513"/>
                      <a:pt x="86192" y="63036"/>
                    </a:cubicBezTo>
                    <a:cubicBezTo>
                      <a:pt x="87371" y="61970"/>
                      <a:pt x="88488" y="60853"/>
                      <a:pt x="89554" y="59673"/>
                    </a:cubicBezTo>
                    <a:cubicBezTo>
                      <a:pt x="93544" y="56311"/>
                      <a:pt x="99699" y="57850"/>
                      <a:pt x="104544" y="55855"/>
                    </a:cubicBezTo>
                    <a:cubicBezTo>
                      <a:pt x="110061" y="53245"/>
                      <a:pt x="112421" y="46650"/>
                      <a:pt x="109810" y="41133"/>
                    </a:cubicBezTo>
                    <a:cubicBezTo>
                      <a:pt x="109730" y="40962"/>
                      <a:pt x="109645" y="40797"/>
                      <a:pt x="109559" y="40637"/>
                    </a:cubicBezTo>
                    <a:cubicBezTo>
                      <a:pt x="116855" y="39156"/>
                      <a:pt x="125746" y="36021"/>
                      <a:pt x="126658" y="28611"/>
                    </a:cubicBezTo>
                    <a:cubicBezTo>
                      <a:pt x="126658" y="25705"/>
                      <a:pt x="125632" y="22912"/>
                      <a:pt x="125974" y="19834"/>
                    </a:cubicBezTo>
                    <a:cubicBezTo>
                      <a:pt x="126629" y="16967"/>
                      <a:pt x="127872" y="14271"/>
                      <a:pt x="129622" y="11912"/>
                    </a:cubicBezTo>
                    <a:cubicBezTo>
                      <a:pt x="131816" y="8184"/>
                      <a:pt x="133503" y="4178"/>
                      <a:pt x="134637" y="0"/>
                    </a:cubicBezTo>
                    <a:cubicBezTo>
                      <a:pt x="139653" y="1425"/>
                      <a:pt x="146036" y="855"/>
                      <a:pt x="149798" y="4788"/>
                    </a:cubicBezTo>
                    <a:cubicBezTo>
                      <a:pt x="152362" y="7580"/>
                      <a:pt x="152533" y="12026"/>
                      <a:pt x="155098" y="14819"/>
                    </a:cubicBezTo>
                    <a:cubicBezTo>
                      <a:pt x="157663" y="17611"/>
                      <a:pt x="161995" y="17953"/>
                      <a:pt x="165357" y="19720"/>
                    </a:cubicBezTo>
                    <a:cubicBezTo>
                      <a:pt x="171627" y="23026"/>
                      <a:pt x="173964" y="30663"/>
                      <a:pt x="176756" y="37218"/>
                    </a:cubicBezTo>
                    <a:cubicBezTo>
                      <a:pt x="179549" y="43772"/>
                      <a:pt x="184679" y="50896"/>
                      <a:pt x="191746" y="50326"/>
                    </a:cubicBezTo>
                    <a:cubicBezTo>
                      <a:pt x="195678" y="50041"/>
                      <a:pt x="199041" y="47363"/>
                      <a:pt x="203145" y="46850"/>
                    </a:cubicBezTo>
                    <a:cubicBezTo>
                      <a:pt x="208502" y="46166"/>
                      <a:pt x="213803" y="49699"/>
                      <a:pt x="219160" y="48958"/>
                    </a:cubicBezTo>
                    <a:cubicBezTo>
                      <a:pt x="222067" y="48560"/>
                      <a:pt x="224860" y="46850"/>
                      <a:pt x="227596" y="46223"/>
                    </a:cubicBezTo>
                    <a:cubicBezTo>
                      <a:pt x="233358" y="45180"/>
                      <a:pt x="239069" y="48286"/>
                      <a:pt x="241331" y="53689"/>
                    </a:cubicBezTo>
                    <a:cubicBezTo>
                      <a:pt x="241861" y="56260"/>
                      <a:pt x="242767" y="58733"/>
                      <a:pt x="244010" y="61041"/>
                    </a:cubicBezTo>
                    <a:cubicBezTo>
                      <a:pt x="245606" y="63093"/>
                      <a:pt x="249710" y="63549"/>
                      <a:pt x="250393" y="61041"/>
                    </a:cubicBezTo>
                    <a:cubicBezTo>
                      <a:pt x="251203" y="60130"/>
                      <a:pt x="251961" y="59178"/>
                      <a:pt x="252673" y="58192"/>
                    </a:cubicBezTo>
                    <a:cubicBezTo>
                      <a:pt x="253813" y="68622"/>
                      <a:pt x="251704" y="79394"/>
                      <a:pt x="243269" y="84922"/>
                    </a:cubicBezTo>
                    <a:cubicBezTo>
                      <a:pt x="238390" y="87407"/>
                      <a:pt x="233192" y="89208"/>
                      <a:pt x="227823" y="90280"/>
                    </a:cubicBezTo>
                    <a:cubicBezTo>
                      <a:pt x="216123" y="94343"/>
                      <a:pt x="205596" y="101211"/>
                      <a:pt x="197160" y="110285"/>
                    </a:cubicBezTo>
                    <a:cubicBezTo>
                      <a:pt x="193325" y="114149"/>
                      <a:pt x="189711" y="118218"/>
                      <a:pt x="186331" y="122482"/>
                    </a:cubicBezTo>
                    <a:cubicBezTo>
                      <a:pt x="184610" y="124374"/>
                      <a:pt x="183311" y="126608"/>
                      <a:pt x="182513" y="129036"/>
                    </a:cubicBezTo>
                    <a:cubicBezTo>
                      <a:pt x="181145" y="134166"/>
                      <a:pt x="183823" y="140435"/>
                      <a:pt x="180404" y="144596"/>
                    </a:cubicBezTo>
                    <a:cubicBezTo>
                      <a:pt x="178409" y="147047"/>
                      <a:pt x="174704" y="148186"/>
                      <a:pt x="173849" y="151378"/>
                    </a:cubicBezTo>
                    <a:cubicBezTo>
                      <a:pt x="173451" y="153658"/>
                      <a:pt x="175046" y="155767"/>
                      <a:pt x="175217" y="158046"/>
                    </a:cubicBezTo>
                    <a:cubicBezTo>
                      <a:pt x="175081" y="160053"/>
                      <a:pt x="174493" y="161996"/>
                      <a:pt x="173507" y="163746"/>
                    </a:cubicBezTo>
                    <a:cubicBezTo>
                      <a:pt x="171256" y="168904"/>
                      <a:pt x="170453" y="174581"/>
                      <a:pt x="171171" y="180160"/>
                    </a:cubicBezTo>
                    <a:cubicBezTo>
                      <a:pt x="172544" y="187832"/>
                      <a:pt x="175622" y="195099"/>
                      <a:pt x="180176" y="201419"/>
                    </a:cubicBezTo>
                    <a:cubicBezTo>
                      <a:pt x="182855" y="205580"/>
                      <a:pt x="185875" y="209570"/>
                      <a:pt x="188782" y="213445"/>
                    </a:cubicBezTo>
                    <a:cubicBezTo>
                      <a:pt x="193860" y="220889"/>
                      <a:pt x="201019" y="226674"/>
                      <a:pt x="209357" y="230088"/>
                    </a:cubicBezTo>
                    <a:cubicBezTo>
                      <a:pt x="213951" y="231461"/>
                      <a:pt x="218779" y="231906"/>
                      <a:pt x="223549" y="231399"/>
                    </a:cubicBezTo>
                    <a:cubicBezTo>
                      <a:pt x="228735" y="230886"/>
                      <a:pt x="234948" y="228264"/>
                      <a:pt x="234948" y="223077"/>
                    </a:cubicBezTo>
                    <a:lnTo>
                      <a:pt x="244067" y="257274"/>
                    </a:lnTo>
                    <a:cubicBezTo>
                      <a:pt x="249795" y="257223"/>
                      <a:pt x="255511" y="256744"/>
                      <a:pt x="261165" y="255849"/>
                    </a:cubicBezTo>
                    <a:cubicBezTo>
                      <a:pt x="266865" y="255849"/>
                      <a:pt x="273590" y="258699"/>
                      <a:pt x="274160" y="264398"/>
                    </a:cubicBezTo>
                    <a:cubicBezTo>
                      <a:pt x="274160" y="266906"/>
                      <a:pt x="273305" y="269414"/>
                      <a:pt x="273305" y="271922"/>
                    </a:cubicBezTo>
                    <a:cubicBezTo>
                      <a:pt x="273305" y="278362"/>
                      <a:pt x="279575" y="284803"/>
                      <a:pt x="276497" y="290445"/>
                    </a:cubicBezTo>
                    <a:cubicBezTo>
                      <a:pt x="274844" y="293580"/>
                      <a:pt x="270798" y="295575"/>
                      <a:pt x="270798" y="299108"/>
                    </a:cubicBezTo>
                    <a:cubicBezTo>
                      <a:pt x="271117" y="300664"/>
                      <a:pt x="271818" y="302118"/>
                      <a:pt x="272849" y="303326"/>
                    </a:cubicBezTo>
                    <a:cubicBezTo>
                      <a:pt x="279176" y="312958"/>
                      <a:pt x="275984" y="325725"/>
                      <a:pt x="272165" y="336554"/>
                    </a:cubicBezTo>
                    <a:cubicBezTo>
                      <a:pt x="268347" y="347383"/>
                      <a:pt x="264072" y="359352"/>
                      <a:pt x="268632" y="370010"/>
                    </a:cubicBezTo>
                    <a:cubicBezTo>
                      <a:pt x="270114" y="373486"/>
                      <a:pt x="271139" y="379357"/>
                      <a:pt x="267378" y="379357"/>
                    </a:cubicBezTo>
                    <a:cubicBezTo>
                      <a:pt x="271168" y="383022"/>
                      <a:pt x="273602" y="387866"/>
                      <a:pt x="274274" y="393093"/>
                    </a:cubicBezTo>
                    <a:cubicBezTo>
                      <a:pt x="266335" y="397453"/>
                      <a:pt x="260379" y="404697"/>
                      <a:pt x="257632" y="413326"/>
                    </a:cubicBezTo>
                    <a:cubicBezTo>
                      <a:pt x="256851" y="416632"/>
                      <a:pt x="255859" y="419892"/>
                      <a:pt x="254668" y="423072"/>
                    </a:cubicBezTo>
                    <a:cubicBezTo>
                      <a:pt x="251796" y="427951"/>
                      <a:pt x="247658" y="431969"/>
                      <a:pt x="242699" y="43469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44" name="Freihandform: Form 638">
                <a:extLst>
                  <a:ext uri="{FF2B5EF4-FFF2-40B4-BE49-F238E27FC236}">
                    <a16:creationId xmlns:a16="http://schemas.microsoft.com/office/drawing/2014/main" id="{489A838E-06E5-774D-AA12-852A6A68A125}"/>
                  </a:ext>
                </a:extLst>
              </p:cNvPr>
              <p:cNvSpPr/>
              <p:nvPr/>
            </p:nvSpPr>
            <p:spPr>
              <a:xfrm>
                <a:off x="2152268" y="4137050"/>
                <a:ext cx="846864" cy="948107"/>
              </a:xfrm>
              <a:custGeom>
                <a:avLst/>
                <a:gdLst>
                  <a:gd name="connsiteX0" fmla="*/ 843834 w 846864"/>
                  <a:gd name="connsiteY0" fmla="*/ 315409 h 948107"/>
                  <a:gd name="connsiteX1" fmla="*/ 837223 w 846864"/>
                  <a:gd name="connsiteY1" fmla="*/ 315409 h 948107"/>
                  <a:gd name="connsiteX2" fmla="*/ 837223 w 846864"/>
                  <a:gd name="connsiteY2" fmla="*/ 328632 h 948107"/>
                  <a:gd name="connsiteX3" fmla="*/ 828902 w 846864"/>
                  <a:gd name="connsiteY3" fmla="*/ 330569 h 948107"/>
                  <a:gd name="connsiteX4" fmla="*/ 823601 w 846864"/>
                  <a:gd name="connsiteY4" fmla="*/ 366818 h 948107"/>
                  <a:gd name="connsiteX5" fmla="*/ 811404 w 846864"/>
                  <a:gd name="connsiteY5" fmla="*/ 367616 h 948107"/>
                  <a:gd name="connsiteX6" fmla="*/ 805420 w 846864"/>
                  <a:gd name="connsiteY6" fmla="*/ 380782 h 948107"/>
                  <a:gd name="connsiteX7" fmla="*/ 792368 w 846864"/>
                  <a:gd name="connsiteY7" fmla="*/ 384657 h 948107"/>
                  <a:gd name="connsiteX8" fmla="*/ 785586 w 846864"/>
                  <a:gd name="connsiteY8" fmla="*/ 397310 h 948107"/>
                  <a:gd name="connsiteX9" fmla="*/ 778974 w 846864"/>
                  <a:gd name="connsiteY9" fmla="*/ 400901 h 948107"/>
                  <a:gd name="connsiteX10" fmla="*/ 776808 w 846864"/>
                  <a:gd name="connsiteY10" fmla="*/ 404777 h 948107"/>
                  <a:gd name="connsiteX11" fmla="*/ 762959 w 846864"/>
                  <a:gd name="connsiteY11" fmla="*/ 418854 h 948107"/>
                  <a:gd name="connsiteX12" fmla="*/ 758342 w 846864"/>
                  <a:gd name="connsiteY12" fmla="*/ 436580 h 948107"/>
                  <a:gd name="connsiteX13" fmla="*/ 750819 w 846864"/>
                  <a:gd name="connsiteY13" fmla="*/ 439885 h 948107"/>
                  <a:gd name="connsiteX14" fmla="*/ 750819 w 846864"/>
                  <a:gd name="connsiteY14" fmla="*/ 460461 h 948107"/>
                  <a:gd name="connsiteX15" fmla="*/ 758114 w 846864"/>
                  <a:gd name="connsiteY15" fmla="*/ 485823 h 948107"/>
                  <a:gd name="connsiteX16" fmla="*/ 758114 w 846864"/>
                  <a:gd name="connsiteY16" fmla="*/ 536321 h 948107"/>
                  <a:gd name="connsiteX17" fmla="*/ 756290 w 846864"/>
                  <a:gd name="connsiteY17" fmla="*/ 548517 h 948107"/>
                  <a:gd name="connsiteX18" fmla="*/ 746031 w 846864"/>
                  <a:gd name="connsiteY18" fmla="*/ 553590 h 948107"/>
                  <a:gd name="connsiteX19" fmla="*/ 733093 w 846864"/>
                  <a:gd name="connsiteY19" fmla="*/ 579694 h 948107"/>
                  <a:gd name="connsiteX20" fmla="*/ 729617 w 846864"/>
                  <a:gd name="connsiteY20" fmla="*/ 591491 h 948107"/>
                  <a:gd name="connsiteX21" fmla="*/ 721125 w 846864"/>
                  <a:gd name="connsiteY21" fmla="*/ 635833 h 948107"/>
                  <a:gd name="connsiteX22" fmla="*/ 713259 w 846864"/>
                  <a:gd name="connsiteY22" fmla="*/ 650025 h 948107"/>
                  <a:gd name="connsiteX23" fmla="*/ 702886 w 846864"/>
                  <a:gd name="connsiteY23" fmla="*/ 652818 h 948107"/>
                  <a:gd name="connsiteX24" fmla="*/ 693881 w 846864"/>
                  <a:gd name="connsiteY24" fmla="*/ 662393 h 948107"/>
                  <a:gd name="connsiteX25" fmla="*/ 685389 w 846864"/>
                  <a:gd name="connsiteY25" fmla="*/ 663020 h 948107"/>
                  <a:gd name="connsiteX26" fmla="*/ 657860 w 846864"/>
                  <a:gd name="connsiteY26" fmla="*/ 678180 h 948107"/>
                  <a:gd name="connsiteX27" fmla="*/ 643498 w 846864"/>
                  <a:gd name="connsiteY27" fmla="*/ 673051 h 948107"/>
                  <a:gd name="connsiteX28" fmla="*/ 630389 w 846864"/>
                  <a:gd name="connsiteY28" fmla="*/ 679263 h 948107"/>
                  <a:gd name="connsiteX29" fmla="*/ 627482 w 846864"/>
                  <a:gd name="connsiteY29" fmla="*/ 687357 h 948107"/>
                  <a:gd name="connsiteX30" fmla="*/ 619332 w 846864"/>
                  <a:gd name="connsiteY30" fmla="*/ 693056 h 948107"/>
                  <a:gd name="connsiteX31" fmla="*/ 598586 w 846864"/>
                  <a:gd name="connsiteY31" fmla="*/ 702460 h 948107"/>
                  <a:gd name="connsiteX32" fmla="*/ 591405 w 846864"/>
                  <a:gd name="connsiteY32" fmla="*/ 706963 h 948107"/>
                  <a:gd name="connsiteX33" fmla="*/ 587073 w 846864"/>
                  <a:gd name="connsiteY33" fmla="*/ 712662 h 948107"/>
                  <a:gd name="connsiteX34" fmla="*/ 566327 w 846864"/>
                  <a:gd name="connsiteY34" fmla="*/ 719730 h 948107"/>
                  <a:gd name="connsiteX35" fmla="*/ 544441 w 846864"/>
                  <a:gd name="connsiteY35" fmla="*/ 753926 h 948107"/>
                  <a:gd name="connsiteX36" fmla="*/ 544042 w 846864"/>
                  <a:gd name="connsiteY36" fmla="*/ 768745 h 948107"/>
                  <a:gd name="connsiteX37" fmla="*/ 549171 w 846864"/>
                  <a:gd name="connsiteY37" fmla="*/ 776439 h 948107"/>
                  <a:gd name="connsiteX38" fmla="*/ 541129 w 846864"/>
                  <a:gd name="connsiteY38" fmla="*/ 806076 h 948107"/>
                  <a:gd name="connsiteX39" fmla="*/ 540622 w 846864"/>
                  <a:gd name="connsiteY39" fmla="*/ 806362 h 948107"/>
                  <a:gd name="connsiteX40" fmla="*/ 533783 w 846864"/>
                  <a:gd name="connsiteY40" fmla="*/ 810693 h 948107"/>
                  <a:gd name="connsiteX41" fmla="*/ 531902 w 846864"/>
                  <a:gd name="connsiteY41" fmla="*/ 816108 h 948107"/>
                  <a:gd name="connsiteX42" fmla="*/ 520503 w 846864"/>
                  <a:gd name="connsiteY42" fmla="*/ 824885 h 948107"/>
                  <a:gd name="connsiteX43" fmla="*/ 515260 w 846864"/>
                  <a:gd name="connsiteY43" fmla="*/ 836740 h 948107"/>
                  <a:gd name="connsiteX44" fmla="*/ 495101 w 846864"/>
                  <a:gd name="connsiteY44" fmla="*/ 853342 h 948107"/>
                  <a:gd name="connsiteX45" fmla="*/ 495026 w 846864"/>
                  <a:gd name="connsiteY45" fmla="*/ 855776 h 948107"/>
                  <a:gd name="connsiteX46" fmla="*/ 494115 w 846864"/>
                  <a:gd name="connsiteY46" fmla="*/ 860221 h 948107"/>
                  <a:gd name="connsiteX47" fmla="*/ 490068 w 846864"/>
                  <a:gd name="connsiteY47" fmla="*/ 860221 h 948107"/>
                  <a:gd name="connsiteX48" fmla="*/ 478156 w 846864"/>
                  <a:gd name="connsiteY48" fmla="*/ 869056 h 948107"/>
                  <a:gd name="connsiteX49" fmla="*/ 478156 w 846864"/>
                  <a:gd name="connsiteY49" fmla="*/ 885014 h 948107"/>
                  <a:gd name="connsiteX50" fmla="*/ 465788 w 846864"/>
                  <a:gd name="connsiteY50" fmla="*/ 918755 h 948107"/>
                  <a:gd name="connsiteX51" fmla="*/ 458607 w 846864"/>
                  <a:gd name="connsiteY51" fmla="*/ 923543 h 948107"/>
                  <a:gd name="connsiteX52" fmla="*/ 456669 w 846864"/>
                  <a:gd name="connsiteY52" fmla="*/ 932434 h 948107"/>
                  <a:gd name="connsiteX53" fmla="*/ 441622 w 846864"/>
                  <a:gd name="connsiteY53" fmla="*/ 945600 h 948107"/>
                  <a:gd name="connsiteX54" fmla="*/ 438944 w 846864"/>
                  <a:gd name="connsiteY54" fmla="*/ 948108 h 948107"/>
                  <a:gd name="connsiteX55" fmla="*/ 438944 w 846864"/>
                  <a:gd name="connsiteY55" fmla="*/ 945201 h 948107"/>
                  <a:gd name="connsiteX56" fmla="*/ 432275 w 846864"/>
                  <a:gd name="connsiteY56" fmla="*/ 906957 h 948107"/>
                  <a:gd name="connsiteX57" fmla="*/ 425493 w 846864"/>
                  <a:gd name="connsiteY57" fmla="*/ 897895 h 948107"/>
                  <a:gd name="connsiteX58" fmla="*/ 406514 w 846864"/>
                  <a:gd name="connsiteY58" fmla="*/ 892196 h 948107"/>
                  <a:gd name="connsiteX59" fmla="*/ 399731 w 846864"/>
                  <a:gd name="connsiteY59" fmla="*/ 882791 h 948107"/>
                  <a:gd name="connsiteX60" fmla="*/ 388332 w 846864"/>
                  <a:gd name="connsiteY60" fmla="*/ 880170 h 948107"/>
                  <a:gd name="connsiteX61" fmla="*/ 382975 w 846864"/>
                  <a:gd name="connsiteY61" fmla="*/ 865693 h 948107"/>
                  <a:gd name="connsiteX62" fmla="*/ 360177 w 846864"/>
                  <a:gd name="connsiteY62" fmla="*/ 859994 h 948107"/>
                  <a:gd name="connsiteX63" fmla="*/ 369125 w 846864"/>
                  <a:gd name="connsiteY63" fmla="*/ 840672 h 948107"/>
                  <a:gd name="connsiteX64" fmla="*/ 388446 w 846864"/>
                  <a:gd name="connsiteY64" fmla="*/ 816165 h 948107"/>
                  <a:gd name="connsiteX65" fmla="*/ 398249 w 846864"/>
                  <a:gd name="connsiteY65" fmla="*/ 811605 h 948107"/>
                  <a:gd name="connsiteX66" fmla="*/ 409135 w 846864"/>
                  <a:gd name="connsiteY66" fmla="*/ 793595 h 948107"/>
                  <a:gd name="connsiteX67" fmla="*/ 421446 w 846864"/>
                  <a:gd name="connsiteY67" fmla="*/ 786470 h 948107"/>
                  <a:gd name="connsiteX68" fmla="*/ 426234 w 846864"/>
                  <a:gd name="connsiteY68" fmla="*/ 774501 h 948107"/>
                  <a:gd name="connsiteX69" fmla="*/ 434840 w 846864"/>
                  <a:gd name="connsiteY69" fmla="*/ 769657 h 948107"/>
                  <a:gd name="connsiteX70" fmla="*/ 430679 w 846864"/>
                  <a:gd name="connsiteY70" fmla="*/ 756548 h 948107"/>
                  <a:gd name="connsiteX71" fmla="*/ 422244 w 846864"/>
                  <a:gd name="connsiteY71" fmla="*/ 749310 h 948107"/>
                  <a:gd name="connsiteX72" fmla="*/ 422244 w 846864"/>
                  <a:gd name="connsiteY72" fmla="*/ 733066 h 948107"/>
                  <a:gd name="connsiteX73" fmla="*/ 425778 w 846864"/>
                  <a:gd name="connsiteY73" fmla="*/ 716538 h 948107"/>
                  <a:gd name="connsiteX74" fmla="*/ 417742 w 846864"/>
                  <a:gd name="connsiteY74" fmla="*/ 702517 h 948107"/>
                  <a:gd name="connsiteX75" fmla="*/ 395229 w 846864"/>
                  <a:gd name="connsiteY75" fmla="*/ 699325 h 948107"/>
                  <a:gd name="connsiteX76" fmla="*/ 390384 w 846864"/>
                  <a:gd name="connsiteY76" fmla="*/ 673621 h 948107"/>
                  <a:gd name="connsiteX77" fmla="*/ 385255 w 846864"/>
                  <a:gd name="connsiteY77" fmla="*/ 660056 h 948107"/>
                  <a:gd name="connsiteX78" fmla="*/ 347353 w 846864"/>
                  <a:gd name="connsiteY78" fmla="*/ 653844 h 948107"/>
                  <a:gd name="connsiteX79" fmla="*/ 341027 w 846864"/>
                  <a:gd name="connsiteY79" fmla="*/ 605683 h 948107"/>
                  <a:gd name="connsiteX80" fmla="*/ 344959 w 846864"/>
                  <a:gd name="connsiteY80" fmla="*/ 603460 h 948107"/>
                  <a:gd name="connsiteX81" fmla="*/ 352255 w 846864"/>
                  <a:gd name="connsiteY81" fmla="*/ 544813 h 948107"/>
                  <a:gd name="connsiteX82" fmla="*/ 350944 w 846864"/>
                  <a:gd name="connsiteY82" fmla="*/ 538429 h 948107"/>
                  <a:gd name="connsiteX83" fmla="*/ 344104 w 846864"/>
                  <a:gd name="connsiteY83" fmla="*/ 536890 h 948107"/>
                  <a:gd name="connsiteX84" fmla="*/ 339260 w 846864"/>
                  <a:gd name="connsiteY84" fmla="*/ 526802 h 948107"/>
                  <a:gd name="connsiteX85" fmla="*/ 338519 w 846864"/>
                  <a:gd name="connsiteY85" fmla="*/ 514891 h 948107"/>
                  <a:gd name="connsiteX86" fmla="*/ 321421 w 846864"/>
                  <a:gd name="connsiteY86" fmla="*/ 509932 h 948107"/>
                  <a:gd name="connsiteX87" fmla="*/ 302840 w 846864"/>
                  <a:gd name="connsiteY87" fmla="*/ 509476 h 948107"/>
                  <a:gd name="connsiteX88" fmla="*/ 296172 w 846864"/>
                  <a:gd name="connsiteY88" fmla="*/ 499559 h 948107"/>
                  <a:gd name="connsiteX89" fmla="*/ 294975 w 846864"/>
                  <a:gd name="connsiteY89" fmla="*/ 450714 h 948107"/>
                  <a:gd name="connsiteX90" fmla="*/ 283576 w 846864"/>
                  <a:gd name="connsiteY90" fmla="*/ 451056 h 948107"/>
                  <a:gd name="connsiteX91" fmla="*/ 276509 w 846864"/>
                  <a:gd name="connsiteY91" fmla="*/ 443362 h 948107"/>
                  <a:gd name="connsiteX92" fmla="*/ 264540 w 846864"/>
                  <a:gd name="connsiteY92" fmla="*/ 444160 h 948107"/>
                  <a:gd name="connsiteX93" fmla="*/ 257415 w 846864"/>
                  <a:gd name="connsiteY93" fmla="*/ 436523 h 948107"/>
                  <a:gd name="connsiteX94" fmla="*/ 242540 w 846864"/>
                  <a:gd name="connsiteY94" fmla="*/ 437321 h 948107"/>
                  <a:gd name="connsiteX95" fmla="*/ 214954 w 846864"/>
                  <a:gd name="connsiteY95" fmla="*/ 416346 h 948107"/>
                  <a:gd name="connsiteX96" fmla="*/ 207659 w 846864"/>
                  <a:gd name="connsiteY96" fmla="*/ 417316 h 948107"/>
                  <a:gd name="connsiteX97" fmla="*/ 199794 w 846864"/>
                  <a:gd name="connsiteY97" fmla="*/ 411616 h 948107"/>
                  <a:gd name="connsiteX98" fmla="*/ 190846 w 846864"/>
                  <a:gd name="connsiteY98" fmla="*/ 410248 h 948107"/>
                  <a:gd name="connsiteX99" fmla="*/ 190048 w 846864"/>
                  <a:gd name="connsiteY99" fmla="*/ 395943 h 948107"/>
                  <a:gd name="connsiteX100" fmla="*/ 178649 w 846864"/>
                  <a:gd name="connsiteY100" fmla="*/ 381751 h 948107"/>
                  <a:gd name="connsiteX101" fmla="*/ 183607 w 846864"/>
                  <a:gd name="connsiteY101" fmla="*/ 360435 h 948107"/>
                  <a:gd name="connsiteX102" fmla="*/ 179789 w 846864"/>
                  <a:gd name="connsiteY102" fmla="*/ 352569 h 948107"/>
                  <a:gd name="connsiteX103" fmla="*/ 174089 w 846864"/>
                  <a:gd name="connsiteY103" fmla="*/ 351316 h 948107"/>
                  <a:gd name="connsiteX104" fmla="*/ 153343 w 846864"/>
                  <a:gd name="connsiteY104" fmla="*/ 358497 h 948107"/>
                  <a:gd name="connsiteX105" fmla="*/ 141317 w 846864"/>
                  <a:gd name="connsiteY105" fmla="*/ 358497 h 948107"/>
                  <a:gd name="connsiteX106" fmla="*/ 136530 w 846864"/>
                  <a:gd name="connsiteY106" fmla="*/ 370808 h 948107"/>
                  <a:gd name="connsiteX107" fmla="*/ 124162 w 846864"/>
                  <a:gd name="connsiteY107" fmla="*/ 370808 h 948107"/>
                  <a:gd name="connsiteX108" fmla="*/ 119317 w 846864"/>
                  <a:gd name="connsiteY108" fmla="*/ 378388 h 948107"/>
                  <a:gd name="connsiteX109" fmla="*/ 110198 w 846864"/>
                  <a:gd name="connsiteY109" fmla="*/ 384999 h 948107"/>
                  <a:gd name="connsiteX110" fmla="*/ 102846 w 846864"/>
                  <a:gd name="connsiteY110" fmla="*/ 390699 h 948107"/>
                  <a:gd name="connsiteX111" fmla="*/ 90250 w 846864"/>
                  <a:gd name="connsiteY111" fmla="*/ 383803 h 948107"/>
                  <a:gd name="connsiteX112" fmla="*/ 73151 w 846864"/>
                  <a:gd name="connsiteY112" fmla="*/ 385228 h 948107"/>
                  <a:gd name="connsiteX113" fmla="*/ 64032 w 846864"/>
                  <a:gd name="connsiteY113" fmla="*/ 351031 h 948107"/>
                  <a:gd name="connsiteX114" fmla="*/ 52633 w 846864"/>
                  <a:gd name="connsiteY114" fmla="*/ 359352 h 948107"/>
                  <a:gd name="connsiteX115" fmla="*/ 38442 w 846864"/>
                  <a:gd name="connsiteY115" fmla="*/ 358041 h 948107"/>
                  <a:gd name="connsiteX116" fmla="*/ 17867 w 846864"/>
                  <a:gd name="connsiteY116" fmla="*/ 341399 h 948107"/>
                  <a:gd name="connsiteX117" fmla="*/ 9260 w 846864"/>
                  <a:gd name="connsiteY117" fmla="*/ 329373 h 948107"/>
                  <a:gd name="connsiteX118" fmla="*/ 255 w 846864"/>
                  <a:gd name="connsiteY118" fmla="*/ 308114 h 948107"/>
                  <a:gd name="connsiteX119" fmla="*/ 2592 w 846864"/>
                  <a:gd name="connsiteY119" fmla="*/ 291699 h 948107"/>
                  <a:gd name="connsiteX120" fmla="*/ 4302 w 846864"/>
                  <a:gd name="connsiteY120" fmla="*/ 286000 h 948107"/>
                  <a:gd name="connsiteX121" fmla="*/ 2934 w 846864"/>
                  <a:gd name="connsiteY121" fmla="*/ 279331 h 948107"/>
                  <a:gd name="connsiteX122" fmla="*/ 9488 w 846864"/>
                  <a:gd name="connsiteY122" fmla="*/ 272549 h 948107"/>
                  <a:gd name="connsiteX123" fmla="*/ 11597 w 846864"/>
                  <a:gd name="connsiteY123" fmla="*/ 256989 h 948107"/>
                  <a:gd name="connsiteX124" fmla="*/ 15416 w 846864"/>
                  <a:gd name="connsiteY124" fmla="*/ 250435 h 948107"/>
                  <a:gd name="connsiteX125" fmla="*/ 26245 w 846864"/>
                  <a:gd name="connsiteY125" fmla="*/ 238238 h 948107"/>
                  <a:gd name="connsiteX126" fmla="*/ 56908 w 846864"/>
                  <a:gd name="connsiteY126" fmla="*/ 218233 h 948107"/>
                  <a:gd name="connsiteX127" fmla="*/ 72353 w 846864"/>
                  <a:gd name="connsiteY127" fmla="*/ 212875 h 948107"/>
                  <a:gd name="connsiteX128" fmla="*/ 81758 w 846864"/>
                  <a:gd name="connsiteY128" fmla="*/ 186145 h 948107"/>
                  <a:gd name="connsiteX129" fmla="*/ 91960 w 846864"/>
                  <a:gd name="connsiteY129" fmla="*/ 163062 h 948107"/>
                  <a:gd name="connsiteX130" fmla="*/ 85405 w 846864"/>
                  <a:gd name="connsiteY130" fmla="*/ 139124 h 948107"/>
                  <a:gd name="connsiteX131" fmla="*/ 80675 w 846864"/>
                  <a:gd name="connsiteY131" fmla="*/ 122938 h 948107"/>
                  <a:gd name="connsiteX132" fmla="*/ 88039 w 846864"/>
                  <a:gd name="connsiteY132" fmla="*/ 106364 h 948107"/>
                  <a:gd name="connsiteX133" fmla="*/ 97773 w 846864"/>
                  <a:gd name="connsiteY133" fmla="*/ 106580 h 948107"/>
                  <a:gd name="connsiteX134" fmla="*/ 98913 w 846864"/>
                  <a:gd name="connsiteY134" fmla="*/ 99969 h 948107"/>
                  <a:gd name="connsiteX135" fmla="*/ 86773 w 846864"/>
                  <a:gd name="connsiteY135" fmla="*/ 95124 h 948107"/>
                  <a:gd name="connsiteX136" fmla="*/ 82898 w 846864"/>
                  <a:gd name="connsiteY136" fmla="*/ 83725 h 948107"/>
                  <a:gd name="connsiteX137" fmla="*/ 98628 w 846864"/>
                  <a:gd name="connsiteY137" fmla="*/ 77570 h 948107"/>
                  <a:gd name="connsiteX138" fmla="*/ 123079 w 846864"/>
                  <a:gd name="connsiteY138" fmla="*/ 78026 h 948107"/>
                  <a:gd name="connsiteX139" fmla="*/ 137669 w 846864"/>
                  <a:gd name="connsiteY139" fmla="*/ 74606 h 948107"/>
                  <a:gd name="connsiteX140" fmla="*/ 152944 w 846864"/>
                  <a:gd name="connsiteY140" fmla="*/ 90337 h 948107"/>
                  <a:gd name="connsiteX141" fmla="*/ 155224 w 846864"/>
                  <a:gd name="connsiteY141" fmla="*/ 97860 h 948107"/>
                  <a:gd name="connsiteX142" fmla="*/ 163488 w 846864"/>
                  <a:gd name="connsiteY142" fmla="*/ 100254 h 948107"/>
                  <a:gd name="connsiteX143" fmla="*/ 186001 w 846864"/>
                  <a:gd name="connsiteY143" fmla="*/ 102705 h 948107"/>
                  <a:gd name="connsiteX144" fmla="*/ 190390 w 846864"/>
                  <a:gd name="connsiteY144" fmla="*/ 90508 h 948107"/>
                  <a:gd name="connsiteX145" fmla="*/ 196089 w 846864"/>
                  <a:gd name="connsiteY145" fmla="*/ 91021 h 948107"/>
                  <a:gd name="connsiteX146" fmla="*/ 205094 w 846864"/>
                  <a:gd name="connsiteY146" fmla="*/ 88114 h 948107"/>
                  <a:gd name="connsiteX147" fmla="*/ 205721 w 846864"/>
                  <a:gd name="connsiteY147" fmla="*/ 79109 h 948107"/>
                  <a:gd name="connsiteX148" fmla="*/ 217747 w 846864"/>
                  <a:gd name="connsiteY148" fmla="*/ 74378 h 948107"/>
                  <a:gd name="connsiteX149" fmla="*/ 221851 w 846864"/>
                  <a:gd name="connsiteY149" fmla="*/ 61383 h 948107"/>
                  <a:gd name="connsiteX150" fmla="*/ 206006 w 846864"/>
                  <a:gd name="connsiteY150" fmla="*/ 40865 h 948107"/>
                  <a:gd name="connsiteX151" fmla="*/ 204011 w 846864"/>
                  <a:gd name="connsiteY151" fmla="*/ 32772 h 948107"/>
                  <a:gd name="connsiteX152" fmla="*/ 202757 w 846864"/>
                  <a:gd name="connsiteY152" fmla="*/ 18808 h 948107"/>
                  <a:gd name="connsiteX153" fmla="*/ 220882 w 846864"/>
                  <a:gd name="connsiteY153" fmla="*/ 22798 h 948107"/>
                  <a:gd name="connsiteX154" fmla="*/ 224700 w 846864"/>
                  <a:gd name="connsiteY154" fmla="*/ 27187 h 948107"/>
                  <a:gd name="connsiteX155" fmla="*/ 233478 w 846864"/>
                  <a:gd name="connsiteY155" fmla="*/ 28839 h 948107"/>
                  <a:gd name="connsiteX156" fmla="*/ 236783 w 846864"/>
                  <a:gd name="connsiteY156" fmla="*/ 35280 h 948107"/>
                  <a:gd name="connsiteX157" fmla="*/ 244307 w 846864"/>
                  <a:gd name="connsiteY157" fmla="*/ 30606 h 948107"/>
                  <a:gd name="connsiteX158" fmla="*/ 248125 w 846864"/>
                  <a:gd name="connsiteY158" fmla="*/ 20746 h 948107"/>
                  <a:gd name="connsiteX159" fmla="*/ 252799 w 846864"/>
                  <a:gd name="connsiteY159" fmla="*/ 19891 h 948107"/>
                  <a:gd name="connsiteX160" fmla="*/ 269897 w 846864"/>
                  <a:gd name="connsiteY160" fmla="*/ 19891 h 948107"/>
                  <a:gd name="connsiteX161" fmla="*/ 275597 w 846864"/>
                  <a:gd name="connsiteY161" fmla="*/ 11000 h 948107"/>
                  <a:gd name="connsiteX162" fmla="*/ 285286 w 846864"/>
                  <a:gd name="connsiteY162" fmla="*/ 4959 h 948107"/>
                  <a:gd name="connsiteX163" fmla="*/ 286027 w 846864"/>
                  <a:gd name="connsiteY163" fmla="*/ 0 h 948107"/>
                  <a:gd name="connsiteX164" fmla="*/ 290814 w 846864"/>
                  <a:gd name="connsiteY164" fmla="*/ 2907 h 948107"/>
                  <a:gd name="connsiteX165" fmla="*/ 298395 w 846864"/>
                  <a:gd name="connsiteY165" fmla="*/ 11855 h 948107"/>
                  <a:gd name="connsiteX166" fmla="*/ 302726 w 846864"/>
                  <a:gd name="connsiteY166" fmla="*/ 12539 h 948107"/>
                  <a:gd name="connsiteX167" fmla="*/ 304892 w 846864"/>
                  <a:gd name="connsiteY167" fmla="*/ 14933 h 948107"/>
                  <a:gd name="connsiteX168" fmla="*/ 301415 w 846864"/>
                  <a:gd name="connsiteY168" fmla="*/ 43430 h 948107"/>
                  <a:gd name="connsiteX169" fmla="*/ 300219 w 846864"/>
                  <a:gd name="connsiteY169" fmla="*/ 65658 h 948107"/>
                  <a:gd name="connsiteX170" fmla="*/ 309623 w 846864"/>
                  <a:gd name="connsiteY170" fmla="*/ 71358 h 948107"/>
                  <a:gd name="connsiteX171" fmla="*/ 313213 w 846864"/>
                  <a:gd name="connsiteY171" fmla="*/ 74378 h 948107"/>
                  <a:gd name="connsiteX172" fmla="*/ 314980 w 846864"/>
                  <a:gd name="connsiteY172" fmla="*/ 78881 h 948107"/>
                  <a:gd name="connsiteX173" fmla="*/ 339317 w 846864"/>
                  <a:gd name="connsiteY173" fmla="*/ 89767 h 948107"/>
                  <a:gd name="connsiteX174" fmla="*/ 345985 w 846864"/>
                  <a:gd name="connsiteY174" fmla="*/ 87145 h 948107"/>
                  <a:gd name="connsiteX175" fmla="*/ 346954 w 846864"/>
                  <a:gd name="connsiteY175" fmla="*/ 77342 h 948107"/>
                  <a:gd name="connsiteX176" fmla="*/ 358866 w 846864"/>
                  <a:gd name="connsiteY176" fmla="*/ 75803 h 948107"/>
                  <a:gd name="connsiteX177" fmla="*/ 367928 w 846864"/>
                  <a:gd name="connsiteY177" fmla="*/ 67368 h 948107"/>
                  <a:gd name="connsiteX178" fmla="*/ 367928 w 846864"/>
                  <a:gd name="connsiteY178" fmla="*/ 64005 h 948107"/>
                  <a:gd name="connsiteX179" fmla="*/ 381949 w 846864"/>
                  <a:gd name="connsiteY179" fmla="*/ 79451 h 948107"/>
                  <a:gd name="connsiteX180" fmla="*/ 385996 w 846864"/>
                  <a:gd name="connsiteY180" fmla="*/ 79451 h 948107"/>
                  <a:gd name="connsiteX181" fmla="*/ 389187 w 846864"/>
                  <a:gd name="connsiteY181" fmla="*/ 71642 h 948107"/>
                  <a:gd name="connsiteX182" fmla="*/ 389187 w 846864"/>
                  <a:gd name="connsiteY182" fmla="*/ 62694 h 948107"/>
                  <a:gd name="connsiteX183" fmla="*/ 409591 w 846864"/>
                  <a:gd name="connsiteY183" fmla="*/ 61782 h 948107"/>
                  <a:gd name="connsiteX184" fmla="*/ 413524 w 846864"/>
                  <a:gd name="connsiteY184" fmla="*/ 60585 h 948107"/>
                  <a:gd name="connsiteX185" fmla="*/ 416659 w 846864"/>
                  <a:gd name="connsiteY185" fmla="*/ 55855 h 948107"/>
                  <a:gd name="connsiteX186" fmla="*/ 420762 w 846864"/>
                  <a:gd name="connsiteY186" fmla="*/ 55855 h 948107"/>
                  <a:gd name="connsiteX187" fmla="*/ 421161 w 846864"/>
                  <a:gd name="connsiteY187" fmla="*/ 55855 h 948107"/>
                  <a:gd name="connsiteX188" fmla="*/ 423954 w 846864"/>
                  <a:gd name="connsiteY188" fmla="*/ 67767 h 948107"/>
                  <a:gd name="connsiteX189" fmla="*/ 434783 w 846864"/>
                  <a:gd name="connsiteY189" fmla="*/ 74378 h 948107"/>
                  <a:gd name="connsiteX190" fmla="*/ 438488 w 846864"/>
                  <a:gd name="connsiteY190" fmla="*/ 71358 h 948107"/>
                  <a:gd name="connsiteX191" fmla="*/ 460032 w 846864"/>
                  <a:gd name="connsiteY191" fmla="*/ 71757 h 948107"/>
                  <a:gd name="connsiteX192" fmla="*/ 459234 w 846864"/>
                  <a:gd name="connsiteY192" fmla="*/ 62466 h 948107"/>
                  <a:gd name="connsiteX193" fmla="*/ 464363 w 846864"/>
                  <a:gd name="connsiteY193" fmla="*/ 55114 h 948107"/>
                  <a:gd name="connsiteX194" fmla="*/ 468524 w 846864"/>
                  <a:gd name="connsiteY194" fmla="*/ 54202 h 948107"/>
                  <a:gd name="connsiteX195" fmla="*/ 476959 w 846864"/>
                  <a:gd name="connsiteY195" fmla="*/ 50497 h 948107"/>
                  <a:gd name="connsiteX196" fmla="*/ 480892 w 846864"/>
                  <a:gd name="connsiteY196" fmla="*/ 48275 h 948107"/>
                  <a:gd name="connsiteX197" fmla="*/ 483058 w 846864"/>
                  <a:gd name="connsiteY197" fmla="*/ 48275 h 948107"/>
                  <a:gd name="connsiteX198" fmla="*/ 493488 w 846864"/>
                  <a:gd name="connsiteY198" fmla="*/ 71358 h 948107"/>
                  <a:gd name="connsiteX199" fmla="*/ 505855 w 846864"/>
                  <a:gd name="connsiteY199" fmla="*/ 75347 h 948107"/>
                  <a:gd name="connsiteX200" fmla="*/ 506596 w 846864"/>
                  <a:gd name="connsiteY200" fmla="*/ 88171 h 948107"/>
                  <a:gd name="connsiteX201" fmla="*/ 520959 w 846864"/>
                  <a:gd name="connsiteY201" fmla="*/ 94269 h 948107"/>
                  <a:gd name="connsiteX202" fmla="*/ 500441 w 846864"/>
                  <a:gd name="connsiteY202" fmla="*/ 117637 h 948107"/>
                  <a:gd name="connsiteX203" fmla="*/ 488586 w 846864"/>
                  <a:gd name="connsiteY203" fmla="*/ 124591 h 948107"/>
                  <a:gd name="connsiteX204" fmla="*/ 487959 w 846864"/>
                  <a:gd name="connsiteY204" fmla="*/ 136901 h 948107"/>
                  <a:gd name="connsiteX205" fmla="*/ 503234 w 846864"/>
                  <a:gd name="connsiteY205" fmla="*/ 141233 h 948107"/>
                  <a:gd name="connsiteX206" fmla="*/ 503918 w 846864"/>
                  <a:gd name="connsiteY206" fmla="*/ 126015 h 948107"/>
                  <a:gd name="connsiteX207" fmla="*/ 528311 w 846864"/>
                  <a:gd name="connsiteY207" fmla="*/ 122767 h 948107"/>
                  <a:gd name="connsiteX208" fmla="*/ 549513 w 846864"/>
                  <a:gd name="connsiteY208" fmla="*/ 137357 h 948107"/>
                  <a:gd name="connsiteX209" fmla="*/ 553047 w 846864"/>
                  <a:gd name="connsiteY209" fmla="*/ 144197 h 948107"/>
                  <a:gd name="connsiteX210" fmla="*/ 543814 w 846864"/>
                  <a:gd name="connsiteY210" fmla="*/ 144197 h 948107"/>
                  <a:gd name="connsiteX211" fmla="*/ 534638 w 846864"/>
                  <a:gd name="connsiteY211" fmla="*/ 155596 h 948107"/>
                  <a:gd name="connsiteX212" fmla="*/ 527570 w 846864"/>
                  <a:gd name="connsiteY212" fmla="*/ 167907 h 948107"/>
                  <a:gd name="connsiteX213" fmla="*/ 535322 w 846864"/>
                  <a:gd name="connsiteY213" fmla="*/ 169958 h 948107"/>
                  <a:gd name="connsiteX214" fmla="*/ 545695 w 846864"/>
                  <a:gd name="connsiteY214" fmla="*/ 167565 h 948107"/>
                  <a:gd name="connsiteX215" fmla="*/ 547724 w 846864"/>
                  <a:gd name="connsiteY215" fmla="*/ 158520 h 948107"/>
                  <a:gd name="connsiteX216" fmla="*/ 547519 w 846864"/>
                  <a:gd name="connsiteY216" fmla="*/ 158217 h 948107"/>
                  <a:gd name="connsiteX217" fmla="*/ 576016 w 846864"/>
                  <a:gd name="connsiteY217" fmla="*/ 153430 h 948107"/>
                  <a:gd name="connsiteX218" fmla="*/ 586617 w 846864"/>
                  <a:gd name="connsiteY218" fmla="*/ 160041 h 948107"/>
                  <a:gd name="connsiteX219" fmla="*/ 637912 w 846864"/>
                  <a:gd name="connsiteY219" fmla="*/ 173834 h 948107"/>
                  <a:gd name="connsiteX220" fmla="*/ 642244 w 846864"/>
                  <a:gd name="connsiteY220" fmla="*/ 175886 h 948107"/>
                  <a:gd name="connsiteX221" fmla="*/ 638311 w 846864"/>
                  <a:gd name="connsiteY221" fmla="*/ 197145 h 948107"/>
                  <a:gd name="connsiteX222" fmla="*/ 648274 w 846864"/>
                  <a:gd name="connsiteY222" fmla="*/ 191679 h 948107"/>
                  <a:gd name="connsiteX223" fmla="*/ 648513 w 846864"/>
                  <a:gd name="connsiteY223" fmla="*/ 190590 h 948107"/>
                  <a:gd name="connsiteX224" fmla="*/ 667835 w 846864"/>
                  <a:gd name="connsiteY224" fmla="*/ 196290 h 948107"/>
                  <a:gd name="connsiteX225" fmla="*/ 687042 w 846864"/>
                  <a:gd name="connsiteY225" fmla="*/ 184891 h 948107"/>
                  <a:gd name="connsiteX226" fmla="*/ 696104 w 846864"/>
                  <a:gd name="connsiteY226" fmla="*/ 193611 h 948107"/>
                  <a:gd name="connsiteX227" fmla="*/ 695876 w 846864"/>
                  <a:gd name="connsiteY227" fmla="*/ 195777 h 948107"/>
                  <a:gd name="connsiteX228" fmla="*/ 747741 w 846864"/>
                  <a:gd name="connsiteY228" fmla="*/ 187057 h 948107"/>
                  <a:gd name="connsiteX229" fmla="*/ 757772 w 846864"/>
                  <a:gd name="connsiteY229" fmla="*/ 199140 h 948107"/>
                  <a:gd name="connsiteX230" fmla="*/ 771622 w 846864"/>
                  <a:gd name="connsiteY230" fmla="*/ 207005 h 948107"/>
                  <a:gd name="connsiteX231" fmla="*/ 773902 w 846864"/>
                  <a:gd name="connsiteY231" fmla="*/ 211679 h 948107"/>
                  <a:gd name="connsiteX232" fmla="*/ 783363 w 846864"/>
                  <a:gd name="connsiteY232" fmla="*/ 224103 h 948107"/>
                  <a:gd name="connsiteX233" fmla="*/ 795959 w 846864"/>
                  <a:gd name="connsiteY233" fmla="*/ 224103 h 948107"/>
                  <a:gd name="connsiteX234" fmla="*/ 797725 w 846864"/>
                  <a:gd name="connsiteY234" fmla="*/ 236642 h 948107"/>
                  <a:gd name="connsiteX235" fmla="*/ 823145 w 846864"/>
                  <a:gd name="connsiteY235" fmla="*/ 246160 h 948107"/>
                  <a:gd name="connsiteX236" fmla="*/ 826679 w 846864"/>
                  <a:gd name="connsiteY236" fmla="*/ 253855 h 948107"/>
                  <a:gd name="connsiteX237" fmla="*/ 836482 w 846864"/>
                  <a:gd name="connsiteY237" fmla="*/ 256077 h 948107"/>
                  <a:gd name="connsiteX238" fmla="*/ 839902 w 846864"/>
                  <a:gd name="connsiteY238" fmla="*/ 262689 h 948107"/>
                  <a:gd name="connsiteX239" fmla="*/ 845601 w 846864"/>
                  <a:gd name="connsiteY239" fmla="*/ 265595 h 948107"/>
                  <a:gd name="connsiteX240" fmla="*/ 843834 w 846864"/>
                  <a:gd name="connsiteY240" fmla="*/ 315409 h 94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846864" h="948107">
                    <a:moveTo>
                      <a:pt x="843834" y="315409"/>
                    </a:moveTo>
                    <a:lnTo>
                      <a:pt x="837223" y="315409"/>
                    </a:lnTo>
                    <a:lnTo>
                      <a:pt x="837223" y="328632"/>
                    </a:lnTo>
                    <a:lnTo>
                      <a:pt x="828902" y="330569"/>
                    </a:lnTo>
                    <a:lnTo>
                      <a:pt x="823601" y="366818"/>
                    </a:lnTo>
                    <a:cubicBezTo>
                      <a:pt x="819623" y="367850"/>
                      <a:pt x="815485" y="368123"/>
                      <a:pt x="811404" y="367616"/>
                    </a:cubicBezTo>
                    <a:cubicBezTo>
                      <a:pt x="810378" y="372387"/>
                      <a:pt x="808338" y="376878"/>
                      <a:pt x="805420" y="380782"/>
                    </a:cubicBezTo>
                    <a:cubicBezTo>
                      <a:pt x="802405" y="384817"/>
                      <a:pt x="797099" y="386390"/>
                      <a:pt x="792368" y="384657"/>
                    </a:cubicBezTo>
                    <a:cubicBezTo>
                      <a:pt x="792898" y="389861"/>
                      <a:pt x="790219" y="394871"/>
                      <a:pt x="785586" y="397310"/>
                    </a:cubicBezTo>
                    <a:cubicBezTo>
                      <a:pt x="783175" y="398080"/>
                      <a:pt x="780929" y="399294"/>
                      <a:pt x="778974" y="400901"/>
                    </a:cubicBezTo>
                    <a:cubicBezTo>
                      <a:pt x="778096" y="402098"/>
                      <a:pt x="777373" y="403403"/>
                      <a:pt x="776808" y="404777"/>
                    </a:cubicBezTo>
                    <a:cubicBezTo>
                      <a:pt x="773902" y="410761"/>
                      <a:pt x="767746" y="414295"/>
                      <a:pt x="762959" y="418854"/>
                    </a:cubicBezTo>
                    <a:cubicBezTo>
                      <a:pt x="758171" y="423414"/>
                      <a:pt x="754637" y="431051"/>
                      <a:pt x="758342" y="436580"/>
                    </a:cubicBezTo>
                    <a:lnTo>
                      <a:pt x="750819" y="439885"/>
                    </a:lnTo>
                    <a:lnTo>
                      <a:pt x="750819" y="460461"/>
                    </a:lnTo>
                    <a:cubicBezTo>
                      <a:pt x="759340" y="465835"/>
                      <a:pt x="762474" y="476744"/>
                      <a:pt x="758114" y="485823"/>
                    </a:cubicBezTo>
                    <a:cubicBezTo>
                      <a:pt x="750477" y="500357"/>
                      <a:pt x="758114" y="520020"/>
                      <a:pt x="758114" y="536321"/>
                    </a:cubicBezTo>
                    <a:cubicBezTo>
                      <a:pt x="758496" y="540476"/>
                      <a:pt x="757869" y="544659"/>
                      <a:pt x="756290" y="548517"/>
                    </a:cubicBezTo>
                    <a:cubicBezTo>
                      <a:pt x="754541" y="552461"/>
                      <a:pt x="750226" y="554593"/>
                      <a:pt x="746031" y="553590"/>
                    </a:cubicBezTo>
                    <a:cubicBezTo>
                      <a:pt x="748995" y="563222"/>
                      <a:pt x="737710" y="570688"/>
                      <a:pt x="733093" y="579694"/>
                    </a:cubicBezTo>
                    <a:cubicBezTo>
                      <a:pt x="731389" y="583444"/>
                      <a:pt x="730215" y="587416"/>
                      <a:pt x="729617" y="591491"/>
                    </a:cubicBezTo>
                    <a:cubicBezTo>
                      <a:pt x="726767" y="606253"/>
                      <a:pt x="723917" y="621072"/>
                      <a:pt x="721125" y="635833"/>
                    </a:cubicBezTo>
                    <a:cubicBezTo>
                      <a:pt x="720042" y="641533"/>
                      <a:pt x="718389" y="647688"/>
                      <a:pt x="713259" y="650025"/>
                    </a:cubicBezTo>
                    <a:cubicBezTo>
                      <a:pt x="709954" y="651507"/>
                      <a:pt x="705964" y="650937"/>
                      <a:pt x="702886" y="652818"/>
                    </a:cubicBezTo>
                    <a:cubicBezTo>
                      <a:pt x="699809" y="654698"/>
                      <a:pt x="697871" y="660455"/>
                      <a:pt x="693881" y="662393"/>
                    </a:cubicBezTo>
                    <a:cubicBezTo>
                      <a:pt x="691145" y="663293"/>
                      <a:pt x="688227" y="663504"/>
                      <a:pt x="685389" y="663020"/>
                    </a:cubicBezTo>
                    <a:cubicBezTo>
                      <a:pt x="674115" y="662592"/>
                      <a:pt x="663526" y="668423"/>
                      <a:pt x="657860" y="678180"/>
                    </a:cubicBezTo>
                    <a:cubicBezTo>
                      <a:pt x="653455" y="675547"/>
                      <a:pt x="648576" y="673803"/>
                      <a:pt x="643498" y="673051"/>
                    </a:cubicBezTo>
                    <a:cubicBezTo>
                      <a:pt x="638288" y="672373"/>
                      <a:pt x="633165" y="674801"/>
                      <a:pt x="630389" y="679263"/>
                    </a:cubicBezTo>
                    <a:cubicBezTo>
                      <a:pt x="629078" y="681828"/>
                      <a:pt x="628964" y="684963"/>
                      <a:pt x="627482" y="687357"/>
                    </a:cubicBezTo>
                    <a:cubicBezTo>
                      <a:pt x="625390" y="690024"/>
                      <a:pt x="622552" y="692007"/>
                      <a:pt x="619332" y="693056"/>
                    </a:cubicBezTo>
                    <a:lnTo>
                      <a:pt x="598586" y="702460"/>
                    </a:lnTo>
                    <a:cubicBezTo>
                      <a:pt x="595930" y="703497"/>
                      <a:pt x="593496" y="705025"/>
                      <a:pt x="591405" y="706963"/>
                    </a:cubicBezTo>
                    <a:cubicBezTo>
                      <a:pt x="589752" y="708786"/>
                      <a:pt x="588726" y="711123"/>
                      <a:pt x="587073" y="712662"/>
                    </a:cubicBezTo>
                    <a:cubicBezTo>
                      <a:pt x="582057" y="718362"/>
                      <a:pt x="573337" y="717279"/>
                      <a:pt x="566327" y="719730"/>
                    </a:cubicBezTo>
                    <a:cubicBezTo>
                      <a:pt x="552990" y="724403"/>
                      <a:pt x="547804" y="740191"/>
                      <a:pt x="544441" y="753926"/>
                    </a:cubicBezTo>
                    <a:cubicBezTo>
                      <a:pt x="542748" y="758703"/>
                      <a:pt x="542606" y="763889"/>
                      <a:pt x="544042" y="768745"/>
                    </a:cubicBezTo>
                    <a:cubicBezTo>
                      <a:pt x="545524" y="771452"/>
                      <a:pt x="547239" y="774028"/>
                      <a:pt x="549171" y="776439"/>
                    </a:cubicBezTo>
                    <a:cubicBezTo>
                      <a:pt x="555133" y="786841"/>
                      <a:pt x="551537" y="800115"/>
                      <a:pt x="541129" y="806076"/>
                    </a:cubicBezTo>
                    <a:cubicBezTo>
                      <a:pt x="540964" y="806173"/>
                      <a:pt x="540793" y="806270"/>
                      <a:pt x="540622" y="806362"/>
                    </a:cubicBezTo>
                    <a:cubicBezTo>
                      <a:pt x="538114" y="807558"/>
                      <a:pt x="534923" y="808356"/>
                      <a:pt x="533783" y="810693"/>
                    </a:cubicBezTo>
                    <a:cubicBezTo>
                      <a:pt x="532985" y="812437"/>
                      <a:pt x="532358" y="814250"/>
                      <a:pt x="531902" y="816108"/>
                    </a:cubicBezTo>
                    <a:cubicBezTo>
                      <a:pt x="530021" y="820667"/>
                      <a:pt x="524721" y="822434"/>
                      <a:pt x="520503" y="824885"/>
                    </a:cubicBezTo>
                    <a:cubicBezTo>
                      <a:pt x="516286" y="827336"/>
                      <a:pt x="512353" y="832807"/>
                      <a:pt x="515260" y="836740"/>
                    </a:cubicBezTo>
                    <a:cubicBezTo>
                      <a:pt x="505109" y="835759"/>
                      <a:pt x="496081" y="843192"/>
                      <a:pt x="495101" y="853342"/>
                    </a:cubicBezTo>
                    <a:cubicBezTo>
                      <a:pt x="495021" y="854151"/>
                      <a:pt x="494998" y="854961"/>
                      <a:pt x="495026" y="855776"/>
                    </a:cubicBezTo>
                    <a:cubicBezTo>
                      <a:pt x="495026" y="857372"/>
                      <a:pt x="495368" y="859310"/>
                      <a:pt x="494115" y="860221"/>
                    </a:cubicBezTo>
                    <a:cubicBezTo>
                      <a:pt x="492861" y="861134"/>
                      <a:pt x="491436" y="860563"/>
                      <a:pt x="490068" y="860221"/>
                    </a:cubicBezTo>
                    <a:cubicBezTo>
                      <a:pt x="484522" y="860034"/>
                      <a:pt x="479587" y="863698"/>
                      <a:pt x="478156" y="869056"/>
                    </a:cubicBezTo>
                    <a:cubicBezTo>
                      <a:pt x="476896" y="874299"/>
                      <a:pt x="476896" y="879771"/>
                      <a:pt x="478156" y="885014"/>
                    </a:cubicBezTo>
                    <a:cubicBezTo>
                      <a:pt x="466757" y="891398"/>
                      <a:pt x="476560" y="911232"/>
                      <a:pt x="465788" y="918755"/>
                    </a:cubicBezTo>
                    <a:cubicBezTo>
                      <a:pt x="463394" y="920408"/>
                      <a:pt x="460089" y="921149"/>
                      <a:pt x="458607" y="923543"/>
                    </a:cubicBezTo>
                    <a:cubicBezTo>
                      <a:pt x="457125" y="925936"/>
                      <a:pt x="457467" y="929242"/>
                      <a:pt x="456669" y="932434"/>
                    </a:cubicBezTo>
                    <a:cubicBezTo>
                      <a:pt x="454845" y="938988"/>
                      <a:pt x="446980" y="941382"/>
                      <a:pt x="441622" y="945600"/>
                    </a:cubicBezTo>
                    <a:cubicBezTo>
                      <a:pt x="440676" y="946375"/>
                      <a:pt x="439782" y="947212"/>
                      <a:pt x="438944" y="948108"/>
                    </a:cubicBezTo>
                    <a:cubicBezTo>
                      <a:pt x="438944" y="947138"/>
                      <a:pt x="438944" y="946170"/>
                      <a:pt x="438944" y="945201"/>
                    </a:cubicBezTo>
                    <a:cubicBezTo>
                      <a:pt x="439833" y="932103"/>
                      <a:pt x="437542" y="918983"/>
                      <a:pt x="432275" y="906957"/>
                    </a:cubicBezTo>
                    <a:cubicBezTo>
                      <a:pt x="431021" y="903304"/>
                      <a:pt x="428645" y="900129"/>
                      <a:pt x="425493" y="897895"/>
                    </a:cubicBezTo>
                    <a:cubicBezTo>
                      <a:pt x="419793" y="894589"/>
                      <a:pt x="411187" y="897211"/>
                      <a:pt x="406514" y="892196"/>
                    </a:cubicBezTo>
                    <a:cubicBezTo>
                      <a:pt x="403778" y="889403"/>
                      <a:pt x="403151" y="884672"/>
                      <a:pt x="399731" y="882791"/>
                    </a:cubicBezTo>
                    <a:cubicBezTo>
                      <a:pt x="396312" y="880911"/>
                      <a:pt x="391182" y="882791"/>
                      <a:pt x="388332" y="880170"/>
                    </a:cubicBezTo>
                    <a:cubicBezTo>
                      <a:pt x="384286" y="876693"/>
                      <a:pt x="387477" y="868771"/>
                      <a:pt x="382975" y="865693"/>
                    </a:cubicBezTo>
                    <a:cubicBezTo>
                      <a:pt x="374973" y="866126"/>
                      <a:pt x="367033" y="864137"/>
                      <a:pt x="360177" y="859994"/>
                    </a:cubicBezTo>
                    <a:cubicBezTo>
                      <a:pt x="363198" y="853553"/>
                      <a:pt x="366161" y="847113"/>
                      <a:pt x="369125" y="840672"/>
                    </a:cubicBezTo>
                    <a:cubicBezTo>
                      <a:pt x="373628" y="830983"/>
                      <a:pt x="378814" y="820610"/>
                      <a:pt x="388446" y="816165"/>
                    </a:cubicBezTo>
                    <a:cubicBezTo>
                      <a:pt x="391889" y="815053"/>
                      <a:pt x="395183" y="813520"/>
                      <a:pt x="398249" y="811605"/>
                    </a:cubicBezTo>
                    <a:cubicBezTo>
                      <a:pt x="403949" y="807216"/>
                      <a:pt x="403949" y="798610"/>
                      <a:pt x="409135" y="793595"/>
                    </a:cubicBezTo>
                    <a:cubicBezTo>
                      <a:pt x="412954" y="790762"/>
                      <a:pt x="417086" y="788368"/>
                      <a:pt x="421446" y="786470"/>
                    </a:cubicBezTo>
                    <a:cubicBezTo>
                      <a:pt x="425436" y="783906"/>
                      <a:pt x="428742" y="778605"/>
                      <a:pt x="426234" y="774501"/>
                    </a:cubicBezTo>
                    <a:lnTo>
                      <a:pt x="434840" y="769657"/>
                    </a:lnTo>
                    <a:cubicBezTo>
                      <a:pt x="435946" y="764858"/>
                      <a:pt x="434356" y="759831"/>
                      <a:pt x="430679" y="756548"/>
                    </a:cubicBezTo>
                    <a:cubicBezTo>
                      <a:pt x="427830" y="754097"/>
                      <a:pt x="423840" y="752672"/>
                      <a:pt x="422244" y="749310"/>
                    </a:cubicBezTo>
                    <a:cubicBezTo>
                      <a:pt x="419907" y="744294"/>
                      <a:pt x="425664" y="737284"/>
                      <a:pt x="422244" y="733066"/>
                    </a:cubicBezTo>
                    <a:cubicBezTo>
                      <a:pt x="424393" y="727811"/>
                      <a:pt x="425590" y="722214"/>
                      <a:pt x="425778" y="716538"/>
                    </a:cubicBezTo>
                    <a:cubicBezTo>
                      <a:pt x="425841" y="710753"/>
                      <a:pt x="422763" y="705390"/>
                      <a:pt x="417742" y="702517"/>
                    </a:cubicBezTo>
                    <a:cubicBezTo>
                      <a:pt x="410845" y="699211"/>
                      <a:pt x="401840" y="703201"/>
                      <a:pt x="395229" y="699325"/>
                    </a:cubicBezTo>
                    <a:cubicBezTo>
                      <a:pt x="393633" y="690719"/>
                      <a:pt x="391980" y="682227"/>
                      <a:pt x="390384" y="673621"/>
                    </a:cubicBezTo>
                    <a:cubicBezTo>
                      <a:pt x="389888" y="668731"/>
                      <a:pt x="388122" y="664051"/>
                      <a:pt x="385255" y="660056"/>
                    </a:cubicBezTo>
                    <a:cubicBezTo>
                      <a:pt x="376534" y="650139"/>
                      <a:pt x="360234" y="656751"/>
                      <a:pt x="347353" y="653844"/>
                    </a:cubicBezTo>
                    <a:cubicBezTo>
                      <a:pt x="351012" y="637549"/>
                      <a:pt x="348767" y="620485"/>
                      <a:pt x="341027" y="605683"/>
                    </a:cubicBezTo>
                    <a:lnTo>
                      <a:pt x="344959" y="603460"/>
                    </a:lnTo>
                    <a:cubicBezTo>
                      <a:pt x="347427" y="583928"/>
                      <a:pt x="349861" y="564379"/>
                      <a:pt x="352255" y="544813"/>
                    </a:cubicBezTo>
                    <a:cubicBezTo>
                      <a:pt x="352540" y="542533"/>
                      <a:pt x="352711" y="539854"/>
                      <a:pt x="350944" y="538429"/>
                    </a:cubicBezTo>
                    <a:cubicBezTo>
                      <a:pt x="349177" y="537005"/>
                      <a:pt x="346327" y="537631"/>
                      <a:pt x="344104" y="536890"/>
                    </a:cubicBezTo>
                    <a:cubicBezTo>
                      <a:pt x="340229" y="535693"/>
                      <a:pt x="339032" y="530792"/>
                      <a:pt x="339260" y="526802"/>
                    </a:cubicBezTo>
                    <a:cubicBezTo>
                      <a:pt x="340052" y="522835"/>
                      <a:pt x="339796" y="518726"/>
                      <a:pt x="338519" y="514891"/>
                    </a:cubicBezTo>
                    <a:cubicBezTo>
                      <a:pt x="335612" y="509191"/>
                      <a:pt x="327690" y="508792"/>
                      <a:pt x="321421" y="509932"/>
                    </a:cubicBezTo>
                    <a:cubicBezTo>
                      <a:pt x="315151" y="511072"/>
                      <a:pt x="308198" y="512953"/>
                      <a:pt x="302840" y="509476"/>
                    </a:cubicBezTo>
                    <a:cubicBezTo>
                      <a:pt x="299614" y="506968"/>
                      <a:pt x="297277" y="503492"/>
                      <a:pt x="296172" y="499559"/>
                    </a:cubicBezTo>
                    <a:cubicBezTo>
                      <a:pt x="290455" y="483845"/>
                      <a:pt x="290033" y="466690"/>
                      <a:pt x="294975" y="450714"/>
                    </a:cubicBezTo>
                    <a:lnTo>
                      <a:pt x="283576" y="451056"/>
                    </a:lnTo>
                    <a:cubicBezTo>
                      <a:pt x="284830" y="447238"/>
                      <a:pt x="280498" y="443704"/>
                      <a:pt x="276509" y="443362"/>
                    </a:cubicBezTo>
                    <a:cubicBezTo>
                      <a:pt x="272519" y="443020"/>
                      <a:pt x="268529" y="444502"/>
                      <a:pt x="264540" y="444160"/>
                    </a:cubicBezTo>
                    <a:cubicBezTo>
                      <a:pt x="260550" y="443818"/>
                      <a:pt x="256219" y="440341"/>
                      <a:pt x="257415" y="436523"/>
                    </a:cubicBezTo>
                    <a:lnTo>
                      <a:pt x="242540" y="437321"/>
                    </a:lnTo>
                    <a:cubicBezTo>
                      <a:pt x="243452" y="423927"/>
                      <a:pt x="228006" y="413326"/>
                      <a:pt x="214954" y="416346"/>
                    </a:cubicBezTo>
                    <a:cubicBezTo>
                      <a:pt x="212623" y="417196"/>
                      <a:pt x="210133" y="417526"/>
                      <a:pt x="207659" y="417316"/>
                    </a:cubicBezTo>
                    <a:cubicBezTo>
                      <a:pt x="204353" y="416632"/>
                      <a:pt x="202245" y="413611"/>
                      <a:pt x="199794" y="411616"/>
                    </a:cubicBezTo>
                    <a:cubicBezTo>
                      <a:pt x="197343" y="409621"/>
                      <a:pt x="193182" y="407854"/>
                      <a:pt x="190846" y="410248"/>
                    </a:cubicBezTo>
                    <a:cubicBezTo>
                      <a:pt x="190561" y="405461"/>
                      <a:pt x="190333" y="400730"/>
                      <a:pt x="190048" y="395943"/>
                    </a:cubicBezTo>
                    <a:cubicBezTo>
                      <a:pt x="183094" y="398279"/>
                      <a:pt x="177452" y="388989"/>
                      <a:pt x="178649" y="381751"/>
                    </a:cubicBezTo>
                    <a:cubicBezTo>
                      <a:pt x="179846" y="374512"/>
                      <a:pt x="183892" y="367730"/>
                      <a:pt x="183607" y="360435"/>
                    </a:cubicBezTo>
                    <a:cubicBezTo>
                      <a:pt x="183755" y="357334"/>
                      <a:pt x="182319" y="354371"/>
                      <a:pt x="179789" y="352569"/>
                    </a:cubicBezTo>
                    <a:cubicBezTo>
                      <a:pt x="178028" y="351663"/>
                      <a:pt x="176067" y="351230"/>
                      <a:pt x="174089" y="351316"/>
                    </a:cubicBezTo>
                    <a:cubicBezTo>
                      <a:pt x="166338" y="350917"/>
                      <a:pt x="156706" y="351316"/>
                      <a:pt x="153343" y="358497"/>
                    </a:cubicBezTo>
                    <a:lnTo>
                      <a:pt x="141317" y="358497"/>
                    </a:lnTo>
                    <a:cubicBezTo>
                      <a:pt x="138296" y="361894"/>
                      <a:pt x="136592" y="366260"/>
                      <a:pt x="136530" y="370808"/>
                    </a:cubicBezTo>
                    <a:lnTo>
                      <a:pt x="124162" y="370808"/>
                    </a:lnTo>
                    <a:cubicBezTo>
                      <a:pt x="124732" y="373942"/>
                      <a:pt x="121882" y="376507"/>
                      <a:pt x="119317" y="378388"/>
                    </a:cubicBezTo>
                    <a:lnTo>
                      <a:pt x="110198" y="384999"/>
                    </a:lnTo>
                    <a:lnTo>
                      <a:pt x="102846" y="390699"/>
                    </a:lnTo>
                    <a:cubicBezTo>
                      <a:pt x="100446" y="386043"/>
                      <a:pt x="95465" y="383313"/>
                      <a:pt x="90250" y="383803"/>
                    </a:cubicBezTo>
                    <a:cubicBezTo>
                      <a:pt x="84596" y="384697"/>
                      <a:pt x="78879" y="385176"/>
                      <a:pt x="73151" y="385228"/>
                    </a:cubicBezTo>
                    <a:lnTo>
                      <a:pt x="64032" y="351031"/>
                    </a:lnTo>
                    <a:cubicBezTo>
                      <a:pt x="64032" y="356217"/>
                      <a:pt x="57706" y="358839"/>
                      <a:pt x="52633" y="359352"/>
                    </a:cubicBezTo>
                    <a:cubicBezTo>
                      <a:pt x="47863" y="359859"/>
                      <a:pt x="43041" y="359415"/>
                      <a:pt x="38442" y="358041"/>
                    </a:cubicBezTo>
                    <a:cubicBezTo>
                      <a:pt x="30103" y="354627"/>
                      <a:pt x="22945" y="348842"/>
                      <a:pt x="17867" y="341399"/>
                    </a:cubicBezTo>
                    <a:cubicBezTo>
                      <a:pt x="14846" y="337523"/>
                      <a:pt x="12167" y="333533"/>
                      <a:pt x="9260" y="329373"/>
                    </a:cubicBezTo>
                    <a:cubicBezTo>
                      <a:pt x="4707" y="323052"/>
                      <a:pt x="1629" y="315785"/>
                      <a:pt x="255" y="308114"/>
                    </a:cubicBezTo>
                    <a:cubicBezTo>
                      <a:pt x="-463" y="302534"/>
                      <a:pt x="341" y="296857"/>
                      <a:pt x="2592" y="291699"/>
                    </a:cubicBezTo>
                    <a:cubicBezTo>
                      <a:pt x="3578" y="289949"/>
                      <a:pt x="4165" y="288006"/>
                      <a:pt x="4302" y="286000"/>
                    </a:cubicBezTo>
                    <a:cubicBezTo>
                      <a:pt x="4302" y="283720"/>
                      <a:pt x="2535" y="281611"/>
                      <a:pt x="2934" y="279331"/>
                    </a:cubicBezTo>
                    <a:cubicBezTo>
                      <a:pt x="3561" y="276140"/>
                      <a:pt x="7493" y="275000"/>
                      <a:pt x="9488" y="272549"/>
                    </a:cubicBezTo>
                    <a:cubicBezTo>
                      <a:pt x="12908" y="268388"/>
                      <a:pt x="10229" y="262119"/>
                      <a:pt x="11597" y="256989"/>
                    </a:cubicBezTo>
                    <a:cubicBezTo>
                      <a:pt x="12395" y="254561"/>
                      <a:pt x="13695" y="252327"/>
                      <a:pt x="15416" y="250435"/>
                    </a:cubicBezTo>
                    <a:cubicBezTo>
                      <a:pt x="18796" y="246172"/>
                      <a:pt x="22409" y="242097"/>
                      <a:pt x="26245" y="238238"/>
                    </a:cubicBezTo>
                    <a:cubicBezTo>
                      <a:pt x="34680" y="229164"/>
                      <a:pt x="45207" y="222297"/>
                      <a:pt x="56908" y="218233"/>
                    </a:cubicBezTo>
                    <a:cubicBezTo>
                      <a:pt x="62277" y="217161"/>
                      <a:pt x="67475" y="215360"/>
                      <a:pt x="72353" y="212875"/>
                    </a:cubicBezTo>
                    <a:cubicBezTo>
                      <a:pt x="80789" y="207176"/>
                      <a:pt x="82898" y="196575"/>
                      <a:pt x="81758" y="186145"/>
                    </a:cubicBezTo>
                    <a:cubicBezTo>
                      <a:pt x="87075" y="179448"/>
                      <a:pt x="90586" y="171503"/>
                      <a:pt x="91960" y="163062"/>
                    </a:cubicBezTo>
                    <a:cubicBezTo>
                      <a:pt x="93909" y="154490"/>
                      <a:pt x="91447" y="145508"/>
                      <a:pt x="85405" y="139124"/>
                    </a:cubicBezTo>
                    <a:cubicBezTo>
                      <a:pt x="88825" y="134280"/>
                      <a:pt x="82840" y="128466"/>
                      <a:pt x="80675" y="122938"/>
                    </a:cubicBezTo>
                    <a:cubicBezTo>
                      <a:pt x="78133" y="116326"/>
                      <a:pt x="81427" y="108906"/>
                      <a:pt x="88039" y="106364"/>
                    </a:cubicBezTo>
                    <a:cubicBezTo>
                      <a:pt x="91185" y="105155"/>
                      <a:pt x="94684" y="105229"/>
                      <a:pt x="97773" y="106580"/>
                    </a:cubicBezTo>
                    <a:cubicBezTo>
                      <a:pt x="98172" y="104414"/>
                      <a:pt x="98514" y="102192"/>
                      <a:pt x="98913" y="99969"/>
                    </a:cubicBezTo>
                    <a:cubicBezTo>
                      <a:pt x="94564" y="99245"/>
                      <a:pt x="90426" y="97592"/>
                      <a:pt x="86773" y="95124"/>
                    </a:cubicBezTo>
                    <a:cubicBezTo>
                      <a:pt x="83182" y="92542"/>
                      <a:pt x="81627" y="87960"/>
                      <a:pt x="82898" y="83725"/>
                    </a:cubicBezTo>
                    <a:cubicBezTo>
                      <a:pt x="85234" y="78026"/>
                      <a:pt x="92644" y="77456"/>
                      <a:pt x="98628" y="77570"/>
                    </a:cubicBezTo>
                    <a:lnTo>
                      <a:pt x="123079" y="78026"/>
                    </a:lnTo>
                    <a:cubicBezTo>
                      <a:pt x="128185" y="78510"/>
                      <a:pt x="133309" y="77308"/>
                      <a:pt x="137669" y="74606"/>
                    </a:cubicBezTo>
                    <a:cubicBezTo>
                      <a:pt x="139795" y="82084"/>
                      <a:pt x="145535" y="87989"/>
                      <a:pt x="152944" y="90337"/>
                    </a:cubicBezTo>
                    <a:cubicBezTo>
                      <a:pt x="151719" y="93061"/>
                      <a:pt x="152693" y="96276"/>
                      <a:pt x="155224" y="97860"/>
                    </a:cubicBezTo>
                    <a:cubicBezTo>
                      <a:pt x="157743" y="99319"/>
                      <a:pt x="160581" y="100140"/>
                      <a:pt x="163488" y="100254"/>
                    </a:cubicBezTo>
                    <a:lnTo>
                      <a:pt x="186001" y="102705"/>
                    </a:lnTo>
                    <a:cubicBezTo>
                      <a:pt x="185374" y="98031"/>
                      <a:pt x="186001" y="91648"/>
                      <a:pt x="190390" y="90508"/>
                    </a:cubicBezTo>
                    <a:cubicBezTo>
                      <a:pt x="192305" y="90314"/>
                      <a:pt x="194237" y="90491"/>
                      <a:pt x="196089" y="91021"/>
                    </a:cubicBezTo>
                    <a:cubicBezTo>
                      <a:pt x="199389" y="91596"/>
                      <a:pt x="202757" y="90508"/>
                      <a:pt x="205094" y="88114"/>
                    </a:cubicBezTo>
                    <a:cubicBezTo>
                      <a:pt x="207397" y="85635"/>
                      <a:pt x="207659" y="81884"/>
                      <a:pt x="205721" y="79109"/>
                    </a:cubicBezTo>
                    <a:cubicBezTo>
                      <a:pt x="210315" y="80078"/>
                      <a:pt x="215046" y="78220"/>
                      <a:pt x="217747" y="74378"/>
                    </a:cubicBezTo>
                    <a:cubicBezTo>
                      <a:pt x="220335" y="70531"/>
                      <a:pt x="221759" y="66017"/>
                      <a:pt x="221851" y="61383"/>
                    </a:cubicBezTo>
                    <a:cubicBezTo>
                      <a:pt x="212561" y="60871"/>
                      <a:pt x="208172" y="49984"/>
                      <a:pt x="206006" y="40865"/>
                    </a:cubicBezTo>
                    <a:lnTo>
                      <a:pt x="204011" y="32772"/>
                    </a:lnTo>
                    <a:cubicBezTo>
                      <a:pt x="202552" y="28270"/>
                      <a:pt x="202125" y="23499"/>
                      <a:pt x="202757" y="18808"/>
                    </a:cubicBezTo>
                    <a:cubicBezTo>
                      <a:pt x="209004" y="15850"/>
                      <a:pt x="216453" y="17492"/>
                      <a:pt x="220882" y="22798"/>
                    </a:cubicBezTo>
                    <a:cubicBezTo>
                      <a:pt x="221891" y="24474"/>
                      <a:pt x="223179" y="25955"/>
                      <a:pt x="224700" y="27187"/>
                    </a:cubicBezTo>
                    <a:cubicBezTo>
                      <a:pt x="227208" y="28839"/>
                      <a:pt x="230400" y="28155"/>
                      <a:pt x="233478" y="28839"/>
                    </a:cubicBezTo>
                    <a:cubicBezTo>
                      <a:pt x="236555" y="29523"/>
                      <a:pt x="239177" y="33342"/>
                      <a:pt x="236783" y="35280"/>
                    </a:cubicBezTo>
                    <a:cubicBezTo>
                      <a:pt x="239234" y="37959"/>
                      <a:pt x="243623" y="34197"/>
                      <a:pt x="244307" y="30606"/>
                    </a:cubicBezTo>
                    <a:cubicBezTo>
                      <a:pt x="244991" y="27016"/>
                      <a:pt x="244934" y="22570"/>
                      <a:pt x="248125" y="20746"/>
                    </a:cubicBezTo>
                    <a:cubicBezTo>
                      <a:pt x="249584" y="20062"/>
                      <a:pt x="251192" y="19766"/>
                      <a:pt x="252799" y="19891"/>
                    </a:cubicBezTo>
                    <a:lnTo>
                      <a:pt x="269897" y="19891"/>
                    </a:lnTo>
                    <a:cubicBezTo>
                      <a:pt x="268301" y="16358"/>
                      <a:pt x="271892" y="12596"/>
                      <a:pt x="275597" y="11000"/>
                    </a:cubicBezTo>
                    <a:cubicBezTo>
                      <a:pt x="279301" y="9404"/>
                      <a:pt x="283405" y="8378"/>
                      <a:pt x="285286" y="4959"/>
                    </a:cubicBezTo>
                    <a:cubicBezTo>
                      <a:pt x="286095" y="3443"/>
                      <a:pt x="286357" y="1687"/>
                      <a:pt x="286027" y="0"/>
                    </a:cubicBezTo>
                    <a:cubicBezTo>
                      <a:pt x="287856" y="513"/>
                      <a:pt x="289515" y="1516"/>
                      <a:pt x="290814" y="2907"/>
                    </a:cubicBezTo>
                    <a:cubicBezTo>
                      <a:pt x="293550" y="5871"/>
                      <a:pt x="294519" y="10943"/>
                      <a:pt x="298395" y="11855"/>
                    </a:cubicBezTo>
                    <a:cubicBezTo>
                      <a:pt x="299859" y="11935"/>
                      <a:pt x="301307" y="12163"/>
                      <a:pt x="302726" y="12539"/>
                    </a:cubicBezTo>
                    <a:cubicBezTo>
                      <a:pt x="303684" y="13092"/>
                      <a:pt x="304442" y="13930"/>
                      <a:pt x="304892" y="14933"/>
                    </a:cubicBezTo>
                    <a:cubicBezTo>
                      <a:pt x="309509" y="23653"/>
                      <a:pt x="303752" y="33912"/>
                      <a:pt x="301415" y="43430"/>
                    </a:cubicBezTo>
                    <a:cubicBezTo>
                      <a:pt x="299990" y="50748"/>
                      <a:pt x="299586" y="58232"/>
                      <a:pt x="300219" y="65658"/>
                    </a:cubicBezTo>
                    <a:lnTo>
                      <a:pt x="309623" y="71358"/>
                    </a:lnTo>
                    <a:cubicBezTo>
                      <a:pt x="311025" y="72093"/>
                      <a:pt x="312250" y="73124"/>
                      <a:pt x="313213" y="74378"/>
                    </a:cubicBezTo>
                    <a:cubicBezTo>
                      <a:pt x="313977" y="75803"/>
                      <a:pt x="314570" y="77313"/>
                      <a:pt x="314980" y="78881"/>
                    </a:cubicBezTo>
                    <a:cubicBezTo>
                      <a:pt x="318343" y="87772"/>
                      <a:pt x="329799" y="90280"/>
                      <a:pt x="339317" y="89767"/>
                    </a:cubicBezTo>
                    <a:cubicBezTo>
                      <a:pt x="341830" y="90018"/>
                      <a:pt x="344315" y="89037"/>
                      <a:pt x="345985" y="87145"/>
                    </a:cubicBezTo>
                    <a:cubicBezTo>
                      <a:pt x="347638" y="84238"/>
                      <a:pt x="345244" y="80192"/>
                      <a:pt x="346954" y="77342"/>
                    </a:cubicBezTo>
                    <a:cubicBezTo>
                      <a:pt x="348664" y="74492"/>
                      <a:pt x="354648" y="76031"/>
                      <a:pt x="358866" y="75803"/>
                    </a:cubicBezTo>
                    <a:cubicBezTo>
                      <a:pt x="363380" y="75216"/>
                      <a:pt x="367016" y="71825"/>
                      <a:pt x="367928" y="67368"/>
                    </a:cubicBezTo>
                    <a:cubicBezTo>
                      <a:pt x="368071" y="66251"/>
                      <a:pt x="368071" y="65122"/>
                      <a:pt x="367928" y="64005"/>
                    </a:cubicBezTo>
                    <a:cubicBezTo>
                      <a:pt x="372203" y="70047"/>
                      <a:pt x="374996" y="77684"/>
                      <a:pt x="381949" y="79451"/>
                    </a:cubicBezTo>
                    <a:cubicBezTo>
                      <a:pt x="383260" y="79907"/>
                      <a:pt x="384685" y="79907"/>
                      <a:pt x="385996" y="79451"/>
                    </a:cubicBezTo>
                    <a:cubicBezTo>
                      <a:pt x="388566" y="77758"/>
                      <a:pt x="389837" y="74652"/>
                      <a:pt x="389187" y="71642"/>
                    </a:cubicBezTo>
                    <a:cubicBezTo>
                      <a:pt x="388594" y="68690"/>
                      <a:pt x="388594" y="65647"/>
                      <a:pt x="389187" y="62694"/>
                    </a:cubicBezTo>
                    <a:lnTo>
                      <a:pt x="409591" y="61782"/>
                    </a:lnTo>
                    <a:cubicBezTo>
                      <a:pt x="410999" y="61834"/>
                      <a:pt x="412384" y="61412"/>
                      <a:pt x="413524" y="60585"/>
                    </a:cubicBezTo>
                    <a:cubicBezTo>
                      <a:pt x="414949" y="59275"/>
                      <a:pt x="414949" y="56710"/>
                      <a:pt x="416659" y="55855"/>
                    </a:cubicBezTo>
                    <a:cubicBezTo>
                      <a:pt x="418368" y="55000"/>
                      <a:pt x="419395" y="55855"/>
                      <a:pt x="420762" y="55855"/>
                    </a:cubicBezTo>
                    <a:lnTo>
                      <a:pt x="421161" y="55855"/>
                    </a:lnTo>
                    <a:cubicBezTo>
                      <a:pt x="422586" y="59617"/>
                      <a:pt x="422700" y="63891"/>
                      <a:pt x="423954" y="67767"/>
                    </a:cubicBezTo>
                    <a:cubicBezTo>
                      <a:pt x="425208" y="71642"/>
                      <a:pt x="430508" y="76658"/>
                      <a:pt x="434783" y="74378"/>
                    </a:cubicBezTo>
                    <a:cubicBezTo>
                      <a:pt x="436082" y="73449"/>
                      <a:pt x="437319" y="72440"/>
                      <a:pt x="438488" y="71358"/>
                    </a:cubicBezTo>
                    <a:cubicBezTo>
                      <a:pt x="444187" y="67026"/>
                      <a:pt x="452793" y="73067"/>
                      <a:pt x="460032" y="71757"/>
                    </a:cubicBezTo>
                    <a:cubicBezTo>
                      <a:pt x="459228" y="68730"/>
                      <a:pt x="458960" y="65584"/>
                      <a:pt x="459234" y="62466"/>
                    </a:cubicBezTo>
                    <a:cubicBezTo>
                      <a:pt x="459524" y="59280"/>
                      <a:pt x="461474" y="56488"/>
                      <a:pt x="464363" y="55114"/>
                    </a:cubicBezTo>
                    <a:cubicBezTo>
                      <a:pt x="465720" y="54692"/>
                      <a:pt x="467110" y="54384"/>
                      <a:pt x="468524" y="54202"/>
                    </a:cubicBezTo>
                    <a:cubicBezTo>
                      <a:pt x="471516" y="53421"/>
                      <a:pt x="474360" y="52167"/>
                      <a:pt x="476959" y="50497"/>
                    </a:cubicBezTo>
                    <a:lnTo>
                      <a:pt x="480892" y="48275"/>
                    </a:lnTo>
                    <a:lnTo>
                      <a:pt x="483058" y="48275"/>
                    </a:lnTo>
                    <a:cubicBezTo>
                      <a:pt x="484585" y="56710"/>
                      <a:pt x="488170" y="64638"/>
                      <a:pt x="493488" y="71358"/>
                    </a:cubicBezTo>
                    <a:lnTo>
                      <a:pt x="505855" y="75347"/>
                    </a:lnTo>
                    <a:lnTo>
                      <a:pt x="506596" y="88171"/>
                    </a:lnTo>
                    <a:cubicBezTo>
                      <a:pt x="512074" y="87857"/>
                      <a:pt x="517380" y="90109"/>
                      <a:pt x="520959" y="94269"/>
                    </a:cubicBezTo>
                    <a:cubicBezTo>
                      <a:pt x="517311" y="104369"/>
                      <a:pt x="509982" y="112713"/>
                      <a:pt x="500441" y="117637"/>
                    </a:cubicBezTo>
                    <a:cubicBezTo>
                      <a:pt x="496138" y="119296"/>
                      <a:pt x="492131" y="121644"/>
                      <a:pt x="488586" y="124591"/>
                    </a:cubicBezTo>
                    <a:cubicBezTo>
                      <a:pt x="485047" y="127834"/>
                      <a:pt x="484767" y="133316"/>
                      <a:pt x="487959" y="136901"/>
                    </a:cubicBezTo>
                    <a:lnTo>
                      <a:pt x="503234" y="141233"/>
                    </a:lnTo>
                    <a:cubicBezTo>
                      <a:pt x="504231" y="136223"/>
                      <a:pt x="504459" y="131094"/>
                      <a:pt x="503918" y="126015"/>
                    </a:cubicBezTo>
                    <a:cubicBezTo>
                      <a:pt x="510831" y="120527"/>
                      <a:pt x="520201" y="119279"/>
                      <a:pt x="528311" y="122767"/>
                    </a:cubicBezTo>
                    <a:cubicBezTo>
                      <a:pt x="536211" y="126295"/>
                      <a:pt x="543398" y="131242"/>
                      <a:pt x="549513" y="137357"/>
                    </a:cubicBezTo>
                    <a:cubicBezTo>
                      <a:pt x="551565" y="139181"/>
                      <a:pt x="553788" y="141632"/>
                      <a:pt x="553047" y="144197"/>
                    </a:cubicBezTo>
                    <a:lnTo>
                      <a:pt x="543814" y="144197"/>
                    </a:lnTo>
                    <a:cubicBezTo>
                      <a:pt x="546037" y="149269"/>
                      <a:pt x="539653" y="153601"/>
                      <a:pt x="534638" y="155596"/>
                    </a:cubicBezTo>
                    <a:cubicBezTo>
                      <a:pt x="529622" y="157591"/>
                      <a:pt x="523980" y="163689"/>
                      <a:pt x="527570" y="167907"/>
                    </a:cubicBezTo>
                    <a:cubicBezTo>
                      <a:pt x="529731" y="169685"/>
                      <a:pt x="532563" y="170431"/>
                      <a:pt x="535322" y="169958"/>
                    </a:cubicBezTo>
                    <a:cubicBezTo>
                      <a:pt x="538935" y="170164"/>
                      <a:pt x="542537" y="169337"/>
                      <a:pt x="545695" y="167565"/>
                    </a:cubicBezTo>
                    <a:cubicBezTo>
                      <a:pt x="548750" y="165627"/>
                      <a:pt x="549662" y="161575"/>
                      <a:pt x="547724" y="158520"/>
                    </a:cubicBezTo>
                    <a:cubicBezTo>
                      <a:pt x="547655" y="158417"/>
                      <a:pt x="547587" y="158314"/>
                      <a:pt x="547519" y="158217"/>
                    </a:cubicBezTo>
                    <a:cubicBezTo>
                      <a:pt x="555190" y="151030"/>
                      <a:pt x="566418" y="149144"/>
                      <a:pt x="576016" y="153430"/>
                    </a:cubicBezTo>
                    <a:cubicBezTo>
                      <a:pt x="579709" y="155368"/>
                      <a:pt x="583249" y="157579"/>
                      <a:pt x="586617" y="160041"/>
                    </a:cubicBezTo>
                    <a:cubicBezTo>
                      <a:pt x="601664" y="169616"/>
                      <a:pt x="620130" y="171896"/>
                      <a:pt x="637912" y="173834"/>
                    </a:cubicBezTo>
                    <a:cubicBezTo>
                      <a:pt x="638995" y="171668"/>
                      <a:pt x="642700" y="173492"/>
                      <a:pt x="642244" y="175886"/>
                    </a:cubicBezTo>
                    <a:lnTo>
                      <a:pt x="638311" y="197145"/>
                    </a:lnTo>
                    <a:cubicBezTo>
                      <a:pt x="642574" y="198387"/>
                      <a:pt x="647031" y="195942"/>
                      <a:pt x="648274" y="191679"/>
                    </a:cubicBezTo>
                    <a:cubicBezTo>
                      <a:pt x="648382" y="191320"/>
                      <a:pt x="648462" y="190961"/>
                      <a:pt x="648513" y="190590"/>
                    </a:cubicBezTo>
                    <a:cubicBezTo>
                      <a:pt x="655239" y="189451"/>
                      <a:pt x="661052" y="196860"/>
                      <a:pt x="667835" y="196290"/>
                    </a:cubicBezTo>
                    <a:cubicBezTo>
                      <a:pt x="674617" y="195720"/>
                      <a:pt x="679234" y="185461"/>
                      <a:pt x="687042" y="184891"/>
                    </a:cubicBezTo>
                    <a:cubicBezTo>
                      <a:pt x="691949" y="184800"/>
                      <a:pt x="696007" y="188698"/>
                      <a:pt x="696104" y="193611"/>
                    </a:cubicBezTo>
                    <a:cubicBezTo>
                      <a:pt x="696115" y="194341"/>
                      <a:pt x="696041" y="195064"/>
                      <a:pt x="695876" y="195777"/>
                    </a:cubicBezTo>
                    <a:cubicBezTo>
                      <a:pt x="712974" y="191217"/>
                      <a:pt x="730073" y="183922"/>
                      <a:pt x="747741" y="187057"/>
                    </a:cubicBezTo>
                    <a:cubicBezTo>
                      <a:pt x="753840" y="188140"/>
                      <a:pt x="761021" y="193839"/>
                      <a:pt x="757772" y="199140"/>
                    </a:cubicBezTo>
                    <a:cubicBezTo>
                      <a:pt x="763546" y="198758"/>
                      <a:pt x="768994" y="201853"/>
                      <a:pt x="771622" y="207005"/>
                    </a:cubicBezTo>
                    <a:cubicBezTo>
                      <a:pt x="772266" y="208618"/>
                      <a:pt x="773030" y="210180"/>
                      <a:pt x="773902" y="211679"/>
                    </a:cubicBezTo>
                    <a:cubicBezTo>
                      <a:pt x="777093" y="216238"/>
                      <a:pt x="785301" y="218860"/>
                      <a:pt x="783363" y="224103"/>
                    </a:cubicBezTo>
                    <a:lnTo>
                      <a:pt x="795959" y="224103"/>
                    </a:lnTo>
                    <a:cubicBezTo>
                      <a:pt x="796586" y="228264"/>
                      <a:pt x="797156" y="232425"/>
                      <a:pt x="797725" y="236642"/>
                    </a:cubicBezTo>
                    <a:cubicBezTo>
                      <a:pt x="807472" y="236015"/>
                      <a:pt x="819783" y="237041"/>
                      <a:pt x="823145" y="246160"/>
                    </a:cubicBezTo>
                    <a:cubicBezTo>
                      <a:pt x="824171" y="248896"/>
                      <a:pt x="824342" y="252202"/>
                      <a:pt x="826679" y="253855"/>
                    </a:cubicBezTo>
                    <a:cubicBezTo>
                      <a:pt x="829016" y="255507"/>
                      <a:pt x="833689" y="254140"/>
                      <a:pt x="836482" y="256077"/>
                    </a:cubicBezTo>
                    <a:cubicBezTo>
                      <a:pt x="839275" y="258015"/>
                      <a:pt x="838933" y="260352"/>
                      <a:pt x="839902" y="262689"/>
                    </a:cubicBezTo>
                    <a:cubicBezTo>
                      <a:pt x="840871" y="265025"/>
                      <a:pt x="843777" y="267134"/>
                      <a:pt x="845601" y="265595"/>
                    </a:cubicBezTo>
                    <a:cubicBezTo>
                      <a:pt x="847750" y="282187"/>
                      <a:pt x="847157" y="299012"/>
                      <a:pt x="843834" y="315409"/>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45" name="Freihandform: Form 639">
                <a:extLst>
                  <a:ext uri="{FF2B5EF4-FFF2-40B4-BE49-F238E27FC236}">
                    <a16:creationId xmlns:a16="http://schemas.microsoft.com/office/drawing/2014/main" id="{2D1A4685-286F-C8A0-346F-72E24848BC5E}"/>
                  </a:ext>
                </a:extLst>
              </p:cNvPr>
              <p:cNvSpPr/>
              <p:nvPr/>
            </p:nvSpPr>
            <p:spPr>
              <a:xfrm>
                <a:off x="2240099" y="4488668"/>
                <a:ext cx="264275" cy="330067"/>
              </a:xfrm>
              <a:custGeom>
                <a:avLst/>
                <a:gdLst>
                  <a:gd name="connsiteX0" fmla="*/ 4870 w 264275"/>
                  <a:gd name="connsiteY0" fmla="*/ 200090 h 330067"/>
                  <a:gd name="connsiteX1" fmla="*/ 26 w 264275"/>
                  <a:gd name="connsiteY1" fmla="*/ 186924 h 330067"/>
                  <a:gd name="connsiteX2" fmla="*/ 15186 w 264275"/>
                  <a:gd name="connsiteY2" fmla="*/ 169826 h 330067"/>
                  <a:gd name="connsiteX3" fmla="*/ 8290 w 264275"/>
                  <a:gd name="connsiteY3" fmla="*/ 156090 h 330067"/>
                  <a:gd name="connsiteX4" fmla="*/ 9544 w 264275"/>
                  <a:gd name="connsiteY4" fmla="*/ 146743 h 330067"/>
                  <a:gd name="connsiteX5" fmla="*/ 13078 w 264275"/>
                  <a:gd name="connsiteY5" fmla="*/ 113287 h 330067"/>
                  <a:gd name="connsiteX6" fmla="*/ 13761 w 264275"/>
                  <a:gd name="connsiteY6" fmla="*/ 80059 h 330067"/>
                  <a:gd name="connsiteX7" fmla="*/ 11710 w 264275"/>
                  <a:gd name="connsiteY7" fmla="*/ 75842 h 330067"/>
                  <a:gd name="connsiteX8" fmla="*/ 17409 w 264275"/>
                  <a:gd name="connsiteY8" fmla="*/ 67179 h 330067"/>
                  <a:gd name="connsiteX9" fmla="*/ 14217 w 264275"/>
                  <a:gd name="connsiteY9" fmla="*/ 48655 h 330067"/>
                  <a:gd name="connsiteX10" fmla="*/ 15072 w 264275"/>
                  <a:gd name="connsiteY10" fmla="*/ 41132 h 330067"/>
                  <a:gd name="connsiteX11" fmla="*/ 14673 w 264275"/>
                  <a:gd name="connsiteY11" fmla="*/ 39479 h 330067"/>
                  <a:gd name="connsiteX12" fmla="*/ 22026 w 264275"/>
                  <a:gd name="connsiteY12" fmla="*/ 33780 h 330067"/>
                  <a:gd name="connsiteX13" fmla="*/ 31145 w 264275"/>
                  <a:gd name="connsiteY13" fmla="*/ 27168 h 330067"/>
                  <a:gd name="connsiteX14" fmla="*/ 35989 w 264275"/>
                  <a:gd name="connsiteY14" fmla="*/ 19588 h 330067"/>
                  <a:gd name="connsiteX15" fmla="*/ 48357 w 264275"/>
                  <a:gd name="connsiteY15" fmla="*/ 19588 h 330067"/>
                  <a:gd name="connsiteX16" fmla="*/ 53145 w 264275"/>
                  <a:gd name="connsiteY16" fmla="*/ 7277 h 330067"/>
                  <a:gd name="connsiteX17" fmla="*/ 65171 w 264275"/>
                  <a:gd name="connsiteY17" fmla="*/ 7277 h 330067"/>
                  <a:gd name="connsiteX18" fmla="*/ 85917 w 264275"/>
                  <a:gd name="connsiteY18" fmla="*/ 96 h 330067"/>
                  <a:gd name="connsiteX19" fmla="*/ 91616 w 264275"/>
                  <a:gd name="connsiteY19" fmla="*/ 1349 h 330067"/>
                  <a:gd name="connsiteX20" fmla="*/ 95435 w 264275"/>
                  <a:gd name="connsiteY20" fmla="*/ 9215 h 330067"/>
                  <a:gd name="connsiteX21" fmla="*/ 90476 w 264275"/>
                  <a:gd name="connsiteY21" fmla="*/ 30531 h 330067"/>
                  <a:gd name="connsiteX22" fmla="*/ 101875 w 264275"/>
                  <a:gd name="connsiteY22" fmla="*/ 44723 h 330067"/>
                  <a:gd name="connsiteX23" fmla="*/ 102673 w 264275"/>
                  <a:gd name="connsiteY23" fmla="*/ 59028 h 330067"/>
                  <a:gd name="connsiteX24" fmla="*/ 111621 w 264275"/>
                  <a:gd name="connsiteY24" fmla="*/ 60396 h 330067"/>
                  <a:gd name="connsiteX25" fmla="*/ 119487 w 264275"/>
                  <a:gd name="connsiteY25" fmla="*/ 66096 h 330067"/>
                  <a:gd name="connsiteX26" fmla="*/ 126782 w 264275"/>
                  <a:gd name="connsiteY26" fmla="*/ 65127 h 330067"/>
                  <a:gd name="connsiteX27" fmla="*/ 154367 w 264275"/>
                  <a:gd name="connsiteY27" fmla="*/ 86101 h 330067"/>
                  <a:gd name="connsiteX28" fmla="*/ 169243 w 264275"/>
                  <a:gd name="connsiteY28" fmla="*/ 85303 h 330067"/>
                  <a:gd name="connsiteX29" fmla="*/ 176367 w 264275"/>
                  <a:gd name="connsiteY29" fmla="*/ 92940 h 330067"/>
                  <a:gd name="connsiteX30" fmla="*/ 188336 w 264275"/>
                  <a:gd name="connsiteY30" fmla="*/ 92142 h 330067"/>
                  <a:gd name="connsiteX31" fmla="*/ 195404 w 264275"/>
                  <a:gd name="connsiteY31" fmla="*/ 99837 h 330067"/>
                  <a:gd name="connsiteX32" fmla="*/ 206803 w 264275"/>
                  <a:gd name="connsiteY32" fmla="*/ 99495 h 330067"/>
                  <a:gd name="connsiteX33" fmla="*/ 207999 w 264275"/>
                  <a:gd name="connsiteY33" fmla="*/ 148339 h 330067"/>
                  <a:gd name="connsiteX34" fmla="*/ 214668 w 264275"/>
                  <a:gd name="connsiteY34" fmla="*/ 158256 h 330067"/>
                  <a:gd name="connsiteX35" fmla="*/ 233248 w 264275"/>
                  <a:gd name="connsiteY35" fmla="*/ 158712 h 330067"/>
                  <a:gd name="connsiteX36" fmla="*/ 250347 w 264275"/>
                  <a:gd name="connsiteY36" fmla="*/ 163671 h 330067"/>
                  <a:gd name="connsiteX37" fmla="*/ 251087 w 264275"/>
                  <a:gd name="connsiteY37" fmla="*/ 175582 h 330067"/>
                  <a:gd name="connsiteX38" fmla="*/ 255932 w 264275"/>
                  <a:gd name="connsiteY38" fmla="*/ 185671 h 330067"/>
                  <a:gd name="connsiteX39" fmla="*/ 262772 w 264275"/>
                  <a:gd name="connsiteY39" fmla="*/ 187210 h 330067"/>
                  <a:gd name="connsiteX40" fmla="*/ 264082 w 264275"/>
                  <a:gd name="connsiteY40" fmla="*/ 193593 h 330067"/>
                  <a:gd name="connsiteX41" fmla="*/ 257357 w 264275"/>
                  <a:gd name="connsiteY41" fmla="*/ 247624 h 330067"/>
                  <a:gd name="connsiteX42" fmla="*/ 253481 w 264275"/>
                  <a:gd name="connsiteY42" fmla="*/ 245401 h 330067"/>
                  <a:gd name="connsiteX43" fmla="*/ 246870 w 264275"/>
                  <a:gd name="connsiteY43" fmla="*/ 242096 h 330067"/>
                  <a:gd name="connsiteX44" fmla="*/ 234103 w 264275"/>
                  <a:gd name="connsiteY44" fmla="*/ 243064 h 330067"/>
                  <a:gd name="connsiteX45" fmla="*/ 220139 w 264275"/>
                  <a:gd name="connsiteY45" fmla="*/ 238676 h 330067"/>
                  <a:gd name="connsiteX46" fmla="*/ 196373 w 264275"/>
                  <a:gd name="connsiteY46" fmla="*/ 238961 h 330067"/>
                  <a:gd name="connsiteX47" fmla="*/ 181098 w 264275"/>
                  <a:gd name="connsiteY47" fmla="*/ 235883 h 330067"/>
                  <a:gd name="connsiteX48" fmla="*/ 172150 w 264275"/>
                  <a:gd name="connsiteY48" fmla="*/ 242836 h 330067"/>
                  <a:gd name="connsiteX49" fmla="*/ 161207 w 264275"/>
                  <a:gd name="connsiteY49" fmla="*/ 265178 h 330067"/>
                  <a:gd name="connsiteX50" fmla="*/ 153912 w 264275"/>
                  <a:gd name="connsiteY50" fmla="*/ 297893 h 330067"/>
                  <a:gd name="connsiteX51" fmla="*/ 120741 w 264275"/>
                  <a:gd name="connsiteY51" fmla="*/ 298976 h 330067"/>
                  <a:gd name="connsiteX52" fmla="*/ 120456 w 264275"/>
                  <a:gd name="connsiteY52" fmla="*/ 310375 h 330067"/>
                  <a:gd name="connsiteX53" fmla="*/ 111621 w 264275"/>
                  <a:gd name="connsiteY53" fmla="*/ 316075 h 330067"/>
                  <a:gd name="connsiteX54" fmla="*/ 100222 w 264275"/>
                  <a:gd name="connsiteY54" fmla="*/ 305929 h 330067"/>
                  <a:gd name="connsiteX55" fmla="*/ 94523 w 264275"/>
                  <a:gd name="connsiteY55" fmla="*/ 305929 h 330067"/>
                  <a:gd name="connsiteX56" fmla="*/ 64088 w 264275"/>
                  <a:gd name="connsiteY56" fmla="*/ 303251 h 330067"/>
                  <a:gd name="connsiteX57" fmla="*/ 55881 w 264275"/>
                  <a:gd name="connsiteY57" fmla="*/ 316417 h 330067"/>
                  <a:gd name="connsiteX58" fmla="*/ 47730 w 264275"/>
                  <a:gd name="connsiteY58" fmla="*/ 316417 h 330067"/>
                  <a:gd name="connsiteX59" fmla="*/ 50694 w 264275"/>
                  <a:gd name="connsiteY59" fmla="*/ 328955 h 330067"/>
                  <a:gd name="connsiteX60" fmla="*/ 42487 w 264275"/>
                  <a:gd name="connsiteY60" fmla="*/ 328100 h 330067"/>
                  <a:gd name="connsiteX61" fmla="*/ 38953 w 264275"/>
                  <a:gd name="connsiteY61" fmla="*/ 320064 h 330067"/>
                  <a:gd name="connsiteX62" fmla="*/ 39352 w 264275"/>
                  <a:gd name="connsiteY62" fmla="*/ 302510 h 330067"/>
                  <a:gd name="connsiteX63" fmla="*/ 31772 w 264275"/>
                  <a:gd name="connsiteY63" fmla="*/ 299660 h 330067"/>
                  <a:gd name="connsiteX64" fmla="*/ 33482 w 264275"/>
                  <a:gd name="connsiteY64" fmla="*/ 290541 h 330067"/>
                  <a:gd name="connsiteX65" fmla="*/ 30632 w 264275"/>
                  <a:gd name="connsiteY65" fmla="*/ 287805 h 330067"/>
                  <a:gd name="connsiteX66" fmla="*/ 25730 w 264275"/>
                  <a:gd name="connsiteY66" fmla="*/ 271619 h 330067"/>
                  <a:gd name="connsiteX67" fmla="*/ 13704 w 264275"/>
                  <a:gd name="connsiteY67" fmla="*/ 261474 h 330067"/>
                  <a:gd name="connsiteX68" fmla="*/ 15699 w 264275"/>
                  <a:gd name="connsiteY68" fmla="*/ 256686 h 330067"/>
                  <a:gd name="connsiteX69" fmla="*/ 18093 w 264275"/>
                  <a:gd name="connsiteY69" fmla="*/ 232292 h 330067"/>
                  <a:gd name="connsiteX70" fmla="*/ 16782 w 264275"/>
                  <a:gd name="connsiteY70" fmla="*/ 227904 h 330067"/>
                  <a:gd name="connsiteX71" fmla="*/ 12052 w 264275"/>
                  <a:gd name="connsiteY71" fmla="*/ 224940 h 330067"/>
                  <a:gd name="connsiteX72" fmla="*/ 9601 w 264275"/>
                  <a:gd name="connsiteY72" fmla="*/ 204593 h 330067"/>
                  <a:gd name="connsiteX73" fmla="*/ 4870 w 264275"/>
                  <a:gd name="connsiteY73" fmla="*/ 200090 h 33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64275" h="330067">
                    <a:moveTo>
                      <a:pt x="4870" y="200090"/>
                    </a:moveTo>
                    <a:cubicBezTo>
                      <a:pt x="1513" y="196556"/>
                      <a:pt x="-236" y="191792"/>
                      <a:pt x="26" y="186924"/>
                    </a:cubicBezTo>
                    <a:cubicBezTo>
                      <a:pt x="3012" y="179680"/>
                      <a:pt x="8353" y="173656"/>
                      <a:pt x="15186" y="169826"/>
                    </a:cubicBezTo>
                    <a:cubicBezTo>
                      <a:pt x="14514" y="164594"/>
                      <a:pt x="12080" y="159749"/>
                      <a:pt x="8290" y="156090"/>
                    </a:cubicBezTo>
                    <a:cubicBezTo>
                      <a:pt x="12052" y="156090"/>
                      <a:pt x="11026" y="150391"/>
                      <a:pt x="9544" y="146743"/>
                    </a:cubicBezTo>
                    <a:cubicBezTo>
                      <a:pt x="4984" y="136199"/>
                      <a:pt x="9259" y="123945"/>
                      <a:pt x="13078" y="113287"/>
                    </a:cubicBezTo>
                    <a:cubicBezTo>
                      <a:pt x="16896" y="102629"/>
                      <a:pt x="20088" y="89691"/>
                      <a:pt x="13761" y="80059"/>
                    </a:cubicBezTo>
                    <a:cubicBezTo>
                      <a:pt x="12730" y="78851"/>
                      <a:pt x="12029" y="77398"/>
                      <a:pt x="11710" y="75842"/>
                    </a:cubicBezTo>
                    <a:cubicBezTo>
                      <a:pt x="11710" y="72308"/>
                      <a:pt x="15756" y="70142"/>
                      <a:pt x="17409" y="67179"/>
                    </a:cubicBezTo>
                    <a:cubicBezTo>
                      <a:pt x="20487" y="61479"/>
                      <a:pt x="14103" y="55095"/>
                      <a:pt x="14217" y="48655"/>
                    </a:cubicBezTo>
                    <a:cubicBezTo>
                      <a:pt x="14217" y="46148"/>
                      <a:pt x="15300" y="43640"/>
                      <a:pt x="15072" y="41132"/>
                    </a:cubicBezTo>
                    <a:cubicBezTo>
                      <a:pt x="14998" y="40568"/>
                      <a:pt x="14867" y="40015"/>
                      <a:pt x="14673" y="39479"/>
                    </a:cubicBezTo>
                    <a:lnTo>
                      <a:pt x="22026" y="33780"/>
                    </a:lnTo>
                    <a:lnTo>
                      <a:pt x="31145" y="27168"/>
                    </a:lnTo>
                    <a:cubicBezTo>
                      <a:pt x="33710" y="25344"/>
                      <a:pt x="36844" y="22723"/>
                      <a:pt x="35989" y="19588"/>
                    </a:cubicBezTo>
                    <a:lnTo>
                      <a:pt x="48357" y="19588"/>
                    </a:lnTo>
                    <a:cubicBezTo>
                      <a:pt x="48420" y="15040"/>
                      <a:pt x="50124" y="10674"/>
                      <a:pt x="53145" y="7277"/>
                    </a:cubicBezTo>
                    <a:lnTo>
                      <a:pt x="65171" y="7277"/>
                    </a:lnTo>
                    <a:cubicBezTo>
                      <a:pt x="68533" y="267"/>
                      <a:pt x="78165" y="-303"/>
                      <a:pt x="85917" y="96"/>
                    </a:cubicBezTo>
                    <a:cubicBezTo>
                      <a:pt x="87894" y="10"/>
                      <a:pt x="89855" y="443"/>
                      <a:pt x="91616" y="1349"/>
                    </a:cubicBezTo>
                    <a:cubicBezTo>
                      <a:pt x="94147" y="3151"/>
                      <a:pt x="95583" y="6114"/>
                      <a:pt x="95435" y="9215"/>
                    </a:cubicBezTo>
                    <a:cubicBezTo>
                      <a:pt x="95435" y="16510"/>
                      <a:pt x="91445" y="23236"/>
                      <a:pt x="90476" y="30531"/>
                    </a:cubicBezTo>
                    <a:cubicBezTo>
                      <a:pt x="89508" y="37826"/>
                      <a:pt x="95207" y="47059"/>
                      <a:pt x="101875" y="44723"/>
                    </a:cubicBezTo>
                    <a:cubicBezTo>
                      <a:pt x="102160" y="49510"/>
                      <a:pt x="102388" y="54241"/>
                      <a:pt x="102673" y="59028"/>
                    </a:cubicBezTo>
                    <a:cubicBezTo>
                      <a:pt x="105010" y="56634"/>
                      <a:pt x="109114" y="58116"/>
                      <a:pt x="111621" y="60396"/>
                    </a:cubicBezTo>
                    <a:cubicBezTo>
                      <a:pt x="114129" y="62676"/>
                      <a:pt x="116181" y="65640"/>
                      <a:pt x="119487" y="66096"/>
                    </a:cubicBezTo>
                    <a:cubicBezTo>
                      <a:pt x="121960" y="66307"/>
                      <a:pt x="124451" y="65976"/>
                      <a:pt x="126782" y="65127"/>
                    </a:cubicBezTo>
                    <a:cubicBezTo>
                      <a:pt x="139834" y="62106"/>
                      <a:pt x="155279" y="72707"/>
                      <a:pt x="154367" y="86101"/>
                    </a:cubicBezTo>
                    <a:lnTo>
                      <a:pt x="169243" y="85303"/>
                    </a:lnTo>
                    <a:cubicBezTo>
                      <a:pt x="168046" y="89122"/>
                      <a:pt x="172378" y="92598"/>
                      <a:pt x="176367" y="92940"/>
                    </a:cubicBezTo>
                    <a:cubicBezTo>
                      <a:pt x="180357" y="93282"/>
                      <a:pt x="184347" y="91800"/>
                      <a:pt x="188336" y="92142"/>
                    </a:cubicBezTo>
                    <a:cubicBezTo>
                      <a:pt x="192326" y="92484"/>
                      <a:pt x="196658" y="96018"/>
                      <a:pt x="195404" y="99837"/>
                    </a:cubicBezTo>
                    <a:lnTo>
                      <a:pt x="206803" y="99495"/>
                    </a:lnTo>
                    <a:cubicBezTo>
                      <a:pt x="201861" y="115470"/>
                      <a:pt x="202283" y="132626"/>
                      <a:pt x="207999" y="148339"/>
                    </a:cubicBezTo>
                    <a:cubicBezTo>
                      <a:pt x="209105" y="152272"/>
                      <a:pt x="211442" y="155748"/>
                      <a:pt x="214668" y="158256"/>
                    </a:cubicBezTo>
                    <a:cubicBezTo>
                      <a:pt x="220025" y="161733"/>
                      <a:pt x="226979" y="159852"/>
                      <a:pt x="233248" y="158712"/>
                    </a:cubicBezTo>
                    <a:cubicBezTo>
                      <a:pt x="239518" y="157572"/>
                      <a:pt x="247440" y="158028"/>
                      <a:pt x="250347" y="163671"/>
                    </a:cubicBezTo>
                    <a:cubicBezTo>
                      <a:pt x="251623" y="167512"/>
                      <a:pt x="251880" y="171616"/>
                      <a:pt x="251087" y="175582"/>
                    </a:cubicBezTo>
                    <a:cubicBezTo>
                      <a:pt x="251087" y="179572"/>
                      <a:pt x="252056" y="184474"/>
                      <a:pt x="255932" y="185671"/>
                    </a:cubicBezTo>
                    <a:cubicBezTo>
                      <a:pt x="258155" y="186412"/>
                      <a:pt x="260948" y="185671"/>
                      <a:pt x="262772" y="187210"/>
                    </a:cubicBezTo>
                    <a:cubicBezTo>
                      <a:pt x="264595" y="188748"/>
                      <a:pt x="264367" y="191313"/>
                      <a:pt x="264082" y="193593"/>
                    </a:cubicBezTo>
                    <a:cubicBezTo>
                      <a:pt x="261877" y="211603"/>
                      <a:pt x="259637" y="229614"/>
                      <a:pt x="257357" y="247624"/>
                    </a:cubicBezTo>
                    <a:cubicBezTo>
                      <a:pt x="256103" y="246883"/>
                      <a:pt x="254735" y="246199"/>
                      <a:pt x="253481" y="245401"/>
                    </a:cubicBezTo>
                    <a:cubicBezTo>
                      <a:pt x="251504" y="243896"/>
                      <a:pt x="249258" y="242779"/>
                      <a:pt x="246870" y="242096"/>
                    </a:cubicBezTo>
                    <a:cubicBezTo>
                      <a:pt x="242595" y="242056"/>
                      <a:pt x="238321" y="242380"/>
                      <a:pt x="234103" y="243064"/>
                    </a:cubicBezTo>
                    <a:cubicBezTo>
                      <a:pt x="229333" y="242010"/>
                      <a:pt x="224659" y="240540"/>
                      <a:pt x="220139" y="238676"/>
                    </a:cubicBezTo>
                    <a:cubicBezTo>
                      <a:pt x="212388" y="236909"/>
                      <a:pt x="204181" y="240442"/>
                      <a:pt x="196373" y="238961"/>
                    </a:cubicBezTo>
                    <a:cubicBezTo>
                      <a:pt x="191186" y="237935"/>
                      <a:pt x="186228" y="234743"/>
                      <a:pt x="181098" y="235883"/>
                    </a:cubicBezTo>
                    <a:cubicBezTo>
                      <a:pt x="177399" y="237091"/>
                      <a:pt x="174236" y="239548"/>
                      <a:pt x="172150" y="242836"/>
                    </a:cubicBezTo>
                    <a:cubicBezTo>
                      <a:pt x="167379" y="249681"/>
                      <a:pt x="163686" y="257216"/>
                      <a:pt x="161207" y="265178"/>
                    </a:cubicBezTo>
                    <a:cubicBezTo>
                      <a:pt x="157616" y="275791"/>
                      <a:pt x="155171" y="286757"/>
                      <a:pt x="153912" y="297893"/>
                    </a:cubicBezTo>
                    <a:cubicBezTo>
                      <a:pt x="142968" y="299905"/>
                      <a:pt x="131792" y="300270"/>
                      <a:pt x="120741" y="298976"/>
                    </a:cubicBezTo>
                    <a:cubicBezTo>
                      <a:pt x="121567" y="302744"/>
                      <a:pt x="121470" y="306653"/>
                      <a:pt x="120456" y="310375"/>
                    </a:cubicBezTo>
                    <a:cubicBezTo>
                      <a:pt x="119378" y="314234"/>
                      <a:pt x="115583" y="316684"/>
                      <a:pt x="111621" y="316075"/>
                    </a:cubicBezTo>
                    <a:cubicBezTo>
                      <a:pt x="106663" y="314650"/>
                      <a:pt x="105295" y="307354"/>
                      <a:pt x="100222" y="305929"/>
                    </a:cubicBezTo>
                    <a:cubicBezTo>
                      <a:pt x="98336" y="305622"/>
                      <a:pt x="96410" y="305622"/>
                      <a:pt x="94523" y="305929"/>
                    </a:cubicBezTo>
                    <a:cubicBezTo>
                      <a:pt x="84036" y="306271"/>
                      <a:pt x="72637" y="297095"/>
                      <a:pt x="64088" y="303251"/>
                    </a:cubicBezTo>
                    <a:cubicBezTo>
                      <a:pt x="64088" y="308950"/>
                      <a:pt x="61694" y="316986"/>
                      <a:pt x="55881" y="316417"/>
                    </a:cubicBezTo>
                    <a:cubicBezTo>
                      <a:pt x="52974" y="316132"/>
                      <a:pt x="49383" y="313795"/>
                      <a:pt x="47730" y="316417"/>
                    </a:cubicBezTo>
                    <a:cubicBezTo>
                      <a:pt x="50472" y="319979"/>
                      <a:pt x="51549" y="324544"/>
                      <a:pt x="50694" y="328955"/>
                    </a:cubicBezTo>
                    <a:cubicBezTo>
                      <a:pt x="48118" y="330716"/>
                      <a:pt x="44647" y="330352"/>
                      <a:pt x="42487" y="328100"/>
                    </a:cubicBezTo>
                    <a:cubicBezTo>
                      <a:pt x="40458" y="325883"/>
                      <a:pt x="39215" y="323056"/>
                      <a:pt x="38953" y="320064"/>
                    </a:cubicBezTo>
                    <a:cubicBezTo>
                      <a:pt x="38286" y="314222"/>
                      <a:pt x="38423" y="308317"/>
                      <a:pt x="39352" y="302510"/>
                    </a:cubicBezTo>
                    <a:cubicBezTo>
                      <a:pt x="36651" y="302111"/>
                      <a:pt x="34069" y="301142"/>
                      <a:pt x="31772" y="299660"/>
                    </a:cubicBezTo>
                    <a:cubicBezTo>
                      <a:pt x="31772" y="296525"/>
                      <a:pt x="34793" y="293447"/>
                      <a:pt x="33482" y="290541"/>
                    </a:cubicBezTo>
                    <a:cubicBezTo>
                      <a:pt x="32752" y="289424"/>
                      <a:pt x="31778" y="288489"/>
                      <a:pt x="30632" y="287805"/>
                    </a:cubicBezTo>
                    <a:cubicBezTo>
                      <a:pt x="25805" y="283947"/>
                      <a:pt x="23855" y="277506"/>
                      <a:pt x="25730" y="271619"/>
                    </a:cubicBezTo>
                    <a:cubicBezTo>
                      <a:pt x="20031" y="270365"/>
                      <a:pt x="12963" y="267230"/>
                      <a:pt x="13704" y="261474"/>
                    </a:cubicBezTo>
                    <a:cubicBezTo>
                      <a:pt x="14103" y="259781"/>
                      <a:pt x="14776" y="258162"/>
                      <a:pt x="15699" y="256686"/>
                    </a:cubicBezTo>
                    <a:cubicBezTo>
                      <a:pt x="18731" y="248929"/>
                      <a:pt x="19558" y="240488"/>
                      <a:pt x="18093" y="232292"/>
                    </a:cubicBezTo>
                    <a:cubicBezTo>
                      <a:pt x="18133" y="230725"/>
                      <a:pt x="17677" y="229192"/>
                      <a:pt x="16782" y="227904"/>
                    </a:cubicBezTo>
                    <a:cubicBezTo>
                      <a:pt x="15585" y="226479"/>
                      <a:pt x="13476" y="226080"/>
                      <a:pt x="12052" y="224940"/>
                    </a:cubicBezTo>
                    <a:cubicBezTo>
                      <a:pt x="6352" y="220551"/>
                      <a:pt x="13648" y="210463"/>
                      <a:pt x="9601" y="204593"/>
                    </a:cubicBezTo>
                    <a:cubicBezTo>
                      <a:pt x="8199" y="202917"/>
                      <a:pt x="6614" y="201407"/>
                      <a:pt x="4870" y="20009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6" name="Freihandform: Form 640">
                <a:extLst>
                  <a:ext uri="{FF2B5EF4-FFF2-40B4-BE49-F238E27FC236}">
                    <a16:creationId xmlns:a16="http://schemas.microsoft.com/office/drawing/2014/main" id="{2298DF9F-7343-2A4D-0B96-264D6E23BBBA}"/>
                  </a:ext>
                </a:extLst>
              </p:cNvPr>
              <p:cNvSpPr/>
              <p:nvPr/>
            </p:nvSpPr>
            <p:spPr>
              <a:xfrm>
                <a:off x="2390135" y="4724765"/>
                <a:ext cx="197205" cy="226169"/>
              </a:xfrm>
              <a:custGeom>
                <a:avLst/>
                <a:gdLst>
                  <a:gd name="connsiteX0" fmla="*/ 0 w 197205"/>
                  <a:gd name="connsiteY0" fmla="*/ 62823 h 226169"/>
                  <a:gd name="connsiteX1" fmla="*/ 4104 w 197205"/>
                  <a:gd name="connsiteY1" fmla="*/ 62253 h 226169"/>
                  <a:gd name="connsiteX2" fmla="*/ 11399 w 197205"/>
                  <a:gd name="connsiteY2" fmla="*/ 29538 h 226169"/>
                  <a:gd name="connsiteX3" fmla="*/ 22342 w 197205"/>
                  <a:gd name="connsiteY3" fmla="*/ 7196 h 226169"/>
                  <a:gd name="connsiteX4" fmla="*/ 31290 w 197205"/>
                  <a:gd name="connsiteY4" fmla="*/ 243 h 226169"/>
                  <a:gd name="connsiteX5" fmla="*/ 46565 w 197205"/>
                  <a:gd name="connsiteY5" fmla="*/ 3320 h 226169"/>
                  <a:gd name="connsiteX6" fmla="*/ 70331 w 197205"/>
                  <a:gd name="connsiteY6" fmla="*/ 3035 h 226169"/>
                  <a:gd name="connsiteX7" fmla="*/ 84295 w 197205"/>
                  <a:gd name="connsiteY7" fmla="*/ 7424 h 226169"/>
                  <a:gd name="connsiteX8" fmla="*/ 97062 w 197205"/>
                  <a:gd name="connsiteY8" fmla="*/ 6455 h 226169"/>
                  <a:gd name="connsiteX9" fmla="*/ 103673 w 197205"/>
                  <a:gd name="connsiteY9" fmla="*/ 9761 h 226169"/>
                  <a:gd name="connsiteX10" fmla="*/ 107549 w 197205"/>
                  <a:gd name="connsiteY10" fmla="*/ 11983 h 226169"/>
                  <a:gd name="connsiteX11" fmla="*/ 106979 w 197205"/>
                  <a:gd name="connsiteY11" fmla="*/ 16600 h 226169"/>
                  <a:gd name="connsiteX12" fmla="*/ 103046 w 197205"/>
                  <a:gd name="connsiteY12" fmla="*/ 18823 h 226169"/>
                  <a:gd name="connsiteX13" fmla="*/ 109373 w 197205"/>
                  <a:gd name="connsiteY13" fmla="*/ 66983 h 226169"/>
                  <a:gd name="connsiteX14" fmla="*/ 147274 w 197205"/>
                  <a:gd name="connsiteY14" fmla="*/ 73196 h 226169"/>
                  <a:gd name="connsiteX15" fmla="*/ 152404 w 197205"/>
                  <a:gd name="connsiteY15" fmla="*/ 86761 h 226169"/>
                  <a:gd name="connsiteX16" fmla="*/ 157248 w 197205"/>
                  <a:gd name="connsiteY16" fmla="*/ 112465 h 226169"/>
                  <a:gd name="connsiteX17" fmla="*/ 179761 w 197205"/>
                  <a:gd name="connsiteY17" fmla="*/ 115657 h 226169"/>
                  <a:gd name="connsiteX18" fmla="*/ 187798 w 197205"/>
                  <a:gd name="connsiteY18" fmla="*/ 129677 h 226169"/>
                  <a:gd name="connsiteX19" fmla="*/ 184264 w 197205"/>
                  <a:gd name="connsiteY19" fmla="*/ 146206 h 226169"/>
                  <a:gd name="connsiteX20" fmla="*/ 184264 w 197205"/>
                  <a:gd name="connsiteY20" fmla="*/ 162449 h 226169"/>
                  <a:gd name="connsiteX21" fmla="*/ 192699 w 197205"/>
                  <a:gd name="connsiteY21" fmla="*/ 169688 h 226169"/>
                  <a:gd name="connsiteX22" fmla="*/ 196860 w 197205"/>
                  <a:gd name="connsiteY22" fmla="*/ 182797 h 226169"/>
                  <a:gd name="connsiteX23" fmla="*/ 188254 w 197205"/>
                  <a:gd name="connsiteY23" fmla="*/ 187641 h 226169"/>
                  <a:gd name="connsiteX24" fmla="*/ 183466 w 197205"/>
                  <a:gd name="connsiteY24" fmla="*/ 199610 h 226169"/>
                  <a:gd name="connsiteX25" fmla="*/ 171155 w 197205"/>
                  <a:gd name="connsiteY25" fmla="*/ 206734 h 226169"/>
                  <a:gd name="connsiteX26" fmla="*/ 160269 w 197205"/>
                  <a:gd name="connsiteY26" fmla="*/ 224745 h 226169"/>
                  <a:gd name="connsiteX27" fmla="*/ 158103 w 197205"/>
                  <a:gd name="connsiteY27" fmla="*/ 226169 h 226169"/>
                  <a:gd name="connsiteX28" fmla="*/ 152404 w 197205"/>
                  <a:gd name="connsiteY28" fmla="*/ 222294 h 226169"/>
                  <a:gd name="connsiteX29" fmla="*/ 148984 w 197205"/>
                  <a:gd name="connsiteY29" fmla="*/ 218703 h 226169"/>
                  <a:gd name="connsiteX30" fmla="*/ 149611 w 197205"/>
                  <a:gd name="connsiteY30" fmla="*/ 209869 h 226169"/>
                  <a:gd name="connsiteX31" fmla="*/ 140207 w 197205"/>
                  <a:gd name="connsiteY31" fmla="*/ 200408 h 226169"/>
                  <a:gd name="connsiteX32" fmla="*/ 125787 w 197205"/>
                  <a:gd name="connsiteY32" fmla="*/ 200408 h 226169"/>
                  <a:gd name="connsiteX33" fmla="*/ 98031 w 197205"/>
                  <a:gd name="connsiteY33" fmla="*/ 190320 h 226169"/>
                  <a:gd name="connsiteX34" fmla="*/ 104243 w 197205"/>
                  <a:gd name="connsiteY34" fmla="*/ 184620 h 226169"/>
                  <a:gd name="connsiteX35" fmla="*/ 104984 w 197205"/>
                  <a:gd name="connsiteY35" fmla="*/ 163419 h 226169"/>
                  <a:gd name="connsiteX36" fmla="*/ 113362 w 197205"/>
                  <a:gd name="connsiteY36" fmla="*/ 157719 h 226169"/>
                  <a:gd name="connsiteX37" fmla="*/ 114445 w 197205"/>
                  <a:gd name="connsiteY37" fmla="*/ 148600 h 226169"/>
                  <a:gd name="connsiteX38" fmla="*/ 100180 w 197205"/>
                  <a:gd name="connsiteY38" fmla="*/ 141093 h 226169"/>
                  <a:gd name="connsiteX39" fmla="*/ 100140 w 197205"/>
                  <a:gd name="connsiteY39" fmla="*/ 140963 h 226169"/>
                  <a:gd name="connsiteX40" fmla="*/ 92331 w 197205"/>
                  <a:gd name="connsiteY40" fmla="*/ 138341 h 226169"/>
                  <a:gd name="connsiteX41" fmla="*/ 86632 w 197205"/>
                  <a:gd name="connsiteY41" fmla="*/ 131273 h 226169"/>
                  <a:gd name="connsiteX42" fmla="*/ 78653 w 197205"/>
                  <a:gd name="connsiteY42" fmla="*/ 130133 h 226169"/>
                  <a:gd name="connsiteX43" fmla="*/ 70445 w 197205"/>
                  <a:gd name="connsiteY43" fmla="*/ 122382 h 226169"/>
                  <a:gd name="connsiteX44" fmla="*/ 61725 w 197205"/>
                  <a:gd name="connsiteY44" fmla="*/ 121869 h 226169"/>
                  <a:gd name="connsiteX45" fmla="*/ 56881 w 197205"/>
                  <a:gd name="connsiteY45" fmla="*/ 116512 h 226169"/>
                  <a:gd name="connsiteX46" fmla="*/ 51181 w 197205"/>
                  <a:gd name="connsiteY46" fmla="*/ 115942 h 226169"/>
                  <a:gd name="connsiteX47" fmla="*/ 40067 w 197205"/>
                  <a:gd name="connsiteY47" fmla="*/ 107450 h 226169"/>
                  <a:gd name="connsiteX48" fmla="*/ 27585 w 197205"/>
                  <a:gd name="connsiteY48" fmla="*/ 104144 h 226169"/>
                  <a:gd name="connsiteX49" fmla="*/ 22456 w 197205"/>
                  <a:gd name="connsiteY49" fmla="*/ 94113 h 226169"/>
                  <a:gd name="connsiteX50" fmla="*/ 12083 w 197205"/>
                  <a:gd name="connsiteY50" fmla="*/ 86988 h 226169"/>
                  <a:gd name="connsiteX51" fmla="*/ 12083 w 197205"/>
                  <a:gd name="connsiteY51" fmla="*/ 80605 h 226169"/>
                  <a:gd name="connsiteX52" fmla="*/ 1482 w 197205"/>
                  <a:gd name="connsiteY52" fmla="*/ 76786 h 226169"/>
                  <a:gd name="connsiteX53" fmla="*/ 0 w 197205"/>
                  <a:gd name="connsiteY53" fmla="*/ 62823 h 226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7205" h="226169">
                    <a:moveTo>
                      <a:pt x="0" y="62823"/>
                    </a:moveTo>
                    <a:lnTo>
                      <a:pt x="4104" y="62253"/>
                    </a:lnTo>
                    <a:cubicBezTo>
                      <a:pt x="5363" y="51116"/>
                      <a:pt x="7808" y="40150"/>
                      <a:pt x="11399" y="29538"/>
                    </a:cubicBezTo>
                    <a:cubicBezTo>
                      <a:pt x="13878" y="21576"/>
                      <a:pt x="17572" y="14041"/>
                      <a:pt x="22342" y="7196"/>
                    </a:cubicBezTo>
                    <a:cubicBezTo>
                      <a:pt x="24428" y="3907"/>
                      <a:pt x="27591" y="1451"/>
                      <a:pt x="31290" y="243"/>
                    </a:cubicBezTo>
                    <a:cubicBezTo>
                      <a:pt x="36420" y="-897"/>
                      <a:pt x="41378" y="2294"/>
                      <a:pt x="46565" y="3320"/>
                    </a:cubicBezTo>
                    <a:cubicBezTo>
                      <a:pt x="54373" y="4802"/>
                      <a:pt x="62580" y="1268"/>
                      <a:pt x="70331" y="3035"/>
                    </a:cubicBezTo>
                    <a:cubicBezTo>
                      <a:pt x="74851" y="4899"/>
                      <a:pt x="79525" y="6369"/>
                      <a:pt x="84295" y="7424"/>
                    </a:cubicBezTo>
                    <a:cubicBezTo>
                      <a:pt x="88513" y="6740"/>
                      <a:pt x="92787" y="6415"/>
                      <a:pt x="97062" y="6455"/>
                    </a:cubicBezTo>
                    <a:cubicBezTo>
                      <a:pt x="99450" y="7139"/>
                      <a:pt x="101696" y="8256"/>
                      <a:pt x="103673" y="9761"/>
                    </a:cubicBezTo>
                    <a:cubicBezTo>
                      <a:pt x="104927" y="10559"/>
                      <a:pt x="106295" y="11243"/>
                      <a:pt x="107549" y="11983"/>
                    </a:cubicBezTo>
                    <a:lnTo>
                      <a:pt x="106979" y="16600"/>
                    </a:lnTo>
                    <a:lnTo>
                      <a:pt x="103046" y="18823"/>
                    </a:lnTo>
                    <a:cubicBezTo>
                      <a:pt x="110786" y="33624"/>
                      <a:pt x="113032" y="50688"/>
                      <a:pt x="109373" y="66983"/>
                    </a:cubicBezTo>
                    <a:cubicBezTo>
                      <a:pt x="122254" y="69890"/>
                      <a:pt x="138554" y="63279"/>
                      <a:pt x="147274" y="73196"/>
                    </a:cubicBezTo>
                    <a:cubicBezTo>
                      <a:pt x="150141" y="77191"/>
                      <a:pt x="151908" y="81870"/>
                      <a:pt x="152404" y="86761"/>
                    </a:cubicBezTo>
                    <a:cubicBezTo>
                      <a:pt x="154000" y="95310"/>
                      <a:pt x="155653" y="103859"/>
                      <a:pt x="157248" y="112465"/>
                    </a:cubicBezTo>
                    <a:cubicBezTo>
                      <a:pt x="163860" y="116341"/>
                      <a:pt x="172865" y="112465"/>
                      <a:pt x="179761" y="115657"/>
                    </a:cubicBezTo>
                    <a:cubicBezTo>
                      <a:pt x="184783" y="118529"/>
                      <a:pt x="187860" y="123893"/>
                      <a:pt x="187798" y="129677"/>
                    </a:cubicBezTo>
                    <a:cubicBezTo>
                      <a:pt x="187610" y="135354"/>
                      <a:pt x="186413" y="140951"/>
                      <a:pt x="184264" y="146206"/>
                    </a:cubicBezTo>
                    <a:cubicBezTo>
                      <a:pt x="187798" y="150424"/>
                      <a:pt x="182041" y="157605"/>
                      <a:pt x="184264" y="162449"/>
                    </a:cubicBezTo>
                    <a:cubicBezTo>
                      <a:pt x="185860" y="165812"/>
                      <a:pt x="189963" y="167237"/>
                      <a:pt x="192699" y="169688"/>
                    </a:cubicBezTo>
                    <a:cubicBezTo>
                      <a:pt x="196375" y="172971"/>
                      <a:pt x="197965" y="177998"/>
                      <a:pt x="196860" y="182797"/>
                    </a:cubicBezTo>
                    <a:lnTo>
                      <a:pt x="188254" y="187641"/>
                    </a:lnTo>
                    <a:cubicBezTo>
                      <a:pt x="190761" y="191745"/>
                      <a:pt x="187456" y="197045"/>
                      <a:pt x="183466" y="199610"/>
                    </a:cubicBezTo>
                    <a:cubicBezTo>
                      <a:pt x="179106" y="201508"/>
                      <a:pt x="174974" y="203902"/>
                      <a:pt x="171155" y="206734"/>
                    </a:cubicBezTo>
                    <a:cubicBezTo>
                      <a:pt x="166140" y="211750"/>
                      <a:pt x="165798" y="220356"/>
                      <a:pt x="160269" y="224745"/>
                    </a:cubicBezTo>
                    <a:cubicBezTo>
                      <a:pt x="159597" y="225292"/>
                      <a:pt x="158873" y="225771"/>
                      <a:pt x="158103" y="226169"/>
                    </a:cubicBezTo>
                    <a:lnTo>
                      <a:pt x="152404" y="222294"/>
                    </a:lnTo>
                    <a:cubicBezTo>
                      <a:pt x="150962" y="221428"/>
                      <a:pt x="149782" y="220185"/>
                      <a:pt x="148984" y="218703"/>
                    </a:cubicBezTo>
                    <a:cubicBezTo>
                      <a:pt x="147844" y="215910"/>
                      <a:pt x="149611" y="213004"/>
                      <a:pt x="149611" y="209869"/>
                    </a:cubicBezTo>
                    <a:cubicBezTo>
                      <a:pt x="149024" y="204928"/>
                      <a:pt x="145143" y="201029"/>
                      <a:pt x="140207" y="200408"/>
                    </a:cubicBezTo>
                    <a:cubicBezTo>
                      <a:pt x="135414" y="199866"/>
                      <a:pt x="130581" y="199866"/>
                      <a:pt x="125787" y="200408"/>
                    </a:cubicBezTo>
                    <a:cubicBezTo>
                      <a:pt x="115614" y="200556"/>
                      <a:pt x="105737" y="196966"/>
                      <a:pt x="98031" y="190320"/>
                    </a:cubicBezTo>
                    <a:cubicBezTo>
                      <a:pt x="99228" y="187647"/>
                      <a:pt x="101479" y="185584"/>
                      <a:pt x="104243" y="184620"/>
                    </a:cubicBezTo>
                    <a:cubicBezTo>
                      <a:pt x="98681" y="178528"/>
                      <a:pt x="99011" y="169106"/>
                      <a:pt x="104984" y="163419"/>
                    </a:cubicBezTo>
                    <a:cubicBezTo>
                      <a:pt x="107606" y="161196"/>
                      <a:pt x="110684" y="159885"/>
                      <a:pt x="113362" y="157719"/>
                    </a:cubicBezTo>
                    <a:cubicBezTo>
                      <a:pt x="116121" y="155468"/>
                      <a:pt x="116600" y="151432"/>
                      <a:pt x="114445" y="148600"/>
                    </a:cubicBezTo>
                    <a:cubicBezTo>
                      <a:pt x="108432" y="150469"/>
                      <a:pt x="102043" y="147107"/>
                      <a:pt x="100180" y="141093"/>
                    </a:cubicBezTo>
                    <a:cubicBezTo>
                      <a:pt x="100168" y="141048"/>
                      <a:pt x="100151" y="141008"/>
                      <a:pt x="100140" y="140963"/>
                    </a:cubicBezTo>
                    <a:cubicBezTo>
                      <a:pt x="97803" y="143071"/>
                      <a:pt x="94041" y="140963"/>
                      <a:pt x="92331" y="138341"/>
                    </a:cubicBezTo>
                    <a:cubicBezTo>
                      <a:pt x="90622" y="135719"/>
                      <a:pt x="89311" y="132641"/>
                      <a:pt x="86632" y="131273"/>
                    </a:cubicBezTo>
                    <a:cubicBezTo>
                      <a:pt x="83953" y="129906"/>
                      <a:pt x="80932" y="131273"/>
                      <a:pt x="78653" y="130133"/>
                    </a:cubicBezTo>
                    <a:cubicBezTo>
                      <a:pt x="75176" y="128538"/>
                      <a:pt x="74093" y="123522"/>
                      <a:pt x="70445" y="122382"/>
                    </a:cubicBezTo>
                    <a:cubicBezTo>
                      <a:pt x="66798" y="121242"/>
                      <a:pt x="64290" y="123351"/>
                      <a:pt x="61725" y="121869"/>
                    </a:cubicBezTo>
                    <a:cubicBezTo>
                      <a:pt x="59161" y="120387"/>
                      <a:pt x="59046" y="117652"/>
                      <a:pt x="56881" y="116512"/>
                    </a:cubicBezTo>
                    <a:cubicBezTo>
                      <a:pt x="55040" y="115942"/>
                      <a:pt x="53102" y="115748"/>
                      <a:pt x="51181" y="115942"/>
                    </a:cubicBezTo>
                    <a:cubicBezTo>
                      <a:pt x="46394" y="115486"/>
                      <a:pt x="43316" y="110983"/>
                      <a:pt x="40067" y="107450"/>
                    </a:cubicBezTo>
                    <a:cubicBezTo>
                      <a:pt x="36819" y="103916"/>
                      <a:pt x="31176" y="101009"/>
                      <a:pt x="27585" y="104144"/>
                    </a:cubicBezTo>
                    <a:cubicBezTo>
                      <a:pt x="30036" y="100610"/>
                      <a:pt x="26332" y="95937"/>
                      <a:pt x="22456" y="94113"/>
                    </a:cubicBezTo>
                    <a:cubicBezTo>
                      <a:pt x="18580" y="92289"/>
                      <a:pt x="13736" y="90921"/>
                      <a:pt x="12083" y="86988"/>
                    </a:cubicBezTo>
                    <a:cubicBezTo>
                      <a:pt x="11370" y="84920"/>
                      <a:pt x="11370" y="82674"/>
                      <a:pt x="12083" y="80605"/>
                    </a:cubicBezTo>
                    <a:lnTo>
                      <a:pt x="1482" y="76786"/>
                    </a:lnTo>
                    <a:cubicBezTo>
                      <a:pt x="2605" y="72101"/>
                      <a:pt x="2086" y="67171"/>
                      <a:pt x="0" y="6282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7" name="Freihandform: Form 641">
                <a:extLst>
                  <a:ext uri="{FF2B5EF4-FFF2-40B4-BE49-F238E27FC236}">
                    <a16:creationId xmlns:a16="http://schemas.microsoft.com/office/drawing/2014/main" id="{8583F493-D613-4E02-69EF-13F227CEB51B}"/>
                  </a:ext>
                </a:extLst>
              </p:cNvPr>
              <p:cNvSpPr/>
              <p:nvPr/>
            </p:nvSpPr>
            <p:spPr>
              <a:xfrm>
                <a:off x="2483169" y="4995447"/>
                <a:ext cx="108457" cy="126246"/>
              </a:xfrm>
              <a:custGeom>
                <a:avLst/>
                <a:gdLst>
                  <a:gd name="connsiteX0" fmla="*/ 1234 w 108457"/>
                  <a:gd name="connsiteY0" fmla="*/ 91135 h 126246"/>
                  <a:gd name="connsiteX1" fmla="*/ 1234 w 108457"/>
                  <a:gd name="connsiteY1" fmla="*/ 90109 h 126246"/>
                  <a:gd name="connsiteX2" fmla="*/ 2032 w 108457"/>
                  <a:gd name="connsiteY2" fmla="*/ 77114 h 126246"/>
                  <a:gd name="connsiteX3" fmla="*/ 6307 w 108457"/>
                  <a:gd name="connsiteY3" fmla="*/ 73409 h 126246"/>
                  <a:gd name="connsiteX4" fmla="*/ 8188 w 108457"/>
                  <a:gd name="connsiteY4" fmla="*/ 67197 h 126246"/>
                  <a:gd name="connsiteX5" fmla="*/ 12064 w 108457"/>
                  <a:gd name="connsiteY5" fmla="*/ 31518 h 126246"/>
                  <a:gd name="connsiteX6" fmla="*/ 12804 w 108457"/>
                  <a:gd name="connsiteY6" fmla="*/ 21601 h 126246"/>
                  <a:gd name="connsiteX7" fmla="*/ 14001 w 108457"/>
                  <a:gd name="connsiteY7" fmla="*/ 11855 h 126246"/>
                  <a:gd name="connsiteX8" fmla="*/ 25400 w 108457"/>
                  <a:gd name="connsiteY8" fmla="*/ 2337 h 126246"/>
                  <a:gd name="connsiteX9" fmla="*/ 30701 w 108457"/>
                  <a:gd name="connsiteY9" fmla="*/ 0 h 126246"/>
                  <a:gd name="connsiteX10" fmla="*/ 29504 w 108457"/>
                  <a:gd name="connsiteY10" fmla="*/ 2451 h 126246"/>
                  <a:gd name="connsiteX11" fmla="*/ 52302 w 108457"/>
                  <a:gd name="connsiteY11" fmla="*/ 8151 h 126246"/>
                  <a:gd name="connsiteX12" fmla="*/ 57659 w 108457"/>
                  <a:gd name="connsiteY12" fmla="*/ 22627 h 126246"/>
                  <a:gd name="connsiteX13" fmla="*/ 69058 w 108457"/>
                  <a:gd name="connsiteY13" fmla="*/ 25249 h 126246"/>
                  <a:gd name="connsiteX14" fmla="*/ 75841 w 108457"/>
                  <a:gd name="connsiteY14" fmla="*/ 34653 h 126246"/>
                  <a:gd name="connsiteX15" fmla="*/ 94820 w 108457"/>
                  <a:gd name="connsiteY15" fmla="*/ 40352 h 126246"/>
                  <a:gd name="connsiteX16" fmla="*/ 101602 w 108457"/>
                  <a:gd name="connsiteY16" fmla="*/ 49415 h 126246"/>
                  <a:gd name="connsiteX17" fmla="*/ 108271 w 108457"/>
                  <a:gd name="connsiteY17" fmla="*/ 87658 h 126246"/>
                  <a:gd name="connsiteX18" fmla="*/ 108271 w 108457"/>
                  <a:gd name="connsiteY18" fmla="*/ 90565 h 126246"/>
                  <a:gd name="connsiteX19" fmla="*/ 100861 w 108457"/>
                  <a:gd name="connsiteY19" fmla="*/ 99513 h 126246"/>
                  <a:gd name="connsiteX20" fmla="*/ 64442 w 108457"/>
                  <a:gd name="connsiteY20" fmla="*/ 113420 h 126246"/>
                  <a:gd name="connsiteX21" fmla="*/ 56063 w 108457"/>
                  <a:gd name="connsiteY21" fmla="*/ 114617 h 126246"/>
                  <a:gd name="connsiteX22" fmla="*/ 51048 w 108457"/>
                  <a:gd name="connsiteY22" fmla="*/ 126016 h 126246"/>
                  <a:gd name="connsiteX23" fmla="*/ 39649 w 108457"/>
                  <a:gd name="connsiteY23" fmla="*/ 117979 h 126246"/>
                  <a:gd name="connsiteX24" fmla="*/ 22892 w 108457"/>
                  <a:gd name="connsiteY24" fmla="*/ 114674 h 126246"/>
                  <a:gd name="connsiteX25" fmla="*/ 13203 w 108457"/>
                  <a:gd name="connsiteY25" fmla="*/ 101052 h 126246"/>
                  <a:gd name="connsiteX26" fmla="*/ 1234 w 108457"/>
                  <a:gd name="connsiteY26" fmla="*/ 91135 h 12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8457" h="126246">
                    <a:moveTo>
                      <a:pt x="1234" y="91135"/>
                    </a:moveTo>
                    <a:cubicBezTo>
                      <a:pt x="1234" y="90793"/>
                      <a:pt x="1234" y="90451"/>
                      <a:pt x="1234" y="90109"/>
                    </a:cubicBezTo>
                    <a:cubicBezTo>
                      <a:pt x="-658" y="85908"/>
                      <a:pt x="-361" y="81047"/>
                      <a:pt x="2032" y="77114"/>
                    </a:cubicBezTo>
                    <a:cubicBezTo>
                      <a:pt x="3520" y="75957"/>
                      <a:pt x="4950" y="74720"/>
                      <a:pt x="6307" y="73409"/>
                    </a:cubicBezTo>
                    <a:cubicBezTo>
                      <a:pt x="7510" y="71557"/>
                      <a:pt x="8159" y="69402"/>
                      <a:pt x="8188" y="67197"/>
                    </a:cubicBezTo>
                    <a:cubicBezTo>
                      <a:pt x="9499" y="55285"/>
                      <a:pt x="10753" y="43373"/>
                      <a:pt x="12064" y="31518"/>
                    </a:cubicBezTo>
                    <a:cubicBezTo>
                      <a:pt x="12405" y="28212"/>
                      <a:pt x="12747" y="24907"/>
                      <a:pt x="12804" y="21601"/>
                    </a:cubicBezTo>
                    <a:cubicBezTo>
                      <a:pt x="12622" y="18307"/>
                      <a:pt x="13027" y="15007"/>
                      <a:pt x="14001" y="11855"/>
                    </a:cubicBezTo>
                    <a:cubicBezTo>
                      <a:pt x="16503" y="7393"/>
                      <a:pt x="20561" y="4001"/>
                      <a:pt x="25400" y="2337"/>
                    </a:cubicBezTo>
                    <a:cubicBezTo>
                      <a:pt x="27110" y="1482"/>
                      <a:pt x="28934" y="741"/>
                      <a:pt x="30701" y="0"/>
                    </a:cubicBezTo>
                    <a:lnTo>
                      <a:pt x="29504" y="2451"/>
                    </a:lnTo>
                    <a:cubicBezTo>
                      <a:pt x="36360" y="6595"/>
                      <a:pt x="44305" y="8584"/>
                      <a:pt x="52302" y="8151"/>
                    </a:cubicBezTo>
                    <a:cubicBezTo>
                      <a:pt x="56804" y="11000"/>
                      <a:pt x="53613" y="19150"/>
                      <a:pt x="57659" y="22627"/>
                    </a:cubicBezTo>
                    <a:cubicBezTo>
                      <a:pt x="60680" y="25249"/>
                      <a:pt x="65696" y="23311"/>
                      <a:pt x="69058" y="25249"/>
                    </a:cubicBezTo>
                    <a:cubicBezTo>
                      <a:pt x="72421" y="27187"/>
                      <a:pt x="73105" y="31860"/>
                      <a:pt x="75841" y="34653"/>
                    </a:cubicBezTo>
                    <a:cubicBezTo>
                      <a:pt x="80514" y="39441"/>
                      <a:pt x="89006" y="36819"/>
                      <a:pt x="94820" y="40352"/>
                    </a:cubicBezTo>
                    <a:cubicBezTo>
                      <a:pt x="97972" y="42587"/>
                      <a:pt x="100348" y="45755"/>
                      <a:pt x="101602" y="49415"/>
                    </a:cubicBezTo>
                    <a:cubicBezTo>
                      <a:pt x="106869" y="61440"/>
                      <a:pt x="109160" y="74561"/>
                      <a:pt x="108271" y="87658"/>
                    </a:cubicBezTo>
                    <a:cubicBezTo>
                      <a:pt x="108271" y="88627"/>
                      <a:pt x="108271" y="89596"/>
                      <a:pt x="108271" y="90565"/>
                    </a:cubicBezTo>
                    <a:cubicBezTo>
                      <a:pt x="105649" y="93357"/>
                      <a:pt x="103426" y="96606"/>
                      <a:pt x="100861" y="99513"/>
                    </a:cubicBezTo>
                    <a:cubicBezTo>
                      <a:pt x="91645" y="109704"/>
                      <a:pt x="78109" y="114873"/>
                      <a:pt x="64442" y="113420"/>
                    </a:cubicBezTo>
                    <a:cubicBezTo>
                      <a:pt x="61535" y="113078"/>
                      <a:pt x="58115" y="112565"/>
                      <a:pt x="56063" y="114617"/>
                    </a:cubicBezTo>
                    <a:cubicBezTo>
                      <a:pt x="52929" y="117694"/>
                      <a:pt x="55037" y="124477"/>
                      <a:pt x="51048" y="126016"/>
                    </a:cubicBezTo>
                    <a:cubicBezTo>
                      <a:pt x="47058" y="127554"/>
                      <a:pt x="43809" y="121000"/>
                      <a:pt x="39649" y="117979"/>
                    </a:cubicBezTo>
                    <a:cubicBezTo>
                      <a:pt x="35488" y="114959"/>
                      <a:pt x="28250" y="116953"/>
                      <a:pt x="22892" y="114674"/>
                    </a:cubicBezTo>
                    <a:cubicBezTo>
                      <a:pt x="17535" y="112394"/>
                      <a:pt x="15483" y="106295"/>
                      <a:pt x="13203" y="101052"/>
                    </a:cubicBezTo>
                    <a:cubicBezTo>
                      <a:pt x="10924" y="95808"/>
                      <a:pt x="6820" y="90622"/>
                      <a:pt x="1234" y="911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48" name="Freihandform: Form 642">
                <a:extLst>
                  <a:ext uri="{FF2B5EF4-FFF2-40B4-BE49-F238E27FC236}">
                    <a16:creationId xmlns:a16="http://schemas.microsoft.com/office/drawing/2014/main" id="{C66361E5-44C6-A931-EE32-24BB6FD52110}"/>
                  </a:ext>
                </a:extLst>
              </p:cNvPr>
              <p:cNvSpPr/>
              <p:nvPr/>
            </p:nvSpPr>
            <p:spPr>
              <a:xfrm>
                <a:off x="2148853" y="4787645"/>
                <a:ext cx="400069" cy="940625"/>
              </a:xfrm>
              <a:custGeom>
                <a:avLst/>
                <a:gdLst>
                  <a:gd name="connsiteX0" fmla="*/ 335323 w 400069"/>
                  <a:gd name="connsiteY0" fmla="*/ 297912 h 940625"/>
                  <a:gd name="connsiteX1" fmla="*/ 335323 w 400069"/>
                  <a:gd name="connsiteY1" fmla="*/ 298937 h 940625"/>
                  <a:gd name="connsiteX2" fmla="*/ 335323 w 400069"/>
                  <a:gd name="connsiteY2" fmla="*/ 298937 h 940625"/>
                  <a:gd name="connsiteX3" fmla="*/ 335665 w 400069"/>
                  <a:gd name="connsiteY3" fmla="*/ 310336 h 940625"/>
                  <a:gd name="connsiteX4" fmla="*/ 337603 w 400069"/>
                  <a:gd name="connsiteY4" fmla="*/ 316036 h 940625"/>
                  <a:gd name="connsiteX5" fmla="*/ 335038 w 400069"/>
                  <a:gd name="connsiteY5" fmla="*/ 319455 h 940625"/>
                  <a:gd name="connsiteX6" fmla="*/ 331733 w 400069"/>
                  <a:gd name="connsiteY6" fmla="*/ 330854 h 940625"/>
                  <a:gd name="connsiteX7" fmla="*/ 352023 w 400069"/>
                  <a:gd name="connsiteY7" fmla="*/ 332792 h 940625"/>
                  <a:gd name="connsiteX8" fmla="*/ 361199 w 400069"/>
                  <a:gd name="connsiteY8" fmla="*/ 347155 h 940625"/>
                  <a:gd name="connsiteX9" fmla="*/ 357494 w 400069"/>
                  <a:gd name="connsiteY9" fmla="*/ 350745 h 940625"/>
                  <a:gd name="connsiteX10" fmla="*/ 363992 w 400069"/>
                  <a:gd name="connsiteY10" fmla="*/ 365165 h 940625"/>
                  <a:gd name="connsiteX11" fmla="*/ 376530 w 400069"/>
                  <a:gd name="connsiteY11" fmla="*/ 377020 h 940625"/>
                  <a:gd name="connsiteX12" fmla="*/ 364391 w 400069"/>
                  <a:gd name="connsiteY12" fmla="*/ 392295 h 940625"/>
                  <a:gd name="connsiteX13" fmla="*/ 354246 w 400069"/>
                  <a:gd name="connsiteY13" fmla="*/ 408424 h 940625"/>
                  <a:gd name="connsiteX14" fmla="*/ 329966 w 400069"/>
                  <a:gd name="connsiteY14" fmla="*/ 423357 h 940625"/>
                  <a:gd name="connsiteX15" fmla="*/ 313950 w 400069"/>
                  <a:gd name="connsiteY15" fmla="*/ 431222 h 940625"/>
                  <a:gd name="connsiteX16" fmla="*/ 308251 w 400069"/>
                  <a:gd name="connsiteY16" fmla="*/ 434015 h 940625"/>
                  <a:gd name="connsiteX17" fmla="*/ 270121 w 400069"/>
                  <a:gd name="connsiteY17" fmla="*/ 444331 h 940625"/>
                  <a:gd name="connsiteX18" fmla="*/ 264935 w 400069"/>
                  <a:gd name="connsiteY18" fmla="*/ 442678 h 940625"/>
                  <a:gd name="connsiteX19" fmla="*/ 261857 w 400069"/>
                  <a:gd name="connsiteY19" fmla="*/ 438745 h 940625"/>
                  <a:gd name="connsiteX20" fmla="*/ 246696 w 400069"/>
                  <a:gd name="connsiteY20" fmla="*/ 435953 h 940625"/>
                  <a:gd name="connsiteX21" fmla="*/ 244132 w 400069"/>
                  <a:gd name="connsiteY21" fmla="*/ 446782 h 940625"/>
                  <a:gd name="connsiteX22" fmla="*/ 251456 w 400069"/>
                  <a:gd name="connsiteY22" fmla="*/ 457782 h 940625"/>
                  <a:gd name="connsiteX23" fmla="*/ 251370 w 400069"/>
                  <a:gd name="connsiteY23" fmla="*/ 458181 h 940625"/>
                  <a:gd name="connsiteX24" fmla="*/ 245101 w 400069"/>
                  <a:gd name="connsiteY24" fmla="*/ 469922 h 940625"/>
                  <a:gd name="connsiteX25" fmla="*/ 249831 w 400069"/>
                  <a:gd name="connsiteY25" fmla="*/ 493574 h 940625"/>
                  <a:gd name="connsiteX26" fmla="*/ 238945 w 400069"/>
                  <a:gd name="connsiteY26" fmla="*/ 504973 h 940625"/>
                  <a:gd name="connsiteX27" fmla="*/ 221847 w 400069"/>
                  <a:gd name="connsiteY27" fmla="*/ 504574 h 940625"/>
                  <a:gd name="connsiteX28" fmla="*/ 204748 w 400069"/>
                  <a:gd name="connsiteY28" fmla="*/ 499844 h 940625"/>
                  <a:gd name="connsiteX29" fmla="*/ 202525 w 400069"/>
                  <a:gd name="connsiteY29" fmla="*/ 493232 h 940625"/>
                  <a:gd name="connsiteX30" fmla="*/ 187764 w 400069"/>
                  <a:gd name="connsiteY30" fmla="*/ 493973 h 940625"/>
                  <a:gd name="connsiteX31" fmla="*/ 181665 w 400069"/>
                  <a:gd name="connsiteY31" fmla="*/ 526460 h 940625"/>
                  <a:gd name="connsiteX32" fmla="*/ 193976 w 400069"/>
                  <a:gd name="connsiteY32" fmla="*/ 536092 h 940625"/>
                  <a:gd name="connsiteX33" fmla="*/ 207712 w 400069"/>
                  <a:gd name="connsiteY33" fmla="*/ 540139 h 940625"/>
                  <a:gd name="connsiteX34" fmla="*/ 219111 w 400069"/>
                  <a:gd name="connsiteY34" fmla="*/ 534440 h 940625"/>
                  <a:gd name="connsiteX35" fmla="*/ 215805 w 400069"/>
                  <a:gd name="connsiteY35" fmla="*/ 550216 h 940625"/>
                  <a:gd name="connsiteX36" fmla="*/ 206116 w 400069"/>
                  <a:gd name="connsiteY36" fmla="*/ 551538 h 940625"/>
                  <a:gd name="connsiteX37" fmla="*/ 191297 w 400069"/>
                  <a:gd name="connsiteY37" fmla="*/ 546294 h 940625"/>
                  <a:gd name="connsiteX38" fmla="*/ 194489 w 400069"/>
                  <a:gd name="connsiteY38" fmla="*/ 559688 h 940625"/>
                  <a:gd name="connsiteX39" fmla="*/ 187063 w 400069"/>
                  <a:gd name="connsiteY39" fmla="*/ 560720 h 940625"/>
                  <a:gd name="connsiteX40" fmla="*/ 186795 w 400069"/>
                  <a:gd name="connsiteY40" fmla="*/ 561113 h 940625"/>
                  <a:gd name="connsiteX41" fmla="*/ 184686 w 400069"/>
                  <a:gd name="connsiteY41" fmla="*/ 569662 h 940625"/>
                  <a:gd name="connsiteX42" fmla="*/ 183603 w 400069"/>
                  <a:gd name="connsiteY42" fmla="*/ 592460 h 940625"/>
                  <a:gd name="connsiteX43" fmla="*/ 180127 w 400069"/>
                  <a:gd name="connsiteY43" fmla="*/ 601807 h 940625"/>
                  <a:gd name="connsiteX44" fmla="*/ 175168 w 400069"/>
                  <a:gd name="connsiteY44" fmla="*/ 603346 h 940625"/>
                  <a:gd name="connsiteX45" fmla="*/ 153225 w 400069"/>
                  <a:gd name="connsiteY45" fmla="*/ 616968 h 940625"/>
                  <a:gd name="connsiteX46" fmla="*/ 149919 w 400069"/>
                  <a:gd name="connsiteY46" fmla="*/ 620502 h 940625"/>
                  <a:gd name="connsiteX47" fmla="*/ 143650 w 400069"/>
                  <a:gd name="connsiteY47" fmla="*/ 621984 h 940625"/>
                  <a:gd name="connsiteX48" fmla="*/ 132251 w 400069"/>
                  <a:gd name="connsiteY48" fmla="*/ 639082 h 940625"/>
                  <a:gd name="connsiteX49" fmla="*/ 131168 w 400069"/>
                  <a:gd name="connsiteY49" fmla="*/ 661082 h 940625"/>
                  <a:gd name="connsiteX50" fmla="*/ 140059 w 400069"/>
                  <a:gd name="connsiteY50" fmla="*/ 664103 h 940625"/>
                  <a:gd name="connsiteX51" fmla="*/ 146899 w 400069"/>
                  <a:gd name="connsiteY51" fmla="*/ 671170 h 940625"/>
                  <a:gd name="connsiteX52" fmla="*/ 170609 w 400069"/>
                  <a:gd name="connsiteY52" fmla="*/ 679320 h 940625"/>
                  <a:gd name="connsiteX53" fmla="*/ 168659 w 400069"/>
                  <a:gd name="connsiteY53" fmla="*/ 694025 h 940625"/>
                  <a:gd name="connsiteX54" fmla="*/ 164909 w 400069"/>
                  <a:gd name="connsiteY54" fmla="*/ 695848 h 940625"/>
                  <a:gd name="connsiteX55" fmla="*/ 160976 w 400069"/>
                  <a:gd name="connsiteY55" fmla="*/ 696704 h 940625"/>
                  <a:gd name="connsiteX56" fmla="*/ 154536 w 400069"/>
                  <a:gd name="connsiteY56" fmla="*/ 709584 h 940625"/>
                  <a:gd name="connsiteX57" fmla="*/ 147412 w 400069"/>
                  <a:gd name="connsiteY57" fmla="*/ 712149 h 940625"/>
                  <a:gd name="connsiteX58" fmla="*/ 143878 w 400069"/>
                  <a:gd name="connsiteY58" fmla="*/ 720071 h 940625"/>
                  <a:gd name="connsiteX59" fmla="*/ 140002 w 400069"/>
                  <a:gd name="connsiteY59" fmla="*/ 723719 h 940625"/>
                  <a:gd name="connsiteX60" fmla="*/ 137551 w 400069"/>
                  <a:gd name="connsiteY60" fmla="*/ 735517 h 940625"/>
                  <a:gd name="connsiteX61" fmla="*/ 123764 w 400069"/>
                  <a:gd name="connsiteY61" fmla="*/ 745195 h 940625"/>
                  <a:gd name="connsiteX62" fmla="*/ 123588 w 400069"/>
                  <a:gd name="connsiteY62" fmla="*/ 746916 h 940625"/>
                  <a:gd name="connsiteX63" fmla="*/ 122619 w 400069"/>
                  <a:gd name="connsiteY63" fmla="*/ 756035 h 940625"/>
                  <a:gd name="connsiteX64" fmla="*/ 118857 w 400069"/>
                  <a:gd name="connsiteY64" fmla="*/ 758030 h 940625"/>
                  <a:gd name="connsiteX65" fmla="*/ 113158 w 400069"/>
                  <a:gd name="connsiteY65" fmla="*/ 764413 h 940625"/>
                  <a:gd name="connsiteX66" fmla="*/ 111619 w 400069"/>
                  <a:gd name="connsiteY66" fmla="*/ 769087 h 940625"/>
                  <a:gd name="connsiteX67" fmla="*/ 99764 w 400069"/>
                  <a:gd name="connsiteY67" fmla="*/ 775584 h 940625"/>
                  <a:gd name="connsiteX68" fmla="*/ 94976 w 400069"/>
                  <a:gd name="connsiteY68" fmla="*/ 788351 h 940625"/>
                  <a:gd name="connsiteX69" fmla="*/ 98225 w 400069"/>
                  <a:gd name="connsiteY69" fmla="*/ 795418 h 940625"/>
                  <a:gd name="connsiteX70" fmla="*/ 96458 w 400069"/>
                  <a:gd name="connsiteY70" fmla="*/ 821750 h 940625"/>
                  <a:gd name="connsiteX71" fmla="*/ 102158 w 400069"/>
                  <a:gd name="connsiteY71" fmla="*/ 830185 h 940625"/>
                  <a:gd name="connsiteX72" fmla="*/ 110707 w 400069"/>
                  <a:gd name="connsiteY72" fmla="*/ 839361 h 940625"/>
                  <a:gd name="connsiteX73" fmla="*/ 97655 w 400069"/>
                  <a:gd name="connsiteY73" fmla="*/ 836967 h 940625"/>
                  <a:gd name="connsiteX74" fmla="*/ 91956 w 400069"/>
                  <a:gd name="connsiteY74" fmla="*/ 831895 h 940625"/>
                  <a:gd name="connsiteX75" fmla="*/ 84660 w 400069"/>
                  <a:gd name="connsiteY75" fmla="*/ 831382 h 940625"/>
                  <a:gd name="connsiteX76" fmla="*/ 82837 w 400069"/>
                  <a:gd name="connsiteY76" fmla="*/ 834175 h 940625"/>
                  <a:gd name="connsiteX77" fmla="*/ 61179 w 400069"/>
                  <a:gd name="connsiteY77" fmla="*/ 831439 h 940625"/>
                  <a:gd name="connsiteX78" fmla="*/ 52686 w 400069"/>
                  <a:gd name="connsiteY78" fmla="*/ 831781 h 940625"/>
                  <a:gd name="connsiteX79" fmla="*/ 46987 w 400069"/>
                  <a:gd name="connsiteY79" fmla="*/ 827848 h 940625"/>
                  <a:gd name="connsiteX80" fmla="*/ 37583 w 400069"/>
                  <a:gd name="connsiteY80" fmla="*/ 825056 h 940625"/>
                  <a:gd name="connsiteX81" fmla="*/ 35588 w 400069"/>
                  <a:gd name="connsiteY81" fmla="*/ 820040 h 940625"/>
                  <a:gd name="connsiteX82" fmla="*/ 32111 w 400069"/>
                  <a:gd name="connsiteY82" fmla="*/ 802942 h 940625"/>
                  <a:gd name="connsiteX83" fmla="*/ 19743 w 400069"/>
                  <a:gd name="connsiteY83" fmla="*/ 792569 h 940625"/>
                  <a:gd name="connsiteX84" fmla="*/ 18433 w 400069"/>
                  <a:gd name="connsiteY84" fmla="*/ 786014 h 940625"/>
                  <a:gd name="connsiteX85" fmla="*/ 7775 w 400069"/>
                  <a:gd name="connsiteY85" fmla="*/ 774102 h 940625"/>
                  <a:gd name="connsiteX86" fmla="*/ 137 w 400069"/>
                  <a:gd name="connsiteY86" fmla="*/ 760651 h 940625"/>
                  <a:gd name="connsiteX87" fmla="*/ 14500 w 400069"/>
                  <a:gd name="connsiteY87" fmla="*/ 741729 h 940625"/>
                  <a:gd name="connsiteX88" fmla="*/ 15298 w 400069"/>
                  <a:gd name="connsiteY88" fmla="*/ 733864 h 940625"/>
                  <a:gd name="connsiteX89" fmla="*/ 23277 w 400069"/>
                  <a:gd name="connsiteY89" fmla="*/ 728507 h 940625"/>
                  <a:gd name="connsiteX90" fmla="*/ 22422 w 400069"/>
                  <a:gd name="connsiteY90" fmla="*/ 717108 h 940625"/>
                  <a:gd name="connsiteX91" fmla="*/ 34904 w 400069"/>
                  <a:gd name="connsiteY91" fmla="*/ 686160 h 940625"/>
                  <a:gd name="connsiteX92" fmla="*/ 43282 w 400069"/>
                  <a:gd name="connsiteY92" fmla="*/ 649569 h 940625"/>
                  <a:gd name="connsiteX93" fmla="*/ 45277 w 400069"/>
                  <a:gd name="connsiteY93" fmla="*/ 635092 h 940625"/>
                  <a:gd name="connsiteX94" fmla="*/ 47842 w 400069"/>
                  <a:gd name="connsiteY94" fmla="*/ 618393 h 940625"/>
                  <a:gd name="connsiteX95" fmla="*/ 52743 w 400069"/>
                  <a:gd name="connsiteY95" fmla="*/ 614289 h 940625"/>
                  <a:gd name="connsiteX96" fmla="*/ 50406 w 400069"/>
                  <a:gd name="connsiteY96" fmla="*/ 606652 h 940625"/>
                  <a:gd name="connsiteX97" fmla="*/ 43567 w 400069"/>
                  <a:gd name="connsiteY97" fmla="*/ 601351 h 940625"/>
                  <a:gd name="connsiteX98" fmla="*/ 40946 w 400069"/>
                  <a:gd name="connsiteY98" fmla="*/ 567155 h 940625"/>
                  <a:gd name="connsiteX99" fmla="*/ 36557 w 400069"/>
                  <a:gd name="connsiteY99" fmla="*/ 560087 h 940625"/>
                  <a:gd name="connsiteX100" fmla="*/ 37754 w 400069"/>
                  <a:gd name="connsiteY100" fmla="*/ 553875 h 940625"/>
                  <a:gd name="connsiteX101" fmla="*/ 38894 w 400069"/>
                  <a:gd name="connsiteY101" fmla="*/ 507139 h 940625"/>
                  <a:gd name="connsiteX102" fmla="*/ 34961 w 400069"/>
                  <a:gd name="connsiteY102" fmla="*/ 500015 h 940625"/>
                  <a:gd name="connsiteX103" fmla="*/ 37811 w 400069"/>
                  <a:gd name="connsiteY103" fmla="*/ 492434 h 940625"/>
                  <a:gd name="connsiteX104" fmla="*/ 43852 w 400069"/>
                  <a:gd name="connsiteY104" fmla="*/ 470890 h 940625"/>
                  <a:gd name="connsiteX105" fmla="*/ 57075 w 400069"/>
                  <a:gd name="connsiteY105" fmla="*/ 453792 h 940625"/>
                  <a:gd name="connsiteX106" fmla="*/ 58671 w 400069"/>
                  <a:gd name="connsiteY106" fmla="*/ 435781 h 940625"/>
                  <a:gd name="connsiteX107" fmla="*/ 61578 w 400069"/>
                  <a:gd name="connsiteY107" fmla="*/ 426777 h 940625"/>
                  <a:gd name="connsiteX108" fmla="*/ 57987 w 400069"/>
                  <a:gd name="connsiteY108" fmla="*/ 414066 h 940625"/>
                  <a:gd name="connsiteX109" fmla="*/ 53142 w 400069"/>
                  <a:gd name="connsiteY109" fmla="*/ 388932 h 940625"/>
                  <a:gd name="connsiteX110" fmla="*/ 54510 w 400069"/>
                  <a:gd name="connsiteY110" fmla="*/ 383632 h 940625"/>
                  <a:gd name="connsiteX111" fmla="*/ 59241 w 400069"/>
                  <a:gd name="connsiteY111" fmla="*/ 380839 h 940625"/>
                  <a:gd name="connsiteX112" fmla="*/ 71495 w 400069"/>
                  <a:gd name="connsiteY112" fmla="*/ 362828 h 940625"/>
                  <a:gd name="connsiteX113" fmla="*/ 70583 w 400069"/>
                  <a:gd name="connsiteY113" fmla="*/ 340315 h 940625"/>
                  <a:gd name="connsiteX114" fmla="*/ 79987 w 400069"/>
                  <a:gd name="connsiteY114" fmla="*/ 322020 h 940625"/>
                  <a:gd name="connsiteX115" fmla="*/ 81241 w 400069"/>
                  <a:gd name="connsiteY115" fmla="*/ 299678 h 940625"/>
                  <a:gd name="connsiteX116" fmla="*/ 77992 w 400069"/>
                  <a:gd name="connsiteY116" fmla="*/ 274885 h 940625"/>
                  <a:gd name="connsiteX117" fmla="*/ 71495 w 400069"/>
                  <a:gd name="connsiteY117" fmla="*/ 269186 h 940625"/>
                  <a:gd name="connsiteX118" fmla="*/ 72179 w 400069"/>
                  <a:gd name="connsiteY118" fmla="*/ 257787 h 940625"/>
                  <a:gd name="connsiteX119" fmla="*/ 65168 w 400069"/>
                  <a:gd name="connsiteY119" fmla="*/ 245077 h 940625"/>
                  <a:gd name="connsiteX120" fmla="*/ 73945 w 400069"/>
                  <a:gd name="connsiteY120" fmla="*/ 229518 h 940625"/>
                  <a:gd name="connsiteX121" fmla="*/ 83122 w 400069"/>
                  <a:gd name="connsiteY121" fmla="*/ 202787 h 940625"/>
                  <a:gd name="connsiteX122" fmla="*/ 84489 w 400069"/>
                  <a:gd name="connsiteY122" fmla="*/ 189565 h 940625"/>
                  <a:gd name="connsiteX123" fmla="*/ 87225 w 400069"/>
                  <a:gd name="connsiteY123" fmla="*/ 186088 h 940625"/>
                  <a:gd name="connsiteX124" fmla="*/ 87225 w 400069"/>
                  <a:gd name="connsiteY124" fmla="*/ 181471 h 940625"/>
                  <a:gd name="connsiteX125" fmla="*/ 93780 w 400069"/>
                  <a:gd name="connsiteY125" fmla="*/ 164373 h 940625"/>
                  <a:gd name="connsiteX126" fmla="*/ 92982 w 400069"/>
                  <a:gd name="connsiteY126" fmla="*/ 151093 h 940625"/>
                  <a:gd name="connsiteX127" fmla="*/ 105065 w 400069"/>
                  <a:gd name="connsiteY127" fmla="*/ 139352 h 940625"/>
                  <a:gd name="connsiteX128" fmla="*/ 106318 w 400069"/>
                  <a:gd name="connsiteY128" fmla="*/ 133653 h 940625"/>
                  <a:gd name="connsiteX129" fmla="*/ 116691 w 400069"/>
                  <a:gd name="connsiteY129" fmla="*/ 120715 h 940625"/>
                  <a:gd name="connsiteX130" fmla="*/ 114469 w 400069"/>
                  <a:gd name="connsiteY130" fmla="*/ 115015 h 940625"/>
                  <a:gd name="connsiteX131" fmla="*/ 116862 w 400069"/>
                  <a:gd name="connsiteY131" fmla="*/ 86518 h 940625"/>
                  <a:gd name="connsiteX132" fmla="*/ 111505 w 400069"/>
                  <a:gd name="connsiteY132" fmla="*/ 76715 h 940625"/>
                  <a:gd name="connsiteX133" fmla="*/ 116635 w 400069"/>
                  <a:gd name="connsiteY133" fmla="*/ 63948 h 940625"/>
                  <a:gd name="connsiteX134" fmla="*/ 118116 w 400069"/>
                  <a:gd name="connsiteY134" fmla="*/ 57166 h 940625"/>
                  <a:gd name="connsiteX135" fmla="*/ 141883 w 400069"/>
                  <a:gd name="connsiteY135" fmla="*/ 46280 h 940625"/>
                  <a:gd name="connsiteX136" fmla="*/ 143365 w 400069"/>
                  <a:gd name="connsiteY136" fmla="*/ 34425 h 940625"/>
                  <a:gd name="connsiteX137" fmla="*/ 140857 w 400069"/>
                  <a:gd name="connsiteY137" fmla="*/ 31404 h 940625"/>
                  <a:gd name="connsiteX138" fmla="*/ 142624 w 400069"/>
                  <a:gd name="connsiteY138" fmla="*/ 30492 h 940625"/>
                  <a:gd name="connsiteX139" fmla="*/ 139660 w 400069"/>
                  <a:gd name="connsiteY139" fmla="*/ 17953 h 940625"/>
                  <a:gd name="connsiteX140" fmla="*/ 147811 w 400069"/>
                  <a:gd name="connsiteY140" fmla="*/ 17953 h 940625"/>
                  <a:gd name="connsiteX141" fmla="*/ 156018 w 400069"/>
                  <a:gd name="connsiteY141" fmla="*/ 4787 h 940625"/>
                  <a:gd name="connsiteX142" fmla="*/ 186453 w 400069"/>
                  <a:gd name="connsiteY142" fmla="*/ 7466 h 940625"/>
                  <a:gd name="connsiteX143" fmla="*/ 192153 w 400069"/>
                  <a:gd name="connsiteY143" fmla="*/ 7466 h 940625"/>
                  <a:gd name="connsiteX144" fmla="*/ 203551 w 400069"/>
                  <a:gd name="connsiteY144" fmla="*/ 17611 h 940625"/>
                  <a:gd name="connsiteX145" fmla="*/ 212386 w 400069"/>
                  <a:gd name="connsiteY145" fmla="*/ 11912 h 940625"/>
                  <a:gd name="connsiteX146" fmla="*/ 212671 w 400069"/>
                  <a:gd name="connsiteY146" fmla="*/ 513 h 940625"/>
                  <a:gd name="connsiteX147" fmla="*/ 241738 w 400069"/>
                  <a:gd name="connsiteY147" fmla="*/ 0 h 940625"/>
                  <a:gd name="connsiteX148" fmla="*/ 243448 w 400069"/>
                  <a:gd name="connsiteY148" fmla="*/ 13679 h 940625"/>
                  <a:gd name="connsiteX149" fmla="*/ 254049 w 400069"/>
                  <a:gd name="connsiteY149" fmla="*/ 17497 h 940625"/>
                  <a:gd name="connsiteX150" fmla="*/ 254049 w 400069"/>
                  <a:gd name="connsiteY150" fmla="*/ 23881 h 940625"/>
                  <a:gd name="connsiteX151" fmla="*/ 264422 w 400069"/>
                  <a:gd name="connsiteY151" fmla="*/ 31005 h 940625"/>
                  <a:gd name="connsiteX152" fmla="*/ 269551 w 400069"/>
                  <a:gd name="connsiteY152" fmla="*/ 41036 h 940625"/>
                  <a:gd name="connsiteX153" fmla="*/ 282033 w 400069"/>
                  <a:gd name="connsiteY153" fmla="*/ 44342 h 940625"/>
                  <a:gd name="connsiteX154" fmla="*/ 293147 w 400069"/>
                  <a:gd name="connsiteY154" fmla="*/ 52834 h 940625"/>
                  <a:gd name="connsiteX155" fmla="*/ 298847 w 400069"/>
                  <a:gd name="connsiteY155" fmla="*/ 53404 h 940625"/>
                  <a:gd name="connsiteX156" fmla="*/ 303691 w 400069"/>
                  <a:gd name="connsiteY156" fmla="*/ 58762 h 940625"/>
                  <a:gd name="connsiteX157" fmla="*/ 312411 w 400069"/>
                  <a:gd name="connsiteY157" fmla="*/ 59274 h 940625"/>
                  <a:gd name="connsiteX158" fmla="*/ 320619 w 400069"/>
                  <a:gd name="connsiteY158" fmla="*/ 67026 h 940625"/>
                  <a:gd name="connsiteX159" fmla="*/ 328598 w 400069"/>
                  <a:gd name="connsiteY159" fmla="*/ 68165 h 940625"/>
                  <a:gd name="connsiteX160" fmla="*/ 334297 w 400069"/>
                  <a:gd name="connsiteY160" fmla="*/ 75233 h 940625"/>
                  <a:gd name="connsiteX161" fmla="*/ 342106 w 400069"/>
                  <a:gd name="connsiteY161" fmla="*/ 77855 h 940625"/>
                  <a:gd name="connsiteX162" fmla="*/ 356280 w 400069"/>
                  <a:gd name="connsiteY162" fmla="*/ 85532 h 940625"/>
                  <a:gd name="connsiteX163" fmla="*/ 356411 w 400069"/>
                  <a:gd name="connsiteY163" fmla="*/ 85492 h 940625"/>
                  <a:gd name="connsiteX164" fmla="*/ 355328 w 400069"/>
                  <a:gd name="connsiteY164" fmla="*/ 94611 h 940625"/>
                  <a:gd name="connsiteX165" fmla="*/ 346950 w 400069"/>
                  <a:gd name="connsiteY165" fmla="*/ 100311 h 940625"/>
                  <a:gd name="connsiteX166" fmla="*/ 346209 w 400069"/>
                  <a:gd name="connsiteY166" fmla="*/ 121513 h 940625"/>
                  <a:gd name="connsiteX167" fmla="*/ 339997 w 400069"/>
                  <a:gd name="connsiteY167" fmla="*/ 127212 h 940625"/>
                  <a:gd name="connsiteX168" fmla="*/ 367753 w 400069"/>
                  <a:gd name="connsiteY168" fmla="*/ 137300 h 940625"/>
                  <a:gd name="connsiteX169" fmla="*/ 382173 w 400069"/>
                  <a:gd name="connsiteY169" fmla="*/ 137300 h 940625"/>
                  <a:gd name="connsiteX170" fmla="*/ 391577 w 400069"/>
                  <a:gd name="connsiteY170" fmla="*/ 146761 h 940625"/>
                  <a:gd name="connsiteX171" fmla="*/ 390950 w 400069"/>
                  <a:gd name="connsiteY171" fmla="*/ 155596 h 940625"/>
                  <a:gd name="connsiteX172" fmla="*/ 394370 w 400069"/>
                  <a:gd name="connsiteY172" fmla="*/ 159186 h 940625"/>
                  <a:gd name="connsiteX173" fmla="*/ 400069 w 400069"/>
                  <a:gd name="connsiteY173" fmla="*/ 163062 h 940625"/>
                  <a:gd name="connsiteX174" fmla="*/ 392432 w 400069"/>
                  <a:gd name="connsiteY174" fmla="*/ 166196 h 940625"/>
                  <a:gd name="connsiteX175" fmla="*/ 373111 w 400069"/>
                  <a:gd name="connsiteY175" fmla="*/ 190704 h 940625"/>
                  <a:gd name="connsiteX176" fmla="*/ 365359 w 400069"/>
                  <a:gd name="connsiteY176" fmla="*/ 207803 h 940625"/>
                  <a:gd name="connsiteX177" fmla="*/ 360059 w 400069"/>
                  <a:gd name="connsiteY177" fmla="*/ 210140 h 940625"/>
                  <a:gd name="connsiteX178" fmla="*/ 348660 w 400069"/>
                  <a:gd name="connsiteY178" fmla="*/ 219658 h 940625"/>
                  <a:gd name="connsiteX179" fmla="*/ 347463 w 400069"/>
                  <a:gd name="connsiteY179" fmla="*/ 229404 h 940625"/>
                  <a:gd name="connsiteX180" fmla="*/ 346722 w 400069"/>
                  <a:gd name="connsiteY180" fmla="*/ 239321 h 940625"/>
                  <a:gd name="connsiteX181" fmla="*/ 342847 w 400069"/>
                  <a:gd name="connsiteY181" fmla="*/ 275000 h 940625"/>
                  <a:gd name="connsiteX182" fmla="*/ 340966 w 400069"/>
                  <a:gd name="connsiteY182" fmla="*/ 281212 h 940625"/>
                  <a:gd name="connsiteX183" fmla="*/ 336691 w 400069"/>
                  <a:gd name="connsiteY183" fmla="*/ 284917 h 940625"/>
                  <a:gd name="connsiteX184" fmla="*/ 335323 w 400069"/>
                  <a:gd name="connsiteY184" fmla="*/ 297912 h 940625"/>
                  <a:gd name="connsiteX185" fmla="*/ 180355 w 400069"/>
                  <a:gd name="connsiteY185" fmla="*/ 915335 h 940625"/>
                  <a:gd name="connsiteX186" fmla="*/ 178474 w 400069"/>
                  <a:gd name="connsiteY186" fmla="*/ 914936 h 940625"/>
                  <a:gd name="connsiteX187" fmla="*/ 164510 w 400069"/>
                  <a:gd name="connsiteY187" fmla="*/ 913056 h 940625"/>
                  <a:gd name="connsiteX188" fmla="*/ 159437 w 400069"/>
                  <a:gd name="connsiteY188" fmla="*/ 913056 h 940625"/>
                  <a:gd name="connsiteX189" fmla="*/ 150717 w 400069"/>
                  <a:gd name="connsiteY189" fmla="*/ 915050 h 940625"/>
                  <a:gd name="connsiteX190" fmla="*/ 147469 w 400069"/>
                  <a:gd name="connsiteY190" fmla="*/ 912086 h 940625"/>
                  <a:gd name="connsiteX191" fmla="*/ 142168 w 400069"/>
                  <a:gd name="connsiteY191" fmla="*/ 912086 h 940625"/>
                  <a:gd name="connsiteX192" fmla="*/ 139261 w 400069"/>
                  <a:gd name="connsiteY192" fmla="*/ 907869 h 940625"/>
                  <a:gd name="connsiteX193" fmla="*/ 133277 w 400069"/>
                  <a:gd name="connsiteY193" fmla="*/ 906558 h 940625"/>
                  <a:gd name="connsiteX194" fmla="*/ 129800 w 400069"/>
                  <a:gd name="connsiteY194" fmla="*/ 897268 h 940625"/>
                  <a:gd name="connsiteX195" fmla="*/ 125754 w 400069"/>
                  <a:gd name="connsiteY195" fmla="*/ 894817 h 940625"/>
                  <a:gd name="connsiteX196" fmla="*/ 125754 w 400069"/>
                  <a:gd name="connsiteY196" fmla="*/ 893107 h 940625"/>
                  <a:gd name="connsiteX197" fmla="*/ 125754 w 400069"/>
                  <a:gd name="connsiteY197" fmla="*/ 879998 h 940625"/>
                  <a:gd name="connsiteX198" fmla="*/ 115495 w 400069"/>
                  <a:gd name="connsiteY198" fmla="*/ 874869 h 940625"/>
                  <a:gd name="connsiteX199" fmla="*/ 109111 w 400069"/>
                  <a:gd name="connsiteY199" fmla="*/ 873273 h 940625"/>
                  <a:gd name="connsiteX200" fmla="*/ 108313 w 400069"/>
                  <a:gd name="connsiteY200" fmla="*/ 871278 h 940625"/>
                  <a:gd name="connsiteX201" fmla="*/ 107344 w 400069"/>
                  <a:gd name="connsiteY201" fmla="*/ 859879 h 940625"/>
                  <a:gd name="connsiteX202" fmla="*/ 106888 w 400069"/>
                  <a:gd name="connsiteY202" fmla="*/ 854636 h 940625"/>
                  <a:gd name="connsiteX203" fmla="*/ 100163 w 400069"/>
                  <a:gd name="connsiteY203" fmla="*/ 850646 h 940625"/>
                  <a:gd name="connsiteX204" fmla="*/ 100163 w 400069"/>
                  <a:gd name="connsiteY204" fmla="*/ 850646 h 940625"/>
                  <a:gd name="connsiteX205" fmla="*/ 101588 w 400069"/>
                  <a:gd name="connsiteY205" fmla="*/ 876921 h 940625"/>
                  <a:gd name="connsiteX206" fmla="*/ 103583 w 400069"/>
                  <a:gd name="connsiteY206" fmla="*/ 898294 h 940625"/>
                  <a:gd name="connsiteX207" fmla="*/ 104894 w 400069"/>
                  <a:gd name="connsiteY207" fmla="*/ 908097 h 940625"/>
                  <a:gd name="connsiteX208" fmla="*/ 117774 w 400069"/>
                  <a:gd name="connsiteY208" fmla="*/ 933403 h 940625"/>
                  <a:gd name="connsiteX209" fmla="*/ 113557 w 400069"/>
                  <a:gd name="connsiteY209" fmla="*/ 926221 h 940625"/>
                  <a:gd name="connsiteX210" fmla="*/ 120721 w 400069"/>
                  <a:gd name="connsiteY210" fmla="*/ 926574 h 940625"/>
                  <a:gd name="connsiteX211" fmla="*/ 121650 w 400069"/>
                  <a:gd name="connsiteY211" fmla="*/ 931921 h 940625"/>
                  <a:gd name="connsiteX212" fmla="*/ 128489 w 400069"/>
                  <a:gd name="connsiteY212" fmla="*/ 933232 h 940625"/>
                  <a:gd name="connsiteX213" fmla="*/ 130097 w 400069"/>
                  <a:gd name="connsiteY213" fmla="*/ 939307 h 940625"/>
                  <a:gd name="connsiteX214" fmla="*/ 130085 w 400069"/>
                  <a:gd name="connsiteY214" fmla="*/ 939330 h 940625"/>
                  <a:gd name="connsiteX215" fmla="*/ 140230 w 400069"/>
                  <a:gd name="connsiteY215" fmla="*/ 940584 h 940625"/>
                  <a:gd name="connsiteX216" fmla="*/ 141370 w 400069"/>
                  <a:gd name="connsiteY216" fmla="*/ 931864 h 940625"/>
                  <a:gd name="connsiteX217" fmla="*/ 146101 w 400069"/>
                  <a:gd name="connsiteY217" fmla="*/ 934087 h 940625"/>
                  <a:gd name="connsiteX218" fmla="*/ 150831 w 400069"/>
                  <a:gd name="connsiteY218" fmla="*/ 936423 h 940625"/>
                  <a:gd name="connsiteX219" fmla="*/ 154251 w 400069"/>
                  <a:gd name="connsiteY219" fmla="*/ 933289 h 940625"/>
                  <a:gd name="connsiteX220" fmla="*/ 157728 w 400069"/>
                  <a:gd name="connsiteY220" fmla="*/ 933289 h 940625"/>
                  <a:gd name="connsiteX221" fmla="*/ 158696 w 400069"/>
                  <a:gd name="connsiteY221" fmla="*/ 926563 h 940625"/>
                  <a:gd name="connsiteX222" fmla="*/ 171463 w 400069"/>
                  <a:gd name="connsiteY222" fmla="*/ 926221 h 940625"/>
                  <a:gd name="connsiteX223" fmla="*/ 180754 w 400069"/>
                  <a:gd name="connsiteY223" fmla="*/ 923827 h 940625"/>
                  <a:gd name="connsiteX224" fmla="*/ 180355 w 400069"/>
                  <a:gd name="connsiteY224" fmla="*/ 915335 h 94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400069" h="940625">
                    <a:moveTo>
                      <a:pt x="335323" y="297912"/>
                    </a:moveTo>
                    <a:cubicBezTo>
                      <a:pt x="335323" y="298254"/>
                      <a:pt x="335323" y="298595"/>
                      <a:pt x="335323" y="298937"/>
                    </a:cubicBezTo>
                    <a:lnTo>
                      <a:pt x="335323" y="298937"/>
                    </a:lnTo>
                    <a:cubicBezTo>
                      <a:pt x="333750" y="302602"/>
                      <a:pt x="333876" y="306774"/>
                      <a:pt x="335665" y="310336"/>
                    </a:cubicBezTo>
                    <a:cubicBezTo>
                      <a:pt x="336691" y="312274"/>
                      <a:pt x="338173" y="314269"/>
                      <a:pt x="337603" y="316036"/>
                    </a:cubicBezTo>
                    <a:cubicBezTo>
                      <a:pt x="337033" y="317803"/>
                      <a:pt x="336007" y="318372"/>
                      <a:pt x="335038" y="319455"/>
                    </a:cubicBezTo>
                    <a:cubicBezTo>
                      <a:pt x="332166" y="322499"/>
                      <a:pt x="330935" y="326745"/>
                      <a:pt x="331733" y="330854"/>
                    </a:cubicBezTo>
                    <a:cubicBezTo>
                      <a:pt x="338059" y="333476"/>
                      <a:pt x="345297" y="331595"/>
                      <a:pt x="352023" y="332792"/>
                    </a:cubicBezTo>
                    <a:cubicBezTo>
                      <a:pt x="358748" y="333989"/>
                      <a:pt x="365417" y="341797"/>
                      <a:pt x="361199" y="347155"/>
                    </a:cubicBezTo>
                    <a:cubicBezTo>
                      <a:pt x="360116" y="348523"/>
                      <a:pt x="358520" y="349378"/>
                      <a:pt x="357494" y="350745"/>
                    </a:cubicBezTo>
                    <a:cubicBezTo>
                      <a:pt x="353903" y="355533"/>
                      <a:pt x="358805" y="362144"/>
                      <a:pt x="363992" y="365165"/>
                    </a:cubicBezTo>
                    <a:cubicBezTo>
                      <a:pt x="369178" y="368186"/>
                      <a:pt x="375391" y="370865"/>
                      <a:pt x="376530" y="377020"/>
                    </a:cubicBezTo>
                    <a:cubicBezTo>
                      <a:pt x="377613" y="383859"/>
                      <a:pt x="370432" y="388818"/>
                      <a:pt x="364391" y="392295"/>
                    </a:cubicBezTo>
                    <a:cubicBezTo>
                      <a:pt x="358349" y="395771"/>
                      <a:pt x="351681" y="401984"/>
                      <a:pt x="354246" y="408424"/>
                    </a:cubicBezTo>
                    <a:cubicBezTo>
                      <a:pt x="346511" y="413964"/>
                      <a:pt x="338395" y="418951"/>
                      <a:pt x="329966" y="423357"/>
                    </a:cubicBezTo>
                    <a:cubicBezTo>
                      <a:pt x="324722" y="426150"/>
                      <a:pt x="319365" y="428657"/>
                      <a:pt x="313950" y="431222"/>
                    </a:cubicBezTo>
                    <a:lnTo>
                      <a:pt x="308251" y="434015"/>
                    </a:lnTo>
                    <a:cubicBezTo>
                      <a:pt x="296168" y="439714"/>
                      <a:pt x="283401" y="445414"/>
                      <a:pt x="270121" y="444331"/>
                    </a:cubicBezTo>
                    <a:cubicBezTo>
                      <a:pt x="268269" y="444291"/>
                      <a:pt x="266468" y="443715"/>
                      <a:pt x="264935" y="442678"/>
                    </a:cubicBezTo>
                    <a:cubicBezTo>
                      <a:pt x="263755" y="441492"/>
                      <a:pt x="262723" y="440176"/>
                      <a:pt x="261857" y="438745"/>
                    </a:cubicBezTo>
                    <a:cubicBezTo>
                      <a:pt x="258181" y="434208"/>
                      <a:pt x="251746" y="433023"/>
                      <a:pt x="246696" y="435953"/>
                    </a:cubicBezTo>
                    <a:cubicBezTo>
                      <a:pt x="244531" y="439122"/>
                      <a:pt x="243619" y="442980"/>
                      <a:pt x="244132" y="446782"/>
                    </a:cubicBezTo>
                    <a:cubicBezTo>
                      <a:pt x="249193" y="447796"/>
                      <a:pt x="252476" y="452721"/>
                      <a:pt x="251456" y="457782"/>
                    </a:cubicBezTo>
                    <a:cubicBezTo>
                      <a:pt x="251433" y="457918"/>
                      <a:pt x="251404" y="458050"/>
                      <a:pt x="251370" y="458181"/>
                    </a:cubicBezTo>
                    <a:cubicBezTo>
                      <a:pt x="250230" y="462512"/>
                      <a:pt x="246012" y="465533"/>
                      <a:pt x="245101" y="469922"/>
                    </a:cubicBezTo>
                    <a:cubicBezTo>
                      <a:pt x="243505" y="478129"/>
                      <a:pt x="254220" y="486450"/>
                      <a:pt x="249831" y="493574"/>
                    </a:cubicBezTo>
                    <a:cubicBezTo>
                      <a:pt x="244132" y="493061"/>
                      <a:pt x="242992" y="501212"/>
                      <a:pt x="238945" y="504973"/>
                    </a:cubicBezTo>
                    <a:cubicBezTo>
                      <a:pt x="234899" y="508735"/>
                      <a:pt x="227546" y="507310"/>
                      <a:pt x="221847" y="504574"/>
                    </a:cubicBezTo>
                    <a:cubicBezTo>
                      <a:pt x="216147" y="501839"/>
                      <a:pt x="210448" y="498362"/>
                      <a:pt x="204748" y="499844"/>
                    </a:cubicBezTo>
                    <a:lnTo>
                      <a:pt x="202525" y="493232"/>
                    </a:lnTo>
                    <a:cubicBezTo>
                      <a:pt x="197595" y="492794"/>
                      <a:pt x="192625" y="493044"/>
                      <a:pt x="187764" y="493973"/>
                    </a:cubicBezTo>
                    <a:cubicBezTo>
                      <a:pt x="186880" y="504985"/>
                      <a:pt x="184834" y="515876"/>
                      <a:pt x="181665" y="526460"/>
                    </a:cubicBezTo>
                    <a:cubicBezTo>
                      <a:pt x="186402" y="528774"/>
                      <a:pt x="190591" y="532052"/>
                      <a:pt x="193976" y="536092"/>
                    </a:cubicBezTo>
                    <a:cubicBezTo>
                      <a:pt x="197396" y="539968"/>
                      <a:pt x="202736" y="541541"/>
                      <a:pt x="207712" y="540139"/>
                    </a:cubicBezTo>
                    <a:cubicBezTo>
                      <a:pt x="211759" y="538372"/>
                      <a:pt x="215007" y="533129"/>
                      <a:pt x="219111" y="534440"/>
                    </a:cubicBezTo>
                    <a:cubicBezTo>
                      <a:pt x="222553" y="539712"/>
                      <a:pt x="221072" y="546773"/>
                      <a:pt x="215805" y="550216"/>
                    </a:cubicBezTo>
                    <a:cubicBezTo>
                      <a:pt x="212938" y="552091"/>
                      <a:pt x="209382" y="552575"/>
                      <a:pt x="206116" y="551538"/>
                    </a:cubicBezTo>
                    <a:cubicBezTo>
                      <a:pt x="200987" y="549714"/>
                      <a:pt x="196313" y="544186"/>
                      <a:pt x="191297" y="546294"/>
                    </a:cubicBezTo>
                    <a:cubicBezTo>
                      <a:pt x="191588" y="550911"/>
                      <a:pt x="192665" y="555436"/>
                      <a:pt x="194489" y="559688"/>
                    </a:cubicBezTo>
                    <a:cubicBezTo>
                      <a:pt x="192153" y="557921"/>
                      <a:pt x="188830" y="558383"/>
                      <a:pt x="187063" y="560720"/>
                    </a:cubicBezTo>
                    <a:cubicBezTo>
                      <a:pt x="186972" y="560845"/>
                      <a:pt x="186880" y="560976"/>
                      <a:pt x="186795" y="561113"/>
                    </a:cubicBezTo>
                    <a:cubicBezTo>
                      <a:pt x="185262" y="563689"/>
                      <a:pt x="184527" y="566664"/>
                      <a:pt x="184686" y="569662"/>
                    </a:cubicBezTo>
                    <a:lnTo>
                      <a:pt x="183603" y="592460"/>
                    </a:lnTo>
                    <a:cubicBezTo>
                      <a:pt x="183940" y="595942"/>
                      <a:pt x="182657" y="599391"/>
                      <a:pt x="180127" y="601807"/>
                    </a:cubicBezTo>
                    <a:cubicBezTo>
                      <a:pt x="178588" y="602634"/>
                      <a:pt x="176906" y="603158"/>
                      <a:pt x="175168" y="603346"/>
                    </a:cubicBezTo>
                    <a:cubicBezTo>
                      <a:pt x="166459" y="605107"/>
                      <a:pt x="158668" y="609940"/>
                      <a:pt x="153225" y="616968"/>
                    </a:cubicBezTo>
                    <a:cubicBezTo>
                      <a:pt x="152370" y="618353"/>
                      <a:pt x="151247" y="619555"/>
                      <a:pt x="149919" y="620502"/>
                    </a:cubicBezTo>
                    <a:cubicBezTo>
                      <a:pt x="147913" y="621288"/>
                      <a:pt x="145799" y="621790"/>
                      <a:pt x="143650" y="621984"/>
                    </a:cubicBezTo>
                    <a:cubicBezTo>
                      <a:pt x="136526" y="623636"/>
                      <a:pt x="132992" y="631729"/>
                      <a:pt x="132251" y="639082"/>
                    </a:cubicBezTo>
                    <a:cubicBezTo>
                      <a:pt x="132747" y="646434"/>
                      <a:pt x="132388" y="653815"/>
                      <a:pt x="131168" y="661082"/>
                    </a:cubicBezTo>
                    <a:cubicBezTo>
                      <a:pt x="134457" y="660421"/>
                      <a:pt x="137854" y="661572"/>
                      <a:pt x="140059" y="664103"/>
                    </a:cubicBezTo>
                    <a:cubicBezTo>
                      <a:pt x="142134" y="666650"/>
                      <a:pt x="144419" y="669016"/>
                      <a:pt x="146899" y="671170"/>
                    </a:cubicBezTo>
                    <a:cubicBezTo>
                      <a:pt x="153909" y="675957"/>
                      <a:pt x="164909" y="672994"/>
                      <a:pt x="170609" y="679320"/>
                    </a:cubicBezTo>
                    <a:cubicBezTo>
                      <a:pt x="174131" y="683920"/>
                      <a:pt x="173259" y="690502"/>
                      <a:pt x="168659" y="694025"/>
                    </a:cubicBezTo>
                    <a:cubicBezTo>
                      <a:pt x="167542" y="694874"/>
                      <a:pt x="166271" y="695495"/>
                      <a:pt x="164909" y="695848"/>
                    </a:cubicBezTo>
                    <a:cubicBezTo>
                      <a:pt x="163564" y="695928"/>
                      <a:pt x="162236" y="696219"/>
                      <a:pt x="160976" y="696704"/>
                    </a:cubicBezTo>
                    <a:cubicBezTo>
                      <a:pt x="156588" y="699097"/>
                      <a:pt x="159266" y="708102"/>
                      <a:pt x="154536" y="709584"/>
                    </a:cubicBezTo>
                    <a:cubicBezTo>
                      <a:pt x="152370" y="707646"/>
                      <a:pt x="148837" y="709584"/>
                      <a:pt x="147412" y="712149"/>
                    </a:cubicBezTo>
                    <a:cubicBezTo>
                      <a:pt x="146443" y="714879"/>
                      <a:pt x="145263" y="717529"/>
                      <a:pt x="143878" y="720071"/>
                    </a:cubicBezTo>
                    <a:cubicBezTo>
                      <a:pt x="142670" y="721376"/>
                      <a:pt x="141376" y="722590"/>
                      <a:pt x="140002" y="723719"/>
                    </a:cubicBezTo>
                    <a:cubicBezTo>
                      <a:pt x="137004" y="726865"/>
                      <a:pt x="136053" y="731436"/>
                      <a:pt x="137551" y="735517"/>
                    </a:cubicBezTo>
                    <a:cubicBezTo>
                      <a:pt x="131071" y="734383"/>
                      <a:pt x="124899" y="738714"/>
                      <a:pt x="123764" y="745195"/>
                    </a:cubicBezTo>
                    <a:cubicBezTo>
                      <a:pt x="123662" y="745764"/>
                      <a:pt x="123605" y="746340"/>
                      <a:pt x="123588" y="746916"/>
                    </a:cubicBezTo>
                    <a:cubicBezTo>
                      <a:pt x="123588" y="750108"/>
                      <a:pt x="124842" y="753812"/>
                      <a:pt x="122619" y="756035"/>
                    </a:cubicBezTo>
                    <a:cubicBezTo>
                      <a:pt x="121502" y="756930"/>
                      <a:pt x="120225" y="757608"/>
                      <a:pt x="118857" y="758030"/>
                    </a:cubicBezTo>
                    <a:cubicBezTo>
                      <a:pt x="116201" y="759335"/>
                      <a:pt x="114155" y="761626"/>
                      <a:pt x="113158" y="764413"/>
                    </a:cubicBezTo>
                    <a:cubicBezTo>
                      <a:pt x="112793" y="766015"/>
                      <a:pt x="112274" y="767582"/>
                      <a:pt x="111619" y="769087"/>
                    </a:cubicBezTo>
                    <a:cubicBezTo>
                      <a:pt x="109339" y="773077"/>
                      <a:pt x="103697" y="773190"/>
                      <a:pt x="99764" y="775584"/>
                    </a:cubicBezTo>
                    <a:cubicBezTo>
                      <a:pt x="95518" y="778309"/>
                      <a:pt x="93569" y="783506"/>
                      <a:pt x="94976" y="788351"/>
                    </a:cubicBezTo>
                    <a:cubicBezTo>
                      <a:pt x="95774" y="790802"/>
                      <a:pt x="97427" y="792968"/>
                      <a:pt x="98225" y="795418"/>
                    </a:cubicBezTo>
                    <a:cubicBezTo>
                      <a:pt x="101075" y="803854"/>
                      <a:pt x="93723" y="813201"/>
                      <a:pt x="96458" y="821750"/>
                    </a:cubicBezTo>
                    <a:cubicBezTo>
                      <a:pt x="97706" y="824947"/>
                      <a:pt x="99656" y="827831"/>
                      <a:pt x="102158" y="830185"/>
                    </a:cubicBezTo>
                    <a:lnTo>
                      <a:pt x="110707" y="839361"/>
                    </a:lnTo>
                    <a:cubicBezTo>
                      <a:pt x="106210" y="840154"/>
                      <a:pt x="101577" y="839304"/>
                      <a:pt x="97655" y="836967"/>
                    </a:cubicBezTo>
                    <a:cubicBezTo>
                      <a:pt x="95660" y="835372"/>
                      <a:pt x="94008" y="833320"/>
                      <a:pt x="91956" y="831895"/>
                    </a:cubicBezTo>
                    <a:cubicBezTo>
                      <a:pt x="89830" y="830316"/>
                      <a:pt x="86986" y="830117"/>
                      <a:pt x="84660" y="831382"/>
                    </a:cubicBezTo>
                    <a:cubicBezTo>
                      <a:pt x="83760" y="832083"/>
                      <a:pt x="83116" y="833069"/>
                      <a:pt x="82837" y="834175"/>
                    </a:cubicBezTo>
                    <a:cubicBezTo>
                      <a:pt x="76026" y="831217"/>
                      <a:pt x="68514" y="830265"/>
                      <a:pt x="61179" y="831439"/>
                    </a:cubicBezTo>
                    <a:cubicBezTo>
                      <a:pt x="58437" y="832345"/>
                      <a:pt x="55496" y="832465"/>
                      <a:pt x="52686" y="831781"/>
                    </a:cubicBezTo>
                    <a:cubicBezTo>
                      <a:pt x="50577" y="830869"/>
                      <a:pt x="49153" y="828817"/>
                      <a:pt x="46987" y="827848"/>
                    </a:cubicBezTo>
                    <a:cubicBezTo>
                      <a:pt x="43966" y="826424"/>
                      <a:pt x="39977" y="827278"/>
                      <a:pt x="37583" y="825056"/>
                    </a:cubicBezTo>
                    <a:cubicBezTo>
                      <a:pt x="36369" y="823659"/>
                      <a:pt x="35668" y="821887"/>
                      <a:pt x="35588" y="820040"/>
                    </a:cubicBezTo>
                    <a:cubicBezTo>
                      <a:pt x="34904" y="814341"/>
                      <a:pt x="35930" y="807387"/>
                      <a:pt x="32111" y="802942"/>
                    </a:cubicBezTo>
                    <a:cubicBezTo>
                      <a:pt x="28293" y="798496"/>
                      <a:pt x="21852" y="797584"/>
                      <a:pt x="19743" y="792569"/>
                    </a:cubicBezTo>
                    <a:cubicBezTo>
                      <a:pt x="19162" y="790414"/>
                      <a:pt x="18729" y="788226"/>
                      <a:pt x="18433" y="786014"/>
                    </a:cubicBezTo>
                    <a:cubicBezTo>
                      <a:pt x="17065" y="780714"/>
                      <a:pt x="12049" y="777408"/>
                      <a:pt x="7775" y="774102"/>
                    </a:cubicBezTo>
                    <a:cubicBezTo>
                      <a:pt x="3500" y="770797"/>
                      <a:pt x="-832" y="766009"/>
                      <a:pt x="137" y="760651"/>
                    </a:cubicBezTo>
                    <a:cubicBezTo>
                      <a:pt x="1562" y="752615"/>
                      <a:pt x="13531" y="749766"/>
                      <a:pt x="14500" y="741729"/>
                    </a:cubicBezTo>
                    <a:cubicBezTo>
                      <a:pt x="14785" y="739051"/>
                      <a:pt x="13873" y="736030"/>
                      <a:pt x="15298" y="733864"/>
                    </a:cubicBezTo>
                    <a:cubicBezTo>
                      <a:pt x="16723" y="731698"/>
                      <a:pt x="21339" y="731128"/>
                      <a:pt x="23277" y="728507"/>
                    </a:cubicBezTo>
                    <a:cubicBezTo>
                      <a:pt x="25215" y="725885"/>
                      <a:pt x="23277" y="720983"/>
                      <a:pt x="22422" y="717108"/>
                    </a:cubicBezTo>
                    <a:cubicBezTo>
                      <a:pt x="20199" y="705709"/>
                      <a:pt x="32282" y="697502"/>
                      <a:pt x="34904" y="686160"/>
                    </a:cubicBezTo>
                    <a:lnTo>
                      <a:pt x="43282" y="649569"/>
                    </a:lnTo>
                    <a:cubicBezTo>
                      <a:pt x="44565" y="644850"/>
                      <a:pt x="45237" y="639982"/>
                      <a:pt x="45277" y="635092"/>
                    </a:cubicBezTo>
                    <a:cubicBezTo>
                      <a:pt x="45277" y="629393"/>
                      <a:pt x="43453" y="622268"/>
                      <a:pt x="47842" y="618393"/>
                    </a:cubicBezTo>
                    <a:cubicBezTo>
                      <a:pt x="49438" y="616968"/>
                      <a:pt x="51717" y="616170"/>
                      <a:pt x="52743" y="614289"/>
                    </a:cubicBezTo>
                    <a:cubicBezTo>
                      <a:pt x="53786" y="611508"/>
                      <a:pt x="52823" y="608373"/>
                      <a:pt x="50406" y="606652"/>
                    </a:cubicBezTo>
                    <a:cubicBezTo>
                      <a:pt x="48019" y="605033"/>
                      <a:pt x="45733" y="603261"/>
                      <a:pt x="43567" y="601351"/>
                    </a:cubicBezTo>
                    <a:cubicBezTo>
                      <a:pt x="35702" y="592517"/>
                      <a:pt x="47101" y="577242"/>
                      <a:pt x="40946" y="567155"/>
                    </a:cubicBezTo>
                    <a:cubicBezTo>
                      <a:pt x="39464" y="564761"/>
                      <a:pt x="37070" y="562823"/>
                      <a:pt x="36557" y="560087"/>
                    </a:cubicBezTo>
                    <a:cubicBezTo>
                      <a:pt x="36363" y="557944"/>
                      <a:pt x="36779" y="555790"/>
                      <a:pt x="37754" y="553875"/>
                    </a:cubicBezTo>
                    <a:cubicBezTo>
                      <a:pt x="43453" y="538714"/>
                      <a:pt x="48583" y="520248"/>
                      <a:pt x="38894" y="507139"/>
                    </a:cubicBezTo>
                    <a:cubicBezTo>
                      <a:pt x="36956" y="505173"/>
                      <a:pt x="35594" y="502705"/>
                      <a:pt x="34961" y="500015"/>
                    </a:cubicBezTo>
                    <a:cubicBezTo>
                      <a:pt x="35183" y="497273"/>
                      <a:pt x="36175" y="494646"/>
                      <a:pt x="37811" y="492434"/>
                    </a:cubicBezTo>
                    <a:cubicBezTo>
                      <a:pt x="40638" y="485510"/>
                      <a:pt x="42667" y="478277"/>
                      <a:pt x="43852" y="470890"/>
                    </a:cubicBezTo>
                    <a:cubicBezTo>
                      <a:pt x="45106" y="463333"/>
                      <a:pt x="50076" y="456910"/>
                      <a:pt x="57075" y="453792"/>
                    </a:cubicBezTo>
                    <a:cubicBezTo>
                      <a:pt x="55981" y="447756"/>
                      <a:pt x="56533" y="441532"/>
                      <a:pt x="58671" y="435781"/>
                    </a:cubicBezTo>
                    <a:cubicBezTo>
                      <a:pt x="60022" y="432915"/>
                      <a:pt x="60996" y="429888"/>
                      <a:pt x="61578" y="426777"/>
                    </a:cubicBezTo>
                    <a:cubicBezTo>
                      <a:pt x="61395" y="422319"/>
                      <a:pt x="60164" y="417965"/>
                      <a:pt x="57987" y="414066"/>
                    </a:cubicBezTo>
                    <a:cubicBezTo>
                      <a:pt x="54624" y="406122"/>
                      <a:pt x="52971" y="397555"/>
                      <a:pt x="53142" y="388932"/>
                    </a:cubicBezTo>
                    <a:cubicBezTo>
                      <a:pt x="53028" y="387063"/>
                      <a:pt x="53507" y="385210"/>
                      <a:pt x="54510" y="383632"/>
                    </a:cubicBezTo>
                    <a:cubicBezTo>
                      <a:pt x="55855" y="382355"/>
                      <a:pt x="57474" y="381397"/>
                      <a:pt x="59241" y="380839"/>
                    </a:cubicBezTo>
                    <a:cubicBezTo>
                      <a:pt x="65949" y="377117"/>
                      <a:pt x="70492" y="370432"/>
                      <a:pt x="71495" y="362828"/>
                    </a:cubicBezTo>
                    <a:cubicBezTo>
                      <a:pt x="72412" y="355322"/>
                      <a:pt x="72104" y="347719"/>
                      <a:pt x="70583" y="340315"/>
                    </a:cubicBezTo>
                    <a:cubicBezTo>
                      <a:pt x="77707" y="338150"/>
                      <a:pt x="80386" y="329429"/>
                      <a:pt x="79987" y="322020"/>
                    </a:cubicBezTo>
                    <a:cubicBezTo>
                      <a:pt x="79377" y="314548"/>
                      <a:pt x="79799" y="307031"/>
                      <a:pt x="81241" y="299678"/>
                    </a:cubicBezTo>
                    <a:cubicBezTo>
                      <a:pt x="83236" y="291129"/>
                      <a:pt x="84660" y="280642"/>
                      <a:pt x="77992" y="274885"/>
                    </a:cubicBezTo>
                    <a:cubicBezTo>
                      <a:pt x="75712" y="272948"/>
                      <a:pt x="72635" y="271694"/>
                      <a:pt x="71495" y="269186"/>
                    </a:cubicBezTo>
                    <a:cubicBezTo>
                      <a:pt x="69956" y="265538"/>
                      <a:pt x="72691" y="261378"/>
                      <a:pt x="72179" y="257787"/>
                    </a:cubicBezTo>
                    <a:cubicBezTo>
                      <a:pt x="71495" y="252943"/>
                      <a:pt x="66194" y="249808"/>
                      <a:pt x="65168" y="245077"/>
                    </a:cubicBezTo>
                    <a:cubicBezTo>
                      <a:pt x="63857" y="238979"/>
                      <a:pt x="69728" y="234134"/>
                      <a:pt x="73945" y="229518"/>
                    </a:cubicBezTo>
                    <a:cubicBezTo>
                      <a:pt x="80505" y="222222"/>
                      <a:pt x="83817" y="212573"/>
                      <a:pt x="83122" y="202787"/>
                    </a:cubicBezTo>
                    <a:cubicBezTo>
                      <a:pt x="81959" y="198359"/>
                      <a:pt x="82443" y="193662"/>
                      <a:pt x="84489" y="189565"/>
                    </a:cubicBezTo>
                    <a:cubicBezTo>
                      <a:pt x="85544" y="188527"/>
                      <a:pt x="86461" y="187359"/>
                      <a:pt x="87225" y="186088"/>
                    </a:cubicBezTo>
                    <a:cubicBezTo>
                      <a:pt x="87653" y="184577"/>
                      <a:pt x="87653" y="182981"/>
                      <a:pt x="87225" y="181471"/>
                    </a:cubicBezTo>
                    <a:cubicBezTo>
                      <a:pt x="86085" y="174803"/>
                      <a:pt x="87225" y="165684"/>
                      <a:pt x="93780" y="164373"/>
                    </a:cubicBezTo>
                    <a:cubicBezTo>
                      <a:pt x="94230" y="159933"/>
                      <a:pt x="93962" y="155447"/>
                      <a:pt x="92982" y="151093"/>
                    </a:cubicBezTo>
                    <a:cubicBezTo>
                      <a:pt x="98408" y="148939"/>
                      <a:pt x="102756" y="144715"/>
                      <a:pt x="105065" y="139352"/>
                    </a:cubicBezTo>
                    <a:cubicBezTo>
                      <a:pt x="105327" y="137420"/>
                      <a:pt x="105748" y="135516"/>
                      <a:pt x="106318" y="133653"/>
                    </a:cubicBezTo>
                    <a:cubicBezTo>
                      <a:pt x="108598" y="128409"/>
                      <a:pt x="116976" y="126414"/>
                      <a:pt x="116691" y="120715"/>
                    </a:cubicBezTo>
                    <a:cubicBezTo>
                      <a:pt x="116236" y="118714"/>
                      <a:pt x="115489" y="116794"/>
                      <a:pt x="114469" y="115015"/>
                    </a:cubicBezTo>
                    <a:cubicBezTo>
                      <a:pt x="110935" y="105953"/>
                      <a:pt x="120795" y="95523"/>
                      <a:pt x="116862" y="86518"/>
                    </a:cubicBezTo>
                    <a:cubicBezTo>
                      <a:pt x="115381" y="83041"/>
                      <a:pt x="111904" y="80477"/>
                      <a:pt x="111505" y="76715"/>
                    </a:cubicBezTo>
                    <a:cubicBezTo>
                      <a:pt x="110992" y="72098"/>
                      <a:pt x="115324" y="68451"/>
                      <a:pt x="116635" y="63948"/>
                    </a:cubicBezTo>
                    <a:cubicBezTo>
                      <a:pt x="117011" y="61662"/>
                      <a:pt x="117506" y="59400"/>
                      <a:pt x="118116" y="57166"/>
                    </a:cubicBezTo>
                    <a:cubicBezTo>
                      <a:pt x="121650" y="48845"/>
                      <a:pt x="135215" y="52606"/>
                      <a:pt x="141883" y="46280"/>
                    </a:cubicBezTo>
                    <a:cubicBezTo>
                      <a:pt x="144966" y="43105"/>
                      <a:pt x="145576" y="38266"/>
                      <a:pt x="143365" y="34425"/>
                    </a:cubicBezTo>
                    <a:cubicBezTo>
                      <a:pt x="142635" y="33330"/>
                      <a:pt x="141798" y="32322"/>
                      <a:pt x="140857" y="31404"/>
                    </a:cubicBezTo>
                    <a:cubicBezTo>
                      <a:pt x="141496" y="31204"/>
                      <a:pt x="142094" y="30897"/>
                      <a:pt x="142624" y="30492"/>
                    </a:cubicBezTo>
                    <a:cubicBezTo>
                      <a:pt x="143479" y="26081"/>
                      <a:pt x="142402" y="21515"/>
                      <a:pt x="139660" y="17953"/>
                    </a:cubicBezTo>
                    <a:cubicBezTo>
                      <a:pt x="141313" y="15559"/>
                      <a:pt x="144904" y="17953"/>
                      <a:pt x="147811" y="17953"/>
                    </a:cubicBezTo>
                    <a:cubicBezTo>
                      <a:pt x="153510" y="18523"/>
                      <a:pt x="155904" y="10601"/>
                      <a:pt x="156018" y="4787"/>
                    </a:cubicBezTo>
                    <a:cubicBezTo>
                      <a:pt x="164567" y="-1368"/>
                      <a:pt x="175966" y="7808"/>
                      <a:pt x="186453" y="7466"/>
                    </a:cubicBezTo>
                    <a:cubicBezTo>
                      <a:pt x="188340" y="7158"/>
                      <a:pt x="190266" y="7158"/>
                      <a:pt x="192153" y="7466"/>
                    </a:cubicBezTo>
                    <a:cubicBezTo>
                      <a:pt x="197111" y="8891"/>
                      <a:pt x="198479" y="16186"/>
                      <a:pt x="203551" y="17611"/>
                    </a:cubicBezTo>
                    <a:cubicBezTo>
                      <a:pt x="207512" y="18221"/>
                      <a:pt x="211308" y="15770"/>
                      <a:pt x="212386" y="11912"/>
                    </a:cubicBezTo>
                    <a:cubicBezTo>
                      <a:pt x="213400" y="8190"/>
                      <a:pt x="213497" y="4280"/>
                      <a:pt x="212671" y="513"/>
                    </a:cubicBezTo>
                    <a:cubicBezTo>
                      <a:pt x="222343" y="1624"/>
                      <a:pt x="232111" y="1453"/>
                      <a:pt x="241738" y="0"/>
                    </a:cubicBezTo>
                    <a:cubicBezTo>
                      <a:pt x="243835" y="4235"/>
                      <a:pt x="244434" y="9056"/>
                      <a:pt x="243448" y="13679"/>
                    </a:cubicBezTo>
                    <a:lnTo>
                      <a:pt x="254049" y="17497"/>
                    </a:lnTo>
                    <a:cubicBezTo>
                      <a:pt x="253336" y="19566"/>
                      <a:pt x="253336" y="21812"/>
                      <a:pt x="254049" y="23881"/>
                    </a:cubicBezTo>
                    <a:cubicBezTo>
                      <a:pt x="255702" y="27813"/>
                      <a:pt x="260546" y="29124"/>
                      <a:pt x="264422" y="31005"/>
                    </a:cubicBezTo>
                    <a:cubicBezTo>
                      <a:pt x="268297" y="32886"/>
                      <a:pt x="272002" y="37503"/>
                      <a:pt x="269551" y="41036"/>
                    </a:cubicBezTo>
                    <a:cubicBezTo>
                      <a:pt x="273142" y="37901"/>
                      <a:pt x="278841" y="40751"/>
                      <a:pt x="282033" y="44342"/>
                    </a:cubicBezTo>
                    <a:cubicBezTo>
                      <a:pt x="285225" y="47932"/>
                      <a:pt x="288360" y="52378"/>
                      <a:pt x="293147" y="52834"/>
                    </a:cubicBezTo>
                    <a:cubicBezTo>
                      <a:pt x="295068" y="52640"/>
                      <a:pt x="297006" y="52834"/>
                      <a:pt x="298847" y="53404"/>
                    </a:cubicBezTo>
                    <a:cubicBezTo>
                      <a:pt x="301012" y="54544"/>
                      <a:pt x="301582" y="57565"/>
                      <a:pt x="303691" y="58762"/>
                    </a:cubicBezTo>
                    <a:cubicBezTo>
                      <a:pt x="305800" y="59959"/>
                      <a:pt x="309391" y="58420"/>
                      <a:pt x="312411" y="59274"/>
                    </a:cubicBezTo>
                    <a:cubicBezTo>
                      <a:pt x="315432" y="60129"/>
                      <a:pt x="317142" y="65430"/>
                      <a:pt x="320619" y="67026"/>
                    </a:cubicBezTo>
                    <a:cubicBezTo>
                      <a:pt x="323069" y="68109"/>
                      <a:pt x="326318" y="67026"/>
                      <a:pt x="328598" y="68165"/>
                    </a:cubicBezTo>
                    <a:cubicBezTo>
                      <a:pt x="330878" y="69305"/>
                      <a:pt x="332758" y="72668"/>
                      <a:pt x="334297" y="75233"/>
                    </a:cubicBezTo>
                    <a:cubicBezTo>
                      <a:pt x="335836" y="77798"/>
                      <a:pt x="339997" y="79963"/>
                      <a:pt x="342106" y="77855"/>
                    </a:cubicBezTo>
                    <a:cubicBezTo>
                      <a:pt x="343901" y="83891"/>
                      <a:pt x="350244" y="87327"/>
                      <a:pt x="356280" y="85532"/>
                    </a:cubicBezTo>
                    <a:cubicBezTo>
                      <a:pt x="356326" y="85521"/>
                      <a:pt x="356366" y="85504"/>
                      <a:pt x="356411" y="85492"/>
                    </a:cubicBezTo>
                    <a:cubicBezTo>
                      <a:pt x="358566" y="88330"/>
                      <a:pt x="358087" y="92360"/>
                      <a:pt x="355328" y="94611"/>
                    </a:cubicBezTo>
                    <a:cubicBezTo>
                      <a:pt x="352878" y="97062"/>
                      <a:pt x="349629" y="98373"/>
                      <a:pt x="346950" y="100311"/>
                    </a:cubicBezTo>
                    <a:cubicBezTo>
                      <a:pt x="340977" y="105999"/>
                      <a:pt x="340647" y="115420"/>
                      <a:pt x="346209" y="121513"/>
                    </a:cubicBezTo>
                    <a:cubicBezTo>
                      <a:pt x="343445" y="122476"/>
                      <a:pt x="341194" y="124539"/>
                      <a:pt x="339997" y="127212"/>
                    </a:cubicBezTo>
                    <a:cubicBezTo>
                      <a:pt x="347703" y="133858"/>
                      <a:pt x="357580" y="137448"/>
                      <a:pt x="367753" y="137300"/>
                    </a:cubicBezTo>
                    <a:cubicBezTo>
                      <a:pt x="372547" y="136759"/>
                      <a:pt x="377380" y="136759"/>
                      <a:pt x="382173" y="137300"/>
                    </a:cubicBezTo>
                    <a:cubicBezTo>
                      <a:pt x="387109" y="137921"/>
                      <a:pt x="390990" y="141820"/>
                      <a:pt x="391577" y="146761"/>
                    </a:cubicBezTo>
                    <a:cubicBezTo>
                      <a:pt x="391577" y="149782"/>
                      <a:pt x="389810" y="152803"/>
                      <a:pt x="390950" y="155596"/>
                    </a:cubicBezTo>
                    <a:cubicBezTo>
                      <a:pt x="391748" y="157077"/>
                      <a:pt x="392928" y="158320"/>
                      <a:pt x="394370" y="159186"/>
                    </a:cubicBezTo>
                    <a:lnTo>
                      <a:pt x="400069" y="163062"/>
                    </a:lnTo>
                    <a:cubicBezTo>
                      <a:pt x="397618" y="164316"/>
                      <a:pt x="394940" y="165057"/>
                      <a:pt x="392432" y="166196"/>
                    </a:cubicBezTo>
                    <a:cubicBezTo>
                      <a:pt x="382800" y="170642"/>
                      <a:pt x="377613" y="181015"/>
                      <a:pt x="373111" y="190704"/>
                    </a:cubicBezTo>
                    <a:cubicBezTo>
                      <a:pt x="370546" y="196404"/>
                      <a:pt x="367924" y="202103"/>
                      <a:pt x="365359" y="207803"/>
                    </a:cubicBezTo>
                    <a:cubicBezTo>
                      <a:pt x="363593" y="208544"/>
                      <a:pt x="361769" y="209284"/>
                      <a:pt x="360059" y="210140"/>
                    </a:cubicBezTo>
                    <a:cubicBezTo>
                      <a:pt x="355220" y="211804"/>
                      <a:pt x="351162" y="215195"/>
                      <a:pt x="348660" y="219658"/>
                    </a:cubicBezTo>
                    <a:cubicBezTo>
                      <a:pt x="347685" y="222810"/>
                      <a:pt x="347281" y="226109"/>
                      <a:pt x="347463" y="229404"/>
                    </a:cubicBezTo>
                    <a:cubicBezTo>
                      <a:pt x="347463" y="232710"/>
                      <a:pt x="347064" y="236015"/>
                      <a:pt x="346722" y="239321"/>
                    </a:cubicBezTo>
                    <a:cubicBezTo>
                      <a:pt x="345411" y="251176"/>
                      <a:pt x="344157" y="263088"/>
                      <a:pt x="342847" y="275000"/>
                    </a:cubicBezTo>
                    <a:cubicBezTo>
                      <a:pt x="342818" y="277205"/>
                      <a:pt x="342168" y="279360"/>
                      <a:pt x="340966" y="281212"/>
                    </a:cubicBezTo>
                    <a:cubicBezTo>
                      <a:pt x="339609" y="282523"/>
                      <a:pt x="338179" y="283760"/>
                      <a:pt x="336691" y="284917"/>
                    </a:cubicBezTo>
                    <a:cubicBezTo>
                      <a:pt x="334109" y="288752"/>
                      <a:pt x="333602" y="293620"/>
                      <a:pt x="335323" y="297912"/>
                    </a:cubicBezTo>
                    <a:close/>
                    <a:moveTo>
                      <a:pt x="180355" y="915335"/>
                    </a:moveTo>
                    <a:cubicBezTo>
                      <a:pt x="179750" y="915113"/>
                      <a:pt x="179118" y="914982"/>
                      <a:pt x="178474" y="914936"/>
                    </a:cubicBezTo>
                    <a:lnTo>
                      <a:pt x="164510" y="913056"/>
                    </a:lnTo>
                    <a:cubicBezTo>
                      <a:pt x="162823" y="912856"/>
                      <a:pt x="161125" y="912856"/>
                      <a:pt x="159437" y="913056"/>
                    </a:cubicBezTo>
                    <a:cubicBezTo>
                      <a:pt x="156474" y="913568"/>
                      <a:pt x="153738" y="915620"/>
                      <a:pt x="150717" y="915050"/>
                    </a:cubicBezTo>
                    <a:cubicBezTo>
                      <a:pt x="151572" y="913455"/>
                      <a:pt x="149236" y="911916"/>
                      <a:pt x="147469" y="912086"/>
                    </a:cubicBezTo>
                    <a:cubicBezTo>
                      <a:pt x="145702" y="912258"/>
                      <a:pt x="143707" y="913112"/>
                      <a:pt x="142168" y="912086"/>
                    </a:cubicBezTo>
                    <a:cubicBezTo>
                      <a:pt x="143479" y="910491"/>
                      <a:pt x="141313" y="908154"/>
                      <a:pt x="139261" y="907869"/>
                    </a:cubicBezTo>
                    <a:cubicBezTo>
                      <a:pt x="137210" y="907584"/>
                      <a:pt x="134816" y="907869"/>
                      <a:pt x="133277" y="906558"/>
                    </a:cubicBezTo>
                    <a:cubicBezTo>
                      <a:pt x="130712" y="904278"/>
                      <a:pt x="132479" y="899263"/>
                      <a:pt x="129800" y="897268"/>
                    </a:cubicBezTo>
                    <a:cubicBezTo>
                      <a:pt x="128489" y="896299"/>
                      <a:pt x="126438" y="896242"/>
                      <a:pt x="125754" y="894817"/>
                    </a:cubicBezTo>
                    <a:cubicBezTo>
                      <a:pt x="125640" y="894253"/>
                      <a:pt x="125640" y="893672"/>
                      <a:pt x="125754" y="893107"/>
                    </a:cubicBezTo>
                    <a:cubicBezTo>
                      <a:pt x="125754" y="888719"/>
                      <a:pt x="125754" y="884330"/>
                      <a:pt x="125754" y="879998"/>
                    </a:cubicBezTo>
                    <a:cubicBezTo>
                      <a:pt x="123234" y="876887"/>
                      <a:pt x="119496" y="875017"/>
                      <a:pt x="115495" y="874869"/>
                    </a:cubicBezTo>
                    <a:cubicBezTo>
                      <a:pt x="113215" y="874869"/>
                      <a:pt x="110422" y="874869"/>
                      <a:pt x="109111" y="873273"/>
                    </a:cubicBezTo>
                    <a:cubicBezTo>
                      <a:pt x="108695" y="872680"/>
                      <a:pt x="108422" y="871996"/>
                      <a:pt x="108313" y="871278"/>
                    </a:cubicBezTo>
                    <a:cubicBezTo>
                      <a:pt x="107464" y="867540"/>
                      <a:pt x="107139" y="863704"/>
                      <a:pt x="107344" y="859879"/>
                    </a:cubicBezTo>
                    <a:cubicBezTo>
                      <a:pt x="107601" y="858118"/>
                      <a:pt x="107447" y="856323"/>
                      <a:pt x="106888" y="854636"/>
                    </a:cubicBezTo>
                    <a:cubicBezTo>
                      <a:pt x="105481" y="852242"/>
                      <a:pt x="102939" y="850732"/>
                      <a:pt x="100163" y="850646"/>
                    </a:cubicBezTo>
                    <a:lnTo>
                      <a:pt x="100163" y="850646"/>
                    </a:lnTo>
                    <a:cubicBezTo>
                      <a:pt x="100157" y="859423"/>
                      <a:pt x="100630" y="868195"/>
                      <a:pt x="101588" y="876921"/>
                    </a:cubicBezTo>
                    <a:cubicBezTo>
                      <a:pt x="102215" y="884045"/>
                      <a:pt x="102899" y="891169"/>
                      <a:pt x="103583" y="898294"/>
                    </a:cubicBezTo>
                    <a:cubicBezTo>
                      <a:pt x="103793" y="901588"/>
                      <a:pt x="104227" y="904865"/>
                      <a:pt x="104894" y="908097"/>
                    </a:cubicBezTo>
                    <a:cubicBezTo>
                      <a:pt x="107549" y="917273"/>
                      <a:pt x="111921" y="925856"/>
                      <a:pt x="117774" y="933403"/>
                    </a:cubicBezTo>
                    <a:cubicBezTo>
                      <a:pt x="116720" y="930821"/>
                      <a:pt x="115295" y="928404"/>
                      <a:pt x="113557" y="926221"/>
                    </a:cubicBezTo>
                    <a:cubicBezTo>
                      <a:pt x="115631" y="924340"/>
                      <a:pt x="118840" y="924494"/>
                      <a:pt x="120721" y="926574"/>
                    </a:cubicBezTo>
                    <a:cubicBezTo>
                      <a:pt x="122038" y="928028"/>
                      <a:pt x="122402" y="930108"/>
                      <a:pt x="121650" y="931921"/>
                    </a:cubicBezTo>
                    <a:cubicBezTo>
                      <a:pt x="124009" y="931710"/>
                      <a:pt x="126375" y="932166"/>
                      <a:pt x="128489" y="933232"/>
                    </a:cubicBezTo>
                    <a:cubicBezTo>
                      <a:pt x="130610" y="934463"/>
                      <a:pt x="131333" y="937187"/>
                      <a:pt x="130097" y="939307"/>
                    </a:cubicBezTo>
                    <a:cubicBezTo>
                      <a:pt x="130091" y="939319"/>
                      <a:pt x="130091" y="939324"/>
                      <a:pt x="130085" y="939330"/>
                    </a:cubicBezTo>
                    <a:cubicBezTo>
                      <a:pt x="133368" y="940344"/>
                      <a:pt x="136799" y="940766"/>
                      <a:pt x="140230" y="940584"/>
                    </a:cubicBezTo>
                    <a:cubicBezTo>
                      <a:pt x="140156" y="937637"/>
                      <a:pt x="140544" y="934691"/>
                      <a:pt x="141370" y="931864"/>
                    </a:cubicBezTo>
                    <a:cubicBezTo>
                      <a:pt x="143143" y="932075"/>
                      <a:pt x="144801" y="932856"/>
                      <a:pt x="146101" y="934087"/>
                    </a:cubicBezTo>
                    <a:cubicBezTo>
                      <a:pt x="147417" y="935306"/>
                      <a:pt x="149065" y="936115"/>
                      <a:pt x="150831" y="936423"/>
                    </a:cubicBezTo>
                    <a:cubicBezTo>
                      <a:pt x="152598" y="936423"/>
                      <a:pt x="154593" y="934998"/>
                      <a:pt x="154251" y="933289"/>
                    </a:cubicBezTo>
                    <a:lnTo>
                      <a:pt x="157728" y="933289"/>
                    </a:lnTo>
                    <a:cubicBezTo>
                      <a:pt x="158645" y="931174"/>
                      <a:pt x="158976" y="928849"/>
                      <a:pt x="158696" y="926563"/>
                    </a:cubicBezTo>
                    <a:lnTo>
                      <a:pt x="171463" y="926221"/>
                    </a:lnTo>
                    <a:cubicBezTo>
                      <a:pt x="174741" y="926500"/>
                      <a:pt x="178018" y="925651"/>
                      <a:pt x="180754" y="923827"/>
                    </a:cubicBezTo>
                    <a:cubicBezTo>
                      <a:pt x="183090" y="921377"/>
                      <a:pt x="183375" y="916646"/>
                      <a:pt x="180355" y="915335"/>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49" name="Freihandform: Form 643">
                <a:extLst>
                  <a:ext uri="{FF2B5EF4-FFF2-40B4-BE49-F238E27FC236}">
                    <a16:creationId xmlns:a16="http://schemas.microsoft.com/office/drawing/2014/main" id="{40B80CDC-00AE-AB4B-D8EE-012427799FFD}"/>
                  </a:ext>
                </a:extLst>
              </p:cNvPr>
              <p:cNvSpPr/>
              <p:nvPr/>
            </p:nvSpPr>
            <p:spPr>
              <a:xfrm>
                <a:off x="2110146" y="4676334"/>
                <a:ext cx="183051" cy="1052578"/>
              </a:xfrm>
              <a:custGeom>
                <a:avLst/>
                <a:gdLst>
                  <a:gd name="connsiteX0" fmla="*/ 102450 w 183051"/>
                  <a:gd name="connsiteY0" fmla="*/ 993703 h 1052578"/>
                  <a:gd name="connsiteX1" fmla="*/ 107409 w 183051"/>
                  <a:gd name="connsiteY1" fmla="*/ 994558 h 1052578"/>
                  <a:gd name="connsiteX2" fmla="*/ 108891 w 183051"/>
                  <a:gd name="connsiteY2" fmla="*/ 995413 h 1052578"/>
                  <a:gd name="connsiteX3" fmla="*/ 109746 w 183051"/>
                  <a:gd name="connsiteY3" fmla="*/ 995413 h 1052578"/>
                  <a:gd name="connsiteX4" fmla="*/ 110657 w 183051"/>
                  <a:gd name="connsiteY4" fmla="*/ 997693 h 1052578"/>
                  <a:gd name="connsiteX5" fmla="*/ 110259 w 183051"/>
                  <a:gd name="connsiteY5" fmla="*/ 1002993 h 1052578"/>
                  <a:gd name="connsiteX6" fmla="*/ 100398 w 183051"/>
                  <a:gd name="connsiteY6" fmla="*/ 1002310 h 1052578"/>
                  <a:gd name="connsiteX7" fmla="*/ 97492 w 183051"/>
                  <a:gd name="connsiteY7" fmla="*/ 999688 h 1052578"/>
                  <a:gd name="connsiteX8" fmla="*/ 100855 w 183051"/>
                  <a:gd name="connsiteY8" fmla="*/ 995641 h 1052578"/>
                  <a:gd name="connsiteX9" fmla="*/ 100855 w 183051"/>
                  <a:gd name="connsiteY9" fmla="*/ 994729 h 1052578"/>
                  <a:gd name="connsiteX10" fmla="*/ 102450 w 183051"/>
                  <a:gd name="connsiteY10" fmla="*/ 993703 h 1052578"/>
                  <a:gd name="connsiteX11" fmla="*/ 35653 w 183051"/>
                  <a:gd name="connsiteY11" fmla="*/ 720641 h 1052578"/>
                  <a:gd name="connsiteX12" fmla="*/ 32176 w 183051"/>
                  <a:gd name="connsiteY12" fmla="*/ 718761 h 1052578"/>
                  <a:gd name="connsiteX13" fmla="*/ 24880 w 183051"/>
                  <a:gd name="connsiteY13" fmla="*/ 720641 h 1052578"/>
                  <a:gd name="connsiteX14" fmla="*/ 21461 w 183051"/>
                  <a:gd name="connsiteY14" fmla="*/ 724517 h 1052578"/>
                  <a:gd name="connsiteX15" fmla="*/ 18839 w 183051"/>
                  <a:gd name="connsiteY15" fmla="*/ 728108 h 1052578"/>
                  <a:gd name="connsiteX16" fmla="*/ 17870 w 183051"/>
                  <a:gd name="connsiteY16" fmla="*/ 730046 h 1052578"/>
                  <a:gd name="connsiteX17" fmla="*/ 20663 w 183051"/>
                  <a:gd name="connsiteY17" fmla="*/ 733636 h 1052578"/>
                  <a:gd name="connsiteX18" fmla="*/ 27901 w 183051"/>
                  <a:gd name="connsiteY18" fmla="*/ 736258 h 1052578"/>
                  <a:gd name="connsiteX19" fmla="*/ 34114 w 183051"/>
                  <a:gd name="connsiteY19" fmla="*/ 733180 h 1052578"/>
                  <a:gd name="connsiteX20" fmla="*/ 36336 w 183051"/>
                  <a:gd name="connsiteY20" fmla="*/ 722750 h 1052578"/>
                  <a:gd name="connsiteX21" fmla="*/ 35653 w 183051"/>
                  <a:gd name="connsiteY21" fmla="*/ 720641 h 1052578"/>
                  <a:gd name="connsiteX22" fmla="*/ 99544 w 183051"/>
                  <a:gd name="connsiteY22" fmla="*/ 942921 h 1052578"/>
                  <a:gd name="connsiteX23" fmla="*/ 91051 w 183051"/>
                  <a:gd name="connsiteY23" fmla="*/ 943263 h 1052578"/>
                  <a:gd name="connsiteX24" fmla="*/ 85352 w 183051"/>
                  <a:gd name="connsiteY24" fmla="*/ 939330 h 1052578"/>
                  <a:gd name="connsiteX25" fmla="*/ 75948 w 183051"/>
                  <a:gd name="connsiteY25" fmla="*/ 936537 h 1052578"/>
                  <a:gd name="connsiteX26" fmla="*/ 73953 w 183051"/>
                  <a:gd name="connsiteY26" fmla="*/ 931522 h 1052578"/>
                  <a:gd name="connsiteX27" fmla="*/ 70476 w 183051"/>
                  <a:gd name="connsiteY27" fmla="*/ 914423 h 1052578"/>
                  <a:gd name="connsiteX28" fmla="*/ 58108 w 183051"/>
                  <a:gd name="connsiteY28" fmla="*/ 904050 h 1052578"/>
                  <a:gd name="connsiteX29" fmla="*/ 56798 w 183051"/>
                  <a:gd name="connsiteY29" fmla="*/ 897496 h 1052578"/>
                  <a:gd name="connsiteX30" fmla="*/ 46140 w 183051"/>
                  <a:gd name="connsiteY30" fmla="*/ 885584 h 1052578"/>
                  <a:gd name="connsiteX31" fmla="*/ 38502 w 183051"/>
                  <a:gd name="connsiteY31" fmla="*/ 872133 h 1052578"/>
                  <a:gd name="connsiteX32" fmla="*/ 52865 w 183051"/>
                  <a:gd name="connsiteY32" fmla="*/ 853211 h 1052578"/>
                  <a:gd name="connsiteX33" fmla="*/ 53663 w 183051"/>
                  <a:gd name="connsiteY33" fmla="*/ 845346 h 1052578"/>
                  <a:gd name="connsiteX34" fmla="*/ 61642 w 183051"/>
                  <a:gd name="connsiteY34" fmla="*/ 839988 h 1052578"/>
                  <a:gd name="connsiteX35" fmla="*/ 60787 w 183051"/>
                  <a:gd name="connsiteY35" fmla="*/ 828589 h 1052578"/>
                  <a:gd name="connsiteX36" fmla="*/ 73269 w 183051"/>
                  <a:gd name="connsiteY36" fmla="*/ 797641 h 1052578"/>
                  <a:gd name="connsiteX37" fmla="*/ 81647 w 183051"/>
                  <a:gd name="connsiteY37" fmla="*/ 761051 h 1052578"/>
                  <a:gd name="connsiteX38" fmla="*/ 83642 w 183051"/>
                  <a:gd name="connsiteY38" fmla="*/ 746574 h 1052578"/>
                  <a:gd name="connsiteX39" fmla="*/ 86207 w 183051"/>
                  <a:gd name="connsiteY39" fmla="*/ 729874 h 1052578"/>
                  <a:gd name="connsiteX40" fmla="*/ 91108 w 183051"/>
                  <a:gd name="connsiteY40" fmla="*/ 725771 h 1052578"/>
                  <a:gd name="connsiteX41" fmla="*/ 88771 w 183051"/>
                  <a:gd name="connsiteY41" fmla="*/ 718134 h 1052578"/>
                  <a:gd name="connsiteX42" fmla="*/ 81932 w 183051"/>
                  <a:gd name="connsiteY42" fmla="*/ 712833 h 1052578"/>
                  <a:gd name="connsiteX43" fmla="*/ 79310 w 183051"/>
                  <a:gd name="connsiteY43" fmla="*/ 678636 h 1052578"/>
                  <a:gd name="connsiteX44" fmla="*/ 74922 w 183051"/>
                  <a:gd name="connsiteY44" fmla="*/ 671569 h 1052578"/>
                  <a:gd name="connsiteX45" fmla="*/ 76119 w 183051"/>
                  <a:gd name="connsiteY45" fmla="*/ 665356 h 1052578"/>
                  <a:gd name="connsiteX46" fmla="*/ 77259 w 183051"/>
                  <a:gd name="connsiteY46" fmla="*/ 618621 h 1052578"/>
                  <a:gd name="connsiteX47" fmla="*/ 73326 w 183051"/>
                  <a:gd name="connsiteY47" fmla="*/ 611497 h 1052578"/>
                  <a:gd name="connsiteX48" fmla="*/ 76176 w 183051"/>
                  <a:gd name="connsiteY48" fmla="*/ 603916 h 1052578"/>
                  <a:gd name="connsiteX49" fmla="*/ 82217 w 183051"/>
                  <a:gd name="connsiteY49" fmla="*/ 582372 h 1052578"/>
                  <a:gd name="connsiteX50" fmla="*/ 95440 w 183051"/>
                  <a:gd name="connsiteY50" fmla="*/ 565274 h 1052578"/>
                  <a:gd name="connsiteX51" fmla="*/ 97036 w 183051"/>
                  <a:gd name="connsiteY51" fmla="*/ 547264 h 1052578"/>
                  <a:gd name="connsiteX52" fmla="*/ 99943 w 183051"/>
                  <a:gd name="connsiteY52" fmla="*/ 538258 h 1052578"/>
                  <a:gd name="connsiteX53" fmla="*/ 96352 w 183051"/>
                  <a:gd name="connsiteY53" fmla="*/ 525549 h 1052578"/>
                  <a:gd name="connsiteX54" fmla="*/ 91507 w 183051"/>
                  <a:gd name="connsiteY54" fmla="*/ 500414 h 1052578"/>
                  <a:gd name="connsiteX55" fmla="*/ 92875 w 183051"/>
                  <a:gd name="connsiteY55" fmla="*/ 495113 h 1052578"/>
                  <a:gd name="connsiteX56" fmla="*/ 97606 w 183051"/>
                  <a:gd name="connsiteY56" fmla="*/ 492320 h 1052578"/>
                  <a:gd name="connsiteX57" fmla="*/ 109860 w 183051"/>
                  <a:gd name="connsiteY57" fmla="*/ 474310 h 1052578"/>
                  <a:gd name="connsiteX58" fmla="*/ 108948 w 183051"/>
                  <a:gd name="connsiteY58" fmla="*/ 451797 h 1052578"/>
                  <a:gd name="connsiteX59" fmla="*/ 118352 w 183051"/>
                  <a:gd name="connsiteY59" fmla="*/ 433502 h 1052578"/>
                  <a:gd name="connsiteX60" fmla="*/ 119606 w 183051"/>
                  <a:gd name="connsiteY60" fmla="*/ 411160 h 1052578"/>
                  <a:gd name="connsiteX61" fmla="*/ 116357 w 183051"/>
                  <a:gd name="connsiteY61" fmla="*/ 386367 h 1052578"/>
                  <a:gd name="connsiteX62" fmla="*/ 109860 w 183051"/>
                  <a:gd name="connsiteY62" fmla="*/ 380668 h 1052578"/>
                  <a:gd name="connsiteX63" fmla="*/ 110544 w 183051"/>
                  <a:gd name="connsiteY63" fmla="*/ 369269 h 1052578"/>
                  <a:gd name="connsiteX64" fmla="*/ 103533 w 183051"/>
                  <a:gd name="connsiteY64" fmla="*/ 356559 h 1052578"/>
                  <a:gd name="connsiteX65" fmla="*/ 112310 w 183051"/>
                  <a:gd name="connsiteY65" fmla="*/ 341000 h 1052578"/>
                  <a:gd name="connsiteX66" fmla="*/ 121487 w 183051"/>
                  <a:gd name="connsiteY66" fmla="*/ 314269 h 1052578"/>
                  <a:gd name="connsiteX67" fmla="*/ 122854 w 183051"/>
                  <a:gd name="connsiteY67" fmla="*/ 301046 h 1052578"/>
                  <a:gd name="connsiteX68" fmla="*/ 125590 w 183051"/>
                  <a:gd name="connsiteY68" fmla="*/ 297570 h 1052578"/>
                  <a:gd name="connsiteX69" fmla="*/ 125590 w 183051"/>
                  <a:gd name="connsiteY69" fmla="*/ 292953 h 1052578"/>
                  <a:gd name="connsiteX70" fmla="*/ 132145 w 183051"/>
                  <a:gd name="connsiteY70" fmla="*/ 275855 h 1052578"/>
                  <a:gd name="connsiteX71" fmla="*/ 131347 w 183051"/>
                  <a:gd name="connsiteY71" fmla="*/ 262575 h 1052578"/>
                  <a:gd name="connsiteX72" fmla="*/ 143429 w 183051"/>
                  <a:gd name="connsiteY72" fmla="*/ 250834 h 1052578"/>
                  <a:gd name="connsiteX73" fmla="*/ 144683 w 183051"/>
                  <a:gd name="connsiteY73" fmla="*/ 245134 h 1052578"/>
                  <a:gd name="connsiteX74" fmla="*/ 155056 w 183051"/>
                  <a:gd name="connsiteY74" fmla="*/ 232196 h 1052578"/>
                  <a:gd name="connsiteX75" fmla="*/ 152834 w 183051"/>
                  <a:gd name="connsiteY75" fmla="*/ 226497 h 1052578"/>
                  <a:gd name="connsiteX76" fmla="*/ 155227 w 183051"/>
                  <a:gd name="connsiteY76" fmla="*/ 198000 h 1052578"/>
                  <a:gd name="connsiteX77" fmla="*/ 149870 w 183051"/>
                  <a:gd name="connsiteY77" fmla="*/ 188197 h 1052578"/>
                  <a:gd name="connsiteX78" fmla="*/ 155000 w 183051"/>
                  <a:gd name="connsiteY78" fmla="*/ 175430 h 1052578"/>
                  <a:gd name="connsiteX79" fmla="*/ 156481 w 183051"/>
                  <a:gd name="connsiteY79" fmla="*/ 168648 h 1052578"/>
                  <a:gd name="connsiteX80" fmla="*/ 180248 w 183051"/>
                  <a:gd name="connsiteY80" fmla="*/ 157761 h 1052578"/>
                  <a:gd name="connsiteX81" fmla="*/ 181730 w 183051"/>
                  <a:gd name="connsiteY81" fmla="*/ 145907 h 1052578"/>
                  <a:gd name="connsiteX82" fmla="*/ 179222 w 183051"/>
                  <a:gd name="connsiteY82" fmla="*/ 142886 h 1052578"/>
                  <a:gd name="connsiteX83" fmla="*/ 172782 w 183051"/>
                  <a:gd name="connsiteY83" fmla="*/ 141119 h 1052578"/>
                  <a:gd name="connsiteX84" fmla="*/ 169248 w 183051"/>
                  <a:gd name="connsiteY84" fmla="*/ 133083 h 1052578"/>
                  <a:gd name="connsiteX85" fmla="*/ 169647 w 183051"/>
                  <a:gd name="connsiteY85" fmla="*/ 115528 h 1052578"/>
                  <a:gd name="connsiteX86" fmla="*/ 162067 w 183051"/>
                  <a:gd name="connsiteY86" fmla="*/ 112679 h 1052578"/>
                  <a:gd name="connsiteX87" fmla="*/ 163777 w 183051"/>
                  <a:gd name="connsiteY87" fmla="*/ 103560 h 1052578"/>
                  <a:gd name="connsiteX88" fmla="*/ 160927 w 183051"/>
                  <a:gd name="connsiteY88" fmla="*/ 100824 h 1052578"/>
                  <a:gd name="connsiteX89" fmla="*/ 156025 w 183051"/>
                  <a:gd name="connsiteY89" fmla="*/ 84637 h 1052578"/>
                  <a:gd name="connsiteX90" fmla="*/ 143999 w 183051"/>
                  <a:gd name="connsiteY90" fmla="*/ 74492 h 1052578"/>
                  <a:gd name="connsiteX91" fmla="*/ 145994 w 183051"/>
                  <a:gd name="connsiteY91" fmla="*/ 69705 h 1052578"/>
                  <a:gd name="connsiteX92" fmla="*/ 148388 w 183051"/>
                  <a:gd name="connsiteY92" fmla="*/ 45311 h 1052578"/>
                  <a:gd name="connsiteX93" fmla="*/ 147077 w 183051"/>
                  <a:gd name="connsiteY93" fmla="*/ 40922 h 1052578"/>
                  <a:gd name="connsiteX94" fmla="*/ 142347 w 183051"/>
                  <a:gd name="connsiteY94" fmla="*/ 37959 h 1052578"/>
                  <a:gd name="connsiteX95" fmla="*/ 139896 w 183051"/>
                  <a:gd name="connsiteY95" fmla="*/ 17612 h 1052578"/>
                  <a:gd name="connsiteX96" fmla="*/ 134595 w 183051"/>
                  <a:gd name="connsiteY96" fmla="*/ 13166 h 1052578"/>
                  <a:gd name="connsiteX97" fmla="*/ 129751 w 183051"/>
                  <a:gd name="connsiteY97" fmla="*/ 0 h 1052578"/>
                  <a:gd name="connsiteX98" fmla="*/ 128269 w 183051"/>
                  <a:gd name="connsiteY98" fmla="*/ 3420 h 1052578"/>
                  <a:gd name="connsiteX99" fmla="*/ 125305 w 183051"/>
                  <a:gd name="connsiteY99" fmla="*/ 13166 h 1052578"/>
                  <a:gd name="connsiteX100" fmla="*/ 113564 w 183051"/>
                  <a:gd name="connsiteY100" fmla="*/ 25306 h 1052578"/>
                  <a:gd name="connsiteX101" fmla="*/ 114818 w 183051"/>
                  <a:gd name="connsiteY101" fmla="*/ 34938 h 1052578"/>
                  <a:gd name="connsiteX102" fmla="*/ 108606 w 183051"/>
                  <a:gd name="connsiteY102" fmla="*/ 122938 h 1052578"/>
                  <a:gd name="connsiteX103" fmla="*/ 108321 w 183051"/>
                  <a:gd name="connsiteY103" fmla="*/ 146249 h 1052578"/>
                  <a:gd name="connsiteX104" fmla="*/ 111854 w 183051"/>
                  <a:gd name="connsiteY104" fmla="*/ 156451 h 1052578"/>
                  <a:gd name="connsiteX105" fmla="*/ 109176 w 183051"/>
                  <a:gd name="connsiteY105" fmla="*/ 159357 h 1052578"/>
                  <a:gd name="connsiteX106" fmla="*/ 109176 w 183051"/>
                  <a:gd name="connsiteY106" fmla="*/ 164544 h 1052578"/>
                  <a:gd name="connsiteX107" fmla="*/ 104616 w 183051"/>
                  <a:gd name="connsiteY107" fmla="*/ 215383 h 1052578"/>
                  <a:gd name="connsiteX108" fmla="*/ 100114 w 183051"/>
                  <a:gd name="connsiteY108" fmla="*/ 225243 h 1052578"/>
                  <a:gd name="connsiteX109" fmla="*/ 96466 w 183051"/>
                  <a:gd name="connsiteY109" fmla="*/ 241259 h 1052578"/>
                  <a:gd name="connsiteX110" fmla="*/ 91336 w 183051"/>
                  <a:gd name="connsiteY110" fmla="*/ 254425 h 1052578"/>
                  <a:gd name="connsiteX111" fmla="*/ 96181 w 183051"/>
                  <a:gd name="connsiteY111" fmla="*/ 305720 h 1052578"/>
                  <a:gd name="connsiteX112" fmla="*/ 92134 w 183051"/>
                  <a:gd name="connsiteY112" fmla="*/ 315181 h 1052578"/>
                  <a:gd name="connsiteX113" fmla="*/ 85181 w 183051"/>
                  <a:gd name="connsiteY113" fmla="*/ 320881 h 1052578"/>
                  <a:gd name="connsiteX114" fmla="*/ 81476 w 183051"/>
                  <a:gd name="connsiteY114" fmla="*/ 342652 h 1052578"/>
                  <a:gd name="connsiteX115" fmla="*/ 82787 w 183051"/>
                  <a:gd name="connsiteY115" fmla="*/ 384943 h 1052578"/>
                  <a:gd name="connsiteX116" fmla="*/ 68709 w 183051"/>
                  <a:gd name="connsiteY116" fmla="*/ 430538 h 1052578"/>
                  <a:gd name="connsiteX117" fmla="*/ 63466 w 183051"/>
                  <a:gd name="connsiteY117" fmla="*/ 482403 h 1052578"/>
                  <a:gd name="connsiteX118" fmla="*/ 61585 w 183051"/>
                  <a:gd name="connsiteY118" fmla="*/ 493119 h 1052578"/>
                  <a:gd name="connsiteX119" fmla="*/ 50186 w 183051"/>
                  <a:gd name="connsiteY119" fmla="*/ 510217 h 1052578"/>
                  <a:gd name="connsiteX120" fmla="*/ 48020 w 183051"/>
                  <a:gd name="connsiteY120" fmla="*/ 520191 h 1052578"/>
                  <a:gd name="connsiteX121" fmla="*/ 41295 w 183051"/>
                  <a:gd name="connsiteY121" fmla="*/ 523611 h 1052578"/>
                  <a:gd name="connsiteX122" fmla="*/ 39699 w 183051"/>
                  <a:gd name="connsiteY122" fmla="*/ 531932 h 1052578"/>
                  <a:gd name="connsiteX123" fmla="*/ 39015 w 183051"/>
                  <a:gd name="connsiteY123" fmla="*/ 549885 h 1052578"/>
                  <a:gd name="connsiteX124" fmla="*/ 51611 w 183051"/>
                  <a:gd name="connsiteY124" fmla="*/ 558890 h 1052578"/>
                  <a:gd name="connsiteX125" fmla="*/ 44145 w 183051"/>
                  <a:gd name="connsiteY125" fmla="*/ 585393 h 1052578"/>
                  <a:gd name="connsiteX126" fmla="*/ 36336 w 183051"/>
                  <a:gd name="connsiteY126" fmla="*/ 591377 h 1052578"/>
                  <a:gd name="connsiteX127" fmla="*/ 36336 w 183051"/>
                  <a:gd name="connsiteY127" fmla="*/ 615486 h 1052578"/>
                  <a:gd name="connsiteX128" fmla="*/ 25735 w 183051"/>
                  <a:gd name="connsiteY128" fmla="*/ 659999 h 1052578"/>
                  <a:gd name="connsiteX129" fmla="*/ 28585 w 183051"/>
                  <a:gd name="connsiteY129" fmla="*/ 672196 h 1052578"/>
                  <a:gd name="connsiteX130" fmla="*/ 39984 w 183051"/>
                  <a:gd name="connsiteY130" fmla="*/ 674989 h 1052578"/>
                  <a:gd name="connsiteX131" fmla="*/ 41466 w 183051"/>
                  <a:gd name="connsiteY131" fmla="*/ 635833 h 1052578"/>
                  <a:gd name="connsiteX132" fmla="*/ 44373 w 183051"/>
                  <a:gd name="connsiteY132" fmla="*/ 623522 h 1052578"/>
                  <a:gd name="connsiteX133" fmla="*/ 54917 w 183051"/>
                  <a:gd name="connsiteY133" fmla="*/ 621168 h 1052578"/>
                  <a:gd name="connsiteX134" fmla="*/ 55430 w 183051"/>
                  <a:gd name="connsiteY134" fmla="*/ 621528 h 1052578"/>
                  <a:gd name="connsiteX135" fmla="*/ 59533 w 183051"/>
                  <a:gd name="connsiteY135" fmla="*/ 635263 h 1052578"/>
                  <a:gd name="connsiteX136" fmla="*/ 65803 w 183051"/>
                  <a:gd name="connsiteY136" fmla="*/ 641476 h 1052578"/>
                  <a:gd name="connsiteX137" fmla="*/ 56740 w 183051"/>
                  <a:gd name="connsiteY137" fmla="*/ 656010 h 1052578"/>
                  <a:gd name="connsiteX138" fmla="*/ 56740 w 183051"/>
                  <a:gd name="connsiteY138" fmla="*/ 662849 h 1052578"/>
                  <a:gd name="connsiteX139" fmla="*/ 52409 w 183051"/>
                  <a:gd name="connsiteY139" fmla="*/ 667180 h 1052578"/>
                  <a:gd name="connsiteX140" fmla="*/ 51782 w 183051"/>
                  <a:gd name="connsiteY140" fmla="*/ 729874 h 1052578"/>
                  <a:gd name="connsiteX141" fmla="*/ 42036 w 183051"/>
                  <a:gd name="connsiteY141" fmla="*/ 745491 h 1052578"/>
                  <a:gd name="connsiteX142" fmla="*/ 41637 w 183051"/>
                  <a:gd name="connsiteY142" fmla="*/ 765553 h 1052578"/>
                  <a:gd name="connsiteX143" fmla="*/ 35482 w 183051"/>
                  <a:gd name="connsiteY143" fmla="*/ 764584 h 1052578"/>
                  <a:gd name="connsiteX144" fmla="*/ 27103 w 183051"/>
                  <a:gd name="connsiteY144" fmla="*/ 745833 h 1052578"/>
                  <a:gd name="connsiteX145" fmla="*/ 11145 w 183051"/>
                  <a:gd name="connsiteY145" fmla="*/ 752330 h 1052578"/>
                  <a:gd name="connsiteX146" fmla="*/ 5901 w 183051"/>
                  <a:gd name="connsiteY146" fmla="*/ 761507 h 1052578"/>
                  <a:gd name="connsiteX147" fmla="*/ 3792 w 183051"/>
                  <a:gd name="connsiteY147" fmla="*/ 772336 h 1052578"/>
                  <a:gd name="connsiteX148" fmla="*/ 9150 w 183051"/>
                  <a:gd name="connsiteY148" fmla="*/ 778662 h 1052578"/>
                  <a:gd name="connsiteX149" fmla="*/ 17756 w 183051"/>
                  <a:gd name="connsiteY149" fmla="*/ 780087 h 1052578"/>
                  <a:gd name="connsiteX150" fmla="*/ 30295 w 183051"/>
                  <a:gd name="connsiteY150" fmla="*/ 784361 h 1052578"/>
                  <a:gd name="connsiteX151" fmla="*/ 31127 w 183051"/>
                  <a:gd name="connsiteY151" fmla="*/ 795698 h 1052578"/>
                  <a:gd name="connsiteX152" fmla="*/ 30694 w 183051"/>
                  <a:gd name="connsiteY152" fmla="*/ 796159 h 1052578"/>
                  <a:gd name="connsiteX153" fmla="*/ 24994 w 183051"/>
                  <a:gd name="connsiteY153" fmla="*/ 798610 h 1052578"/>
                  <a:gd name="connsiteX154" fmla="*/ 20150 w 183051"/>
                  <a:gd name="connsiteY154" fmla="*/ 807216 h 1052578"/>
                  <a:gd name="connsiteX155" fmla="*/ 21062 w 183051"/>
                  <a:gd name="connsiteY155" fmla="*/ 809610 h 1052578"/>
                  <a:gd name="connsiteX156" fmla="*/ 24310 w 183051"/>
                  <a:gd name="connsiteY156" fmla="*/ 810921 h 1052578"/>
                  <a:gd name="connsiteX157" fmla="*/ 42720 w 183051"/>
                  <a:gd name="connsiteY157" fmla="*/ 813771 h 1052578"/>
                  <a:gd name="connsiteX158" fmla="*/ 45512 w 183051"/>
                  <a:gd name="connsiteY158" fmla="*/ 815367 h 1052578"/>
                  <a:gd name="connsiteX159" fmla="*/ 45512 w 183051"/>
                  <a:gd name="connsiteY159" fmla="*/ 816963 h 1052578"/>
                  <a:gd name="connsiteX160" fmla="*/ 43575 w 183051"/>
                  <a:gd name="connsiteY160" fmla="*/ 827621 h 1052578"/>
                  <a:gd name="connsiteX161" fmla="*/ 37362 w 183051"/>
                  <a:gd name="connsiteY161" fmla="*/ 826082 h 1052578"/>
                  <a:gd name="connsiteX162" fmla="*/ 32860 w 183051"/>
                  <a:gd name="connsiteY162" fmla="*/ 820382 h 1052578"/>
                  <a:gd name="connsiteX163" fmla="*/ 24937 w 183051"/>
                  <a:gd name="connsiteY163" fmla="*/ 818844 h 1052578"/>
                  <a:gd name="connsiteX164" fmla="*/ 10290 w 183051"/>
                  <a:gd name="connsiteY164" fmla="*/ 819128 h 1052578"/>
                  <a:gd name="connsiteX165" fmla="*/ 6015 w 183051"/>
                  <a:gd name="connsiteY165" fmla="*/ 820040 h 1052578"/>
                  <a:gd name="connsiteX166" fmla="*/ 3678 w 183051"/>
                  <a:gd name="connsiteY166" fmla="*/ 823631 h 1052578"/>
                  <a:gd name="connsiteX167" fmla="*/ 2539 w 183051"/>
                  <a:gd name="connsiteY167" fmla="*/ 829330 h 1052578"/>
                  <a:gd name="connsiteX168" fmla="*/ 8238 w 183051"/>
                  <a:gd name="connsiteY168" fmla="*/ 836968 h 1052578"/>
                  <a:gd name="connsiteX169" fmla="*/ 17528 w 183051"/>
                  <a:gd name="connsiteY169" fmla="*/ 834289 h 1052578"/>
                  <a:gd name="connsiteX170" fmla="*/ 23912 w 183051"/>
                  <a:gd name="connsiteY170" fmla="*/ 828589 h 1052578"/>
                  <a:gd name="connsiteX171" fmla="*/ 27730 w 183051"/>
                  <a:gd name="connsiteY171" fmla="*/ 835714 h 1052578"/>
                  <a:gd name="connsiteX172" fmla="*/ 25621 w 183051"/>
                  <a:gd name="connsiteY172" fmla="*/ 842154 h 1052578"/>
                  <a:gd name="connsiteX173" fmla="*/ 22031 w 183051"/>
                  <a:gd name="connsiteY173" fmla="*/ 843066 h 1052578"/>
                  <a:gd name="connsiteX174" fmla="*/ 7497 w 183051"/>
                  <a:gd name="connsiteY174" fmla="*/ 848367 h 1052578"/>
                  <a:gd name="connsiteX175" fmla="*/ 4932 w 183051"/>
                  <a:gd name="connsiteY175" fmla="*/ 858626 h 1052578"/>
                  <a:gd name="connsiteX176" fmla="*/ 2140 w 183051"/>
                  <a:gd name="connsiteY176" fmla="*/ 859424 h 1052578"/>
                  <a:gd name="connsiteX177" fmla="*/ 800 w 183051"/>
                  <a:gd name="connsiteY177" fmla="*/ 866063 h 1052578"/>
                  <a:gd name="connsiteX178" fmla="*/ 943 w 183051"/>
                  <a:gd name="connsiteY178" fmla="*/ 866263 h 1052578"/>
                  <a:gd name="connsiteX179" fmla="*/ 7497 w 183051"/>
                  <a:gd name="connsiteY179" fmla="*/ 870310 h 1052578"/>
                  <a:gd name="connsiteX180" fmla="*/ 12017 w 183051"/>
                  <a:gd name="connsiteY180" fmla="*/ 876984 h 1052578"/>
                  <a:gd name="connsiteX181" fmla="*/ 15020 w 183051"/>
                  <a:gd name="connsiteY181" fmla="*/ 876750 h 1052578"/>
                  <a:gd name="connsiteX182" fmla="*/ 19523 w 183051"/>
                  <a:gd name="connsiteY182" fmla="*/ 862900 h 1052578"/>
                  <a:gd name="connsiteX183" fmla="*/ 21290 w 183051"/>
                  <a:gd name="connsiteY183" fmla="*/ 854123 h 1052578"/>
                  <a:gd name="connsiteX184" fmla="*/ 31520 w 183051"/>
                  <a:gd name="connsiteY184" fmla="*/ 853730 h 1052578"/>
                  <a:gd name="connsiteX185" fmla="*/ 32347 w 183051"/>
                  <a:gd name="connsiteY185" fmla="*/ 854636 h 1052578"/>
                  <a:gd name="connsiteX186" fmla="*/ 31606 w 183051"/>
                  <a:gd name="connsiteY186" fmla="*/ 866491 h 1052578"/>
                  <a:gd name="connsiteX187" fmla="*/ 27901 w 183051"/>
                  <a:gd name="connsiteY187" fmla="*/ 870880 h 1052578"/>
                  <a:gd name="connsiteX188" fmla="*/ 27160 w 183051"/>
                  <a:gd name="connsiteY188" fmla="*/ 882963 h 1052578"/>
                  <a:gd name="connsiteX189" fmla="*/ 16103 w 183051"/>
                  <a:gd name="connsiteY189" fmla="*/ 892651 h 1052578"/>
                  <a:gd name="connsiteX190" fmla="*/ 12820 w 183051"/>
                  <a:gd name="connsiteY190" fmla="*/ 903703 h 1052578"/>
                  <a:gd name="connsiteX191" fmla="*/ 9948 w 183051"/>
                  <a:gd name="connsiteY191" fmla="*/ 904621 h 1052578"/>
                  <a:gd name="connsiteX192" fmla="*/ 13197 w 183051"/>
                  <a:gd name="connsiteY192" fmla="*/ 918869 h 1052578"/>
                  <a:gd name="connsiteX193" fmla="*/ 41694 w 183051"/>
                  <a:gd name="connsiteY193" fmla="*/ 915336 h 1052578"/>
                  <a:gd name="connsiteX194" fmla="*/ 40668 w 183051"/>
                  <a:gd name="connsiteY194" fmla="*/ 923429 h 1052578"/>
                  <a:gd name="connsiteX195" fmla="*/ 34342 w 183051"/>
                  <a:gd name="connsiteY195" fmla="*/ 930154 h 1052578"/>
                  <a:gd name="connsiteX196" fmla="*/ 39779 w 183051"/>
                  <a:gd name="connsiteY196" fmla="*/ 938538 h 1052578"/>
                  <a:gd name="connsiteX197" fmla="*/ 40041 w 183051"/>
                  <a:gd name="connsiteY197" fmla="*/ 938589 h 1052578"/>
                  <a:gd name="connsiteX198" fmla="*/ 49958 w 183051"/>
                  <a:gd name="connsiteY198" fmla="*/ 933802 h 1052578"/>
                  <a:gd name="connsiteX199" fmla="*/ 53093 w 183051"/>
                  <a:gd name="connsiteY199" fmla="*/ 930895 h 1052578"/>
                  <a:gd name="connsiteX200" fmla="*/ 57595 w 183051"/>
                  <a:gd name="connsiteY200" fmla="*/ 934600 h 1052578"/>
                  <a:gd name="connsiteX201" fmla="*/ 59134 w 183051"/>
                  <a:gd name="connsiteY201" fmla="*/ 940299 h 1052578"/>
                  <a:gd name="connsiteX202" fmla="*/ 49103 w 183051"/>
                  <a:gd name="connsiteY202" fmla="*/ 946968 h 1052578"/>
                  <a:gd name="connsiteX203" fmla="*/ 36051 w 183051"/>
                  <a:gd name="connsiteY203" fmla="*/ 948050 h 1052578"/>
                  <a:gd name="connsiteX204" fmla="*/ 34684 w 183051"/>
                  <a:gd name="connsiteY204" fmla="*/ 949304 h 1052578"/>
                  <a:gd name="connsiteX205" fmla="*/ 38901 w 183051"/>
                  <a:gd name="connsiteY205" fmla="*/ 956315 h 1052578"/>
                  <a:gd name="connsiteX206" fmla="*/ 35823 w 183051"/>
                  <a:gd name="connsiteY206" fmla="*/ 962812 h 1052578"/>
                  <a:gd name="connsiteX207" fmla="*/ 43518 w 183051"/>
                  <a:gd name="connsiteY207" fmla="*/ 966631 h 1052578"/>
                  <a:gd name="connsiteX208" fmla="*/ 52181 w 183051"/>
                  <a:gd name="connsiteY208" fmla="*/ 968341 h 1052578"/>
                  <a:gd name="connsiteX209" fmla="*/ 50585 w 183051"/>
                  <a:gd name="connsiteY209" fmla="*/ 973641 h 1052578"/>
                  <a:gd name="connsiteX210" fmla="*/ 40725 w 183051"/>
                  <a:gd name="connsiteY210" fmla="*/ 977061 h 1052578"/>
                  <a:gd name="connsiteX211" fmla="*/ 44310 w 183051"/>
                  <a:gd name="connsiteY211" fmla="*/ 986476 h 1052578"/>
                  <a:gd name="connsiteX212" fmla="*/ 44544 w 183051"/>
                  <a:gd name="connsiteY212" fmla="*/ 986579 h 1052578"/>
                  <a:gd name="connsiteX213" fmla="*/ 52916 w 183051"/>
                  <a:gd name="connsiteY213" fmla="*/ 982071 h 1052578"/>
                  <a:gd name="connsiteX214" fmla="*/ 53093 w 183051"/>
                  <a:gd name="connsiteY214" fmla="*/ 981335 h 1052578"/>
                  <a:gd name="connsiteX215" fmla="*/ 53663 w 183051"/>
                  <a:gd name="connsiteY215" fmla="*/ 978201 h 1052578"/>
                  <a:gd name="connsiteX216" fmla="*/ 55772 w 183051"/>
                  <a:gd name="connsiteY216" fmla="*/ 976776 h 1052578"/>
                  <a:gd name="connsiteX217" fmla="*/ 64378 w 183051"/>
                  <a:gd name="connsiteY217" fmla="*/ 973128 h 1052578"/>
                  <a:gd name="connsiteX218" fmla="*/ 59647 w 183051"/>
                  <a:gd name="connsiteY218" fmla="*/ 962128 h 1052578"/>
                  <a:gd name="connsiteX219" fmla="*/ 52010 w 183051"/>
                  <a:gd name="connsiteY219" fmla="*/ 959734 h 1052578"/>
                  <a:gd name="connsiteX220" fmla="*/ 48590 w 183051"/>
                  <a:gd name="connsiteY220" fmla="*/ 953465 h 1052578"/>
                  <a:gd name="connsiteX221" fmla="*/ 64207 w 183051"/>
                  <a:gd name="connsiteY221" fmla="*/ 950330 h 1052578"/>
                  <a:gd name="connsiteX222" fmla="*/ 67114 w 183051"/>
                  <a:gd name="connsiteY222" fmla="*/ 950330 h 1052578"/>
                  <a:gd name="connsiteX223" fmla="*/ 68481 w 183051"/>
                  <a:gd name="connsiteY223" fmla="*/ 952895 h 1052578"/>
                  <a:gd name="connsiteX224" fmla="*/ 77088 w 183051"/>
                  <a:gd name="connsiteY224" fmla="*/ 955460 h 1052578"/>
                  <a:gd name="connsiteX225" fmla="*/ 82217 w 183051"/>
                  <a:gd name="connsiteY225" fmla="*/ 961159 h 1052578"/>
                  <a:gd name="connsiteX226" fmla="*/ 68083 w 183051"/>
                  <a:gd name="connsiteY226" fmla="*/ 964009 h 1052578"/>
                  <a:gd name="connsiteX227" fmla="*/ 75908 w 183051"/>
                  <a:gd name="connsiteY227" fmla="*/ 970483 h 1052578"/>
                  <a:gd name="connsiteX228" fmla="*/ 77772 w 183051"/>
                  <a:gd name="connsiteY228" fmla="*/ 970050 h 1052578"/>
                  <a:gd name="connsiteX229" fmla="*/ 87803 w 183051"/>
                  <a:gd name="connsiteY229" fmla="*/ 964921 h 1052578"/>
                  <a:gd name="connsiteX230" fmla="*/ 97036 w 183051"/>
                  <a:gd name="connsiteY230" fmla="*/ 973812 h 1052578"/>
                  <a:gd name="connsiteX231" fmla="*/ 101709 w 183051"/>
                  <a:gd name="connsiteY231" fmla="*/ 962071 h 1052578"/>
                  <a:gd name="connsiteX232" fmla="*/ 121259 w 183051"/>
                  <a:gd name="connsiteY232" fmla="*/ 952325 h 1052578"/>
                  <a:gd name="connsiteX233" fmla="*/ 121259 w 183051"/>
                  <a:gd name="connsiteY233" fmla="*/ 945201 h 1052578"/>
                  <a:gd name="connsiteX234" fmla="*/ 99544 w 183051"/>
                  <a:gd name="connsiteY234" fmla="*/ 942636 h 1052578"/>
                  <a:gd name="connsiteX235" fmla="*/ 67285 w 183051"/>
                  <a:gd name="connsiteY235" fmla="*/ 985268 h 1052578"/>
                  <a:gd name="connsiteX236" fmla="*/ 66886 w 183051"/>
                  <a:gd name="connsiteY236" fmla="*/ 986636 h 1052578"/>
                  <a:gd name="connsiteX237" fmla="*/ 60388 w 183051"/>
                  <a:gd name="connsiteY237" fmla="*/ 988289 h 1052578"/>
                  <a:gd name="connsiteX238" fmla="*/ 60388 w 183051"/>
                  <a:gd name="connsiteY238" fmla="*/ 991708 h 1052578"/>
                  <a:gd name="connsiteX239" fmla="*/ 59875 w 183051"/>
                  <a:gd name="connsiteY239" fmla="*/ 993646 h 1052578"/>
                  <a:gd name="connsiteX240" fmla="*/ 57310 w 183051"/>
                  <a:gd name="connsiteY240" fmla="*/ 1002936 h 1052578"/>
                  <a:gd name="connsiteX241" fmla="*/ 61471 w 183051"/>
                  <a:gd name="connsiteY241" fmla="*/ 1011087 h 1052578"/>
                  <a:gd name="connsiteX242" fmla="*/ 65974 w 183051"/>
                  <a:gd name="connsiteY242" fmla="*/ 1013651 h 1052578"/>
                  <a:gd name="connsiteX243" fmla="*/ 66601 w 183051"/>
                  <a:gd name="connsiteY243" fmla="*/ 1016045 h 1052578"/>
                  <a:gd name="connsiteX244" fmla="*/ 70875 w 183051"/>
                  <a:gd name="connsiteY244" fmla="*/ 1019807 h 1052578"/>
                  <a:gd name="connsiteX245" fmla="*/ 72870 w 183051"/>
                  <a:gd name="connsiteY245" fmla="*/ 1019465 h 1052578"/>
                  <a:gd name="connsiteX246" fmla="*/ 73896 w 183051"/>
                  <a:gd name="connsiteY246" fmla="*/ 1014734 h 1052578"/>
                  <a:gd name="connsiteX247" fmla="*/ 70761 w 183051"/>
                  <a:gd name="connsiteY247" fmla="*/ 1003335 h 1052578"/>
                  <a:gd name="connsiteX248" fmla="*/ 77658 w 183051"/>
                  <a:gd name="connsiteY248" fmla="*/ 1002537 h 1052578"/>
                  <a:gd name="connsiteX249" fmla="*/ 81305 w 183051"/>
                  <a:gd name="connsiteY249" fmla="*/ 1002537 h 1052578"/>
                  <a:gd name="connsiteX250" fmla="*/ 83300 w 183051"/>
                  <a:gd name="connsiteY250" fmla="*/ 999916 h 1052578"/>
                  <a:gd name="connsiteX251" fmla="*/ 88789 w 183051"/>
                  <a:gd name="connsiteY251" fmla="*/ 998605 h 1052578"/>
                  <a:gd name="connsiteX252" fmla="*/ 89341 w 183051"/>
                  <a:gd name="connsiteY252" fmla="*/ 995983 h 1052578"/>
                  <a:gd name="connsiteX253" fmla="*/ 89341 w 183051"/>
                  <a:gd name="connsiteY253" fmla="*/ 993760 h 1052578"/>
                  <a:gd name="connsiteX254" fmla="*/ 90994 w 183051"/>
                  <a:gd name="connsiteY254" fmla="*/ 992563 h 1052578"/>
                  <a:gd name="connsiteX255" fmla="*/ 94984 w 183051"/>
                  <a:gd name="connsiteY255" fmla="*/ 987377 h 1052578"/>
                  <a:gd name="connsiteX256" fmla="*/ 95668 w 183051"/>
                  <a:gd name="connsiteY256" fmla="*/ 980708 h 1052578"/>
                  <a:gd name="connsiteX257" fmla="*/ 95212 w 183051"/>
                  <a:gd name="connsiteY257" fmla="*/ 977745 h 1052578"/>
                  <a:gd name="connsiteX258" fmla="*/ 88601 w 183051"/>
                  <a:gd name="connsiteY258" fmla="*/ 975636 h 1052578"/>
                  <a:gd name="connsiteX259" fmla="*/ 86093 w 183051"/>
                  <a:gd name="connsiteY259" fmla="*/ 976206 h 1052578"/>
                  <a:gd name="connsiteX260" fmla="*/ 84554 w 183051"/>
                  <a:gd name="connsiteY260" fmla="*/ 977859 h 1052578"/>
                  <a:gd name="connsiteX261" fmla="*/ 78854 w 183051"/>
                  <a:gd name="connsiteY261" fmla="*/ 986237 h 1052578"/>
                  <a:gd name="connsiteX262" fmla="*/ 77829 w 183051"/>
                  <a:gd name="connsiteY262" fmla="*/ 979113 h 1052578"/>
                  <a:gd name="connsiteX263" fmla="*/ 71320 w 183051"/>
                  <a:gd name="connsiteY263" fmla="*/ 977956 h 1052578"/>
                  <a:gd name="connsiteX264" fmla="*/ 70932 w 183051"/>
                  <a:gd name="connsiteY264" fmla="*/ 978258 h 1052578"/>
                  <a:gd name="connsiteX265" fmla="*/ 67285 w 183051"/>
                  <a:gd name="connsiteY265" fmla="*/ 985268 h 1052578"/>
                  <a:gd name="connsiteX266" fmla="*/ 142347 w 183051"/>
                  <a:gd name="connsiteY266" fmla="*/ 1009377 h 1052578"/>
                  <a:gd name="connsiteX267" fmla="*/ 140352 w 183051"/>
                  <a:gd name="connsiteY267" fmla="*/ 988004 h 1052578"/>
                  <a:gd name="connsiteX268" fmla="*/ 138927 w 183051"/>
                  <a:gd name="connsiteY268" fmla="*/ 961729 h 1052578"/>
                  <a:gd name="connsiteX269" fmla="*/ 130834 w 183051"/>
                  <a:gd name="connsiteY269" fmla="*/ 961045 h 1052578"/>
                  <a:gd name="connsiteX270" fmla="*/ 129580 w 183051"/>
                  <a:gd name="connsiteY270" fmla="*/ 960418 h 1052578"/>
                  <a:gd name="connsiteX271" fmla="*/ 128953 w 183051"/>
                  <a:gd name="connsiteY271" fmla="*/ 958082 h 1052578"/>
                  <a:gd name="connsiteX272" fmla="*/ 124519 w 183051"/>
                  <a:gd name="connsiteY272" fmla="*/ 955773 h 1052578"/>
                  <a:gd name="connsiteX273" fmla="*/ 123253 w 183051"/>
                  <a:gd name="connsiteY273" fmla="*/ 956486 h 1052578"/>
                  <a:gd name="connsiteX274" fmla="*/ 121714 w 183051"/>
                  <a:gd name="connsiteY274" fmla="*/ 966118 h 1052578"/>
                  <a:gd name="connsiteX275" fmla="*/ 113279 w 183051"/>
                  <a:gd name="connsiteY275" fmla="*/ 969309 h 1052578"/>
                  <a:gd name="connsiteX276" fmla="*/ 105927 w 183051"/>
                  <a:gd name="connsiteY276" fmla="*/ 973755 h 1052578"/>
                  <a:gd name="connsiteX277" fmla="*/ 105927 w 183051"/>
                  <a:gd name="connsiteY277" fmla="*/ 976491 h 1052578"/>
                  <a:gd name="connsiteX278" fmla="*/ 102792 w 183051"/>
                  <a:gd name="connsiteY278" fmla="*/ 979113 h 1052578"/>
                  <a:gd name="connsiteX279" fmla="*/ 104274 w 183051"/>
                  <a:gd name="connsiteY279" fmla="*/ 984812 h 1052578"/>
                  <a:gd name="connsiteX280" fmla="*/ 110657 w 183051"/>
                  <a:gd name="connsiteY280" fmla="*/ 988061 h 1052578"/>
                  <a:gd name="connsiteX281" fmla="*/ 114020 w 183051"/>
                  <a:gd name="connsiteY281" fmla="*/ 985838 h 1052578"/>
                  <a:gd name="connsiteX282" fmla="*/ 126616 w 183051"/>
                  <a:gd name="connsiteY282" fmla="*/ 987263 h 1052578"/>
                  <a:gd name="connsiteX283" fmla="*/ 131746 w 183051"/>
                  <a:gd name="connsiteY283" fmla="*/ 986978 h 1052578"/>
                  <a:gd name="connsiteX284" fmla="*/ 131746 w 183051"/>
                  <a:gd name="connsiteY284" fmla="*/ 989771 h 1052578"/>
                  <a:gd name="connsiteX285" fmla="*/ 118694 w 183051"/>
                  <a:gd name="connsiteY285" fmla="*/ 996496 h 1052578"/>
                  <a:gd name="connsiteX286" fmla="*/ 118694 w 183051"/>
                  <a:gd name="connsiteY286" fmla="*/ 999232 h 1052578"/>
                  <a:gd name="connsiteX287" fmla="*/ 121601 w 183051"/>
                  <a:gd name="connsiteY287" fmla="*/ 1001968 h 1052578"/>
                  <a:gd name="connsiteX288" fmla="*/ 119093 w 183051"/>
                  <a:gd name="connsiteY288" fmla="*/ 1005330 h 1052578"/>
                  <a:gd name="connsiteX289" fmla="*/ 117041 w 183051"/>
                  <a:gd name="connsiteY289" fmla="*/ 1006128 h 1052578"/>
                  <a:gd name="connsiteX290" fmla="*/ 117554 w 183051"/>
                  <a:gd name="connsiteY290" fmla="*/ 1013195 h 1052578"/>
                  <a:gd name="connsiteX291" fmla="*/ 113849 w 183051"/>
                  <a:gd name="connsiteY291" fmla="*/ 1014221 h 1052578"/>
                  <a:gd name="connsiteX292" fmla="*/ 110088 w 183051"/>
                  <a:gd name="connsiteY292" fmla="*/ 1012397 h 1052578"/>
                  <a:gd name="connsiteX293" fmla="*/ 103476 w 183051"/>
                  <a:gd name="connsiteY293" fmla="*/ 1012397 h 1052578"/>
                  <a:gd name="connsiteX294" fmla="*/ 96067 w 183051"/>
                  <a:gd name="connsiteY294" fmla="*/ 1009776 h 1052578"/>
                  <a:gd name="connsiteX295" fmla="*/ 89000 w 183051"/>
                  <a:gd name="connsiteY295" fmla="*/ 1011486 h 1052578"/>
                  <a:gd name="connsiteX296" fmla="*/ 87803 w 183051"/>
                  <a:gd name="connsiteY296" fmla="*/ 1015247 h 1052578"/>
                  <a:gd name="connsiteX297" fmla="*/ 80963 w 183051"/>
                  <a:gd name="connsiteY297" fmla="*/ 1018667 h 1052578"/>
                  <a:gd name="connsiteX298" fmla="*/ 75264 w 183051"/>
                  <a:gd name="connsiteY298" fmla="*/ 1023284 h 1052578"/>
                  <a:gd name="connsiteX299" fmla="*/ 82616 w 183051"/>
                  <a:gd name="connsiteY299" fmla="*/ 1028071 h 1052578"/>
                  <a:gd name="connsiteX300" fmla="*/ 95155 w 183051"/>
                  <a:gd name="connsiteY300" fmla="*/ 1029097 h 1052578"/>
                  <a:gd name="connsiteX301" fmla="*/ 97036 w 183051"/>
                  <a:gd name="connsiteY301" fmla="*/ 1029553 h 1052578"/>
                  <a:gd name="connsiteX302" fmla="*/ 98632 w 183051"/>
                  <a:gd name="connsiteY302" fmla="*/ 1033315 h 1052578"/>
                  <a:gd name="connsiteX303" fmla="*/ 100398 w 183051"/>
                  <a:gd name="connsiteY303" fmla="*/ 1039014 h 1052578"/>
                  <a:gd name="connsiteX304" fmla="*/ 106098 w 183051"/>
                  <a:gd name="connsiteY304" fmla="*/ 1043118 h 1052578"/>
                  <a:gd name="connsiteX305" fmla="*/ 109404 w 183051"/>
                  <a:gd name="connsiteY305" fmla="*/ 1037874 h 1052578"/>
                  <a:gd name="connsiteX306" fmla="*/ 109119 w 183051"/>
                  <a:gd name="connsiteY306" fmla="*/ 1031206 h 1052578"/>
                  <a:gd name="connsiteX307" fmla="*/ 113279 w 183051"/>
                  <a:gd name="connsiteY307" fmla="*/ 1026874 h 1052578"/>
                  <a:gd name="connsiteX308" fmla="*/ 116015 w 183051"/>
                  <a:gd name="connsiteY308" fmla="*/ 1033713 h 1052578"/>
                  <a:gd name="connsiteX309" fmla="*/ 116756 w 183051"/>
                  <a:gd name="connsiteY309" fmla="*/ 1041180 h 1052578"/>
                  <a:gd name="connsiteX310" fmla="*/ 122455 w 183051"/>
                  <a:gd name="connsiteY310" fmla="*/ 1045398 h 1052578"/>
                  <a:gd name="connsiteX311" fmla="*/ 120575 w 183051"/>
                  <a:gd name="connsiteY311" fmla="*/ 1050071 h 1052578"/>
                  <a:gd name="connsiteX312" fmla="*/ 131062 w 183051"/>
                  <a:gd name="connsiteY312" fmla="*/ 1052579 h 1052578"/>
                  <a:gd name="connsiteX313" fmla="*/ 131575 w 183051"/>
                  <a:gd name="connsiteY313" fmla="*/ 1039641 h 1052578"/>
                  <a:gd name="connsiteX314" fmla="*/ 136436 w 183051"/>
                  <a:gd name="connsiteY314" fmla="*/ 1040809 h 1052578"/>
                  <a:gd name="connsiteX315" fmla="*/ 136932 w 183051"/>
                  <a:gd name="connsiteY315" fmla="*/ 1042263 h 1052578"/>
                  <a:gd name="connsiteX316" fmla="*/ 136932 w 183051"/>
                  <a:gd name="connsiteY316" fmla="*/ 1044086 h 1052578"/>
                  <a:gd name="connsiteX317" fmla="*/ 144512 w 183051"/>
                  <a:gd name="connsiteY317" fmla="*/ 1046024 h 1052578"/>
                  <a:gd name="connsiteX318" fmla="*/ 144911 w 183051"/>
                  <a:gd name="connsiteY318" fmla="*/ 1047962 h 1052578"/>
                  <a:gd name="connsiteX319" fmla="*/ 149699 w 183051"/>
                  <a:gd name="connsiteY319" fmla="*/ 1052351 h 1052578"/>
                  <a:gd name="connsiteX320" fmla="*/ 156595 w 183051"/>
                  <a:gd name="connsiteY320" fmla="*/ 1051952 h 1052578"/>
                  <a:gd name="connsiteX321" fmla="*/ 158772 w 183051"/>
                  <a:gd name="connsiteY321" fmla="*/ 1050037 h 1052578"/>
                  <a:gd name="connsiteX322" fmla="*/ 158533 w 183051"/>
                  <a:gd name="connsiteY322" fmla="*/ 1048931 h 1052578"/>
                  <a:gd name="connsiteX323" fmla="*/ 157051 w 183051"/>
                  <a:gd name="connsiteY323" fmla="*/ 1044485 h 1052578"/>
                  <a:gd name="connsiteX324" fmla="*/ 144170 w 183051"/>
                  <a:gd name="connsiteY324" fmla="*/ 1019180 h 1052578"/>
                  <a:gd name="connsiteX325" fmla="*/ 142176 w 183051"/>
                  <a:gd name="connsiteY325" fmla="*/ 1009377 h 105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183051" h="1052578">
                    <a:moveTo>
                      <a:pt x="102450" y="993703"/>
                    </a:moveTo>
                    <a:cubicBezTo>
                      <a:pt x="104149" y="993202"/>
                      <a:pt x="105978" y="993521"/>
                      <a:pt x="107409" y="994558"/>
                    </a:cubicBezTo>
                    <a:cubicBezTo>
                      <a:pt x="107831" y="994951"/>
                      <a:pt x="108338" y="995242"/>
                      <a:pt x="108891" y="995413"/>
                    </a:cubicBezTo>
                    <a:cubicBezTo>
                      <a:pt x="109176" y="995385"/>
                      <a:pt x="109461" y="995385"/>
                      <a:pt x="109746" y="995413"/>
                    </a:cubicBezTo>
                    <a:cubicBezTo>
                      <a:pt x="110601" y="995698"/>
                      <a:pt x="110714" y="996838"/>
                      <a:pt x="110657" y="997693"/>
                    </a:cubicBezTo>
                    <a:cubicBezTo>
                      <a:pt x="110657" y="999460"/>
                      <a:pt x="110373" y="1001227"/>
                      <a:pt x="110259" y="1002993"/>
                    </a:cubicBezTo>
                    <a:cubicBezTo>
                      <a:pt x="106959" y="1003341"/>
                      <a:pt x="103619" y="1003107"/>
                      <a:pt x="100398" y="1002310"/>
                    </a:cubicBezTo>
                    <a:cubicBezTo>
                      <a:pt x="99031" y="1001968"/>
                      <a:pt x="97378" y="1001113"/>
                      <a:pt x="97492" y="999688"/>
                    </a:cubicBezTo>
                    <a:cubicBezTo>
                      <a:pt x="97606" y="998263"/>
                      <a:pt x="100398" y="997408"/>
                      <a:pt x="100855" y="995641"/>
                    </a:cubicBezTo>
                    <a:cubicBezTo>
                      <a:pt x="100855" y="995299"/>
                      <a:pt x="100855" y="995014"/>
                      <a:pt x="100855" y="994729"/>
                    </a:cubicBezTo>
                    <a:cubicBezTo>
                      <a:pt x="101185" y="994148"/>
                      <a:pt x="101783" y="993766"/>
                      <a:pt x="102450" y="993703"/>
                    </a:cubicBezTo>
                    <a:close/>
                    <a:moveTo>
                      <a:pt x="35653" y="720641"/>
                    </a:moveTo>
                    <a:cubicBezTo>
                      <a:pt x="34826" y="719536"/>
                      <a:pt x="33555" y="718852"/>
                      <a:pt x="32176" y="718761"/>
                    </a:cubicBezTo>
                    <a:cubicBezTo>
                      <a:pt x="29588" y="718362"/>
                      <a:pt x="26955" y="719046"/>
                      <a:pt x="24880" y="720641"/>
                    </a:cubicBezTo>
                    <a:cubicBezTo>
                      <a:pt x="23552" y="721753"/>
                      <a:pt x="22395" y="723058"/>
                      <a:pt x="21461" y="724517"/>
                    </a:cubicBezTo>
                    <a:lnTo>
                      <a:pt x="18839" y="728108"/>
                    </a:lnTo>
                    <a:cubicBezTo>
                      <a:pt x="18332" y="728643"/>
                      <a:pt x="17995" y="729316"/>
                      <a:pt x="17870" y="730046"/>
                    </a:cubicBezTo>
                    <a:cubicBezTo>
                      <a:pt x="17870" y="731641"/>
                      <a:pt x="19295" y="732838"/>
                      <a:pt x="20663" y="733636"/>
                    </a:cubicBezTo>
                    <a:cubicBezTo>
                      <a:pt x="22829" y="735084"/>
                      <a:pt x="25314" y="735979"/>
                      <a:pt x="27901" y="736258"/>
                    </a:cubicBezTo>
                    <a:cubicBezTo>
                      <a:pt x="30335" y="736252"/>
                      <a:pt x="32632" y="735112"/>
                      <a:pt x="34114" y="733180"/>
                    </a:cubicBezTo>
                    <a:cubicBezTo>
                      <a:pt x="36165" y="730120"/>
                      <a:pt x="36963" y="726381"/>
                      <a:pt x="36336" y="722750"/>
                    </a:cubicBezTo>
                    <a:cubicBezTo>
                      <a:pt x="36251" y="722009"/>
                      <a:pt x="36017" y="721291"/>
                      <a:pt x="35653" y="720641"/>
                    </a:cubicBezTo>
                    <a:close/>
                    <a:moveTo>
                      <a:pt x="99544" y="942921"/>
                    </a:moveTo>
                    <a:cubicBezTo>
                      <a:pt x="96802" y="943827"/>
                      <a:pt x="93861" y="943947"/>
                      <a:pt x="91051" y="943263"/>
                    </a:cubicBezTo>
                    <a:cubicBezTo>
                      <a:pt x="88942" y="942351"/>
                      <a:pt x="87518" y="940299"/>
                      <a:pt x="85352" y="939330"/>
                    </a:cubicBezTo>
                    <a:cubicBezTo>
                      <a:pt x="82331" y="937905"/>
                      <a:pt x="78342" y="938760"/>
                      <a:pt x="75948" y="936537"/>
                    </a:cubicBezTo>
                    <a:cubicBezTo>
                      <a:pt x="74734" y="935141"/>
                      <a:pt x="74033" y="933369"/>
                      <a:pt x="73953" y="931522"/>
                    </a:cubicBezTo>
                    <a:cubicBezTo>
                      <a:pt x="73269" y="925822"/>
                      <a:pt x="74295" y="918869"/>
                      <a:pt x="70476" y="914423"/>
                    </a:cubicBezTo>
                    <a:cubicBezTo>
                      <a:pt x="66658" y="909978"/>
                      <a:pt x="60217" y="909066"/>
                      <a:pt x="58108" y="904050"/>
                    </a:cubicBezTo>
                    <a:cubicBezTo>
                      <a:pt x="57527" y="901896"/>
                      <a:pt x="57094" y="899708"/>
                      <a:pt x="56798" y="897496"/>
                    </a:cubicBezTo>
                    <a:cubicBezTo>
                      <a:pt x="55430" y="892196"/>
                      <a:pt x="50414" y="888890"/>
                      <a:pt x="46140" y="885584"/>
                    </a:cubicBezTo>
                    <a:cubicBezTo>
                      <a:pt x="41865" y="882279"/>
                      <a:pt x="37533" y="877491"/>
                      <a:pt x="38502" y="872133"/>
                    </a:cubicBezTo>
                    <a:cubicBezTo>
                      <a:pt x="39927" y="864097"/>
                      <a:pt x="51896" y="861248"/>
                      <a:pt x="52865" y="853211"/>
                    </a:cubicBezTo>
                    <a:cubicBezTo>
                      <a:pt x="53150" y="850533"/>
                      <a:pt x="52238" y="847512"/>
                      <a:pt x="53663" y="845346"/>
                    </a:cubicBezTo>
                    <a:cubicBezTo>
                      <a:pt x="55088" y="843180"/>
                      <a:pt x="59704" y="842610"/>
                      <a:pt x="61642" y="839988"/>
                    </a:cubicBezTo>
                    <a:cubicBezTo>
                      <a:pt x="63580" y="837367"/>
                      <a:pt x="61642" y="832465"/>
                      <a:pt x="60787" y="828589"/>
                    </a:cubicBezTo>
                    <a:cubicBezTo>
                      <a:pt x="58564" y="817190"/>
                      <a:pt x="70647" y="808983"/>
                      <a:pt x="73269" y="797641"/>
                    </a:cubicBezTo>
                    <a:lnTo>
                      <a:pt x="81647" y="761051"/>
                    </a:lnTo>
                    <a:cubicBezTo>
                      <a:pt x="82930" y="756332"/>
                      <a:pt x="83602" y="751464"/>
                      <a:pt x="83642" y="746574"/>
                    </a:cubicBezTo>
                    <a:cubicBezTo>
                      <a:pt x="83642" y="740874"/>
                      <a:pt x="81818" y="733750"/>
                      <a:pt x="86207" y="729874"/>
                    </a:cubicBezTo>
                    <a:cubicBezTo>
                      <a:pt x="87803" y="728450"/>
                      <a:pt x="90082" y="727652"/>
                      <a:pt x="91108" y="725771"/>
                    </a:cubicBezTo>
                    <a:cubicBezTo>
                      <a:pt x="92151" y="722989"/>
                      <a:pt x="91188" y="719855"/>
                      <a:pt x="88771" y="718134"/>
                    </a:cubicBezTo>
                    <a:cubicBezTo>
                      <a:pt x="86384" y="716515"/>
                      <a:pt x="84098" y="714743"/>
                      <a:pt x="81932" y="712833"/>
                    </a:cubicBezTo>
                    <a:cubicBezTo>
                      <a:pt x="74067" y="703999"/>
                      <a:pt x="85466" y="688724"/>
                      <a:pt x="79310" y="678636"/>
                    </a:cubicBezTo>
                    <a:cubicBezTo>
                      <a:pt x="77829" y="676243"/>
                      <a:pt x="75435" y="674305"/>
                      <a:pt x="74922" y="671569"/>
                    </a:cubicBezTo>
                    <a:cubicBezTo>
                      <a:pt x="74728" y="669426"/>
                      <a:pt x="75144" y="667272"/>
                      <a:pt x="76119" y="665356"/>
                    </a:cubicBezTo>
                    <a:cubicBezTo>
                      <a:pt x="81818" y="650196"/>
                      <a:pt x="86948" y="631730"/>
                      <a:pt x="77259" y="618621"/>
                    </a:cubicBezTo>
                    <a:cubicBezTo>
                      <a:pt x="75321" y="616655"/>
                      <a:pt x="73959" y="614187"/>
                      <a:pt x="73326" y="611497"/>
                    </a:cubicBezTo>
                    <a:cubicBezTo>
                      <a:pt x="73548" y="608755"/>
                      <a:pt x="74540" y="606128"/>
                      <a:pt x="76176" y="603916"/>
                    </a:cubicBezTo>
                    <a:cubicBezTo>
                      <a:pt x="79003" y="596991"/>
                      <a:pt x="81032" y="589759"/>
                      <a:pt x="82217" y="582372"/>
                    </a:cubicBezTo>
                    <a:cubicBezTo>
                      <a:pt x="83471" y="574815"/>
                      <a:pt x="88441" y="568391"/>
                      <a:pt x="95440" y="565274"/>
                    </a:cubicBezTo>
                    <a:cubicBezTo>
                      <a:pt x="94346" y="559238"/>
                      <a:pt x="94898" y="553014"/>
                      <a:pt x="97036" y="547264"/>
                    </a:cubicBezTo>
                    <a:cubicBezTo>
                      <a:pt x="98387" y="544397"/>
                      <a:pt x="99361" y="541370"/>
                      <a:pt x="99943" y="538258"/>
                    </a:cubicBezTo>
                    <a:cubicBezTo>
                      <a:pt x="99760" y="533801"/>
                      <a:pt x="98529" y="529447"/>
                      <a:pt x="96352" y="525549"/>
                    </a:cubicBezTo>
                    <a:cubicBezTo>
                      <a:pt x="92989" y="517604"/>
                      <a:pt x="91336" y="509037"/>
                      <a:pt x="91507" y="500414"/>
                    </a:cubicBezTo>
                    <a:cubicBezTo>
                      <a:pt x="91393" y="498550"/>
                      <a:pt x="91872" y="496692"/>
                      <a:pt x="92875" y="495113"/>
                    </a:cubicBezTo>
                    <a:cubicBezTo>
                      <a:pt x="94220" y="493837"/>
                      <a:pt x="95839" y="492879"/>
                      <a:pt x="97606" y="492320"/>
                    </a:cubicBezTo>
                    <a:cubicBezTo>
                      <a:pt x="104314" y="488599"/>
                      <a:pt x="108857" y="481913"/>
                      <a:pt x="109860" y="474310"/>
                    </a:cubicBezTo>
                    <a:cubicBezTo>
                      <a:pt x="110777" y="466804"/>
                      <a:pt x="110469" y="459201"/>
                      <a:pt x="108948" y="451797"/>
                    </a:cubicBezTo>
                    <a:cubicBezTo>
                      <a:pt x="116072" y="449631"/>
                      <a:pt x="118751" y="440911"/>
                      <a:pt x="118352" y="433502"/>
                    </a:cubicBezTo>
                    <a:cubicBezTo>
                      <a:pt x="117742" y="426030"/>
                      <a:pt x="118164" y="418512"/>
                      <a:pt x="119606" y="411160"/>
                    </a:cubicBezTo>
                    <a:cubicBezTo>
                      <a:pt x="121601" y="402611"/>
                      <a:pt x="123025" y="392124"/>
                      <a:pt x="116357" y="386367"/>
                    </a:cubicBezTo>
                    <a:cubicBezTo>
                      <a:pt x="114077" y="384430"/>
                      <a:pt x="111000" y="383176"/>
                      <a:pt x="109860" y="380668"/>
                    </a:cubicBezTo>
                    <a:cubicBezTo>
                      <a:pt x="108321" y="377020"/>
                      <a:pt x="111056" y="372860"/>
                      <a:pt x="110544" y="369269"/>
                    </a:cubicBezTo>
                    <a:cubicBezTo>
                      <a:pt x="109860" y="364424"/>
                      <a:pt x="104559" y="361290"/>
                      <a:pt x="103533" y="356559"/>
                    </a:cubicBezTo>
                    <a:cubicBezTo>
                      <a:pt x="102222" y="350461"/>
                      <a:pt x="108093" y="345616"/>
                      <a:pt x="112310" y="341000"/>
                    </a:cubicBezTo>
                    <a:cubicBezTo>
                      <a:pt x="118870" y="333704"/>
                      <a:pt x="122182" y="324055"/>
                      <a:pt x="121487" y="314269"/>
                    </a:cubicBezTo>
                    <a:cubicBezTo>
                      <a:pt x="120324" y="309841"/>
                      <a:pt x="120808" y="305144"/>
                      <a:pt x="122854" y="301046"/>
                    </a:cubicBezTo>
                    <a:cubicBezTo>
                      <a:pt x="123909" y="300009"/>
                      <a:pt x="124826" y="298841"/>
                      <a:pt x="125590" y="297570"/>
                    </a:cubicBezTo>
                    <a:cubicBezTo>
                      <a:pt x="126018" y="296059"/>
                      <a:pt x="126018" y="294463"/>
                      <a:pt x="125590" y="292953"/>
                    </a:cubicBezTo>
                    <a:cubicBezTo>
                      <a:pt x="124450" y="286285"/>
                      <a:pt x="125590" y="277165"/>
                      <a:pt x="132145" y="275855"/>
                    </a:cubicBezTo>
                    <a:cubicBezTo>
                      <a:pt x="132595" y="271415"/>
                      <a:pt x="132327" y="266929"/>
                      <a:pt x="131347" y="262575"/>
                    </a:cubicBezTo>
                    <a:cubicBezTo>
                      <a:pt x="136772" y="260420"/>
                      <a:pt x="141121" y="256197"/>
                      <a:pt x="143429" y="250834"/>
                    </a:cubicBezTo>
                    <a:cubicBezTo>
                      <a:pt x="143692" y="248902"/>
                      <a:pt x="144113" y="246998"/>
                      <a:pt x="144683" y="245134"/>
                    </a:cubicBezTo>
                    <a:cubicBezTo>
                      <a:pt x="146963" y="239891"/>
                      <a:pt x="155341" y="237896"/>
                      <a:pt x="155056" y="232196"/>
                    </a:cubicBezTo>
                    <a:cubicBezTo>
                      <a:pt x="154601" y="230196"/>
                      <a:pt x="153854" y="228275"/>
                      <a:pt x="152834" y="226497"/>
                    </a:cubicBezTo>
                    <a:cubicBezTo>
                      <a:pt x="149300" y="217435"/>
                      <a:pt x="159160" y="207005"/>
                      <a:pt x="155227" y="198000"/>
                    </a:cubicBezTo>
                    <a:cubicBezTo>
                      <a:pt x="153746" y="194523"/>
                      <a:pt x="150269" y="191958"/>
                      <a:pt x="149870" y="188197"/>
                    </a:cubicBezTo>
                    <a:cubicBezTo>
                      <a:pt x="149357" y="183580"/>
                      <a:pt x="153689" y="179932"/>
                      <a:pt x="155000" y="175430"/>
                    </a:cubicBezTo>
                    <a:cubicBezTo>
                      <a:pt x="155376" y="173144"/>
                      <a:pt x="155871" y="170882"/>
                      <a:pt x="156481" y="168648"/>
                    </a:cubicBezTo>
                    <a:cubicBezTo>
                      <a:pt x="160015" y="160326"/>
                      <a:pt x="173580" y="164088"/>
                      <a:pt x="180248" y="157761"/>
                    </a:cubicBezTo>
                    <a:cubicBezTo>
                      <a:pt x="183331" y="154581"/>
                      <a:pt x="183941" y="149748"/>
                      <a:pt x="181730" y="145907"/>
                    </a:cubicBezTo>
                    <a:cubicBezTo>
                      <a:pt x="181000" y="144812"/>
                      <a:pt x="180163" y="143804"/>
                      <a:pt x="179222" y="142886"/>
                    </a:cubicBezTo>
                    <a:cubicBezTo>
                      <a:pt x="176914" y="143422"/>
                      <a:pt x="174492" y="142761"/>
                      <a:pt x="172782" y="141119"/>
                    </a:cubicBezTo>
                    <a:cubicBezTo>
                      <a:pt x="170753" y="138902"/>
                      <a:pt x="169510" y="136075"/>
                      <a:pt x="169248" y="133083"/>
                    </a:cubicBezTo>
                    <a:cubicBezTo>
                      <a:pt x="168581" y="127241"/>
                      <a:pt x="168718" y="121336"/>
                      <a:pt x="169647" y="115528"/>
                    </a:cubicBezTo>
                    <a:cubicBezTo>
                      <a:pt x="166945" y="115129"/>
                      <a:pt x="164364" y="114161"/>
                      <a:pt x="162067" y="112679"/>
                    </a:cubicBezTo>
                    <a:cubicBezTo>
                      <a:pt x="162067" y="109544"/>
                      <a:pt x="165088" y="106466"/>
                      <a:pt x="163777" y="103560"/>
                    </a:cubicBezTo>
                    <a:cubicBezTo>
                      <a:pt x="163047" y="102442"/>
                      <a:pt x="162073" y="101508"/>
                      <a:pt x="160927" y="100824"/>
                    </a:cubicBezTo>
                    <a:cubicBezTo>
                      <a:pt x="156099" y="96965"/>
                      <a:pt x="154150" y="90525"/>
                      <a:pt x="156025" y="84637"/>
                    </a:cubicBezTo>
                    <a:cubicBezTo>
                      <a:pt x="150326" y="83383"/>
                      <a:pt x="143258" y="80249"/>
                      <a:pt x="143999" y="74492"/>
                    </a:cubicBezTo>
                    <a:cubicBezTo>
                      <a:pt x="144398" y="72799"/>
                      <a:pt x="145071" y="71181"/>
                      <a:pt x="145994" y="69705"/>
                    </a:cubicBezTo>
                    <a:cubicBezTo>
                      <a:pt x="149026" y="61948"/>
                      <a:pt x="149853" y="53507"/>
                      <a:pt x="148388" y="45311"/>
                    </a:cubicBezTo>
                    <a:cubicBezTo>
                      <a:pt x="148428" y="43744"/>
                      <a:pt x="147972" y="42210"/>
                      <a:pt x="147077" y="40922"/>
                    </a:cubicBezTo>
                    <a:cubicBezTo>
                      <a:pt x="145880" y="39497"/>
                      <a:pt x="143772" y="39099"/>
                      <a:pt x="142347" y="37959"/>
                    </a:cubicBezTo>
                    <a:cubicBezTo>
                      <a:pt x="136647" y="33570"/>
                      <a:pt x="143943" y="23482"/>
                      <a:pt x="139896" y="17612"/>
                    </a:cubicBezTo>
                    <a:cubicBezTo>
                      <a:pt x="138311" y="15924"/>
                      <a:pt x="136533" y="14431"/>
                      <a:pt x="134595" y="13166"/>
                    </a:cubicBezTo>
                    <a:cubicBezTo>
                      <a:pt x="131238" y="9632"/>
                      <a:pt x="129489" y="4867"/>
                      <a:pt x="129751" y="0"/>
                    </a:cubicBezTo>
                    <a:cubicBezTo>
                      <a:pt x="129198" y="1111"/>
                      <a:pt x="128702" y="2257"/>
                      <a:pt x="128269" y="3420"/>
                    </a:cubicBezTo>
                    <a:cubicBezTo>
                      <a:pt x="127488" y="6725"/>
                      <a:pt x="126496" y="9986"/>
                      <a:pt x="125305" y="13166"/>
                    </a:cubicBezTo>
                    <a:cubicBezTo>
                      <a:pt x="122564" y="18204"/>
                      <a:pt x="118506" y="22399"/>
                      <a:pt x="113564" y="25306"/>
                    </a:cubicBezTo>
                    <a:cubicBezTo>
                      <a:pt x="114436" y="28440"/>
                      <a:pt x="114858" y="31683"/>
                      <a:pt x="114818" y="34938"/>
                    </a:cubicBezTo>
                    <a:cubicBezTo>
                      <a:pt x="115502" y="64461"/>
                      <a:pt x="116129" y="94383"/>
                      <a:pt x="108606" y="122938"/>
                    </a:cubicBezTo>
                    <a:cubicBezTo>
                      <a:pt x="106554" y="130689"/>
                      <a:pt x="104046" y="139466"/>
                      <a:pt x="108321" y="146249"/>
                    </a:cubicBezTo>
                    <a:cubicBezTo>
                      <a:pt x="110373" y="149497"/>
                      <a:pt x="114020" y="153259"/>
                      <a:pt x="111854" y="156451"/>
                    </a:cubicBezTo>
                    <a:cubicBezTo>
                      <a:pt x="111113" y="157591"/>
                      <a:pt x="109803" y="158217"/>
                      <a:pt x="109176" y="159357"/>
                    </a:cubicBezTo>
                    <a:cubicBezTo>
                      <a:pt x="108497" y="161022"/>
                      <a:pt x="108497" y="162880"/>
                      <a:pt x="109176" y="164544"/>
                    </a:cubicBezTo>
                    <a:cubicBezTo>
                      <a:pt x="113633" y="181505"/>
                      <a:pt x="112020" y="199487"/>
                      <a:pt x="104616" y="215383"/>
                    </a:cubicBezTo>
                    <a:cubicBezTo>
                      <a:pt x="102918" y="218575"/>
                      <a:pt x="101413" y="221869"/>
                      <a:pt x="100114" y="225243"/>
                    </a:cubicBezTo>
                    <a:cubicBezTo>
                      <a:pt x="98404" y="230430"/>
                      <a:pt x="98119" y="236015"/>
                      <a:pt x="96466" y="241259"/>
                    </a:cubicBezTo>
                    <a:cubicBezTo>
                      <a:pt x="94813" y="246502"/>
                      <a:pt x="92647" y="249865"/>
                      <a:pt x="91336" y="254425"/>
                    </a:cubicBezTo>
                    <a:cubicBezTo>
                      <a:pt x="86663" y="271181"/>
                      <a:pt x="98803" y="288621"/>
                      <a:pt x="96181" y="305720"/>
                    </a:cubicBezTo>
                    <a:cubicBezTo>
                      <a:pt x="95788" y="309202"/>
                      <a:pt x="94380" y="312491"/>
                      <a:pt x="92134" y="315181"/>
                    </a:cubicBezTo>
                    <a:cubicBezTo>
                      <a:pt x="90082" y="317461"/>
                      <a:pt x="87233" y="318886"/>
                      <a:pt x="85181" y="320881"/>
                    </a:cubicBezTo>
                    <a:cubicBezTo>
                      <a:pt x="79994" y="326580"/>
                      <a:pt x="80735" y="335072"/>
                      <a:pt x="81476" y="342652"/>
                    </a:cubicBezTo>
                    <a:cubicBezTo>
                      <a:pt x="82907" y="356702"/>
                      <a:pt x="83346" y="370831"/>
                      <a:pt x="82787" y="384943"/>
                    </a:cubicBezTo>
                    <a:cubicBezTo>
                      <a:pt x="82160" y="401015"/>
                      <a:pt x="80849" y="419937"/>
                      <a:pt x="68709" y="430538"/>
                    </a:cubicBezTo>
                    <a:cubicBezTo>
                      <a:pt x="66373" y="447637"/>
                      <a:pt x="64663" y="465077"/>
                      <a:pt x="63466" y="482403"/>
                    </a:cubicBezTo>
                    <a:cubicBezTo>
                      <a:pt x="63534" y="486063"/>
                      <a:pt x="62896" y="489699"/>
                      <a:pt x="61585" y="493119"/>
                    </a:cubicBezTo>
                    <a:cubicBezTo>
                      <a:pt x="58678" y="499388"/>
                      <a:pt x="51440" y="503377"/>
                      <a:pt x="50186" y="510217"/>
                    </a:cubicBezTo>
                    <a:cubicBezTo>
                      <a:pt x="49616" y="513694"/>
                      <a:pt x="50585" y="517854"/>
                      <a:pt x="48020" y="520191"/>
                    </a:cubicBezTo>
                    <a:cubicBezTo>
                      <a:pt x="45456" y="522528"/>
                      <a:pt x="43062" y="521844"/>
                      <a:pt x="41295" y="523611"/>
                    </a:cubicBezTo>
                    <a:cubicBezTo>
                      <a:pt x="39528" y="525377"/>
                      <a:pt x="39642" y="529310"/>
                      <a:pt x="39699" y="531932"/>
                    </a:cubicBezTo>
                    <a:cubicBezTo>
                      <a:pt x="39078" y="537894"/>
                      <a:pt x="38844" y="543895"/>
                      <a:pt x="39015" y="549885"/>
                    </a:cubicBezTo>
                    <a:cubicBezTo>
                      <a:pt x="40098" y="555585"/>
                      <a:pt x="46253" y="561569"/>
                      <a:pt x="51611" y="558890"/>
                    </a:cubicBezTo>
                    <a:cubicBezTo>
                      <a:pt x="55145" y="568409"/>
                      <a:pt x="52124" y="579118"/>
                      <a:pt x="44145" y="585393"/>
                    </a:cubicBezTo>
                    <a:cubicBezTo>
                      <a:pt x="41301" y="587052"/>
                      <a:pt x="38673" y="589058"/>
                      <a:pt x="36336" y="591377"/>
                    </a:cubicBezTo>
                    <a:cubicBezTo>
                      <a:pt x="31207" y="597875"/>
                      <a:pt x="35424" y="607222"/>
                      <a:pt x="36336" y="615486"/>
                    </a:cubicBezTo>
                    <a:cubicBezTo>
                      <a:pt x="37875" y="630761"/>
                      <a:pt x="26932" y="644668"/>
                      <a:pt x="25735" y="659999"/>
                    </a:cubicBezTo>
                    <a:cubicBezTo>
                      <a:pt x="25211" y="664274"/>
                      <a:pt x="26220" y="668594"/>
                      <a:pt x="28585" y="672196"/>
                    </a:cubicBezTo>
                    <a:cubicBezTo>
                      <a:pt x="31173" y="675815"/>
                      <a:pt x="36017" y="677001"/>
                      <a:pt x="39984" y="674989"/>
                    </a:cubicBezTo>
                    <a:cubicBezTo>
                      <a:pt x="40440" y="661954"/>
                      <a:pt x="40936" y="648902"/>
                      <a:pt x="41466" y="635833"/>
                    </a:cubicBezTo>
                    <a:cubicBezTo>
                      <a:pt x="41227" y="631536"/>
                      <a:pt x="42235" y="627261"/>
                      <a:pt x="44373" y="623522"/>
                    </a:cubicBezTo>
                    <a:cubicBezTo>
                      <a:pt x="46635" y="619960"/>
                      <a:pt x="51354" y="618906"/>
                      <a:pt x="54917" y="621168"/>
                    </a:cubicBezTo>
                    <a:cubicBezTo>
                      <a:pt x="55093" y="621283"/>
                      <a:pt x="55264" y="621402"/>
                      <a:pt x="55430" y="621528"/>
                    </a:cubicBezTo>
                    <a:cubicBezTo>
                      <a:pt x="58849" y="625004"/>
                      <a:pt x="56627" y="631331"/>
                      <a:pt x="59533" y="635263"/>
                    </a:cubicBezTo>
                    <a:cubicBezTo>
                      <a:pt x="61357" y="637600"/>
                      <a:pt x="64834" y="638683"/>
                      <a:pt x="65803" y="641476"/>
                    </a:cubicBezTo>
                    <a:cubicBezTo>
                      <a:pt x="67855" y="647175"/>
                      <a:pt x="58393" y="650253"/>
                      <a:pt x="56740" y="656010"/>
                    </a:cubicBezTo>
                    <a:cubicBezTo>
                      <a:pt x="56541" y="658284"/>
                      <a:pt x="56541" y="660575"/>
                      <a:pt x="56740" y="662849"/>
                    </a:cubicBezTo>
                    <a:cubicBezTo>
                      <a:pt x="56740" y="665186"/>
                      <a:pt x="54689" y="667693"/>
                      <a:pt x="52409" y="667180"/>
                    </a:cubicBezTo>
                    <a:cubicBezTo>
                      <a:pt x="53800" y="688063"/>
                      <a:pt x="53594" y="709026"/>
                      <a:pt x="51782" y="729874"/>
                    </a:cubicBezTo>
                    <a:cubicBezTo>
                      <a:pt x="51212" y="736543"/>
                      <a:pt x="48761" y="745035"/>
                      <a:pt x="42036" y="745491"/>
                    </a:cubicBezTo>
                    <a:cubicBezTo>
                      <a:pt x="42332" y="752182"/>
                      <a:pt x="42195" y="758879"/>
                      <a:pt x="41637" y="765553"/>
                    </a:cubicBezTo>
                    <a:cubicBezTo>
                      <a:pt x="39534" y="766015"/>
                      <a:pt x="37340" y="765673"/>
                      <a:pt x="35482" y="764584"/>
                    </a:cubicBezTo>
                    <a:cubicBezTo>
                      <a:pt x="31908" y="758714"/>
                      <a:pt x="29092" y="752410"/>
                      <a:pt x="27103" y="745833"/>
                    </a:cubicBezTo>
                    <a:cubicBezTo>
                      <a:pt x="21427" y="746984"/>
                      <a:pt x="16012" y="749190"/>
                      <a:pt x="11145" y="752330"/>
                    </a:cubicBezTo>
                    <a:cubicBezTo>
                      <a:pt x="12969" y="755750"/>
                      <a:pt x="8979" y="759227"/>
                      <a:pt x="5901" y="761507"/>
                    </a:cubicBezTo>
                    <a:cubicBezTo>
                      <a:pt x="2823" y="763786"/>
                      <a:pt x="202" y="770626"/>
                      <a:pt x="3792" y="772336"/>
                    </a:cubicBezTo>
                    <a:cubicBezTo>
                      <a:pt x="4283" y="775271"/>
                      <a:pt x="6340" y="777699"/>
                      <a:pt x="9150" y="778662"/>
                    </a:cubicBezTo>
                    <a:cubicBezTo>
                      <a:pt x="11925" y="779591"/>
                      <a:pt x="14832" y="780070"/>
                      <a:pt x="17756" y="780087"/>
                    </a:cubicBezTo>
                    <a:cubicBezTo>
                      <a:pt x="22299" y="780053"/>
                      <a:pt x="26716" y="781563"/>
                      <a:pt x="30295" y="784361"/>
                    </a:cubicBezTo>
                    <a:cubicBezTo>
                      <a:pt x="33652" y="787263"/>
                      <a:pt x="34028" y="792335"/>
                      <a:pt x="31127" y="795698"/>
                    </a:cubicBezTo>
                    <a:cubicBezTo>
                      <a:pt x="30990" y="795857"/>
                      <a:pt x="30842" y="796011"/>
                      <a:pt x="30694" y="796159"/>
                    </a:cubicBezTo>
                    <a:cubicBezTo>
                      <a:pt x="28881" y="797163"/>
                      <a:pt x="26972" y="797983"/>
                      <a:pt x="24994" y="798610"/>
                    </a:cubicBezTo>
                    <a:cubicBezTo>
                      <a:pt x="21820" y="800269"/>
                      <a:pt x="19922" y="803643"/>
                      <a:pt x="20150" y="807216"/>
                    </a:cubicBezTo>
                    <a:cubicBezTo>
                      <a:pt x="20218" y="808083"/>
                      <a:pt x="20537" y="808915"/>
                      <a:pt x="21062" y="809610"/>
                    </a:cubicBezTo>
                    <a:cubicBezTo>
                      <a:pt x="21979" y="810380"/>
                      <a:pt x="23119" y="810836"/>
                      <a:pt x="24310" y="810921"/>
                    </a:cubicBezTo>
                    <a:lnTo>
                      <a:pt x="42720" y="813771"/>
                    </a:lnTo>
                    <a:cubicBezTo>
                      <a:pt x="43860" y="813771"/>
                      <a:pt x="45171" y="814284"/>
                      <a:pt x="45512" y="815367"/>
                    </a:cubicBezTo>
                    <a:cubicBezTo>
                      <a:pt x="45683" y="815885"/>
                      <a:pt x="45683" y="816444"/>
                      <a:pt x="45512" y="816963"/>
                    </a:cubicBezTo>
                    <a:cubicBezTo>
                      <a:pt x="44886" y="820496"/>
                      <a:pt x="44202" y="824087"/>
                      <a:pt x="43575" y="827621"/>
                    </a:cubicBezTo>
                    <a:cubicBezTo>
                      <a:pt x="41409" y="828715"/>
                      <a:pt x="38764" y="828065"/>
                      <a:pt x="37362" y="826082"/>
                    </a:cubicBezTo>
                    <a:cubicBezTo>
                      <a:pt x="36080" y="824018"/>
                      <a:pt x="34570" y="822103"/>
                      <a:pt x="32860" y="820382"/>
                    </a:cubicBezTo>
                    <a:cubicBezTo>
                      <a:pt x="30449" y="819037"/>
                      <a:pt x="27673" y="818496"/>
                      <a:pt x="24937" y="818844"/>
                    </a:cubicBezTo>
                    <a:lnTo>
                      <a:pt x="10290" y="819128"/>
                    </a:lnTo>
                    <a:cubicBezTo>
                      <a:pt x="8808" y="818986"/>
                      <a:pt x="7315" y="819305"/>
                      <a:pt x="6015" y="820040"/>
                    </a:cubicBezTo>
                    <a:cubicBezTo>
                      <a:pt x="4881" y="820969"/>
                      <a:pt x="4066" y="822223"/>
                      <a:pt x="3678" y="823631"/>
                    </a:cubicBezTo>
                    <a:cubicBezTo>
                      <a:pt x="2881" y="825421"/>
                      <a:pt x="2487" y="827370"/>
                      <a:pt x="2539" y="829330"/>
                    </a:cubicBezTo>
                    <a:cubicBezTo>
                      <a:pt x="2784" y="832773"/>
                      <a:pt x="5012" y="835754"/>
                      <a:pt x="8238" y="836968"/>
                    </a:cubicBezTo>
                    <a:cubicBezTo>
                      <a:pt x="11589" y="838028"/>
                      <a:pt x="15254" y="836973"/>
                      <a:pt x="17528" y="834289"/>
                    </a:cubicBezTo>
                    <a:cubicBezTo>
                      <a:pt x="19466" y="832009"/>
                      <a:pt x="20948" y="828247"/>
                      <a:pt x="23912" y="828589"/>
                    </a:cubicBezTo>
                    <a:cubicBezTo>
                      <a:pt x="26875" y="828931"/>
                      <a:pt x="27673" y="832750"/>
                      <a:pt x="27730" y="835714"/>
                    </a:cubicBezTo>
                    <a:cubicBezTo>
                      <a:pt x="27787" y="838678"/>
                      <a:pt x="27730" y="840900"/>
                      <a:pt x="25621" y="842154"/>
                    </a:cubicBezTo>
                    <a:cubicBezTo>
                      <a:pt x="24504" y="842713"/>
                      <a:pt x="23279" y="843026"/>
                      <a:pt x="22031" y="843066"/>
                    </a:cubicBezTo>
                    <a:cubicBezTo>
                      <a:pt x="16833" y="843636"/>
                      <a:pt x="11846" y="845460"/>
                      <a:pt x="7497" y="848367"/>
                    </a:cubicBezTo>
                    <a:cubicBezTo>
                      <a:pt x="8295" y="852128"/>
                      <a:pt x="8466" y="857144"/>
                      <a:pt x="4932" y="858626"/>
                    </a:cubicBezTo>
                    <a:cubicBezTo>
                      <a:pt x="4020" y="858968"/>
                      <a:pt x="2994" y="859025"/>
                      <a:pt x="2140" y="859424"/>
                    </a:cubicBezTo>
                    <a:cubicBezTo>
                      <a:pt x="-61" y="860888"/>
                      <a:pt x="-665" y="863858"/>
                      <a:pt x="800" y="866063"/>
                    </a:cubicBezTo>
                    <a:cubicBezTo>
                      <a:pt x="846" y="866132"/>
                      <a:pt x="891" y="866195"/>
                      <a:pt x="943" y="866263"/>
                    </a:cubicBezTo>
                    <a:cubicBezTo>
                      <a:pt x="2590" y="868332"/>
                      <a:pt x="4909" y="869762"/>
                      <a:pt x="7497" y="870310"/>
                    </a:cubicBezTo>
                    <a:cubicBezTo>
                      <a:pt x="6904" y="873399"/>
                      <a:pt x="8928" y="876391"/>
                      <a:pt x="12017" y="876984"/>
                    </a:cubicBezTo>
                    <a:cubicBezTo>
                      <a:pt x="13020" y="877178"/>
                      <a:pt x="14057" y="877098"/>
                      <a:pt x="15020" y="876750"/>
                    </a:cubicBezTo>
                    <a:cubicBezTo>
                      <a:pt x="17671" y="872590"/>
                      <a:pt x="19221" y="867825"/>
                      <a:pt x="19523" y="862900"/>
                    </a:cubicBezTo>
                    <a:cubicBezTo>
                      <a:pt x="19244" y="859862"/>
                      <a:pt x="19859" y="856813"/>
                      <a:pt x="21290" y="854123"/>
                    </a:cubicBezTo>
                    <a:cubicBezTo>
                      <a:pt x="24003" y="851188"/>
                      <a:pt x="28585" y="851011"/>
                      <a:pt x="31520" y="853730"/>
                    </a:cubicBezTo>
                    <a:cubicBezTo>
                      <a:pt x="31822" y="854009"/>
                      <a:pt x="32096" y="854311"/>
                      <a:pt x="32347" y="854636"/>
                    </a:cubicBezTo>
                    <a:cubicBezTo>
                      <a:pt x="34735" y="858318"/>
                      <a:pt x="34433" y="863134"/>
                      <a:pt x="31606" y="866491"/>
                    </a:cubicBezTo>
                    <a:cubicBezTo>
                      <a:pt x="30232" y="867830"/>
                      <a:pt x="28990" y="869301"/>
                      <a:pt x="27901" y="870880"/>
                    </a:cubicBezTo>
                    <a:cubicBezTo>
                      <a:pt x="25963" y="874470"/>
                      <a:pt x="27901" y="878916"/>
                      <a:pt x="27160" y="882963"/>
                    </a:cubicBezTo>
                    <a:cubicBezTo>
                      <a:pt x="26328" y="888457"/>
                      <a:pt x="21660" y="892549"/>
                      <a:pt x="16103" y="892651"/>
                    </a:cubicBezTo>
                    <a:cubicBezTo>
                      <a:pt x="18246" y="896607"/>
                      <a:pt x="16776" y="901554"/>
                      <a:pt x="12820" y="903703"/>
                    </a:cubicBezTo>
                    <a:cubicBezTo>
                      <a:pt x="11925" y="904182"/>
                      <a:pt x="10951" y="904495"/>
                      <a:pt x="9948" y="904621"/>
                    </a:cubicBezTo>
                    <a:cubicBezTo>
                      <a:pt x="9458" y="909596"/>
                      <a:pt x="10597" y="914595"/>
                      <a:pt x="13197" y="918869"/>
                    </a:cubicBezTo>
                    <a:cubicBezTo>
                      <a:pt x="22806" y="918858"/>
                      <a:pt x="32375" y="917672"/>
                      <a:pt x="41694" y="915336"/>
                    </a:cubicBezTo>
                    <a:cubicBezTo>
                      <a:pt x="44259" y="917102"/>
                      <a:pt x="42948" y="921035"/>
                      <a:pt x="40668" y="923429"/>
                    </a:cubicBezTo>
                    <a:cubicBezTo>
                      <a:pt x="38388" y="925822"/>
                      <a:pt x="35311" y="927190"/>
                      <a:pt x="34342" y="930154"/>
                    </a:cubicBezTo>
                    <a:cubicBezTo>
                      <a:pt x="33527" y="933973"/>
                      <a:pt x="35966" y="937723"/>
                      <a:pt x="39779" y="938538"/>
                    </a:cubicBezTo>
                    <a:cubicBezTo>
                      <a:pt x="39870" y="938555"/>
                      <a:pt x="39955" y="938572"/>
                      <a:pt x="40041" y="938589"/>
                    </a:cubicBezTo>
                    <a:cubicBezTo>
                      <a:pt x="43979" y="938960"/>
                      <a:pt x="47798" y="937113"/>
                      <a:pt x="49958" y="933802"/>
                    </a:cubicBezTo>
                    <a:cubicBezTo>
                      <a:pt x="50813" y="932605"/>
                      <a:pt x="51668" y="931180"/>
                      <a:pt x="53093" y="930895"/>
                    </a:cubicBezTo>
                    <a:cubicBezTo>
                      <a:pt x="54518" y="930610"/>
                      <a:pt x="56684" y="932719"/>
                      <a:pt x="57595" y="934600"/>
                    </a:cubicBezTo>
                    <a:cubicBezTo>
                      <a:pt x="58599" y="936332"/>
                      <a:pt x="59129" y="938299"/>
                      <a:pt x="59134" y="940299"/>
                    </a:cubicBezTo>
                    <a:cubicBezTo>
                      <a:pt x="58735" y="944688"/>
                      <a:pt x="53435" y="946853"/>
                      <a:pt x="49103" y="946968"/>
                    </a:cubicBezTo>
                    <a:cubicBezTo>
                      <a:pt x="44726" y="946398"/>
                      <a:pt x="40275" y="946768"/>
                      <a:pt x="36051" y="948050"/>
                    </a:cubicBezTo>
                    <a:cubicBezTo>
                      <a:pt x="35470" y="948307"/>
                      <a:pt x="34991" y="948746"/>
                      <a:pt x="34684" y="949304"/>
                    </a:cubicBezTo>
                    <a:cubicBezTo>
                      <a:pt x="33373" y="951926"/>
                      <a:pt x="39015" y="953408"/>
                      <a:pt x="38901" y="956315"/>
                    </a:cubicBezTo>
                    <a:cubicBezTo>
                      <a:pt x="35994" y="956315"/>
                      <a:pt x="34285" y="960247"/>
                      <a:pt x="35823" y="962812"/>
                    </a:cubicBezTo>
                    <a:cubicBezTo>
                      <a:pt x="37670" y="965194"/>
                      <a:pt x="40503" y="966602"/>
                      <a:pt x="43518" y="966631"/>
                    </a:cubicBezTo>
                    <a:cubicBezTo>
                      <a:pt x="46487" y="966676"/>
                      <a:pt x="49422" y="967252"/>
                      <a:pt x="52181" y="968341"/>
                    </a:cubicBezTo>
                    <a:cubicBezTo>
                      <a:pt x="52415" y="970250"/>
                      <a:pt x="51833" y="972176"/>
                      <a:pt x="50585" y="973641"/>
                    </a:cubicBezTo>
                    <a:cubicBezTo>
                      <a:pt x="46909" y="972039"/>
                      <a:pt x="42617" y="973527"/>
                      <a:pt x="40725" y="977061"/>
                    </a:cubicBezTo>
                    <a:cubicBezTo>
                      <a:pt x="39112" y="980651"/>
                      <a:pt x="40719" y="984863"/>
                      <a:pt x="44310" y="986476"/>
                    </a:cubicBezTo>
                    <a:cubicBezTo>
                      <a:pt x="44384" y="986510"/>
                      <a:pt x="44464" y="986545"/>
                      <a:pt x="44544" y="986579"/>
                    </a:cubicBezTo>
                    <a:cubicBezTo>
                      <a:pt x="48100" y="987645"/>
                      <a:pt x="51850" y="985627"/>
                      <a:pt x="52916" y="982071"/>
                    </a:cubicBezTo>
                    <a:cubicBezTo>
                      <a:pt x="52990" y="981825"/>
                      <a:pt x="53047" y="981580"/>
                      <a:pt x="53093" y="981335"/>
                    </a:cubicBezTo>
                    <a:cubicBezTo>
                      <a:pt x="53042" y="980258"/>
                      <a:pt x="53241" y="979187"/>
                      <a:pt x="53663" y="978201"/>
                    </a:cubicBezTo>
                    <a:cubicBezTo>
                      <a:pt x="54238" y="977562"/>
                      <a:pt x="54962" y="977072"/>
                      <a:pt x="55772" y="976776"/>
                    </a:cubicBezTo>
                    <a:lnTo>
                      <a:pt x="64378" y="973128"/>
                    </a:lnTo>
                    <a:cubicBezTo>
                      <a:pt x="65546" y="968808"/>
                      <a:pt x="63591" y="964248"/>
                      <a:pt x="59647" y="962128"/>
                    </a:cubicBezTo>
                    <a:cubicBezTo>
                      <a:pt x="57253" y="960931"/>
                      <a:pt x="54461" y="960817"/>
                      <a:pt x="52010" y="959734"/>
                    </a:cubicBezTo>
                    <a:cubicBezTo>
                      <a:pt x="49559" y="958651"/>
                      <a:pt x="47393" y="955859"/>
                      <a:pt x="48590" y="953465"/>
                    </a:cubicBezTo>
                    <a:lnTo>
                      <a:pt x="64207" y="950330"/>
                    </a:lnTo>
                    <a:cubicBezTo>
                      <a:pt x="65136" y="949925"/>
                      <a:pt x="66185" y="949925"/>
                      <a:pt x="67114" y="950330"/>
                    </a:cubicBezTo>
                    <a:cubicBezTo>
                      <a:pt x="67855" y="950957"/>
                      <a:pt x="68025" y="952040"/>
                      <a:pt x="68481" y="952895"/>
                    </a:cubicBezTo>
                    <a:cubicBezTo>
                      <a:pt x="70020" y="955631"/>
                      <a:pt x="74181" y="955289"/>
                      <a:pt x="77088" y="955460"/>
                    </a:cubicBezTo>
                    <a:cubicBezTo>
                      <a:pt x="79994" y="955631"/>
                      <a:pt x="84041" y="958537"/>
                      <a:pt x="82217" y="961159"/>
                    </a:cubicBezTo>
                    <a:cubicBezTo>
                      <a:pt x="77851" y="963371"/>
                      <a:pt x="72967" y="964357"/>
                      <a:pt x="68083" y="964009"/>
                    </a:cubicBezTo>
                    <a:cubicBezTo>
                      <a:pt x="68453" y="967959"/>
                      <a:pt x="71958" y="970854"/>
                      <a:pt x="75908" y="970483"/>
                    </a:cubicBezTo>
                    <a:cubicBezTo>
                      <a:pt x="76546" y="970421"/>
                      <a:pt x="77173" y="970278"/>
                      <a:pt x="77772" y="970050"/>
                    </a:cubicBezTo>
                    <a:cubicBezTo>
                      <a:pt x="81305" y="968455"/>
                      <a:pt x="84041" y="963838"/>
                      <a:pt x="87803" y="964921"/>
                    </a:cubicBezTo>
                    <a:cubicBezTo>
                      <a:pt x="91564" y="966004"/>
                      <a:pt x="92533" y="974097"/>
                      <a:pt x="97036" y="973812"/>
                    </a:cubicBezTo>
                    <a:cubicBezTo>
                      <a:pt x="96745" y="969395"/>
                      <a:pt x="98466" y="965080"/>
                      <a:pt x="101709" y="962071"/>
                    </a:cubicBezTo>
                    <a:cubicBezTo>
                      <a:pt x="106668" y="956372"/>
                      <a:pt x="113735" y="951071"/>
                      <a:pt x="121259" y="952325"/>
                    </a:cubicBezTo>
                    <a:cubicBezTo>
                      <a:pt x="120689" y="949983"/>
                      <a:pt x="120689" y="947543"/>
                      <a:pt x="121259" y="945201"/>
                    </a:cubicBezTo>
                    <a:cubicBezTo>
                      <a:pt x="114414" y="942288"/>
                      <a:pt x="106879" y="941399"/>
                      <a:pt x="99544" y="942636"/>
                    </a:cubicBezTo>
                    <a:close/>
                    <a:moveTo>
                      <a:pt x="67285" y="985268"/>
                    </a:moveTo>
                    <a:cubicBezTo>
                      <a:pt x="67267" y="985752"/>
                      <a:pt x="67131" y="986220"/>
                      <a:pt x="66886" y="986636"/>
                    </a:cubicBezTo>
                    <a:cubicBezTo>
                      <a:pt x="65632" y="988574"/>
                      <a:pt x="61756" y="986351"/>
                      <a:pt x="60388" y="988289"/>
                    </a:cubicBezTo>
                    <a:cubicBezTo>
                      <a:pt x="59761" y="989258"/>
                      <a:pt x="60388" y="990512"/>
                      <a:pt x="60388" y="991708"/>
                    </a:cubicBezTo>
                    <a:cubicBezTo>
                      <a:pt x="60331" y="992381"/>
                      <a:pt x="60160" y="993036"/>
                      <a:pt x="59875" y="993646"/>
                    </a:cubicBezTo>
                    <a:cubicBezTo>
                      <a:pt x="58502" y="996576"/>
                      <a:pt x="57630" y="999716"/>
                      <a:pt x="57310" y="1002936"/>
                    </a:cubicBezTo>
                    <a:cubicBezTo>
                      <a:pt x="57048" y="1006219"/>
                      <a:pt x="58655" y="1009377"/>
                      <a:pt x="61471" y="1011087"/>
                    </a:cubicBezTo>
                    <a:cubicBezTo>
                      <a:pt x="63067" y="1011828"/>
                      <a:pt x="65176" y="1012112"/>
                      <a:pt x="65974" y="1013651"/>
                    </a:cubicBezTo>
                    <a:cubicBezTo>
                      <a:pt x="66270" y="1014427"/>
                      <a:pt x="66481" y="1015225"/>
                      <a:pt x="66601" y="1016045"/>
                    </a:cubicBezTo>
                    <a:cubicBezTo>
                      <a:pt x="67136" y="1018046"/>
                      <a:pt x="68823" y="1019533"/>
                      <a:pt x="70875" y="1019807"/>
                    </a:cubicBezTo>
                    <a:cubicBezTo>
                      <a:pt x="71559" y="1019927"/>
                      <a:pt x="72266" y="1019807"/>
                      <a:pt x="72870" y="1019465"/>
                    </a:cubicBezTo>
                    <a:cubicBezTo>
                      <a:pt x="74352" y="1018553"/>
                      <a:pt x="74238" y="1016387"/>
                      <a:pt x="73896" y="1014734"/>
                    </a:cubicBezTo>
                    <a:cubicBezTo>
                      <a:pt x="73109" y="1010870"/>
                      <a:pt x="72061" y="1007063"/>
                      <a:pt x="70761" y="1003335"/>
                    </a:cubicBezTo>
                    <a:cubicBezTo>
                      <a:pt x="72978" y="1002589"/>
                      <a:pt x="75327" y="1002321"/>
                      <a:pt x="77658" y="1002537"/>
                    </a:cubicBezTo>
                    <a:cubicBezTo>
                      <a:pt x="78860" y="1002765"/>
                      <a:pt x="80103" y="1002765"/>
                      <a:pt x="81305" y="1002537"/>
                    </a:cubicBezTo>
                    <a:cubicBezTo>
                      <a:pt x="82519" y="1002264"/>
                      <a:pt x="83357" y="1001158"/>
                      <a:pt x="83300" y="999916"/>
                    </a:cubicBezTo>
                    <a:cubicBezTo>
                      <a:pt x="85175" y="1001067"/>
                      <a:pt x="87637" y="1000480"/>
                      <a:pt x="88789" y="998605"/>
                    </a:cubicBezTo>
                    <a:cubicBezTo>
                      <a:pt x="89267" y="997818"/>
                      <a:pt x="89467" y="996895"/>
                      <a:pt x="89341" y="995983"/>
                    </a:cubicBezTo>
                    <a:cubicBezTo>
                      <a:pt x="89341" y="995242"/>
                      <a:pt x="88886" y="994444"/>
                      <a:pt x="89341" y="993760"/>
                    </a:cubicBezTo>
                    <a:cubicBezTo>
                      <a:pt x="89798" y="993076"/>
                      <a:pt x="90367" y="992848"/>
                      <a:pt x="90994" y="992563"/>
                    </a:cubicBezTo>
                    <a:cubicBezTo>
                      <a:pt x="93001" y="991480"/>
                      <a:pt x="94448" y="989594"/>
                      <a:pt x="94984" y="987377"/>
                    </a:cubicBezTo>
                    <a:cubicBezTo>
                      <a:pt x="95497" y="985194"/>
                      <a:pt x="95725" y="982954"/>
                      <a:pt x="95668" y="980708"/>
                    </a:cubicBezTo>
                    <a:cubicBezTo>
                      <a:pt x="95748" y="979700"/>
                      <a:pt x="95594" y="978685"/>
                      <a:pt x="95212" y="977745"/>
                    </a:cubicBezTo>
                    <a:cubicBezTo>
                      <a:pt x="94072" y="975579"/>
                      <a:pt x="91051" y="975465"/>
                      <a:pt x="88601" y="975636"/>
                    </a:cubicBezTo>
                    <a:cubicBezTo>
                      <a:pt x="87734" y="975630"/>
                      <a:pt x="86874" y="975829"/>
                      <a:pt x="86093" y="976206"/>
                    </a:cubicBezTo>
                    <a:cubicBezTo>
                      <a:pt x="85483" y="976656"/>
                      <a:pt x="84959" y="977215"/>
                      <a:pt x="84554" y="977859"/>
                    </a:cubicBezTo>
                    <a:lnTo>
                      <a:pt x="78854" y="986237"/>
                    </a:lnTo>
                    <a:cubicBezTo>
                      <a:pt x="77487" y="984185"/>
                      <a:pt x="78854" y="981278"/>
                      <a:pt x="77829" y="979113"/>
                    </a:cubicBezTo>
                    <a:cubicBezTo>
                      <a:pt x="76352" y="976998"/>
                      <a:pt x="73440" y="976479"/>
                      <a:pt x="71320" y="977956"/>
                    </a:cubicBezTo>
                    <a:cubicBezTo>
                      <a:pt x="71189" y="978047"/>
                      <a:pt x="71058" y="978149"/>
                      <a:pt x="70932" y="978258"/>
                    </a:cubicBezTo>
                    <a:cubicBezTo>
                      <a:pt x="68920" y="980087"/>
                      <a:pt x="67626" y="982572"/>
                      <a:pt x="67285" y="985268"/>
                    </a:cubicBezTo>
                    <a:close/>
                    <a:moveTo>
                      <a:pt x="142347" y="1009377"/>
                    </a:moveTo>
                    <a:cubicBezTo>
                      <a:pt x="141663" y="1002253"/>
                      <a:pt x="140979" y="995128"/>
                      <a:pt x="140352" y="988004"/>
                    </a:cubicBezTo>
                    <a:cubicBezTo>
                      <a:pt x="139394" y="979278"/>
                      <a:pt x="138921" y="970506"/>
                      <a:pt x="138927" y="961729"/>
                    </a:cubicBezTo>
                    <a:cubicBezTo>
                      <a:pt x="136214" y="961701"/>
                      <a:pt x="133512" y="961473"/>
                      <a:pt x="130834" y="961045"/>
                    </a:cubicBezTo>
                    <a:cubicBezTo>
                      <a:pt x="130361" y="960965"/>
                      <a:pt x="129927" y="960749"/>
                      <a:pt x="129580" y="960418"/>
                    </a:cubicBezTo>
                    <a:cubicBezTo>
                      <a:pt x="129010" y="959791"/>
                      <a:pt x="129124" y="958879"/>
                      <a:pt x="128953" y="958082"/>
                    </a:cubicBezTo>
                    <a:cubicBezTo>
                      <a:pt x="128366" y="956218"/>
                      <a:pt x="126382" y="955186"/>
                      <a:pt x="124519" y="955773"/>
                    </a:cubicBezTo>
                    <a:cubicBezTo>
                      <a:pt x="124051" y="955921"/>
                      <a:pt x="123624" y="956161"/>
                      <a:pt x="123253" y="956486"/>
                    </a:cubicBezTo>
                    <a:cubicBezTo>
                      <a:pt x="120974" y="958936"/>
                      <a:pt x="123253" y="963154"/>
                      <a:pt x="121714" y="966118"/>
                    </a:cubicBezTo>
                    <a:cubicBezTo>
                      <a:pt x="120176" y="969082"/>
                      <a:pt x="116471" y="969139"/>
                      <a:pt x="113279" y="969309"/>
                    </a:cubicBezTo>
                    <a:cubicBezTo>
                      <a:pt x="110088" y="969481"/>
                      <a:pt x="106212" y="970621"/>
                      <a:pt x="105927" y="973755"/>
                    </a:cubicBezTo>
                    <a:cubicBezTo>
                      <a:pt x="106098" y="974661"/>
                      <a:pt x="106098" y="975585"/>
                      <a:pt x="105927" y="976491"/>
                    </a:cubicBezTo>
                    <a:cubicBezTo>
                      <a:pt x="105357" y="977745"/>
                      <a:pt x="103647" y="978030"/>
                      <a:pt x="102792" y="979113"/>
                    </a:cubicBezTo>
                    <a:cubicBezTo>
                      <a:pt x="101937" y="980196"/>
                      <a:pt x="102792" y="983159"/>
                      <a:pt x="104274" y="984812"/>
                    </a:cubicBezTo>
                    <a:cubicBezTo>
                      <a:pt x="105756" y="986465"/>
                      <a:pt x="108207" y="988859"/>
                      <a:pt x="110657" y="988061"/>
                    </a:cubicBezTo>
                    <a:cubicBezTo>
                      <a:pt x="111826" y="987394"/>
                      <a:pt x="112949" y="986653"/>
                      <a:pt x="114020" y="985838"/>
                    </a:cubicBezTo>
                    <a:cubicBezTo>
                      <a:pt x="117839" y="983843"/>
                      <a:pt x="122399" y="988346"/>
                      <a:pt x="126616" y="987263"/>
                    </a:cubicBezTo>
                    <a:cubicBezTo>
                      <a:pt x="128383" y="986750"/>
                      <a:pt x="130663" y="985439"/>
                      <a:pt x="131746" y="986978"/>
                    </a:cubicBezTo>
                    <a:cubicBezTo>
                      <a:pt x="132258" y="987839"/>
                      <a:pt x="132258" y="988910"/>
                      <a:pt x="131746" y="989771"/>
                    </a:cubicBezTo>
                    <a:cubicBezTo>
                      <a:pt x="128548" y="993766"/>
                      <a:pt x="123800" y="996211"/>
                      <a:pt x="118694" y="996496"/>
                    </a:cubicBezTo>
                    <a:lnTo>
                      <a:pt x="118694" y="999232"/>
                    </a:lnTo>
                    <a:cubicBezTo>
                      <a:pt x="120233" y="999226"/>
                      <a:pt x="121509" y="1000429"/>
                      <a:pt x="121601" y="1001968"/>
                    </a:cubicBezTo>
                    <a:cubicBezTo>
                      <a:pt x="121543" y="1003501"/>
                      <a:pt x="120546" y="1004834"/>
                      <a:pt x="119093" y="1005330"/>
                    </a:cubicBezTo>
                    <a:cubicBezTo>
                      <a:pt x="118358" y="1005438"/>
                      <a:pt x="117657" y="1005712"/>
                      <a:pt x="117041" y="1006128"/>
                    </a:cubicBezTo>
                    <a:cubicBezTo>
                      <a:pt x="115217" y="1007838"/>
                      <a:pt x="118694" y="1010973"/>
                      <a:pt x="117554" y="1013195"/>
                    </a:cubicBezTo>
                    <a:cubicBezTo>
                      <a:pt x="116722" y="1014381"/>
                      <a:pt x="115172" y="1014808"/>
                      <a:pt x="113849" y="1014221"/>
                    </a:cubicBezTo>
                    <a:cubicBezTo>
                      <a:pt x="112538" y="1013709"/>
                      <a:pt x="111455" y="1012853"/>
                      <a:pt x="110088" y="1012397"/>
                    </a:cubicBezTo>
                    <a:cubicBezTo>
                      <a:pt x="107888" y="1012198"/>
                      <a:pt x="105676" y="1012198"/>
                      <a:pt x="103476" y="1012397"/>
                    </a:cubicBezTo>
                    <a:cubicBezTo>
                      <a:pt x="100923" y="1011771"/>
                      <a:pt x="98444" y="1010893"/>
                      <a:pt x="96067" y="1009776"/>
                    </a:cubicBezTo>
                    <a:cubicBezTo>
                      <a:pt x="93605" y="1008573"/>
                      <a:pt x="90641" y="1009291"/>
                      <a:pt x="89000" y="1011486"/>
                    </a:cubicBezTo>
                    <a:cubicBezTo>
                      <a:pt x="88373" y="1012682"/>
                      <a:pt x="88430" y="1014050"/>
                      <a:pt x="87803" y="1015247"/>
                    </a:cubicBezTo>
                    <a:cubicBezTo>
                      <a:pt x="86606" y="1017641"/>
                      <a:pt x="83585" y="1018154"/>
                      <a:pt x="80963" y="1018667"/>
                    </a:cubicBezTo>
                    <a:cubicBezTo>
                      <a:pt x="78342" y="1019180"/>
                      <a:pt x="75264" y="1020605"/>
                      <a:pt x="75264" y="1023284"/>
                    </a:cubicBezTo>
                    <a:cubicBezTo>
                      <a:pt x="75264" y="1025962"/>
                      <a:pt x="79367" y="1027843"/>
                      <a:pt x="82616" y="1028071"/>
                    </a:cubicBezTo>
                    <a:lnTo>
                      <a:pt x="95155" y="1029097"/>
                    </a:lnTo>
                    <a:cubicBezTo>
                      <a:pt x="95810" y="1029097"/>
                      <a:pt x="96455" y="1029256"/>
                      <a:pt x="97036" y="1029553"/>
                    </a:cubicBezTo>
                    <a:cubicBezTo>
                      <a:pt x="98233" y="1030294"/>
                      <a:pt x="98404" y="1031890"/>
                      <a:pt x="98632" y="1033315"/>
                    </a:cubicBezTo>
                    <a:cubicBezTo>
                      <a:pt x="98928" y="1035292"/>
                      <a:pt x="99527" y="1037213"/>
                      <a:pt x="100398" y="1039014"/>
                    </a:cubicBezTo>
                    <a:cubicBezTo>
                      <a:pt x="101538" y="1041351"/>
                      <a:pt x="103761" y="1043744"/>
                      <a:pt x="106098" y="1043118"/>
                    </a:cubicBezTo>
                    <a:cubicBezTo>
                      <a:pt x="108212" y="1042263"/>
                      <a:pt x="109546" y="1040154"/>
                      <a:pt x="109404" y="1037874"/>
                    </a:cubicBezTo>
                    <a:cubicBezTo>
                      <a:pt x="109193" y="1035657"/>
                      <a:pt x="109102" y="1033434"/>
                      <a:pt x="109119" y="1031206"/>
                    </a:cubicBezTo>
                    <a:cubicBezTo>
                      <a:pt x="109404" y="1029040"/>
                      <a:pt x="111113" y="1026703"/>
                      <a:pt x="113279" y="1026874"/>
                    </a:cubicBezTo>
                    <a:cubicBezTo>
                      <a:pt x="115109" y="1028670"/>
                      <a:pt x="116101" y="1031154"/>
                      <a:pt x="116015" y="1033713"/>
                    </a:cubicBezTo>
                    <a:cubicBezTo>
                      <a:pt x="115918" y="1036227"/>
                      <a:pt x="116163" y="1038735"/>
                      <a:pt x="116756" y="1041180"/>
                    </a:cubicBezTo>
                    <a:cubicBezTo>
                      <a:pt x="117446" y="1043739"/>
                      <a:pt x="119805" y="1045489"/>
                      <a:pt x="122455" y="1045398"/>
                    </a:cubicBezTo>
                    <a:cubicBezTo>
                      <a:pt x="121281" y="1046674"/>
                      <a:pt x="120609" y="1048338"/>
                      <a:pt x="120575" y="1050071"/>
                    </a:cubicBezTo>
                    <a:lnTo>
                      <a:pt x="131062" y="1052579"/>
                    </a:lnTo>
                    <a:lnTo>
                      <a:pt x="131575" y="1039641"/>
                    </a:lnTo>
                    <a:cubicBezTo>
                      <a:pt x="133239" y="1038621"/>
                      <a:pt x="135416" y="1039145"/>
                      <a:pt x="136436" y="1040809"/>
                    </a:cubicBezTo>
                    <a:cubicBezTo>
                      <a:pt x="136704" y="1041248"/>
                      <a:pt x="136875" y="1041750"/>
                      <a:pt x="136932" y="1042263"/>
                    </a:cubicBezTo>
                    <a:cubicBezTo>
                      <a:pt x="136790" y="1042861"/>
                      <a:pt x="136790" y="1043488"/>
                      <a:pt x="136932" y="1044086"/>
                    </a:cubicBezTo>
                    <a:cubicBezTo>
                      <a:pt x="137787" y="1046765"/>
                      <a:pt x="143031" y="1043574"/>
                      <a:pt x="144512" y="1046024"/>
                    </a:cubicBezTo>
                    <a:cubicBezTo>
                      <a:pt x="144763" y="1046640"/>
                      <a:pt x="144900" y="1047295"/>
                      <a:pt x="144911" y="1047962"/>
                    </a:cubicBezTo>
                    <a:cubicBezTo>
                      <a:pt x="145436" y="1050282"/>
                      <a:pt x="147345" y="1052032"/>
                      <a:pt x="149699" y="1052351"/>
                    </a:cubicBezTo>
                    <a:cubicBezTo>
                      <a:pt x="152002" y="1052704"/>
                      <a:pt x="154350" y="1052568"/>
                      <a:pt x="156595" y="1051952"/>
                    </a:cubicBezTo>
                    <a:cubicBezTo>
                      <a:pt x="157724" y="1052026"/>
                      <a:pt x="158704" y="1051165"/>
                      <a:pt x="158772" y="1050037"/>
                    </a:cubicBezTo>
                    <a:cubicBezTo>
                      <a:pt x="158801" y="1049655"/>
                      <a:pt x="158715" y="1049267"/>
                      <a:pt x="158533" y="1048931"/>
                    </a:cubicBezTo>
                    <a:cubicBezTo>
                      <a:pt x="158134" y="1047421"/>
                      <a:pt x="157638" y="1045933"/>
                      <a:pt x="157051" y="1044485"/>
                    </a:cubicBezTo>
                    <a:cubicBezTo>
                      <a:pt x="151198" y="1036939"/>
                      <a:pt x="146826" y="1028356"/>
                      <a:pt x="144170" y="1019180"/>
                    </a:cubicBezTo>
                    <a:cubicBezTo>
                      <a:pt x="143276" y="1015965"/>
                      <a:pt x="142609" y="1012688"/>
                      <a:pt x="142176" y="1009377"/>
                    </a:cubicBezTo>
                    <a:close/>
                  </a:path>
                </a:pathLst>
              </a:custGeom>
              <a:solidFill>
                <a:schemeClr val="accent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50" name="Freihandform: Form 644">
                <a:extLst>
                  <a:ext uri="{FF2B5EF4-FFF2-40B4-BE49-F238E27FC236}">
                    <a16:creationId xmlns:a16="http://schemas.microsoft.com/office/drawing/2014/main" id="{AAE9E427-13BB-65F9-8831-F82D9B26B406}"/>
                  </a:ext>
                </a:extLst>
              </p:cNvPr>
              <p:cNvSpPr/>
              <p:nvPr/>
            </p:nvSpPr>
            <p:spPr>
              <a:xfrm>
                <a:off x="4340931" y="4950857"/>
                <a:ext cx="51218" cy="54407"/>
              </a:xfrm>
              <a:custGeom>
                <a:avLst/>
                <a:gdLst>
                  <a:gd name="connsiteX0" fmla="*/ 46983 w 51218"/>
                  <a:gd name="connsiteY0" fmla="*/ 9196 h 54407"/>
                  <a:gd name="connsiteX1" fmla="*/ 51029 w 51218"/>
                  <a:gd name="connsiteY1" fmla="*/ 24813 h 54407"/>
                  <a:gd name="connsiteX2" fmla="*/ 49661 w 51218"/>
                  <a:gd name="connsiteY2" fmla="*/ 30512 h 54407"/>
                  <a:gd name="connsiteX3" fmla="*/ 42708 w 51218"/>
                  <a:gd name="connsiteY3" fmla="*/ 33761 h 54407"/>
                  <a:gd name="connsiteX4" fmla="*/ 33931 w 51218"/>
                  <a:gd name="connsiteY4" fmla="*/ 40315 h 54407"/>
                  <a:gd name="connsiteX5" fmla="*/ 28630 w 51218"/>
                  <a:gd name="connsiteY5" fmla="*/ 41626 h 54407"/>
                  <a:gd name="connsiteX6" fmla="*/ 27661 w 51218"/>
                  <a:gd name="connsiteY6" fmla="*/ 43849 h 54407"/>
                  <a:gd name="connsiteX7" fmla="*/ 25154 w 51218"/>
                  <a:gd name="connsiteY7" fmla="*/ 54393 h 54407"/>
                  <a:gd name="connsiteX8" fmla="*/ 17231 w 51218"/>
                  <a:gd name="connsiteY8" fmla="*/ 52740 h 54407"/>
                  <a:gd name="connsiteX9" fmla="*/ 12216 w 51218"/>
                  <a:gd name="connsiteY9" fmla="*/ 48978 h 54407"/>
                  <a:gd name="connsiteX10" fmla="*/ 4749 w 51218"/>
                  <a:gd name="connsiteY10" fmla="*/ 42367 h 54407"/>
                  <a:gd name="connsiteX11" fmla="*/ 304 w 51218"/>
                  <a:gd name="connsiteY11" fmla="*/ 32792 h 54407"/>
                  <a:gd name="connsiteX12" fmla="*/ 11703 w 51218"/>
                  <a:gd name="connsiteY12" fmla="*/ 26123 h 54407"/>
                  <a:gd name="connsiteX13" fmla="*/ 10386 w 51218"/>
                  <a:gd name="connsiteY13" fmla="*/ 18173 h 54407"/>
                  <a:gd name="connsiteX14" fmla="*/ 11988 w 51218"/>
                  <a:gd name="connsiteY14" fmla="*/ 16662 h 54407"/>
                  <a:gd name="connsiteX15" fmla="*/ 15350 w 51218"/>
                  <a:gd name="connsiteY15" fmla="*/ 15066 h 54407"/>
                  <a:gd name="connsiteX16" fmla="*/ 16376 w 51218"/>
                  <a:gd name="connsiteY16" fmla="*/ 8170 h 54407"/>
                  <a:gd name="connsiteX17" fmla="*/ 27091 w 51218"/>
                  <a:gd name="connsiteY17" fmla="*/ 419 h 54407"/>
                  <a:gd name="connsiteX18" fmla="*/ 31480 w 51218"/>
                  <a:gd name="connsiteY18" fmla="*/ 77 h 54407"/>
                  <a:gd name="connsiteX19" fmla="*/ 36667 w 51218"/>
                  <a:gd name="connsiteY19" fmla="*/ 3155 h 54407"/>
                  <a:gd name="connsiteX20" fmla="*/ 46983 w 51218"/>
                  <a:gd name="connsiteY20" fmla="*/ 9196 h 5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218" h="54407">
                    <a:moveTo>
                      <a:pt x="46983" y="9196"/>
                    </a:moveTo>
                    <a:cubicBezTo>
                      <a:pt x="50323" y="13676"/>
                      <a:pt x="51770" y="19278"/>
                      <a:pt x="51029" y="24813"/>
                    </a:cubicBezTo>
                    <a:cubicBezTo>
                      <a:pt x="51257" y="26813"/>
                      <a:pt x="50773" y="28831"/>
                      <a:pt x="49661" y="30512"/>
                    </a:cubicBezTo>
                    <a:cubicBezTo>
                      <a:pt x="48009" y="32507"/>
                      <a:pt x="44988" y="32507"/>
                      <a:pt x="42708" y="33761"/>
                    </a:cubicBezTo>
                    <a:cubicBezTo>
                      <a:pt x="39402" y="35471"/>
                      <a:pt x="37521" y="39460"/>
                      <a:pt x="33931" y="40315"/>
                    </a:cubicBezTo>
                    <a:cubicBezTo>
                      <a:pt x="32107" y="40714"/>
                      <a:pt x="29884" y="40315"/>
                      <a:pt x="28630" y="41626"/>
                    </a:cubicBezTo>
                    <a:cubicBezTo>
                      <a:pt x="28106" y="42259"/>
                      <a:pt x="27770" y="43034"/>
                      <a:pt x="27661" y="43849"/>
                    </a:cubicBezTo>
                    <a:cubicBezTo>
                      <a:pt x="26806" y="47383"/>
                      <a:pt x="26008" y="50859"/>
                      <a:pt x="25154" y="54393"/>
                    </a:cubicBezTo>
                    <a:cubicBezTo>
                      <a:pt x="22418" y="54507"/>
                      <a:pt x="19694" y="53937"/>
                      <a:pt x="17231" y="52740"/>
                    </a:cubicBezTo>
                    <a:cubicBezTo>
                      <a:pt x="15407" y="51703"/>
                      <a:pt x="13726" y="50437"/>
                      <a:pt x="12216" y="48978"/>
                    </a:cubicBezTo>
                    <a:lnTo>
                      <a:pt x="4749" y="42367"/>
                    </a:lnTo>
                    <a:cubicBezTo>
                      <a:pt x="1900" y="39859"/>
                      <a:pt x="-950" y="36269"/>
                      <a:pt x="304" y="32792"/>
                    </a:cubicBezTo>
                    <a:cubicBezTo>
                      <a:pt x="4430" y="31185"/>
                      <a:pt x="8278" y="28934"/>
                      <a:pt x="11703" y="26123"/>
                    </a:cubicBezTo>
                    <a:cubicBezTo>
                      <a:pt x="9144" y="24294"/>
                      <a:pt x="8551" y="20732"/>
                      <a:pt x="10386" y="18173"/>
                    </a:cubicBezTo>
                    <a:cubicBezTo>
                      <a:pt x="10814" y="17569"/>
                      <a:pt x="11361" y="17056"/>
                      <a:pt x="11988" y="16662"/>
                    </a:cubicBezTo>
                    <a:cubicBezTo>
                      <a:pt x="13179" y="16292"/>
                      <a:pt x="14313" y="15756"/>
                      <a:pt x="15350" y="15066"/>
                    </a:cubicBezTo>
                    <a:cubicBezTo>
                      <a:pt x="17061" y="13414"/>
                      <a:pt x="16091" y="10507"/>
                      <a:pt x="16376" y="8170"/>
                    </a:cubicBezTo>
                    <a:cubicBezTo>
                      <a:pt x="17061" y="3497"/>
                      <a:pt x="22532" y="1502"/>
                      <a:pt x="27091" y="419"/>
                    </a:cubicBezTo>
                    <a:cubicBezTo>
                      <a:pt x="28516" y="20"/>
                      <a:pt x="30010" y="-94"/>
                      <a:pt x="31480" y="77"/>
                    </a:cubicBezTo>
                    <a:cubicBezTo>
                      <a:pt x="33406" y="721"/>
                      <a:pt x="35179" y="1770"/>
                      <a:pt x="36667" y="3155"/>
                    </a:cubicBezTo>
                    <a:cubicBezTo>
                      <a:pt x="40297" y="4819"/>
                      <a:pt x="43757" y="6842"/>
                      <a:pt x="46983" y="91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1" name="Freihandform: Form 645">
                <a:extLst>
                  <a:ext uri="{FF2B5EF4-FFF2-40B4-BE49-F238E27FC236}">
                    <a16:creationId xmlns:a16="http://schemas.microsoft.com/office/drawing/2014/main" id="{FC32E1A9-34E8-7AE6-E295-A49C87EDF78E}"/>
                  </a:ext>
                </a:extLst>
              </p:cNvPr>
              <p:cNvSpPr/>
              <p:nvPr/>
            </p:nvSpPr>
            <p:spPr>
              <a:xfrm>
                <a:off x="4427070" y="4878942"/>
                <a:ext cx="25240" cy="34936"/>
              </a:xfrm>
              <a:custGeom>
                <a:avLst/>
                <a:gdLst>
                  <a:gd name="connsiteX0" fmla="*/ 24109 w 25240"/>
                  <a:gd name="connsiteY0" fmla="*/ 11236 h 34936"/>
                  <a:gd name="connsiteX1" fmla="*/ 22798 w 25240"/>
                  <a:gd name="connsiteY1" fmla="*/ 30729 h 34936"/>
                  <a:gd name="connsiteX2" fmla="*/ 20404 w 25240"/>
                  <a:gd name="connsiteY2" fmla="*/ 33977 h 34936"/>
                  <a:gd name="connsiteX3" fmla="*/ 15559 w 25240"/>
                  <a:gd name="connsiteY3" fmla="*/ 34889 h 34936"/>
                  <a:gd name="connsiteX4" fmla="*/ 10373 w 25240"/>
                  <a:gd name="connsiteY4" fmla="*/ 34034 h 34936"/>
                  <a:gd name="connsiteX5" fmla="*/ 5300 w 25240"/>
                  <a:gd name="connsiteY5" fmla="*/ 28335 h 34936"/>
                  <a:gd name="connsiteX6" fmla="*/ 0 w 25240"/>
                  <a:gd name="connsiteY6" fmla="*/ 13915 h 34936"/>
                  <a:gd name="connsiteX7" fmla="*/ 1311 w 25240"/>
                  <a:gd name="connsiteY7" fmla="*/ 7760 h 34936"/>
                  <a:gd name="connsiteX8" fmla="*/ 7352 w 25240"/>
                  <a:gd name="connsiteY8" fmla="*/ 407 h 34936"/>
                  <a:gd name="connsiteX9" fmla="*/ 10658 w 25240"/>
                  <a:gd name="connsiteY9" fmla="*/ 9 h 34936"/>
                  <a:gd name="connsiteX10" fmla="*/ 15445 w 25240"/>
                  <a:gd name="connsiteY10" fmla="*/ 749 h 34936"/>
                  <a:gd name="connsiteX11" fmla="*/ 24109 w 25240"/>
                  <a:gd name="connsiteY11" fmla="*/ 11236 h 3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40" h="34936">
                    <a:moveTo>
                      <a:pt x="24109" y="11236"/>
                    </a:moveTo>
                    <a:cubicBezTo>
                      <a:pt x="25984" y="17682"/>
                      <a:pt x="25516" y="24590"/>
                      <a:pt x="22798" y="30729"/>
                    </a:cubicBezTo>
                    <a:cubicBezTo>
                      <a:pt x="22325" y="32017"/>
                      <a:pt x="21493" y="33145"/>
                      <a:pt x="20404" y="33977"/>
                    </a:cubicBezTo>
                    <a:cubicBezTo>
                      <a:pt x="18911" y="34747"/>
                      <a:pt x="17229" y="35066"/>
                      <a:pt x="15559" y="34889"/>
                    </a:cubicBezTo>
                    <a:cubicBezTo>
                      <a:pt x="13787" y="34981"/>
                      <a:pt x="12020" y="34690"/>
                      <a:pt x="10373" y="34034"/>
                    </a:cubicBezTo>
                    <a:cubicBezTo>
                      <a:pt x="8133" y="32707"/>
                      <a:pt x="6360" y="30712"/>
                      <a:pt x="5300" y="28335"/>
                    </a:cubicBezTo>
                    <a:cubicBezTo>
                      <a:pt x="2171" y="24146"/>
                      <a:pt x="330" y="19136"/>
                      <a:pt x="0" y="13915"/>
                    </a:cubicBezTo>
                    <a:cubicBezTo>
                      <a:pt x="125" y="11806"/>
                      <a:pt x="564" y="9732"/>
                      <a:pt x="1311" y="7760"/>
                    </a:cubicBezTo>
                    <a:cubicBezTo>
                      <a:pt x="2092" y="4511"/>
                      <a:pt x="4320" y="1798"/>
                      <a:pt x="7352" y="407"/>
                    </a:cubicBezTo>
                    <a:cubicBezTo>
                      <a:pt x="8424" y="100"/>
                      <a:pt x="9541" y="-37"/>
                      <a:pt x="10658" y="9"/>
                    </a:cubicBezTo>
                    <a:cubicBezTo>
                      <a:pt x="12282" y="26"/>
                      <a:pt x="13895" y="277"/>
                      <a:pt x="15445" y="749"/>
                    </a:cubicBezTo>
                    <a:cubicBezTo>
                      <a:pt x="19834" y="2670"/>
                      <a:pt x="23049" y="6563"/>
                      <a:pt x="24109" y="1123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2" name="Freihandform: Form 646">
                <a:extLst>
                  <a:ext uri="{FF2B5EF4-FFF2-40B4-BE49-F238E27FC236}">
                    <a16:creationId xmlns:a16="http://schemas.microsoft.com/office/drawing/2014/main" id="{E9C831BE-2E90-F8B4-AC03-483A92D97DD3}"/>
                  </a:ext>
                </a:extLst>
              </p:cNvPr>
              <p:cNvSpPr/>
              <p:nvPr/>
            </p:nvSpPr>
            <p:spPr>
              <a:xfrm>
                <a:off x="4130248" y="4788272"/>
                <a:ext cx="328623" cy="330093"/>
              </a:xfrm>
              <a:custGeom>
                <a:avLst/>
                <a:gdLst>
                  <a:gd name="connsiteX0" fmla="*/ 318593 w 328623"/>
                  <a:gd name="connsiteY0" fmla="*/ 127212 h 330093"/>
                  <a:gd name="connsiteX1" fmla="*/ 317339 w 328623"/>
                  <a:gd name="connsiteY1" fmla="*/ 124476 h 330093"/>
                  <a:gd name="connsiteX2" fmla="*/ 317339 w 328623"/>
                  <a:gd name="connsiteY2" fmla="*/ 124476 h 330093"/>
                  <a:gd name="connsiteX3" fmla="*/ 312495 w 328623"/>
                  <a:gd name="connsiteY3" fmla="*/ 125388 h 330093"/>
                  <a:gd name="connsiteX4" fmla="*/ 307308 w 328623"/>
                  <a:gd name="connsiteY4" fmla="*/ 124533 h 330093"/>
                  <a:gd name="connsiteX5" fmla="*/ 302235 w 328623"/>
                  <a:gd name="connsiteY5" fmla="*/ 118833 h 330093"/>
                  <a:gd name="connsiteX6" fmla="*/ 296935 w 328623"/>
                  <a:gd name="connsiteY6" fmla="*/ 104414 h 330093"/>
                  <a:gd name="connsiteX7" fmla="*/ 298246 w 328623"/>
                  <a:gd name="connsiteY7" fmla="*/ 98258 h 330093"/>
                  <a:gd name="connsiteX8" fmla="*/ 304173 w 328623"/>
                  <a:gd name="connsiteY8" fmla="*/ 91077 h 330093"/>
                  <a:gd name="connsiteX9" fmla="*/ 307479 w 328623"/>
                  <a:gd name="connsiteY9" fmla="*/ 90678 h 330093"/>
                  <a:gd name="connsiteX10" fmla="*/ 312266 w 328623"/>
                  <a:gd name="connsiteY10" fmla="*/ 91419 h 330093"/>
                  <a:gd name="connsiteX11" fmla="*/ 316085 w 328623"/>
                  <a:gd name="connsiteY11" fmla="*/ 93870 h 330093"/>
                  <a:gd name="connsiteX12" fmla="*/ 322298 w 328623"/>
                  <a:gd name="connsiteY12" fmla="*/ 49414 h 330093"/>
                  <a:gd name="connsiteX13" fmla="*/ 307878 w 328623"/>
                  <a:gd name="connsiteY13" fmla="*/ 12880 h 330093"/>
                  <a:gd name="connsiteX14" fmla="*/ 271458 w 328623"/>
                  <a:gd name="connsiteY14" fmla="*/ 569 h 330093"/>
                  <a:gd name="connsiteX15" fmla="*/ 253049 w 328623"/>
                  <a:gd name="connsiteY15" fmla="*/ 8264 h 330093"/>
                  <a:gd name="connsiteX16" fmla="*/ 227402 w 328623"/>
                  <a:gd name="connsiteY16" fmla="*/ 21942 h 330093"/>
                  <a:gd name="connsiteX17" fmla="*/ 224723 w 328623"/>
                  <a:gd name="connsiteY17" fmla="*/ 23709 h 330093"/>
                  <a:gd name="connsiteX18" fmla="*/ 222101 w 328623"/>
                  <a:gd name="connsiteY18" fmla="*/ 28383 h 330093"/>
                  <a:gd name="connsiteX19" fmla="*/ 196225 w 328623"/>
                  <a:gd name="connsiteY19" fmla="*/ 58248 h 330093"/>
                  <a:gd name="connsiteX20" fmla="*/ 188759 w 328623"/>
                  <a:gd name="connsiteY20" fmla="*/ 63606 h 330093"/>
                  <a:gd name="connsiteX21" fmla="*/ 184427 w 328623"/>
                  <a:gd name="connsiteY21" fmla="*/ 75005 h 330093"/>
                  <a:gd name="connsiteX22" fmla="*/ 152670 w 328623"/>
                  <a:gd name="connsiteY22" fmla="*/ 88267 h 330093"/>
                  <a:gd name="connsiteX23" fmla="*/ 151427 w 328623"/>
                  <a:gd name="connsiteY23" fmla="*/ 87714 h 330093"/>
                  <a:gd name="connsiteX24" fmla="*/ 132106 w 328623"/>
                  <a:gd name="connsiteY24" fmla="*/ 80191 h 330093"/>
                  <a:gd name="connsiteX25" fmla="*/ 116832 w 328623"/>
                  <a:gd name="connsiteY25" fmla="*/ 101393 h 330093"/>
                  <a:gd name="connsiteX26" fmla="*/ 109764 w 328623"/>
                  <a:gd name="connsiteY26" fmla="*/ 105269 h 330093"/>
                  <a:gd name="connsiteX27" fmla="*/ 107370 w 328623"/>
                  <a:gd name="connsiteY27" fmla="*/ 110968 h 330093"/>
                  <a:gd name="connsiteX28" fmla="*/ 84572 w 328623"/>
                  <a:gd name="connsiteY28" fmla="*/ 120600 h 330093"/>
                  <a:gd name="connsiteX29" fmla="*/ 83319 w 328623"/>
                  <a:gd name="connsiteY29" fmla="*/ 120201 h 330093"/>
                  <a:gd name="connsiteX30" fmla="*/ 83319 w 328623"/>
                  <a:gd name="connsiteY30" fmla="*/ 120201 h 330093"/>
                  <a:gd name="connsiteX31" fmla="*/ 82977 w 328623"/>
                  <a:gd name="connsiteY31" fmla="*/ 116212 h 330093"/>
                  <a:gd name="connsiteX32" fmla="*/ 82977 w 328623"/>
                  <a:gd name="connsiteY32" fmla="*/ 88398 h 330093"/>
                  <a:gd name="connsiteX33" fmla="*/ 61319 w 328623"/>
                  <a:gd name="connsiteY33" fmla="*/ 70787 h 330093"/>
                  <a:gd name="connsiteX34" fmla="*/ 59381 w 328623"/>
                  <a:gd name="connsiteY34" fmla="*/ 125274 h 330093"/>
                  <a:gd name="connsiteX35" fmla="*/ 61661 w 328623"/>
                  <a:gd name="connsiteY35" fmla="*/ 139864 h 330093"/>
                  <a:gd name="connsiteX36" fmla="*/ 62687 w 328623"/>
                  <a:gd name="connsiteY36" fmla="*/ 154284 h 330093"/>
                  <a:gd name="connsiteX37" fmla="*/ 63884 w 328623"/>
                  <a:gd name="connsiteY37" fmla="*/ 150124 h 330093"/>
                  <a:gd name="connsiteX38" fmla="*/ 52485 w 328623"/>
                  <a:gd name="connsiteY38" fmla="*/ 171839 h 330093"/>
                  <a:gd name="connsiteX39" fmla="*/ 25127 w 328623"/>
                  <a:gd name="connsiteY39" fmla="*/ 173377 h 330093"/>
                  <a:gd name="connsiteX40" fmla="*/ 8485 w 328623"/>
                  <a:gd name="connsiteY40" fmla="*/ 161124 h 330093"/>
                  <a:gd name="connsiteX41" fmla="*/ 107 w 328623"/>
                  <a:gd name="connsiteY41" fmla="*/ 174916 h 330093"/>
                  <a:gd name="connsiteX42" fmla="*/ 7231 w 328623"/>
                  <a:gd name="connsiteY42" fmla="*/ 185403 h 330093"/>
                  <a:gd name="connsiteX43" fmla="*/ 11733 w 328623"/>
                  <a:gd name="connsiteY43" fmla="*/ 228947 h 330093"/>
                  <a:gd name="connsiteX44" fmla="*/ 29402 w 328623"/>
                  <a:gd name="connsiteY44" fmla="*/ 250092 h 330093"/>
                  <a:gd name="connsiteX45" fmla="*/ 28547 w 328623"/>
                  <a:gd name="connsiteY45" fmla="*/ 261035 h 330093"/>
                  <a:gd name="connsiteX46" fmla="*/ 44049 w 328623"/>
                  <a:gd name="connsiteY46" fmla="*/ 313755 h 330093"/>
                  <a:gd name="connsiteX47" fmla="*/ 52827 w 328623"/>
                  <a:gd name="connsiteY47" fmla="*/ 323672 h 330093"/>
                  <a:gd name="connsiteX48" fmla="*/ 57101 w 328623"/>
                  <a:gd name="connsiteY48" fmla="*/ 329030 h 330093"/>
                  <a:gd name="connsiteX49" fmla="*/ 71635 w 328623"/>
                  <a:gd name="connsiteY49" fmla="*/ 325211 h 330093"/>
                  <a:gd name="connsiteX50" fmla="*/ 154334 w 328623"/>
                  <a:gd name="connsiteY50" fmla="*/ 300419 h 330093"/>
                  <a:gd name="connsiteX51" fmla="*/ 245013 w 328623"/>
                  <a:gd name="connsiteY51" fmla="*/ 261320 h 330093"/>
                  <a:gd name="connsiteX52" fmla="*/ 261256 w 328623"/>
                  <a:gd name="connsiteY52" fmla="*/ 247470 h 330093"/>
                  <a:gd name="connsiteX53" fmla="*/ 276645 w 328623"/>
                  <a:gd name="connsiteY53" fmla="*/ 193269 h 330093"/>
                  <a:gd name="connsiteX54" fmla="*/ 278526 w 328623"/>
                  <a:gd name="connsiteY54" fmla="*/ 183522 h 330093"/>
                  <a:gd name="connsiteX55" fmla="*/ 285251 w 328623"/>
                  <a:gd name="connsiteY55" fmla="*/ 175999 h 330093"/>
                  <a:gd name="connsiteX56" fmla="*/ 317567 w 328623"/>
                  <a:gd name="connsiteY56" fmla="*/ 148755 h 330093"/>
                  <a:gd name="connsiteX57" fmla="*/ 328624 w 328623"/>
                  <a:gd name="connsiteY57" fmla="*/ 138383 h 330093"/>
                  <a:gd name="connsiteX58" fmla="*/ 318593 w 328623"/>
                  <a:gd name="connsiteY58" fmla="*/ 127212 h 330093"/>
                  <a:gd name="connsiteX59" fmla="*/ 260344 w 328623"/>
                  <a:gd name="connsiteY59" fmla="*/ 193098 h 330093"/>
                  <a:gd name="connsiteX60" fmla="*/ 253391 w 328623"/>
                  <a:gd name="connsiteY60" fmla="*/ 196346 h 330093"/>
                  <a:gd name="connsiteX61" fmla="*/ 244614 w 328623"/>
                  <a:gd name="connsiteY61" fmla="*/ 202900 h 330093"/>
                  <a:gd name="connsiteX62" fmla="*/ 239313 w 328623"/>
                  <a:gd name="connsiteY62" fmla="*/ 204212 h 330093"/>
                  <a:gd name="connsiteX63" fmla="*/ 238344 w 328623"/>
                  <a:gd name="connsiteY63" fmla="*/ 206434 h 330093"/>
                  <a:gd name="connsiteX64" fmla="*/ 235837 w 328623"/>
                  <a:gd name="connsiteY64" fmla="*/ 216978 h 330093"/>
                  <a:gd name="connsiteX65" fmla="*/ 227914 w 328623"/>
                  <a:gd name="connsiteY65" fmla="*/ 215326 h 330093"/>
                  <a:gd name="connsiteX66" fmla="*/ 222899 w 328623"/>
                  <a:gd name="connsiteY66" fmla="*/ 211564 h 330093"/>
                  <a:gd name="connsiteX67" fmla="*/ 215432 w 328623"/>
                  <a:gd name="connsiteY67" fmla="*/ 204953 h 330093"/>
                  <a:gd name="connsiteX68" fmla="*/ 210987 w 328623"/>
                  <a:gd name="connsiteY68" fmla="*/ 195377 h 330093"/>
                  <a:gd name="connsiteX69" fmla="*/ 222386 w 328623"/>
                  <a:gd name="connsiteY69" fmla="*/ 188709 h 330093"/>
                  <a:gd name="connsiteX70" fmla="*/ 221069 w 328623"/>
                  <a:gd name="connsiteY70" fmla="*/ 180758 h 330093"/>
                  <a:gd name="connsiteX71" fmla="*/ 222671 w 328623"/>
                  <a:gd name="connsiteY71" fmla="*/ 179248 h 330093"/>
                  <a:gd name="connsiteX72" fmla="*/ 226033 w 328623"/>
                  <a:gd name="connsiteY72" fmla="*/ 177652 h 330093"/>
                  <a:gd name="connsiteX73" fmla="*/ 227059 w 328623"/>
                  <a:gd name="connsiteY73" fmla="*/ 170756 h 330093"/>
                  <a:gd name="connsiteX74" fmla="*/ 237774 w 328623"/>
                  <a:gd name="connsiteY74" fmla="*/ 163004 h 330093"/>
                  <a:gd name="connsiteX75" fmla="*/ 242163 w 328623"/>
                  <a:gd name="connsiteY75" fmla="*/ 162662 h 330093"/>
                  <a:gd name="connsiteX76" fmla="*/ 247350 w 328623"/>
                  <a:gd name="connsiteY76" fmla="*/ 165740 h 330093"/>
                  <a:gd name="connsiteX77" fmla="*/ 257609 w 328623"/>
                  <a:gd name="connsiteY77" fmla="*/ 171896 h 330093"/>
                  <a:gd name="connsiteX78" fmla="*/ 261655 w 328623"/>
                  <a:gd name="connsiteY78" fmla="*/ 187512 h 330093"/>
                  <a:gd name="connsiteX79" fmla="*/ 260344 w 328623"/>
                  <a:gd name="connsiteY79" fmla="*/ 193098 h 33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8623" h="330093">
                    <a:moveTo>
                      <a:pt x="318593" y="127212"/>
                    </a:moveTo>
                    <a:cubicBezTo>
                      <a:pt x="318120" y="126328"/>
                      <a:pt x="317698" y="125416"/>
                      <a:pt x="317339" y="124476"/>
                    </a:cubicBezTo>
                    <a:lnTo>
                      <a:pt x="317339" y="124476"/>
                    </a:lnTo>
                    <a:cubicBezTo>
                      <a:pt x="315846" y="125245"/>
                      <a:pt x="314164" y="125564"/>
                      <a:pt x="312495" y="125388"/>
                    </a:cubicBezTo>
                    <a:cubicBezTo>
                      <a:pt x="310722" y="125479"/>
                      <a:pt x="308955" y="125188"/>
                      <a:pt x="307308" y="124533"/>
                    </a:cubicBezTo>
                    <a:cubicBezTo>
                      <a:pt x="305068" y="123205"/>
                      <a:pt x="303296" y="121210"/>
                      <a:pt x="302235" y="118833"/>
                    </a:cubicBezTo>
                    <a:cubicBezTo>
                      <a:pt x="299107" y="114644"/>
                      <a:pt x="297266" y="109635"/>
                      <a:pt x="296935" y="104414"/>
                    </a:cubicBezTo>
                    <a:cubicBezTo>
                      <a:pt x="297060" y="102305"/>
                      <a:pt x="297499" y="100230"/>
                      <a:pt x="298246" y="98258"/>
                    </a:cubicBezTo>
                    <a:cubicBezTo>
                      <a:pt x="299050" y="95095"/>
                      <a:pt x="301221" y="92462"/>
                      <a:pt x="304173" y="91077"/>
                    </a:cubicBezTo>
                    <a:cubicBezTo>
                      <a:pt x="305245" y="90769"/>
                      <a:pt x="306362" y="90632"/>
                      <a:pt x="307479" y="90678"/>
                    </a:cubicBezTo>
                    <a:cubicBezTo>
                      <a:pt x="309103" y="90695"/>
                      <a:pt x="310716" y="90946"/>
                      <a:pt x="312266" y="91419"/>
                    </a:cubicBezTo>
                    <a:cubicBezTo>
                      <a:pt x="313691" y="91972"/>
                      <a:pt x="314991" y="92804"/>
                      <a:pt x="316085" y="93870"/>
                    </a:cubicBezTo>
                    <a:cubicBezTo>
                      <a:pt x="318422" y="79051"/>
                      <a:pt x="322754" y="64403"/>
                      <a:pt x="322298" y="49414"/>
                    </a:cubicBezTo>
                    <a:cubicBezTo>
                      <a:pt x="322092" y="35889"/>
                      <a:pt x="316969" y="22900"/>
                      <a:pt x="307878" y="12880"/>
                    </a:cubicBezTo>
                    <a:cubicBezTo>
                      <a:pt x="298576" y="2923"/>
                      <a:pt x="284898" y="-1705"/>
                      <a:pt x="271458" y="569"/>
                    </a:cubicBezTo>
                    <a:cubicBezTo>
                      <a:pt x="264989" y="2251"/>
                      <a:pt x="258788" y="4838"/>
                      <a:pt x="253049" y="8264"/>
                    </a:cubicBezTo>
                    <a:lnTo>
                      <a:pt x="227402" y="21942"/>
                    </a:lnTo>
                    <a:cubicBezTo>
                      <a:pt x="226432" y="22410"/>
                      <a:pt x="225532" y="23002"/>
                      <a:pt x="224723" y="23709"/>
                    </a:cubicBezTo>
                    <a:cubicBezTo>
                      <a:pt x="223537" y="25071"/>
                      <a:pt x="222642" y="26661"/>
                      <a:pt x="222101" y="28383"/>
                    </a:cubicBezTo>
                    <a:cubicBezTo>
                      <a:pt x="217046" y="40944"/>
                      <a:pt x="207938" y="51454"/>
                      <a:pt x="196225" y="58248"/>
                    </a:cubicBezTo>
                    <a:cubicBezTo>
                      <a:pt x="193427" y="59559"/>
                      <a:pt x="190896" y="61377"/>
                      <a:pt x="188759" y="63606"/>
                    </a:cubicBezTo>
                    <a:cubicBezTo>
                      <a:pt x="186713" y="67145"/>
                      <a:pt x="185248" y="70998"/>
                      <a:pt x="184427" y="75005"/>
                    </a:cubicBezTo>
                    <a:cubicBezTo>
                      <a:pt x="179321" y="87435"/>
                      <a:pt x="165100" y="93374"/>
                      <a:pt x="152670" y="88267"/>
                    </a:cubicBezTo>
                    <a:cubicBezTo>
                      <a:pt x="152248" y="88090"/>
                      <a:pt x="151838" y="87908"/>
                      <a:pt x="151427" y="87714"/>
                    </a:cubicBezTo>
                    <a:cubicBezTo>
                      <a:pt x="145101" y="84351"/>
                      <a:pt x="138832" y="77797"/>
                      <a:pt x="132106" y="80191"/>
                    </a:cubicBezTo>
                    <a:cubicBezTo>
                      <a:pt x="123671" y="83212"/>
                      <a:pt x="124526" y="96833"/>
                      <a:pt x="116832" y="101393"/>
                    </a:cubicBezTo>
                    <a:cubicBezTo>
                      <a:pt x="114495" y="102818"/>
                      <a:pt x="111531" y="103217"/>
                      <a:pt x="109764" y="105269"/>
                    </a:cubicBezTo>
                    <a:cubicBezTo>
                      <a:pt x="108641" y="107013"/>
                      <a:pt x="107826" y="108945"/>
                      <a:pt x="107370" y="110968"/>
                    </a:cubicBezTo>
                    <a:cubicBezTo>
                      <a:pt x="103181" y="119358"/>
                      <a:pt x="93509" y="123444"/>
                      <a:pt x="84572" y="120600"/>
                    </a:cubicBezTo>
                    <a:lnTo>
                      <a:pt x="83319" y="120201"/>
                    </a:lnTo>
                    <a:lnTo>
                      <a:pt x="83319" y="120201"/>
                    </a:lnTo>
                    <a:cubicBezTo>
                      <a:pt x="83119" y="118879"/>
                      <a:pt x="83005" y="117545"/>
                      <a:pt x="82977" y="116212"/>
                    </a:cubicBezTo>
                    <a:cubicBezTo>
                      <a:pt x="82635" y="106922"/>
                      <a:pt x="85542" y="97403"/>
                      <a:pt x="82977" y="88398"/>
                    </a:cubicBezTo>
                    <a:cubicBezTo>
                      <a:pt x="80116" y="78595"/>
                      <a:pt x="71498" y="71585"/>
                      <a:pt x="61319" y="70787"/>
                    </a:cubicBezTo>
                    <a:cubicBezTo>
                      <a:pt x="58486" y="88803"/>
                      <a:pt x="57831" y="107098"/>
                      <a:pt x="59381" y="125274"/>
                    </a:cubicBezTo>
                    <a:cubicBezTo>
                      <a:pt x="60008" y="130118"/>
                      <a:pt x="60977" y="134963"/>
                      <a:pt x="61661" y="139864"/>
                    </a:cubicBezTo>
                    <a:cubicBezTo>
                      <a:pt x="62259" y="144652"/>
                      <a:pt x="62601" y="149462"/>
                      <a:pt x="62687" y="154284"/>
                    </a:cubicBezTo>
                    <a:lnTo>
                      <a:pt x="63884" y="150124"/>
                    </a:lnTo>
                    <a:cubicBezTo>
                      <a:pt x="62487" y="158388"/>
                      <a:pt x="58492" y="165991"/>
                      <a:pt x="52485" y="171839"/>
                    </a:cubicBezTo>
                    <a:cubicBezTo>
                      <a:pt x="44340" y="177344"/>
                      <a:pt x="33836" y="177931"/>
                      <a:pt x="25127" y="173377"/>
                    </a:cubicBezTo>
                    <a:cubicBezTo>
                      <a:pt x="18926" y="170266"/>
                      <a:pt x="13301" y="166122"/>
                      <a:pt x="8485" y="161124"/>
                    </a:cubicBezTo>
                    <a:cubicBezTo>
                      <a:pt x="4324" y="165284"/>
                      <a:pt x="-806" y="169331"/>
                      <a:pt x="107" y="174916"/>
                    </a:cubicBezTo>
                    <a:cubicBezTo>
                      <a:pt x="790" y="179134"/>
                      <a:pt x="4780" y="181870"/>
                      <a:pt x="7231" y="185403"/>
                    </a:cubicBezTo>
                    <a:cubicBezTo>
                      <a:pt x="15780" y="197600"/>
                      <a:pt x="4267" y="216010"/>
                      <a:pt x="11733" y="228947"/>
                    </a:cubicBezTo>
                    <a:cubicBezTo>
                      <a:pt x="16407" y="237041"/>
                      <a:pt x="27578" y="240916"/>
                      <a:pt x="29402" y="250092"/>
                    </a:cubicBezTo>
                    <a:cubicBezTo>
                      <a:pt x="29795" y="253763"/>
                      <a:pt x="29504" y="257473"/>
                      <a:pt x="28547" y="261035"/>
                    </a:cubicBezTo>
                    <a:cubicBezTo>
                      <a:pt x="25406" y="280054"/>
                      <a:pt x="31112" y="299467"/>
                      <a:pt x="44049" y="313755"/>
                    </a:cubicBezTo>
                    <a:cubicBezTo>
                      <a:pt x="47212" y="316839"/>
                      <a:pt x="50148" y="320156"/>
                      <a:pt x="52827" y="323672"/>
                    </a:cubicBezTo>
                    <a:cubicBezTo>
                      <a:pt x="53858" y="325735"/>
                      <a:pt x="55317" y="327565"/>
                      <a:pt x="57101" y="329030"/>
                    </a:cubicBezTo>
                    <a:cubicBezTo>
                      <a:pt x="61547" y="331937"/>
                      <a:pt x="67246" y="328289"/>
                      <a:pt x="71635" y="325211"/>
                    </a:cubicBezTo>
                    <a:cubicBezTo>
                      <a:pt x="95402" y="308569"/>
                      <a:pt x="126008" y="306631"/>
                      <a:pt x="154334" y="300419"/>
                    </a:cubicBezTo>
                    <a:cubicBezTo>
                      <a:pt x="186770" y="293271"/>
                      <a:pt x="217547" y="279997"/>
                      <a:pt x="245013" y="261320"/>
                    </a:cubicBezTo>
                    <a:cubicBezTo>
                      <a:pt x="251032" y="257462"/>
                      <a:pt x="256491" y="252799"/>
                      <a:pt x="261256" y="247470"/>
                    </a:cubicBezTo>
                    <a:cubicBezTo>
                      <a:pt x="273567" y="232823"/>
                      <a:pt x="275505" y="212362"/>
                      <a:pt x="276645" y="193269"/>
                    </a:cubicBezTo>
                    <a:cubicBezTo>
                      <a:pt x="276594" y="189923"/>
                      <a:pt x="277238" y="186606"/>
                      <a:pt x="278526" y="183522"/>
                    </a:cubicBezTo>
                    <a:cubicBezTo>
                      <a:pt x="280247" y="180593"/>
                      <a:pt x="282532" y="178034"/>
                      <a:pt x="285251" y="175999"/>
                    </a:cubicBezTo>
                    <a:lnTo>
                      <a:pt x="317567" y="148755"/>
                    </a:lnTo>
                    <a:cubicBezTo>
                      <a:pt x="321471" y="145541"/>
                      <a:pt x="325164" y="142076"/>
                      <a:pt x="328624" y="138383"/>
                    </a:cubicBezTo>
                    <a:cubicBezTo>
                      <a:pt x="324640" y="135288"/>
                      <a:pt x="321243" y="131503"/>
                      <a:pt x="318593" y="127212"/>
                    </a:cubicBezTo>
                    <a:close/>
                    <a:moveTo>
                      <a:pt x="260344" y="193098"/>
                    </a:moveTo>
                    <a:cubicBezTo>
                      <a:pt x="258692" y="195092"/>
                      <a:pt x="255671" y="195092"/>
                      <a:pt x="253391" y="196346"/>
                    </a:cubicBezTo>
                    <a:cubicBezTo>
                      <a:pt x="250085" y="198056"/>
                      <a:pt x="248204" y="202046"/>
                      <a:pt x="244614" y="202900"/>
                    </a:cubicBezTo>
                    <a:cubicBezTo>
                      <a:pt x="242790" y="203299"/>
                      <a:pt x="240567" y="202900"/>
                      <a:pt x="239313" y="204212"/>
                    </a:cubicBezTo>
                    <a:cubicBezTo>
                      <a:pt x="238789" y="204844"/>
                      <a:pt x="238453" y="205619"/>
                      <a:pt x="238344" y="206434"/>
                    </a:cubicBezTo>
                    <a:cubicBezTo>
                      <a:pt x="237489" y="209968"/>
                      <a:pt x="236691" y="213445"/>
                      <a:pt x="235837" y="216978"/>
                    </a:cubicBezTo>
                    <a:cubicBezTo>
                      <a:pt x="233101" y="217092"/>
                      <a:pt x="230377" y="216522"/>
                      <a:pt x="227914" y="215326"/>
                    </a:cubicBezTo>
                    <a:cubicBezTo>
                      <a:pt x="226090" y="214288"/>
                      <a:pt x="224409" y="213023"/>
                      <a:pt x="222899" y="211564"/>
                    </a:cubicBezTo>
                    <a:lnTo>
                      <a:pt x="215432" y="204953"/>
                    </a:lnTo>
                    <a:cubicBezTo>
                      <a:pt x="212583" y="202445"/>
                      <a:pt x="209733" y="198854"/>
                      <a:pt x="210987" y="195377"/>
                    </a:cubicBezTo>
                    <a:cubicBezTo>
                      <a:pt x="215113" y="193770"/>
                      <a:pt x="218961" y="191519"/>
                      <a:pt x="222386" y="188709"/>
                    </a:cubicBezTo>
                    <a:cubicBezTo>
                      <a:pt x="219827" y="186879"/>
                      <a:pt x="219234" y="183317"/>
                      <a:pt x="221069" y="180758"/>
                    </a:cubicBezTo>
                    <a:cubicBezTo>
                      <a:pt x="221497" y="180154"/>
                      <a:pt x="222044" y="179641"/>
                      <a:pt x="222671" y="179248"/>
                    </a:cubicBezTo>
                    <a:cubicBezTo>
                      <a:pt x="223862" y="178877"/>
                      <a:pt x="224996" y="178342"/>
                      <a:pt x="226033" y="177652"/>
                    </a:cubicBezTo>
                    <a:cubicBezTo>
                      <a:pt x="227743" y="175999"/>
                      <a:pt x="226774" y="173092"/>
                      <a:pt x="227059" y="170756"/>
                    </a:cubicBezTo>
                    <a:cubicBezTo>
                      <a:pt x="227743" y="166082"/>
                      <a:pt x="233215" y="164087"/>
                      <a:pt x="237774" y="163004"/>
                    </a:cubicBezTo>
                    <a:cubicBezTo>
                      <a:pt x="239199" y="162605"/>
                      <a:pt x="240693" y="162491"/>
                      <a:pt x="242163" y="162662"/>
                    </a:cubicBezTo>
                    <a:cubicBezTo>
                      <a:pt x="244089" y="163306"/>
                      <a:pt x="245862" y="164355"/>
                      <a:pt x="247350" y="165740"/>
                    </a:cubicBezTo>
                    <a:cubicBezTo>
                      <a:pt x="250969" y="167444"/>
                      <a:pt x="254406" y="169508"/>
                      <a:pt x="257609" y="171896"/>
                    </a:cubicBezTo>
                    <a:cubicBezTo>
                      <a:pt x="260943" y="176370"/>
                      <a:pt x="262396" y="181978"/>
                      <a:pt x="261655" y="187512"/>
                    </a:cubicBezTo>
                    <a:cubicBezTo>
                      <a:pt x="261872" y="189467"/>
                      <a:pt x="261410" y="191445"/>
                      <a:pt x="260344" y="19309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3" name="Freihandform: Form 647">
                <a:extLst>
                  <a:ext uri="{FF2B5EF4-FFF2-40B4-BE49-F238E27FC236}">
                    <a16:creationId xmlns:a16="http://schemas.microsoft.com/office/drawing/2014/main" id="{8F66F850-BD14-BCE8-2909-E64DF98AF3C7}"/>
                  </a:ext>
                </a:extLst>
              </p:cNvPr>
              <p:cNvSpPr/>
              <p:nvPr/>
            </p:nvSpPr>
            <p:spPr>
              <a:xfrm>
                <a:off x="4042298" y="4665847"/>
                <a:ext cx="191787" cy="298904"/>
              </a:xfrm>
              <a:custGeom>
                <a:avLst/>
                <a:gdLst>
                  <a:gd name="connsiteX0" fmla="*/ 151036 w 191787"/>
                  <a:gd name="connsiteY0" fmla="*/ 193269 h 298904"/>
                  <a:gd name="connsiteX1" fmla="*/ 149497 w 191787"/>
                  <a:gd name="connsiteY1" fmla="*/ 193269 h 298904"/>
                  <a:gd name="connsiteX2" fmla="*/ 147559 w 191787"/>
                  <a:gd name="connsiteY2" fmla="*/ 247756 h 298904"/>
                  <a:gd name="connsiteX3" fmla="*/ 149839 w 191787"/>
                  <a:gd name="connsiteY3" fmla="*/ 262347 h 298904"/>
                  <a:gd name="connsiteX4" fmla="*/ 150865 w 191787"/>
                  <a:gd name="connsiteY4" fmla="*/ 276766 h 298904"/>
                  <a:gd name="connsiteX5" fmla="*/ 140777 w 191787"/>
                  <a:gd name="connsiteY5" fmla="*/ 294321 h 298904"/>
                  <a:gd name="connsiteX6" fmla="*/ 113419 w 191787"/>
                  <a:gd name="connsiteY6" fmla="*/ 295859 h 298904"/>
                  <a:gd name="connsiteX7" fmla="*/ 96777 w 191787"/>
                  <a:gd name="connsiteY7" fmla="*/ 283606 h 298904"/>
                  <a:gd name="connsiteX8" fmla="*/ 98544 w 191787"/>
                  <a:gd name="connsiteY8" fmla="*/ 281725 h 298904"/>
                  <a:gd name="connsiteX9" fmla="*/ 95238 w 191787"/>
                  <a:gd name="connsiteY9" fmla="*/ 267647 h 298904"/>
                  <a:gd name="connsiteX10" fmla="*/ 67539 w 191787"/>
                  <a:gd name="connsiteY10" fmla="*/ 278419 h 298904"/>
                  <a:gd name="connsiteX11" fmla="*/ 56140 w 191787"/>
                  <a:gd name="connsiteY11" fmla="*/ 224616 h 298904"/>
                  <a:gd name="connsiteX12" fmla="*/ 38699 w 191787"/>
                  <a:gd name="connsiteY12" fmla="*/ 164886 h 298904"/>
                  <a:gd name="connsiteX13" fmla="*/ 36990 w 191787"/>
                  <a:gd name="connsiteY13" fmla="*/ 133709 h 298904"/>
                  <a:gd name="connsiteX14" fmla="*/ 29238 w 191787"/>
                  <a:gd name="connsiteY14" fmla="*/ 119233 h 298904"/>
                  <a:gd name="connsiteX15" fmla="*/ 31062 w 191787"/>
                  <a:gd name="connsiteY15" fmla="*/ 89425 h 298904"/>
                  <a:gd name="connsiteX16" fmla="*/ 11684 w 191787"/>
                  <a:gd name="connsiteY16" fmla="*/ 51409 h 298904"/>
                  <a:gd name="connsiteX17" fmla="*/ 4560 w 191787"/>
                  <a:gd name="connsiteY17" fmla="*/ 25419 h 298904"/>
                  <a:gd name="connsiteX18" fmla="*/ 0 w 191787"/>
                  <a:gd name="connsiteY18" fmla="*/ 0 h 298904"/>
                  <a:gd name="connsiteX19" fmla="*/ 18694 w 191787"/>
                  <a:gd name="connsiteY19" fmla="*/ 2622 h 298904"/>
                  <a:gd name="connsiteX20" fmla="*/ 28440 w 191787"/>
                  <a:gd name="connsiteY20" fmla="*/ 5129 h 298904"/>
                  <a:gd name="connsiteX21" fmla="*/ 35052 w 191787"/>
                  <a:gd name="connsiteY21" fmla="*/ 9176 h 298904"/>
                  <a:gd name="connsiteX22" fmla="*/ 43145 w 191787"/>
                  <a:gd name="connsiteY22" fmla="*/ 11057 h 298904"/>
                  <a:gd name="connsiteX23" fmla="*/ 123622 w 191787"/>
                  <a:gd name="connsiteY23" fmla="*/ 14648 h 298904"/>
                  <a:gd name="connsiteX24" fmla="*/ 130575 w 191787"/>
                  <a:gd name="connsiteY24" fmla="*/ 16129 h 298904"/>
                  <a:gd name="connsiteX25" fmla="*/ 133824 w 191787"/>
                  <a:gd name="connsiteY25" fmla="*/ 20746 h 298904"/>
                  <a:gd name="connsiteX26" fmla="*/ 143057 w 191787"/>
                  <a:gd name="connsiteY26" fmla="*/ 23767 h 298904"/>
                  <a:gd name="connsiteX27" fmla="*/ 191787 w 191787"/>
                  <a:gd name="connsiteY27" fmla="*/ 26616 h 298904"/>
                  <a:gd name="connsiteX28" fmla="*/ 175361 w 191787"/>
                  <a:gd name="connsiteY28" fmla="*/ 39372 h 298904"/>
                  <a:gd name="connsiteX29" fmla="*/ 174689 w 191787"/>
                  <a:gd name="connsiteY29" fmla="*/ 39269 h 298904"/>
                  <a:gd name="connsiteX30" fmla="*/ 173093 w 191787"/>
                  <a:gd name="connsiteY30" fmla="*/ 74435 h 298904"/>
                  <a:gd name="connsiteX31" fmla="*/ 171269 w 191787"/>
                  <a:gd name="connsiteY31" fmla="*/ 113875 h 298904"/>
                  <a:gd name="connsiteX32" fmla="*/ 150751 w 191787"/>
                  <a:gd name="connsiteY32" fmla="*/ 125274 h 298904"/>
                  <a:gd name="connsiteX33" fmla="*/ 149839 w 191787"/>
                  <a:gd name="connsiteY33" fmla="*/ 132114 h 298904"/>
                  <a:gd name="connsiteX34" fmla="*/ 151036 w 191787"/>
                  <a:gd name="connsiteY34" fmla="*/ 193269 h 29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1787" h="298904">
                    <a:moveTo>
                      <a:pt x="151036" y="193269"/>
                    </a:moveTo>
                    <a:cubicBezTo>
                      <a:pt x="150523" y="193240"/>
                      <a:pt x="150010" y="193240"/>
                      <a:pt x="149497" y="193269"/>
                    </a:cubicBezTo>
                    <a:cubicBezTo>
                      <a:pt x="146659" y="211285"/>
                      <a:pt x="146009" y="229581"/>
                      <a:pt x="147559" y="247756"/>
                    </a:cubicBezTo>
                    <a:cubicBezTo>
                      <a:pt x="148186" y="252601"/>
                      <a:pt x="149155" y="257445"/>
                      <a:pt x="149839" y="262347"/>
                    </a:cubicBezTo>
                    <a:cubicBezTo>
                      <a:pt x="150437" y="267134"/>
                      <a:pt x="150780" y="271945"/>
                      <a:pt x="150865" y="276766"/>
                    </a:cubicBezTo>
                    <a:cubicBezTo>
                      <a:pt x="149400" y="283520"/>
                      <a:pt x="145872" y="289653"/>
                      <a:pt x="140777" y="294321"/>
                    </a:cubicBezTo>
                    <a:cubicBezTo>
                      <a:pt x="132632" y="299826"/>
                      <a:pt x="122128" y="300413"/>
                      <a:pt x="113419" y="295859"/>
                    </a:cubicBezTo>
                    <a:cubicBezTo>
                      <a:pt x="107219" y="292748"/>
                      <a:pt x="101593" y="288604"/>
                      <a:pt x="96777" y="283606"/>
                    </a:cubicBezTo>
                    <a:cubicBezTo>
                      <a:pt x="97404" y="282979"/>
                      <a:pt x="98031" y="282352"/>
                      <a:pt x="98544" y="281725"/>
                    </a:cubicBezTo>
                    <a:cubicBezTo>
                      <a:pt x="102875" y="276823"/>
                      <a:pt x="101451" y="265880"/>
                      <a:pt x="95238" y="267647"/>
                    </a:cubicBezTo>
                    <a:cubicBezTo>
                      <a:pt x="88268" y="275473"/>
                      <a:pt x="77963" y="279479"/>
                      <a:pt x="67539" y="278419"/>
                    </a:cubicBezTo>
                    <a:cubicBezTo>
                      <a:pt x="66228" y="260044"/>
                      <a:pt x="62392" y="241943"/>
                      <a:pt x="56140" y="224616"/>
                    </a:cubicBezTo>
                    <a:cubicBezTo>
                      <a:pt x="49072" y="205010"/>
                      <a:pt x="39041" y="185803"/>
                      <a:pt x="38699" y="164886"/>
                    </a:cubicBezTo>
                    <a:cubicBezTo>
                      <a:pt x="38699" y="154399"/>
                      <a:pt x="41207" y="143342"/>
                      <a:pt x="36990" y="133709"/>
                    </a:cubicBezTo>
                    <a:cubicBezTo>
                      <a:pt x="34140" y="129030"/>
                      <a:pt x="31552" y="124197"/>
                      <a:pt x="29238" y="119233"/>
                    </a:cubicBezTo>
                    <a:cubicBezTo>
                      <a:pt x="26274" y="109658"/>
                      <a:pt x="31632" y="99456"/>
                      <a:pt x="31062" y="89425"/>
                    </a:cubicBezTo>
                    <a:cubicBezTo>
                      <a:pt x="30264" y="75062"/>
                      <a:pt x="18010" y="64290"/>
                      <a:pt x="11684" y="51409"/>
                    </a:cubicBezTo>
                    <a:cubicBezTo>
                      <a:pt x="8093" y="43128"/>
                      <a:pt x="5694" y="34374"/>
                      <a:pt x="4560" y="25419"/>
                    </a:cubicBezTo>
                    <a:cubicBezTo>
                      <a:pt x="3021" y="16927"/>
                      <a:pt x="1539" y="8321"/>
                      <a:pt x="0" y="0"/>
                    </a:cubicBezTo>
                    <a:lnTo>
                      <a:pt x="18694" y="2622"/>
                    </a:lnTo>
                    <a:cubicBezTo>
                      <a:pt x="22068" y="2872"/>
                      <a:pt x="25368" y="3722"/>
                      <a:pt x="28440" y="5129"/>
                    </a:cubicBezTo>
                    <a:cubicBezTo>
                      <a:pt x="30777" y="6269"/>
                      <a:pt x="32715" y="8093"/>
                      <a:pt x="35052" y="9176"/>
                    </a:cubicBezTo>
                    <a:cubicBezTo>
                      <a:pt x="37633" y="10230"/>
                      <a:pt x="40364" y="10863"/>
                      <a:pt x="43145" y="11057"/>
                    </a:cubicBezTo>
                    <a:cubicBezTo>
                      <a:pt x="69847" y="14249"/>
                      <a:pt x="96743" y="15445"/>
                      <a:pt x="123622" y="14648"/>
                    </a:cubicBezTo>
                    <a:cubicBezTo>
                      <a:pt x="126044" y="14294"/>
                      <a:pt x="128506" y="14824"/>
                      <a:pt x="130575" y="16129"/>
                    </a:cubicBezTo>
                    <a:cubicBezTo>
                      <a:pt x="132000" y="17383"/>
                      <a:pt x="132570" y="19321"/>
                      <a:pt x="133824" y="20746"/>
                    </a:cubicBezTo>
                    <a:cubicBezTo>
                      <a:pt x="136383" y="22929"/>
                      <a:pt x="139700" y="24018"/>
                      <a:pt x="143057" y="23767"/>
                    </a:cubicBezTo>
                    <a:lnTo>
                      <a:pt x="191787" y="26616"/>
                    </a:lnTo>
                    <a:cubicBezTo>
                      <a:pt x="190773" y="34676"/>
                      <a:pt x="183421" y="40386"/>
                      <a:pt x="175361" y="39372"/>
                    </a:cubicBezTo>
                    <a:cubicBezTo>
                      <a:pt x="175139" y="39344"/>
                      <a:pt x="174911" y="39309"/>
                      <a:pt x="174689" y="39269"/>
                    </a:cubicBezTo>
                    <a:cubicBezTo>
                      <a:pt x="173076" y="50919"/>
                      <a:pt x="172546" y="62688"/>
                      <a:pt x="173093" y="74435"/>
                    </a:cubicBezTo>
                    <a:cubicBezTo>
                      <a:pt x="174119" y="87772"/>
                      <a:pt x="177767" y="102192"/>
                      <a:pt x="171269" y="113875"/>
                    </a:cubicBezTo>
                    <a:cubicBezTo>
                      <a:pt x="163119" y="115129"/>
                      <a:pt x="153430" y="117580"/>
                      <a:pt x="150751" y="125274"/>
                    </a:cubicBezTo>
                    <a:cubicBezTo>
                      <a:pt x="150084" y="127491"/>
                      <a:pt x="149776" y="129800"/>
                      <a:pt x="149839" y="132114"/>
                    </a:cubicBezTo>
                    <a:cubicBezTo>
                      <a:pt x="149035" y="152506"/>
                      <a:pt x="149434" y="172928"/>
                      <a:pt x="151036" y="19326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4" name="Freihandform: Form 648">
                <a:extLst>
                  <a:ext uri="{FF2B5EF4-FFF2-40B4-BE49-F238E27FC236}">
                    <a16:creationId xmlns:a16="http://schemas.microsoft.com/office/drawing/2014/main" id="{455A2317-12AE-280E-D469-B95D5223916C}"/>
                  </a:ext>
                </a:extLst>
              </p:cNvPr>
              <p:cNvSpPr/>
              <p:nvPr/>
            </p:nvSpPr>
            <p:spPr>
              <a:xfrm>
                <a:off x="4192369" y="4685692"/>
                <a:ext cx="194643" cy="224080"/>
              </a:xfrm>
              <a:custGeom>
                <a:avLst/>
                <a:gdLst>
                  <a:gd name="connsiteX0" fmla="*/ 188648 w 194643"/>
                  <a:gd name="connsiteY0" fmla="*/ 111585 h 224080"/>
                  <a:gd name="connsiteX1" fmla="*/ 188648 w 194643"/>
                  <a:gd name="connsiteY1" fmla="*/ 112269 h 224080"/>
                  <a:gd name="connsiteX2" fmla="*/ 165850 w 194643"/>
                  <a:gd name="connsiteY2" fmla="*/ 124522 h 224080"/>
                  <a:gd name="connsiteX3" fmla="*/ 163171 w 194643"/>
                  <a:gd name="connsiteY3" fmla="*/ 126290 h 224080"/>
                  <a:gd name="connsiteX4" fmla="*/ 160550 w 194643"/>
                  <a:gd name="connsiteY4" fmla="*/ 130963 h 224080"/>
                  <a:gd name="connsiteX5" fmla="*/ 134674 w 194643"/>
                  <a:gd name="connsiteY5" fmla="*/ 160828 h 224080"/>
                  <a:gd name="connsiteX6" fmla="*/ 127208 w 194643"/>
                  <a:gd name="connsiteY6" fmla="*/ 166186 h 224080"/>
                  <a:gd name="connsiteX7" fmla="*/ 122876 w 194643"/>
                  <a:gd name="connsiteY7" fmla="*/ 177585 h 224080"/>
                  <a:gd name="connsiteX8" fmla="*/ 91119 w 194643"/>
                  <a:gd name="connsiteY8" fmla="*/ 190847 h 224080"/>
                  <a:gd name="connsiteX9" fmla="*/ 89876 w 194643"/>
                  <a:gd name="connsiteY9" fmla="*/ 190295 h 224080"/>
                  <a:gd name="connsiteX10" fmla="*/ 70555 w 194643"/>
                  <a:gd name="connsiteY10" fmla="*/ 182771 h 224080"/>
                  <a:gd name="connsiteX11" fmla="*/ 55280 w 194643"/>
                  <a:gd name="connsiteY11" fmla="*/ 203973 h 224080"/>
                  <a:gd name="connsiteX12" fmla="*/ 48213 w 194643"/>
                  <a:gd name="connsiteY12" fmla="*/ 207849 h 224080"/>
                  <a:gd name="connsiteX13" fmla="*/ 45819 w 194643"/>
                  <a:gd name="connsiteY13" fmla="*/ 213549 h 224080"/>
                  <a:gd name="connsiteX14" fmla="*/ 23022 w 194643"/>
                  <a:gd name="connsiteY14" fmla="*/ 223181 h 224080"/>
                  <a:gd name="connsiteX15" fmla="*/ 21768 w 194643"/>
                  <a:gd name="connsiteY15" fmla="*/ 222782 h 224080"/>
                  <a:gd name="connsiteX16" fmla="*/ 21426 w 194643"/>
                  <a:gd name="connsiteY16" fmla="*/ 218792 h 224080"/>
                  <a:gd name="connsiteX17" fmla="*/ 21426 w 194643"/>
                  <a:gd name="connsiteY17" fmla="*/ 190979 h 224080"/>
                  <a:gd name="connsiteX18" fmla="*/ 1307 w 194643"/>
                  <a:gd name="connsiteY18" fmla="*/ 173595 h 224080"/>
                  <a:gd name="connsiteX19" fmla="*/ 566 w 194643"/>
                  <a:gd name="connsiteY19" fmla="*/ 112554 h 224080"/>
                  <a:gd name="connsiteX20" fmla="*/ 1477 w 194643"/>
                  <a:gd name="connsiteY20" fmla="*/ 105714 h 224080"/>
                  <a:gd name="connsiteX21" fmla="*/ 21996 w 194643"/>
                  <a:gd name="connsiteY21" fmla="*/ 94315 h 224080"/>
                  <a:gd name="connsiteX22" fmla="*/ 23820 w 194643"/>
                  <a:gd name="connsiteY22" fmla="*/ 54875 h 224080"/>
                  <a:gd name="connsiteX23" fmla="*/ 25415 w 194643"/>
                  <a:gd name="connsiteY23" fmla="*/ 19709 h 224080"/>
                  <a:gd name="connsiteX24" fmla="*/ 41773 w 194643"/>
                  <a:gd name="connsiteY24" fmla="*/ 9393 h 224080"/>
                  <a:gd name="connsiteX25" fmla="*/ 42913 w 194643"/>
                  <a:gd name="connsiteY25" fmla="*/ 8994 h 224080"/>
                  <a:gd name="connsiteX26" fmla="*/ 66167 w 194643"/>
                  <a:gd name="connsiteY26" fmla="*/ 46 h 224080"/>
                  <a:gd name="connsiteX27" fmla="*/ 70840 w 194643"/>
                  <a:gd name="connsiteY27" fmla="*/ 787 h 224080"/>
                  <a:gd name="connsiteX28" fmla="*/ 74602 w 194643"/>
                  <a:gd name="connsiteY28" fmla="*/ 4549 h 224080"/>
                  <a:gd name="connsiteX29" fmla="*/ 81783 w 194643"/>
                  <a:gd name="connsiteY29" fmla="*/ 16518 h 224080"/>
                  <a:gd name="connsiteX30" fmla="*/ 99680 w 194643"/>
                  <a:gd name="connsiteY30" fmla="*/ 1642 h 224080"/>
                  <a:gd name="connsiteX31" fmla="*/ 113928 w 194643"/>
                  <a:gd name="connsiteY31" fmla="*/ 6487 h 224080"/>
                  <a:gd name="connsiteX32" fmla="*/ 118488 w 194643"/>
                  <a:gd name="connsiteY32" fmla="*/ 6999 h 224080"/>
                  <a:gd name="connsiteX33" fmla="*/ 124187 w 194643"/>
                  <a:gd name="connsiteY33" fmla="*/ 19425 h 224080"/>
                  <a:gd name="connsiteX34" fmla="*/ 129488 w 194643"/>
                  <a:gd name="connsiteY34" fmla="*/ 32305 h 224080"/>
                  <a:gd name="connsiteX35" fmla="*/ 140032 w 194643"/>
                  <a:gd name="connsiteY35" fmla="*/ 34357 h 224080"/>
                  <a:gd name="connsiteX36" fmla="*/ 146358 w 194643"/>
                  <a:gd name="connsiteY36" fmla="*/ 49974 h 224080"/>
                  <a:gd name="connsiteX37" fmla="*/ 155762 w 194643"/>
                  <a:gd name="connsiteY37" fmla="*/ 51968 h 224080"/>
                  <a:gd name="connsiteX38" fmla="*/ 157814 w 194643"/>
                  <a:gd name="connsiteY38" fmla="*/ 60061 h 224080"/>
                  <a:gd name="connsiteX39" fmla="*/ 163513 w 194643"/>
                  <a:gd name="connsiteY39" fmla="*/ 62854 h 224080"/>
                  <a:gd name="connsiteX40" fmla="*/ 166477 w 194643"/>
                  <a:gd name="connsiteY40" fmla="*/ 75963 h 224080"/>
                  <a:gd name="connsiteX41" fmla="*/ 171550 w 194643"/>
                  <a:gd name="connsiteY41" fmla="*/ 79155 h 224080"/>
                  <a:gd name="connsiteX42" fmla="*/ 171550 w 194643"/>
                  <a:gd name="connsiteY42" fmla="*/ 83088 h 224080"/>
                  <a:gd name="connsiteX43" fmla="*/ 175710 w 194643"/>
                  <a:gd name="connsiteY43" fmla="*/ 85994 h 224080"/>
                  <a:gd name="connsiteX44" fmla="*/ 183348 w 194643"/>
                  <a:gd name="connsiteY44" fmla="*/ 87932 h 224080"/>
                  <a:gd name="connsiteX45" fmla="*/ 193664 w 194643"/>
                  <a:gd name="connsiteY45" fmla="*/ 93973 h 224080"/>
                  <a:gd name="connsiteX46" fmla="*/ 188648 w 194643"/>
                  <a:gd name="connsiteY46" fmla="*/ 111585 h 22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4643" h="224080">
                    <a:moveTo>
                      <a:pt x="188648" y="111585"/>
                    </a:moveTo>
                    <a:lnTo>
                      <a:pt x="188648" y="112269"/>
                    </a:lnTo>
                    <a:lnTo>
                      <a:pt x="165850" y="124522"/>
                    </a:lnTo>
                    <a:cubicBezTo>
                      <a:pt x="164882" y="124990"/>
                      <a:pt x="163981" y="125583"/>
                      <a:pt x="163171" y="126290"/>
                    </a:cubicBezTo>
                    <a:cubicBezTo>
                      <a:pt x="161986" y="127652"/>
                      <a:pt x="161091" y="129242"/>
                      <a:pt x="160550" y="130963"/>
                    </a:cubicBezTo>
                    <a:cubicBezTo>
                      <a:pt x="155494" y="143525"/>
                      <a:pt x="146387" y="154035"/>
                      <a:pt x="134674" y="160828"/>
                    </a:cubicBezTo>
                    <a:cubicBezTo>
                      <a:pt x="131876" y="162139"/>
                      <a:pt x="129345" y="163957"/>
                      <a:pt x="127208" y="166186"/>
                    </a:cubicBezTo>
                    <a:cubicBezTo>
                      <a:pt x="125162" y="169725"/>
                      <a:pt x="123697" y="173578"/>
                      <a:pt x="122876" y="177585"/>
                    </a:cubicBezTo>
                    <a:cubicBezTo>
                      <a:pt x="117769" y="190015"/>
                      <a:pt x="103549" y="195954"/>
                      <a:pt x="91119" y="190847"/>
                    </a:cubicBezTo>
                    <a:cubicBezTo>
                      <a:pt x="90697" y="190671"/>
                      <a:pt x="90287" y="190488"/>
                      <a:pt x="89876" y="190295"/>
                    </a:cubicBezTo>
                    <a:cubicBezTo>
                      <a:pt x="83550" y="186932"/>
                      <a:pt x="77281" y="180378"/>
                      <a:pt x="70555" y="182771"/>
                    </a:cubicBezTo>
                    <a:cubicBezTo>
                      <a:pt x="62120" y="185792"/>
                      <a:pt x="62975" y="199414"/>
                      <a:pt x="55280" y="203973"/>
                    </a:cubicBezTo>
                    <a:cubicBezTo>
                      <a:pt x="52944" y="205398"/>
                      <a:pt x="49980" y="205797"/>
                      <a:pt x="48213" y="207849"/>
                    </a:cubicBezTo>
                    <a:cubicBezTo>
                      <a:pt x="47085" y="209593"/>
                      <a:pt x="46276" y="211525"/>
                      <a:pt x="45819" y="213549"/>
                    </a:cubicBezTo>
                    <a:cubicBezTo>
                      <a:pt x="41630" y="221938"/>
                      <a:pt x="31958" y="226024"/>
                      <a:pt x="23022" y="223181"/>
                    </a:cubicBezTo>
                    <a:lnTo>
                      <a:pt x="21768" y="222782"/>
                    </a:lnTo>
                    <a:cubicBezTo>
                      <a:pt x="21568" y="221459"/>
                      <a:pt x="21454" y="220126"/>
                      <a:pt x="21426" y="218792"/>
                    </a:cubicBezTo>
                    <a:cubicBezTo>
                      <a:pt x="21084" y="209502"/>
                      <a:pt x="23990" y="199984"/>
                      <a:pt x="21426" y="190979"/>
                    </a:cubicBezTo>
                    <a:cubicBezTo>
                      <a:pt x="18696" y="181751"/>
                      <a:pt x="10836" y="174957"/>
                      <a:pt x="1307" y="173595"/>
                    </a:cubicBezTo>
                    <a:cubicBezTo>
                      <a:pt x="-135" y="153282"/>
                      <a:pt x="-386" y="132895"/>
                      <a:pt x="566" y="112554"/>
                    </a:cubicBezTo>
                    <a:cubicBezTo>
                      <a:pt x="497" y="110240"/>
                      <a:pt x="805" y="107932"/>
                      <a:pt x="1477" y="105714"/>
                    </a:cubicBezTo>
                    <a:cubicBezTo>
                      <a:pt x="4156" y="97906"/>
                      <a:pt x="13846" y="95455"/>
                      <a:pt x="21996" y="94315"/>
                    </a:cubicBezTo>
                    <a:cubicBezTo>
                      <a:pt x="28493" y="82916"/>
                      <a:pt x="24845" y="68212"/>
                      <a:pt x="23820" y="54875"/>
                    </a:cubicBezTo>
                    <a:cubicBezTo>
                      <a:pt x="23272" y="43129"/>
                      <a:pt x="23802" y="31359"/>
                      <a:pt x="25415" y="19709"/>
                    </a:cubicBezTo>
                    <a:cubicBezTo>
                      <a:pt x="32671" y="20792"/>
                      <a:pt x="39624" y="16404"/>
                      <a:pt x="41773" y="9393"/>
                    </a:cubicBezTo>
                    <a:lnTo>
                      <a:pt x="42913" y="8994"/>
                    </a:lnTo>
                    <a:cubicBezTo>
                      <a:pt x="50664" y="5860"/>
                      <a:pt x="57788" y="388"/>
                      <a:pt x="66167" y="46"/>
                    </a:cubicBezTo>
                    <a:cubicBezTo>
                      <a:pt x="67762" y="-114"/>
                      <a:pt x="69370" y="143"/>
                      <a:pt x="70840" y="787"/>
                    </a:cubicBezTo>
                    <a:cubicBezTo>
                      <a:pt x="72390" y="1710"/>
                      <a:pt x="73679" y="3004"/>
                      <a:pt x="74602" y="4549"/>
                    </a:cubicBezTo>
                    <a:cubicBezTo>
                      <a:pt x="77320" y="8333"/>
                      <a:pt x="79720" y="12340"/>
                      <a:pt x="81783" y="16518"/>
                    </a:cubicBezTo>
                    <a:cubicBezTo>
                      <a:pt x="88736" y="12642"/>
                      <a:pt x="91700" y="2041"/>
                      <a:pt x="99680" y="1642"/>
                    </a:cubicBezTo>
                    <a:cubicBezTo>
                      <a:pt x="104695" y="1642"/>
                      <a:pt x="108913" y="5803"/>
                      <a:pt x="113928" y="6487"/>
                    </a:cubicBezTo>
                    <a:cubicBezTo>
                      <a:pt x="115461" y="6544"/>
                      <a:pt x="116983" y="6714"/>
                      <a:pt x="118488" y="6999"/>
                    </a:cubicBezTo>
                    <a:cubicBezTo>
                      <a:pt x="123218" y="8368"/>
                      <a:pt x="124187" y="14466"/>
                      <a:pt x="124187" y="19425"/>
                    </a:cubicBezTo>
                    <a:cubicBezTo>
                      <a:pt x="124187" y="24383"/>
                      <a:pt x="124928" y="30367"/>
                      <a:pt x="129488" y="32305"/>
                    </a:cubicBezTo>
                    <a:cubicBezTo>
                      <a:pt x="132851" y="33673"/>
                      <a:pt x="137125" y="32305"/>
                      <a:pt x="140032" y="34357"/>
                    </a:cubicBezTo>
                    <a:cubicBezTo>
                      <a:pt x="144705" y="37891"/>
                      <a:pt x="141058" y="47466"/>
                      <a:pt x="146358" y="49974"/>
                    </a:cubicBezTo>
                    <a:cubicBezTo>
                      <a:pt x="149322" y="51398"/>
                      <a:pt x="153653" y="49460"/>
                      <a:pt x="155762" y="51968"/>
                    </a:cubicBezTo>
                    <a:cubicBezTo>
                      <a:pt x="157871" y="54476"/>
                      <a:pt x="155762" y="57668"/>
                      <a:pt x="157814" y="60061"/>
                    </a:cubicBezTo>
                    <a:cubicBezTo>
                      <a:pt x="159866" y="62455"/>
                      <a:pt x="161918" y="61430"/>
                      <a:pt x="163513" y="62854"/>
                    </a:cubicBezTo>
                    <a:cubicBezTo>
                      <a:pt x="167104" y="65818"/>
                      <a:pt x="162830" y="72999"/>
                      <a:pt x="166477" y="75963"/>
                    </a:cubicBezTo>
                    <a:cubicBezTo>
                      <a:pt x="168073" y="77217"/>
                      <a:pt x="170809" y="77217"/>
                      <a:pt x="171550" y="79155"/>
                    </a:cubicBezTo>
                    <a:cubicBezTo>
                      <a:pt x="172291" y="81092"/>
                      <a:pt x="171550" y="81833"/>
                      <a:pt x="171550" y="83088"/>
                    </a:cubicBezTo>
                    <a:cubicBezTo>
                      <a:pt x="171550" y="84341"/>
                      <a:pt x="174001" y="85538"/>
                      <a:pt x="175710" y="85994"/>
                    </a:cubicBezTo>
                    <a:lnTo>
                      <a:pt x="183348" y="87932"/>
                    </a:lnTo>
                    <a:cubicBezTo>
                      <a:pt x="187474" y="88434"/>
                      <a:pt x="191207" y="90622"/>
                      <a:pt x="193664" y="93973"/>
                    </a:cubicBezTo>
                    <a:cubicBezTo>
                      <a:pt x="196799" y="99388"/>
                      <a:pt x="191669" y="105828"/>
                      <a:pt x="188648" y="11158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5" name="Freihandform: Form 649">
                <a:extLst>
                  <a:ext uri="{FF2B5EF4-FFF2-40B4-BE49-F238E27FC236}">
                    <a16:creationId xmlns:a16="http://schemas.microsoft.com/office/drawing/2014/main" id="{0F6974F7-3421-F8F0-3EB3-6CDDD29F1454}"/>
                  </a:ext>
                </a:extLst>
              </p:cNvPr>
              <p:cNvSpPr/>
              <p:nvPr/>
            </p:nvSpPr>
            <p:spPr>
              <a:xfrm>
                <a:off x="4306127" y="4619866"/>
                <a:ext cx="169160" cy="178208"/>
              </a:xfrm>
              <a:custGeom>
                <a:avLst/>
                <a:gdLst>
                  <a:gd name="connsiteX0" fmla="*/ 134280 w 169160"/>
                  <a:gd name="connsiteY0" fmla="*/ 168177 h 178208"/>
                  <a:gd name="connsiteX1" fmla="*/ 128580 w 169160"/>
                  <a:gd name="connsiteY1" fmla="*/ 178208 h 178208"/>
                  <a:gd name="connsiteX2" fmla="*/ 95523 w 169160"/>
                  <a:gd name="connsiteY2" fmla="*/ 168975 h 178208"/>
                  <a:gd name="connsiteX3" fmla="*/ 77114 w 169160"/>
                  <a:gd name="connsiteY3" fmla="*/ 176669 h 178208"/>
                  <a:gd name="connsiteX4" fmla="*/ 74492 w 169160"/>
                  <a:gd name="connsiteY4" fmla="*/ 178094 h 178208"/>
                  <a:gd name="connsiteX5" fmla="*/ 74492 w 169160"/>
                  <a:gd name="connsiteY5" fmla="*/ 177410 h 178208"/>
                  <a:gd name="connsiteX6" fmla="*/ 79565 w 169160"/>
                  <a:gd name="connsiteY6" fmla="*/ 159514 h 178208"/>
                  <a:gd name="connsiteX7" fmla="*/ 69249 w 169160"/>
                  <a:gd name="connsiteY7" fmla="*/ 153473 h 178208"/>
                  <a:gd name="connsiteX8" fmla="*/ 61611 w 169160"/>
                  <a:gd name="connsiteY8" fmla="*/ 151535 h 178208"/>
                  <a:gd name="connsiteX9" fmla="*/ 57451 w 169160"/>
                  <a:gd name="connsiteY9" fmla="*/ 148628 h 178208"/>
                  <a:gd name="connsiteX10" fmla="*/ 57451 w 169160"/>
                  <a:gd name="connsiteY10" fmla="*/ 144696 h 178208"/>
                  <a:gd name="connsiteX11" fmla="*/ 52378 w 169160"/>
                  <a:gd name="connsiteY11" fmla="*/ 141504 h 178208"/>
                  <a:gd name="connsiteX12" fmla="*/ 49414 w 169160"/>
                  <a:gd name="connsiteY12" fmla="*/ 128395 h 178208"/>
                  <a:gd name="connsiteX13" fmla="*/ 43715 w 169160"/>
                  <a:gd name="connsiteY13" fmla="*/ 125602 h 178208"/>
                  <a:gd name="connsiteX14" fmla="*/ 41663 w 169160"/>
                  <a:gd name="connsiteY14" fmla="*/ 117509 h 178208"/>
                  <a:gd name="connsiteX15" fmla="*/ 32259 w 169160"/>
                  <a:gd name="connsiteY15" fmla="*/ 115514 h 178208"/>
                  <a:gd name="connsiteX16" fmla="*/ 25933 w 169160"/>
                  <a:gd name="connsiteY16" fmla="*/ 99897 h 178208"/>
                  <a:gd name="connsiteX17" fmla="*/ 15389 w 169160"/>
                  <a:gd name="connsiteY17" fmla="*/ 97846 h 178208"/>
                  <a:gd name="connsiteX18" fmla="*/ 10088 w 169160"/>
                  <a:gd name="connsiteY18" fmla="*/ 84965 h 178208"/>
                  <a:gd name="connsiteX19" fmla="*/ 4389 w 169160"/>
                  <a:gd name="connsiteY19" fmla="*/ 72540 h 178208"/>
                  <a:gd name="connsiteX20" fmla="*/ 0 w 169160"/>
                  <a:gd name="connsiteY20" fmla="*/ 72027 h 178208"/>
                  <a:gd name="connsiteX21" fmla="*/ 32373 w 169160"/>
                  <a:gd name="connsiteY21" fmla="*/ 67980 h 178208"/>
                  <a:gd name="connsiteX22" fmla="*/ 37446 w 169160"/>
                  <a:gd name="connsiteY22" fmla="*/ 65587 h 178208"/>
                  <a:gd name="connsiteX23" fmla="*/ 39497 w 169160"/>
                  <a:gd name="connsiteY23" fmla="*/ 60571 h 178208"/>
                  <a:gd name="connsiteX24" fmla="*/ 51295 w 169160"/>
                  <a:gd name="connsiteY24" fmla="*/ 52193 h 178208"/>
                  <a:gd name="connsiteX25" fmla="*/ 52036 w 169160"/>
                  <a:gd name="connsiteY25" fmla="*/ 48317 h 178208"/>
                  <a:gd name="connsiteX26" fmla="*/ 67539 w 169160"/>
                  <a:gd name="connsiteY26" fmla="*/ 32587 h 178208"/>
                  <a:gd name="connsiteX27" fmla="*/ 69362 w 169160"/>
                  <a:gd name="connsiteY27" fmla="*/ 28141 h 178208"/>
                  <a:gd name="connsiteX28" fmla="*/ 75347 w 169160"/>
                  <a:gd name="connsiteY28" fmla="*/ 25804 h 178208"/>
                  <a:gd name="connsiteX29" fmla="*/ 83155 w 169160"/>
                  <a:gd name="connsiteY29" fmla="*/ 14918 h 178208"/>
                  <a:gd name="connsiteX30" fmla="*/ 90337 w 169160"/>
                  <a:gd name="connsiteY30" fmla="*/ 11157 h 178208"/>
                  <a:gd name="connsiteX31" fmla="*/ 93642 w 169160"/>
                  <a:gd name="connsiteY31" fmla="*/ 6312 h 178208"/>
                  <a:gd name="connsiteX32" fmla="*/ 108176 w 169160"/>
                  <a:gd name="connsiteY32" fmla="*/ 214 h 178208"/>
                  <a:gd name="connsiteX33" fmla="*/ 109487 w 169160"/>
                  <a:gd name="connsiteY33" fmla="*/ 10473 h 178208"/>
                  <a:gd name="connsiteX34" fmla="*/ 117067 w 169160"/>
                  <a:gd name="connsiteY34" fmla="*/ 16856 h 178208"/>
                  <a:gd name="connsiteX35" fmla="*/ 124989 w 169160"/>
                  <a:gd name="connsiteY35" fmla="*/ 16856 h 178208"/>
                  <a:gd name="connsiteX36" fmla="*/ 130233 w 169160"/>
                  <a:gd name="connsiteY36" fmla="*/ 22214 h 178208"/>
                  <a:gd name="connsiteX37" fmla="*/ 140606 w 169160"/>
                  <a:gd name="connsiteY37" fmla="*/ 23867 h 178208"/>
                  <a:gd name="connsiteX38" fmla="*/ 147730 w 169160"/>
                  <a:gd name="connsiteY38" fmla="*/ 30022 h 178208"/>
                  <a:gd name="connsiteX39" fmla="*/ 158160 w 169160"/>
                  <a:gd name="connsiteY39" fmla="*/ 31276 h 178208"/>
                  <a:gd name="connsiteX40" fmla="*/ 161010 w 169160"/>
                  <a:gd name="connsiteY40" fmla="*/ 32131 h 178208"/>
                  <a:gd name="connsiteX41" fmla="*/ 162606 w 169160"/>
                  <a:gd name="connsiteY41" fmla="*/ 34810 h 178208"/>
                  <a:gd name="connsiteX42" fmla="*/ 167850 w 169160"/>
                  <a:gd name="connsiteY42" fmla="*/ 48488 h 178208"/>
                  <a:gd name="connsiteX43" fmla="*/ 169160 w 169160"/>
                  <a:gd name="connsiteY43" fmla="*/ 53732 h 178208"/>
                  <a:gd name="connsiteX44" fmla="*/ 165855 w 169160"/>
                  <a:gd name="connsiteY44" fmla="*/ 62965 h 178208"/>
                  <a:gd name="connsiteX45" fmla="*/ 163347 w 169160"/>
                  <a:gd name="connsiteY45" fmla="*/ 82571 h 178208"/>
                  <a:gd name="connsiteX46" fmla="*/ 160611 w 169160"/>
                  <a:gd name="connsiteY46" fmla="*/ 86048 h 178208"/>
                  <a:gd name="connsiteX47" fmla="*/ 163632 w 169160"/>
                  <a:gd name="connsiteY47" fmla="*/ 94882 h 178208"/>
                  <a:gd name="connsiteX48" fmla="*/ 168932 w 169160"/>
                  <a:gd name="connsiteY48" fmla="*/ 102975 h 178208"/>
                  <a:gd name="connsiteX49" fmla="*/ 167735 w 169160"/>
                  <a:gd name="connsiteY49" fmla="*/ 108675 h 178208"/>
                  <a:gd name="connsiteX50" fmla="*/ 163233 w 169160"/>
                  <a:gd name="connsiteY50" fmla="*/ 120074 h 178208"/>
                  <a:gd name="connsiteX51" fmla="*/ 161067 w 169160"/>
                  <a:gd name="connsiteY51" fmla="*/ 123664 h 178208"/>
                  <a:gd name="connsiteX52" fmla="*/ 158559 w 169160"/>
                  <a:gd name="connsiteY52" fmla="*/ 125374 h 178208"/>
                  <a:gd name="connsiteX53" fmla="*/ 154513 w 169160"/>
                  <a:gd name="connsiteY53" fmla="*/ 137058 h 178208"/>
                  <a:gd name="connsiteX54" fmla="*/ 150580 w 169160"/>
                  <a:gd name="connsiteY54" fmla="*/ 138654 h 178208"/>
                  <a:gd name="connsiteX55" fmla="*/ 149725 w 169160"/>
                  <a:gd name="connsiteY55" fmla="*/ 143556 h 178208"/>
                  <a:gd name="connsiteX56" fmla="*/ 140264 w 169160"/>
                  <a:gd name="connsiteY56" fmla="*/ 161680 h 17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69160" h="178208">
                    <a:moveTo>
                      <a:pt x="134280" y="168177"/>
                    </a:moveTo>
                    <a:cubicBezTo>
                      <a:pt x="132570" y="171625"/>
                      <a:pt x="130666" y="174977"/>
                      <a:pt x="128580" y="178208"/>
                    </a:cubicBezTo>
                    <a:cubicBezTo>
                      <a:pt x="119518" y="170303"/>
                      <a:pt x="107372" y="166912"/>
                      <a:pt x="95523" y="168975"/>
                    </a:cubicBezTo>
                    <a:cubicBezTo>
                      <a:pt x="89054" y="170657"/>
                      <a:pt x="82853" y="173244"/>
                      <a:pt x="77114" y="176669"/>
                    </a:cubicBezTo>
                    <a:lnTo>
                      <a:pt x="74492" y="178094"/>
                    </a:lnTo>
                    <a:lnTo>
                      <a:pt x="74492" y="177410"/>
                    </a:lnTo>
                    <a:cubicBezTo>
                      <a:pt x="77513" y="171711"/>
                      <a:pt x="82642" y="165213"/>
                      <a:pt x="79565" y="159514"/>
                    </a:cubicBezTo>
                    <a:cubicBezTo>
                      <a:pt x="77108" y="156163"/>
                      <a:pt x="73375" y="153974"/>
                      <a:pt x="69249" y="153473"/>
                    </a:cubicBezTo>
                    <a:lnTo>
                      <a:pt x="61611" y="151535"/>
                    </a:lnTo>
                    <a:cubicBezTo>
                      <a:pt x="59902" y="151079"/>
                      <a:pt x="57850" y="150395"/>
                      <a:pt x="57451" y="148628"/>
                    </a:cubicBezTo>
                    <a:cubicBezTo>
                      <a:pt x="57052" y="146861"/>
                      <a:pt x="57850" y="145949"/>
                      <a:pt x="57451" y="144696"/>
                    </a:cubicBezTo>
                    <a:cubicBezTo>
                      <a:pt x="57052" y="143441"/>
                      <a:pt x="53974" y="142758"/>
                      <a:pt x="52378" y="141504"/>
                    </a:cubicBezTo>
                    <a:cubicBezTo>
                      <a:pt x="48730" y="138540"/>
                      <a:pt x="53005" y="131359"/>
                      <a:pt x="49414" y="128395"/>
                    </a:cubicBezTo>
                    <a:cubicBezTo>
                      <a:pt x="47705" y="126970"/>
                      <a:pt x="45026" y="127255"/>
                      <a:pt x="43715" y="125602"/>
                    </a:cubicBezTo>
                    <a:cubicBezTo>
                      <a:pt x="42404" y="123949"/>
                      <a:pt x="43715" y="119903"/>
                      <a:pt x="41663" y="117509"/>
                    </a:cubicBezTo>
                    <a:cubicBezTo>
                      <a:pt x="39611" y="115115"/>
                      <a:pt x="35223" y="116939"/>
                      <a:pt x="32259" y="115514"/>
                    </a:cubicBezTo>
                    <a:cubicBezTo>
                      <a:pt x="26958" y="113006"/>
                      <a:pt x="30606" y="103431"/>
                      <a:pt x="25933" y="99897"/>
                    </a:cubicBezTo>
                    <a:cubicBezTo>
                      <a:pt x="23026" y="97675"/>
                      <a:pt x="18751" y="99213"/>
                      <a:pt x="15389" y="97846"/>
                    </a:cubicBezTo>
                    <a:cubicBezTo>
                      <a:pt x="10829" y="95908"/>
                      <a:pt x="10202" y="89867"/>
                      <a:pt x="10088" y="84965"/>
                    </a:cubicBezTo>
                    <a:cubicBezTo>
                      <a:pt x="9974" y="80063"/>
                      <a:pt x="8891" y="73908"/>
                      <a:pt x="4389" y="72540"/>
                    </a:cubicBezTo>
                    <a:cubicBezTo>
                      <a:pt x="2941" y="72255"/>
                      <a:pt x="1476" y="72084"/>
                      <a:pt x="0" y="72027"/>
                    </a:cubicBezTo>
                    <a:cubicBezTo>
                      <a:pt x="10430" y="69804"/>
                      <a:pt x="21715" y="70032"/>
                      <a:pt x="32373" y="67980"/>
                    </a:cubicBezTo>
                    <a:cubicBezTo>
                      <a:pt x="34294" y="67809"/>
                      <a:pt x="36089" y="66960"/>
                      <a:pt x="37446" y="65587"/>
                    </a:cubicBezTo>
                    <a:cubicBezTo>
                      <a:pt x="38528" y="64105"/>
                      <a:pt x="38586" y="62110"/>
                      <a:pt x="39497" y="60571"/>
                    </a:cubicBezTo>
                    <a:cubicBezTo>
                      <a:pt x="41948" y="56297"/>
                      <a:pt x="49471" y="56809"/>
                      <a:pt x="51295" y="52193"/>
                    </a:cubicBezTo>
                    <a:cubicBezTo>
                      <a:pt x="51654" y="50922"/>
                      <a:pt x="51900" y="49628"/>
                      <a:pt x="52036" y="48317"/>
                    </a:cubicBezTo>
                    <a:cubicBezTo>
                      <a:pt x="53746" y="40965"/>
                      <a:pt x="64917" y="39654"/>
                      <a:pt x="67539" y="32587"/>
                    </a:cubicBezTo>
                    <a:cubicBezTo>
                      <a:pt x="67835" y="30997"/>
                      <a:pt x="68456" y="29481"/>
                      <a:pt x="69362" y="28141"/>
                    </a:cubicBezTo>
                    <a:cubicBezTo>
                      <a:pt x="70844" y="26602"/>
                      <a:pt x="73409" y="26773"/>
                      <a:pt x="75347" y="25804"/>
                    </a:cubicBezTo>
                    <a:cubicBezTo>
                      <a:pt x="79451" y="23810"/>
                      <a:pt x="79679" y="17768"/>
                      <a:pt x="83155" y="14918"/>
                    </a:cubicBezTo>
                    <a:cubicBezTo>
                      <a:pt x="85264" y="13209"/>
                      <a:pt x="88285" y="12924"/>
                      <a:pt x="90337" y="11157"/>
                    </a:cubicBezTo>
                    <a:cubicBezTo>
                      <a:pt x="91631" y="9681"/>
                      <a:pt x="92742" y="8056"/>
                      <a:pt x="93642" y="6312"/>
                    </a:cubicBezTo>
                    <a:cubicBezTo>
                      <a:pt x="96885" y="1621"/>
                      <a:pt x="102556" y="-755"/>
                      <a:pt x="108176" y="214"/>
                    </a:cubicBezTo>
                    <a:cubicBezTo>
                      <a:pt x="107977" y="3685"/>
                      <a:pt x="108421" y="7161"/>
                      <a:pt x="109487" y="10473"/>
                    </a:cubicBezTo>
                    <a:cubicBezTo>
                      <a:pt x="110644" y="13835"/>
                      <a:pt x="113556" y="16292"/>
                      <a:pt x="117067" y="16856"/>
                    </a:cubicBezTo>
                    <a:cubicBezTo>
                      <a:pt x="119746" y="16856"/>
                      <a:pt x="122767" y="15830"/>
                      <a:pt x="124989" y="16856"/>
                    </a:cubicBezTo>
                    <a:cubicBezTo>
                      <a:pt x="127212" y="17882"/>
                      <a:pt x="128238" y="20675"/>
                      <a:pt x="130233" y="22214"/>
                    </a:cubicBezTo>
                    <a:cubicBezTo>
                      <a:pt x="132228" y="23753"/>
                      <a:pt x="137072" y="23695"/>
                      <a:pt x="140606" y="23867"/>
                    </a:cubicBezTo>
                    <a:cubicBezTo>
                      <a:pt x="144140" y="24037"/>
                      <a:pt x="148528" y="26545"/>
                      <a:pt x="147730" y="30022"/>
                    </a:cubicBezTo>
                    <a:lnTo>
                      <a:pt x="158160" y="31276"/>
                    </a:lnTo>
                    <a:cubicBezTo>
                      <a:pt x="159169" y="31304"/>
                      <a:pt x="160155" y="31601"/>
                      <a:pt x="161010" y="32131"/>
                    </a:cubicBezTo>
                    <a:cubicBezTo>
                      <a:pt x="161780" y="32860"/>
                      <a:pt x="162332" y="33784"/>
                      <a:pt x="162606" y="34810"/>
                    </a:cubicBezTo>
                    <a:cubicBezTo>
                      <a:pt x="164373" y="39369"/>
                      <a:pt x="166140" y="43929"/>
                      <a:pt x="167850" y="48488"/>
                    </a:cubicBezTo>
                    <a:cubicBezTo>
                      <a:pt x="168619" y="50136"/>
                      <a:pt x="169064" y="51914"/>
                      <a:pt x="169160" y="53732"/>
                    </a:cubicBezTo>
                    <a:cubicBezTo>
                      <a:pt x="168493" y="56946"/>
                      <a:pt x="167382" y="60058"/>
                      <a:pt x="165855" y="62965"/>
                    </a:cubicBezTo>
                    <a:cubicBezTo>
                      <a:pt x="163917" y="69405"/>
                      <a:pt x="167336" y="77214"/>
                      <a:pt x="163347" y="82571"/>
                    </a:cubicBezTo>
                    <a:cubicBezTo>
                      <a:pt x="162310" y="83626"/>
                      <a:pt x="161392" y="84788"/>
                      <a:pt x="160611" y="86048"/>
                    </a:cubicBezTo>
                    <a:cubicBezTo>
                      <a:pt x="159762" y="89331"/>
                      <a:pt x="160953" y="92802"/>
                      <a:pt x="163632" y="94882"/>
                    </a:cubicBezTo>
                    <a:cubicBezTo>
                      <a:pt x="166248" y="96922"/>
                      <a:pt x="168112" y="99767"/>
                      <a:pt x="168932" y="102975"/>
                    </a:cubicBezTo>
                    <a:cubicBezTo>
                      <a:pt x="168990" y="104941"/>
                      <a:pt x="168579" y="106896"/>
                      <a:pt x="167735" y="108675"/>
                    </a:cubicBezTo>
                    <a:lnTo>
                      <a:pt x="163233" y="120074"/>
                    </a:lnTo>
                    <a:cubicBezTo>
                      <a:pt x="162823" y="121430"/>
                      <a:pt x="162076" y="122667"/>
                      <a:pt x="161067" y="123664"/>
                    </a:cubicBezTo>
                    <a:cubicBezTo>
                      <a:pt x="160269" y="124348"/>
                      <a:pt x="159300" y="124690"/>
                      <a:pt x="158559" y="125374"/>
                    </a:cubicBezTo>
                    <a:cubicBezTo>
                      <a:pt x="155368" y="128224"/>
                      <a:pt x="158217" y="134949"/>
                      <a:pt x="154513" y="137058"/>
                    </a:cubicBezTo>
                    <a:cubicBezTo>
                      <a:pt x="153259" y="137742"/>
                      <a:pt x="151606" y="137685"/>
                      <a:pt x="150580" y="138654"/>
                    </a:cubicBezTo>
                    <a:cubicBezTo>
                      <a:pt x="149554" y="139623"/>
                      <a:pt x="149611" y="141846"/>
                      <a:pt x="149725" y="143556"/>
                    </a:cubicBezTo>
                    <a:cubicBezTo>
                      <a:pt x="150067" y="150566"/>
                      <a:pt x="144995" y="156550"/>
                      <a:pt x="140264" y="16168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6" name="Freihandform: Form 650">
                <a:extLst>
                  <a:ext uri="{FF2B5EF4-FFF2-40B4-BE49-F238E27FC236}">
                    <a16:creationId xmlns:a16="http://schemas.microsoft.com/office/drawing/2014/main" id="{D8B07AD5-9633-ADF1-ACC5-F8934946BA13}"/>
                  </a:ext>
                </a:extLst>
              </p:cNvPr>
              <p:cNvSpPr/>
              <p:nvPr/>
            </p:nvSpPr>
            <p:spPr>
              <a:xfrm>
                <a:off x="4416504" y="4516521"/>
                <a:ext cx="200706" cy="410020"/>
              </a:xfrm>
              <a:custGeom>
                <a:avLst/>
                <a:gdLst>
                  <a:gd name="connsiteX0" fmla="*/ 181664 w 200706"/>
                  <a:gd name="connsiteY0" fmla="*/ 5699 h 410020"/>
                  <a:gd name="connsiteX1" fmla="*/ 198135 w 200706"/>
                  <a:gd name="connsiteY1" fmla="*/ 0 h 410020"/>
                  <a:gd name="connsiteX2" fmla="*/ 200586 w 200706"/>
                  <a:gd name="connsiteY2" fmla="*/ 14933 h 410020"/>
                  <a:gd name="connsiteX3" fmla="*/ 185767 w 200706"/>
                  <a:gd name="connsiteY3" fmla="*/ 42404 h 410020"/>
                  <a:gd name="connsiteX4" fmla="*/ 193063 w 200706"/>
                  <a:gd name="connsiteY4" fmla="*/ 78311 h 410020"/>
                  <a:gd name="connsiteX5" fmla="*/ 196938 w 200706"/>
                  <a:gd name="connsiteY5" fmla="*/ 89368 h 410020"/>
                  <a:gd name="connsiteX6" fmla="*/ 193291 w 200706"/>
                  <a:gd name="connsiteY6" fmla="*/ 104129 h 410020"/>
                  <a:gd name="connsiteX7" fmla="*/ 172887 w 200706"/>
                  <a:gd name="connsiteY7" fmla="*/ 150523 h 410020"/>
                  <a:gd name="connsiteX8" fmla="*/ 168270 w 200706"/>
                  <a:gd name="connsiteY8" fmla="*/ 156222 h 410020"/>
                  <a:gd name="connsiteX9" fmla="*/ 156871 w 200706"/>
                  <a:gd name="connsiteY9" fmla="*/ 153430 h 410020"/>
                  <a:gd name="connsiteX10" fmla="*/ 133275 w 200706"/>
                  <a:gd name="connsiteY10" fmla="*/ 165342 h 410020"/>
                  <a:gd name="connsiteX11" fmla="*/ 114524 w 200706"/>
                  <a:gd name="connsiteY11" fmla="*/ 186316 h 410020"/>
                  <a:gd name="connsiteX12" fmla="*/ 100503 w 200706"/>
                  <a:gd name="connsiteY12" fmla="*/ 203927 h 410020"/>
                  <a:gd name="connsiteX13" fmla="*/ 91441 w 200706"/>
                  <a:gd name="connsiteY13" fmla="*/ 298937 h 410020"/>
                  <a:gd name="connsiteX14" fmla="*/ 109623 w 200706"/>
                  <a:gd name="connsiteY14" fmla="*/ 319569 h 410020"/>
                  <a:gd name="connsiteX15" fmla="*/ 59296 w 200706"/>
                  <a:gd name="connsiteY15" fmla="*/ 356559 h 410020"/>
                  <a:gd name="connsiteX16" fmla="*/ 49550 w 200706"/>
                  <a:gd name="connsiteY16" fmla="*/ 366704 h 410020"/>
                  <a:gd name="connsiteX17" fmla="*/ 54053 w 200706"/>
                  <a:gd name="connsiteY17" fmla="*/ 383233 h 410020"/>
                  <a:gd name="connsiteX18" fmla="*/ 42654 w 200706"/>
                  <a:gd name="connsiteY18" fmla="*/ 410020 h 410020"/>
                  <a:gd name="connsiteX19" fmla="*/ 32281 w 200706"/>
                  <a:gd name="connsiteY19" fmla="*/ 399020 h 410020"/>
                  <a:gd name="connsiteX20" fmla="*/ 31027 w 200706"/>
                  <a:gd name="connsiteY20" fmla="*/ 396284 h 410020"/>
                  <a:gd name="connsiteX21" fmla="*/ 33306 w 200706"/>
                  <a:gd name="connsiteY21" fmla="*/ 393150 h 410020"/>
                  <a:gd name="connsiteX22" fmla="*/ 34617 w 200706"/>
                  <a:gd name="connsiteY22" fmla="*/ 373657 h 410020"/>
                  <a:gd name="connsiteX23" fmla="*/ 29830 w 200706"/>
                  <a:gd name="connsiteY23" fmla="*/ 365678 h 410020"/>
                  <a:gd name="connsiteX24" fmla="*/ 36042 w 200706"/>
                  <a:gd name="connsiteY24" fmla="*/ 321222 h 410020"/>
                  <a:gd name="connsiteX25" fmla="*/ 21623 w 200706"/>
                  <a:gd name="connsiteY25" fmla="*/ 284689 h 410020"/>
                  <a:gd name="connsiteX26" fmla="*/ 18260 w 200706"/>
                  <a:gd name="connsiteY26" fmla="*/ 281611 h 410020"/>
                  <a:gd name="connsiteX27" fmla="*/ 23959 w 200706"/>
                  <a:gd name="connsiteY27" fmla="*/ 271580 h 410020"/>
                  <a:gd name="connsiteX28" fmla="*/ 29944 w 200706"/>
                  <a:gd name="connsiteY28" fmla="*/ 265025 h 410020"/>
                  <a:gd name="connsiteX29" fmla="*/ 39405 w 200706"/>
                  <a:gd name="connsiteY29" fmla="*/ 246901 h 410020"/>
                  <a:gd name="connsiteX30" fmla="*/ 40260 w 200706"/>
                  <a:gd name="connsiteY30" fmla="*/ 242000 h 410020"/>
                  <a:gd name="connsiteX31" fmla="*/ 44192 w 200706"/>
                  <a:gd name="connsiteY31" fmla="*/ 240404 h 410020"/>
                  <a:gd name="connsiteX32" fmla="*/ 48239 w 200706"/>
                  <a:gd name="connsiteY32" fmla="*/ 228720 h 410020"/>
                  <a:gd name="connsiteX33" fmla="*/ 50747 w 200706"/>
                  <a:gd name="connsiteY33" fmla="*/ 227010 h 410020"/>
                  <a:gd name="connsiteX34" fmla="*/ 52913 w 200706"/>
                  <a:gd name="connsiteY34" fmla="*/ 223419 h 410020"/>
                  <a:gd name="connsiteX35" fmla="*/ 57415 w 200706"/>
                  <a:gd name="connsiteY35" fmla="*/ 212020 h 410020"/>
                  <a:gd name="connsiteX36" fmla="*/ 58612 w 200706"/>
                  <a:gd name="connsiteY36" fmla="*/ 206321 h 410020"/>
                  <a:gd name="connsiteX37" fmla="*/ 53312 w 200706"/>
                  <a:gd name="connsiteY37" fmla="*/ 198227 h 410020"/>
                  <a:gd name="connsiteX38" fmla="*/ 50291 w 200706"/>
                  <a:gd name="connsiteY38" fmla="*/ 189393 h 410020"/>
                  <a:gd name="connsiteX39" fmla="*/ 53026 w 200706"/>
                  <a:gd name="connsiteY39" fmla="*/ 185917 h 410020"/>
                  <a:gd name="connsiteX40" fmla="*/ 55534 w 200706"/>
                  <a:gd name="connsiteY40" fmla="*/ 166311 h 410020"/>
                  <a:gd name="connsiteX41" fmla="*/ 58840 w 200706"/>
                  <a:gd name="connsiteY41" fmla="*/ 157077 h 410020"/>
                  <a:gd name="connsiteX42" fmla="*/ 57529 w 200706"/>
                  <a:gd name="connsiteY42" fmla="*/ 151834 h 410020"/>
                  <a:gd name="connsiteX43" fmla="*/ 52286 w 200706"/>
                  <a:gd name="connsiteY43" fmla="*/ 138155 h 410020"/>
                  <a:gd name="connsiteX44" fmla="*/ 50690 w 200706"/>
                  <a:gd name="connsiteY44" fmla="*/ 135477 h 410020"/>
                  <a:gd name="connsiteX45" fmla="*/ 47840 w 200706"/>
                  <a:gd name="connsiteY45" fmla="*/ 134622 h 410020"/>
                  <a:gd name="connsiteX46" fmla="*/ 37410 w 200706"/>
                  <a:gd name="connsiteY46" fmla="*/ 133368 h 410020"/>
                  <a:gd name="connsiteX47" fmla="*/ 30286 w 200706"/>
                  <a:gd name="connsiteY47" fmla="*/ 127212 h 410020"/>
                  <a:gd name="connsiteX48" fmla="*/ 19913 w 200706"/>
                  <a:gd name="connsiteY48" fmla="*/ 125559 h 410020"/>
                  <a:gd name="connsiteX49" fmla="*/ 14669 w 200706"/>
                  <a:gd name="connsiteY49" fmla="*/ 120202 h 410020"/>
                  <a:gd name="connsiteX50" fmla="*/ 6747 w 200706"/>
                  <a:gd name="connsiteY50" fmla="*/ 120202 h 410020"/>
                  <a:gd name="connsiteX51" fmla="*/ 21 w 200706"/>
                  <a:gd name="connsiteY51" fmla="*/ 115414 h 410020"/>
                  <a:gd name="connsiteX52" fmla="*/ 21 w 200706"/>
                  <a:gd name="connsiteY52" fmla="*/ 114503 h 410020"/>
                  <a:gd name="connsiteX53" fmla="*/ 17120 w 200706"/>
                  <a:gd name="connsiteY53" fmla="*/ 89425 h 410020"/>
                  <a:gd name="connsiteX54" fmla="*/ 46472 w 200706"/>
                  <a:gd name="connsiteY54" fmla="*/ 78026 h 410020"/>
                  <a:gd name="connsiteX55" fmla="*/ 60151 w 200706"/>
                  <a:gd name="connsiteY55" fmla="*/ 76886 h 410020"/>
                  <a:gd name="connsiteX56" fmla="*/ 71550 w 200706"/>
                  <a:gd name="connsiteY56" fmla="*/ 81332 h 410020"/>
                  <a:gd name="connsiteX57" fmla="*/ 81239 w 200706"/>
                  <a:gd name="connsiteY57" fmla="*/ 81332 h 410020"/>
                  <a:gd name="connsiteX58" fmla="*/ 88591 w 200706"/>
                  <a:gd name="connsiteY58" fmla="*/ 93585 h 410020"/>
                  <a:gd name="connsiteX59" fmla="*/ 85571 w 200706"/>
                  <a:gd name="connsiteY59" fmla="*/ 108746 h 410020"/>
                  <a:gd name="connsiteX60" fmla="*/ 94291 w 200706"/>
                  <a:gd name="connsiteY60" fmla="*/ 136274 h 410020"/>
                  <a:gd name="connsiteX61" fmla="*/ 97938 w 200706"/>
                  <a:gd name="connsiteY61" fmla="*/ 138725 h 410020"/>
                  <a:gd name="connsiteX62" fmla="*/ 106545 w 200706"/>
                  <a:gd name="connsiteY62" fmla="*/ 130461 h 410020"/>
                  <a:gd name="connsiteX63" fmla="*/ 110078 w 200706"/>
                  <a:gd name="connsiteY63" fmla="*/ 117751 h 410020"/>
                  <a:gd name="connsiteX64" fmla="*/ 122731 w 200706"/>
                  <a:gd name="connsiteY64" fmla="*/ 109487 h 410020"/>
                  <a:gd name="connsiteX65" fmla="*/ 123301 w 200706"/>
                  <a:gd name="connsiteY65" fmla="*/ 101622 h 410020"/>
                  <a:gd name="connsiteX66" fmla="*/ 106203 w 200706"/>
                  <a:gd name="connsiteY66" fmla="*/ 60984 h 410020"/>
                  <a:gd name="connsiteX67" fmla="*/ 104493 w 200706"/>
                  <a:gd name="connsiteY67" fmla="*/ 55798 h 410020"/>
                  <a:gd name="connsiteX68" fmla="*/ 101757 w 200706"/>
                  <a:gd name="connsiteY68" fmla="*/ 50098 h 410020"/>
                  <a:gd name="connsiteX69" fmla="*/ 101358 w 200706"/>
                  <a:gd name="connsiteY69" fmla="*/ 44969 h 410020"/>
                  <a:gd name="connsiteX70" fmla="*/ 95659 w 200706"/>
                  <a:gd name="connsiteY70" fmla="*/ 33000 h 410020"/>
                  <a:gd name="connsiteX71" fmla="*/ 94918 w 200706"/>
                  <a:gd name="connsiteY71" fmla="*/ 26389 h 410020"/>
                  <a:gd name="connsiteX72" fmla="*/ 96685 w 200706"/>
                  <a:gd name="connsiteY72" fmla="*/ 12368 h 410020"/>
                  <a:gd name="connsiteX73" fmla="*/ 110249 w 200706"/>
                  <a:gd name="connsiteY73" fmla="*/ 13508 h 410020"/>
                  <a:gd name="connsiteX74" fmla="*/ 126265 w 200706"/>
                  <a:gd name="connsiteY74" fmla="*/ 20176 h 410020"/>
                  <a:gd name="connsiteX75" fmla="*/ 151229 w 200706"/>
                  <a:gd name="connsiteY75" fmla="*/ 16187 h 4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00706" h="410020">
                    <a:moveTo>
                      <a:pt x="181664" y="5699"/>
                    </a:moveTo>
                    <a:cubicBezTo>
                      <a:pt x="187078" y="3761"/>
                      <a:pt x="192607" y="1824"/>
                      <a:pt x="198135" y="0"/>
                    </a:cubicBezTo>
                    <a:cubicBezTo>
                      <a:pt x="199349" y="4901"/>
                      <a:pt x="200170" y="9900"/>
                      <a:pt x="200586" y="14933"/>
                    </a:cubicBezTo>
                    <a:cubicBezTo>
                      <a:pt x="201498" y="26332"/>
                      <a:pt x="197280" y="41492"/>
                      <a:pt x="185767" y="42404"/>
                    </a:cubicBezTo>
                    <a:cubicBezTo>
                      <a:pt x="185488" y="54766"/>
                      <a:pt x="187984" y="67037"/>
                      <a:pt x="193063" y="78311"/>
                    </a:cubicBezTo>
                    <a:cubicBezTo>
                      <a:pt x="194932" y="81765"/>
                      <a:pt x="196243" y="85498"/>
                      <a:pt x="196938" y="89368"/>
                    </a:cubicBezTo>
                    <a:cubicBezTo>
                      <a:pt x="197001" y="94520"/>
                      <a:pt x="195741" y="99598"/>
                      <a:pt x="193291" y="104129"/>
                    </a:cubicBezTo>
                    <a:cubicBezTo>
                      <a:pt x="186508" y="119575"/>
                      <a:pt x="179726" y="135078"/>
                      <a:pt x="172887" y="150523"/>
                    </a:cubicBezTo>
                    <a:cubicBezTo>
                      <a:pt x="172094" y="152923"/>
                      <a:pt x="170453" y="154946"/>
                      <a:pt x="168270" y="156222"/>
                    </a:cubicBezTo>
                    <a:cubicBezTo>
                      <a:pt x="164451" y="157818"/>
                      <a:pt x="160519" y="154627"/>
                      <a:pt x="156871" y="153430"/>
                    </a:cubicBezTo>
                    <a:cubicBezTo>
                      <a:pt x="147923" y="150694"/>
                      <a:pt x="139488" y="158331"/>
                      <a:pt x="133275" y="165342"/>
                    </a:cubicBezTo>
                    <a:cubicBezTo>
                      <a:pt x="127063" y="172352"/>
                      <a:pt x="120793" y="179306"/>
                      <a:pt x="114524" y="186316"/>
                    </a:cubicBezTo>
                    <a:cubicBezTo>
                      <a:pt x="109411" y="191821"/>
                      <a:pt x="104721" y="197709"/>
                      <a:pt x="100503" y="203927"/>
                    </a:cubicBezTo>
                    <a:cubicBezTo>
                      <a:pt x="83063" y="231398"/>
                      <a:pt x="86938" y="266621"/>
                      <a:pt x="91441" y="298937"/>
                    </a:cubicBezTo>
                    <a:cubicBezTo>
                      <a:pt x="101882" y="300163"/>
                      <a:pt x="109725" y="309060"/>
                      <a:pt x="109623" y="319569"/>
                    </a:cubicBezTo>
                    <a:lnTo>
                      <a:pt x="59296" y="356559"/>
                    </a:lnTo>
                    <a:cubicBezTo>
                      <a:pt x="54679" y="359922"/>
                      <a:pt x="48524" y="361119"/>
                      <a:pt x="49550" y="366704"/>
                    </a:cubicBezTo>
                    <a:cubicBezTo>
                      <a:pt x="50576" y="372290"/>
                      <a:pt x="53368" y="377533"/>
                      <a:pt x="54053" y="383233"/>
                    </a:cubicBezTo>
                    <a:cubicBezTo>
                      <a:pt x="55306" y="393321"/>
                      <a:pt x="49892" y="402269"/>
                      <a:pt x="42654" y="410020"/>
                    </a:cubicBezTo>
                    <a:cubicBezTo>
                      <a:pt x="38561" y="407011"/>
                      <a:pt x="35045" y="403283"/>
                      <a:pt x="32281" y="399020"/>
                    </a:cubicBezTo>
                    <a:cubicBezTo>
                      <a:pt x="31808" y="398137"/>
                      <a:pt x="31386" y="397225"/>
                      <a:pt x="31027" y="396284"/>
                    </a:cubicBezTo>
                    <a:cubicBezTo>
                      <a:pt x="32035" y="395441"/>
                      <a:pt x="32816" y="394364"/>
                      <a:pt x="33306" y="393150"/>
                    </a:cubicBezTo>
                    <a:cubicBezTo>
                      <a:pt x="36025" y="387011"/>
                      <a:pt x="36492" y="380109"/>
                      <a:pt x="34617" y="373657"/>
                    </a:cubicBezTo>
                    <a:cubicBezTo>
                      <a:pt x="33751" y="370619"/>
                      <a:pt x="32104" y="367867"/>
                      <a:pt x="29830" y="365678"/>
                    </a:cubicBezTo>
                    <a:cubicBezTo>
                      <a:pt x="32167" y="350860"/>
                      <a:pt x="36498" y="336212"/>
                      <a:pt x="36042" y="321222"/>
                    </a:cubicBezTo>
                    <a:cubicBezTo>
                      <a:pt x="35837" y="307697"/>
                      <a:pt x="30713" y="294708"/>
                      <a:pt x="21623" y="284689"/>
                    </a:cubicBezTo>
                    <a:cubicBezTo>
                      <a:pt x="20568" y="283589"/>
                      <a:pt x="19445" y="282563"/>
                      <a:pt x="18260" y="281611"/>
                    </a:cubicBezTo>
                    <a:cubicBezTo>
                      <a:pt x="20346" y="278379"/>
                      <a:pt x="22249" y="275028"/>
                      <a:pt x="23959" y="271580"/>
                    </a:cubicBezTo>
                    <a:lnTo>
                      <a:pt x="29944" y="265025"/>
                    </a:lnTo>
                    <a:cubicBezTo>
                      <a:pt x="34674" y="259896"/>
                      <a:pt x="39747" y="253911"/>
                      <a:pt x="39405" y="246901"/>
                    </a:cubicBezTo>
                    <a:cubicBezTo>
                      <a:pt x="39405" y="245191"/>
                      <a:pt x="39006" y="243196"/>
                      <a:pt x="40260" y="242000"/>
                    </a:cubicBezTo>
                    <a:cubicBezTo>
                      <a:pt x="41514" y="240803"/>
                      <a:pt x="42939" y="241088"/>
                      <a:pt x="44192" y="240404"/>
                    </a:cubicBezTo>
                    <a:cubicBezTo>
                      <a:pt x="47897" y="238295"/>
                      <a:pt x="45047" y="231570"/>
                      <a:pt x="48239" y="228720"/>
                    </a:cubicBezTo>
                    <a:cubicBezTo>
                      <a:pt x="48980" y="228036"/>
                      <a:pt x="49949" y="227694"/>
                      <a:pt x="50747" y="227010"/>
                    </a:cubicBezTo>
                    <a:cubicBezTo>
                      <a:pt x="51756" y="226012"/>
                      <a:pt x="52502" y="224776"/>
                      <a:pt x="52913" y="223419"/>
                    </a:cubicBezTo>
                    <a:lnTo>
                      <a:pt x="57415" y="212020"/>
                    </a:lnTo>
                    <a:cubicBezTo>
                      <a:pt x="58259" y="210242"/>
                      <a:pt x="58669" y="208287"/>
                      <a:pt x="58612" y="206321"/>
                    </a:cubicBezTo>
                    <a:cubicBezTo>
                      <a:pt x="57786" y="203112"/>
                      <a:pt x="55922" y="200268"/>
                      <a:pt x="53312" y="198227"/>
                    </a:cubicBezTo>
                    <a:cubicBezTo>
                      <a:pt x="50633" y="196153"/>
                      <a:pt x="49442" y="192676"/>
                      <a:pt x="50291" y="189393"/>
                    </a:cubicBezTo>
                    <a:cubicBezTo>
                      <a:pt x="51072" y="188134"/>
                      <a:pt x="51989" y="186971"/>
                      <a:pt x="53026" y="185917"/>
                    </a:cubicBezTo>
                    <a:cubicBezTo>
                      <a:pt x="57016" y="180559"/>
                      <a:pt x="53597" y="172751"/>
                      <a:pt x="55534" y="166311"/>
                    </a:cubicBezTo>
                    <a:cubicBezTo>
                      <a:pt x="57062" y="163404"/>
                      <a:pt x="58173" y="160292"/>
                      <a:pt x="58840" y="157077"/>
                    </a:cubicBezTo>
                    <a:cubicBezTo>
                      <a:pt x="58743" y="155260"/>
                      <a:pt x="58299" y="153481"/>
                      <a:pt x="57529" y="151834"/>
                    </a:cubicBezTo>
                    <a:cubicBezTo>
                      <a:pt x="55819" y="147275"/>
                      <a:pt x="54053" y="142715"/>
                      <a:pt x="52286" y="138155"/>
                    </a:cubicBezTo>
                    <a:cubicBezTo>
                      <a:pt x="52012" y="137129"/>
                      <a:pt x="51459" y="136206"/>
                      <a:pt x="50690" y="135477"/>
                    </a:cubicBezTo>
                    <a:cubicBezTo>
                      <a:pt x="49835" y="134946"/>
                      <a:pt x="48849" y="134650"/>
                      <a:pt x="47840" y="134622"/>
                    </a:cubicBezTo>
                    <a:lnTo>
                      <a:pt x="37410" y="133368"/>
                    </a:lnTo>
                    <a:cubicBezTo>
                      <a:pt x="38208" y="129891"/>
                      <a:pt x="33876" y="127383"/>
                      <a:pt x="30286" y="127212"/>
                    </a:cubicBezTo>
                    <a:cubicBezTo>
                      <a:pt x="26695" y="127041"/>
                      <a:pt x="22706" y="127782"/>
                      <a:pt x="19913" y="125559"/>
                    </a:cubicBezTo>
                    <a:cubicBezTo>
                      <a:pt x="17120" y="123337"/>
                      <a:pt x="16949" y="121285"/>
                      <a:pt x="14669" y="120202"/>
                    </a:cubicBezTo>
                    <a:cubicBezTo>
                      <a:pt x="12390" y="119119"/>
                      <a:pt x="9426" y="120202"/>
                      <a:pt x="6747" y="120202"/>
                    </a:cubicBezTo>
                    <a:cubicBezTo>
                      <a:pt x="3857" y="119797"/>
                      <a:pt x="1350" y="118013"/>
                      <a:pt x="21" y="115414"/>
                    </a:cubicBezTo>
                    <a:cubicBezTo>
                      <a:pt x="-7" y="115112"/>
                      <a:pt x="-7" y="114805"/>
                      <a:pt x="21" y="114503"/>
                    </a:cubicBezTo>
                    <a:cubicBezTo>
                      <a:pt x="1657" y="103998"/>
                      <a:pt x="7938" y="94788"/>
                      <a:pt x="17120" y="89425"/>
                    </a:cubicBezTo>
                    <a:cubicBezTo>
                      <a:pt x="26285" y="84187"/>
                      <a:pt x="36173" y="80345"/>
                      <a:pt x="46472" y="78026"/>
                    </a:cubicBezTo>
                    <a:cubicBezTo>
                      <a:pt x="50861" y="76493"/>
                      <a:pt x="55569" y="76099"/>
                      <a:pt x="60151" y="76886"/>
                    </a:cubicBezTo>
                    <a:cubicBezTo>
                      <a:pt x="63844" y="78630"/>
                      <a:pt x="67652" y="80112"/>
                      <a:pt x="71550" y="81332"/>
                    </a:cubicBezTo>
                    <a:cubicBezTo>
                      <a:pt x="74776" y="81103"/>
                      <a:pt x="78013" y="81103"/>
                      <a:pt x="81239" y="81332"/>
                    </a:cubicBezTo>
                    <a:cubicBezTo>
                      <a:pt x="86169" y="83298"/>
                      <a:pt x="89173" y="88313"/>
                      <a:pt x="88591" y="93585"/>
                    </a:cubicBezTo>
                    <a:cubicBezTo>
                      <a:pt x="87896" y="98698"/>
                      <a:pt x="86887" y="103759"/>
                      <a:pt x="85571" y="108746"/>
                    </a:cubicBezTo>
                    <a:cubicBezTo>
                      <a:pt x="84049" y="118777"/>
                      <a:pt x="87275" y="128945"/>
                      <a:pt x="94291" y="136274"/>
                    </a:cubicBezTo>
                    <a:cubicBezTo>
                      <a:pt x="95265" y="137403"/>
                      <a:pt x="96525" y="138252"/>
                      <a:pt x="97938" y="138725"/>
                    </a:cubicBezTo>
                    <a:cubicBezTo>
                      <a:pt x="102270" y="139922"/>
                      <a:pt x="105804" y="134906"/>
                      <a:pt x="106545" y="130461"/>
                    </a:cubicBezTo>
                    <a:cubicBezTo>
                      <a:pt x="107286" y="126015"/>
                      <a:pt x="107001" y="121000"/>
                      <a:pt x="110078" y="117751"/>
                    </a:cubicBezTo>
                    <a:cubicBezTo>
                      <a:pt x="113156" y="114503"/>
                      <a:pt x="120223" y="113989"/>
                      <a:pt x="122731" y="109487"/>
                    </a:cubicBezTo>
                    <a:cubicBezTo>
                      <a:pt x="123808" y="107008"/>
                      <a:pt x="124008" y="104232"/>
                      <a:pt x="123301" y="101622"/>
                    </a:cubicBezTo>
                    <a:cubicBezTo>
                      <a:pt x="120115" y="87151"/>
                      <a:pt x="114319" y="73381"/>
                      <a:pt x="106203" y="60984"/>
                    </a:cubicBezTo>
                    <a:cubicBezTo>
                      <a:pt x="105929" y="59172"/>
                      <a:pt x="105348" y="57416"/>
                      <a:pt x="104493" y="55798"/>
                    </a:cubicBezTo>
                    <a:cubicBezTo>
                      <a:pt x="103330" y="54031"/>
                      <a:pt x="102413" y="52110"/>
                      <a:pt x="101757" y="50098"/>
                    </a:cubicBezTo>
                    <a:cubicBezTo>
                      <a:pt x="101535" y="48394"/>
                      <a:pt x="101404" y="46684"/>
                      <a:pt x="101358" y="44969"/>
                    </a:cubicBezTo>
                    <a:cubicBezTo>
                      <a:pt x="100674" y="40580"/>
                      <a:pt x="96855" y="37274"/>
                      <a:pt x="95659" y="33000"/>
                    </a:cubicBezTo>
                    <a:cubicBezTo>
                      <a:pt x="95072" y="30845"/>
                      <a:pt x="94821" y="28617"/>
                      <a:pt x="94918" y="26389"/>
                    </a:cubicBezTo>
                    <a:cubicBezTo>
                      <a:pt x="95077" y="21669"/>
                      <a:pt x="95670" y="16979"/>
                      <a:pt x="96685" y="12368"/>
                    </a:cubicBezTo>
                    <a:cubicBezTo>
                      <a:pt x="101199" y="11154"/>
                      <a:pt x="105997" y="11559"/>
                      <a:pt x="110249" y="13508"/>
                    </a:cubicBezTo>
                    <a:cubicBezTo>
                      <a:pt x="115413" y="16130"/>
                      <a:pt x="120765" y="18364"/>
                      <a:pt x="126265" y="20176"/>
                    </a:cubicBezTo>
                    <a:cubicBezTo>
                      <a:pt x="134797" y="21208"/>
                      <a:pt x="143443" y="19823"/>
                      <a:pt x="151229" y="1618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7" name="Freihandform: Form 651">
                <a:extLst>
                  <a:ext uri="{FF2B5EF4-FFF2-40B4-BE49-F238E27FC236}">
                    <a16:creationId xmlns:a16="http://schemas.microsoft.com/office/drawing/2014/main" id="{0EA9E03E-B46B-88AE-4FC4-F5C62A88B9C9}"/>
                  </a:ext>
                </a:extLst>
              </p:cNvPr>
              <p:cNvSpPr/>
              <p:nvPr/>
            </p:nvSpPr>
            <p:spPr>
              <a:xfrm>
                <a:off x="4471534" y="4505863"/>
                <a:ext cx="68287" cy="149903"/>
              </a:xfrm>
              <a:custGeom>
                <a:avLst/>
                <a:gdLst>
                  <a:gd name="connsiteX0" fmla="*/ 20396 w 68287"/>
                  <a:gd name="connsiteY0" fmla="*/ 0 h 149903"/>
                  <a:gd name="connsiteX1" fmla="*/ 24841 w 68287"/>
                  <a:gd name="connsiteY1" fmla="*/ 2964 h 149903"/>
                  <a:gd name="connsiteX2" fmla="*/ 27235 w 68287"/>
                  <a:gd name="connsiteY2" fmla="*/ 21316 h 149903"/>
                  <a:gd name="connsiteX3" fmla="*/ 30256 w 68287"/>
                  <a:gd name="connsiteY3" fmla="*/ 51466 h 149903"/>
                  <a:gd name="connsiteX4" fmla="*/ 29173 w 68287"/>
                  <a:gd name="connsiteY4" fmla="*/ 63891 h 149903"/>
                  <a:gd name="connsiteX5" fmla="*/ 36639 w 68287"/>
                  <a:gd name="connsiteY5" fmla="*/ 72668 h 149903"/>
                  <a:gd name="connsiteX6" fmla="*/ 39033 w 68287"/>
                  <a:gd name="connsiteY6" fmla="*/ 73295 h 149903"/>
                  <a:gd name="connsiteX7" fmla="*/ 39033 w 68287"/>
                  <a:gd name="connsiteY7" fmla="*/ 75233 h 149903"/>
                  <a:gd name="connsiteX8" fmla="*/ 40572 w 68287"/>
                  <a:gd name="connsiteY8" fmla="*/ 82927 h 149903"/>
                  <a:gd name="connsiteX9" fmla="*/ 47468 w 68287"/>
                  <a:gd name="connsiteY9" fmla="*/ 85663 h 149903"/>
                  <a:gd name="connsiteX10" fmla="*/ 50774 w 68287"/>
                  <a:gd name="connsiteY10" fmla="*/ 71984 h 149903"/>
                  <a:gd name="connsiteX11" fmla="*/ 67872 w 68287"/>
                  <a:gd name="connsiteY11" fmla="*/ 112622 h 149903"/>
                  <a:gd name="connsiteX12" fmla="*/ 67302 w 68287"/>
                  <a:gd name="connsiteY12" fmla="*/ 120487 h 149903"/>
                  <a:gd name="connsiteX13" fmla="*/ 54649 w 68287"/>
                  <a:gd name="connsiteY13" fmla="*/ 128751 h 149903"/>
                  <a:gd name="connsiteX14" fmla="*/ 51116 w 68287"/>
                  <a:gd name="connsiteY14" fmla="*/ 141461 h 149903"/>
                  <a:gd name="connsiteX15" fmla="*/ 42509 w 68287"/>
                  <a:gd name="connsiteY15" fmla="*/ 149725 h 149903"/>
                  <a:gd name="connsiteX16" fmla="*/ 38862 w 68287"/>
                  <a:gd name="connsiteY16" fmla="*/ 147274 h 149903"/>
                  <a:gd name="connsiteX17" fmla="*/ 30142 w 68287"/>
                  <a:gd name="connsiteY17" fmla="*/ 119746 h 149903"/>
                  <a:gd name="connsiteX18" fmla="*/ 33162 w 68287"/>
                  <a:gd name="connsiteY18" fmla="*/ 104585 h 149903"/>
                  <a:gd name="connsiteX19" fmla="*/ 25810 w 68287"/>
                  <a:gd name="connsiteY19" fmla="*/ 92332 h 149903"/>
                  <a:gd name="connsiteX20" fmla="*/ 16121 w 68287"/>
                  <a:gd name="connsiteY20" fmla="*/ 92332 h 149903"/>
                  <a:gd name="connsiteX21" fmla="*/ 4722 w 68287"/>
                  <a:gd name="connsiteY21" fmla="*/ 87886 h 149903"/>
                  <a:gd name="connsiteX22" fmla="*/ 1473 w 68287"/>
                  <a:gd name="connsiteY22" fmla="*/ 87430 h 149903"/>
                  <a:gd name="connsiteX23" fmla="*/ 504 w 68287"/>
                  <a:gd name="connsiteY23" fmla="*/ 84922 h 149903"/>
                  <a:gd name="connsiteX24" fmla="*/ 48 w 68287"/>
                  <a:gd name="connsiteY24" fmla="*/ 78767 h 149903"/>
                  <a:gd name="connsiteX25" fmla="*/ 48 w 68287"/>
                  <a:gd name="connsiteY25" fmla="*/ 54088 h 149903"/>
                  <a:gd name="connsiteX26" fmla="*/ 1872 w 68287"/>
                  <a:gd name="connsiteY26" fmla="*/ 49129 h 149903"/>
                  <a:gd name="connsiteX27" fmla="*/ 4722 w 68287"/>
                  <a:gd name="connsiteY27" fmla="*/ 48274 h 149903"/>
                  <a:gd name="connsiteX28" fmla="*/ 8598 w 68287"/>
                  <a:gd name="connsiteY28" fmla="*/ 41948 h 149903"/>
                  <a:gd name="connsiteX29" fmla="*/ 8598 w 68287"/>
                  <a:gd name="connsiteY29" fmla="*/ 7124 h 149903"/>
                  <a:gd name="connsiteX30" fmla="*/ 9225 w 68287"/>
                  <a:gd name="connsiteY30" fmla="*/ 3990 h 149903"/>
                  <a:gd name="connsiteX31" fmla="*/ 13442 w 68287"/>
                  <a:gd name="connsiteY31" fmla="*/ 3249 h 149903"/>
                  <a:gd name="connsiteX32" fmla="*/ 20396 w 68287"/>
                  <a:gd name="connsiteY32" fmla="*/ 0 h 14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287" h="149903">
                    <a:moveTo>
                      <a:pt x="20396" y="0"/>
                    </a:moveTo>
                    <a:cubicBezTo>
                      <a:pt x="21946" y="883"/>
                      <a:pt x="23433" y="1869"/>
                      <a:pt x="24841" y="2964"/>
                    </a:cubicBezTo>
                    <a:cubicBezTo>
                      <a:pt x="29629" y="7238"/>
                      <a:pt x="27634" y="14876"/>
                      <a:pt x="27235" y="21316"/>
                    </a:cubicBezTo>
                    <a:cubicBezTo>
                      <a:pt x="26608" y="31404"/>
                      <a:pt x="31110" y="41378"/>
                      <a:pt x="30256" y="51466"/>
                    </a:cubicBezTo>
                    <a:cubicBezTo>
                      <a:pt x="29532" y="55570"/>
                      <a:pt x="29167" y="59725"/>
                      <a:pt x="29173" y="63891"/>
                    </a:cubicBezTo>
                    <a:cubicBezTo>
                      <a:pt x="29304" y="68200"/>
                      <a:pt x="32404" y="71848"/>
                      <a:pt x="36639" y="72668"/>
                    </a:cubicBezTo>
                    <a:cubicBezTo>
                      <a:pt x="37494" y="72668"/>
                      <a:pt x="38520" y="72668"/>
                      <a:pt x="39033" y="73295"/>
                    </a:cubicBezTo>
                    <a:cubicBezTo>
                      <a:pt x="39295" y="73916"/>
                      <a:pt x="39295" y="74612"/>
                      <a:pt x="39033" y="75233"/>
                    </a:cubicBezTo>
                    <a:cubicBezTo>
                      <a:pt x="38668" y="77900"/>
                      <a:pt x="39209" y="80608"/>
                      <a:pt x="40572" y="82927"/>
                    </a:cubicBezTo>
                    <a:cubicBezTo>
                      <a:pt x="42037" y="85236"/>
                      <a:pt x="44818" y="86336"/>
                      <a:pt x="47468" y="85663"/>
                    </a:cubicBezTo>
                    <a:cubicBezTo>
                      <a:pt x="50398" y="81748"/>
                      <a:pt x="51595" y="76806"/>
                      <a:pt x="50774" y="71984"/>
                    </a:cubicBezTo>
                    <a:cubicBezTo>
                      <a:pt x="58890" y="84381"/>
                      <a:pt x="64686" y="98151"/>
                      <a:pt x="67872" y="112622"/>
                    </a:cubicBezTo>
                    <a:cubicBezTo>
                      <a:pt x="68579" y="115232"/>
                      <a:pt x="68379" y="118008"/>
                      <a:pt x="67302" y="120487"/>
                    </a:cubicBezTo>
                    <a:cubicBezTo>
                      <a:pt x="64794" y="124989"/>
                      <a:pt x="58126" y="124989"/>
                      <a:pt x="54649" y="128751"/>
                    </a:cubicBezTo>
                    <a:cubicBezTo>
                      <a:pt x="51173" y="132513"/>
                      <a:pt x="51856" y="137072"/>
                      <a:pt x="51116" y="141461"/>
                    </a:cubicBezTo>
                    <a:cubicBezTo>
                      <a:pt x="50375" y="145849"/>
                      <a:pt x="46841" y="150922"/>
                      <a:pt x="42509" y="149725"/>
                    </a:cubicBezTo>
                    <a:cubicBezTo>
                      <a:pt x="41096" y="149252"/>
                      <a:pt x="39836" y="148403"/>
                      <a:pt x="38862" y="147274"/>
                    </a:cubicBezTo>
                    <a:cubicBezTo>
                      <a:pt x="31846" y="139945"/>
                      <a:pt x="28620" y="129777"/>
                      <a:pt x="30142" y="119746"/>
                    </a:cubicBezTo>
                    <a:cubicBezTo>
                      <a:pt x="31458" y="114759"/>
                      <a:pt x="32467" y="109698"/>
                      <a:pt x="33162" y="104585"/>
                    </a:cubicBezTo>
                    <a:cubicBezTo>
                      <a:pt x="33744" y="99313"/>
                      <a:pt x="30734" y="94298"/>
                      <a:pt x="25810" y="92332"/>
                    </a:cubicBezTo>
                    <a:cubicBezTo>
                      <a:pt x="22584" y="92103"/>
                      <a:pt x="19347" y="92103"/>
                      <a:pt x="16121" y="92332"/>
                    </a:cubicBezTo>
                    <a:cubicBezTo>
                      <a:pt x="12222" y="91112"/>
                      <a:pt x="8415" y="89630"/>
                      <a:pt x="4722" y="87886"/>
                    </a:cubicBezTo>
                    <a:cubicBezTo>
                      <a:pt x="3662" y="87595"/>
                      <a:pt x="2573" y="87441"/>
                      <a:pt x="1473" y="87430"/>
                    </a:cubicBezTo>
                    <a:cubicBezTo>
                      <a:pt x="1074" y="86626"/>
                      <a:pt x="749" y="85783"/>
                      <a:pt x="504" y="84922"/>
                    </a:cubicBezTo>
                    <a:cubicBezTo>
                      <a:pt x="66" y="82899"/>
                      <a:pt x="-89" y="80830"/>
                      <a:pt x="48" y="78767"/>
                    </a:cubicBezTo>
                    <a:lnTo>
                      <a:pt x="48" y="54088"/>
                    </a:lnTo>
                    <a:cubicBezTo>
                      <a:pt x="48" y="52207"/>
                      <a:pt x="48" y="50041"/>
                      <a:pt x="1872" y="49129"/>
                    </a:cubicBezTo>
                    <a:cubicBezTo>
                      <a:pt x="2796" y="48759"/>
                      <a:pt x="3747" y="48474"/>
                      <a:pt x="4722" y="48274"/>
                    </a:cubicBezTo>
                    <a:cubicBezTo>
                      <a:pt x="7019" y="46975"/>
                      <a:pt x="8484" y="44587"/>
                      <a:pt x="8598" y="41948"/>
                    </a:cubicBezTo>
                    <a:cubicBezTo>
                      <a:pt x="10165" y="30395"/>
                      <a:pt x="10165" y="18677"/>
                      <a:pt x="8598" y="7124"/>
                    </a:cubicBezTo>
                    <a:cubicBezTo>
                      <a:pt x="8387" y="6036"/>
                      <a:pt x="8615" y="4913"/>
                      <a:pt x="9225" y="3990"/>
                    </a:cubicBezTo>
                    <a:cubicBezTo>
                      <a:pt x="10250" y="2964"/>
                      <a:pt x="11960" y="3306"/>
                      <a:pt x="13442" y="3249"/>
                    </a:cubicBezTo>
                    <a:cubicBezTo>
                      <a:pt x="16149" y="3351"/>
                      <a:pt x="18737" y="2143"/>
                      <a:pt x="20396"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8" name="Freihandform: Form 652">
                <a:extLst>
                  <a:ext uri="{FF2B5EF4-FFF2-40B4-BE49-F238E27FC236}">
                    <a16:creationId xmlns:a16="http://schemas.microsoft.com/office/drawing/2014/main" id="{C4F6C82E-0EF1-98E0-81C8-357D14ACDB1B}"/>
                  </a:ext>
                </a:extLst>
              </p:cNvPr>
              <p:cNvSpPr/>
              <p:nvPr/>
            </p:nvSpPr>
            <p:spPr>
              <a:xfrm>
                <a:off x="4236753" y="4450920"/>
                <a:ext cx="255005" cy="251232"/>
              </a:xfrm>
              <a:custGeom>
                <a:avLst/>
                <a:gdLst>
                  <a:gd name="connsiteX0" fmla="*/ 166264 w 255005"/>
                  <a:gd name="connsiteY0" fmla="*/ 1653 h 251232"/>
                  <a:gd name="connsiteX1" fmla="*/ 177207 w 255005"/>
                  <a:gd name="connsiteY1" fmla="*/ 0 h 251232"/>
                  <a:gd name="connsiteX2" fmla="*/ 183933 w 255005"/>
                  <a:gd name="connsiteY2" fmla="*/ 1311 h 251232"/>
                  <a:gd name="connsiteX3" fmla="*/ 188208 w 255005"/>
                  <a:gd name="connsiteY3" fmla="*/ 5358 h 251232"/>
                  <a:gd name="connsiteX4" fmla="*/ 195959 w 255005"/>
                  <a:gd name="connsiteY4" fmla="*/ 8321 h 251232"/>
                  <a:gd name="connsiteX5" fmla="*/ 202570 w 255005"/>
                  <a:gd name="connsiteY5" fmla="*/ 14021 h 251232"/>
                  <a:gd name="connsiteX6" fmla="*/ 213969 w 255005"/>
                  <a:gd name="connsiteY6" fmla="*/ 18409 h 251232"/>
                  <a:gd name="connsiteX7" fmla="*/ 221093 w 255005"/>
                  <a:gd name="connsiteY7" fmla="*/ 21772 h 251232"/>
                  <a:gd name="connsiteX8" fmla="*/ 232492 w 255005"/>
                  <a:gd name="connsiteY8" fmla="*/ 32259 h 251232"/>
                  <a:gd name="connsiteX9" fmla="*/ 243891 w 255005"/>
                  <a:gd name="connsiteY9" fmla="*/ 35565 h 251232"/>
                  <a:gd name="connsiteX10" fmla="*/ 252213 w 255005"/>
                  <a:gd name="connsiteY10" fmla="*/ 42917 h 251232"/>
                  <a:gd name="connsiteX11" fmla="*/ 252725 w 255005"/>
                  <a:gd name="connsiteY11" fmla="*/ 52606 h 251232"/>
                  <a:gd name="connsiteX12" fmla="*/ 255005 w 255005"/>
                  <a:gd name="connsiteY12" fmla="*/ 54886 h 251232"/>
                  <a:gd name="connsiteX13" fmla="*/ 248964 w 255005"/>
                  <a:gd name="connsiteY13" fmla="*/ 58078 h 251232"/>
                  <a:gd name="connsiteX14" fmla="*/ 244746 w 255005"/>
                  <a:gd name="connsiteY14" fmla="*/ 58819 h 251232"/>
                  <a:gd name="connsiteX15" fmla="*/ 244119 w 255005"/>
                  <a:gd name="connsiteY15" fmla="*/ 61953 h 251232"/>
                  <a:gd name="connsiteX16" fmla="*/ 244119 w 255005"/>
                  <a:gd name="connsiteY16" fmla="*/ 96777 h 251232"/>
                  <a:gd name="connsiteX17" fmla="*/ 240243 w 255005"/>
                  <a:gd name="connsiteY17" fmla="*/ 103104 h 251232"/>
                  <a:gd name="connsiteX18" fmla="*/ 237394 w 255005"/>
                  <a:gd name="connsiteY18" fmla="*/ 103958 h 251232"/>
                  <a:gd name="connsiteX19" fmla="*/ 235570 w 255005"/>
                  <a:gd name="connsiteY19" fmla="*/ 108917 h 251232"/>
                  <a:gd name="connsiteX20" fmla="*/ 235570 w 255005"/>
                  <a:gd name="connsiteY20" fmla="*/ 133596 h 251232"/>
                  <a:gd name="connsiteX21" fmla="*/ 236026 w 255005"/>
                  <a:gd name="connsiteY21" fmla="*/ 139751 h 251232"/>
                  <a:gd name="connsiteX22" fmla="*/ 236995 w 255005"/>
                  <a:gd name="connsiteY22" fmla="*/ 142259 h 251232"/>
                  <a:gd name="connsiteX23" fmla="*/ 226565 w 255005"/>
                  <a:gd name="connsiteY23" fmla="*/ 143855 h 251232"/>
                  <a:gd name="connsiteX24" fmla="*/ 197212 w 255005"/>
                  <a:gd name="connsiteY24" fmla="*/ 155254 h 251232"/>
                  <a:gd name="connsiteX25" fmla="*/ 180114 w 255005"/>
                  <a:gd name="connsiteY25" fmla="*/ 180331 h 251232"/>
                  <a:gd name="connsiteX26" fmla="*/ 180114 w 255005"/>
                  <a:gd name="connsiteY26" fmla="*/ 181243 h 251232"/>
                  <a:gd name="connsiteX27" fmla="*/ 179259 w 255005"/>
                  <a:gd name="connsiteY27" fmla="*/ 179647 h 251232"/>
                  <a:gd name="connsiteX28" fmla="*/ 177948 w 255005"/>
                  <a:gd name="connsiteY28" fmla="*/ 169389 h 251232"/>
                  <a:gd name="connsiteX29" fmla="*/ 163415 w 255005"/>
                  <a:gd name="connsiteY29" fmla="*/ 175487 h 251232"/>
                  <a:gd name="connsiteX30" fmla="*/ 160109 w 255005"/>
                  <a:gd name="connsiteY30" fmla="*/ 180331 h 251232"/>
                  <a:gd name="connsiteX31" fmla="*/ 152928 w 255005"/>
                  <a:gd name="connsiteY31" fmla="*/ 184093 h 251232"/>
                  <a:gd name="connsiteX32" fmla="*/ 145120 w 255005"/>
                  <a:gd name="connsiteY32" fmla="*/ 194979 h 251232"/>
                  <a:gd name="connsiteX33" fmla="*/ 139135 w 255005"/>
                  <a:gd name="connsiteY33" fmla="*/ 197316 h 251232"/>
                  <a:gd name="connsiteX34" fmla="*/ 137311 w 255005"/>
                  <a:gd name="connsiteY34" fmla="*/ 201761 h 251232"/>
                  <a:gd name="connsiteX35" fmla="*/ 121809 w 255005"/>
                  <a:gd name="connsiteY35" fmla="*/ 217492 h 251232"/>
                  <a:gd name="connsiteX36" fmla="*/ 121068 w 255005"/>
                  <a:gd name="connsiteY36" fmla="*/ 221368 h 251232"/>
                  <a:gd name="connsiteX37" fmla="*/ 109270 w 255005"/>
                  <a:gd name="connsiteY37" fmla="*/ 229746 h 251232"/>
                  <a:gd name="connsiteX38" fmla="*/ 107218 w 255005"/>
                  <a:gd name="connsiteY38" fmla="*/ 234761 h 251232"/>
                  <a:gd name="connsiteX39" fmla="*/ 102145 w 255005"/>
                  <a:gd name="connsiteY39" fmla="*/ 237155 h 251232"/>
                  <a:gd name="connsiteX40" fmla="*/ 69772 w 255005"/>
                  <a:gd name="connsiteY40" fmla="*/ 241202 h 251232"/>
                  <a:gd name="connsiteX41" fmla="*/ 69772 w 255005"/>
                  <a:gd name="connsiteY41" fmla="*/ 241202 h 251232"/>
                  <a:gd name="connsiteX42" fmla="*/ 55524 w 255005"/>
                  <a:gd name="connsiteY42" fmla="*/ 236357 h 251232"/>
                  <a:gd name="connsiteX43" fmla="*/ 37627 w 255005"/>
                  <a:gd name="connsiteY43" fmla="*/ 251233 h 251232"/>
                  <a:gd name="connsiteX44" fmla="*/ 30446 w 255005"/>
                  <a:gd name="connsiteY44" fmla="*/ 239264 h 251232"/>
                  <a:gd name="connsiteX45" fmla="*/ 26684 w 255005"/>
                  <a:gd name="connsiteY45" fmla="*/ 235502 h 251232"/>
                  <a:gd name="connsiteX46" fmla="*/ 23265 w 255005"/>
                  <a:gd name="connsiteY46" fmla="*/ 234761 h 251232"/>
                  <a:gd name="connsiteX47" fmla="*/ 23550 w 255005"/>
                  <a:gd name="connsiteY47" fmla="*/ 230031 h 251232"/>
                  <a:gd name="connsiteX48" fmla="*/ 18705 w 255005"/>
                  <a:gd name="connsiteY48" fmla="*/ 220969 h 251232"/>
                  <a:gd name="connsiteX49" fmla="*/ 6679 w 255005"/>
                  <a:gd name="connsiteY49" fmla="*/ 205466 h 251232"/>
                  <a:gd name="connsiteX50" fmla="*/ 2746 w 255005"/>
                  <a:gd name="connsiteY50" fmla="*/ 199367 h 251232"/>
                  <a:gd name="connsiteX51" fmla="*/ 1151 w 255005"/>
                  <a:gd name="connsiteY51" fmla="*/ 190420 h 251232"/>
                  <a:gd name="connsiteX52" fmla="*/ 752 w 255005"/>
                  <a:gd name="connsiteY52" fmla="*/ 124135 h 251232"/>
                  <a:gd name="connsiteX53" fmla="*/ 4114 w 255005"/>
                  <a:gd name="connsiteY53" fmla="*/ 114730 h 251232"/>
                  <a:gd name="connsiteX54" fmla="*/ 10669 w 255005"/>
                  <a:gd name="connsiteY54" fmla="*/ 113078 h 251232"/>
                  <a:gd name="connsiteX55" fmla="*/ 25886 w 255005"/>
                  <a:gd name="connsiteY55" fmla="*/ 113078 h 251232"/>
                  <a:gd name="connsiteX56" fmla="*/ 40990 w 255005"/>
                  <a:gd name="connsiteY56" fmla="*/ 108917 h 251232"/>
                  <a:gd name="connsiteX57" fmla="*/ 42472 w 255005"/>
                  <a:gd name="connsiteY57" fmla="*/ 101393 h 251232"/>
                  <a:gd name="connsiteX58" fmla="*/ 42814 w 255005"/>
                  <a:gd name="connsiteY58" fmla="*/ 77228 h 251232"/>
                  <a:gd name="connsiteX59" fmla="*/ 44068 w 255005"/>
                  <a:gd name="connsiteY59" fmla="*/ 72440 h 251232"/>
                  <a:gd name="connsiteX60" fmla="*/ 48627 w 255005"/>
                  <a:gd name="connsiteY60" fmla="*/ 70731 h 251232"/>
                  <a:gd name="connsiteX61" fmla="*/ 61907 w 255005"/>
                  <a:gd name="connsiteY61" fmla="*/ 70731 h 251232"/>
                  <a:gd name="connsiteX62" fmla="*/ 71596 w 255005"/>
                  <a:gd name="connsiteY62" fmla="*/ 79052 h 251232"/>
                  <a:gd name="connsiteX63" fmla="*/ 101689 w 255005"/>
                  <a:gd name="connsiteY63" fmla="*/ 89881 h 251232"/>
                  <a:gd name="connsiteX64" fmla="*/ 112404 w 255005"/>
                  <a:gd name="connsiteY64" fmla="*/ 84181 h 251232"/>
                  <a:gd name="connsiteX65" fmla="*/ 125171 w 255005"/>
                  <a:gd name="connsiteY65" fmla="*/ 95580 h 251232"/>
                  <a:gd name="connsiteX66" fmla="*/ 138622 w 255005"/>
                  <a:gd name="connsiteY66" fmla="*/ 104813 h 251232"/>
                  <a:gd name="connsiteX67" fmla="*/ 139990 w 255005"/>
                  <a:gd name="connsiteY67" fmla="*/ 108347 h 251232"/>
                  <a:gd name="connsiteX68" fmla="*/ 144264 w 255005"/>
                  <a:gd name="connsiteY68" fmla="*/ 110399 h 251232"/>
                  <a:gd name="connsiteX69" fmla="*/ 146202 w 255005"/>
                  <a:gd name="connsiteY69" fmla="*/ 116098 h 251232"/>
                  <a:gd name="connsiteX70" fmla="*/ 161699 w 255005"/>
                  <a:gd name="connsiteY70" fmla="*/ 125366 h 251232"/>
                  <a:gd name="connsiteX71" fmla="*/ 166207 w 255005"/>
                  <a:gd name="connsiteY71" fmla="*/ 123223 h 251232"/>
                  <a:gd name="connsiteX72" fmla="*/ 169171 w 255005"/>
                  <a:gd name="connsiteY72" fmla="*/ 119518 h 251232"/>
                  <a:gd name="connsiteX73" fmla="*/ 168829 w 255005"/>
                  <a:gd name="connsiteY73" fmla="*/ 100254 h 251232"/>
                  <a:gd name="connsiteX74" fmla="*/ 141757 w 255005"/>
                  <a:gd name="connsiteY74" fmla="*/ 84637 h 251232"/>
                  <a:gd name="connsiteX75" fmla="*/ 141016 w 255005"/>
                  <a:gd name="connsiteY75" fmla="*/ 71471 h 251232"/>
                  <a:gd name="connsiteX76" fmla="*/ 145062 w 255005"/>
                  <a:gd name="connsiteY76" fmla="*/ 45026 h 251232"/>
                  <a:gd name="connsiteX77" fmla="*/ 145062 w 255005"/>
                  <a:gd name="connsiteY77" fmla="*/ 38870 h 251232"/>
                  <a:gd name="connsiteX78" fmla="*/ 139363 w 255005"/>
                  <a:gd name="connsiteY78" fmla="*/ 24109 h 251232"/>
                  <a:gd name="connsiteX79" fmla="*/ 147342 w 255005"/>
                  <a:gd name="connsiteY79" fmla="*/ 8606 h 251232"/>
                  <a:gd name="connsiteX80" fmla="*/ 166264 w 255005"/>
                  <a:gd name="connsiteY80" fmla="*/ 1653 h 2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55005" h="251232">
                    <a:moveTo>
                      <a:pt x="166264" y="1653"/>
                    </a:moveTo>
                    <a:cubicBezTo>
                      <a:pt x="169969" y="1619"/>
                      <a:pt x="173657" y="1060"/>
                      <a:pt x="177207" y="0"/>
                    </a:cubicBezTo>
                    <a:cubicBezTo>
                      <a:pt x="179259" y="741"/>
                      <a:pt x="181881" y="342"/>
                      <a:pt x="183933" y="1311"/>
                    </a:cubicBezTo>
                    <a:cubicBezTo>
                      <a:pt x="185985" y="2280"/>
                      <a:pt x="186783" y="3990"/>
                      <a:pt x="188208" y="5358"/>
                    </a:cubicBezTo>
                    <a:cubicBezTo>
                      <a:pt x="190276" y="7364"/>
                      <a:pt x="193080" y="8435"/>
                      <a:pt x="195959" y="8321"/>
                    </a:cubicBezTo>
                    <a:cubicBezTo>
                      <a:pt x="196358" y="11342"/>
                      <a:pt x="199663" y="12995"/>
                      <a:pt x="202570" y="14021"/>
                    </a:cubicBezTo>
                    <a:lnTo>
                      <a:pt x="213969" y="18409"/>
                    </a:lnTo>
                    <a:cubicBezTo>
                      <a:pt x="216471" y="19236"/>
                      <a:pt x="218865" y="20370"/>
                      <a:pt x="221093" y="21772"/>
                    </a:cubicBezTo>
                    <a:cubicBezTo>
                      <a:pt x="225425" y="24793"/>
                      <a:pt x="228161" y="29751"/>
                      <a:pt x="232492" y="32259"/>
                    </a:cubicBezTo>
                    <a:cubicBezTo>
                      <a:pt x="236157" y="33786"/>
                      <a:pt x="239981" y="34898"/>
                      <a:pt x="243891" y="35565"/>
                    </a:cubicBezTo>
                    <a:cubicBezTo>
                      <a:pt x="247750" y="36408"/>
                      <a:pt x="250902" y="39190"/>
                      <a:pt x="252213" y="42917"/>
                    </a:cubicBezTo>
                    <a:cubicBezTo>
                      <a:pt x="252896" y="46109"/>
                      <a:pt x="251187" y="49700"/>
                      <a:pt x="252725" y="52606"/>
                    </a:cubicBezTo>
                    <a:cubicBezTo>
                      <a:pt x="253307" y="53530"/>
                      <a:pt x="254082" y="54305"/>
                      <a:pt x="255005" y="54886"/>
                    </a:cubicBezTo>
                    <a:cubicBezTo>
                      <a:pt x="253535" y="56761"/>
                      <a:pt x="251340" y="57918"/>
                      <a:pt x="248964" y="58078"/>
                    </a:cubicBezTo>
                    <a:cubicBezTo>
                      <a:pt x="247482" y="58078"/>
                      <a:pt x="245772" y="58078"/>
                      <a:pt x="244746" y="58819"/>
                    </a:cubicBezTo>
                    <a:cubicBezTo>
                      <a:pt x="244136" y="59742"/>
                      <a:pt x="243908" y="60865"/>
                      <a:pt x="244119" y="61953"/>
                    </a:cubicBezTo>
                    <a:cubicBezTo>
                      <a:pt x="245687" y="73506"/>
                      <a:pt x="245687" y="85224"/>
                      <a:pt x="244119" y="96777"/>
                    </a:cubicBezTo>
                    <a:cubicBezTo>
                      <a:pt x="244005" y="99416"/>
                      <a:pt x="242540" y="101804"/>
                      <a:pt x="240243" y="103104"/>
                    </a:cubicBezTo>
                    <a:cubicBezTo>
                      <a:pt x="239269" y="103303"/>
                      <a:pt x="238317" y="103588"/>
                      <a:pt x="237394" y="103958"/>
                    </a:cubicBezTo>
                    <a:cubicBezTo>
                      <a:pt x="235798" y="104870"/>
                      <a:pt x="235570" y="107036"/>
                      <a:pt x="235570" y="108917"/>
                    </a:cubicBezTo>
                    <a:lnTo>
                      <a:pt x="235570" y="133596"/>
                    </a:lnTo>
                    <a:cubicBezTo>
                      <a:pt x="235433" y="135659"/>
                      <a:pt x="235587" y="137728"/>
                      <a:pt x="236026" y="139751"/>
                    </a:cubicBezTo>
                    <a:cubicBezTo>
                      <a:pt x="236271" y="140612"/>
                      <a:pt x="236596" y="141455"/>
                      <a:pt x="236995" y="142259"/>
                    </a:cubicBezTo>
                    <a:cubicBezTo>
                      <a:pt x="233461" y="142282"/>
                      <a:pt x="229945" y="142817"/>
                      <a:pt x="226565" y="143855"/>
                    </a:cubicBezTo>
                    <a:cubicBezTo>
                      <a:pt x="216266" y="146175"/>
                      <a:pt x="206377" y="150016"/>
                      <a:pt x="197212" y="155254"/>
                    </a:cubicBezTo>
                    <a:cubicBezTo>
                      <a:pt x="188031" y="160617"/>
                      <a:pt x="181750" y="169827"/>
                      <a:pt x="180114" y="180331"/>
                    </a:cubicBezTo>
                    <a:cubicBezTo>
                      <a:pt x="180086" y="180633"/>
                      <a:pt x="180086" y="180941"/>
                      <a:pt x="180114" y="181243"/>
                    </a:cubicBezTo>
                    <a:cubicBezTo>
                      <a:pt x="179795" y="180730"/>
                      <a:pt x="179510" y="180195"/>
                      <a:pt x="179259" y="179647"/>
                    </a:cubicBezTo>
                    <a:cubicBezTo>
                      <a:pt x="178193" y="176336"/>
                      <a:pt x="177749" y="172859"/>
                      <a:pt x="177948" y="169389"/>
                    </a:cubicBezTo>
                    <a:cubicBezTo>
                      <a:pt x="172329" y="168419"/>
                      <a:pt x="166658" y="170796"/>
                      <a:pt x="163415" y="175487"/>
                    </a:cubicBezTo>
                    <a:cubicBezTo>
                      <a:pt x="162514" y="177231"/>
                      <a:pt x="161403" y="178855"/>
                      <a:pt x="160109" y="180331"/>
                    </a:cubicBezTo>
                    <a:cubicBezTo>
                      <a:pt x="158057" y="182098"/>
                      <a:pt x="155037" y="182383"/>
                      <a:pt x="152928" y="184093"/>
                    </a:cubicBezTo>
                    <a:cubicBezTo>
                      <a:pt x="149451" y="186943"/>
                      <a:pt x="149223" y="192984"/>
                      <a:pt x="145120" y="194979"/>
                    </a:cubicBezTo>
                    <a:cubicBezTo>
                      <a:pt x="143182" y="195948"/>
                      <a:pt x="140617" y="195777"/>
                      <a:pt x="139135" y="197316"/>
                    </a:cubicBezTo>
                    <a:cubicBezTo>
                      <a:pt x="138229" y="198655"/>
                      <a:pt x="137607" y="200171"/>
                      <a:pt x="137311" y="201761"/>
                    </a:cubicBezTo>
                    <a:cubicBezTo>
                      <a:pt x="134689" y="208829"/>
                      <a:pt x="123518" y="210140"/>
                      <a:pt x="121809" y="217492"/>
                    </a:cubicBezTo>
                    <a:cubicBezTo>
                      <a:pt x="121672" y="218803"/>
                      <a:pt x="121427" y="220097"/>
                      <a:pt x="121068" y="221368"/>
                    </a:cubicBezTo>
                    <a:cubicBezTo>
                      <a:pt x="119244" y="225984"/>
                      <a:pt x="111720" y="225471"/>
                      <a:pt x="109270" y="229746"/>
                    </a:cubicBezTo>
                    <a:cubicBezTo>
                      <a:pt x="108358" y="231285"/>
                      <a:pt x="108301" y="233279"/>
                      <a:pt x="107218" y="234761"/>
                    </a:cubicBezTo>
                    <a:cubicBezTo>
                      <a:pt x="105862" y="236135"/>
                      <a:pt x="104066" y="236984"/>
                      <a:pt x="102145" y="237155"/>
                    </a:cubicBezTo>
                    <a:cubicBezTo>
                      <a:pt x="91487" y="239207"/>
                      <a:pt x="80202" y="238979"/>
                      <a:pt x="69772" y="241202"/>
                    </a:cubicBezTo>
                    <a:lnTo>
                      <a:pt x="69772" y="241202"/>
                    </a:lnTo>
                    <a:cubicBezTo>
                      <a:pt x="64757" y="240518"/>
                      <a:pt x="60539" y="236129"/>
                      <a:pt x="55524" y="236357"/>
                    </a:cubicBezTo>
                    <a:cubicBezTo>
                      <a:pt x="47544" y="236756"/>
                      <a:pt x="44581" y="247357"/>
                      <a:pt x="37627" y="251233"/>
                    </a:cubicBezTo>
                    <a:cubicBezTo>
                      <a:pt x="35564" y="247055"/>
                      <a:pt x="33165" y="243054"/>
                      <a:pt x="30446" y="239264"/>
                    </a:cubicBezTo>
                    <a:cubicBezTo>
                      <a:pt x="29523" y="237719"/>
                      <a:pt x="28229" y="236426"/>
                      <a:pt x="26684" y="235502"/>
                    </a:cubicBezTo>
                    <a:cubicBezTo>
                      <a:pt x="25607" y="235029"/>
                      <a:pt x="24444" y="234778"/>
                      <a:pt x="23265" y="234761"/>
                    </a:cubicBezTo>
                    <a:cubicBezTo>
                      <a:pt x="23589" y="233205"/>
                      <a:pt x="23686" y="231615"/>
                      <a:pt x="23550" y="230031"/>
                    </a:cubicBezTo>
                    <a:cubicBezTo>
                      <a:pt x="22746" y="226640"/>
                      <a:pt x="21076" y="223522"/>
                      <a:pt x="18705" y="220969"/>
                    </a:cubicBezTo>
                    <a:lnTo>
                      <a:pt x="6679" y="205466"/>
                    </a:lnTo>
                    <a:cubicBezTo>
                      <a:pt x="5129" y="203596"/>
                      <a:pt x="3807" y="201551"/>
                      <a:pt x="2746" y="199367"/>
                    </a:cubicBezTo>
                    <a:cubicBezTo>
                      <a:pt x="1755" y="196484"/>
                      <a:pt x="1219" y="193469"/>
                      <a:pt x="1151" y="190420"/>
                    </a:cubicBezTo>
                    <a:cubicBezTo>
                      <a:pt x="-234" y="168351"/>
                      <a:pt x="-371" y="146220"/>
                      <a:pt x="752" y="124135"/>
                    </a:cubicBezTo>
                    <a:cubicBezTo>
                      <a:pt x="455" y="120658"/>
                      <a:pt x="1681" y="117227"/>
                      <a:pt x="4114" y="114730"/>
                    </a:cubicBezTo>
                    <a:cubicBezTo>
                      <a:pt x="6092" y="113551"/>
                      <a:pt x="8366" y="112975"/>
                      <a:pt x="10669" y="113078"/>
                    </a:cubicBezTo>
                    <a:cubicBezTo>
                      <a:pt x="15736" y="112821"/>
                      <a:pt x="20820" y="112821"/>
                      <a:pt x="25886" y="113078"/>
                    </a:cubicBezTo>
                    <a:cubicBezTo>
                      <a:pt x="31586" y="113477"/>
                      <a:pt x="38083" y="113590"/>
                      <a:pt x="40990" y="108917"/>
                    </a:cubicBezTo>
                    <a:cubicBezTo>
                      <a:pt x="42141" y="106586"/>
                      <a:pt x="42654" y="103987"/>
                      <a:pt x="42472" y="101393"/>
                    </a:cubicBezTo>
                    <a:lnTo>
                      <a:pt x="42814" y="77228"/>
                    </a:lnTo>
                    <a:cubicBezTo>
                      <a:pt x="42654" y="75535"/>
                      <a:pt x="43099" y="73837"/>
                      <a:pt x="44068" y="72440"/>
                    </a:cubicBezTo>
                    <a:cubicBezTo>
                      <a:pt x="45339" y="71352"/>
                      <a:pt x="46952" y="70748"/>
                      <a:pt x="48627" y="70731"/>
                    </a:cubicBezTo>
                    <a:cubicBezTo>
                      <a:pt x="53021" y="69961"/>
                      <a:pt x="57513" y="69961"/>
                      <a:pt x="61907" y="70731"/>
                    </a:cubicBezTo>
                    <a:cubicBezTo>
                      <a:pt x="66375" y="71608"/>
                      <a:pt x="70057" y="74766"/>
                      <a:pt x="71596" y="79052"/>
                    </a:cubicBezTo>
                    <a:cubicBezTo>
                      <a:pt x="82425" y="76772"/>
                      <a:pt x="91259" y="93642"/>
                      <a:pt x="101689" y="89881"/>
                    </a:cubicBezTo>
                    <a:cubicBezTo>
                      <a:pt x="105508" y="88513"/>
                      <a:pt x="108358" y="84523"/>
                      <a:pt x="112404" y="84181"/>
                    </a:cubicBezTo>
                    <a:cubicBezTo>
                      <a:pt x="118104" y="84181"/>
                      <a:pt x="120554" y="91762"/>
                      <a:pt x="125171" y="95580"/>
                    </a:cubicBezTo>
                    <a:cubicBezTo>
                      <a:pt x="129788" y="99399"/>
                      <a:pt x="136855" y="99513"/>
                      <a:pt x="138622" y="104813"/>
                    </a:cubicBezTo>
                    <a:cubicBezTo>
                      <a:pt x="138838" y="106073"/>
                      <a:pt x="139300" y="107276"/>
                      <a:pt x="139990" y="108347"/>
                    </a:cubicBezTo>
                    <a:cubicBezTo>
                      <a:pt x="141073" y="109487"/>
                      <a:pt x="143010" y="109430"/>
                      <a:pt x="144264" y="110399"/>
                    </a:cubicBezTo>
                    <a:cubicBezTo>
                      <a:pt x="145518" y="111368"/>
                      <a:pt x="145860" y="114104"/>
                      <a:pt x="146202" y="116098"/>
                    </a:cubicBezTo>
                    <a:cubicBezTo>
                      <a:pt x="147923" y="122938"/>
                      <a:pt x="154860" y="127081"/>
                      <a:pt x="161699" y="125366"/>
                    </a:cubicBezTo>
                    <a:cubicBezTo>
                      <a:pt x="163329" y="124955"/>
                      <a:pt x="164862" y="124226"/>
                      <a:pt x="166207" y="123223"/>
                    </a:cubicBezTo>
                    <a:cubicBezTo>
                      <a:pt x="167381" y="122151"/>
                      <a:pt x="168379" y="120897"/>
                      <a:pt x="169171" y="119518"/>
                    </a:cubicBezTo>
                    <a:cubicBezTo>
                      <a:pt x="173030" y="113636"/>
                      <a:pt x="172893" y="105993"/>
                      <a:pt x="168829" y="100254"/>
                    </a:cubicBezTo>
                    <a:cubicBezTo>
                      <a:pt x="161933" y="92160"/>
                      <a:pt x="146601" y="94155"/>
                      <a:pt x="141757" y="84637"/>
                    </a:cubicBezTo>
                    <a:cubicBezTo>
                      <a:pt x="140138" y="80437"/>
                      <a:pt x="139882" y="75831"/>
                      <a:pt x="141016" y="71471"/>
                    </a:cubicBezTo>
                    <a:cubicBezTo>
                      <a:pt x="142384" y="62694"/>
                      <a:pt x="143695" y="53860"/>
                      <a:pt x="145062" y="45026"/>
                    </a:cubicBezTo>
                    <a:cubicBezTo>
                      <a:pt x="145490" y="42997"/>
                      <a:pt x="145490" y="40900"/>
                      <a:pt x="145062" y="38870"/>
                    </a:cubicBezTo>
                    <a:cubicBezTo>
                      <a:pt x="143695" y="33513"/>
                      <a:pt x="136741" y="28782"/>
                      <a:pt x="139363" y="24109"/>
                    </a:cubicBezTo>
                    <a:cubicBezTo>
                      <a:pt x="145062" y="22000"/>
                      <a:pt x="144264" y="13736"/>
                      <a:pt x="147342" y="8606"/>
                    </a:cubicBezTo>
                    <a:cubicBezTo>
                      <a:pt x="150876" y="2679"/>
                      <a:pt x="159140" y="1881"/>
                      <a:pt x="166264" y="165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59" name="Freihandform: Form 653">
                <a:extLst>
                  <a:ext uri="{FF2B5EF4-FFF2-40B4-BE49-F238E27FC236}">
                    <a16:creationId xmlns:a16="http://schemas.microsoft.com/office/drawing/2014/main" id="{6DA95090-1B65-308F-821E-3BD0263D7F60}"/>
                  </a:ext>
                </a:extLst>
              </p:cNvPr>
              <p:cNvSpPr/>
              <p:nvPr/>
            </p:nvSpPr>
            <p:spPr>
              <a:xfrm>
                <a:off x="4037340" y="4398372"/>
                <a:ext cx="259326" cy="296428"/>
              </a:xfrm>
              <a:custGeom>
                <a:avLst/>
                <a:gdLst>
                  <a:gd name="connsiteX0" fmla="*/ 242228 w 259326"/>
                  <a:gd name="connsiteY0" fmla="*/ 113874 h 296428"/>
                  <a:gd name="connsiteX1" fmla="*/ 259326 w 259326"/>
                  <a:gd name="connsiteY1" fmla="*/ 123050 h 296428"/>
                  <a:gd name="connsiteX2" fmla="*/ 247585 w 259326"/>
                  <a:gd name="connsiteY2" fmla="*/ 123050 h 296428"/>
                  <a:gd name="connsiteX3" fmla="*/ 243025 w 259326"/>
                  <a:gd name="connsiteY3" fmla="*/ 124760 h 296428"/>
                  <a:gd name="connsiteX4" fmla="*/ 241772 w 259326"/>
                  <a:gd name="connsiteY4" fmla="*/ 129548 h 296428"/>
                  <a:gd name="connsiteX5" fmla="*/ 241430 w 259326"/>
                  <a:gd name="connsiteY5" fmla="*/ 153714 h 296428"/>
                  <a:gd name="connsiteX6" fmla="*/ 239948 w 259326"/>
                  <a:gd name="connsiteY6" fmla="*/ 161237 h 296428"/>
                  <a:gd name="connsiteX7" fmla="*/ 224844 w 259326"/>
                  <a:gd name="connsiteY7" fmla="*/ 165397 h 296428"/>
                  <a:gd name="connsiteX8" fmla="*/ 209626 w 259326"/>
                  <a:gd name="connsiteY8" fmla="*/ 165397 h 296428"/>
                  <a:gd name="connsiteX9" fmla="*/ 203072 w 259326"/>
                  <a:gd name="connsiteY9" fmla="*/ 167050 h 296428"/>
                  <a:gd name="connsiteX10" fmla="*/ 199709 w 259326"/>
                  <a:gd name="connsiteY10" fmla="*/ 176454 h 296428"/>
                  <a:gd name="connsiteX11" fmla="*/ 200108 w 259326"/>
                  <a:gd name="connsiteY11" fmla="*/ 242739 h 296428"/>
                  <a:gd name="connsiteX12" fmla="*/ 201704 w 259326"/>
                  <a:gd name="connsiteY12" fmla="*/ 251687 h 296428"/>
                  <a:gd name="connsiteX13" fmla="*/ 205637 w 259326"/>
                  <a:gd name="connsiteY13" fmla="*/ 257786 h 296428"/>
                  <a:gd name="connsiteX14" fmla="*/ 217663 w 259326"/>
                  <a:gd name="connsiteY14" fmla="*/ 273288 h 296428"/>
                  <a:gd name="connsiteX15" fmla="*/ 222507 w 259326"/>
                  <a:gd name="connsiteY15" fmla="*/ 282351 h 296428"/>
                  <a:gd name="connsiteX16" fmla="*/ 222222 w 259326"/>
                  <a:gd name="connsiteY16" fmla="*/ 287081 h 296428"/>
                  <a:gd name="connsiteX17" fmla="*/ 220968 w 259326"/>
                  <a:gd name="connsiteY17" fmla="*/ 287081 h 296428"/>
                  <a:gd name="connsiteX18" fmla="*/ 197715 w 259326"/>
                  <a:gd name="connsiteY18" fmla="*/ 296030 h 296428"/>
                  <a:gd name="connsiteX19" fmla="*/ 196575 w 259326"/>
                  <a:gd name="connsiteY19" fmla="*/ 296428 h 296428"/>
                  <a:gd name="connsiteX20" fmla="*/ 197031 w 259326"/>
                  <a:gd name="connsiteY20" fmla="*/ 294092 h 296428"/>
                  <a:gd name="connsiteX21" fmla="*/ 148300 w 259326"/>
                  <a:gd name="connsiteY21" fmla="*/ 291242 h 296428"/>
                  <a:gd name="connsiteX22" fmla="*/ 139067 w 259326"/>
                  <a:gd name="connsiteY22" fmla="*/ 288221 h 296428"/>
                  <a:gd name="connsiteX23" fmla="*/ 135818 w 259326"/>
                  <a:gd name="connsiteY23" fmla="*/ 283604 h 296428"/>
                  <a:gd name="connsiteX24" fmla="*/ 128865 w 259326"/>
                  <a:gd name="connsiteY24" fmla="*/ 282123 h 296428"/>
                  <a:gd name="connsiteX25" fmla="*/ 48388 w 259326"/>
                  <a:gd name="connsiteY25" fmla="*/ 278532 h 296428"/>
                  <a:gd name="connsiteX26" fmla="*/ 40295 w 259326"/>
                  <a:gd name="connsiteY26" fmla="*/ 276651 h 296428"/>
                  <a:gd name="connsiteX27" fmla="*/ 33684 w 259326"/>
                  <a:gd name="connsiteY27" fmla="*/ 272604 h 296428"/>
                  <a:gd name="connsiteX28" fmla="*/ 23938 w 259326"/>
                  <a:gd name="connsiteY28" fmla="*/ 270097 h 296428"/>
                  <a:gd name="connsiteX29" fmla="*/ 5243 w 259326"/>
                  <a:gd name="connsiteY29" fmla="*/ 267475 h 296428"/>
                  <a:gd name="connsiteX30" fmla="*/ 0 w 259326"/>
                  <a:gd name="connsiteY30" fmla="*/ 238009 h 296428"/>
                  <a:gd name="connsiteX31" fmla="*/ 14078 w 259326"/>
                  <a:gd name="connsiteY31" fmla="*/ 205408 h 296428"/>
                  <a:gd name="connsiteX32" fmla="*/ 12311 w 259326"/>
                  <a:gd name="connsiteY32" fmla="*/ 167050 h 296428"/>
                  <a:gd name="connsiteX33" fmla="*/ 34368 w 259326"/>
                  <a:gd name="connsiteY33" fmla="*/ 139636 h 296428"/>
                  <a:gd name="connsiteX34" fmla="*/ 24565 w 259326"/>
                  <a:gd name="connsiteY34" fmla="*/ 99740 h 296428"/>
                  <a:gd name="connsiteX35" fmla="*/ 18865 w 259326"/>
                  <a:gd name="connsiteY35" fmla="*/ 34196 h 296428"/>
                  <a:gd name="connsiteX36" fmla="*/ 9005 w 259326"/>
                  <a:gd name="connsiteY36" fmla="*/ 24791 h 296428"/>
                  <a:gd name="connsiteX37" fmla="*/ 6668 w 259326"/>
                  <a:gd name="connsiteY37" fmla="*/ 455 h 296428"/>
                  <a:gd name="connsiteX38" fmla="*/ 21145 w 259326"/>
                  <a:gd name="connsiteY38" fmla="*/ 455 h 296428"/>
                  <a:gd name="connsiteX39" fmla="*/ 83839 w 259326"/>
                  <a:gd name="connsiteY39" fmla="*/ 740 h 296428"/>
                  <a:gd name="connsiteX40" fmla="*/ 94155 w 259326"/>
                  <a:gd name="connsiteY40" fmla="*/ 6439 h 296428"/>
                  <a:gd name="connsiteX41" fmla="*/ 94155 w 259326"/>
                  <a:gd name="connsiteY41" fmla="*/ 20061 h 296428"/>
                  <a:gd name="connsiteX42" fmla="*/ 95580 w 259326"/>
                  <a:gd name="connsiteY42" fmla="*/ 23880 h 296428"/>
                  <a:gd name="connsiteX43" fmla="*/ 99171 w 259326"/>
                  <a:gd name="connsiteY43" fmla="*/ 25019 h 296428"/>
                  <a:gd name="connsiteX44" fmla="*/ 101850 w 259326"/>
                  <a:gd name="connsiteY44" fmla="*/ 38584 h 296428"/>
                  <a:gd name="connsiteX45" fmla="*/ 105497 w 259326"/>
                  <a:gd name="connsiteY45" fmla="*/ 40351 h 296428"/>
                  <a:gd name="connsiteX46" fmla="*/ 109259 w 259326"/>
                  <a:gd name="connsiteY46" fmla="*/ 49470 h 296428"/>
                  <a:gd name="connsiteX47" fmla="*/ 116440 w 259326"/>
                  <a:gd name="connsiteY47" fmla="*/ 53916 h 296428"/>
                  <a:gd name="connsiteX48" fmla="*/ 122824 w 259326"/>
                  <a:gd name="connsiteY48" fmla="*/ 45823 h 296428"/>
                  <a:gd name="connsiteX49" fmla="*/ 131772 w 259326"/>
                  <a:gd name="connsiteY49" fmla="*/ 48045 h 296428"/>
                  <a:gd name="connsiteX50" fmla="*/ 146248 w 259326"/>
                  <a:gd name="connsiteY50" fmla="*/ 38670 h 296428"/>
                  <a:gd name="connsiteX51" fmla="*/ 146362 w 259326"/>
                  <a:gd name="connsiteY51" fmla="*/ 38071 h 296428"/>
                  <a:gd name="connsiteX52" fmla="*/ 146989 w 259326"/>
                  <a:gd name="connsiteY52" fmla="*/ 34310 h 296428"/>
                  <a:gd name="connsiteX53" fmla="*/ 155653 w 259326"/>
                  <a:gd name="connsiteY53" fmla="*/ 31859 h 296428"/>
                  <a:gd name="connsiteX54" fmla="*/ 162937 w 259326"/>
                  <a:gd name="connsiteY54" fmla="*/ 23030 h 296428"/>
                  <a:gd name="connsiteX55" fmla="*/ 170528 w 259326"/>
                  <a:gd name="connsiteY55" fmla="*/ 26729 h 296428"/>
                  <a:gd name="connsiteX56" fmla="*/ 174233 w 259326"/>
                  <a:gd name="connsiteY56" fmla="*/ 32429 h 296428"/>
                  <a:gd name="connsiteX57" fmla="*/ 178451 w 259326"/>
                  <a:gd name="connsiteY57" fmla="*/ 32828 h 296428"/>
                  <a:gd name="connsiteX58" fmla="*/ 193953 w 259326"/>
                  <a:gd name="connsiteY58" fmla="*/ 31118 h 296428"/>
                  <a:gd name="connsiteX59" fmla="*/ 198170 w 259326"/>
                  <a:gd name="connsiteY59" fmla="*/ 51636 h 296428"/>
                  <a:gd name="connsiteX60" fmla="*/ 201191 w 259326"/>
                  <a:gd name="connsiteY60" fmla="*/ 56423 h 296428"/>
                  <a:gd name="connsiteX61" fmla="*/ 196005 w 259326"/>
                  <a:gd name="connsiteY61" fmla="*/ 65714 h 296428"/>
                  <a:gd name="connsiteX62" fmla="*/ 193668 w 259326"/>
                  <a:gd name="connsiteY62" fmla="*/ 67424 h 296428"/>
                  <a:gd name="connsiteX63" fmla="*/ 196062 w 259326"/>
                  <a:gd name="connsiteY63" fmla="*/ 71470 h 296428"/>
                  <a:gd name="connsiteX64" fmla="*/ 198627 w 259326"/>
                  <a:gd name="connsiteY64" fmla="*/ 86973 h 296428"/>
                  <a:gd name="connsiteX65" fmla="*/ 202274 w 259326"/>
                  <a:gd name="connsiteY65" fmla="*/ 89651 h 296428"/>
                  <a:gd name="connsiteX66" fmla="*/ 206435 w 259326"/>
                  <a:gd name="connsiteY66" fmla="*/ 98999 h 296428"/>
                  <a:gd name="connsiteX67" fmla="*/ 206435 w 259326"/>
                  <a:gd name="connsiteY67" fmla="*/ 125558 h 296428"/>
                  <a:gd name="connsiteX68" fmla="*/ 217726 w 259326"/>
                  <a:gd name="connsiteY68" fmla="*/ 117653 h 296428"/>
                  <a:gd name="connsiteX69" fmla="*/ 217834 w 259326"/>
                  <a:gd name="connsiteY69" fmla="*/ 116838 h 296428"/>
                  <a:gd name="connsiteX70" fmla="*/ 233165 w 259326"/>
                  <a:gd name="connsiteY70" fmla="*/ 117180 h 296428"/>
                  <a:gd name="connsiteX71" fmla="*/ 235445 w 259326"/>
                  <a:gd name="connsiteY71" fmla="*/ 114330 h 296428"/>
                  <a:gd name="connsiteX72" fmla="*/ 242228 w 259326"/>
                  <a:gd name="connsiteY72" fmla="*/ 113874 h 29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59326" h="296428">
                    <a:moveTo>
                      <a:pt x="242228" y="113874"/>
                    </a:moveTo>
                    <a:cubicBezTo>
                      <a:pt x="248360" y="116040"/>
                      <a:pt x="254128" y="119135"/>
                      <a:pt x="259326" y="123050"/>
                    </a:cubicBezTo>
                    <a:cubicBezTo>
                      <a:pt x="255433" y="122509"/>
                      <a:pt x="251478" y="122509"/>
                      <a:pt x="247585" y="123050"/>
                    </a:cubicBezTo>
                    <a:cubicBezTo>
                      <a:pt x="245909" y="123067"/>
                      <a:pt x="244296" y="123672"/>
                      <a:pt x="243025" y="124760"/>
                    </a:cubicBezTo>
                    <a:cubicBezTo>
                      <a:pt x="242056" y="126156"/>
                      <a:pt x="241612" y="127855"/>
                      <a:pt x="241772" y="129548"/>
                    </a:cubicBezTo>
                    <a:lnTo>
                      <a:pt x="241430" y="153714"/>
                    </a:lnTo>
                    <a:cubicBezTo>
                      <a:pt x="241612" y="156307"/>
                      <a:pt x="241099" y="158906"/>
                      <a:pt x="239948" y="161237"/>
                    </a:cubicBezTo>
                    <a:cubicBezTo>
                      <a:pt x="237041" y="165910"/>
                      <a:pt x="230316" y="165796"/>
                      <a:pt x="224844" y="165397"/>
                    </a:cubicBezTo>
                    <a:cubicBezTo>
                      <a:pt x="219777" y="165141"/>
                      <a:pt x="214694" y="165141"/>
                      <a:pt x="209626" y="165397"/>
                    </a:cubicBezTo>
                    <a:cubicBezTo>
                      <a:pt x="207329" y="165295"/>
                      <a:pt x="205050" y="165870"/>
                      <a:pt x="203072" y="167050"/>
                    </a:cubicBezTo>
                    <a:cubicBezTo>
                      <a:pt x="200639" y="169547"/>
                      <a:pt x="199413" y="172978"/>
                      <a:pt x="199709" y="176454"/>
                    </a:cubicBezTo>
                    <a:cubicBezTo>
                      <a:pt x="198587" y="198540"/>
                      <a:pt x="198724" y="220671"/>
                      <a:pt x="200108" y="242739"/>
                    </a:cubicBezTo>
                    <a:cubicBezTo>
                      <a:pt x="200177" y="245789"/>
                      <a:pt x="200713" y="248804"/>
                      <a:pt x="201704" y="251687"/>
                    </a:cubicBezTo>
                    <a:cubicBezTo>
                      <a:pt x="202764" y="253870"/>
                      <a:pt x="204087" y="255916"/>
                      <a:pt x="205637" y="257786"/>
                    </a:cubicBezTo>
                    <a:lnTo>
                      <a:pt x="217663" y="273288"/>
                    </a:lnTo>
                    <a:cubicBezTo>
                      <a:pt x="220034" y="275836"/>
                      <a:pt x="221704" y="278960"/>
                      <a:pt x="222507" y="282351"/>
                    </a:cubicBezTo>
                    <a:cubicBezTo>
                      <a:pt x="222644" y="283935"/>
                      <a:pt x="222547" y="285525"/>
                      <a:pt x="222222" y="287081"/>
                    </a:cubicBezTo>
                    <a:lnTo>
                      <a:pt x="220968" y="287081"/>
                    </a:lnTo>
                    <a:cubicBezTo>
                      <a:pt x="212590" y="287423"/>
                      <a:pt x="205466" y="292781"/>
                      <a:pt x="197715" y="296030"/>
                    </a:cubicBezTo>
                    <a:lnTo>
                      <a:pt x="196575" y="296428"/>
                    </a:lnTo>
                    <a:cubicBezTo>
                      <a:pt x="196809" y="295665"/>
                      <a:pt x="196962" y="294884"/>
                      <a:pt x="197031" y="294092"/>
                    </a:cubicBezTo>
                    <a:lnTo>
                      <a:pt x="148300" y="291242"/>
                    </a:lnTo>
                    <a:cubicBezTo>
                      <a:pt x="144943" y="291493"/>
                      <a:pt x="141626" y="290404"/>
                      <a:pt x="139067" y="288221"/>
                    </a:cubicBezTo>
                    <a:cubicBezTo>
                      <a:pt x="137813" y="286796"/>
                      <a:pt x="137243" y="284858"/>
                      <a:pt x="135818" y="283604"/>
                    </a:cubicBezTo>
                    <a:cubicBezTo>
                      <a:pt x="133749" y="282300"/>
                      <a:pt x="131287" y="281769"/>
                      <a:pt x="128865" y="282123"/>
                    </a:cubicBezTo>
                    <a:cubicBezTo>
                      <a:pt x="101986" y="282920"/>
                      <a:pt x="75090" y="281724"/>
                      <a:pt x="48388" y="278532"/>
                    </a:cubicBezTo>
                    <a:cubicBezTo>
                      <a:pt x="45607" y="278338"/>
                      <a:pt x="42877" y="277706"/>
                      <a:pt x="40295" y="276651"/>
                    </a:cubicBezTo>
                    <a:cubicBezTo>
                      <a:pt x="37958" y="275568"/>
                      <a:pt x="36021" y="273744"/>
                      <a:pt x="33684" y="272604"/>
                    </a:cubicBezTo>
                    <a:cubicBezTo>
                      <a:pt x="30612" y="271197"/>
                      <a:pt x="27312" y="270347"/>
                      <a:pt x="23938" y="270097"/>
                    </a:cubicBezTo>
                    <a:lnTo>
                      <a:pt x="5243" y="267475"/>
                    </a:lnTo>
                    <a:cubicBezTo>
                      <a:pt x="3477" y="257672"/>
                      <a:pt x="1767" y="247869"/>
                      <a:pt x="0" y="238009"/>
                    </a:cubicBezTo>
                    <a:cubicBezTo>
                      <a:pt x="12596" y="234760"/>
                      <a:pt x="16073" y="218289"/>
                      <a:pt x="14078" y="205408"/>
                    </a:cubicBezTo>
                    <a:cubicBezTo>
                      <a:pt x="12083" y="192527"/>
                      <a:pt x="7238" y="179019"/>
                      <a:pt x="12311" y="167050"/>
                    </a:cubicBezTo>
                    <a:cubicBezTo>
                      <a:pt x="16927" y="156164"/>
                      <a:pt x="28554" y="149952"/>
                      <a:pt x="34368" y="139636"/>
                    </a:cubicBezTo>
                    <a:cubicBezTo>
                      <a:pt x="41726" y="125780"/>
                      <a:pt x="37508" y="108608"/>
                      <a:pt x="24565" y="99740"/>
                    </a:cubicBezTo>
                    <a:cubicBezTo>
                      <a:pt x="5642" y="87600"/>
                      <a:pt x="34140" y="50895"/>
                      <a:pt x="18865" y="34196"/>
                    </a:cubicBezTo>
                    <a:cubicBezTo>
                      <a:pt x="15371" y="31283"/>
                      <a:pt x="12077" y="28143"/>
                      <a:pt x="9005" y="24791"/>
                    </a:cubicBezTo>
                    <a:cubicBezTo>
                      <a:pt x="4332" y="17895"/>
                      <a:pt x="6896" y="8890"/>
                      <a:pt x="6668" y="455"/>
                    </a:cubicBezTo>
                    <a:lnTo>
                      <a:pt x="21145" y="455"/>
                    </a:lnTo>
                    <a:lnTo>
                      <a:pt x="83839" y="740"/>
                    </a:lnTo>
                    <a:cubicBezTo>
                      <a:pt x="87715" y="-1654"/>
                      <a:pt x="92901" y="2165"/>
                      <a:pt x="94155" y="6439"/>
                    </a:cubicBezTo>
                    <a:cubicBezTo>
                      <a:pt x="94668" y="10965"/>
                      <a:pt x="94668" y="15536"/>
                      <a:pt x="94155" y="20061"/>
                    </a:cubicBezTo>
                    <a:cubicBezTo>
                      <a:pt x="94013" y="21486"/>
                      <a:pt x="94537" y="22899"/>
                      <a:pt x="95580" y="23880"/>
                    </a:cubicBezTo>
                    <a:cubicBezTo>
                      <a:pt x="96606" y="24563"/>
                      <a:pt x="98031" y="24449"/>
                      <a:pt x="99171" y="25019"/>
                    </a:cubicBezTo>
                    <a:cubicBezTo>
                      <a:pt x="103502" y="27299"/>
                      <a:pt x="98088" y="35393"/>
                      <a:pt x="101850" y="38584"/>
                    </a:cubicBezTo>
                    <a:cubicBezTo>
                      <a:pt x="102875" y="39496"/>
                      <a:pt x="104357" y="39610"/>
                      <a:pt x="105497" y="40351"/>
                    </a:cubicBezTo>
                    <a:cubicBezTo>
                      <a:pt x="108461" y="42061"/>
                      <a:pt x="108461" y="46051"/>
                      <a:pt x="109259" y="49470"/>
                    </a:cubicBezTo>
                    <a:cubicBezTo>
                      <a:pt x="110057" y="52890"/>
                      <a:pt x="113932" y="56252"/>
                      <a:pt x="116440" y="53916"/>
                    </a:cubicBezTo>
                    <a:cubicBezTo>
                      <a:pt x="117580" y="50496"/>
                      <a:pt x="119290" y="46621"/>
                      <a:pt x="122824" y="45823"/>
                    </a:cubicBezTo>
                    <a:cubicBezTo>
                      <a:pt x="126357" y="45025"/>
                      <a:pt x="128523" y="47190"/>
                      <a:pt x="131772" y="48045"/>
                    </a:cubicBezTo>
                    <a:cubicBezTo>
                      <a:pt x="138360" y="49453"/>
                      <a:pt x="144841" y="45258"/>
                      <a:pt x="146248" y="38670"/>
                    </a:cubicBezTo>
                    <a:cubicBezTo>
                      <a:pt x="146294" y="38470"/>
                      <a:pt x="146328" y="38271"/>
                      <a:pt x="146362" y="38071"/>
                    </a:cubicBezTo>
                    <a:cubicBezTo>
                      <a:pt x="146339" y="36789"/>
                      <a:pt x="146551" y="35512"/>
                      <a:pt x="146989" y="34310"/>
                    </a:cubicBezTo>
                    <a:cubicBezTo>
                      <a:pt x="148357" y="31403"/>
                      <a:pt x="152689" y="31403"/>
                      <a:pt x="155653" y="31859"/>
                    </a:cubicBezTo>
                    <a:cubicBezTo>
                      <a:pt x="155225" y="27408"/>
                      <a:pt x="158491" y="23458"/>
                      <a:pt x="162937" y="23030"/>
                    </a:cubicBezTo>
                    <a:cubicBezTo>
                      <a:pt x="165963" y="22740"/>
                      <a:pt x="168892" y="24170"/>
                      <a:pt x="170528" y="26729"/>
                    </a:cubicBezTo>
                    <a:cubicBezTo>
                      <a:pt x="171725" y="28667"/>
                      <a:pt x="172238" y="31175"/>
                      <a:pt x="174233" y="32429"/>
                    </a:cubicBezTo>
                    <a:cubicBezTo>
                      <a:pt x="175572" y="32964"/>
                      <a:pt x="177037" y="33101"/>
                      <a:pt x="178451" y="32828"/>
                    </a:cubicBezTo>
                    <a:lnTo>
                      <a:pt x="193953" y="31118"/>
                    </a:lnTo>
                    <a:cubicBezTo>
                      <a:pt x="192266" y="38242"/>
                      <a:pt x="193811" y="45754"/>
                      <a:pt x="198170" y="51636"/>
                    </a:cubicBezTo>
                    <a:cubicBezTo>
                      <a:pt x="199459" y="53038"/>
                      <a:pt x="200479" y="54657"/>
                      <a:pt x="201191" y="56423"/>
                    </a:cubicBezTo>
                    <a:cubicBezTo>
                      <a:pt x="202000" y="60379"/>
                      <a:pt x="199795" y="64329"/>
                      <a:pt x="196005" y="65714"/>
                    </a:cubicBezTo>
                    <a:cubicBezTo>
                      <a:pt x="195093" y="66113"/>
                      <a:pt x="194010" y="66512"/>
                      <a:pt x="193668" y="67424"/>
                    </a:cubicBezTo>
                    <a:cubicBezTo>
                      <a:pt x="193326" y="68336"/>
                      <a:pt x="194979" y="70216"/>
                      <a:pt x="196062" y="71470"/>
                    </a:cubicBezTo>
                    <a:cubicBezTo>
                      <a:pt x="199595" y="75574"/>
                      <a:pt x="195036" y="82869"/>
                      <a:pt x="198627" y="86973"/>
                    </a:cubicBezTo>
                    <a:cubicBezTo>
                      <a:pt x="199766" y="87964"/>
                      <a:pt x="200986" y="88859"/>
                      <a:pt x="202274" y="89651"/>
                    </a:cubicBezTo>
                    <a:cubicBezTo>
                      <a:pt x="204782" y="92136"/>
                      <a:pt x="206270" y="95471"/>
                      <a:pt x="206435" y="98999"/>
                    </a:cubicBezTo>
                    <a:cubicBezTo>
                      <a:pt x="207860" y="107793"/>
                      <a:pt x="207860" y="116764"/>
                      <a:pt x="206435" y="125558"/>
                    </a:cubicBezTo>
                    <a:cubicBezTo>
                      <a:pt x="211735" y="126493"/>
                      <a:pt x="216791" y="122954"/>
                      <a:pt x="217726" y="117653"/>
                    </a:cubicBezTo>
                    <a:cubicBezTo>
                      <a:pt x="217771" y="117379"/>
                      <a:pt x="217811" y="117112"/>
                      <a:pt x="217834" y="116838"/>
                    </a:cubicBezTo>
                    <a:cubicBezTo>
                      <a:pt x="222450" y="114102"/>
                      <a:pt x="229233" y="120884"/>
                      <a:pt x="233165" y="117180"/>
                    </a:cubicBezTo>
                    <a:cubicBezTo>
                      <a:pt x="234077" y="116382"/>
                      <a:pt x="234533" y="115128"/>
                      <a:pt x="235445" y="114330"/>
                    </a:cubicBezTo>
                    <a:cubicBezTo>
                      <a:pt x="237451" y="112940"/>
                      <a:pt x="240056" y="112763"/>
                      <a:pt x="242228" y="1138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0" name="Freihandform: Form 654">
                <a:extLst>
                  <a:ext uri="{FF2B5EF4-FFF2-40B4-BE49-F238E27FC236}">
                    <a16:creationId xmlns:a16="http://schemas.microsoft.com/office/drawing/2014/main" id="{8740740F-14AC-3B7D-ED08-7C6AC8F36425}"/>
                  </a:ext>
                </a:extLst>
              </p:cNvPr>
              <p:cNvSpPr/>
              <p:nvPr/>
            </p:nvSpPr>
            <p:spPr>
              <a:xfrm>
                <a:off x="4035459" y="4128320"/>
                <a:ext cx="401789" cy="448577"/>
              </a:xfrm>
              <a:custGeom>
                <a:avLst/>
                <a:gdLst>
                  <a:gd name="connsiteX0" fmla="*/ 351943 w 401789"/>
                  <a:gd name="connsiteY0" fmla="*/ 195045 h 448577"/>
                  <a:gd name="connsiteX1" fmla="*/ 355191 w 401789"/>
                  <a:gd name="connsiteY1" fmla="*/ 205019 h 448577"/>
                  <a:gd name="connsiteX2" fmla="*/ 353880 w 401789"/>
                  <a:gd name="connsiteY2" fmla="*/ 205019 h 448577"/>
                  <a:gd name="connsiteX3" fmla="*/ 353880 w 401789"/>
                  <a:gd name="connsiteY3" fmla="*/ 214993 h 448577"/>
                  <a:gd name="connsiteX4" fmla="*/ 349378 w 401789"/>
                  <a:gd name="connsiteY4" fmla="*/ 224341 h 448577"/>
                  <a:gd name="connsiteX5" fmla="*/ 348808 w 401789"/>
                  <a:gd name="connsiteY5" fmla="*/ 234771 h 448577"/>
                  <a:gd name="connsiteX6" fmla="*/ 353539 w 401789"/>
                  <a:gd name="connsiteY6" fmla="*/ 252667 h 448577"/>
                  <a:gd name="connsiteX7" fmla="*/ 353539 w 401789"/>
                  <a:gd name="connsiteY7" fmla="*/ 275465 h 448577"/>
                  <a:gd name="connsiteX8" fmla="*/ 354393 w 401789"/>
                  <a:gd name="connsiteY8" fmla="*/ 278600 h 448577"/>
                  <a:gd name="connsiteX9" fmla="*/ 358041 w 401789"/>
                  <a:gd name="connsiteY9" fmla="*/ 280139 h 448577"/>
                  <a:gd name="connsiteX10" fmla="*/ 360834 w 401789"/>
                  <a:gd name="connsiteY10" fmla="*/ 291025 h 448577"/>
                  <a:gd name="connsiteX11" fmla="*/ 369497 w 401789"/>
                  <a:gd name="connsiteY11" fmla="*/ 296325 h 448577"/>
                  <a:gd name="connsiteX12" fmla="*/ 368015 w 401789"/>
                  <a:gd name="connsiteY12" fmla="*/ 303449 h 448577"/>
                  <a:gd name="connsiteX13" fmla="*/ 376735 w 401789"/>
                  <a:gd name="connsiteY13" fmla="*/ 307553 h 448577"/>
                  <a:gd name="connsiteX14" fmla="*/ 377191 w 401789"/>
                  <a:gd name="connsiteY14" fmla="*/ 321631 h 448577"/>
                  <a:gd name="connsiteX15" fmla="*/ 378730 w 401789"/>
                  <a:gd name="connsiteY15" fmla="*/ 322657 h 448577"/>
                  <a:gd name="connsiteX16" fmla="*/ 367787 w 401789"/>
                  <a:gd name="connsiteY16" fmla="*/ 324309 h 448577"/>
                  <a:gd name="connsiteX17" fmla="*/ 348694 w 401789"/>
                  <a:gd name="connsiteY17" fmla="*/ 331434 h 448577"/>
                  <a:gd name="connsiteX18" fmla="*/ 340715 w 401789"/>
                  <a:gd name="connsiteY18" fmla="*/ 346936 h 448577"/>
                  <a:gd name="connsiteX19" fmla="*/ 346414 w 401789"/>
                  <a:gd name="connsiteY19" fmla="*/ 361698 h 448577"/>
                  <a:gd name="connsiteX20" fmla="*/ 346414 w 401789"/>
                  <a:gd name="connsiteY20" fmla="*/ 367853 h 448577"/>
                  <a:gd name="connsiteX21" fmla="*/ 342367 w 401789"/>
                  <a:gd name="connsiteY21" fmla="*/ 394299 h 448577"/>
                  <a:gd name="connsiteX22" fmla="*/ 343108 w 401789"/>
                  <a:gd name="connsiteY22" fmla="*/ 407465 h 448577"/>
                  <a:gd name="connsiteX23" fmla="*/ 370181 w 401789"/>
                  <a:gd name="connsiteY23" fmla="*/ 423081 h 448577"/>
                  <a:gd name="connsiteX24" fmla="*/ 370523 w 401789"/>
                  <a:gd name="connsiteY24" fmla="*/ 442346 h 448577"/>
                  <a:gd name="connsiteX25" fmla="*/ 367559 w 401789"/>
                  <a:gd name="connsiteY25" fmla="*/ 446050 h 448577"/>
                  <a:gd name="connsiteX26" fmla="*/ 349697 w 401789"/>
                  <a:gd name="connsiteY26" fmla="*/ 443434 h 448577"/>
                  <a:gd name="connsiteX27" fmla="*/ 347554 w 401789"/>
                  <a:gd name="connsiteY27" fmla="*/ 438926 h 448577"/>
                  <a:gd name="connsiteX28" fmla="*/ 345616 w 401789"/>
                  <a:gd name="connsiteY28" fmla="*/ 433226 h 448577"/>
                  <a:gd name="connsiteX29" fmla="*/ 341342 w 401789"/>
                  <a:gd name="connsiteY29" fmla="*/ 431174 h 448577"/>
                  <a:gd name="connsiteX30" fmla="*/ 339974 w 401789"/>
                  <a:gd name="connsiteY30" fmla="*/ 427641 h 448577"/>
                  <a:gd name="connsiteX31" fmla="*/ 326523 w 401789"/>
                  <a:gd name="connsiteY31" fmla="*/ 418408 h 448577"/>
                  <a:gd name="connsiteX32" fmla="*/ 313756 w 401789"/>
                  <a:gd name="connsiteY32" fmla="*/ 407009 h 448577"/>
                  <a:gd name="connsiteX33" fmla="*/ 303041 w 401789"/>
                  <a:gd name="connsiteY33" fmla="*/ 412708 h 448577"/>
                  <a:gd name="connsiteX34" fmla="*/ 272948 w 401789"/>
                  <a:gd name="connsiteY34" fmla="*/ 401879 h 448577"/>
                  <a:gd name="connsiteX35" fmla="*/ 263259 w 401789"/>
                  <a:gd name="connsiteY35" fmla="*/ 393558 h 448577"/>
                  <a:gd name="connsiteX36" fmla="*/ 261720 w 401789"/>
                  <a:gd name="connsiteY36" fmla="*/ 393558 h 448577"/>
                  <a:gd name="connsiteX37" fmla="*/ 244621 w 401789"/>
                  <a:gd name="connsiteY37" fmla="*/ 384382 h 448577"/>
                  <a:gd name="connsiteX38" fmla="*/ 238409 w 401789"/>
                  <a:gd name="connsiteY38" fmla="*/ 384382 h 448577"/>
                  <a:gd name="connsiteX39" fmla="*/ 236129 w 401789"/>
                  <a:gd name="connsiteY39" fmla="*/ 387232 h 448577"/>
                  <a:gd name="connsiteX40" fmla="*/ 220798 w 401789"/>
                  <a:gd name="connsiteY40" fmla="*/ 386890 h 448577"/>
                  <a:gd name="connsiteX41" fmla="*/ 210214 w 401789"/>
                  <a:gd name="connsiteY41" fmla="*/ 395718 h 448577"/>
                  <a:gd name="connsiteX42" fmla="*/ 209399 w 401789"/>
                  <a:gd name="connsiteY42" fmla="*/ 395610 h 448577"/>
                  <a:gd name="connsiteX43" fmla="*/ 209399 w 401789"/>
                  <a:gd name="connsiteY43" fmla="*/ 369050 h 448577"/>
                  <a:gd name="connsiteX44" fmla="*/ 205238 w 401789"/>
                  <a:gd name="connsiteY44" fmla="*/ 359703 h 448577"/>
                  <a:gd name="connsiteX45" fmla="*/ 201590 w 401789"/>
                  <a:gd name="connsiteY45" fmla="*/ 357024 h 448577"/>
                  <a:gd name="connsiteX46" fmla="*/ 199026 w 401789"/>
                  <a:gd name="connsiteY46" fmla="*/ 341522 h 448577"/>
                  <a:gd name="connsiteX47" fmla="*/ 196632 w 401789"/>
                  <a:gd name="connsiteY47" fmla="*/ 337475 h 448577"/>
                  <a:gd name="connsiteX48" fmla="*/ 198968 w 401789"/>
                  <a:gd name="connsiteY48" fmla="*/ 335765 h 448577"/>
                  <a:gd name="connsiteX49" fmla="*/ 204155 w 401789"/>
                  <a:gd name="connsiteY49" fmla="*/ 326475 h 448577"/>
                  <a:gd name="connsiteX50" fmla="*/ 201134 w 401789"/>
                  <a:gd name="connsiteY50" fmla="*/ 321688 h 448577"/>
                  <a:gd name="connsiteX51" fmla="*/ 196917 w 401789"/>
                  <a:gd name="connsiteY51" fmla="*/ 301170 h 448577"/>
                  <a:gd name="connsiteX52" fmla="*/ 181414 w 401789"/>
                  <a:gd name="connsiteY52" fmla="*/ 302879 h 448577"/>
                  <a:gd name="connsiteX53" fmla="*/ 177197 w 401789"/>
                  <a:gd name="connsiteY53" fmla="*/ 302480 h 448577"/>
                  <a:gd name="connsiteX54" fmla="*/ 173492 w 401789"/>
                  <a:gd name="connsiteY54" fmla="*/ 296781 h 448577"/>
                  <a:gd name="connsiteX55" fmla="*/ 162315 w 401789"/>
                  <a:gd name="connsiteY55" fmla="*/ 294319 h 448577"/>
                  <a:gd name="connsiteX56" fmla="*/ 158616 w 401789"/>
                  <a:gd name="connsiteY56" fmla="*/ 301910 h 448577"/>
                  <a:gd name="connsiteX57" fmla="*/ 149953 w 401789"/>
                  <a:gd name="connsiteY57" fmla="*/ 304361 h 448577"/>
                  <a:gd name="connsiteX58" fmla="*/ 149326 w 401789"/>
                  <a:gd name="connsiteY58" fmla="*/ 308123 h 448577"/>
                  <a:gd name="connsiteX59" fmla="*/ 135334 w 401789"/>
                  <a:gd name="connsiteY59" fmla="*/ 318211 h 448577"/>
                  <a:gd name="connsiteX60" fmla="*/ 134736 w 401789"/>
                  <a:gd name="connsiteY60" fmla="*/ 318097 h 448577"/>
                  <a:gd name="connsiteX61" fmla="*/ 125787 w 401789"/>
                  <a:gd name="connsiteY61" fmla="*/ 315874 h 448577"/>
                  <a:gd name="connsiteX62" fmla="*/ 119404 w 401789"/>
                  <a:gd name="connsiteY62" fmla="*/ 323968 h 448577"/>
                  <a:gd name="connsiteX63" fmla="*/ 112223 w 401789"/>
                  <a:gd name="connsiteY63" fmla="*/ 319522 h 448577"/>
                  <a:gd name="connsiteX64" fmla="*/ 108461 w 401789"/>
                  <a:gd name="connsiteY64" fmla="*/ 310403 h 448577"/>
                  <a:gd name="connsiteX65" fmla="*/ 104813 w 401789"/>
                  <a:gd name="connsiteY65" fmla="*/ 308636 h 448577"/>
                  <a:gd name="connsiteX66" fmla="*/ 102134 w 401789"/>
                  <a:gd name="connsiteY66" fmla="*/ 295071 h 448577"/>
                  <a:gd name="connsiteX67" fmla="*/ 98544 w 401789"/>
                  <a:gd name="connsiteY67" fmla="*/ 293931 h 448577"/>
                  <a:gd name="connsiteX68" fmla="*/ 97119 w 401789"/>
                  <a:gd name="connsiteY68" fmla="*/ 290113 h 448577"/>
                  <a:gd name="connsiteX69" fmla="*/ 97119 w 401789"/>
                  <a:gd name="connsiteY69" fmla="*/ 276491 h 448577"/>
                  <a:gd name="connsiteX70" fmla="*/ 86803 w 401789"/>
                  <a:gd name="connsiteY70" fmla="*/ 270791 h 448577"/>
                  <a:gd name="connsiteX71" fmla="*/ 24109 w 401789"/>
                  <a:gd name="connsiteY71" fmla="*/ 270506 h 448577"/>
                  <a:gd name="connsiteX72" fmla="*/ 9632 w 401789"/>
                  <a:gd name="connsiteY72" fmla="*/ 270506 h 448577"/>
                  <a:gd name="connsiteX73" fmla="*/ 9233 w 401789"/>
                  <a:gd name="connsiteY73" fmla="*/ 266175 h 448577"/>
                  <a:gd name="connsiteX74" fmla="*/ 0 w 401789"/>
                  <a:gd name="connsiteY74" fmla="*/ 247993 h 448577"/>
                  <a:gd name="connsiteX75" fmla="*/ 13223 w 401789"/>
                  <a:gd name="connsiteY75" fmla="*/ 240926 h 448577"/>
                  <a:gd name="connsiteX76" fmla="*/ 23653 w 401789"/>
                  <a:gd name="connsiteY76" fmla="*/ 236880 h 448577"/>
                  <a:gd name="connsiteX77" fmla="*/ 40751 w 401789"/>
                  <a:gd name="connsiteY77" fmla="*/ 234942 h 448577"/>
                  <a:gd name="connsiteX78" fmla="*/ 46451 w 401789"/>
                  <a:gd name="connsiteY78" fmla="*/ 231009 h 448577"/>
                  <a:gd name="connsiteX79" fmla="*/ 54202 w 401789"/>
                  <a:gd name="connsiteY79" fmla="*/ 241154 h 448577"/>
                  <a:gd name="connsiteX80" fmla="*/ 65031 w 401789"/>
                  <a:gd name="connsiteY80" fmla="*/ 237506 h 448577"/>
                  <a:gd name="connsiteX81" fmla="*/ 74777 w 401789"/>
                  <a:gd name="connsiteY81" fmla="*/ 230154 h 448577"/>
                  <a:gd name="connsiteX82" fmla="*/ 81787 w 401789"/>
                  <a:gd name="connsiteY82" fmla="*/ 213455 h 448577"/>
                  <a:gd name="connsiteX83" fmla="*/ 84352 w 401789"/>
                  <a:gd name="connsiteY83" fmla="*/ 176066 h 448577"/>
                  <a:gd name="connsiteX84" fmla="*/ 97461 w 401789"/>
                  <a:gd name="connsiteY84" fmla="*/ 146600 h 448577"/>
                  <a:gd name="connsiteX85" fmla="*/ 109487 w 401789"/>
                  <a:gd name="connsiteY85" fmla="*/ 124942 h 448577"/>
                  <a:gd name="connsiteX86" fmla="*/ 121627 w 401789"/>
                  <a:gd name="connsiteY86" fmla="*/ 92512 h 448577"/>
                  <a:gd name="connsiteX87" fmla="*/ 130746 w 401789"/>
                  <a:gd name="connsiteY87" fmla="*/ 64755 h 448577"/>
                  <a:gd name="connsiteX88" fmla="*/ 133596 w 401789"/>
                  <a:gd name="connsiteY88" fmla="*/ 52729 h 448577"/>
                  <a:gd name="connsiteX89" fmla="*/ 132057 w 401789"/>
                  <a:gd name="connsiteY89" fmla="*/ 27823 h 448577"/>
                  <a:gd name="connsiteX90" fmla="*/ 150922 w 401789"/>
                  <a:gd name="connsiteY90" fmla="*/ 9585 h 448577"/>
                  <a:gd name="connsiteX91" fmla="*/ 155596 w 401789"/>
                  <a:gd name="connsiteY91" fmla="*/ 8046 h 448577"/>
                  <a:gd name="connsiteX92" fmla="*/ 159927 w 401789"/>
                  <a:gd name="connsiteY92" fmla="*/ 9756 h 448577"/>
                  <a:gd name="connsiteX93" fmla="*/ 205067 w 401789"/>
                  <a:gd name="connsiteY93" fmla="*/ 28279 h 448577"/>
                  <a:gd name="connsiteX94" fmla="*/ 208829 w 401789"/>
                  <a:gd name="connsiteY94" fmla="*/ 28279 h 448577"/>
                  <a:gd name="connsiteX95" fmla="*/ 211165 w 401789"/>
                  <a:gd name="connsiteY95" fmla="*/ 24517 h 448577"/>
                  <a:gd name="connsiteX96" fmla="*/ 229404 w 401789"/>
                  <a:gd name="connsiteY96" fmla="*/ 13745 h 448577"/>
                  <a:gd name="connsiteX97" fmla="*/ 287082 w 401789"/>
                  <a:gd name="connsiteY97" fmla="*/ 921 h 448577"/>
                  <a:gd name="connsiteX98" fmla="*/ 294378 w 401789"/>
                  <a:gd name="connsiteY98" fmla="*/ 9 h 448577"/>
                  <a:gd name="connsiteX99" fmla="*/ 304637 w 401789"/>
                  <a:gd name="connsiteY99" fmla="*/ 2916 h 448577"/>
                  <a:gd name="connsiteX100" fmla="*/ 315352 w 401789"/>
                  <a:gd name="connsiteY100" fmla="*/ 4911 h 448577"/>
                  <a:gd name="connsiteX101" fmla="*/ 338150 w 401789"/>
                  <a:gd name="connsiteY101" fmla="*/ 19616 h 448577"/>
                  <a:gd name="connsiteX102" fmla="*/ 376507 w 401789"/>
                  <a:gd name="connsiteY102" fmla="*/ 20698 h 448577"/>
                  <a:gd name="connsiteX103" fmla="*/ 385113 w 401789"/>
                  <a:gd name="connsiteY103" fmla="*/ 27766 h 448577"/>
                  <a:gd name="connsiteX104" fmla="*/ 395031 w 401789"/>
                  <a:gd name="connsiteY104" fmla="*/ 36315 h 448577"/>
                  <a:gd name="connsiteX105" fmla="*/ 396170 w 401789"/>
                  <a:gd name="connsiteY105" fmla="*/ 48341 h 448577"/>
                  <a:gd name="connsiteX106" fmla="*/ 391098 w 401789"/>
                  <a:gd name="connsiteY106" fmla="*/ 53527 h 448577"/>
                  <a:gd name="connsiteX107" fmla="*/ 401585 w 401789"/>
                  <a:gd name="connsiteY107" fmla="*/ 75584 h 448577"/>
                  <a:gd name="connsiteX108" fmla="*/ 396285 w 401789"/>
                  <a:gd name="connsiteY108" fmla="*/ 81626 h 448577"/>
                  <a:gd name="connsiteX109" fmla="*/ 366305 w 401789"/>
                  <a:gd name="connsiteY109" fmla="*/ 150019 h 448577"/>
                  <a:gd name="connsiteX110" fmla="*/ 364424 w 401789"/>
                  <a:gd name="connsiteY110" fmla="*/ 160621 h 448577"/>
                  <a:gd name="connsiteX111" fmla="*/ 360834 w 401789"/>
                  <a:gd name="connsiteY111" fmla="*/ 164439 h 448577"/>
                  <a:gd name="connsiteX112" fmla="*/ 359751 w 401789"/>
                  <a:gd name="connsiteY112" fmla="*/ 168486 h 448577"/>
                  <a:gd name="connsiteX113" fmla="*/ 353652 w 401789"/>
                  <a:gd name="connsiteY113" fmla="*/ 173216 h 448577"/>
                  <a:gd name="connsiteX114" fmla="*/ 352170 w 401789"/>
                  <a:gd name="connsiteY114" fmla="*/ 183133 h 448577"/>
                  <a:gd name="connsiteX115" fmla="*/ 351429 w 401789"/>
                  <a:gd name="connsiteY115" fmla="*/ 190486 h 448577"/>
                  <a:gd name="connsiteX116" fmla="*/ 351943 w 401789"/>
                  <a:gd name="connsiteY116" fmla="*/ 195045 h 44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01789" h="448577">
                    <a:moveTo>
                      <a:pt x="351943" y="195045"/>
                    </a:moveTo>
                    <a:cubicBezTo>
                      <a:pt x="353196" y="198294"/>
                      <a:pt x="354222" y="201657"/>
                      <a:pt x="355191" y="205019"/>
                    </a:cubicBezTo>
                    <a:cubicBezTo>
                      <a:pt x="354758" y="204962"/>
                      <a:pt x="354314" y="204962"/>
                      <a:pt x="353880" y="205019"/>
                    </a:cubicBezTo>
                    <a:cubicBezTo>
                      <a:pt x="355533" y="208137"/>
                      <a:pt x="355533" y="211876"/>
                      <a:pt x="353880" y="214993"/>
                    </a:cubicBezTo>
                    <a:cubicBezTo>
                      <a:pt x="352210" y="218026"/>
                      <a:pt x="350706" y="221143"/>
                      <a:pt x="349378" y="224341"/>
                    </a:cubicBezTo>
                    <a:cubicBezTo>
                      <a:pt x="348477" y="227743"/>
                      <a:pt x="348283" y="231294"/>
                      <a:pt x="348808" y="234771"/>
                    </a:cubicBezTo>
                    <a:cubicBezTo>
                      <a:pt x="349492" y="240937"/>
                      <a:pt x="351087" y="246968"/>
                      <a:pt x="353539" y="252667"/>
                    </a:cubicBezTo>
                    <a:cubicBezTo>
                      <a:pt x="356502" y="259449"/>
                      <a:pt x="353539" y="268227"/>
                      <a:pt x="353539" y="275465"/>
                    </a:cubicBezTo>
                    <a:cubicBezTo>
                      <a:pt x="353459" y="276576"/>
                      <a:pt x="353760" y="277682"/>
                      <a:pt x="354393" y="278600"/>
                    </a:cubicBezTo>
                    <a:cubicBezTo>
                      <a:pt x="355305" y="279569"/>
                      <a:pt x="356787" y="279626"/>
                      <a:pt x="358041" y="280139"/>
                    </a:cubicBezTo>
                    <a:cubicBezTo>
                      <a:pt x="361745" y="281791"/>
                      <a:pt x="361575" y="287035"/>
                      <a:pt x="360834" y="291025"/>
                    </a:cubicBezTo>
                    <a:cubicBezTo>
                      <a:pt x="364595" y="291025"/>
                      <a:pt x="369440" y="292563"/>
                      <a:pt x="369497" y="296325"/>
                    </a:cubicBezTo>
                    <a:cubicBezTo>
                      <a:pt x="369497" y="298776"/>
                      <a:pt x="367103" y="301170"/>
                      <a:pt x="368015" y="303449"/>
                    </a:cubicBezTo>
                    <a:cubicBezTo>
                      <a:pt x="369269" y="306584"/>
                      <a:pt x="374455" y="305159"/>
                      <a:pt x="376735" y="307553"/>
                    </a:cubicBezTo>
                    <a:cubicBezTo>
                      <a:pt x="380212" y="311144"/>
                      <a:pt x="373829" y="318040"/>
                      <a:pt x="377191" y="321631"/>
                    </a:cubicBezTo>
                    <a:cubicBezTo>
                      <a:pt x="377613" y="322092"/>
                      <a:pt x="378143" y="322446"/>
                      <a:pt x="378730" y="322657"/>
                    </a:cubicBezTo>
                    <a:cubicBezTo>
                      <a:pt x="375179" y="323717"/>
                      <a:pt x="371492" y="324275"/>
                      <a:pt x="367787" y="324309"/>
                    </a:cubicBezTo>
                    <a:cubicBezTo>
                      <a:pt x="360663" y="324309"/>
                      <a:pt x="352399" y="325335"/>
                      <a:pt x="348694" y="331434"/>
                    </a:cubicBezTo>
                    <a:cubicBezTo>
                      <a:pt x="345616" y="336563"/>
                      <a:pt x="346357" y="344827"/>
                      <a:pt x="340715" y="346936"/>
                    </a:cubicBezTo>
                    <a:cubicBezTo>
                      <a:pt x="337808" y="351610"/>
                      <a:pt x="344761" y="356340"/>
                      <a:pt x="346414" y="361698"/>
                    </a:cubicBezTo>
                    <a:cubicBezTo>
                      <a:pt x="346841" y="363727"/>
                      <a:pt x="346841" y="365824"/>
                      <a:pt x="346414" y="367853"/>
                    </a:cubicBezTo>
                    <a:cubicBezTo>
                      <a:pt x="345046" y="376687"/>
                      <a:pt x="343735" y="385522"/>
                      <a:pt x="342367" y="394299"/>
                    </a:cubicBezTo>
                    <a:cubicBezTo>
                      <a:pt x="341233" y="398659"/>
                      <a:pt x="341490" y="403264"/>
                      <a:pt x="343108" y="407465"/>
                    </a:cubicBezTo>
                    <a:cubicBezTo>
                      <a:pt x="347953" y="416983"/>
                      <a:pt x="363284" y="414988"/>
                      <a:pt x="370181" y="423081"/>
                    </a:cubicBezTo>
                    <a:cubicBezTo>
                      <a:pt x="374245" y="428821"/>
                      <a:pt x="374381" y="436464"/>
                      <a:pt x="370523" y="442346"/>
                    </a:cubicBezTo>
                    <a:cubicBezTo>
                      <a:pt x="369730" y="443725"/>
                      <a:pt x="368733" y="444973"/>
                      <a:pt x="367559" y="446050"/>
                    </a:cubicBezTo>
                    <a:cubicBezTo>
                      <a:pt x="361905" y="450262"/>
                      <a:pt x="353903" y="449088"/>
                      <a:pt x="349697" y="443434"/>
                    </a:cubicBezTo>
                    <a:cubicBezTo>
                      <a:pt x="348694" y="442089"/>
                      <a:pt x="347964" y="440556"/>
                      <a:pt x="347554" y="438926"/>
                    </a:cubicBezTo>
                    <a:cubicBezTo>
                      <a:pt x="347212" y="436874"/>
                      <a:pt x="347554" y="434423"/>
                      <a:pt x="345616" y="433226"/>
                    </a:cubicBezTo>
                    <a:cubicBezTo>
                      <a:pt x="343678" y="432029"/>
                      <a:pt x="342424" y="432314"/>
                      <a:pt x="341342" y="431174"/>
                    </a:cubicBezTo>
                    <a:cubicBezTo>
                      <a:pt x="340652" y="430103"/>
                      <a:pt x="340190" y="428900"/>
                      <a:pt x="339974" y="427641"/>
                    </a:cubicBezTo>
                    <a:cubicBezTo>
                      <a:pt x="338207" y="422340"/>
                      <a:pt x="330854" y="421941"/>
                      <a:pt x="326523" y="418408"/>
                    </a:cubicBezTo>
                    <a:cubicBezTo>
                      <a:pt x="322191" y="414874"/>
                      <a:pt x="319627" y="407009"/>
                      <a:pt x="313756" y="407009"/>
                    </a:cubicBezTo>
                    <a:cubicBezTo>
                      <a:pt x="309710" y="407009"/>
                      <a:pt x="306860" y="411055"/>
                      <a:pt x="303041" y="412708"/>
                    </a:cubicBezTo>
                    <a:cubicBezTo>
                      <a:pt x="292611" y="416470"/>
                      <a:pt x="283777" y="399599"/>
                      <a:pt x="272948" y="401879"/>
                    </a:cubicBezTo>
                    <a:cubicBezTo>
                      <a:pt x="271409" y="397593"/>
                      <a:pt x="267727" y="394436"/>
                      <a:pt x="263259" y="393558"/>
                    </a:cubicBezTo>
                    <a:lnTo>
                      <a:pt x="261720" y="393558"/>
                    </a:lnTo>
                    <a:cubicBezTo>
                      <a:pt x="256522" y="389642"/>
                      <a:pt x="250754" y="386548"/>
                      <a:pt x="244621" y="384382"/>
                    </a:cubicBezTo>
                    <a:cubicBezTo>
                      <a:pt x="242678" y="383350"/>
                      <a:pt x="240353" y="383350"/>
                      <a:pt x="238409" y="384382"/>
                    </a:cubicBezTo>
                    <a:cubicBezTo>
                      <a:pt x="237497" y="385180"/>
                      <a:pt x="237041" y="386434"/>
                      <a:pt x="236129" y="387232"/>
                    </a:cubicBezTo>
                    <a:cubicBezTo>
                      <a:pt x="232254" y="390936"/>
                      <a:pt x="225414" y="384154"/>
                      <a:pt x="220798" y="386890"/>
                    </a:cubicBezTo>
                    <a:cubicBezTo>
                      <a:pt x="220313" y="392253"/>
                      <a:pt x="215571" y="396203"/>
                      <a:pt x="210214" y="395718"/>
                    </a:cubicBezTo>
                    <a:cubicBezTo>
                      <a:pt x="209940" y="395695"/>
                      <a:pt x="209666" y="395655"/>
                      <a:pt x="209399" y="395610"/>
                    </a:cubicBezTo>
                    <a:cubicBezTo>
                      <a:pt x="210823" y="386816"/>
                      <a:pt x="210823" y="377844"/>
                      <a:pt x="209399" y="369050"/>
                    </a:cubicBezTo>
                    <a:cubicBezTo>
                      <a:pt x="209233" y="365522"/>
                      <a:pt x="207746" y="362188"/>
                      <a:pt x="205238" y="359703"/>
                    </a:cubicBezTo>
                    <a:cubicBezTo>
                      <a:pt x="203950" y="358911"/>
                      <a:pt x="202730" y="358016"/>
                      <a:pt x="201590" y="357024"/>
                    </a:cubicBezTo>
                    <a:cubicBezTo>
                      <a:pt x="198000" y="352978"/>
                      <a:pt x="202559" y="345625"/>
                      <a:pt x="199026" y="341522"/>
                    </a:cubicBezTo>
                    <a:cubicBezTo>
                      <a:pt x="197943" y="340268"/>
                      <a:pt x="196062" y="339014"/>
                      <a:pt x="196632" y="337475"/>
                    </a:cubicBezTo>
                    <a:cubicBezTo>
                      <a:pt x="197202" y="335936"/>
                      <a:pt x="198057" y="336164"/>
                      <a:pt x="198968" y="335765"/>
                    </a:cubicBezTo>
                    <a:cubicBezTo>
                      <a:pt x="202759" y="334380"/>
                      <a:pt x="204964" y="330431"/>
                      <a:pt x="204155" y="326475"/>
                    </a:cubicBezTo>
                    <a:cubicBezTo>
                      <a:pt x="203443" y="324708"/>
                      <a:pt x="202422" y="323090"/>
                      <a:pt x="201134" y="321688"/>
                    </a:cubicBezTo>
                    <a:cubicBezTo>
                      <a:pt x="196774" y="315806"/>
                      <a:pt x="195230" y="308294"/>
                      <a:pt x="196917" y="301170"/>
                    </a:cubicBezTo>
                    <a:lnTo>
                      <a:pt x="181414" y="302879"/>
                    </a:lnTo>
                    <a:cubicBezTo>
                      <a:pt x="180001" y="303153"/>
                      <a:pt x="178536" y="303016"/>
                      <a:pt x="177197" y="302480"/>
                    </a:cubicBezTo>
                    <a:cubicBezTo>
                      <a:pt x="175202" y="301397"/>
                      <a:pt x="174689" y="298890"/>
                      <a:pt x="173492" y="296781"/>
                    </a:cubicBezTo>
                    <a:cubicBezTo>
                      <a:pt x="171087" y="293014"/>
                      <a:pt x="166083" y="291914"/>
                      <a:pt x="162315" y="294319"/>
                    </a:cubicBezTo>
                    <a:cubicBezTo>
                      <a:pt x="159756" y="295955"/>
                      <a:pt x="158326" y="298890"/>
                      <a:pt x="158616" y="301910"/>
                    </a:cubicBezTo>
                    <a:cubicBezTo>
                      <a:pt x="155425" y="301455"/>
                      <a:pt x="151321" y="301455"/>
                      <a:pt x="149953" y="304361"/>
                    </a:cubicBezTo>
                    <a:cubicBezTo>
                      <a:pt x="149514" y="305564"/>
                      <a:pt x="149303" y="306841"/>
                      <a:pt x="149326" y="308123"/>
                    </a:cubicBezTo>
                    <a:cubicBezTo>
                      <a:pt x="148249" y="314774"/>
                      <a:pt x="141985" y="319288"/>
                      <a:pt x="135334" y="318211"/>
                    </a:cubicBezTo>
                    <a:cubicBezTo>
                      <a:pt x="135135" y="318177"/>
                      <a:pt x="134935" y="318137"/>
                      <a:pt x="134736" y="318097"/>
                    </a:cubicBezTo>
                    <a:cubicBezTo>
                      <a:pt x="131715" y="317242"/>
                      <a:pt x="129036" y="315190"/>
                      <a:pt x="125787" y="315874"/>
                    </a:cubicBezTo>
                    <a:cubicBezTo>
                      <a:pt x="122539" y="316558"/>
                      <a:pt x="120544" y="320548"/>
                      <a:pt x="119404" y="323968"/>
                    </a:cubicBezTo>
                    <a:cubicBezTo>
                      <a:pt x="116896" y="326304"/>
                      <a:pt x="113021" y="322828"/>
                      <a:pt x="112223" y="319522"/>
                    </a:cubicBezTo>
                    <a:cubicBezTo>
                      <a:pt x="111425" y="316216"/>
                      <a:pt x="111425" y="312113"/>
                      <a:pt x="108461" y="310403"/>
                    </a:cubicBezTo>
                    <a:cubicBezTo>
                      <a:pt x="107321" y="309662"/>
                      <a:pt x="105839" y="309548"/>
                      <a:pt x="104813" y="308636"/>
                    </a:cubicBezTo>
                    <a:cubicBezTo>
                      <a:pt x="101052" y="305444"/>
                      <a:pt x="106466" y="297237"/>
                      <a:pt x="102134" y="295071"/>
                    </a:cubicBezTo>
                    <a:cubicBezTo>
                      <a:pt x="100995" y="294501"/>
                      <a:pt x="99570" y="294615"/>
                      <a:pt x="98544" y="293931"/>
                    </a:cubicBezTo>
                    <a:cubicBezTo>
                      <a:pt x="97501" y="292951"/>
                      <a:pt x="96977" y="291538"/>
                      <a:pt x="97119" y="290113"/>
                    </a:cubicBezTo>
                    <a:cubicBezTo>
                      <a:pt x="97632" y="285587"/>
                      <a:pt x="97632" y="281016"/>
                      <a:pt x="97119" y="276491"/>
                    </a:cubicBezTo>
                    <a:cubicBezTo>
                      <a:pt x="95865" y="272102"/>
                      <a:pt x="90678" y="268284"/>
                      <a:pt x="86803" y="270791"/>
                    </a:cubicBezTo>
                    <a:lnTo>
                      <a:pt x="24109" y="270506"/>
                    </a:lnTo>
                    <a:lnTo>
                      <a:pt x="9632" y="270506"/>
                    </a:lnTo>
                    <a:cubicBezTo>
                      <a:pt x="9644" y="269053"/>
                      <a:pt x="9507" y="267600"/>
                      <a:pt x="9233" y="266175"/>
                    </a:cubicBezTo>
                    <a:cubicBezTo>
                      <a:pt x="7472" y="259529"/>
                      <a:pt x="4326" y="253334"/>
                      <a:pt x="0" y="247993"/>
                    </a:cubicBezTo>
                    <a:lnTo>
                      <a:pt x="13223" y="240926"/>
                    </a:lnTo>
                    <a:cubicBezTo>
                      <a:pt x="16426" y="238954"/>
                      <a:pt x="19960" y="237581"/>
                      <a:pt x="23653" y="236880"/>
                    </a:cubicBezTo>
                    <a:cubicBezTo>
                      <a:pt x="29352" y="236082"/>
                      <a:pt x="36249" y="238532"/>
                      <a:pt x="40751" y="234942"/>
                    </a:cubicBezTo>
                    <a:cubicBezTo>
                      <a:pt x="42632" y="233460"/>
                      <a:pt x="44171" y="231066"/>
                      <a:pt x="46451" y="231009"/>
                    </a:cubicBezTo>
                    <a:cubicBezTo>
                      <a:pt x="50953" y="231009"/>
                      <a:pt x="50611" y="238475"/>
                      <a:pt x="54202" y="241154"/>
                    </a:cubicBezTo>
                    <a:cubicBezTo>
                      <a:pt x="57793" y="243833"/>
                      <a:pt x="62352" y="240755"/>
                      <a:pt x="65031" y="237506"/>
                    </a:cubicBezTo>
                    <a:cubicBezTo>
                      <a:pt x="67710" y="234258"/>
                      <a:pt x="70730" y="230154"/>
                      <a:pt x="74777" y="230154"/>
                    </a:cubicBezTo>
                    <a:cubicBezTo>
                      <a:pt x="72269" y="224455"/>
                      <a:pt x="78539" y="218755"/>
                      <a:pt x="81787" y="213455"/>
                    </a:cubicBezTo>
                    <a:cubicBezTo>
                      <a:pt x="88342" y="202626"/>
                      <a:pt x="82927" y="188662"/>
                      <a:pt x="84352" y="176066"/>
                    </a:cubicBezTo>
                    <a:cubicBezTo>
                      <a:pt x="86506" y="165402"/>
                      <a:pt x="90981" y="155343"/>
                      <a:pt x="97461" y="146600"/>
                    </a:cubicBezTo>
                    <a:cubicBezTo>
                      <a:pt x="101890" y="139624"/>
                      <a:pt x="105907" y="132391"/>
                      <a:pt x="109487" y="124942"/>
                    </a:cubicBezTo>
                    <a:cubicBezTo>
                      <a:pt x="114155" y="114375"/>
                      <a:pt x="118207" y="103546"/>
                      <a:pt x="121627" y="92512"/>
                    </a:cubicBezTo>
                    <a:cubicBezTo>
                      <a:pt x="124647" y="83222"/>
                      <a:pt x="127725" y="73989"/>
                      <a:pt x="130746" y="64755"/>
                    </a:cubicBezTo>
                    <a:cubicBezTo>
                      <a:pt x="132222" y="60891"/>
                      <a:pt x="133180" y="56845"/>
                      <a:pt x="133596" y="52729"/>
                    </a:cubicBezTo>
                    <a:cubicBezTo>
                      <a:pt x="133995" y="44408"/>
                      <a:pt x="129891" y="35916"/>
                      <a:pt x="132057" y="27823"/>
                    </a:cubicBezTo>
                    <a:cubicBezTo>
                      <a:pt x="134223" y="19730"/>
                      <a:pt x="143000" y="13916"/>
                      <a:pt x="150922" y="9585"/>
                    </a:cubicBezTo>
                    <a:cubicBezTo>
                      <a:pt x="152318" y="8667"/>
                      <a:pt x="153931" y="8137"/>
                      <a:pt x="155596" y="8046"/>
                    </a:cubicBezTo>
                    <a:cubicBezTo>
                      <a:pt x="157163" y="8234"/>
                      <a:pt x="158651" y="8827"/>
                      <a:pt x="159927" y="9756"/>
                    </a:cubicBezTo>
                    <a:cubicBezTo>
                      <a:pt x="173965" y="18145"/>
                      <a:pt x="189183" y="24386"/>
                      <a:pt x="205067" y="28279"/>
                    </a:cubicBezTo>
                    <a:cubicBezTo>
                      <a:pt x="206281" y="28735"/>
                      <a:pt x="207615" y="28735"/>
                      <a:pt x="208829" y="28279"/>
                    </a:cubicBezTo>
                    <a:cubicBezTo>
                      <a:pt x="210140" y="27538"/>
                      <a:pt x="210539" y="25885"/>
                      <a:pt x="211165" y="24517"/>
                    </a:cubicBezTo>
                    <a:cubicBezTo>
                      <a:pt x="214015" y="17735"/>
                      <a:pt x="222222" y="15341"/>
                      <a:pt x="229404" y="13745"/>
                    </a:cubicBezTo>
                    <a:lnTo>
                      <a:pt x="287082" y="921"/>
                    </a:lnTo>
                    <a:cubicBezTo>
                      <a:pt x="289454" y="249"/>
                      <a:pt x="291916" y="-59"/>
                      <a:pt x="294378" y="9"/>
                    </a:cubicBezTo>
                    <a:cubicBezTo>
                      <a:pt x="297872" y="705"/>
                      <a:pt x="301297" y="1679"/>
                      <a:pt x="304637" y="2916"/>
                    </a:cubicBezTo>
                    <a:cubicBezTo>
                      <a:pt x="308171" y="3828"/>
                      <a:pt x="311875" y="3828"/>
                      <a:pt x="315352" y="4911"/>
                    </a:cubicBezTo>
                    <a:cubicBezTo>
                      <a:pt x="324015" y="7590"/>
                      <a:pt x="329544" y="16652"/>
                      <a:pt x="338150" y="19616"/>
                    </a:cubicBezTo>
                    <a:cubicBezTo>
                      <a:pt x="350461" y="23833"/>
                      <a:pt x="365108" y="14486"/>
                      <a:pt x="376507" y="20698"/>
                    </a:cubicBezTo>
                    <a:cubicBezTo>
                      <a:pt x="379602" y="22767"/>
                      <a:pt x="382480" y="25133"/>
                      <a:pt x="385113" y="27766"/>
                    </a:cubicBezTo>
                    <a:cubicBezTo>
                      <a:pt x="388710" y="30256"/>
                      <a:pt x="392033" y="33123"/>
                      <a:pt x="395031" y="36315"/>
                    </a:cubicBezTo>
                    <a:cubicBezTo>
                      <a:pt x="398034" y="39626"/>
                      <a:pt x="398496" y="44522"/>
                      <a:pt x="396170" y="48341"/>
                    </a:cubicBezTo>
                    <a:cubicBezTo>
                      <a:pt x="394689" y="50279"/>
                      <a:pt x="392238" y="51362"/>
                      <a:pt x="391098" y="53527"/>
                    </a:cubicBezTo>
                    <a:cubicBezTo>
                      <a:pt x="387051" y="61222"/>
                      <a:pt x="403808" y="67149"/>
                      <a:pt x="401585" y="75584"/>
                    </a:cubicBezTo>
                    <a:cubicBezTo>
                      <a:pt x="400542" y="78132"/>
                      <a:pt x="398672" y="80258"/>
                      <a:pt x="396285" y="81626"/>
                    </a:cubicBezTo>
                    <a:cubicBezTo>
                      <a:pt x="375219" y="97772"/>
                      <a:pt x="363900" y="123585"/>
                      <a:pt x="366305" y="150019"/>
                    </a:cubicBezTo>
                    <a:cubicBezTo>
                      <a:pt x="367234" y="153662"/>
                      <a:pt x="366550" y="157520"/>
                      <a:pt x="364424" y="160621"/>
                    </a:cubicBezTo>
                    <a:cubicBezTo>
                      <a:pt x="363170" y="161874"/>
                      <a:pt x="361518" y="162843"/>
                      <a:pt x="360834" y="164439"/>
                    </a:cubicBezTo>
                    <a:cubicBezTo>
                      <a:pt x="360150" y="166035"/>
                      <a:pt x="360378" y="167232"/>
                      <a:pt x="359751" y="168486"/>
                    </a:cubicBezTo>
                    <a:cubicBezTo>
                      <a:pt x="358554" y="170823"/>
                      <a:pt x="355362" y="171279"/>
                      <a:pt x="353652" y="173216"/>
                    </a:cubicBezTo>
                    <a:cubicBezTo>
                      <a:pt x="351943" y="175154"/>
                      <a:pt x="352342" y="179714"/>
                      <a:pt x="352170" y="183133"/>
                    </a:cubicBezTo>
                    <a:cubicBezTo>
                      <a:pt x="351697" y="185556"/>
                      <a:pt x="351452" y="188018"/>
                      <a:pt x="351429" y="190486"/>
                    </a:cubicBezTo>
                    <a:cubicBezTo>
                      <a:pt x="351395" y="192025"/>
                      <a:pt x="351566" y="193558"/>
                      <a:pt x="351943" y="19504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1" name="Freihandform: Form 655">
                <a:extLst>
                  <a:ext uri="{FF2B5EF4-FFF2-40B4-BE49-F238E27FC236}">
                    <a16:creationId xmlns:a16="http://schemas.microsoft.com/office/drawing/2014/main" id="{8EB13821-6B0C-7916-323B-CD2A5F4ACF35}"/>
                  </a:ext>
                </a:extLst>
              </p:cNvPr>
              <p:cNvSpPr/>
              <p:nvPr/>
            </p:nvSpPr>
            <p:spPr>
              <a:xfrm>
                <a:off x="4386696" y="4283442"/>
                <a:ext cx="38603" cy="34226"/>
              </a:xfrm>
              <a:custGeom>
                <a:avLst/>
                <a:gdLst>
                  <a:gd name="connsiteX0" fmla="*/ 5037 w 38603"/>
                  <a:gd name="connsiteY0" fmla="*/ 32058 h 34226"/>
                  <a:gd name="connsiteX1" fmla="*/ 135 w 38603"/>
                  <a:gd name="connsiteY1" fmla="*/ 28296 h 34226"/>
                  <a:gd name="connsiteX2" fmla="*/ 135 w 38603"/>
                  <a:gd name="connsiteY2" fmla="*/ 28296 h 34226"/>
                  <a:gd name="connsiteX3" fmla="*/ 1617 w 38603"/>
                  <a:gd name="connsiteY3" fmla="*/ 18379 h 34226"/>
                  <a:gd name="connsiteX4" fmla="*/ 7715 w 38603"/>
                  <a:gd name="connsiteY4" fmla="*/ 13649 h 34226"/>
                  <a:gd name="connsiteX5" fmla="*/ 8798 w 38603"/>
                  <a:gd name="connsiteY5" fmla="*/ 9602 h 34226"/>
                  <a:gd name="connsiteX6" fmla="*/ 12389 w 38603"/>
                  <a:gd name="connsiteY6" fmla="*/ 5783 h 34226"/>
                  <a:gd name="connsiteX7" fmla="*/ 14441 w 38603"/>
                  <a:gd name="connsiteY7" fmla="*/ 84 h 34226"/>
                  <a:gd name="connsiteX8" fmla="*/ 31539 w 38603"/>
                  <a:gd name="connsiteY8" fmla="*/ 597 h 34226"/>
                  <a:gd name="connsiteX9" fmla="*/ 35643 w 38603"/>
                  <a:gd name="connsiteY9" fmla="*/ 1680 h 34226"/>
                  <a:gd name="connsiteX10" fmla="*/ 38436 w 38603"/>
                  <a:gd name="connsiteY10" fmla="*/ 10172 h 34226"/>
                  <a:gd name="connsiteX11" fmla="*/ 29031 w 38603"/>
                  <a:gd name="connsiteY11" fmla="*/ 29721 h 34226"/>
                  <a:gd name="connsiteX12" fmla="*/ 24016 w 38603"/>
                  <a:gd name="connsiteY12" fmla="*/ 31317 h 34226"/>
                  <a:gd name="connsiteX13" fmla="*/ 14327 w 38603"/>
                  <a:gd name="connsiteY13" fmla="*/ 33711 h 34226"/>
                  <a:gd name="connsiteX14" fmla="*/ 10394 w 38603"/>
                  <a:gd name="connsiteY14" fmla="*/ 34224 h 34226"/>
                  <a:gd name="connsiteX15" fmla="*/ 5037 w 38603"/>
                  <a:gd name="connsiteY15" fmla="*/ 32058 h 34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03" h="34226">
                    <a:moveTo>
                      <a:pt x="5037" y="32058"/>
                    </a:moveTo>
                    <a:cubicBezTo>
                      <a:pt x="3333" y="30901"/>
                      <a:pt x="1697" y="29647"/>
                      <a:pt x="135" y="28296"/>
                    </a:cubicBezTo>
                    <a:lnTo>
                      <a:pt x="135" y="28296"/>
                    </a:lnTo>
                    <a:cubicBezTo>
                      <a:pt x="135" y="24877"/>
                      <a:pt x="-663" y="20944"/>
                      <a:pt x="1617" y="18379"/>
                    </a:cubicBezTo>
                    <a:cubicBezTo>
                      <a:pt x="3897" y="15815"/>
                      <a:pt x="6519" y="15986"/>
                      <a:pt x="7715" y="13649"/>
                    </a:cubicBezTo>
                    <a:cubicBezTo>
                      <a:pt x="8343" y="12395"/>
                      <a:pt x="8228" y="10913"/>
                      <a:pt x="8798" y="9602"/>
                    </a:cubicBezTo>
                    <a:cubicBezTo>
                      <a:pt x="9368" y="8291"/>
                      <a:pt x="11135" y="7037"/>
                      <a:pt x="12389" y="5783"/>
                    </a:cubicBezTo>
                    <a:cubicBezTo>
                      <a:pt x="13791" y="4222"/>
                      <a:pt x="14526" y="2181"/>
                      <a:pt x="14441" y="84"/>
                    </a:cubicBezTo>
                    <a:cubicBezTo>
                      <a:pt x="20146" y="-121"/>
                      <a:pt x="25857" y="50"/>
                      <a:pt x="31539" y="597"/>
                    </a:cubicBezTo>
                    <a:cubicBezTo>
                      <a:pt x="32970" y="660"/>
                      <a:pt x="34366" y="1030"/>
                      <a:pt x="35643" y="1680"/>
                    </a:cubicBezTo>
                    <a:cubicBezTo>
                      <a:pt x="37985" y="3834"/>
                      <a:pt x="39040" y="7049"/>
                      <a:pt x="38436" y="10172"/>
                    </a:cubicBezTo>
                    <a:cubicBezTo>
                      <a:pt x="38151" y="17752"/>
                      <a:pt x="35871" y="26416"/>
                      <a:pt x="29031" y="29721"/>
                    </a:cubicBezTo>
                    <a:cubicBezTo>
                      <a:pt x="27430" y="30451"/>
                      <a:pt x="25743" y="30987"/>
                      <a:pt x="24016" y="31317"/>
                    </a:cubicBezTo>
                    <a:lnTo>
                      <a:pt x="14327" y="33711"/>
                    </a:lnTo>
                    <a:cubicBezTo>
                      <a:pt x="13050" y="34076"/>
                      <a:pt x="11722" y="34252"/>
                      <a:pt x="10394" y="34224"/>
                    </a:cubicBezTo>
                    <a:cubicBezTo>
                      <a:pt x="8445" y="33990"/>
                      <a:pt x="6598" y="33243"/>
                      <a:pt x="5037" y="3205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2" name="Freihandform: Form 656">
                <a:extLst>
                  <a:ext uri="{FF2B5EF4-FFF2-40B4-BE49-F238E27FC236}">
                    <a16:creationId xmlns:a16="http://schemas.microsoft.com/office/drawing/2014/main" id="{C0850513-F90F-9E49-59F8-1CCC47E43E8F}"/>
                  </a:ext>
                </a:extLst>
              </p:cNvPr>
              <p:cNvSpPr/>
              <p:nvPr/>
            </p:nvSpPr>
            <p:spPr>
              <a:xfrm>
                <a:off x="4386261" y="4311739"/>
                <a:ext cx="38235" cy="43714"/>
              </a:xfrm>
              <a:custGeom>
                <a:avLst/>
                <a:gdLst>
                  <a:gd name="connsiteX0" fmla="*/ 18808 w 38235"/>
                  <a:gd name="connsiteY0" fmla="*/ 43430 h 43714"/>
                  <a:gd name="connsiteX1" fmla="*/ 18808 w 38235"/>
                  <a:gd name="connsiteY1" fmla="*/ 43715 h 43714"/>
                  <a:gd name="connsiteX2" fmla="*/ 10316 w 38235"/>
                  <a:gd name="connsiteY2" fmla="*/ 43430 h 43714"/>
                  <a:gd name="connsiteX3" fmla="*/ 11798 w 38235"/>
                  <a:gd name="connsiteY3" fmla="*/ 30321 h 43714"/>
                  <a:gd name="connsiteX4" fmla="*/ 4560 w 38235"/>
                  <a:gd name="connsiteY4" fmla="*/ 21601 h 43714"/>
                  <a:gd name="connsiteX5" fmla="*/ 1311 w 38235"/>
                  <a:gd name="connsiteY5" fmla="*/ 11627 h 43714"/>
                  <a:gd name="connsiteX6" fmla="*/ 0 w 38235"/>
                  <a:gd name="connsiteY6" fmla="*/ 7295 h 43714"/>
                  <a:gd name="connsiteX7" fmla="*/ 741 w 38235"/>
                  <a:gd name="connsiteY7" fmla="*/ 0 h 43714"/>
                  <a:gd name="connsiteX8" fmla="*/ 5642 w 38235"/>
                  <a:gd name="connsiteY8" fmla="*/ 3762 h 43714"/>
                  <a:gd name="connsiteX9" fmla="*/ 10829 w 38235"/>
                  <a:gd name="connsiteY9" fmla="*/ 6098 h 43714"/>
                  <a:gd name="connsiteX10" fmla="*/ 14762 w 38235"/>
                  <a:gd name="connsiteY10" fmla="*/ 5585 h 43714"/>
                  <a:gd name="connsiteX11" fmla="*/ 24451 w 38235"/>
                  <a:gd name="connsiteY11" fmla="*/ 3192 h 43714"/>
                  <a:gd name="connsiteX12" fmla="*/ 29466 w 38235"/>
                  <a:gd name="connsiteY12" fmla="*/ 1596 h 43714"/>
                  <a:gd name="connsiteX13" fmla="*/ 30948 w 38235"/>
                  <a:gd name="connsiteY13" fmla="*/ 627 h 43714"/>
                  <a:gd name="connsiteX14" fmla="*/ 36648 w 38235"/>
                  <a:gd name="connsiteY14" fmla="*/ 8207 h 43714"/>
                  <a:gd name="connsiteX15" fmla="*/ 32316 w 38235"/>
                  <a:gd name="connsiteY15" fmla="*/ 25819 h 43714"/>
                  <a:gd name="connsiteX16" fmla="*/ 28327 w 38235"/>
                  <a:gd name="connsiteY16" fmla="*/ 29979 h 43714"/>
                  <a:gd name="connsiteX17" fmla="*/ 29295 w 38235"/>
                  <a:gd name="connsiteY17" fmla="*/ 31746 h 43714"/>
                  <a:gd name="connsiteX18" fmla="*/ 26104 w 38235"/>
                  <a:gd name="connsiteY18" fmla="*/ 38813 h 43714"/>
                  <a:gd name="connsiteX19" fmla="*/ 18808 w 38235"/>
                  <a:gd name="connsiteY19" fmla="*/ 43430 h 4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35" h="43714">
                    <a:moveTo>
                      <a:pt x="18808" y="43430"/>
                    </a:moveTo>
                    <a:lnTo>
                      <a:pt x="18808" y="43715"/>
                    </a:lnTo>
                    <a:lnTo>
                      <a:pt x="10316" y="43430"/>
                    </a:lnTo>
                    <a:cubicBezTo>
                      <a:pt x="11769" y="39224"/>
                      <a:pt x="12271" y="34744"/>
                      <a:pt x="11798" y="30321"/>
                    </a:cubicBezTo>
                    <a:cubicBezTo>
                      <a:pt x="11194" y="26292"/>
                      <a:pt x="8407" y="22935"/>
                      <a:pt x="4560" y="21601"/>
                    </a:cubicBezTo>
                    <a:cubicBezTo>
                      <a:pt x="3591" y="18238"/>
                      <a:pt x="2565" y="14876"/>
                      <a:pt x="1311" y="11627"/>
                    </a:cubicBezTo>
                    <a:cubicBezTo>
                      <a:pt x="684" y="10248"/>
                      <a:pt x="245" y="8789"/>
                      <a:pt x="0" y="7295"/>
                    </a:cubicBezTo>
                    <a:cubicBezTo>
                      <a:pt x="51" y="4850"/>
                      <a:pt x="296" y="2405"/>
                      <a:pt x="741" y="0"/>
                    </a:cubicBezTo>
                    <a:cubicBezTo>
                      <a:pt x="2303" y="1345"/>
                      <a:pt x="3939" y="2605"/>
                      <a:pt x="5642" y="3762"/>
                    </a:cubicBezTo>
                    <a:cubicBezTo>
                      <a:pt x="7136" y="4981"/>
                      <a:pt x="8926" y="5785"/>
                      <a:pt x="10829" y="6098"/>
                    </a:cubicBezTo>
                    <a:cubicBezTo>
                      <a:pt x="12157" y="6127"/>
                      <a:pt x="13485" y="5950"/>
                      <a:pt x="14762" y="5585"/>
                    </a:cubicBezTo>
                    <a:lnTo>
                      <a:pt x="24451" y="3192"/>
                    </a:lnTo>
                    <a:cubicBezTo>
                      <a:pt x="26178" y="2861"/>
                      <a:pt x="27865" y="2325"/>
                      <a:pt x="29466" y="1596"/>
                    </a:cubicBezTo>
                    <a:lnTo>
                      <a:pt x="30948" y="627"/>
                    </a:lnTo>
                    <a:cubicBezTo>
                      <a:pt x="33325" y="2758"/>
                      <a:pt x="35257" y="5335"/>
                      <a:pt x="36648" y="8207"/>
                    </a:cubicBezTo>
                    <a:cubicBezTo>
                      <a:pt x="39891" y="14323"/>
                      <a:pt x="38027" y="21903"/>
                      <a:pt x="32316" y="25819"/>
                    </a:cubicBezTo>
                    <a:cubicBezTo>
                      <a:pt x="30435" y="26787"/>
                      <a:pt x="27813" y="27927"/>
                      <a:pt x="28327" y="29979"/>
                    </a:cubicBezTo>
                    <a:cubicBezTo>
                      <a:pt x="28549" y="30617"/>
                      <a:pt x="28874" y="31216"/>
                      <a:pt x="29295" y="31746"/>
                    </a:cubicBezTo>
                    <a:cubicBezTo>
                      <a:pt x="30606" y="34311"/>
                      <a:pt x="28497" y="37445"/>
                      <a:pt x="26104" y="38813"/>
                    </a:cubicBezTo>
                    <a:cubicBezTo>
                      <a:pt x="23402" y="39885"/>
                      <a:pt x="20928" y="41447"/>
                      <a:pt x="18808" y="4343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3" name="Freihandform: Form 657">
                <a:extLst>
                  <a:ext uri="{FF2B5EF4-FFF2-40B4-BE49-F238E27FC236}">
                    <a16:creationId xmlns:a16="http://schemas.microsoft.com/office/drawing/2014/main" id="{5F0F3AC4-7E7F-25F4-9671-78C168AA9BEA}"/>
                  </a:ext>
                </a:extLst>
              </p:cNvPr>
              <p:cNvSpPr/>
              <p:nvPr/>
            </p:nvSpPr>
            <p:spPr>
              <a:xfrm>
                <a:off x="4401102" y="4275662"/>
                <a:ext cx="214787" cy="261765"/>
              </a:xfrm>
              <a:custGeom>
                <a:avLst/>
                <a:gdLst>
                  <a:gd name="connsiteX0" fmla="*/ 196723 w 214787"/>
                  <a:gd name="connsiteY0" fmla="*/ 82413 h 261765"/>
                  <a:gd name="connsiteX1" fmla="*/ 201853 w 214787"/>
                  <a:gd name="connsiteY1" fmla="*/ 86118 h 261765"/>
                  <a:gd name="connsiteX2" fmla="*/ 186578 w 214787"/>
                  <a:gd name="connsiteY2" fmla="*/ 142029 h 261765"/>
                  <a:gd name="connsiteX3" fmla="*/ 191423 w 214787"/>
                  <a:gd name="connsiteY3" fmla="*/ 156734 h 261765"/>
                  <a:gd name="connsiteX4" fmla="*/ 206241 w 214787"/>
                  <a:gd name="connsiteY4" fmla="*/ 161807 h 261765"/>
                  <a:gd name="connsiteX5" fmla="*/ 214278 w 214787"/>
                  <a:gd name="connsiteY5" fmla="*/ 173206 h 261765"/>
                  <a:gd name="connsiteX6" fmla="*/ 195013 w 214787"/>
                  <a:gd name="connsiteY6" fmla="*/ 190931 h 261765"/>
                  <a:gd name="connsiteX7" fmla="*/ 205956 w 214787"/>
                  <a:gd name="connsiteY7" fmla="*/ 219428 h 261765"/>
                  <a:gd name="connsiteX8" fmla="*/ 213537 w 214787"/>
                  <a:gd name="connsiteY8" fmla="*/ 240744 h 261765"/>
                  <a:gd name="connsiteX9" fmla="*/ 197065 w 214787"/>
                  <a:gd name="connsiteY9" fmla="*/ 246444 h 261765"/>
                  <a:gd name="connsiteX10" fmla="*/ 166345 w 214787"/>
                  <a:gd name="connsiteY10" fmla="*/ 257444 h 261765"/>
                  <a:gd name="connsiteX11" fmla="*/ 141381 w 214787"/>
                  <a:gd name="connsiteY11" fmla="*/ 261433 h 261765"/>
                  <a:gd name="connsiteX12" fmla="*/ 125366 w 214787"/>
                  <a:gd name="connsiteY12" fmla="*/ 254765 h 261765"/>
                  <a:gd name="connsiteX13" fmla="*/ 111801 w 214787"/>
                  <a:gd name="connsiteY13" fmla="*/ 253625 h 261765"/>
                  <a:gd name="connsiteX14" fmla="*/ 112941 w 214787"/>
                  <a:gd name="connsiteY14" fmla="*/ 248382 h 261765"/>
                  <a:gd name="connsiteX15" fmla="*/ 113625 w 214787"/>
                  <a:gd name="connsiteY15" fmla="*/ 243024 h 261765"/>
                  <a:gd name="connsiteX16" fmla="*/ 112314 w 214787"/>
                  <a:gd name="connsiteY16" fmla="*/ 239661 h 261765"/>
                  <a:gd name="connsiteX17" fmla="*/ 107754 w 214787"/>
                  <a:gd name="connsiteY17" fmla="*/ 223646 h 261765"/>
                  <a:gd name="connsiteX18" fmla="*/ 105646 w 214787"/>
                  <a:gd name="connsiteY18" fmla="*/ 212247 h 261765"/>
                  <a:gd name="connsiteX19" fmla="*/ 101542 w 214787"/>
                  <a:gd name="connsiteY19" fmla="*/ 210423 h 261765"/>
                  <a:gd name="connsiteX20" fmla="*/ 80796 w 214787"/>
                  <a:gd name="connsiteY20" fmla="*/ 205863 h 261765"/>
                  <a:gd name="connsiteX21" fmla="*/ 76350 w 214787"/>
                  <a:gd name="connsiteY21" fmla="*/ 203926 h 261765"/>
                  <a:gd name="connsiteX22" fmla="*/ 75496 w 214787"/>
                  <a:gd name="connsiteY22" fmla="*/ 201247 h 261765"/>
                  <a:gd name="connsiteX23" fmla="*/ 68371 w 214787"/>
                  <a:gd name="connsiteY23" fmla="*/ 196858 h 261765"/>
                  <a:gd name="connsiteX24" fmla="*/ 62102 w 214787"/>
                  <a:gd name="connsiteY24" fmla="*/ 191615 h 261765"/>
                  <a:gd name="connsiteX25" fmla="*/ 47796 w 214787"/>
                  <a:gd name="connsiteY25" fmla="*/ 183237 h 261765"/>
                  <a:gd name="connsiteX26" fmla="*/ 40501 w 214787"/>
                  <a:gd name="connsiteY26" fmla="*/ 184832 h 261765"/>
                  <a:gd name="connsiteX27" fmla="*/ 38791 w 214787"/>
                  <a:gd name="connsiteY27" fmla="*/ 177765 h 261765"/>
                  <a:gd name="connsiteX28" fmla="*/ 31894 w 214787"/>
                  <a:gd name="connsiteY28" fmla="*/ 176739 h 261765"/>
                  <a:gd name="connsiteX29" fmla="*/ 28988 w 214787"/>
                  <a:gd name="connsiteY29" fmla="*/ 164998 h 261765"/>
                  <a:gd name="connsiteX30" fmla="*/ 24713 w 214787"/>
                  <a:gd name="connsiteY30" fmla="*/ 151377 h 261765"/>
                  <a:gd name="connsiteX31" fmla="*/ 22319 w 214787"/>
                  <a:gd name="connsiteY31" fmla="*/ 140548 h 261765"/>
                  <a:gd name="connsiteX32" fmla="*/ 15252 w 214787"/>
                  <a:gd name="connsiteY32" fmla="*/ 137812 h 261765"/>
                  <a:gd name="connsiteX33" fmla="*/ 14739 w 214787"/>
                  <a:gd name="connsiteY33" fmla="*/ 134620 h 261765"/>
                  <a:gd name="connsiteX34" fmla="*/ 7672 w 214787"/>
                  <a:gd name="connsiteY34" fmla="*/ 124988 h 261765"/>
                  <a:gd name="connsiteX35" fmla="*/ 9324 w 214787"/>
                  <a:gd name="connsiteY35" fmla="*/ 121226 h 261765"/>
                  <a:gd name="connsiteX36" fmla="*/ 4480 w 214787"/>
                  <a:gd name="connsiteY36" fmla="*/ 115071 h 261765"/>
                  <a:gd name="connsiteX37" fmla="*/ 4480 w 214787"/>
                  <a:gd name="connsiteY37" fmla="*/ 105781 h 261765"/>
                  <a:gd name="connsiteX38" fmla="*/ 34 w 214787"/>
                  <a:gd name="connsiteY38" fmla="*/ 99055 h 261765"/>
                  <a:gd name="connsiteX39" fmla="*/ 4195 w 214787"/>
                  <a:gd name="connsiteY39" fmla="*/ 79791 h 261765"/>
                  <a:gd name="connsiteX40" fmla="*/ 4195 w 214787"/>
                  <a:gd name="connsiteY40" fmla="*/ 79791 h 261765"/>
                  <a:gd name="connsiteX41" fmla="*/ 4195 w 214787"/>
                  <a:gd name="connsiteY41" fmla="*/ 79506 h 261765"/>
                  <a:gd name="connsiteX42" fmla="*/ 11319 w 214787"/>
                  <a:gd name="connsiteY42" fmla="*/ 74890 h 261765"/>
                  <a:gd name="connsiteX43" fmla="*/ 14511 w 214787"/>
                  <a:gd name="connsiteY43" fmla="*/ 67822 h 261765"/>
                  <a:gd name="connsiteX44" fmla="*/ 13542 w 214787"/>
                  <a:gd name="connsiteY44" fmla="*/ 66055 h 261765"/>
                  <a:gd name="connsiteX45" fmla="*/ 17532 w 214787"/>
                  <a:gd name="connsiteY45" fmla="*/ 61895 h 261765"/>
                  <a:gd name="connsiteX46" fmla="*/ 21920 w 214787"/>
                  <a:gd name="connsiteY46" fmla="*/ 44568 h 261765"/>
                  <a:gd name="connsiteX47" fmla="*/ 16221 w 214787"/>
                  <a:gd name="connsiteY47" fmla="*/ 36988 h 261765"/>
                  <a:gd name="connsiteX48" fmla="*/ 24143 w 214787"/>
                  <a:gd name="connsiteY48" fmla="*/ 18408 h 261765"/>
                  <a:gd name="connsiteX49" fmla="*/ 21920 w 214787"/>
                  <a:gd name="connsiteY49" fmla="*/ 10372 h 261765"/>
                  <a:gd name="connsiteX50" fmla="*/ 24599 w 214787"/>
                  <a:gd name="connsiteY50" fmla="*/ 6496 h 261765"/>
                  <a:gd name="connsiteX51" fmla="*/ 30298 w 214787"/>
                  <a:gd name="connsiteY51" fmla="*/ 797 h 261765"/>
                  <a:gd name="connsiteX52" fmla="*/ 38449 w 214787"/>
                  <a:gd name="connsiteY52" fmla="*/ 398 h 261765"/>
                  <a:gd name="connsiteX53" fmla="*/ 49848 w 214787"/>
                  <a:gd name="connsiteY53" fmla="*/ 1879 h 261765"/>
                  <a:gd name="connsiteX54" fmla="*/ 50475 w 214787"/>
                  <a:gd name="connsiteY54" fmla="*/ 4615 h 261765"/>
                  <a:gd name="connsiteX55" fmla="*/ 52185 w 214787"/>
                  <a:gd name="connsiteY55" fmla="*/ 9574 h 261765"/>
                  <a:gd name="connsiteX56" fmla="*/ 49962 w 214787"/>
                  <a:gd name="connsiteY56" fmla="*/ 13962 h 261765"/>
                  <a:gd name="connsiteX57" fmla="*/ 44889 w 214787"/>
                  <a:gd name="connsiteY57" fmla="*/ 15273 h 261765"/>
                  <a:gd name="connsiteX58" fmla="*/ 44889 w 214787"/>
                  <a:gd name="connsiteY58" fmla="*/ 16983 h 261765"/>
                  <a:gd name="connsiteX59" fmla="*/ 45174 w 214787"/>
                  <a:gd name="connsiteY59" fmla="*/ 36247 h 261765"/>
                  <a:gd name="connsiteX60" fmla="*/ 61418 w 214787"/>
                  <a:gd name="connsiteY60" fmla="*/ 37045 h 261765"/>
                  <a:gd name="connsiteX61" fmla="*/ 80511 w 214787"/>
                  <a:gd name="connsiteY61" fmla="*/ 35107 h 261765"/>
                  <a:gd name="connsiteX62" fmla="*/ 82221 w 214787"/>
                  <a:gd name="connsiteY62" fmla="*/ 26900 h 261765"/>
                  <a:gd name="connsiteX63" fmla="*/ 84273 w 214787"/>
                  <a:gd name="connsiteY63" fmla="*/ 25589 h 261765"/>
                  <a:gd name="connsiteX64" fmla="*/ 85755 w 214787"/>
                  <a:gd name="connsiteY64" fmla="*/ 22740 h 261765"/>
                  <a:gd name="connsiteX65" fmla="*/ 85755 w 214787"/>
                  <a:gd name="connsiteY65" fmla="*/ 19719 h 261765"/>
                  <a:gd name="connsiteX66" fmla="*/ 87806 w 214787"/>
                  <a:gd name="connsiteY66" fmla="*/ 18579 h 261765"/>
                  <a:gd name="connsiteX67" fmla="*/ 95557 w 214787"/>
                  <a:gd name="connsiteY67" fmla="*/ 16755 h 261765"/>
                  <a:gd name="connsiteX68" fmla="*/ 92651 w 214787"/>
                  <a:gd name="connsiteY68" fmla="*/ 9289 h 261765"/>
                  <a:gd name="connsiteX69" fmla="*/ 92366 w 214787"/>
                  <a:gd name="connsiteY69" fmla="*/ 7750 h 261765"/>
                  <a:gd name="connsiteX70" fmla="*/ 119609 w 214787"/>
                  <a:gd name="connsiteY70" fmla="*/ 16698 h 261765"/>
                  <a:gd name="connsiteX71" fmla="*/ 135796 w 214787"/>
                  <a:gd name="connsiteY71" fmla="*/ 21942 h 261765"/>
                  <a:gd name="connsiteX72" fmla="*/ 140698 w 214787"/>
                  <a:gd name="connsiteY72" fmla="*/ 30662 h 261765"/>
                  <a:gd name="connsiteX73" fmla="*/ 149019 w 214787"/>
                  <a:gd name="connsiteY73" fmla="*/ 31688 h 261765"/>
                  <a:gd name="connsiteX74" fmla="*/ 153578 w 214787"/>
                  <a:gd name="connsiteY74" fmla="*/ 39268 h 261765"/>
                  <a:gd name="connsiteX75" fmla="*/ 163324 w 214787"/>
                  <a:gd name="connsiteY75" fmla="*/ 41719 h 261765"/>
                  <a:gd name="connsiteX76" fmla="*/ 165889 w 214787"/>
                  <a:gd name="connsiteY76" fmla="*/ 47418 h 261765"/>
                  <a:gd name="connsiteX77" fmla="*/ 174267 w 214787"/>
                  <a:gd name="connsiteY77" fmla="*/ 50154 h 261765"/>
                  <a:gd name="connsiteX78" fmla="*/ 175122 w 214787"/>
                  <a:gd name="connsiteY78" fmla="*/ 60242 h 261765"/>
                  <a:gd name="connsiteX79" fmla="*/ 188117 w 214787"/>
                  <a:gd name="connsiteY79" fmla="*/ 77340 h 261765"/>
                  <a:gd name="connsiteX80" fmla="*/ 193361 w 214787"/>
                  <a:gd name="connsiteY80" fmla="*/ 77796 h 261765"/>
                  <a:gd name="connsiteX81" fmla="*/ 196723 w 214787"/>
                  <a:gd name="connsiteY81" fmla="*/ 82413 h 26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14787" h="261765">
                    <a:moveTo>
                      <a:pt x="196723" y="82413"/>
                    </a:moveTo>
                    <a:cubicBezTo>
                      <a:pt x="198313" y="83804"/>
                      <a:pt x="200029" y="85046"/>
                      <a:pt x="201853" y="86118"/>
                    </a:cubicBezTo>
                    <a:cubicBezTo>
                      <a:pt x="194102" y="104014"/>
                      <a:pt x="186521" y="122594"/>
                      <a:pt x="186578" y="142029"/>
                    </a:cubicBezTo>
                    <a:cubicBezTo>
                      <a:pt x="186054" y="147393"/>
                      <a:pt x="187809" y="152733"/>
                      <a:pt x="191423" y="156734"/>
                    </a:cubicBezTo>
                    <a:cubicBezTo>
                      <a:pt x="195960" y="159430"/>
                      <a:pt x="201004" y="161157"/>
                      <a:pt x="206241" y="161807"/>
                    </a:cubicBezTo>
                    <a:cubicBezTo>
                      <a:pt x="211314" y="163345"/>
                      <a:pt x="216443" y="168418"/>
                      <a:pt x="214278" y="173206"/>
                    </a:cubicBezTo>
                    <a:cubicBezTo>
                      <a:pt x="204703" y="169444"/>
                      <a:pt x="194843" y="180615"/>
                      <a:pt x="195013" y="190931"/>
                    </a:cubicBezTo>
                    <a:cubicBezTo>
                      <a:pt x="195184" y="201247"/>
                      <a:pt x="201397" y="210309"/>
                      <a:pt x="205956" y="219428"/>
                    </a:cubicBezTo>
                    <a:cubicBezTo>
                      <a:pt x="209296" y="226216"/>
                      <a:pt x="211844" y="233369"/>
                      <a:pt x="213537" y="240744"/>
                    </a:cubicBezTo>
                    <a:cubicBezTo>
                      <a:pt x="207837" y="242511"/>
                      <a:pt x="202480" y="244449"/>
                      <a:pt x="197065" y="246444"/>
                    </a:cubicBezTo>
                    <a:lnTo>
                      <a:pt x="166345" y="257444"/>
                    </a:lnTo>
                    <a:cubicBezTo>
                      <a:pt x="158560" y="261080"/>
                      <a:pt x="149913" y="262465"/>
                      <a:pt x="141381" y="261433"/>
                    </a:cubicBezTo>
                    <a:cubicBezTo>
                      <a:pt x="135881" y="259621"/>
                      <a:pt x="130530" y="257387"/>
                      <a:pt x="125366" y="254765"/>
                    </a:cubicBezTo>
                    <a:cubicBezTo>
                      <a:pt x="121114" y="252816"/>
                      <a:pt x="116315" y="252411"/>
                      <a:pt x="111801" y="253625"/>
                    </a:cubicBezTo>
                    <a:cubicBezTo>
                      <a:pt x="112092" y="251858"/>
                      <a:pt x="112474" y="250108"/>
                      <a:pt x="112941" y="248382"/>
                    </a:cubicBezTo>
                    <a:cubicBezTo>
                      <a:pt x="113557" y="246666"/>
                      <a:pt x="113790" y="244837"/>
                      <a:pt x="113625" y="243024"/>
                    </a:cubicBezTo>
                    <a:cubicBezTo>
                      <a:pt x="113334" y="241850"/>
                      <a:pt x="112890" y="240722"/>
                      <a:pt x="112314" y="239661"/>
                    </a:cubicBezTo>
                    <a:cubicBezTo>
                      <a:pt x="109766" y="234669"/>
                      <a:pt x="108216" y="229232"/>
                      <a:pt x="107754" y="223646"/>
                    </a:cubicBezTo>
                    <a:cubicBezTo>
                      <a:pt x="110074" y="219867"/>
                      <a:pt x="109162" y="214948"/>
                      <a:pt x="105646" y="212247"/>
                    </a:cubicBezTo>
                    <a:cubicBezTo>
                      <a:pt x="104363" y="211466"/>
                      <a:pt x="102984" y="210856"/>
                      <a:pt x="101542" y="210423"/>
                    </a:cubicBezTo>
                    <a:cubicBezTo>
                      <a:pt x="94788" y="208252"/>
                      <a:pt x="87840" y="206724"/>
                      <a:pt x="80796" y="205863"/>
                    </a:cubicBezTo>
                    <a:cubicBezTo>
                      <a:pt x="79097" y="205909"/>
                      <a:pt x="77467" y="205203"/>
                      <a:pt x="76350" y="203926"/>
                    </a:cubicBezTo>
                    <a:cubicBezTo>
                      <a:pt x="75974" y="203065"/>
                      <a:pt x="75683" y="202165"/>
                      <a:pt x="75496" y="201247"/>
                    </a:cubicBezTo>
                    <a:cubicBezTo>
                      <a:pt x="74526" y="198511"/>
                      <a:pt x="71164" y="197599"/>
                      <a:pt x="68371" y="196858"/>
                    </a:cubicBezTo>
                    <a:cubicBezTo>
                      <a:pt x="65578" y="196117"/>
                      <a:pt x="62273" y="194522"/>
                      <a:pt x="62102" y="191615"/>
                    </a:cubicBezTo>
                    <a:cubicBezTo>
                      <a:pt x="55849" y="193177"/>
                      <a:pt x="49494" y="189455"/>
                      <a:pt x="47796" y="183237"/>
                    </a:cubicBezTo>
                    <a:lnTo>
                      <a:pt x="40501" y="184832"/>
                    </a:lnTo>
                    <a:cubicBezTo>
                      <a:pt x="41173" y="182342"/>
                      <a:pt x="40529" y="179674"/>
                      <a:pt x="38791" y="177765"/>
                    </a:cubicBezTo>
                    <a:cubicBezTo>
                      <a:pt x="36996" y="175896"/>
                      <a:pt x="34157" y="175474"/>
                      <a:pt x="31894" y="176739"/>
                    </a:cubicBezTo>
                    <a:lnTo>
                      <a:pt x="28988" y="164998"/>
                    </a:lnTo>
                    <a:cubicBezTo>
                      <a:pt x="27967" y="160342"/>
                      <a:pt x="26537" y="155782"/>
                      <a:pt x="24713" y="151377"/>
                    </a:cubicBezTo>
                    <a:cubicBezTo>
                      <a:pt x="22621" y="148179"/>
                      <a:pt x="21772" y="144326"/>
                      <a:pt x="22319" y="140548"/>
                    </a:cubicBezTo>
                    <a:cubicBezTo>
                      <a:pt x="20780" y="138439"/>
                      <a:pt x="16620" y="140092"/>
                      <a:pt x="15252" y="137812"/>
                    </a:cubicBezTo>
                    <a:cubicBezTo>
                      <a:pt x="14876" y="136792"/>
                      <a:pt x="14699" y="135709"/>
                      <a:pt x="14739" y="134620"/>
                    </a:cubicBezTo>
                    <a:cubicBezTo>
                      <a:pt x="13941" y="130516"/>
                      <a:pt x="6817" y="128921"/>
                      <a:pt x="7672" y="124988"/>
                    </a:cubicBezTo>
                    <a:cubicBezTo>
                      <a:pt x="7672" y="123620"/>
                      <a:pt x="9154" y="122594"/>
                      <a:pt x="9324" y="121226"/>
                    </a:cubicBezTo>
                    <a:cubicBezTo>
                      <a:pt x="9324" y="118491"/>
                      <a:pt x="6019" y="117294"/>
                      <a:pt x="4480" y="115071"/>
                    </a:cubicBezTo>
                    <a:cubicBezTo>
                      <a:pt x="2941" y="112848"/>
                      <a:pt x="3967" y="108972"/>
                      <a:pt x="4480" y="105781"/>
                    </a:cubicBezTo>
                    <a:cubicBezTo>
                      <a:pt x="4993" y="102589"/>
                      <a:pt x="3112" y="98429"/>
                      <a:pt x="34" y="99055"/>
                    </a:cubicBezTo>
                    <a:cubicBezTo>
                      <a:pt x="-245" y="92387"/>
                      <a:pt x="1186" y="85753"/>
                      <a:pt x="4195" y="79791"/>
                    </a:cubicBezTo>
                    <a:lnTo>
                      <a:pt x="4195" y="79791"/>
                    </a:lnTo>
                    <a:lnTo>
                      <a:pt x="4195" y="79506"/>
                    </a:lnTo>
                    <a:cubicBezTo>
                      <a:pt x="6264" y="77546"/>
                      <a:pt x="8680" y="75978"/>
                      <a:pt x="11319" y="74890"/>
                    </a:cubicBezTo>
                    <a:cubicBezTo>
                      <a:pt x="13713" y="73408"/>
                      <a:pt x="15822" y="70387"/>
                      <a:pt x="14511" y="67822"/>
                    </a:cubicBezTo>
                    <a:cubicBezTo>
                      <a:pt x="14089" y="67292"/>
                      <a:pt x="13764" y="66694"/>
                      <a:pt x="13542" y="66055"/>
                    </a:cubicBezTo>
                    <a:cubicBezTo>
                      <a:pt x="13029" y="64004"/>
                      <a:pt x="15651" y="62864"/>
                      <a:pt x="17532" y="61895"/>
                    </a:cubicBezTo>
                    <a:cubicBezTo>
                      <a:pt x="23106" y="58019"/>
                      <a:pt x="24981" y="50633"/>
                      <a:pt x="21920" y="44568"/>
                    </a:cubicBezTo>
                    <a:cubicBezTo>
                      <a:pt x="20530" y="41696"/>
                      <a:pt x="18598" y="39120"/>
                      <a:pt x="16221" y="36988"/>
                    </a:cubicBezTo>
                    <a:cubicBezTo>
                      <a:pt x="21612" y="32366"/>
                      <a:pt x="24542" y="25498"/>
                      <a:pt x="24143" y="18408"/>
                    </a:cubicBezTo>
                    <a:cubicBezTo>
                      <a:pt x="24565" y="15535"/>
                      <a:pt x="23761" y="12617"/>
                      <a:pt x="21920" y="10372"/>
                    </a:cubicBezTo>
                    <a:cubicBezTo>
                      <a:pt x="22775" y="9061"/>
                      <a:pt x="23687" y="7807"/>
                      <a:pt x="24599" y="6496"/>
                    </a:cubicBezTo>
                    <a:cubicBezTo>
                      <a:pt x="25939" y="4108"/>
                      <a:pt x="27911" y="2136"/>
                      <a:pt x="30298" y="797"/>
                    </a:cubicBezTo>
                    <a:cubicBezTo>
                      <a:pt x="32920" y="-104"/>
                      <a:pt x="35747" y="-247"/>
                      <a:pt x="38449" y="398"/>
                    </a:cubicBezTo>
                    <a:lnTo>
                      <a:pt x="49848" y="1879"/>
                    </a:lnTo>
                    <a:cubicBezTo>
                      <a:pt x="49916" y="2820"/>
                      <a:pt x="50127" y="3743"/>
                      <a:pt x="50475" y="4615"/>
                    </a:cubicBezTo>
                    <a:cubicBezTo>
                      <a:pt x="51255" y="6188"/>
                      <a:pt x="51831" y="7853"/>
                      <a:pt x="52185" y="9574"/>
                    </a:cubicBezTo>
                    <a:cubicBezTo>
                      <a:pt x="52544" y="11375"/>
                      <a:pt x="51626" y="13187"/>
                      <a:pt x="49962" y="13962"/>
                    </a:cubicBezTo>
                    <a:cubicBezTo>
                      <a:pt x="48252" y="14532"/>
                      <a:pt x="45687" y="13620"/>
                      <a:pt x="44889" y="15273"/>
                    </a:cubicBezTo>
                    <a:cubicBezTo>
                      <a:pt x="44747" y="15832"/>
                      <a:pt x="44747" y="16425"/>
                      <a:pt x="44889" y="16983"/>
                    </a:cubicBezTo>
                    <a:cubicBezTo>
                      <a:pt x="45414" y="23389"/>
                      <a:pt x="45505" y="29824"/>
                      <a:pt x="45174" y="36247"/>
                    </a:cubicBezTo>
                    <a:cubicBezTo>
                      <a:pt x="49905" y="39097"/>
                      <a:pt x="55889" y="37444"/>
                      <a:pt x="61418" y="37045"/>
                    </a:cubicBezTo>
                    <a:cubicBezTo>
                      <a:pt x="67858" y="36646"/>
                      <a:pt x="74812" y="38128"/>
                      <a:pt x="80511" y="35107"/>
                    </a:cubicBezTo>
                    <a:cubicBezTo>
                      <a:pt x="80112" y="32201"/>
                      <a:pt x="79884" y="28667"/>
                      <a:pt x="82221" y="26900"/>
                    </a:cubicBezTo>
                    <a:cubicBezTo>
                      <a:pt x="82848" y="26387"/>
                      <a:pt x="83646" y="26102"/>
                      <a:pt x="84273" y="25589"/>
                    </a:cubicBezTo>
                    <a:cubicBezTo>
                      <a:pt x="85139" y="24882"/>
                      <a:pt x="85675" y="23851"/>
                      <a:pt x="85755" y="22740"/>
                    </a:cubicBezTo>
                    <a:cubicBezTo>
                      <a:pt x="85755" y="21714"/>
                      <a:pt x="85413" y="20574"/>
                      <a:pt x="85755" y="19719"/>
                    </a:cubicBezTo>
                    <a:cubicBezTo>
                      <a:pt x="86262" y="19080"/>
                      <a:pt x="86997" y="18676"/>
                      <a:pt x="87806" y="18579"/>
                    </a:cubicBezTo>
                    <a:cubicBezTo>
                      <a:pt x="90371" y="17895"/>
                      <a:pt x="92936" y="17268"/>
                      <a:pt x="95557" y="16755"/>
                    </a:cubicBezTo>
                    <a:lnTo>
                      <a:pt x="92651" y="9289"/>
                    </a:lnTo>
                    <a:cubicBezTo>
                      <a:pt x="92474" y="8793"/>
                      <a:pt x="92377" y="8274"/>
                      <a:pt x="92366" y="7750"/>
                    </a:cubicBezTo>
                    <a:cubicBezTo>
                      <a:pt x="101924" y="9021"/>
                      <a:pt x="111163" y="12053"/>
                      <a:pt x="119609" y="16698"/>
                    </a:cubicBezTo>
                    <a:cubicBezTo>
                      <a:pt x="124682" y="19719"/>
                      <a:pt x="130210" y="23765"/>
                      <a:pt x="135796" y="21942"/>
                    </a:cubicBezTo>
                    <a:cubicBezTo>
                      <a:pt x="136309" y="25418"/>
                      <a:pt x="137335" y="29579"/>
                      <a:pt x="140698" y="30662"/>
                    </a:cubicBezTo>
                    <a:cubicBezTo>
                      <a:pt x="144060" y="31745"/>
                      <a:pt x="146682" y="30092"/>
                      <a:pt x="149019" y="31688"/>
                    </a:cubicBezTo>
                    <a:cubicBezTo>
                      <a:pt x="151356" y="33283"/>
                      <a:pt x="151184" y="37387"/>
                      <a:pt x="153578" y="39268"/>
                    </a:cubicBezTo>
                    <a:cubicBezTo>
                      <a:pt x="155972" y="41149"/>
                      <a:pt x="160988" y="39268"/>
                      <a:pt x="163324" y="41719"/>
                    </a:cubicBezTo>
                    <a:cubicBezTo>
                      <a:pt x="164806" y="43372"/>
                      <a:pt x="164407" y="46107"/>
                      <a:pt x="165889" y="47418"/>
                    </a:cubicBezTo>
                    <a:cubicBezTo>
                      <a:pt x="167371" y="48729"/>
                      <a:pt x="171988" y="48216"/>
                      <a:pt x="174267" y="50154"/>
                    </a:cubicBezTo>
                    <a:cubicBezTo>
                      <a:pt x="176547" y="52092"/>
                      <a:pt x="174837" y="56765"/>
                      <a:pt x="175122" y="60242"/>
                    </a:cubicBezTo>
                    <a:cubicBezTo>
                      <a:pt x="175749" y="67480"/>
                      <a:pt x="186521" y="70045"/>
                      <a:pt x="188117" y="77340"/>
                    </a:cubicBezTo>
                    <a:cubicBezTo>
                      <a:pt x="189747" y="76206"/>
                      <a:pt x="191953" y="76394"/>
                      <a:pt x="193361" y="77796"/>
                    </a:cubicBezTo>
                    <a:cubicBezTo>
                      <a:pt x="194575" y="79261"/>
                      <a:pt x="195697" y="80806"/>
                      <a:pt x="196723" y="824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4" name="Freihandform: Form 658">
                <a:extLst>
                  <a:ext uri="{FF2B5EF4-FFF2-40B4-BE49-F238E27FC236}">
                    <a16:creationId xmlns:a16="http://schemas.microsoft.com/office/drawing/2014/main" id="{D5C32A8F-6613-4CCB-4092-EFA1FBF32D28}"/>
                  </a:ext>
                </a:extLst>
              </p:cNvPr>
              <p:cNvSpPr/>
              <p:nvPr/>
            </p:nvSpPr>
            <p:spPr>
              <a:xfrm>
                <a:off x="4400590" y="4164470"/>
                <a:ext cx="119943" cy="121563"/>
              </a:xfrm>
              <a:custGeom>
                <a:avLst/>
                <a:gdLst>
                  <a:gd name="connsiteX0" fmla="*/ 96526 w 119943"/>
                  <a:gd name="connsiteY0" fmla="*/ 81668 h 121563"/>
                  <a:gd name="connsiteX1" fmla="*/ 95728 w 119943"/>
                  <a:gd name="connsiteY1" fmla="*/ 84346 h 121563"/>
                  <a:gd name="connsiteX2" fmla="*/ 91795 w 119943"/>
                  <a:gd name="connsiteY2" fmla="*/ 83377 h 121563"/>
                  <a:gd name="connsiteX3" fmla="*/ 88490 w 119943"/>
                  <a:gd name="connsiteY3" fmla="*/ 82979 h 121563"/>
                  <a:gd name="connsiteX4" fmla="*/ 82790 w 119943"/>
                  <a:gd name="connsiteY4" fmla="*/ 84118 h 121563"/>
                  <a:gd name="connsiteX5" fmla="*/ 64210 w 119943"/>
                  <a:gd name="connsiteY5" fmla="*/ 84118 h 121563"/>
                  <a:gd name="connsiteX6" fmla="*/ 63412 w 119943"/>
                  <a:gd name="connsiteY6" fmla="*/ 92953 h 121563"/>
                  <a:gd name="connsiteX7" fmla="*/ 55091 w 119943"/>
                  <a:gd name="connsiteY7" fmla="*/ 95859 h 121563"/>
                  <a:gd name="connsiteX8" fmla="*/ 50588 w 119943"/>
                  <a:gd name="connsiteY8" fmla="*/ 110621 h 121563"/>
                  <a:gd name="connsiteX9" fmla="*/ 50189 w 119943"/>
                  <a:gd name="connsiteY9" fmla="*/ 113072 h 121563"/>
                  <a:gd name="connsiteX10" fmla="*/ 38790 w 119943"/>
                  <a:gd name="connsiteY10" fmla="*/ 111590 h 121563"/>
                  <a:gd name="connsiteX11" fmla="*/ 30640 w 119943"/>
                  <a:gd name="connsiteY11" fmla="*/ 111989 h 121563"/>
                  <a:gd name="connsiteX12" fmla="*/ 24941 w 119943"/>
                  <a:gd name="connsiteY12" fmla="*/ 117688 h 121563"/>
                  <a:gd name="connsiteX13" fmla="*/ 22262 w 119943"/>
                  <a:gd name="connsiteY13" fmla="*/ 121564 h 121563"/>
                  <a:gd name="connsiteX14" fmla="*/ 21521 w 119943"/>
                  <a:gd name="connsiteY14" fmla="*/ 120823 h 121563"/>
                  <a:gd name="connsiteX15" fmla="*/ 17417 w 119943"/>
                  <a:gd name="connsiteY15" fmla="*/ 119740 h 121563"/>
                  <a:gd name="connsiteX16" fmla="*/ 319 w 119943"/>
                  <a:gd name="connsiteY16" fmla="*/ 119227 h 121563"/>
                  <a:gd name="connsiteX17" fmla="*/ 319 w 119943"/>
                  <a:gd name="connsiteY17" fmla="*/ 114098 h 121563"/>
                  <a:gd name="connsiteX18" fmla="*/ 30298 w 119943"/>
                  <a:gd name="connsiteY18" fmla="*/ 45704 h 121563"/>
                  <a:gd name="connsiteX19" fmla="*/ 35599 w 119943"/>
                  <a:gd name="connsiteY19" fmla="*/ 39663 h 121563"/>
                  <a:gd name="connsiteX20" fmla="*/ 25111 w 119943"/>
                  <a:gd name="connsiteY20" fmla="*/ 17606 h 121563"/>
                  <a:gd name="connsiteX21" fmla="*/ 30184 w 119943"/>
                  <a:gd name="connsiteY21" fmla="*/ 12419 h 121563"/>
                  <a:gd name="connsiteX22" fmla="*/ 30184 w 119943"/>
                  <a:gd name="connsiteY22" fmla="*/ 2046 h 121563"/>
                  <a:gd name="connsiteX23" fmla="*/ 91510 w 119943"/>
                  <a:gd name="connsiteY23" fmla="*/ 2046 h 121563"/>
                  <a:gd name="connsiteX24" fmla="*/ 103405 w 119943"/>
                  <a:gd name="connsiteY24" fmla="*/ 2929 h 121563"/>
                  <a:gd name="connsiteX25" fmla="*/ 103878 w 119943"/>
                  <a:gd name="connsiteY25" fmla="*/ 3528 h 121563"/>
                  <a:gd name="connsiteX26" fmla="*/ 106386 w 119943"/>
                  <a:gd name="connsiteY26" fmla="*/ 8657 h 121563"/>
                  <a:gd name="connsiteX27" fmla="*/ 114023 w 119943"/>
                  <a:gd name="connsiteY27" fmla="*/ 15212 h 121563"/>
                  <a:gd name="connsiteX28" fmla="*/ 115106 w 119943"/>
                  <a:gd name="connsiteY28" fmla="*/ 24103 h 121563"/>
                  <a:gd name="connsiteX29" fmla="*/ 119837 w 119943"/>
                  <a:gd name="connsiteY29" fmla="*/ 30657 h 121563"/>
                  <a:gd name="connsiteX30" fmla="*/ 116645 w 119943"/>
                  <a:gd name="connsiteY30" fmla="*/ 39720 h 121563"/>
                  <a:gd name="connsiteX31" fmla="*/ 116246 w 119943"/>
                  <a:gd name="connsiteY31" fmla="*/ 44564 h 121563"/>
                  <a:gd name="connsiteX32" fmla="*/ 110547 w 119943"/>
                  <a:gd name="connsiteY32" fmla="*/ 52999 h 121563"/>
                  <a:gd name="connsiteX33" fmla="*/ 109863 w 119943"/>
                  <a:gd name="connsiteY33" fmla="*/ 62289 h 121563"/>
                  <a:gd name="connsiteX34" fmla="*/ 96526 w 119943"/>
                  <a:gd name="connsiteY34" fmla="*/ 81668 h 12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9943" h="121563">
                    <a:moveTo>
                      <a:pt x="96526" y="81668"/>
                    </a:moveTo>
                    <a:cubicBezTo>
                      <a:pt x="96526" y="82580"/>
                      <a:pt x="96013" y="83434"/>
                      <a:pt x="95728" y="84346"/>
                    </a:cubicBezTo>
                    <a:cubicBezTo>
                      <a:pt x="94417" y="84004"/>
                      <a:pt x="93106" y="83605"/>
                      <a:pt x="91795" y="83377"/>
                    </a:cubicBezTo>
                    <a:cubicBezTo>
                      <a:pt x="90718" y="83104"/>
                      <a:pt x="89607" y="82967"/>
                      <a:pt x="88490" y="82979"/>
                    </a:cubicBezTo>
                    <a:cubicBezTo>
                      <a:pt x="86552" y="83121"/>
                      <a:pt x="84637" y="83503"/>
                      <a:pt x="82790" y="84118"/>
                    </a:cubicBezTo>
                    <a:cubicBezTo>
                      <a:pt x="76692" y="85657"/>
                      <a:pt x="70309" y="85657"/>
                      <a:pt x="64210" y="84118"/>
                    </a:cubicBezTo>
                    <a:cubicBezTo>
                      <a:pt x="65350" y="87025"/>
                      <a:pt x="65054" y="90297"/>
                      <a:pt x="63412" y="92953"/>
                    </a:cubicBezTo>
                    <a:cubicBezTo>
                      <a:pt x="61417" y="95175"/>
                      <a:pt x="57713" y="95004"/>
                      <a:pt x="55091" y="95859"/>
                    </a:cubicBezTo>
                    <a:cubicBezTo>
                      <a:pt x="56322" y="101228"/>
                      <a:pt x="54606" y="106848"/>
                      <a:pt x="50588" y="110621"/>
                    </a:cubicBezTo>
                    <a:cubicBezTo>
                      <a:pt x="50229" y="111385"/>
                      <a:pt x="50093" y="112234"/>
                      <a:pt x="50189" y="113072"/>
                    </a:cubicBezTo>
                    <a:lnTo>
                      <a:pt x="38790" y="111590"/>
                    </a:lnTo>
                    <a:cubicBezTo>
                      <a:pt x="36089" y="110946"/>
                      <a:pt x="33262" y="111088"/>
                      <a:pt x="30640" y="111989"/>
                    </a:cubicBezTo>
                    <a:cubicBezTo>
                      <a:pt x="28252" y="113328"/>
                      <a:pt x="26280" y="115300"/>
                      <a:pt x="24941" y="117688"/>
                    </a:cubicBezTo>
                    <a:cubicBezTo>
                      <a:pt x="24029" y="118999"/>
                      <a:pt x="23117" y="120253"/>
                      <a:pt x="22262" y="121564"/>
                    </a:cubicBezTo>
                    <a:cubicBezTo>
                      <a:pt x="21977" y="121564"/>
                      <a:pt x="21806" y="121051"/>
                      <a:pt x="21521" y="120823"/>
                    </a:cubicBezTo>
                    <a:cubicBezTo>
                      <a:pt x="20244" y="120173"/>
                      <a:pt x="18848" y="119803"/>
                      <a:pt x="17417" y="119740"/>
                    </a:cubicBezTo>
                    <a:cubicBezTo>
                      <a:pt x="11735" y="119193"/>
                      <a:pt x="6024" y="119022"/>
                      <a:pt x="319" y="119227"/>
                    </a:cubicBezTo>
                    <a:cubicBezTo>
                      <a:pt x="461" y="117523"/>
                      <a:pt x="461" y="115802"/>
                      <a:pt x="319" y="114098"/>
                    </a:cubicBezTo>
                    <a:cubicBezTo>
                      <a:pt x="-2086" y="87663"/>
                      <a:pt x="9233" y="61851"/>
                      <a:pt x="30298" y="45704"/>
                    </a:cubicBezTo>
                    <a:cubicBezTo>
                      <a:pt x="32686" y="44336"/>
                      <a:pt x="34556" y="42210"/>
                      <a:pt x="35599" y="39663"/>
                    </a:cubicBezTo>
                    <a:cubicBezTo>
                      <a:pt x="37821" y="31227"/>
                      <a:pt x="21065" y="25300"/>
                      <a:pt x="25111" y="17606"/>
                    </a:cubicBezTo>
                    <a:cubicBezTo>
                      <a:pt x="26251" y="15440"/>
                      <a:pt x="28702" y="14357"/>
                      <a:pt x="30184" y="12419"/>
                    </a:cubicBezTo>
                    <a:cubicBezTo>
                      <a:pt x="32236" y="9267"/>
                      <a:pt x="32236" y="5198"/>
                      <a:pt x="30184" y="2046"/>
                    </a:cubicBezTo>
                    <a:lnTo>
                      <a:pt x="91510" y="2046"/>
                    </a:lnTo>
                    <a:cubicBezTo>
                      <a:pt x="95039" y="-998"/>
                      <a:pt x="100368" y="-598"/>
                      <a:pt x="103405" y="2929"/>
                    </a:cubicBezTo>
                    <a:cubicBezTo>
                      <a:pt x="103571" y="3123"/>
                      <a:pt x="103730" y="3323"/>
                      <a:pt x="103878" y="3528"/>
                    </a:cubicBezTo>
                    <a:cubicBezTo>
                      <a:pt x="104904" y="5124"/>
                      <a:pt x="105360" y="7005"/>
                      <a:pt x="106386" y="8657"/>
                    </a:cubicBezTo>
                    <a:cubicBezTo>
                      <a:pt x="108210" y="11507"/>
                      <a:pt x="111573" y="12932"/>
                      <a:pt x="114023" y="15212"/>
                    </a:cubicBezTo>
                    <a:cubicBezTo>
                      <a:pt x="116474" y="17492"/>
                      <a:pt x="117785" y="22051"/>
                      <a:pt x="115106" y="24103"/>
                    </a:cubicBezTo>
                    <a:cubicBezTo>
                      <a:pt x="118241" y="23305"/>
                      <a:pt x="120464" y="27466"/>
                      <a:pt x="119837" y="30657"/>
                    </a:cubicBezTo>
                    <a:cubicBezTo>
                      <a:pt x="119210" y="33849"/>
                      <a:pt x="117101" y="36357"/>
                      <a:pt x="116645" y="39720"/>
                    </a:cubicBezTo>
                    <a:cubicBezTo>
                      <a:pt x="116645" y="41315"/>
                      <a:pt x="116645" y="42968"/>
                      <a:pt x="116246" y="44564"/>
                    </a:cubicBezTo>
                    <a:cubicBezTo>
                      <a:pt x="114970" y="47750"/>
                      <a:pt x="113026" y="50623"/>
                      <a:pt x="110547" y="52999"/>
                    </a:cubicBezTo>
                    <a:cubicBezTo>
                      <a:pt x="108552" y="55735"/>
                      <a:pt x="107412" y="59896"/>
                      <a:pt x="109863" y="62289"/>
                    </a:cubicBezTo>
                    <a:cubicBezTo>
                      <a:pt x="102225" y="64854"/>
                      <a:pt x="98920" y="73745"/>
                      <a:pt x="96526" y="81668"/>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65" name="Freihandform: Form 659">
                <a:extLst>
                  <a:ext uri="{FF2B5EF4-FFF2-40B4-BE49-F238E27FC236}">
                    <a16:creationId xmlns:a16="http://schemas.microsoft.com/office/drawing/2014/main" id="{116E2466-441D-F799-B5F8-9945C2D2306B}"/>
                  </a:ext>
                </a:extLst>
              </p:cNvPr>
              <p:cNvSpPr/>
              <p:nvPr/>
            </p:nvSpPr>
            <p:spPr>
              <a:xfrm>
                <a:off x="4493354" y="4137632"/>
                <a:ext cx="175258" cy="224148"/>
              </a:xfrm>
              <a:custGeom>
                <a:avLst/>
                <a:gdLst>
                  <a:gd name="connsiteX0" fmla="*/ 161352 w 175258"/>
                  <a:gd name="connsiteY0" fmla="*/ 140024 h 224148"/>
                  <a:gd name="connsiteX1" fmla="*/ 163119 w 175258"/>
                  <a:gd name="connsiteY1" fmla="*/ 151423 h 224148"/>
                  <a:gd name="connsiteX2" fmla="*/ 158274 w 175258"/>
                  <a:gd name="connsiteY2" fmla="*/ 159687 h 224148"/>
                  <a:gd name="connsiteX3" fmla="*/ 146875 w 175258"/>
                  <a:gd name="connsiteY3" fmla="*/ 168350 h 224148"/>
                  <a:gd name="connsiteX4" fmla="*/ 123678 w 175258"/>
                  <a:gd name="connsiteY4" fmla="*/ 204941 h 224148"/>
                  <a:gd name="connsiteX5" fmla="*/ 120886 w 175258"/>
                  <a:gd name="connsiteY5" fmla="*/ 217138 h 224148"/>
                  <a:gd name="connsiteX6" fmla="*/ 110627 w 175258"/>
                  <a:gd name="connsiteY6" fmla="*/ 222324 h 224148"/>
                  <a:gd name="connsiteX7" fmla="*/ 109829 w 175258"/>
                  <a:gd name="connsiteY7" fmla="*/ 224148 h 224148"/>
                  <a:gd name="connsiteX8" fmla="*/ 104699 w 175258"/>
                  <a:gd name="connsiteY8" fmla="*/ 220444 h 224148"/>
                  <a:gd name="connsiteX9" fmla="*/ 100995 w 175258"/>
                  <a:gd name="connsiteY9" fmla="*/ 216055 h 224148"/>
                  <a:gd name="connsiteX10" fmla="*/ 95751 w 175258"/>
                  <a:gd name="connsiteY10" fmla="*/ 215599 h 224148"/>
                  <a:gd name="connsiteX11" fmla="*/ 82756 w 175258"/>
                  <a:gd name="connsiteY11" fmla="*/ 198501 h 224148"/>
                  <a:gd name="connsiteX12" fmla="*/ 81901 w 175258"/>
                  <a:gd name="connsiteY12" fmla="*/ 188412 h 224148"/>
                  <a:gd name="connsiteX13" fmla="*/ 73523 w 175258"/>
                  <a:gd name="connsiteY13" fmla="*/ 185677 h 224148"/>
                  <a:gd name="connsiteX14" fmla="*/ 70958 w 175258"/>
                  <a:gd name="connsiteY14" fmla="*/ 179977 h 224148"/>
                  <a:gd name="connsiteX15" fmla="*/ 61212 w 175258"/>
                  <a:gd name="connsiteY15" fmla="*/ 177526 h 224148"/>
                  <a:gd name="connsiteX16" fmla="*/ 56653 w 175258"/>
                  <a:gd name="connsiteY16" fmla="*/ 169946 h 224148"/>
                  <a:gd name="connsiteX17" fmla="*/ 48331 w 175258"/>
                  <a:gd name="connsiteY17" fmla="*/ 168920 h 224148"/>
                  <a:gd name="connsiteX18" fmla="*/ 43430 w 175258"/>
                  <a:gd name="connsiteY18" fmla="*/ 160200 h 224148"/>
                  <a:gd name="connsiteX19" fmla="*/ 27243 w 175258"/>
                  <a:gd name="connsiteY19" fmla="*/ 154956 h 224148"/>
                  <a:gd name="connsiteX20" fmla="*/ 0 w 175258"/>
                  <a:gd name="connsiteY20" fmla="*/ 146008 h 224148"/>
                  <a:gd name="connsiteX21" fmla="*/ 0 w 175258"/>
                  <a:gd name="connsiteY21" fmla="*/ 145723 h 224148"/>
                  <a:gd name="connsiteX22" fmla="*/ 5699 w 175258"/>
                  <a:gd name="connsiteY22" fmla="*/ 142589 h 224148"/>
                  <a:gd name="connsiteX23" fmla="*/ 7067 w 175258"/>
                  <a:gd name="connsiteY23" fmla="*/ 138599 h 224148"/>
                  <a:gd name="connsiteX24" fmla="*/ 5358 w 175258"/>
                  <a:gd name="connsiteY24" fmla="*/ 134552 h 224148"/>
                  <a:gd name="connsiteX25" fmla="*/ 3305 w 175258"/>
                  <a:gd name="connsiteY25" fmla="*/ 130962 h 224148"/>
                  <a:gd name="connsiteX26" fmla="*/ 2736 w 175258"/>
                  <a:gd name="connsiteY26" fmla="*/ 127998 h 224148"/>
                  <a:gd name="connsiteX27" fmla="*/ 4388 w 175258"/>
                  <a:gd name="connsiteY27" fmla="*/ 126630 h 224148"/>
                  <a:gd name="connsiteX28" fmla="*/ 10487 w 175258"/>
                  <a:gd name="connsiteY28" fmla="*/ 123666 h 224148"/>
                  <a:gd name="connsiteX29" fmla="*/ 14249 w 175258"/>
                  <a:gd name="connsiteY29" fmla="*/ 120589 h 224148"/>
                  <a:gd name="connsiteX30" fmla="*/ 13109 w 175258"/>
                  <a:gd name="connsiteY30" fmla="*/ 115630 h 224148"/>
                  <a:gd name="connsiteX31" fmla="*/ 8549 w 175258"/>
                  <a:gd name="connsiteY31" fmla="*/ 112894 h 224148"/>
                  <a:gd name="connsiteX32" fmla="*/ 3477 w 175258"/>
                  <a:gd name="connsiteY32" fmla="*/ 111185 h 224148"/>
                  <a:gd name="connsiteX33" fmla="*/ 4275 w 175258"/>
                  <a:gd name="connsiteY33" fmla="*/ 108506 h 224148"/>
                  <a:gd name="connsiteX34" fmla="*/ 17896 w 175258"/>
                  <a:gd name="connsiteY34" fmla="*/ 88729 h 224148"/>
                  <a:gd name="connsiteX35" fmla="*/ 18580 w 175258"/>
                  <a:gd name="connsiteY35" fmla="*/ 79438 h 224148"/>
                  <a:gd name="connsiteX36" fmla="*/ 24279 w 175258"/>
                  <a:gd name="connsiteY36" fmla="*/ 71003 h 224148"/>
                  <a:gd name="connsiteX37" fmla="*/ 24678 w 175258"/>
                  <a:gd name="connsiteY37" fmla="*/ 66159 h 224148"/>
                  <a:gd name="connsiteX38" fmla="*/ 27870 w 175258"/>
                  <a:gd name="connsiteY38" fmla="*/ 57097 h 224148"/>
                  <a:gd name="connsiteX39" fmla="*/ 23140 w 175258"/>
                  <a:gd name="connsiteY39" fmla="*/ 50542 h 224148"/>
                  <a:gd name="connsiteX40" fmla="*/ 22057 w 175258"/>
                  <a:gd name="connsiteY40" fmla="*/ 41651 h 224148"/>
                  <a:gd name="connsiteX41" fmla="*/ 14419 w 175258"/>
                  <a:gd name="connsiteY41" fmla="*/ 35097 h 224148"/>
                  <a:gd name="connsiteX42" fmla="*/ 11912 w 175258"/>
                  <a:gd name="connsiteY42" fmla="*/ 29967 h 224148"/>
                  <a:gd name="connsiteX43" fmla="*/ 3192 w 175258"/>
                  <a:gd name="connsiteY43" fmla="*/ 26661 h 224148"/>
                  <a:gd name="connsiteX44" fmla="*/ 3647 w 175258"/>
                  <a:gd name="connsiteY44" fmla="*/ 20449 h 224148"/>
                  <a:gd name="connsiteX45" fmla="*/ 5186 w 175258"/>
                  <a:gd name="connsiteY45" fmla="*/ 16174 h 224148"/>
                  <a:gd name="connsiteX46" fmla="*/ 12083 w 175258"/>
                  <a:gd name="connsiteY46" fmla="*/ 11501 h 224148"/>
                  <a:gd name="connsiteX47" fmla="*/ 12938 w 175258"/>
                  <a:gd name="connsiteY47" fmla="*/ 7340 h 224148"/>
                  <a:gd name="connsiteX48" fmla="*/ 21544 w 175258"/>
                  <a:gd name="connsiteY48" fmla="*/ 4946 h 224148"/>
                  <a:gd name="connsiteX49" fmla="*/ 28383 w 175258"/>
                  <a:gd name="connsiteY49" fmla="*/ 501 h 224148"/>
                  <a:gd name="connsiteX50" fmla="*/ 44228 w 175258"/>
                  <a:gd name="connsiteY50" fmla="*/ 4661 h 224148"/>
                  <a:gd name="connsiteX51" fmla="*/ 48559 w 175258"/>
                  <a:gd name="connsiteY51" fmla="*/ 9278 h 224148"/>
                  <a:gd name="connsiteX52" fmla="*/ 72725 w 175258"/>
                  <a:gd name="connsiteY52" fmla="*/ 12071 h 224148"/>
                  <a:gd name="connsiteX53" fmla="*/ 76088 w 175258"/>
                  <a:gd name="connsiteY53" fmla="*/ 22387 h 224148"/>
                  <a:gd name="connsiteX54" fmla="*/ 83953 w 175258"/>
                  <a:gd name="connsiteY54" fmla="*/ 24040 h 224148"/>
                  <a:gd name="connsiteX55" fmla="*/ 88741 w 175258"/>
                  <a:gd name="connsiteY55" fmla="*/ 29397 h 224148"/>
                  <a:gd name="connsiteX56" fmla="*/ 101508 w 175258"/>
                  <a:gd name="connsiteY56" fmla="*/ 33900 h 224148"/>
                  <a:gd name="connsiteX57" fmla="*/ 104642 w 175258"/>
                  <a:gd name="connsiteY57" fmla="*/ 37604 h 224148"/>
                  <a:gd name="connsiteX58" fmla="*/ 109088 w 175258"/>
                  <a:gd name="connsiteY58" fmla="*/ 38060 h 224148"/>
                  <a:gd name="connsiteX59" fmla="*/ 121969 w 175258"/>
                  <a:gd name="connsiteY59" fmla="*/ 36920 h 224148"/>
                  <a:gd name="connsiteX60" fmla="*/ 127127 w 175258"/>
                  <a:gd name="connsiteY60" fmla="*/ 30725 h 224148"/>
                  <a:gd name="connsiteX61" fmla="*/ 127383 w 175258"/>
                  <a:gd name="connsiteY61" fmla="*/ 30708 h 224148"/>
                  <a:gd name="connsiteX62" fmla="*/ 134336 w 175258"/>
                  <a:gd name="connsiteY62" fmla="*/ 29625 h 224148"/>
                  <a:gd name="connsiteX63" fmla="*/ 134336 w 175258"/>
                  <a:gd name="connsiteY63" fmla="*/ 25522 h 224148"/>
                  <a:gd name="connsiteX64" fmla="*/ 143342 w 175258"/>
                  <a:gd name="connsiteY64" fmla="*/ 20506 h 224148"/>
                  <a:gd name="connsiteX65" fmla="*/ 158787 w 175258"/>
                  <a:gd name="connsiteY65" fmla="*/ 14806 h 224148"/>
                  <a:gd name="connsiteX66" fmla="*/ 166710 w 175258"/>
                  <a:gd name="connsiteY66" fmla="*/ 19195 h 224148"/>
                  <a:gd name="connsiteX67" fmla="*/ 175259 w 175258"/>
                  <a:gd name="connsiteY67" fmla="*/ 20449 h 224148"/>
                  <a:gd name="connsiteX68" fmla="*/ 165171 w 175258"/>
                  <a:gd name="connsiteY68" fmla="*/ 36408 h 224148"/>
                  <a:gd name="connsiteX69" fmla="*/ 162093 w 175258"/>
                  <a:gd name="connsiteY69" fmla="*/ 40454 h 224148"/>
                  <a:gd name="connsiteX70" fmla="*/ 161466 w 175258"/>
                  <a:gd name="connsiteY70" fmla="*/ 44045 h 224148"/>
                  <a:gd name="connsiteX71" fmla="*/ 156564 w 175258"/>
                  <a:gd name="connsiteY71" fmla="*/ 52138 h 224148"/>
                  <a:gd name="connsiteX72" fmla="*/ 155311 w 175258"/>
                  <a:gd name="connsiteY72" fmla="*/ 61029 h 224148"/>
                  <a:gd name="connsiteX73" fmla="*/ 155311 w 175258"/>
                  <a:gd name="connsiteY73" fmla="*/ 135920 h 224148"/>
                  <a:gd name="connsiteX74" fmla="*/ 160822 w 175258"/>
                  <a:gd name="connsiteY74" fmla="*/ 140127 h 224148"/>
                  <a:gd name="connsiteX75" fmla="*/ 161352 w 175258"/>
                  <a:gd name="connsiteY75" fmla="*/ 140024 h 22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75258" h="224148">
                    <a:moveTo>
                      <a:pt x="161352" y="140024"/>
                    </a:moveTo>
                    <a:cubicBezTo>
                      <a:pt x="162281" y="143763"/>
                      <a:pt x="162874" y="147576"/>
                      <a:pt x="163119" y="151423"/>
                    </a:cubicBezTo>
                    <a:cubicBezTo>
                      <a:pt x="161899" y="154392"/>
                      <a:pt x="160269" y="157174"/>
                      <a:pt x="158274" y="159687"/>
                    </a:cubicBezTo>
                    <a:cubicBezTo>
                      <a:pt x="154877" y="163067"/>
                      <a:pt x="151042" y="165979"/>
                      <a:pt x="146875" y="168350"/>
                    </a:cubicBezTo>
                    <a:cubicBezTo>
                      <a:pt x="134507" y="176899"/>
                      <a:pt x="126135" y="190105"/>
                      <a:pt x="123678" y="204941"/>
                    </a:cubicBezTo>
                    <a:cubicBezTo>
                      <a:pt x="123427" y="209130"/>
                      <a:pt x="122482" y="213256"/>
                      <a:pt x="120886" y="217138"/>
                    </a:cubicBezTo>
                    <a:cubicBezTo>
                      <a:pt x="119142" y="221093"/>
                      <a:pt x="114844" y="223265"/>
                      <a:pt x="110627" y="222324"/>
                    </a:cubicBezTo>
                    <a:cubicBezTo>
                      <a:pt x="110342" y="222951"/>
                      <a:pt x="110114" y="223578"/>
                      <a:pt x="109829" y="224148"/>
                    </a:cubicBezTo>
                    <a:cubicBezTo>
                      <a:pt x="108005" y="223077"/>
                      <a:pt x="106289" y="221834"/>
                      <a:pt x="104699" y="220444"/>
                    </a:cubicBezTo>
                    <a:cubicBezTo>
                      <a:pt x="103559" y="218905"/>
                      <a:pt x="102323" y="217440"/>
                      <a:pt x="100995" y="216055"/>
                    </a:cubicBezTo>
                    <a:cubicBezTo>
                      <a:pt x="99587" y="214653"/>
                      <a:pt x="97381" y="214465"/>
                      <a:pt x="95751" y="215599"/>
                    </a:cubicBezTo>
                    <a:cubicBezTo>
                      <a:pt x="93984" y="208589"/>
                      <a:pt x="83383" y="206024"/>
                      <a:pt x="82756" y="198501"/>
                    </a:cubicBezTo>
                    <a:cubicBezTo>
                      <a:pt x="82471" y="195024"/>
                      <a:pt x="84523" y="190749"/>
                      <a:pt x="81901" y="188412"/>
                    </a:cubicBezTo>
                    <a:cubicBezTo>
                      <a:pt x="79280" y="186076"/>
                      <a:pt x="75632" y="187843"/>
                      <a:pt x="73523" y="185677"/>
                    </a:cubicBezTo>
                    <a:cubicBezTo>
                      <a:pt x="71414" y="183511"/>
                      <a:pt x="72440" y="181345"/>
                      <a:pt x="70958" y="179977"/>
                    </a:cubicBezTo>
                    <a:cubicBezTo>
                      <a:pt x="68622" y="177412"/>
                      <a:pt x="63948" y="179578"/>
                      <a:pt x="61212" y="177526"/>
                    </a:cubicBezTo>
                    <a:cubicBezTo>
                      <a:pt x="58476" y="175475"/>
                      <a:pt x="59104" y="171827"/>
                      <a:pt x="56653" y="169946"/>
                    </a:cubicBezTo>
                    <a:cubicBezTo>
                      <a:pt x="54202" y="168065"/>
                      <a:pt x="50953" y="169946"/>
                      <a:pt x="48331" y="168920"/>
                    </a:cubicBezTo>
                    <a:cubicBezTo>
                      <a:pt x="45710" y="167894"/>
                      <a:pt x="43943" y="163677"/>
                      <a:pt x="43430" y="160200"/>
                    </a:cubicBezTo>
                    <a:cubicBezTo>
                      <a:pt x="37730" y="162024"/>
                      <a:pt x="32316" y="157977"/>
                      <a:pt x="27243" y="154956"/>
                    </a:cubicBezTo>
                    <a:cubicBezTo>
                      <a:pt x="18797" y="150311"/>
                      <a:pt x="9558" y="147279"/>
                      <a:pt x="0" y="146008"/>
                    </a:cubicBezTo>
                    <a:cubicBezTo>
                      <a:pt x="0" y="146008"/>
                      <a:pt x="0" y="146008"/>
                      <a:pt x="0" y="145723"/>
                    </a:cubicBezTo>
                    <a:cubicBezTo>
                      <a:pt x="399" y="143558"/>
                      <a:pt x="3647" y="143899"/>
                      <a:pt x="5699" y="142589"/>
                    </a:cubicBezTo>
                    <a:cubicBezTo>
                      <a:pt x="6845" y="141608"/>
                      <a:pt x="7369" y="140081"/>
                      <a:pt x="7067" y="138599"/>
                    </a:cubicBezTo>
                    <a:cubicBezTo>
                      <a:pt x="6742" y="137163"/>
                      <a:pt x="6161" y="135789"/>
                      <a:pt x="5358" y="134552"/>
                    </a:cubicBezTo>
                    <a:lnTo>
                      <a:pt x="3305" y="130962"/>
                    </a:lnTo>
                    <a:cubicBezTo>
                      <a:pt x="2656" y="130118"/>
                      <a:pt x="2445" y="129018"/>
                      <a:pt x="2736" y="127998"/>
                    </a:cubicBezTo>
                    <a:cubicBezTo>
                      <a:pt x="3118" y="127365"/>
                      <a:pt x="3699" y="126887"/>
                      <a:pt x="4388" y="126630"/>
                    </a:cubicBezTo>
                    <a:lnTo>
                      <a:pt x="10487" y="123666"/>
                    </a:lnTo>
                    <a:cubicBezTo>
                      <a:pt x="12071" y="123125"/>
                      <a:pt x="13405" y="122036"/>
                      <a:pt x="14249" y="120589"/>
                    </a:cubicBezTo>
                    <a:cubicBezTo>
                      <a:pt x="14881" y="118856"/>
                      <a:pt x="14431" y="116913"/>
                      <a:pt x="13109" y="115630"/>
                    </a:cubicBezTo>
                    <a:cubicBezTo>
                      <a:pt x="11826" y="114371"/>
                      <a:pt x="10265" y="113436"/>
                      <a:pt x="8549" y="112894"/>
                    </a:cubicBezTo>
                    <a:cubicBezTo>
                      <a:pt x="6891" y="112239"/>
                      <a:pt x="5198" y="111669"/>
                      <a:pt x="3477" y="111185"/>
                    </a:cubicBezTo>
                    <a:cubicBezTo>
                      <a:pt x="3477" y="110273"/>
                      <a:pt x="4046" y="109418"/>
                      <a:pt x="4275" y="108506"/>
                    </a:cubicBezTo>
                    <a:cubicBezTo>
                      <a:pt x="6725" y="100583"/>
                      <a:pt x="9974" y="91692"/>
                      <a:pt x="17896" y="88729"/>
                    </a:cubicBezTo>
                    <a:cubicBezTo>
                      <a:pt x="15445" y="86335"/>
                      <a:pt x="16585" y="82174"/>
                      <a:pt x="18580" y="79438"/>
                    </a:cubicBezTo>
                    <a:cubicBezTo>
                      <a:pt x="21059" y="77062"/>
                      <a:pt x="22997" y="74189"/>
                      <a:pt x="24279" y="71003"/>
                    </a:cubicBezTo>
                    <a:cubicBezTo>
                      <a:pt x="24621" y="69408"/>
                      <a:pt x="24279" y="67755"/>
                      <a:pt x="24678" y="66159"/>
                    </a:cubicBezTo>
                    <a:cubicBezTo>
                      <a:pt x="25135" y="62967"/>
                      <a:pt x="27300" y="60459"/>
                      <a:pt x="27870" y="57097"/>
                    </a:cubicBezTo>
                    <a:cubicBezTo>
                      <a:pt x="28440" y="53734"/>
                      <a:pt x="26274" y="49744"/>
                      <a:pt x="23140" y="50542"/>
                    </a:cubicBezTo>
                    <a:cubicBezTo>
                      <a:pt x="25818" y="48490"/>
                      <a:pt x="24565" y="43988"/>
                      <a:pt x="22057" y="41651"/>
                    </a:cubicBezTo>
                    <a:cubicBezTo>
                      <a:pt x="19549" y="39314"/>
                      <a:pt x="16357" y="37946"/>
                      <a:pt x="14419" y="35097"/>
                    </a:cubicBezTo>
                    <a:cubicBezTo>
                      <a:pt x="13394" y="33444"/>
                      <a:pt x="12938" y="31563"/>
                      <a:pt x="11912" y="29967"/>
                    </a:cubicBezTo>
                    <a:cubicBezTo>
                      <a:pt x="9934" y="27214"/>
                      <a:pt x="6497" y="25909"/>
                      <a:pt x="3192" y="26661"/>
                    </a:cubicBezTo>
                    <a:cubicBezTo>
                      <a:pt x="3192" y="24610"/>
                      <a:pt x="3192" y="22501"/>
                      <a:pt x="3647" y="20449"/>
                    </a:cubicBezTo>
                    <a:cubicBezTo>
                      <a:pt x="3733" y="18904"/>
                      <a:pt x="4269" y="17417"/>
                      <a:pt x="5186" y="16174"/>
                    </a:cubicBezTo>
                    <a:cubicBezTo>
                      <a:pt x="7067" y="14066"/>
                      <a:pt x="10886" y="14066"/>
                      <a:pt x="12083" y="11501"/>
                    </a:cubicBezTo>
                    <a:cubicBezTo>
                      <a:pt x="12710" y="10247"/>
                      <a:pt x="12083" y="8651"/>
                      <a:pt x="12938" y="7340"/>
                    </a:cubicBezTo>
                    <a:cubicBezTo>
                      <a:pt x="14192" y="4377"/>
                      <a:pt x="18352" y="4661"/>
                      <a:pt x="21544" y="4946"/>
                    </a:cubicBezTo>
                    <a:cubicBezTo>
                      <a:pt x="24736" y="5231"/>
                      <a:pt x="29124" y="3578"/>
                      <a:pt x="28383" y="501"/>
                    </a:cubicBezTo>
                    <a:cubicBezTo>
                      <a:pt x="34031" y="-896"/>
                      <a:pt x="39999" y="672"/>
                      <a:pt x="44228" y="4661"/>
                    </a:cubicBezTo>
                    <a:cubicBezTo>
                      <a:pt x="45767" y="6143"/>
                      <a:pt x="46964" y="7853"/>
                      <a:pt x="48559" y="9278"/>
                    </a:cubicBezTo>
                    <a:cubicBezTo>
                      <a:pt x="54829" y="14977"/>
                      <a:pt x="64461" y="13667"/>
                      <a:pt x="72725" y="12071"/>
                    </a:cubicBezTo>
                    <a:cubicBezTo>
                      <a:pt x="72725" y="15832"/>
                      <a:pt x="72725" y="20278"/>
                      <a:pt x="76088" y="22387"/>
                    </a:cubicBezTo>
                    <a:cubicBezTo>
                      <a:pt x="78579" y="23441"/>
                      <a:pt x="81252" y="24005"/>
                      <a:pt x="83953" y="24040"/>
                    </a:cubicBezTo>
                    <a:cubicBezTo>
                      <a:pt x="86632" y="24553"/>
                      <a:pt x="89653" y="26832"/>
                      <a:pt x="88741" y="29397"/>
                    </a:cubicBezTo>
                    <a:cubicBezTo>
                      <a:pt x="93517" y="28200"/>
                      <a:pt x="98544" y="29973"/>
                      <a:pt x="101508" y="33900"/>
                    </a:cubicBezTo>
                    <a:cubicBezTo>
                      <a:pt x="102277" y="35347"/>
                      <a:pt x="103343" y="36607"/>
                      <a:pt x="104642" y="37604"/>
                    </a:cubicBezTo>
                    <a:cubicBezTo>
                      <a:pt x="106056" y="38152"/>
                      <a:pt x="107589" y="38311"/>
                      <a:pt x="109088" y="38060"/>
                    </a:cubicBezTo>
                    <a:lnTo>
                      <a:pt x="121969" y="36920"/>
                    </a:lnTo>
                    <a:cubicBezTo>
                      <a:pt x="121684" y="33786"/>
                      <a:pt x="123992" y="31010"/>
                      <a:pt x="127127" y="30725"/>
                    </a:cubicBezTo>
                    <a:cubicBezTo>
                      <a:pt x="127212" y="30719"/>
                      <a:pt x="127298" y="30714"/>
                      <a:pt x="127383" y="30708"/>
                    </a:cubicBezTo>
                    <a:cubicBezTo>
                      <a:pt x="129891" y="30708"/>
                      <a:pt x="133083" y="31848"/>
                      <a:pt x="134336" y="29625"/>
                    </a:cubicBezTo>
                    <a:cubicBezTo>
                      <a:pt x="134963" y="28371"/>
                      <a:pt x="134336" y="26889"/>
                      <a:pt x="134336" y="25522"/>
                    </a:cubicBezTo>
                    <a:cubicBezTo>
                      <a:pt x="134735" y="21817"/>
                      <a:pt x="140036" y="21475"/>
                      <a:pt x="143342" y="20506"/>
                    </a:cubicBezTo>
                    <a:cubicBezTo>
                      <a:pt x="148756" y="19081"/>
                      <a:pt x="153316" y="14009"/>
                      <a:pt x="158787" y="14806"/>
                    </a:cubicBezTo>
                    <a:cubicBezTo>
                      <a:pt x="161694" y="15724"/>
                      <a:pt x="164390" y="17217"/>
                      <a:pt x="166710" y="19195"/>
                    </a:cubicBezTo>
                    <a:cubicBezTo>
                      <a:pt x="169080" y="21224"/>
                      <a:pt x="172403" y="21714"/>
                      <a:pt x="175259" y="20449"/>
                    </a:cubicBezTo>
                    <a:cubicBezTo>
                      <a:pt x="173036" y="26411"/>
                      <a:pt x="169599" y="31842"/>
                      <a:pt x="165171" y="36408"/>
                    </a:cubicBezTo>
                    <a:cubicBezTo>
                      <a:pt x="163865" y="37519"/>
                      <a:pt x="162811" y="38898"/>
                      <a:pt x="162093" y="40454"/>
                    </a:cubicBezTo>
                    <a:cubicBezTo>
                      <a:pt x="161797" y="41634"/>
                      <a:pt x="161586" y="42836"/>
                      <a:pt x="161466" y="44045"/>
                    </a:cubicBezTo>
                    <a:cubicBezTo>
                      <a:pt x="160366" y="47031"/>
                      <a:pt x="158702" y="49779"/>
                      <a:pt x="156564" y="52138"/>
                    </a:cubicBezTo>
                    <a:cubicBezTo>
                      <a:pt x="154444" y="54600"/>
                      <a:pt x="153954" y="58077"/>
                      <a:pt x="155311" y="61029"/>
                    </a:cubicBezTo>
                    <a:lnTo>
                      <a:pt x="155311" y="135920"/>
                    </a:lnTo>
                    <a:cubicBezTo>
                      <a:pt x="155670" y="138605"/>
                      <a:pt x="158137" y="140486"/>
                      <a:pt x="160822" y="140127"/>
                    </a:cubicBezTo>
                    <a:cubicBezTo>
                      <a:pt x="160999" y="140104"/>
                      <a:pt x="161175" y="140069"/>
                      <a:pt x="161352" y="1400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6" name="Freihandform: Form 660">
                <a:extLst>
                  <a:ext uri="{FF2B5EF4-FFF2-40B4-BE49-F238E27FC236}">
                    <a16:creationId xmlns:a16="http://schemas.microsoft.com/office/drawing/2014/main" id="{71250028-2DEE-D622-7466-FD2B6BF3F993}"/>
                  </a:ext>
                </a:extLst>
              </p:cNvPr>
              <p:cNvSpPr/>
              <p:nvPr/>
            </p:nvSpPr>
            <p:spPr>
              <a:xfrm>
                <a:off x="4024009" y="4165775"/>
                <a:ext cx="144247" cy="210595"/>
              </a:xfrm>
              <a:custGeom>
                <a:avLst/>
                <a:gdLst>
                  <a:gd name="connsiteX0" fmla="*/ 131537 w 144247"/>
                  <a:gd name="connsiteY0" fmla="*/ 855 h 210595"/>
                  <a:gd name="connsiteX1" fmla="*/ 142423 w 144247"/>
                  <a:gd name="connsiteY1" fmla="*/ 0 h 210595"/>
                  <a:gd name="connsiteX2" fmla="*/ 144247 w 144247"/>
                  <a:gd name="connsiteY2" fmla="*/ 15332 h 210595"/>
                  <a:gd name="connsiteX3" fmla="*/ 141397 w 144247"/>
                  <a:gd name="connsiteY3" fmla="*/ 27358 h 210595"/>
                  <a:gd name="connsiteX4" fmla="*/ 132278 w 144247"/>
                  <a:gd name="connsiteY4" fmla="*/ 55114 h 210595"/>
                  <a:gd name="connsiteX5" fmla="*/ 120138 w 144247"/>
                  <a:gd name="connsiteY5" fmla="*/ 87544 h 210595"/>
                  <a:gd name="connsiteX6" fmla="*/ 108113 w 144247"/>
                  <a:gd name="connsiteY6" fmla="*/ 109202 h 210595"/>
                  <a:gd name="connsiteX7" fmla="*/ 95003 w 144247"/>
                  <a:gd name="connsiteY7" fmla="*/ 138668 h 210595"/>
                  <a:gd name="connsiteX8" fmla="*/ 92439 w 144247"/>
                  <a:gd name="connsiteY8" fmla="*/ 176057 h 210595"/>
                  <a:gd name="connsiteX9" fmla="*/ 85428 w 144247"/>
                  <a:gd name="connsiteY9" fmla="*/ 192756 h 210595"/>
                  <a:gd name="connsiteX10" fmla="*/ 75683 w 144247"/>
                  <a:gd name="connsiteY10" fmla="*/ 200109 h 210595"/>
                  <a:gd name="connsiteX11" fmla="*/ 64853 w 144247"/>
                  <a:gd name="connsiteY11" fmla="*/ 203756 h 210595"/>
                  <a:gd name="connsiteX12" fmla="*/ 57102 w 144247"/>
                  <a:gd name="connsiteY12" fmla="*/ 193611 h 210595"/>
                  <a:gd name="connsiteX13" fmla="*/ 51403 w 144247"/>
                  <a:gd name="connsiteY13" fmla="*/ 197544 h 210595"/>
                  <a:gd name="connsiteX14" fmla="*/ 34304 w 144247"/>
                  <a:gd name="connsiteY14" fmla="*/ 199482 h 210595"/>
                  <a:gd name="connsiteX15" fmla="*/ 23874 w 144247"/>
                  <a:gd name="connsiteY15" fmla="*/ 203528 h 210595"/>
                  <a:gd name="connsiteX16" fmla="*/ 10651 w 144247"/>
                  <a:gd name="connsiteY16" fmla="*/ 210596 h 210595"/>
                  <a:gd name="connsiteX17" fmla="*/ 1532 w 144247"/>
                  <a:gd name="connsiteY17" fmla="*/ 182098 h 210595"/>
                  <a:gd name="connsiteX18" fmla="*/ 5522 w 144247"/>
                  <a:gd name="connsiteY18" fmla="*/ 173606 h 210595"/>
                  <a:gd name="connsiteX19" fmla="*/ 4382 w 144247"/>
                  <a:gd name="connsiteY19" fmla="*/ 168647 h 210595"/>
                  <a:gd name="connsiteX20" fmla="*/ 2615 w 144247"/>
                  <a:gd name="connsiteY20" fmla="*/ 151549 h 210595"/>
                  <a:gd name="connsiteX21" fmla="*/ 19258 w 144247"/>
                  <a:gd name="connsiteY21" fmla="*/ 145849 h 210595"/>
                  <a:gd name="connsiteX22" fmla="*/ 23646 w 144247"/>
                  <a:gd name="connsiteY22" fmla="*/ 134166 h 210595"/>
                  <a:gd name="connsiteX23" fmla="*/ 30542 w 144247"/>
                  <a:gd name="connsiteY23" fmla="*/ 137129 h 210595"/>
                  <a:gd name="connsiteX24" fmla="*/ 31854 w 144247"/>
                  <a:gd name="connsiteY24" fmla="*/ 145166 h 210595"/>
                  <a:gd name="connsiteX25" fmla="*/ 38864 w 144247"/>
                  <a:gd name="connsiteY25" fmla="*/ 148756 h 210595"/>
                  <a:gd name="connsiteX26" fmla="*/ 43081 w 144247"/>
                  <a:gd name="connsiteY26" fmla="*/ 156394 h 210595"/>
                  <a:gd name="connsiteX27" fmla="*/ 52771 w 144247"/>
                  <a:gd name="connsiteY27" fmla="*/ 155881 h 210595"/>
                  <a:gd name="connsiteX28" fmla="*/ 59040 w 144247"/>
                  <a:gd name="connsiteY28" fmla="*/ 147616 h 210595"/>
                  <a:gd name="connsiteX29" fmla="*/ 63314 w 144247"/>
                  <a:gd name="connsiteY29" fmla="*/ 138041 h 210595"/>
                  <a:gd name="connsiteX30" fmla="*/ 64683 w 144247"/>
                  <a:gd name="connsiteY30" fmla="*/ 117694 h 210595"/>
                  <a:gd name="connsiteX31" fmla="*/ 65537 w 144247"/>
                  <a:gd name="connsiteY31" fmla="*/ 109886 h 210595"/>
                  <a:gd name="connsiteX32" fmla="*/ 55734 w 144247"/>
                  <a:gd name="connsiteY32" fmla="*/ 98487 h 210595"/>
                  <a:gd name="connsiteX33" fmla="*/ 49180 w 144247"/>
                  <a:gd name="connsiteY33" fmla="*/ 85435 h 210595"/>
                  <a:gd name="connsiteX34" fmla="*/ 60921 w 144247"/>
                  <a:gd name="connsiteY34" fmla="*/ 70560 h 210595"/>
                  <a:gd name="connsiteX35" fmla="*/ 51973 w 144247"/>
                  <a:gd name="connsiteY35" fmla="*/ 63378 h 210595"/>
                  <a:gd name="connsiteX36" fmla="*/ 40574 w 144247"/>
                  <a:gd name="connsiteY36" fmla="*/ 59959 h 210595"/>
                  <a:gd name="connsiteX37" fmla="*/ 35786 w 144247"/>
                  <a:gd name="connsiteY37" fmla="*/ 57793 h 210595"/>
                  <a:gd name="connsiteX38" fmla="*/ 33734 w 144247"/>
                  <a:gd name="connsiteY38" fmla="*/ 44456 h 210595"/>
                  <a:gd name="connsiteX39" fmla="*/ 35159 w 144247"/>
                  <a:gd name="connsiteY39" fmla="*/ 40808 h 210595"/>
                  <a:gd name="connsiteX40" fmla="*/ 37895 w 144247"/>
                  <a:gd name="connsiteY40" fmla="*/ 38984 h 210595"/>
                  <a:gd name="connsiteX41" fmla="*/ 61434 w 144247"/>
                  <a:gd name="connsiteY41" fmla="*/ 38984 h 210595"/>
                  <a:gd name="connsiteX42" fmla="*/ 79273 w 144247"/>
                  <a:gd name="connsiteY42" fmla="*/ 42518 h 210595"/>
                  <a:gd name="connsiteX43" fmla="*/ 93294 w 144247"/>
                  <a:gd name="connsiteY43" fmla="*/ 40352 h 210595"/>
                  <a:gd name="connsiteX44" fmla="*/ 95801 w 144247"/>
                  <a:gd name="connsiteY44" fmla="*/ 34938 h 210595"/>
                  <a:gd name="connsiteX45" fmla="*/ 104579 w 144247"/>
                  <a:gd name="connsiteY45" fmla="*/ 14249 h 210595"/>
                  <a:gd name="connsiteX46" fmla="*/ 112045 w 144247"/>
                  <a:gd name="connsiteY46" fmla="*/ 4959 h 210595"/>
                  <a:gd name="connsiteX47" fmla="*/ 131537 w 144247"/>
                  <a:gd name="connsiteY47" fmla="*/ 855 h 21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44247" h="210595">
                    <a:moveTo>
                      <a:pt x="131537" y="855"/>
                    </a:moveTo>
                    <a:cubicBezTo>
                      <a:pt x="135179" y="769"/>
                      <a:pt x="138815" y="484"/>
                      <a:pt x="142423" y="0"/>
                    </a:cubicBezTo>
                    <a:cubicBezTo>
                      <a:pt x="143449" y="5050"/>
                      <a:pt x="144059" y="10179"/>
                      <a:pt x="144247" y="15332"/>
                    </a:cubicBezTo>
                    <a:cubicBezTo>
                      <a:pt x="143831" y="19447"/>
                      <a:pt x="142874" y="23493"/>
                      <a:pt x="141397" y="27358"/>
                    </a:cubicBezTo>
                    <a:cubicBezTo>
                      <a:pt x="138377" y="36591"/>
                      <a:pt x="135299" y="45824"/>
                      <a:pt x="132278" y="55114"/>
                    </a:cubicBezTo>
                    <a:cubicBezTo>
                      <a:pt x="128858" y="66148"/>
                      <a:pt x="124806" y="76977"/>
                      <a:pt x="120138" y="87544"/>
                    </a:cubicBezTo>
                    <a:cubicBezTo>
                      <a:pt x="116559" y="94993"/>
                      <a:pt x="112541" y="102226"/>
                      <a:pt x="108113" y="109202"/>
                    </a:cubicBezTo>
                    <a:cubicBezTo>
                      <a:pt x="101632" y="117945"/>
                      <a:pt x="97158" y="128005"/>
                      <a:pt x="95003" y="138668"/>
                    </a:cubicBezTo>
                    <a:cubicBezTo>
                      <a:pt x="93579" y="151264"/>
                      <a:pt x="98993" y="165228"/>
                      <a:pt x="92439" y="176057"/>
                    </a:cubicBezTo>
                    <a:cubicBezTo>
                      <a:pt x="89190" y="181471"/>
                      <a:pt x="82921" y="186943"/>
                      <a:pt x="85428" y="192756"/>
                    </a:cubicBezTo>
                    <a:cubicBezTo>
                      <a:pt x="81211" y="192756"/>
                      <a:pt x="78361" y="196860"/>
                      <a:pt x="75683" y="200109"/>
                    </a:cubicBezTo>
                    <a:cubicBezTo>
                      <a:pt x="73004" y="203357"/>
                      <a:pt x="68216" y="206321"/>
                      <a:pt x="64853" y="203756"/>
                    </a:cubicBezTo>
                    <a:cubicBezTo>
                      <a:pt x="61491" y="201191"/>
                      <a:pt x="61605" y="193611"/>
                      <a:pt x="57102" y="193611"/>
                    </a:cubicBezTo>
                    <a:cubicBezTo>
                      <a:pt x="54765" y="193611"/>
                      <a:pt x="53227" y="196062"/>
                      <a:pt x="51403" y="197544"/>
                    </a:cubicBezTo>
                    <a:cubicBezTo>
                      <a:pt x="46786" y="201134"/>
                      <a:pt x="40004" y="198684"/>
                      <a:pt x="34304" y="199482"/>
                    </a:cubicBezTo>
                    <a:cubicBezTo>
                      <a:pt x="30611" y="200183"/>
                      <a:pt x="27077" y="201556"/>
                      <a:pt x="23874" y="203528"/>
                    </a:cubicBezTo>
                    <a:lnTo>
                      <a:pt x="10651" y="210596"/>
                    </a:lnTo>
                    <a:cubicBezTo>
                      <a:pt x="3926" y="201077"/>
                      <a:pt x="-3198" y="192015"/>
                      <a:pt x="1532" y="182098"/>
                    </a:cubicBezTo>
                    <a:cubicBezTo>
                      <a:pt x="3350" y="179522"/>
                      <a:pt x="4701" y="176650"/>
                      <a:pt x="5522" y="173606"/>
                    </a:cubicBezTo>
                    <a:cubicBezTo>
                      <a:pt x="5630" y="171879"/>
                      <a:pt x="5231" y="170158"/>
                      <a:pt x="4382" y="168647"/>
                    </a:cubicBezTo>
                    <a:cubicBezTo>
                      <a:pt x="5357" y="162891"/>
                      <a:pt x="4747" y="156981"/>
                      <a:pt x="2615" y="151549"/>
                    </a:cubicBezTo>
                    <a:cubicBezTo>
                      <a:pt x="8885" y="152062"/>
                      <a:pt x="16807" y="151549"/>
                      <a:pt x="19258" y="145849"/>
                    </a:cubicBezTo>
                    <a:cubicBezTo>
                      <a:pt x="20967" y="141917"/>
                      <a:pt x="19771" y="135990"/>
                      <a:pt x="23646" y="134166"/>
                    </a:cubicBezTo>
                    <a:cubicBezTo>
                      <a:pt x="26365" y="133288"/>
                      <a:pt x="29311" y="134553"/>
                      <a:pt x="30542" y="137129"/>
                    </a:cubicBezTo>
                    <a:cubicBezTo>
                      <a:pt x="31637" y="139660"/>
                      <a:pt x="32087" y="142418"/>
                      <a:pt x="31854" y="145166"/>
                    </a:cubicBezTo>
                    <a:cubicBezTo>
                      <a:pt x="34361" y="143684"/>
                      <a:pt x="37553" y="146078"/>
                      <a:pt x="38864" y="148756"/>
                    </a:cubicBezTo>
                    <a:cubicBezTo>
                      <a:pt x="39713" y="151572"/>
                      <a:pt x="41149" y="154176"/>
                      <a:pt x="43081" y="156394"/>
                    </a:cubicBezTo>
                    <a:cubicBezTo>
                      <a:pt x="46079" y="158337"/>
                      <a:pt x="49989" y="158132"/>
                      <a:pt x="52771" y="155881"/>
                    </a:cubicBezTo>
                    <a:cubicBezTo>
                      <a:pt x="55449" y="153624"/>
                      <a:pt x="57586" y="150802"/>
                      <a:pt x="59040" y="147616"/>
                    </a:cubicBezTo>
                    <a:cubicBezTo>
                      <a:pt x="60858" y="144613"/>
                      <a:pt x="62289" y="141398"/>
                      <a:pt x="63314" y="138041"/>
                    </a:cubicBezTo>
                    <a:cubicBezTo>
                      <a:pt x="65025" y="131487"/>
                      <a:pt x="63314" y="124420"/>
                      <a:pt x="64683" y="117694"/>
                    </a:cubicBezTo>
                    <a:cubicBezTo>
                      <a:pt x="65338" y="115146"/>
                      <a:pt x="65623" y="112513"/>
                      <a:pt x="65537" y="109886"/>
                    </a:cubicBezTo>
                    <a:cubicBezTo>
                      <a:pt x="64796" y="104699"/>
                      <a:pt x="59838" y="101394"/>
                      <a:pt x="55734" y="98487"/>
                    </a:cubicBezTo>
                    <a:cubicBezTo>
                      <a:pt x="51631" y="95580"/>
                      <a:pt x="47470" y="90337"/>
                      <a:pt x="49180" y="85435"/>
                    </a:cubicBezTo>
                    <a:cubicBezTo>
                      <a:pt x="51403" y="79223"/>
                      <a:pt x="61605" y="77114"/>
                      <a:pt x="60921" y="70560"/>
                    </a:cubicBezTo>
                    <a:cubicBezTo>
                      <a:pt x="60465" y="66570"/>
                      <a:pt x="55848" y="64575"/>
                      <a:pt x="51973" y="63378"/>
                    </a:cubicBezTo>
                    <a:lnTo>
                      <a:pt x="40574" y="59959"/>
                    </a:lnTo>
                    <a:cubicBezTo>
                      <a:pt x="38852" y="59560"/>
                      <a:pt x="37222" y="58819"/>
                      <a:pt x="35786" y="57793"/>
                    </a:cubicBezTo>
                    <a:cubicBezTo>
                      <a:pt x="32196" y="54772"/>
                      <a:pt x="32765" y="49129"/>
                      <a:pt x="33734" y="44456"/>
                    </a:cubicBezTo>
                    <a:cubicBezTo>
                      <a:pt x="33917" y="43145"/>
                      <a:pt x="34407" y="41897"/>
                      <a:pt x="35159" y="40808"/>
                    </a:cubicBezTo>
                    <a:cubicBezTo>
                      <a:pt x="35900" y="39976"/>
                      <a:pt x="36841" y="39344"/>
                      <a:pt x="37895" y="38984"/>
                    </a:cubicBezTo>
                    <a:cubicBezTo>
                      <a:pt x="45561" y="36619"/>
                      <a:pt x="53768" y="36619"/>
                      <a:pt x="61434" y="38984"/>
                    </a:cubicBezTo>
                    <a:lnTo>
                      <a:pt x="79273" y="42518"/>
                    </a:lnTo>
                    <a:cubicBezTo>
                      <a:pt x="84175" y="43544"/>
                      <a:pt x="90102" y="44171"/>
                      <a:pt x="93294" y="40352"/>
                    </a:cubicBezTo>
                    <a:cubicBezTo>
                      <a:pt x="94468" y="38722"/>
                      <a:pt x="95323" y="36887"/>
                      <a:pt x="95801" y="34938"/>
                    </a:cubicBezTo>
                    <a:cubicBezTo>
                      <a:pt x="98013" y="27762"/>
                      <a:pt x="100954" y="20826"/>
                      <a:pt x="104579" y="14249"/>
                    </a:cubicBezTo>
                    <a:cubicBezTo>
                      <a:pt x="106328" y="10624"/>
                      <a:pt x="108882" y="7444"/>
                      <a:pt x="112045" y="4959"/>
                    </a:cubicBezTo>
                    <a:cubicBezTo>
                      <a:pt x="118001" y="1704"/>
                      <a:pt x="124778" y="279"/>
                      <a:pt x="131537" y="85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7" name="Freihandform: Form 661">
                <a:extLst>
                  <a:ext uri="{FF2B5EF4-FFF2-40B4-BE49-F238E27FC236}">
                    <a16:creationId xmlns:a16="http://schemas.microsoft.com/office/drawing/2014/main" id="{D6853C0F-0F32-2405-95BB-E7CBFAD4836D}"/>
                  </a:ext>
                </a:extLst>
              </p:cNvPr>
              <p:cNvSpPr/>
              <p:nvPr/>
            </p:nvSpPr>
            <p:spPr>
              <a:xfrm>
                <a:off x="3976535" y="4198095"/>
                <a:ext cx="112912" cy="136042"/>
              </a:xfrm>
              <a:custGeom>
                <a:avLst/>
                <a:gdLst>
                  <a:gd name="connsiteX0" fmla="*/ 70779 w 112912"/>
                  <a:gd name="connsiteY0" fmla="*/ 3131 h 136042"/>
                  <a:gd name="connsiteX1" fmla="*/ 81779 w 112912"/>
                  <a:gd name="connsiteY1" fmla="*/ 9514 h 136042"/>
                  <a:gd name="connsiteX2" fmla="*/ 81095 w 112912"/>
                  <a:gd name="connsiteY2" fmla="*/ 11851 h 136042"/>
                  <a:gd name="connsiteX3" fmla="*/ 83147 w 112912"/>
                  <a:gd name="connsiteY3" fmla="*/ 25188 h 136042"/>
                  <a:gd name="connsiteX4" fmla="*/ 87934 w 112912"/>
                  <a:gd name="connsiteY4" fmla="*/ 27354 h 136042"/>
                  <a:gd name="connsiteX5" fmla="*/ 99333 w 112912"/>
                  <a:gd name="connsiteY5" fmla="*/ 30773 h 136042"/>
                  <a:gd name="connsiteX6" fmla="*/ 108281 w 112912"/>
                  <a:gd name="connsiteY6" fmla="*/ 37955 h 136042"/>
                  <a:gd name="connsiteX7" fmla="*/ 96540 w 112912"/>
                  <a:gd name="connsiteY7" fmla="*/ 52830 h 136042"/>
                  <a:gd name="connsiteX8" fmla="*/ 103095 w 112912"/>
                  <a:gd name="connsiteY8" fmla="*/ 65882 h 136042"/>
                  <a:gd name="connsiteX9" fmla="*/ 112898 w 112912"/>
                  <a:gd name="connsiteY9" fmla="*/ 77281 h 136042"/>
                  <a:gd name="connsiteX10" fmla="*/ 112043 w 112912"/>
                  <a:gd name="connsiteY10" fmla="*/ 85089 h 136042"/>
                  <a:gd name="connsiteX11" fmla="*/ 110675 w 112912"/>
                  <a:gd name="connsiteY11" fmla="*/ 105437 h 136042"/>
                  <a:gd name="connsiteX12" fmla="*/ 106401 w 112912"/>
                  <a:gd name="connsiteY12" fmla="*/ 115012 h 136042"/>
                  <a:gd name="connsiteX13" fmla="*/ 100131 w 112912"/>
                  <a:gd name="connsiteY13" fmla="*/ 123276 h 136042"/>
                  <a:gd name="connsiteX14" fmla="*/ 90442 w 112912"/>
                  <a:gd name="connsiteY14" fmla="*/ 123789 h 136042"/>
                  <a:gd name="connsiteX15" fmla="*/ 86224 w 112912"/>
                  <a:gd name="connsiteY15" fmla="*/ 116152 h 136042"/>
                  <a:gd name="connsiteX16" fmla="*/ 79214 w 112912"/>
                  <a:gd name="connsiteY16" fmla="*/ 112561 h 136042"/>
                  <a:gd name="connsiteX17" fmla="*/ 77903 w 112912"/>
                  <a:gd name="connsiteY17" fmla="*/ 104525 h 136042"/>
                  <a:gd name="connsiteX18" fmla="*/ 71007 w 112912"/>
                  <a:gd name="connsiteY18" fmla="*/ 101561 h 136042"/>
                  <a:gd name="connsiteX19" fmla="*/ 66618 w 112912"/>
                  <a:gd name="connsiteY19" fmla="*/ 113245 h 136042"/>
                  <a:gd name="connsiteX20" fmla="*/ 49976 w 112912"/>
                  <a:gd name="connsiteY20" fmla="*/ 118944 h 136042"/>
                  <a:gd name="connsiteX21" fmla="*/ 51743 w 112912"/>
                  <a:gd name="connsiteY21" fmla="*/ 136043 h 136042"/>
                  <a:gd name="connsiteX22" fmla="*/ 51173 w 112912"/>
                  <a:gd name="connsiteY22" fmla="*/ 135074 h 136042"/>
                  <a:gd name="connsiteX23" fmla="*/ 30996 w 112912"/>
                  <a:gd name="connsiteY23" fmla="*/ 120654 h 136042"/>
                  <a:gd name="connsiteX24" fmla="*/ 18059 w 112912"/>
                  <a:gd name="connsiteY24" fmla="*/ 101048 h 136042"/>
                  <a:gd name="connsiteX25" fmla="*/ 19427 w 112912"/>
                  <a:gd name="connsiteY25" fmla="*/ 93297 h 136042"/>
                  <a:gd name="connsiteX26" fmla="*/ 12359 w 112912"/>
                  <a:gd name="connsiteY26" fmla="*/ 86172 h 136042"/>
                  <a:gd name="connsiteX27" fmla="*/ 219 w 112912"/>
                  <a:gd name="connsiteY27" fmla="*/ 59157 h 136042"/>
                  <a:gd name="connsiteX28" fmla="*/ 10068 w 112912"/>
                  <a:gd name="connsiteY28" fmla="*/ 53982 h 136042"/>
                  <a:gd name="connsiteX29" fmla="*/ 10421 w 112912"/>
                  <a:gd name="connsiteY29" fmla="*/ 51577 h 136042"/>
                  <a:gd name="connsiteX30" fmla="*/ 9054 w 112912"/>
                  <a:gd name="connsiteY30" fmla="*/ 47359 h 136042"/>
                  <a:gd name="connsiteX31" fmla="*/ 15209 w 112912"/>
                  <a:gd name="connsiteY31" fmla="*/ 46105 h 136042"/>
                  <a:gd name="connsiteX32" fmla="*/ 26095 w 112912"/>
                  <a:gd name="connsiteY32" fmla="*/ 40406 h 136042"/>
                  <a:gd name="connsiteX33" fmla="*/ 39318 w 112912"/>
                  <a:gd name="connsiteY33" fmla="*/ 37784 h 136042"/>
                  <a:gd name="connsiteX34" fmla="*/ 49292 w 112912"/>
                  <a:gd name="connsiteY34" fmla="*/ 29748 h 136042"/>
                  <a:gd name="connsiteX35" fmla="*/ 50033 w 112912"/>
                  <a:gd name="connsiteY35" fmla="*/ 24960 h 136042"/>
                  <a:gd name="connsiteX36" fmla="*/ 52313 w 112912"/>
                  <a:gd name="connsiteY36" fmla="*/ 20001 h 136042"/>
                  <a:gd name="connsiteX37" fmla="*/ 53738 w 112912"/>
                  <a:gd name="connsiteY37" fmla="*/ 8602 h 136042"/>
                  <a:gd name="connsiteX38" fmla="*/ 65763 w 112912"/>
                  <a:gd name="connsiteY38" fmla="*/ 110 h 136042"/>
                  <a:gd name="connsiteX39" fmla="*/ 70779 w 112912"/>
                  <a:gd name="connsiteY39" fmla="*/ 3131 h 136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2912" h="136042">
                    <a:moveTo>
                      <a:pt x="70779" y="3131"/>
                    </a:moveTo>
                    <a:cubicBezTo>
                      <a:pt x="74426" y="5354"/>
                      <a:pt x="78074" y="7463"/>
                      <a:pt x="81779" y="9514"/>
                    </a:cubicBezTo>
                    <a:cubicBezTo>
                      <a:pt x="81494" y="10272"/>
                      <a:pt x="81260" y="11053"/>
                      <a:pt x="81095" y="11851"/>
                    </a:cubicBezTo>
                    <a:cubicBezTo>
                      <a:pt x="80126" y="16525"/>
                      <a:pt x="79556" y="22167"/>
                      <a:pt x="83147" y="25188"/>
                    </a:cubicBezTo>
                    <a:cubicBezTo>
                      <a:pt x="84583" y="26214"/>
                      <a:pt x="86213" y="26955"/>
                      <a:pt x="87934" y="27354"/>
                    </a:cubicBezTo>
                    <a:lnTo>
                      <a:pt x="99333" y="30773"/>
                    </a:lnTo>
                    <a:cubicBezTo>
                      <a:pt x="103209" y="31970"/>
                      <a:pt x="107826" y="33965"/>
                      <a:pt x="108281" y="37955"/>
                    </a:cubicBezTo>
                    <a:cubicBezTo>
                      <a:pt x="108965" y="44509"/>
                      <a:pt x="98763" y="46618"/>
                      <a:pt x="96540" y="52830"/>
                    </a:cubicBezTo>
                    <a:cubicBezTo>
                      <a:pt x="94831" y="57732"/>
                      <a:pt x="98934" y="62691"/>
                      <a:pt x="103095" y="65882"/>
                    </a:cubicBezTo>
                    <a:cubicBezTo>
                      <a:pt x="107255" y="69074"/>
                      <a:pt x="112157" y="72323"/>
                      <a:pt x="112898" y="77281"/>
                    </a:cubicBezTo>
                    <a:cubicBezTo>
                      <a:pt x="112983" y="79909"/>
                      <a:pt x="112698" y="82542"/>
                      <a:pt x="112043" y="85089"/>
                    </a:cubicBezTo>
                    <a:cubicBezTo>
                      <a:pt x="110903" y="91815"/>
                      <a:pt x="112385" y="98882"/>
                      <a:pt x="110675" y="105437"/>
                    </a:cubicBezTo>
                    <a:cubicBezTo>
                      <a:pt x="109655" y="108794"/>
                      <a:pt x="108219" y="112008"/>
                      <a:pt x="106401" y="115012"/>
                    </a:cubicBezTo>
                    <a:cubicBezTo>
                      <a:pt x="104947" y="118198"/>
                      <a:pt x="102810" y="121019"/>
                      <a:pt x="100131" y="123276"/>
                    </a:cubicBezTo>
                    <a:cubicBezTo>
                      <a:pt x="97350" y="125527"/>
                      <a:pt x="93446" y="125732"/>
                      <a:pt x="90442" y="123789"/>
                    </a:cubicBezTo>
                    <a:cubicBezTo>
                      <a:pt x="88510" y="121572"/>
                      <a:pt x="87074" y="118967"/>
                      <a:pt x="86224" y="116152"/>
                    </a:cubicBezTo>
                    <a:cubicBezTo>
                      <a:pt x="84914" y="113473"/>
                      <a:pt x="81722" y="111079"/>
                      <a:pt x="79214" y="112561"/>
                    </a:cubicBezTo>
                    <a:cubicBezTo>
                      <a:pt x="79448" y="109814"/>
                      <a:pt x="78997" y="107055"/>
                      <a:pt x="77903" y="104525"/>
                    </a:cubicBezTo>
                    <a:cubicBezTo>
                      <a:pt x="76672" y="101949"/>
                      <a:pt x="73725" y="100683"/>
                      <a:pt x="71007" y="101561"/>
                    </a:cubicBezTo>
                    <a:cubicBezTo>
                      <a:pt x="67131" y="103385"/>
                      <a:pt x="68328" y="109312"/>
                      <a:pt x="66618" y="113245"/>
                    </a:cubicBezTo>
                    <a:cubicBezTo>
                      <a:pt x="64167" y="118944"/>
                      <a:pt x="56245" y="119457"/>
                      <a:pt x="49976" y="118944"/>
                    </a:cubicBezTo>
                    <a:cubicBezTo>
                      <a:pt x="52107" y="124376"/>
                      <a:pt x="52717" y="130286"/>
                      <a:pt x="51743" y="136043"/>
                    </a:cubicBezTo>
                    <a:lnTo>
                      <a:pt x="51173" y="135074"/>
                    </a:lnTo>
                    <a:cubicBezTo>
                      <a:pt x="46841" y="127949"/>
                      <a:pt x="38292" y="124758"/>
                      <a:pt x="30996" y="120654"/>
                    </a:cubicBezTo>
                    <a:cubicBezTo>
                      <a:pt x="23701" y="116550"/>
                      <a:pt x="16463" y="109255"/>
                      <a:pt x="18059" y="101048"/>
                    </a:cubicBezTo>
                    <a:cubicBezTo>
                      <a:pt x="19011" y="98574"/>
                      <a:pt x="19472" y="95947"/>
                      <a:pt x="19427" y="93297"/>
                    </a:cubicBezTo>
                    <a:cubicBezTo>
                      <a:pt x="18743" y="89934"/>
                      <a:pt x="15209" y="88110"/>
                      <a:pt x="12359" y="86172"/>
                    </a:cubicBezTo>
                    <a:cubicBezTo>
                      <a:pt x="3582" y="80142"/>
                      <a:pt x="-1097" y="69724"/>
                      <a:pt x="219" y="59157"/>
                    </a:cubicBezTo>
                    <a:cubicBezTo>
                      <a:pt x="4368" y="60445"/>
                      <a:pt x="8774" y="58131"/>
                      <a:pt x="10068" y="53982"/>
                    </a:cubicBezTo>
                    <a:cubicBezTo>
                      <a:pt x="10307" y="53207"/>
                      <a:pt x="10427" y="52392"/>
                      <a:pt x="10421" y="51577"/>
                    </a:cubicBezTo>
                    <a:cubicBezTo>
                      <a:pt x="10245" y="50095"/>
                      <a:pt x="9783" y="48664"/>
                      <a:pt x="9054" y="47359"/>
                    </a:cubicBezTo>
                    <a:cubicBezTo>
                      <a:pt x="11157" y="47234"/>
                      <a:pt x="13226" y="46812"/>
                      <a:pt x="15209" y="46105"/>
                    </a:cubicBezTo>
                    <a:cubicBezTo>
                      <a:pt x="19028" y="44623"/>
                      <a:pt x="22276" y="41944"/>
                      <a:pt x="26095" y="40406"/>
                    </a:cubicBezTo>
                    <a:cubicBezTo>
                      <a:pt x="30438" y="39243"/>
                      <a:pt x="34855" y="38365"/>
                      <a:pt x="39318" y="37784"/>
                    </a:cubicBezTo>
                    <a:cubicBezTo>
                      <a:pt x="43872" y="37157"/>
                      <a:pt x="47713" y="34068"/>
                      <a:pt x="49292" y="29748"/>
                    </a:cubicBezTo>
                    <a:cubicBezTo>
                      <a:pt x="49691" y="28209"/>
                      <a:pt x="49577" y="26556"/>
                      <a:pt x="50033" y="24960"/>
                    </a:cubicBezTo>
                    <a:cubicBezTo>
                      <a:pt x="50489" y="23364"/>
                      <a:pt x="51686" y="21711"/>
                      <a:pt x="52313" y="20001"/>
                    </a:cubicBezTo>
                    <a:cubicBezTo>
                      <a:pt x="53082" y="16245"/>
                      <a:pt x="53561" y="12433"/>
                      <a:pt x="53738" y="8602"/>
                    </a:cubicBezTo>
                    <a:cubicBezTo>
                      <a:pt x="54860" y="3028"/>
                      <a:pt x="60138" y="-699"/>
                      <a:pt x="65763" y="110"/>
                    </a:cubicBezTo>
                    <a:cubicBezTo>
                      <a:pt x="67598" y="823"/>
                      <a:pt x="69291" y="1843"/>
                      <a:pt x="70779" y="313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8" name="Freihandform: Form 662">
                <a:extLst>
                  <a:ext uri="{FF2B5EF4-FFF2-40B4-BE49-F238E27FC236}">
                    <a16:creationId xmlns:a16="http://schemas.microsoft.com/office/drawing/2014/main" id="{A6F3D1E5-276A-C8D8-0361-C9A7A936C0C7}"/>
                  </a:ext>
                </a:extLst>
              </p:cNvPr>
              <p:cNvSpPr/>
              <p:nvPr/>
            </p:nvSpPr>
            <p:spPr>
              <a:xfrm>
                <a:off x="3981668" y="4200770"/>
                <a:ext cx="48432" cy="45196"/>
              </a:xfrm>
              <a:custGeom>
                <a:avLst/>
                <a:gdLst>
                  <a:gd name="connsiteX0" fmla="*/ 48433 w 48432"/>
                  <a:gd name="connsiteY0" fmla="*/ 7295 h 45196"/>
                  <a:gd name="connsiteX1" fmla="*/ 47122 w 48432"/>
                  <a:gd name="connsiteY1" fmla="*/ 17839 h 45196"/>
                  <a:gd name="connsiteX2" fmla="*/ 44842 w 48432"/>
                  <a:gd name="connsiteY2" fmla="*/ 22798 h 45196"/>
                  <a:gd name="connsiteX3" fmla="*/ 44101 w 48432"/>
                  <a:gd name="connsiteY3" fmla="*/ 27585 h 45196"/>
                  <a:gd name="connsiteX4" fmla="*/ 34127 w 48432"/>
                  <a:gd name="connsiteY4" fmla="*/ 35622 h 45196"/>
                  <a:gd name="connsiteX5" fmla="*/ 20904 w 48432"/>
                  <a:gd name="connsiteY5" fmla="*/ 38243 h 45196"/>
                  <a:gd name="connsiteX6" fmla="*/ 10018 w 48432"/>
                  <a:gd name="connsiteY6" fmla="*/ 43943 h 45196"/>
                  <a:gd name="connsiteX7" fmla="*/ 3863 w 48432"/>
                  <a:gd name="connsiteY7" fmla="*/ 45197 h 45196"/>
                  <a:gd name="connsiteX8" fmla="*/ 2438 w 48432"/>
                  <a:gd name="connsiteY8" fmla="*/ 42347 h 45196"/>
                  <a:gd name="connsiteX9" fmla="*/ 7795 w 48432"/>
                  <a:gd name="connsiteY9" fmla="*/ 12368 h 45196"/>
                  <a:gd name="connsiteX10" fmla="*/ 16573 w 48432"/>
                  <a:gd name="connsiteY10" fmla="*/ 4502 h 45196"/>
                  <a:gd name="connsiteX11" fmla="*/ 19137 w 48432"/>
                  <a:gd name="connsiteY11" fmla="*/ 0 h 45196"/>
                  <a:gd name="connsiteX12" fmla="*/ 32759 w 48432"/>
                  <a:gd name="connsiteY12" fmla="*/ 627 h 45196"/>
                  <a:gd name="connsiteX13" fmla="*/ 40795 w 48432"/>
                  <a:gd name="connsiteY13" fmla="*/ 1824 h 45196"/>
                  <a:gd name="connsiteX14" fmla="*/ 48433 w 48432"/>
                  <a:gd name="connsiteY14" fmla="*/ 7295 h 4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432" h="45196">
                    <a:moveTo>
                      <a:pt x="48433" y="7295"/>
                    </a:moveTo>
                    <a:cubicBezTo>
                      <a:pt x="48370" y="10846"/>
                      <a:pt x="47931" y="14380"/>
                      <a:pt x="47122" y="17839"/>
                    </a:cubicBezTo>
                    <a:cubicBezTo>
                      <a:pt x="46495" y="19549"/>
                      <a:pt x="45298" y="21088"/>
                      <a:pt x="44842" y="22798"/>
                    </a:cubicBezTo>
                    <a:cubicBezTo>
                      <a:pt x="44386" y="24508"/>
                      <a:pt x="44500" y="26046"/>
                      <a:pt x="44101" y="27585"/>
                    </a:cubicBezTo>
                    <a:cubicBezTo>
                      <a:pt x="42522" y="31906"/>
                      <a:pt x="38681" y="34995"/>
                      <a:pt x="34127" y="35622"/>
                    </a:cubicBezTo>
                    <a:cubicBezTo>
                      <a:pt x="29665" y="36203"/>
                      <a:pt x="25247" y="37081"/>
                      <a:pt x="20904" y="38243"/>
                    </a:cubicBezTo>
                    <a:cubicBezTo>
                      <a:pt x="17086" y="39725"/>
                      <a:pt x="13837" y="42404"/>
                      <a:pt x="10018" y="43943"/>
                    </a:cubicBezTo>
                    <a:cubicBezTo>
                      <a:pt x="8035" y="44650"/>
                      <a:pt x="5966" y="45071"/>
                      <a:pt x="3863" y="45197"/>
                    </a:cubicBezTo>
                    <a:lnTo>
                      <a:pt x="2438" y="42347"/>
                    </a:lnTo>
                    <a:cubicBezTo>
                      <a:pt x="-2219" y="32219"/>
                      <a:pt x="-81" y="20262"/>
                      <a:pt x="7795" y="12368"/>
                    </a:cubicBezTo>
                    <a:cubicBezTo>
                      <a:pt x="10890" y="9946"/>
                      <a:pt x="13825" y="7318"/>
                      <a:pt x="16573" y="4502"/>
                    </a:cubicBezTo>
                    <a:cubicBezTo>
                      <a:pt x="17621" y="3118"/>
                      <a:pt x="18482" y="1607"/>
                      <a:pt x="19137" y="0"/>
                    </a:cubicBezTo>
                    <a:lnTo>
                      <a:pt x="32759" y="627"/>
                    </a:lnTo>
                    <a:cubicBezTo>
                      <a:pt x="35484" y="621"/>
                      <a:pt x="38191" y="1026"/>
                      <a:pt x="40795" y="1824"/>
                    </a:cubicBezTo>
                    <a:cubicBezTo>
                      <a:pt x="43725" y="3038"/>
                      <a:pt x="46341" y="4907"/>
                      <a:pt x="48433" y="72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69" name="Freihandform: Form 663">
                <a:extLst>
                  <a:ext uri="{FF2B5EF4-FFF2-40B4-BE49-F238E27FC236}">
                    <a16:creationId xmlns:a16="http://schemas.microsoft.com/office/drawing/2014/main" id="{5488460F-ECAE-5F9A-0E7F-DDE71212DD8D}"/>
                  </a:ext>
                </a:extLst>
              </p:cNvPr>
              <p:cNvSpPr/>
              <p:nvPr/>
            </p:nvSpPr>
            <p:spPr>
              <a:xfrm>
                <a:off x="3951847" y="3974558"/>
                <a:ext cx="170072" cy="234232"/>
              </a:xfrm>
              <a:custGeom>
                <a:avLst/>
                <a:gdLst>
                  <a:gd name="connsiteX0" fmla="*/ 170072 w 170072"/>
                  <a:gd name="connsiteY0" fmla="*/ 219772 h 234232"/>
                  <a:gd name="connsiteX1" fmla="*/ 167850 w 170072"/>
                  <a:gd name="connsiteY1" fmla="*/ 225870 h 234232"/>
                  <a:gd name="connsiteX2" fmla="*/ 165342 w 170072"/>
                  <a:gd name="connsiteY2" fmla="*/ 231285 h 234232"/>
                  <a:gd name="connsiteX3" fmla="*/ 151321 w 170072"/>
                  <a:gd name="connsiteY3" fmla="*/ 233450 h 234232"/>
                  <a:gd name="connsiteX4" fmla="*/ 133482 w 170072"/>
                  <a:gd name="connsiteY4" fmla="*/ 229917 h 234232"/>
                  <a:gd name="connsiteX5" fmla="*/ 109943 w 170072"/>
                  <a:gd name="connsiteY5" fmla="*/ 229917 h 234232"/>
                  <a:gd name="connsiteX6" fmla="*/ 107207 w 170072"/>
                  <a:gd name="connsiteY6" fmla="*/ 231741 h 234232"/>
                  <a:gd name="connsiteX7" fmla="*/ 106466 w 170072"/>
                  <a:gd name="connsiteY7" fmla="*/ 233051 h 234232"/>
                  <a:gd name="connsiteX8" fmla="*/ 95466 w 170072"/>
                  <a:gd name="connsiteY8" fmla="*/ 226668 h 234232"/>
                  <a:gd name="connsiteX9" fmla="*/ 90394 w 170072"/>
                  <a:gd name="connsiteY9" fmla="*/ 224274 h 234232"/>
                  <a:gd name="connsiteX10" fmla="*/ 78368 w 170072"/>
                  <a:gd name="connsiteY10" fmla="*/ 232766 h 234232"/>
                  <a:gd name="connsiteX11" fmla="*/ 78368 w 170072"/>
                  <a:gd name="connsiteY11" fmla="*/ 233507 h 234232"/>
                  <a:gd name="connsiteX12" fmla="*/ 70730 w 170072"/>
                  <a:gd name="connsiteY12" fmla="*/ 227808 h 234232"/>
                  <a:gd name="connsiteX13" fmla="*/ 62694 w 170072"/>
                  <a:gd name="connsiteY13" fmla="*/ 226611 h 234232"/>
                  <a:gd name="connsiteX14" fmla="*/ 49072 w 170072"/>
                  <a:gd name="connsiteY14" fmla="*/ 225984 h 234232"/>
                  <a:gd name="connsiteX15" fmla="*/ 47134 w 170072"/>
                  <a:gd name="connsiteY15" fmla="*/ 199196 h 234232"/>
                  <a:gd name="connsiteX16" fmla="*/ 31119 w 170072"/>
                  <a:gd name="connsiteY16" fmla="*/ 173606 h 234232"/>
                  <a:gd name="connsiteX17" fmla="*/ 0 w 170072"/>
                  <a:gd name="connsiteY17" fmla="*/ 172865 h 234232"/>
                  <a:gd name="connsiteX18" fmla="*/ 11399 w 170072"/>
                  <a:gd name="connsiteY18" fmla="*/ 149269 h 234232"/>
                  <a:gd name="connsiteX19" fmla="*/ 13793 w 170072"/>
                  <a:gd name="connsiteY19" fmla="*/ 142145 h 234232"/>
                  <a:gd name="connsiteX20" fmla="*/ 21031 w 170072"/>
                  <a:gd name="connsiteY20" fmla="*/ 138554 h 234232"/>
                  <a:gd name="connsiteX21" fmla="*/ 28554 w 170072"/>
                  <a:gd name="connsiteY21" fmla="*/ 125559 h 234232"/>
                  <a:gd name="connsiteX22" fmla="*/ 36476 w 170072"/>
                  <a:gd name="connsiteY22" fmla="*/ 124761 h 234232"/>
                  <a:gd name="connsiteX23" fmla="*/ 43145 w 170072"/>
                  <a:gd name="connsiteY23" fmla="*/ 117238 h 234232"/>
                  <a:gd name="connsiteX24" fmla="*/ 52435 w 170072"/>
                  <a:gd name="connsiteY24" fmla="*/ 113818 h 234232"/>
                  <a:gd name="connsiteX25" fmla="*/ 75746 w 170072"/>
                  <a:gd name="connsiteY25" fmla="*/ 125787 h 234232"/>
                  <a:gd name="connsiteX26" fmla="*/ 86803 w 170072"/>
                  <a:gd name="connsiteY26" fmla="*/ 96378 h 234232"/>
                  <a:gd name="connsiteX27" fmla="*/ 104300 w 170072"/>
                  <a:gd name="connsiteY27" fmla="*/ 63378 h 234232"/>
                  <a:gd name="connsiteX28" fmla="*/ 111425 w 170072"/>
                  <a:gd name="connsiteY28" fmla="*/ 48502 h 234232"/>
                  <a:gd name="connsiteX29" fmla="*/ 117580 w 170072"/>
                  <a:gd name="connsiteY29" fmla="*/ 29409 h 234232"/>
                  <a:gd name="connsiteX30" fmla="*/ 130461 w 170072"/>
                  <a:gd name="connsiteY30" fmla="*/ 5414 h 234232"/>
                  <a:gd name="connsiteX31" fmla="*/ 137186 w 170072"/>
                  <a:gd name="connsiteY31" fmla="*/ 0 h 234232"/>
                  <a:gd name="connsiteX32" fmla="*/ 142886 w 170072"/>
                  <a:gd name="connsiteY32" fmla="*/ 5358 h 234232"/>
                  <a:gd name="connsiteX33" fmla="*/ 142886 w 170072"/>
                  <a:gd name="connsiteY33" fmla="*/ 13907 h 234232"/>
                  <a:gd name="connsiteX34" fmla="*/ 149269 w 170072"/>
                  <a:gd name="connsiteY34" fmla="*/ 32829 h 234232"/>
                  <a:gd name="connsiteX35" fmla="*/ 151948 w 170072"/>
                  <a:gd name="connsiteY35" fmla="*/ 37560 h 234232"/>
                  <a:gd name="connsiteX36" fmla="*/ 147787 w 170072"/>
                  <a:gd name="connsiteY36" fmla="*/ 43829 h 234232"/>
                  <a:gd name="connsiteX37" fmla="*/ 139922 w 170072"/>
                  <a:gd name="connsiteY37" fmla="*/ 45254 h 234232"/>
                  <a:gd name="connsiteX38" fmla="*/ 128523 w 170072"/>
                  <a:gd name="connsiteY38" fmla="*/ 52606 h 234232"/>
                  <a:gd name="connsiteX39" fmla="*/ 135989 w 170072"/>
                  <a:gd name="connsiteY39" fmla="*/ 64518 h 234232"/>
                  <a:gd name="connsiteX40" fmla="*/ 151492 w 170072"/>
                  <a:gd name="connsiteY40" fmla="*/ 80932 h 234232"/>
                  <a:gd name="connsiteX41" fmla="*/ 152632 w 170072"/>
                  <a:gd name="connsiteY41" fmla="*/ 102704 h 234232"/>
                  <a:gd name="connsiteX42" fmla="*/ 144539 w 170072"/>
                  <a:gd name="connsiteY42" fmla="*/ 113419 h 234232"/>
                  <a:gd name="connsiteX43" fmla="*/ 136616 w 170072"/>
                  <a:gd name="connsiteY43" fmla="*/ 130518 h 234232"/>
                  <a:gd name="connsiteX44" fmla="*/ 131202 w 170072"/>
                  <a:gd name="connsiteY44" fmla="*/ 140036 h 234232"/>
                  <a:gd name="connsiteX45" fmla="*/ 137357 w 170072"/>
                  <a:gd name="connsiteY45" fmla="*/ 156394 h 234232"/>
                  <a:gd name="connsiteX46" fmla="*/ 136559 w 170072"/>
                  <a:gd name="connsiteY46" fmla="*/ 169673 h 234232"/>
                  <a:gd name="connsiteX47" fmla="*/ 140264 w 170072"/>
                  <a:gd name="connsiteY47" fmla="*/ 172124 h 234232"/>
                  <a:gd name="connsiteX48" fmla="*/ 143285 w 170072"/>
                  <a:gd name="connsiteY48" fmla="*/ 181927 h 234232"/>
                  <a:gd name="connsiteX49" fmla="*/ 152005 w 170072"/>
                  <a:gd name="connsiteY49" fmla="*/ 192585 h 234232"/>
                  <a:gd name="connsiteX50" fmla="*/ 153658 w 170072"/>
                  <a:gd name="connsiteY50" fmla="*/ 201020 h 234232"/>
                  <a:gd name="connsiteX51" fmla="*/ 160668 w 170072"/>
                  <a:gd name="connsiteY51" fmla="*/ 207404 h 234232"/>
                  <a:gd name="connsiteX52" fmla="*/ 170072 w 170072"/>
                  <a:gd name="connsiteY52" fmla="*/ 219772 h 234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70072" h="234232">
                    <a:moveTo>
                      <a:pt x="170072" y="219772"/>
                    </a:moveTo>
                    <a:cubicBezTo>
                      <a:pt x="169274" y="221823"/>
                      <a:pt x="168476" y="223818"/>
                      <a:pt x="167850" y="225870"/>
                    </a:cubicBezTo>
                    <a:cubicBezTo>
                      <a:pt x="167371" y="227819"/>
                      <a:pt x="166516" y="229655"/>
                      <a:pt x="165342" y="231285"/>
                    </a:cubicBezTo>
                    <a:cubicBezTo>
                      <a:pt x="162150" y="235103"/>
                      <a:pt x="156222" y="234476"/>
                      <a:pt x="151321" y="233450"/>
                    </a:cubicBezTo>
                    <a:lnTo>
                      <a:pt x="133482" y="229917"/>
                    </a:lnTo>
                    <a:cubicBezTo>
                      <a:pt x="125816" y="227551"/>
                      <a:pt x="117609" y="227551"/>
                      <a:pt x="109943" y="229917"/>
                    </a:cubicBezTo>
                    <a:cubicBezTo>
                      <a:pt x="108888" y="230276"/>
                      <a:pt x="107948" y="230908"/>
                      <a:pt x="107207" y="231741"/>
                    </a:cubicBezTo>
                    <a:cubicBezTo>
                      <a:pt x="106905" y="232145"/>
                      <a:pt x="106654" y="232584"/>
                      <a:pt x="106466" y="233051"/>
                    </a:cubicBezTo>
                    <a:cubicBezTo>
                      <a:pt x="102761" y="231000"/>
                      <a:pt x="99114" y="228891"/>
                      <a:pt x="95466" y="226668"/>
                    </a:cubicBezTo>
                    <a:cubicBezTo>
                      <a:pt x="93916" y="225597"/>
                      <a:pt x="92206" y="224787"/>
                      <a:pt x="90394" y="224274"/>
                    </a:cubicBezTo>
                    <a:cubicBezTo>
                      <a:pt x="84768" y="223465"/>
                      <a:pt x="79490" y="227192"/>
                      <a:pt x="78368" y="232766"/>
                    </a:cubicBezTo>
                    <a:cubicBezTo>
                      <a:pt x="78368" y="232766"/>
                      <a:pt x="78368" y="233222"/>
                      <a:pt x="78368" y="233507"/>
                    </a:cubicBezTo>
                    <a:cubicBezTo>
                      <a:pt x="76299" y="231039"/>
                      <a:pt x="73683" y="229090"/>
                      <a:pt x="70730" y="227808"/>
                    </a:cubicBezTo>
                    <a:cubicBezTo>
                      <a:pt x="68126" y="227010"/>
                      <a:pt x="65418" y="226605"/>
                      <a:pt x="62694" y="226611"/>
                    </a:cubicBezTo>
                    <a:lnTo>
                      <a:pt x="49072" y="225984"/>
                    </a:lnTo>
                    <a:cubicBezTo>
                      <a:pt x="52321" y="217948"/>
                      <a:pt x="49870" y="207860"/>
                      <a:pt x="47134" y="199196"/>
                    </a:cubicBezTo>
                    <a:cubicBezTo>
                      <a:pt x="44057" y="189336"/>
                      <a:pt x="40238" y="178508"/>
                      <a:pt x="31119" y="173606"/>
                    </a:cubicBezTo>
                    <a:cubicBezTo>
                      <a:pt x="22000" y="168704"/>
                      <a:pt x="10601" y="171554"/>
                      <a:pt x="0" y="172865"/>
                    </a:cubicBezTo>
                    <a:cubicBezTo>
                      <a:pt x="3819" y="165000"/>
                      <a:pt x="9689" y="157875"/>
                      <a:pt x="11399" y="149269"/>
                    </a:cubicBezTo>
                    <a:cubicBezTo>
                      <a:pt x="11445" y="146704"/>
                      <a:pt x="12277" y="144214"/>
                      <a:pt x="13793" y="142145"/>
                    </a:cubicBezTo>
                    <a:cubicBezTo>
                      <a:pt x="15731" y="140207"/>
                      <a:pt x="18922" y="140207"/>
                      <a:pt x="21031" y="138554"/>
                    </a:cubicBezTo>
                    <a:cubicBezTo>
                      <a:pt x="25077" y="135362"/>
                      <a:pt x="23824" y="127611"/>
                      <a:pt x="28554" y="125559"/>
                    </a:cubicBezTo>
                    <a:cubicBezTo>
                      <a:pt x="31005" y="124476"/>
                      <a:pt x="34254" y="125559"/>
                      <a:pt x="36476" y="124761"/>
                    </a:cubicBezTo>
                    <a:cubicBezTo>
                      <a:pt x="38699" y="123964"/>
                      <a:pt x="40922" y="119803"/>
                      <a:pt x="43145" y="117238"/>
                    </a:cubicBezTo>
                    <a:cubicBezTo>
                      <a:pt x="45505" y="114656"/>
                      <a:pt x="48970" y="113385"/>
                      <a:pt x="52435" y="113818"/>
                    </a:cubicBezTo>
                    <a:cubicBezTo>
                      <a:pt x="61326" y="115186"/>
                      <a:pt x="66912" y="127383"/>
                      <a:pt x="75746" y="125787"/>
                    </a:cubicBezTo>
                    <a:cubicBezTo>
                      <a:pt x="77501" y="115363"/>
                      <a:pt x="81257" y="105377"/>
                      <a:pt x="86803" y="96378"/>
                    </a:cubicBezTo>
                    <a:lnTo>
                      <a:pt x="104300" y="63378"/>
                    </a:lnTo>
                    <a:cubicBezTo>
                      <a:pt x="107007" y="58585"/>
                      <a:pt x="109384" y="53615"/>
                      <a:pt x="111425" y="48502"/>
                    </a:cubicBezTo>
                    <a:cubicBezTo>
                      <a:pt x="113818" y="42233"/>
                      <a:pt x="115186" y="35679"/>
                      <a:pt x="117580" y="29409"/>
                    </a:cubicBezTo>
                    <a:cubicBezTo>
                      <a:pt x="121045" y="20991"/>
                      <a:pt x="125360" y="12949"/>
                      <a:pt x="130461" y="5414"/>
                    </a:cubicBezTo>
                    <a:cubicBezTo>
                      <a:pt x="132114" y="2907"/>
                      <a:pt x="134165" y="57"/>
                      <a:pt x="137186" y="0"/>
                    </a:cubicBezTo>
                    <a:cubicBezTo>
                      <a:pt x="140042" y="365"/>
                      <a:pt x="142344" y="2531"/>
                      <a:pt x="142886" y="5358"/>
                    </a:cubicBezTo>
                    <a:cubicBezTo>
                      <a:pt x="143256" y="8196"/>
                      <a:pt x="143256" y="11068"/>
                      <a:pt x="142886" y="13907"/>
                    </a:cubicBezTo>
                    <a:cubicBezTo>
                      <a:pt x="142846" y="20752"/>
                      <a:pt x="145091" y="27409"/>
                      <a:pt x="149269" y="32829"/>
                    </a:cubicBezTo>
                    <a:cubicBezTo>
                      <a:pt x="150563" y="34140"/>
                      <a:pt x="151486" y="35776"/>
                      <a:pt x="151948" y="37560"/>
                    </a:cubicBezTo>
                    <a:cubicBezTo>
                      <a:pt x="152050" y="40324"/>
                      <a:pt x="150375" y="42849"/>
                      <a:pt x="147787" y="43829"/>
                    </a:cubicBezTo>
                    <a:cubicBezTo>
                      <a:pt x="145257" y="44707"/>
                      <a:pt x="142601" y="45191"/>
                      <a:pt x="139922" y="45254"/>
                    </a:cubicBezTo>
                    <a:cubicBezTo>
                      <a:pt x="135134" y="45767"/>
                      <a:pt x="129549" y="47818"/>
                      <a:pt x="128523" y="52606"/>
                    </a:cubicBezTo>
                    <a:cubicBezTo>
                      <a:pt x="127497" y="57394"/>
                      <a:pt x="132057" y="61497"/>
                      <a:pt x="135989" y="64518"/>
                    </a:cubicBezTo>
                    <a:cubicBezTo>
                      <a:pt x="142248" y="68850"/>
                      <a:pt x="147525" y="74441"/>
                      <a:pt x="151492" y="80932"/>
                    </a:cubicBezTo>
                    <a:cubicBezTo>
                      <a:pt x="155493" y="87544"/>
                      <a:pt x="155920" y="95711"/>
                      <a:pt x="152632" y="102704"/>
                    </a:cubicBezTo>
                    <a:cubicBezTo>
                      <a:pt x="150523" y="106637"/>
                      <a:pt x="146932" y="109658"/>
                      <a:pt x="144539" y="113419"/>
                    </a:cubicBezTo>
                    <a:cubicBezTo>
                      <a:pt x="141176" y="118663"/>
                      <a:pt x="140093" y="125160"/>
                      <a:pt x="136616" y="130518"/>
                    </a:cubicBezTo>
                    <a:cubicBezTo>
                      <a:pt x="134507" y="133596"/>
                      <a:pt x="131487" y="136217"/>
                      <a:pt x="131202" y="140036"/>
                    </a:cubicBezTo>
                    <a:cubicBezTo>
                      <a:pt x="130689" y="145736"/>
                      <a:pt x="137414" y="150466"/>
                      <a:pt x="137357" y="156394"/>
                    </a:cubicBezTo>
                    <a:cubicBezTo>
                      <a:pt x="137357" y="161010"/>
                      <a:pt x="133254" y="166425"/>
                      <a:pt x="136559" y="169673"/>
                    </a:cubicBezTo>
                    <a:cubicBezTo>
                      <a:pt x="137642" y="170756"/>
                      <a:pt x="139181" y="171098"/>
                      <a:pt x="140264" y="172124"/>
                    </a:cubicBezTo>
                    <a:cubicBezTo>
                      <a:pt x="142886" y="174404"/>
                      <a:pt x="141974" y="178679"/>
                      <a:pt x="143285" y="181927"/>
                    </a:cubicBezTo>
                    <a:cubicBezTo>
                      <a:pt x="144995" y="186259"/>
                      <a:pt x="150295" y="188254"/>
                      <a:pt x="152005" y="192585"/>
                    </a:cubicBezTo>
                    <a:cubicBezTo>
                      <a:pt x="153031" y="195264"/>
                      <a:pt x="152461" y="198285"/>
                      <a:pt x="153658" y="201020"/>
                    </a:cubicBezTo>
                    <a:cubicBezTo>
                      <a:pt x="154855" y="203756"/>
                      <a:pt x="158103" y="205466"/>
                      <a:pt x="160668" y="207404"/>
                    </a:cubicBezTo>
                    <a:cubicBezTo>
                      <a:pt x="164755" y="210710"/>
                      <a:pt x="167980" y="214950"/>
                      <a:pt x="170072" y="21977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0" name="Freihandform: Form 664">
                <a:extLst>
                  <a:ext uri="{FF2B5EF4-FFF2-40B4-BE49-F238E27FC236}">
                    <a16:creationId xmlns:a16="http://schemas.microsoft.com/office/drawing/2014/main" id="{9E1A4B48-C698-7475-450F-693097745A91}"/>
                  </a:ext>
                </a:extLst>
              </p:cNvPr>
              <p:cNvSpPr/>
              <p:nvPr/>
            </p:nvSpPr>
            <p:spPr>
              <a:xfrm>
                <a:off x="4083363" y="3992361"/>
                <a:ext cx="277848" cy="201911"/>
              </a:xfrm>
              <a:custGeom>
                <a:avLst/>
                <a:gdLst>
                  <a:gd name="connsiteX0" fmla="*/ 277422 w 277848"/>
                  <a:gd name="connsiteY0" fmla="*/ 145088 h 201911"/>
                  <a:gd name="connsiteX1" fmla="*/ 277080 w 277848"/>
                  <a:gd name="connsiteY1" fmla="*/ 147311 h 201911"/>
                  <a:gd name="connsiteX2" fmla="*/ 266650 w 277848"/>
                  <a:gd name="connsiteY2" fmla="*/ 140871 h 201911"/>
                  <a:gd name="connsiteX3" fmla="*/ 255935 w 277848"/>
                  <a:gd name="connsiteY3" fmla="*/ 138876 h 201911"/>
                  <a:gd name="connsiteX4" fmla="*/ 245676 w 277848"/>
                  <a:gd name="connsiteY4" fmla="*/ 135969 h 201911"/>
                  <a:gd name="connsiteX5" fmla="*/ 238380 w 277848"/>
                  <a:gd name="connsiteY5" fmla="*/ 136881 h 201911"/>
                  <a:gd name="connsiteX6" fmla="*/ 180702 w 277848"/>
                  <a:gd name="connsiteY6" fmla="*/ 149705 h 201911"/>
                  <a:gd name="connsiteX7" fmla="*/ 162463 w 277848"/>
                  <a:gd name="connsiteY7" fmla="*/ 160477 h 201911"/>
                  <a:gd name="connsiteX8" fmla="*/ 160126 w 277848"/>
                  <a:gd name="connsiteY8" fmla="*/ 164238 h 201911"/>
                  <a:gd name="connsiteX9" fmla="*/ 156365 w 277848"/>
                  <a:gd name="connsiteY9" fmla="*/ 164238 h 201911"/>
                  <a:gd name="connsiteX10" fmla="*/ 111225 w 277848"/>
                  <a:gd name="connsiteY10" fmla="*/ 145715 h 201911"/>
                  <a:gd name="connsiteX11" fmla="*/ 106893 w 277848"/>
                  <a:gd name="connsiteY11" fmla="*/ 144005 h 201911"/>
                  <a:gd name="connsiteX12" fmla="*/ 102220 w 277848"/>
                  <a:gd name="connsiteY12" fmla="*/ 145544 h 201911"/>
                  <a:gd name="connsiteX13" fmla="*/ 83355 w 277848"/>
                  <a:gd name="connsiteY13" fmla="*/ 163782 h 201911"/>
                  <a:gd name="connsiteX14" fmla="*/ 83355 w 277848"/>
                  <a:gd name="connsiteY14" fmla="*/ 173358 h 201911"/>
                  <a:gd name="connsiteX15" fmla="*/ 72469 w 277848"/>
                  <a:gd name="connsiteY15" fmla="*/ 174213 h 201911"/>
                  <a:gd name="connsiteX16" fmla="*/ 52862 w 277848"/>
                  <a:gd name="connsiteY16" fmla="*/ 178031 h 201911"/>
                  <a:gd name="connsiteX17" fmla="*/ 45396 w 277848"/>
                  <a:gd name="connsiteY17" fmla="*/ 187321 h 201911"/>
                  <a:gd name="connsiteX18" fmla="*/ 38842 w 277848"/>
                  <a:gd name="connsiteY18" fmla="*/ 201912 h 201911"/>
                  <a:gd name="connsiteX19" fmla="*/ 29495 w 277848"/>
                  <a:gd name="connsiteY19" fmla="*/ 189487 h 201911"/>
                  <a:gd name="connsiteX20" fmla="*/ 22484 w 277848"/>
                  <a:gd name="connsiteY20" fmla="*/ 183104 h 201911"/>
                  <a:gd name="connsiteX21" fmla="*/ 20831 w 277848"/>
                  <a:gd name="connsiteY21" fmla="*/ 174668 h 201911"/>
                  <a:gd name="connsiteX22" fmla="*/ 12111 w 277848"/>
                  <a:gd name="connsiteY22" fmla="*/ 164010 h 201911"/>
                  <a:gd name="connsiteX23" fmla="*/ 9090 w 277848"/>
                  <a:gd name="connsiteY23" fmla="*/ 154207 h 201911"/>
                  <a:gd name="connsiteX24" fmla="*/ 5386 w 277848"/>
                  <a:gd name="connsiteY24" fmla="*/ 151757 h 201911"/>
                  <a:gd name="connsiteX25" fmla="*/ 6184 w 277848"/>
                  <a:gd name="connsiteY25" fmla="*/ 138477 h 201911"/>
                  <a:gd name="connsiteX26" fmla="*/ 28 w 277848"/>
                  <a:gd name="connsiteY26" fmla="*/ 122119 h 201911"/>
                  <a:gd name="connsiteX27" fmla="*/ 5443 w 277848"/>
                  <a:gd name="connsiteY27" fmla="*/ 112601 h 201911"/>
                  <a:gd name="connsiteX28" fmla="*/ 13365 w 277848"/>
                  <a:gd name="connsiteY28" fmla="*/ 95503 h 201911"/>
                  <a:gd name="connsiteX29" fmla="*/ 21458 w 277848"/>
                  <a:gd name="connsiteY29" fmla="*/ 84788 h 201911"/>
                  <a:gd name="connsiteX30" fmla="*/ 22427 w 277848"/>
                  <a:gd name="connsiteY30" fmla="*/ 82622 h 201911"/>
                  <a:gd name="connsiteX31" fmla="*/ 22997 w 277848"/>
                  <a:gd name="connsiteY31" fmla="*/ 82622 h 201911"/>
                  <a:gd name="connsiteX32" fmla="*/ 41635 w 277848"/>
                  <a:gd name="connsiteY32" fmla="*/ 81938 h 201911"/>
                  <a:gd name="connsiteX33" fmla="*/ 48303 w 277848"/>
                  <a:gd name="connsiteY33" fmla="*/ 79658 h 201911"/>
                  <a:gd name="connsiteX34" fmla="*/ 56339 w 277848"/>
                  <a:gd name="connsiteY34" fmla="*/ 79202 h 201911"/>
                  <a:gd name="connsiteX35" fmla="*/ 76458 w 277848"/>
                  <a:gd name="connsiteY35" fmla="*/ 73047 h 201911"/>
                  <a:gd name="connsiteX36" fmla="*/ 81075 w 277848"/>
                  <a:gd name="connsiteY36" fmla="*/ 70140 h 201911"/>
                  <a:gd name="connsiteX37" fmla="*/ 83469 w 277848"/>
                  <a:gd name="connsiteY37" fmla="*/ 66663 h 201911"/>
                  <a:gd name="connsiteX38" fmla="*/ 92987 w 277848"/>
                  <a:gd name="connsiteY38" fmla="*/ 60679 h 201911"/>
                  <a:gd name="connsiteX39" fmla="*/ 96064 w 277848"/>
                  <a:gd name="connsiteY39" fmla="*/ 50933 h 201911"/>
                  <a:gd name="connsiteX40" fmla="*/ 106608 w 277848"/>
                  <a:gd name="connsiteY40" fmla="*/ 45233 h 201911"/>
                  <a:gd name="connsiteX41" fmla="*/ 118406 w 277848"/>
                  <a:gd name="connsiteY41" fmla="*/ 41985 h 201911"/>
                  <a:gd name="connsiteX42" fmla="*/ 122054 w 277848"/>
                  <a:gd name="connsiteY42" fmla="*/ 38679 h 201911"/>
                  <a:gd name="connsiteX43" fmla="*/ 133453 w 277848"/>
                  <a:gd name="connsiteY43" fmla="*/ 33435 h 201911"/>
                  <a:gd name="connsiteX44" fmla="*/ 140691 w 277848"/>
                  <a:gd name="connsiteY44" fmla="*/ 22777 h 201911"/>
                  <a:gd name="connsiteX45" fmla="*/ 147360 w 277848"/>
                  <a:gd name="connsiteY45" fmla="*/ 15311 h 201911"/>
                  <a:gd name="connsiteX46" fmla="*/ 163432 w 277848"/>
                  <a:gd name="connsiteY46" fmla="*/ 2373 h 201911"/>
                  <a:gd name="connsiteX47" fmla="*/ 187028 w 277848"/>
                  <a:gd name="connsiteY47" fmla="*/ 8814 h 201911"/>
                  <a:gd name="connsiteX48" fmla="*/ 189365 w 277848"/>
                  <a:gd name="connsiteY48" fmla="*/ 15425 h 201911"/>
                  <a:gd name="connsiteX49" fmla="*/ 194209 w 277848"/>
                  <a:gd name="connsiteY49" fmla="*/ 18845 h 201911"/>
                  <a:gd name="connsiteX50" fmla="*/ 194209 w 277848"/>
                  <a:gd name="connsiteY50" fmla="*/ 28420 h 201911"/>
                  <a:gd name="connsiteX51" fmla="*/ 190562 w 277848"/>
                  <a:gd name="connsiteY51" fmla="*/ 37881 h 201911"/>
                  <a:gd name="connsiteX52" fmla="*/ 193240 w 277848"/>
                  <a:gd name="connsiteY52" fmla="*/ 46715 h 201911"/>
                  <a:gd name="connsiteX53" fmla="*/ 191531 w 277848"/>
                  <a:gd name="connsiteY53" fmla="*/ 55150 h 201911"/>
                  <a:gd name="connsiteX54" fmla="*/ 221909 w 277848"/>
                  <a:gd name="connsiteY54" fmla="*/ 66891 h 201911"/>
                  <a:gd name="connsiteX55" fmla="*/ 232054 w 277848"/>
                  <a:gd name="connsiteY55" fmla="*/ 83078 h 201911"/>
                  <a:gd name="connsiteX56" fmla="*/ 234847 w 277848"/>
                  <a:gd name="connsiteY56" fmla="*/ 83420 h 201911"/>
                  <a:gd name="connsiteX57" fmla="*/ 237411 w 277848"/>
                  <a:gd name="connsiteY57" fmla="*/ 93964 h 201911"/>
                  <a:gd name="connsiteX58" fmla="*/ 247500 w 277848"/>
                  <a:gd name="connsiteY58" fmla="*/ 100803 h 201911"/>
                  <a:gd name="connsiteX59" fmla="*/ 252002 w 277848"/>
                  <a:gd name="connsiteY59" fmla="*/ 108213 h 201911"/>
                  <a:gd name="connsiteX60" fmla="*/ 271038 w 277848"/>
                  <a:gd name="connsiteY60" fmla="*/ 131010 h 201911"/>
                  <a:gd name="connsiteX61" fmla="*/ 277251 w 277848"/>
                  <a:gd name="connsiteY61" fmla="*/ 137508 h 201911"/>
                  <a:gd name="connsiteX62" fmla="*/ 277422 w 277848"/>
                  <a:gd name="connsiteY62" fmla="*/ 145088 h 20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7848" h="201911">
                    <a:moveTo>
                      <a:pt x="277422" y="145088"/>
                    </a:moveTo>
                    <a:lnTo>
                      <a:pt x="277080" y="147311"/>
                    </a:lnTo>
                    <a:cubicBezTo>
                      <a:pt x="274065" y="144495"/>
                      <a:pt x="270520" y="142307"/>
                      <a:pt x="266650" y="140871"/>
                    </a:cubicBezTo>
                    <a:cubicBezTo>
                      <a:pt x="263173" y="139788"/>
                      <a:pt x="259468" y="139788"/>
                      <a:pt x="255935" y="138876"/>
                    </a:cubicBezTo>
                    <a:cubicBezTo>
                      <a:pt x="252595" y="137639"/>
                      <a:pt x="249169" y="136664"/>
                      <a:pt x="245676" y="135969"/>
                    </a:cubicBezTo>
                    <a:cubicBezTo>
                      <a:pt x="243213" y="135901"/>
                      <a:pt x="240751" y="136208"/>
                      <a:pt x="238380" y="136881"/>
                    </a:cubicBezTo>
                    <a:lnTo>
                      <a:pt x="180702" y="149705"/>
                    </a:lnTo>
                    <a:cubicBezTo>
                      <a:pt x="173520" y="151301"/>
                      <a:pt x="165313" y="153694"/>
                      <a:pt x="162463" y="160477"/>
                    </a:cubicBezTo>
                    <a:cubicBezTo>
                      <a:pt x="161836" y="161845"/>
                      <a:pt x="161437" y="163497"/>
                      <a:pt x="160126" y="164238"/>
                    </a:cubicBezTo>
                    <a:cubicBezTo>
                      <a:pt x="158912" y="164694"/>
                      <a:pt x="157579" y="164694"/>
                      <a:pt x="156365" y="164238"/>
                    </a:cubicBezTo>
                    <a:cubicBezTo>
                      <a:pt x="140480" y="160346"/>
                      <a:pt x="125263" y="154105"/>
                      <a:pt x="111225" y="145715"/>
                    </a:cubicBezTo>
                    <a:cubicBezTo>
                      <a:pt x="109954" y="144786"/>
                      <a:pt x="108461" y="144193"/>
                      <a:pt x="106893" y="144005"/>
                    </a:cubicBezTo>
                    <a:cubicBezTo>
                      <a:pt x="105229" y="144097"/>
                      <a:pt x="103616" y="144626"/>
                      <a:pt x="102220" y="145544"/>
                    </a:cubicBezTo>
                    <a:cubicBezTo>
                      <a:pt x="94298" y="149876"/>
                      <a:pt x="85634" y="155119"/>
                      <a:pt x="83355" y="163782"/>
                    </a:cubicBezTo>
                    <a:cubicBezTo>
                      <a:pt x="82699" y="166940"/>
                      <a:pt x="82699" y="170200"/>
                      <a:pt x="83355" y="173358"/>
                    </a:cubicBezTo>
                    <a:cubicBezTo>
                      <a:pt x="79747" y="173842"/>
                      <a:pt x="76110" y="174127"/>
                      <a:pt x="72469" y="174213"/>
                    </a:cubicBezTo>
                    <a:cubicBezTo>
                      <a:pt x="65698" y="173529"/>
                      <a:pt x="58881" y="174857"/>
                      <a:pt x="52862" y="178031"/>
                    </a:cubicBezTo>
                    <a:cubicBezTo>
                      <a:pt x="49699" y="180516"/>
                      <a:pt x="47146" y="183696"/>
                      <a:pt x="45396" y="187321"/>
                    </a:cubicBezTo>
                    <a:cubicBezTo>
                      <a:pt x="42888" y="192035"/>
                      <a:pt x="40700" y="196908"/>
                      <a:pt x="38842" y="201912"/>
                    </a:cubicBezTo>
                    <a:cubicBezTo>
                      <a:pt x="36773" y="197079"/>
                      <a:pt x="33564" y="192815"/>
                      <a:pt x="29495" y="189487"/>
                    </a:cubicBezTo>
                    <a:cubicBezTo>
                      <a:pt x="26930" y="187549"/>
                      <a:pt x="23795" y="186010"/>
                      <a:pt x="22484" y="183104"/>
                    </a:cubicBezTo>
                    <a:cubicBezTo>
                      <a:pt x="21173" y="180197"/>
                      <a:pt x="21857" y="177404"/>
                      <a:pt x="20831" y="174668"/>
                    </a:cubicBezTo>
                    <a:cubicBezTo>
                      <a:pt x="19122" y="170337"/>
                      <a:pt x="13821" y="168342"/>
                      <a:pt x="12111" y="164010"/>
                    </a:cubicBezTo>
                    <a:cubicBezTo>
                      <a:pt x="10800" y="160762"/>
                      <a:pt x="11712" y="156487"/>
                      <a:pt x="9090" y="154207"/>
                    </a:cubicBezTo>
                    <a:cubicBezTo>
                      <a:pt x="8008" y="153181"/>
                      <a:pt x="6469" y="152839"/>
                      <a:pt x="5386" y="151757"/>
                    </a:cubicBezTo>
                    <a:cubicBezTo>
                      <a:pt x="2080" y="148508"/>
                      <a:pt x="6127" y="143093"/>
                      <a:pt x="6184" y="138477"/>
                    </a:cubicBezTo>
                    <a:cubicBezTo>
                      <a:pt x="6184" y="132777"/>
                      <a:pt x="-485" y="128047"/>
                      <a:pt x="28" y="122119"/>
                    </a:cubicBezTo>
                    <a:cubicBezTo>
                      <a:pt x="28" y="118472"/>
                      <a:pt x="3334" y="115679"/>
                      <a:pt x="5443" y="112601"/>
                    </a:cubicBezTo>
                    <a:cubicBezTo>
                      <a:pt x="8919" y="107472"/>
                      <a:pt x="10002" y="101202"/>
                      <a:pt x="13365" y="95503"/>
                    </a:cubicBezTo>
                    <a:cubicBezTo>
                      <a:pt x="15759" y="91741"/>
                      <a:pt x="19065" y="88720"/>
                      <a:pt x="21458" y="84788"/>
                    </a:cubicBezTo>
                    <a:cubicBezTo>
                      <a:pt x="21840" y="84092"/>
                      <a:pt x="22165" y="83369"/>
                      <a:pt x="22427" y="82622"/>
                    </a:cubicBezTo>
                    <a:lnTo>
                      <a:pt x="22997" y="82622"/>
                    </a:lnTo>
                    <a:cubicBezTo>
                      <a:pt x="29204" y="83426"/>
                      <a:pt x="35502" y="83192"/>
                      <a:pt x="41635" y="81938"/>
                    </a:cubicBezTo>
                    <a:cubicBezTo>
                      <a:pt x="43914" y="81254"/>
                      <a:pt x="46023" y="80171"/>
                      <a:pt x="48303" y="79658"/>
                    </a:cubicBezTo>
                    <a:cubicBezTo>
                      <a:pt x="50964" y="79276"/>
                      <a:pt x="53654" y="79122"/>
                      <a:pt x="56339" y="79202"/>
                    </a:cubicBezTo>
                    <a:cubicBezTo>
                      <a:pt x="63361" y="78364"/>
                      <a:pt x="70172" y="76284"/>
                      <a:pt x="76458" y="73047"/>
                    </a:cubicBezTo>
                    <a:cubicBezTo>
                      <a:pt x="78197" y="72437"/>
                      <a:pt x="79775" y="71445"/>
                      <a:pt x="81075" y="70140"/>
                    </a:cubicBezTo>
                    <a:cubicBezTo>
                      <a:pt x="81987" y="69057"/>
                      <a:pt x="82557" y="67746"/>
                      <a:pt x="83469" y="66663"/>
                    </a:cubicBezTo>
                    <a:cubicBezTo>
                      <a:pt x="85976" y="63814"/>
                      <a:pt x="90707" y="63643"/>
                      <a:pt x="92987" y="60679"/>
                    </a:cubicBezTo>
                    <a:cubicBezTo>
                      <a:pt x="95266" y="57715"/>
                      <a:pt x="94468" y="53954"/>
                      <a:pt x="96064" y="50933"/>
                    </a:cubicBezTo>
                    <a:cubicBezTo>
                      <a:pt x="98453" y="47445"/>
                      <a:pt x="102379" y="45319"/>
                      <a:pt x="106608" y="45233"/>
                    </a:cubicBezTo>
                    <a:cubicBezTo>
                      <a:pt x="110758" y="45194"/>
                      <a:pt x="114822" y="44071"/>
                      <a:pt x="118406" y="41985"/>
                    </a:cubicBezTo>
                    <a:cubicBezTo>
                      <a:pt x="119660" y="40959"/>
                      <a:pt x="120743" y="39648"/>
                      <a:pt x="122054" y="38679"/>
                    </a:cubicBezTo>
                    <a:cubicBezTo>
                      <a:pt x="125417" y="36057"/>
                      <a:pt x="130261" y="35943"/>
                      <a:pt x="133453" y="33435"/>
                    </a:cubicBezTo>
                    <a:cubicBezTo>
                      <a:pt x="136491" y="30352"/>
                      <a:pt x="138947" y="26739"/>
                      <a:pt x="140691" y="22777"/>
                    </a:cubicBezTo>
                    <a:cubicBezTo>
                      <a:pt x="142635" y="20053"/>
                      <a:pt x="144875" y="17551"/>
                      <a:pt x="147360" y="15311"/>
                    </a:cubicBezTo>
                    <a:cubicBezTo>
                      <a:pt x="152147" y="10335"/>
                      <a:pt x="157545" y="5987"/>
                      <a:pt x="163432" y="2373"/>
                    </a:cubicBezTo>
                    <a:cubicBezTo>
                      <a:pt x="171640" y="-2186"/>
                      <a:pt x="184634" y="-248"/>
                      <a:pt x="187028" y="8814"/>
                    </a:cubicBezTo>
                    <a:cubicBezTo>
                      <a:pt x="187285" y="11168"/>
                      <a:pt x="188088" y="13430"/>
                      <a:pt x="189365" y="15425"/>
                    </a:cubicBezTo>
                    <a:cubicBezTo>
                      <a:pt x="190676" y="16907"/>
                      <a:pt x="192784" y="17420"/>
                      <a:pt x="194209" y="18845"/>
                    </a:cubicBezTo>
                    <a:cubicBezTo>
                      <a:pt x="196136" y="21746"/>
                      <a:pt x="196136" y="25519"/>
                      <a:pt x="194209" y="28420"/>
                    </a:cubicBezTo>
                    <a:cubicBezTo>
                      <a:pt x="192329" y="31275"/>
                      <a:pt x="191086" y="34501"/>
                      <a:pt x="190562" y="37881"/>
                    </a:cubicBezTo>
                    <a:cubicBezTo>
                      <a:pt x="190966" y="40953"/>
                      <a:pt x="191873" y="43934"/>
                      <a:pt x="193240" y="46715"/>
                    </a:cubicBezTo>
                    <a:cubicBezTo>
                      <a:pt x="194625" y="49593"/>
                      <a:pt x="193924" y="53042"/>
                      <a:pt x="191531" y="55150"/>
                    </a:cubicBezTo>
                    <a:cubicBezTo>
                      <a:pt x="202531" y="52985"/>
                      <a:pt x="210909" y="68943"/>
                      <a:pt x="221909" y="66891"/>
                    </a:cubicBezTo>
                    <a:cubicBezTo>
                      <a:pt x="220239" y="74164"/>
                      <a:pt x="224781" y="81408"/>
                      <a:pt x="232054" y="83078"/>
                    </a:cubicBezTo>
                    <a:cubicBezTo>
                      <a:pt x="232972" y="83289"/>
                      <a:pt x="233906" y="83403"/>
                      <a:pt x="234847" y="83420"/>
                    </a:cubicBezTo>
                    <a:cubicBezTo>
                      <a:pt x="232111" y="86441"/>
                      <a:pt x="234220" y="91456"/>
                      <a:pt x="237411" y="93964"/>
                    </a:cubicBezTo>
                    <a:cubicBezTo>
                      <a:pt x="240928" y="96010"/>
                      <a:pt x="244296" y="98295"/>
                      <a:pt x="247500" y="100803"/>
                    </a:cubicBezTo>
                    <a:cubicBezTo>
                      <a:pt x="249386" y="103015"/>
                      <a:pt x="250908" y="105517"/>
                      <a:pt x="252002" y="108213"/>
                    </a:cubicBezTo>
                    <a:cubicBezTo>
                      <a:pt x="256487" y="117189"/>
                      <a:pt x="263008" y="124992"/>
                      <a:pt x="271038" y="131010"/>
                    </a:cubicBezTo>
                    <a:cubicBezTo>
                      <a:pt x="273683" y="132544"/>
                      <a:pt x="275837" y="134801"/>
                      <a:pt x="277251" y="137508"/>
                    </a:cubicBezTo>
                    <a:cubicBezTo>
                      <a:pt x="277986" y="139976"/>
                      <a:pt x="278043" y="142592"/>
                      <a:pt x="277422" y="14508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1" name="Freihandform: Form 665">
                <a:extLst>
                  <a:ext uri="{FF2B5EF4-FFF2-40B4-BE49-F238E27FC236}">
                    <a16:creationId xmlns:a16="http://schemas.microsoft.com/office/drawing/2014/main" id="{F9A594E3-949E-7019-960E-DD9B28C45DBE}"/>
                  </a:ext>
                </a:extLst>
              </p:cNvPr>
              <p:cNvSpPr/>
              <p:nvPr/>
            </p:nvSpPr>
            <p:spPr>
              <a:xfrm>
                <a:off x="3831702" y="3926849"/>
                <a:ext cx="254196" cy="221274"/>
              </a:xfrm>
              <a:custGeom>
                <a:avLst/>
                <a:gdLst>
                  <a:gd name="connsiteX0" fmla="*/ 253399 w 254196"/>
                  <a:gd name="connsiteY0" fmla="*/ 31978 h 221274"/>
                  <a:gd name="connsiteX1" fmla="*/ 254197 w 254196"/>
                  <a:gd name="connsiteY1" fmla="*/ 49077 h 221274"/>
                  <a:gd name="connsiteX2" fmla="*/ 250207 w 254196"/>
                  <a:gd name="connsiteY2" fmla="*/ 53522 h 221274"/>
                  <a:gd name="connsiteX3" fmla="*/ 237327 w 254196"/>
                  <a:gd name="connsiteY3" fmla="*/ 77517 h 221274"/>
                  <a:gd name="connsiteX4" fmla="*/ 231171 w 254196"/>
                  <a:gd name="connsiteY4" fmla="*/ 96610 h 221274"/>
                  <a:gd name="connsiteX5" fmla="*/ 224047 w 254196"/>
                  <a:gd name="connsiteY5" fmla="*/ 111486 h 221274"/>
                  <a:gd name="connsiteX6" fmla="*/ 206549 w 254196"/>
                  <a:gd name="connsiteY6" fmla="*/ 144486 h 221274"/>
                  <a:gd name="connsiteX7" fmla="*/ 195492 w 254196"/>
                  <a:gd name="connsiteY7" fmla="*/ 173895 h 221274"/>
                  <a:gd name="connsiteX8" fmla="*/ 172182 w 254196"/>
                  <a:gd name="connsiteY8" fmla="*/ 161926 h 221274"/>
                  <a:gd name="connsiteX9" fmla="*/ 162891 w 254196"/>
                  <a:gd name="connsiteY9" fmla="*/ 165346 h 221274"/>
                  <a:gd name="connsiteX10" fmla="*/ 156223 w 254196"/>
                  <a:gd name="connsiteY10" fmla="*/ 172869 h 221274"/>
                  <a:gd name="connsiteX11" fmla="*/ 148301 w 254196"/>
                  <a:gd name="connsiteY11" fmla="*/ 173667 h 221274"/>
                  <a:gd name="connsiteX12" fmla="*/ 140778 w 254196"/>
                  <a:gd name="connsiteY12" fmla="*/ 186662 h 221274"/>
                  <a:gd name="connsiteX13" fmla="*/ 133539 w 254196"/>
                  <a:gd name="connsiteY13" fmla="*/ 190253 h 221274"/>
                  <a:gd name="connsiteX14" fmla="*/ 131145 w 254196"/>
                  <a:gd name="connsiteY14" fmla="*/ 197377 h 221274"/>
                  <a:gd name="connsiteX15" fmla="*/ 119746 w 254196"/>
                  <a:gd name="connsiteY15" fmla="*/ 220973 h 221274"/>
                  <a:gd name="connsiteX16" fmla="*/ 118093 w 254196"/>
                  <a:gd name="connsiteY16" fmla="*/ 220973 h 221274"/>
                  <a:gd name="connsiteX17" fmla="*/ 58249 w 254196"/>
                  <a:gd name="connsiteY17" fmla="*/ 197491 h 221274"/>
                  <a:gd name="connsiteX18" fmla="*/ 44057 w 254196"/>
                  <a:gd name="connsiteY18" fmla="*/ 182102 h 221274"/>
                  <a:gd name="connsiteX19" fmla="*/ 21830 w 254196"/>
                  <a:gd name="connsiteY19" fmla="*/ 173724 h 221274"/>
                  <a:gd name="connsiteX20" fmla="*/ 6213 w 254196"/>
                  <a:gd name="connsiteY20" fmla="*/ 170476 h 221274"/>
                  <a:gd name="connsiteX21" fmla="*/ 4674 w 254196"/>
                  <a:gd name="connsiteY21" fmla="*/ 157880 h 221274"/>
                  <a:gd name="connsiteX22" fmla="*/ 2793 w 254196"/>
                  <a:gd name="connsiteY22" fmla="*/ 116387 h 221274"/>
                  <a:gd name="connsiteX23" fmla="*/ 21887 w 254196"/>
                  <a:gd name="connsiteY23" fmla="*/ 83844 h 221274"/>
                  <a:gd name="connsiteX24" fmla="*/ 20120 w 254196"/>
                  <a:gd name="connsiteY24" fmla="*/ 75465 h 221274"/>
                  <a:gd name="connsiteX25" fmla="*/ 18353 w 254196"/>
                  <a:gd name="connsiteY25" fmla="*/ 49647 h 221274"/>
                  <a:gd name="connsiteX26" fmla="*/ 19493 w 254196"/>
                  <a:gd name="connsiteY26" fmla="*/ 40698 h 221274"/>
                  <a:gd name="connsiteX27" fmla="*/ 25192 w 254196"/>
                  <a:gd name="connsiteY27" fmla="*/ 30838 h 221274"/>
                  <a:gd name="connsiteX28" fmla="*/ 32373 w 254196"/>
                  <a:gd name="connsiteY28" fmla="*/ 9123 h 221274"/>
                  <a:gd name="connsiteX29" fmla="*/ 43772 w 254196"/>
                  <a:gd name="connsiteY29" fmla="*/ 4564 h 221274"/>
                  <a:gd name="connsiteX30" fmla="*/ 49472 w 254196"/>
                  <a:gd name="connsiteY30" fmla="*/ 916 h 221274"/>
                  <a:gd name="connsiteX31" fmla="*/ 56311 w 254196"/>
                  <a:gd name="connsiteY31" fmla="*/ 61 h 221274"/>
                  <a:gd name="connsiteX32" fmla="*/ 74949 w 254196"/>
                  <a:gd name="connsiteY32" fmla="*/ 61 h 221274"/>
                  <a:gd name="connsiteX33" fmla="*/ 83213 w 254196"/>
                  <a:gd name="connsiteY33" fmla="*/ 1828 h 221274"/>
                  <a:gd name="connsiteX34" fmla="*/ 93529 w 254196"/>
                  <a:gd name="connsiteY34" fmla="*/ 18414 h 221274"/>
                  <a:gd name="connsiteX35" fmla="*/ 102192 w 254196"/>
                  <a:gd name="connsiteY35" fmla="*/ 16533 h 221274"/>
                  <a:gd name="connsiteX36" fmla="*/ 126643 w 254196"/>
                  <a:gd name="connsiteY36" fmla="*/ 18642 h 221274"/>
                  <a:gd name="connsiteX37" fmla="*/ 130233 w 254196"/>
                  <a:gd name="connsiteY37" fmla="*/ 24341 h 221274"/>
                  <a:gd name="connsiteX38" fmla="*/ 136275 w 254196"/>
                  <a:gd name="connsiteY38" fmla="*/ 25538 h 221274"/>
                  <a:gd name="connsiteX39" fmla="*/ 167337 w 254196"/>
                  <a:gd name="connsiteY39" fmla="*/ 14880 h 221274"/>
                  <a:gd name="connsiteX40" fmla="*/ 183581 w 254196"/>
                  <a:gd name="connsiteY40" fmla="*/ 8212 h 221274"/>
                  <a:gd name="connsiteX41" fmla="*/ 191674 w 254196"/>
                  <a:gd name="connsiteY41" fmla="*/ 12087 h 221274"/>
                  <a:gd name="connsiteX42" fmla="*/ 219316 w 254196"/>
                  <a:gd name="connsiteY42" fmla="*/ 10548 h 221274"/>
                  <a:gd name="connsiteX43" fmla="*/ 225016 w 254196"/>
                  <a:gd name="connsiteY43" fmla="*/ 6958 h 221274"/>
                  <a:gd name="connsiteX44" fmla="*/ 245021 w 254196"/>
                  <a:gd name="connsiteY44" fmla="*/ 15621 h 221274"/>
                  <a:gd name="connsiteX45" fmla="*/ 251803 w 254196"/>
                  <a:gd name="connsiteY45" fmla="*/ 24797 h 221274"/>
                  <a:gd name="connsiteX46" fmla="*/ 253399 w 254196"/>
                  <a:gd name="connsiteY46" fmla="*/ 31978 h 22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54196" h="221274">
                    <a:moveTo>
                      <a:pt x="253399" y="31978"/>
                    </a:moveTo>
                    <a:cubicBezTo>
                      <a:pt x="253912" y="37678"/>
                      <a:pt x="254140" y="43377"/>
                      <a:pt x="254197" y="49077"/>
                    </a:cubicBezTo>
                    <a:cubicBezTo>
                      <a:pt x="252584" y="50274"/>
                      <a:pt x="251227" y="51790"/>
                      <a:pt x="250207" y="53522"/>
                    </a:cubicBezTo>
                    <a:cubicBezTo>
                      <a:pt x="245106" y="61057"/>
                      <a:pt x="240786" y="69099"/>
                      <a:pt x="237327" y="77517"/>
                    </a:cubicBezTo>
                    <a:cubicBezTo>
                      <a:pt x="234933" y="83786"/>
                      <a:pt x="233565" y="90341"/>
                      <a:pt x="231171" y="96610"/>
                    </a:cubicBezTo>
                    <a:cubicBezTo>
                      <a:pt x="229131" y="101723"/>
                      <a:pt x="226754" y="106693"/>
                      <a:pt x="224047" y="111486"/>
                    </a:cubicBezTo>
                    <a:lnTo>
                      <a:pt x="206549" y="144486"/>
                    </a:lnTo>
                    <a:cubicBezTo>
                      <a:pt x="201004" y="153485"/>
                      <a:pt x="197248" y="163471"/>
                      <a:pt x="195492" y="173895"/>
                    </a:cubicBezTo>
                    <a:cubicBezTo>
                      <a:pt x="186658" y="175491"/>
                      <a:pt x="181073" y="163294"/>
                      <a:pt x="172182" y="161926"/>
                    </a:cubicBezTo>
                    <a:cubicBezTo>
                      <a:pt x="168716" y="161493"/>
                      <a:pt x="165251" y="162764"/>
                      <a:pt x="162891" y="165346"/>
                    </a:cubicBezTo>
                    <a:cubicBezTo>
                      <a:pt x="160669" y="167911"/>
                      <a:pt x="159472" y="171672"/>
                      <a:pt x="156223" y="172869"/>
                    </a:cubicBezTo>
                    <a:cubicBezTo>
                      <a:pt x="152974" y="174066"/>
                      <a:pt x="150523" y="172869"/>
                      <a:pt x="148301" y="173667"/>
                    </a:cubicBezTo>
                    <a:cubicBezTo>
                      <a:pt x="143570" y="175719"/>
                      <a:pt x="144824" y="183470"/>
                      <a:pt x="140778" y="186662"/>
                    </a:cubicBezTo>
                    <a:cubicBezTo>
                      <a:pt x="138669" y="188315"/>
                      <a:pt x="135477" y="188315"/>
                      <a:pt x="133539" y="190253"/>
                    </a:cubicBezTo>
                    <a:cubicBezTo>
                      <a:pt x="132023" y="192322"/>
                      <a:pt x="131191" y="194812"/>
                      <a:pt x="131145" y="197377"/>
                    </a:cubicBezTo>
                    <a:cubicBezTo>
                      <a:pt x="129721" y="205983"/>
                      <a:pt x="123850" y="213108"/>
                      <a:pt x="119746" y="220973"/>
                    </a:cubicBezTo>
                    <a:lnTo>
                      <a:pt x="118093" y="220973"/>
                    </a:lnTo>
                    <a:cubicBezTo>
                      <a:pt x="95552" y="223048"/>
                      <a:pt x="73364" y="214339"/>
                      <a:pt x="58249" y="197491"/>
                    </a:cubicBezTo>
                    <a:cubicBezTo>
                      <a:pt x="54077" y="191871"/>
                      <a:pt x="49324" y="186713"/>
                      <a:pt x="44057" y="182102"/>
                    </a:cubicBezTo>
                    <a:cubicBezTo>
                      <a:pt x="37303" y="177805"/>
                      <a:pt x="29734" y="174955"/>
                      <a:pt x="21830" y="173724"/>
                    </a:cubicBezTo>
                    <a:cubicBezTo>
                      <a:pt x="16700" y="172527"/>
                      <a:pt x="11456" y="171387"/>
                      <a:pt x="6213" y="170476"/>
                    </a:cubicBezTo>
                    <a:cubicBezTo>
                      <a:pt x="5956" y="166252"/>
                      <a:pt x="5444" y="162046"/>
                      <a:pt x="4674" y="157880"/>
                    </a:cubicBezTo>
                    <a:cubicBezTo>
                      <a:pt x="1995" y="144030"/>
                      <a:pt x="-3248" y="129382"/>
                      <a:pt x="2793" y="116387"/>
                    </a:cubicBezTo>
                    <a:cubicBezTo>
                      <a:pt x="8493" y="104989"/>
                      <a:pt x="22627" y="96667"/>
                      <a:pt x="21887" y="83844"/>
                    </a:cubicBezTo>
                    <a:cubicBezTo>
                      <a:pt x="21556" y="81005"/>
                      <a:pt x="20963" y="78195"/>
                      <a:pt x="20120" y="75465"/>
                    </a:cubicBezTo>
                    <a:cubicBezTo>
                      <a:pt x="18387" y="66973"/>
                      <a:pt x="17794" y="58293"/>
                      <a:pt x="18353" y="49647"/>
                    </a:cubicBezTo>
                    <a:cubicBezTo>
                      <a:pt x="18244" y="46620"/>
                      <a:pt x="18626" y="43600"/>
                      <a:pt x="19493" y="40698"/>
                    </a:cubicBezTo>
                    <a:cubicBezTo>
                      <a:pt x="20974" y="37188"/>
                      <a:pt x="22889" y="33876"/>
                      <a:pt x="25192" y="30838"/>
                    </a:cubicBezTo>
                    <a:cubicBezTo>
                      <a:pt x="29501" y="24381"/>
                      <a:pt x="31980" y="16875"/>
                      <a:pt x="32373" y="9123"/>
                    </a:cubicBezTo>
                    <a:cubicBezTo>
                      <a:pt x="36494" y="8582"/>
                      <a:pt x="40415" y="7015"/>
                      <a:pt x="43772" y="4564"/>
                    </a:cubicBezTo>
                    <a:cubicBezTo>
                      <a:pt x="45528" y="3133"/>
                      <a:pt x="47437" y="1908"/>
                      <a:pt x="49472" y="916"/>
                    </a:cubicBezTo>
                    <a:cubicBezTo>
                      <a:pt x="51678" y="204"/>
                      <a:pt x="53997" y="-87"/>
                      <a:pt x="56311" y="61"/>
                    </a:cubicBezTo>
                    <a:lnTo>
                      <a:pt x="74949" y="61"/>
                    </a:lnTo>
                    <a:cubicBezTo>
                      <a:pt x="77821" y="-207"/>
                      <a:pt x="80705" y="409"/>
                      <a:pt x="83213" y="1828"/>
                    </a:cubicBezTo>
                    <a:cubicBezTo>
                      <a:pt x="88912" y="5761"/>
                      <a:pt x="87145" y="16419"/>
                      <a:pt x="93529" y="18414"/>
                    </a:cubicBezTo>
                    <a:cubicBezTo>
                      <a:pt x="96550" y="18892"/>
                      <a:pt x="99639" y="18220"/>
                      <a:pt x="102192" y="16533"/>
                    </a:cubicBezTo>
                    <a:cubicBezTo>
                      <a:pt x="110285" y="12657"/>
                      <a:pt x="121912" y="10833"/>
                      <a:pt x="126643" y="18642"/>
                    </a:cubicBezTo>
                    <a:cubicBezTo>
                      <a:pt x="127840" y="20522"/>
                      <a:pt x="128466" y="22859"/>
                      <a:pt x="130233" y="24341"/>
                    </a:cubicBezTo>
                    <a:cubicBezTo>
                      <a:pt x="132046" y="25430"/>
                      <a:pt x="134183" y="25851"/>
                      <a:pt x="136275" y="25538"/>
                    </a:cubicBezTo>
                    <a:cubicBezTo>
                      <a:pt x="147395" y="24808"/>
                      <a:pt x="158115" y="21127"/>
                      <a:pt x="167337" y="14880"/>
                    </a:cubicBezTo>
                    <a:cubicBezTo>
                      <a:pt x="172295" y="11460"/>
                      <a:pt x="177653" y="7072"/>
                      <a:pt x="183581" y="8212"/>
                    </a:cubicBezTo>
                    <a:cubicBezTo>
                      <a:pt x="186459" y="9084"/>
                      <a:pt x="189189" y="10389"/>
                      <a:pt x="191674" y="12087"/>
                    </a:cubicBezTo>
                    <a:cubicBezTo>
                      <a:pt x="200485" y="16630"/>
                      <a:pt x="211063" y="16043"/>
                      <a:pt x="219316" y="10548"/>
                    </a:cubicBezTo>
                    <a:cubicBezTo>
                      <a:pt x="221083" y="9152"/>
                      <a:pt x="222992" y="7944"/>
                      <a:pt x="225016" y="6958"/>
                    </a:cubicBezTo>
                    <a:cubicBezTo>
                      <a:pt x="232197" y="4051"/>
                      <a:pt x="239606" y="10092"/>
                      <a:pt x="245021" y="15621"/>
                    </a:cubicBezTo>
                    <a:cubicBezTo>
                      <a:pt x="247870" y="18197"/>
                      <a:pt x="250173" y="21320"/>
                      <a:pt x="251803" y="24797"/>
                    </a:cubicBezTo>
                    <a:cubicBezTo>
                      <a:pt x="252664" y="27105"/>
                      <a:pt x="253199" y="29522"/>
                      <a:pt x="253399" y="3197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2" name="Freihandform: Form 666">
                <a:extLst>
                  <a:ext uri="{FF2B5EF4-FFF2-40B4-BE49-F238E27FC236}">
                    <a16:creationId xmlns:a16="http://schemas.microsoft.com/office/drawing/2014/main" id="{9697456C-3DBE-7067-AE74-D30122A9981E}"/>
                  </a:ext>
                </a:extLst>
              </p:cNvPr>
              <p:cNvSpPr/>
              <p:nvPr/>
            </p:nvSpPr>
            <p:spPr>
              <a:xfrm>
                <a:off x="3796748" y="3964157"/>
                <a:ext cx="57380" cy="133509"/>
              </a:xfrm>
              <a:custGeom>
                <a:avLst/>
                <a:gdLst>
                  <a:gd name="connsiteX0" fmla="*/ 48747 w 57380"/>
                  <a:gd name="connsiteY0" fmla="*/ 2707 h 133509"/>
                  <a:gd name="connsiteX1" fmla="*/ 54446 w 57380"/>
                  <a:gd name="connsiteY1" fmla="*/ 5158 h 133509"/>
                  <a:gd name="connsiteX2" fmla="*/ 53820 w 57380"/>
                  <a:gd name="connsiteY2" fmla="*/ 12282 h 133509"/>
                  <a:gd name="connsiteX3" fmla="*/ 55586 w 57380"/>
                  <a:gd name="connsiteY3" fmla="*/ 38101 h 133509"/>
                  <a:gd name="connsiteX4" fmla="*/ 57353 w 57380"/>
                  <a:gd name="connsiteY4" fmla="*/ 46479 h 133509"/>
                  <a:gd name="connsiteX5" fmla="*/ 38260 w 57380"/>
                  <a:gd name="connsiteY5" fmla="*/ 79023 h 133509"/>
                  <a:gd name="connsiteX6" fmla="*/ 40141 w 57380"/>
                  <a:gd name="connsiteY6" fmla="*/ 120515 h 133509"/>
                  <a:gd name="connsiteX7" fmla="*/ 41680 w 57380"/>
                  <a:gd name="connsiteY7" fmla="*/ 133111 h 133509"/>
                  <a:gd name="connsiteX8" fmla="*/ 13182 w 57380"/>
                  <a:gd name="connsiteY8" fmla="*/ 132712 h 133509"/>
                  <a:gd name="connsiteX9" fmla="*/ 10162 w 57380"/>
                  <a:gd name="connsiteY9" fmla="*/ 133510 h 133509"/>
                  <a:gd name="connsiteX10" fmla="*/ 18426 w 57380"/>
                  <a:gd name="connsiteY10" fmla="*/ 77142 h 133509"/>
                  <a:gd name="connsiteX11" fmla="*/ 17400 w 57380"/>
                  <a:gd name="connsiteY11" fmla="*/ 69676 h 133509"/>
                  <a:gd name="connsiteX12" fmla="*/ 12612 w 57380"/>
                  <a:gd name="connsiteY12" fmla="*/ 61867 h 133509"/>
                  <a:gd name="connsiteX13" fmla="*/ 188 w 57380"/>
                  <a:gd name="connsiteY13" fmla="*/ 37645 h 133509"/>
                  <a:gd name="connsiteX14" fmla="*/ 10732 w 57380"/>
                  <a:gd name="connsiteY14" fmla="*/ 24365 h 133509"/>
                  <a:gd name="connsiteX15" fmla="*/ 26462 w 57380"/>
                  <a:gd name="connsiteY15" fmla="*/ 16785 h 133509"/>
                  <a:gd name="connsiteX16" fmla="*/ 29939 w 57380"/>
                  <a:gd name="connsiteY16" fmla="*/ 14163 h 133509"/>
                  <a:gd name="connsiteX17" fmla="*/ 34555 w 57380"/>
                  <a:gd name="connsiteY17" fmla="*/ 1738 h 133509"/>
                  <a:gd name="connsiteX18" fmla="*/ 48747 w 57380"/>
                  <a:gd name="connsiteY18" fmla="*/ 2707 h 1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380" h="133509">
                    <a:moveTo>
                      <a:pt x="48747" y="2707"/>
                    </a:moveTo>
                    <a:lnTo>
                      <a:pt x="54446" y="5158"/>
                    </a:lnTo>
                    <a:cubicBezTo>
                      <a:pt x="54008" y="7506"/>
                      <a:pt x="53797" y="9894"/>
                      <a:pt x="53820" y="12282"/>
                    </a:cubicBezTo>
                    <a:cubicBezTo>
                      <a:pt x="53261" y="20928"/>
                      <a:pt x="53854" y="29608"/>
                      <a:pt x="55586" y="38101"/>
                    </a:cubicBezTo>
                    <a:cubicBezTo>
                      <a:pt x="56430" y="40831"/>
                      <a:pt x="57023" y="43641"/>
                      <a:pt x="57353" y="46479"/>
                    </a:cubicBezTo>
                    <a:cubicBezTo>
                      <a:pt x="58094" y="59303"/>
                      <a:pt x="43788" y="67396"/>
                      <a:pt x="38260" y="79023"/>
                    </a:cubicBezTo>
                    <a:cubicBezTo>
                      <a:pt x="32219" y="91790"/>
                      <a:pt x="37462" y="106665"/>
                      <a:pt x="40141" y="120515"/>
                    </a:cubicBezTo>
                    <a:cubicBezTo>
                      <a:pt x="40910" y="124681"/>
                      <a:pt x="41423" y="128888"/>
                      <a:pt x="41680" y="133111"/>
                    </a:cubicBezTo>
                    <a:cubicBezTo>
                      <a:pt x="32287" y="131230"/>
                      <a:pt x="22626" y="131093"/>
                      <a:pt x="13182" y="132712"/>
                    </a:cubicBezTo>
                    <a:lnTo>
                      <a:pt x="10162" y="133510"/>
                    </a:lnTo>
                    <a:cubicBezTo>
                      <a:pt x="12726" y="114645"/>
                      <a:pt x="18882" y="96121"/>
                      <a:pt x="18426" y="77142"/>
                    </a:cubicBezTo>
                    <a:cubicBezTo>
                      <a:pt x="18460" y="74617"/>
                      <a:pt x="18112" y="72098"/>
                      <a:pt x="17400" y="69676"/>
                    </a:cubicBezTo>
                    <a:cubicBezTo>
                      <a:pt x="16317" y="66792"/>
                      <a:pt x="14693" y="64141"/>
                      <a:pt x="12612" y="61867"/>
                    </a:cubicBezTo>
                    <a:cubicBezTo>
                      <a:pt x="6913" y="54629"/>
                      <a:pt x="-1351" y="46935"/>
                      <a:pt x="188" y="37645"/>
                    </a:cubicBezTo>
                    <a:cubicBezTo>
                      <a:pt x="1584" y="31882"/>
                      <a:pt x="5437" y="27027"/>
                      <a:pt x="10732" y="24365"/>
                    </a:cubicBezTo>
                    <a:cubicBezTo>
                      <a:pt x="15747" y="21401"/>
                      <a:pt x="21390" y="19577"/>
                      <a:pt x="26462" y="16785"/>
                    </a:cubicBezTo>
                    <a:cubicBezTo>
                      <a:pt x="27790" y="16163"/>
                      <a:pt x="28976" y="15269"/>
                      <a:pt x="29939" y="14163"/>
                    </a:cubicBezTo>
                    <a:cubicBezTo>
                      <a:pt x="32731" y="10686"/>
                      <a:pt x="31421" y="4987"/>
                      <a:pt x="34555" y="1738"/>
                    </a:cubicBezTo>
                    <a:cubicBezTo>
                      <a:pt x="37690" y="-1511"/>
                      <a:pt x="44130" y="370"/>
                      <a:pt x="48747" y="270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3" name="Freihandform: Form 667">
                <a:extLst>
                  <a:ext uri="{FF2B5EF4-FFF2-40B4-BE49-F238E27FC236}">
                    <a16:creationId xmlns:a16="http://schemas.microsoft.com/office/drawing/2014/main" id="{E08E2C15-1EC2-854D-1FC7-F50F890D1560}"/>
                  </a:ext>
                </a:extLst>
              </p:cNvPr>
              <p:cNvSpPr/>
              <p:nvPr/>
            </p:nvSpPr>
            <p:spPr>
              <a:xfrm>
                <a:off x="3771930" y="3995290"/>
                <a:ext cx="43153" cy="110184"/>
              </a:xfrm>
              <a:custGeom>
                <a:avLst/>
                <a:gdLst>
                  <a:gd name="connsiteX0" fmla="*/ 25860 w 43153"/>
                  <a:gd name="connsiteY0" fmla="*/ 3319 h 110184"/>
                  <a:gd name="connsiteX1" fmla="*/ 24891 w 43153"/>
                  <a:gd name="connsiteY1" fmla="*/ 6511 h 110184"/>
                  <a:gd name="connsiteX2" fmla="*/ 37316 w 43153"/>
                  <a:gd name="connsiteY2" fmla="*/ 30734 h 110184"/>
                  <a:gd name="connsiteX3" fmla="*/ 42104 w 43153"/>
                  <a:gd name="connsiteY3" fmla="*/ 38542 h 110184"/>
                  <a:gd name="connsiteX4" fmla="*/ 43130 w 43153"/>
                  <a:gd name="connsiteY4" fmla="*/ 46008 h 110184"/>
                  <a:gd name="connsiteX5" fmla="*/ 34865 w 43153"/>
                  <a:gd name="connsiteY5" fmla="*/ 102376 h 110184"/>
                  <a:gd name="connsiteX6" fmla="*/ 17026 w 43153"/>
                  <a:gd name="connsiteY6" fmla="*/ 108645 h 110184"/>
                  <a:gd name="connsiteX7" fmla="*/ 12923 w 43153"/>
                  <a:gd name="connsiteY7" fmla="*/ 110184 h 110184"/>
                  <a:gd name="connsiteX8" fmla="*/ 14746 w 43153"/>
                  <a:gd name="connsiteY8" fmla="*/ 75646 h 110184"/>
                  <a:gd name="connsiteX9" fmla="*/ 12182 w 43153"/>
                  <a:gd name="connsiteY9" fmla="*/ 63734 h 110184"/>
                  <a:gd name="connsiteX10" fmla="*/ 6482 w 43153"/>
                  <a:gd name="connsiteY10" fmla="*/ 58034 h 110184"/>
                  <a:gd name="connsiteX11" fmla="*/ 5171 w 43153"/>
                  <a:gd name="connsiteY11" fmla="*/ 50169 h 110184"/>
                  <a:gd name="connsiteX12" fmla="*/ 441 w 43153"/>
                  <a:gd name="connsiteY12" fmla="*/ 4573 h 110184"/>
                  <a:gd name="connsiteX13" fmla="*/ 1244 w 43153"/>
                  <a:gd name="connsiteY13" fmla="*/ 789 h 110184"/>
                  <a:gd name="connsiteX14" fmla="*/ 2948 w 43153"/>
                  <a:gd name="connsiteY14" fmla="*/ 355 h 110184"/>
                  <a:gd name="connsiteX15" fmla="*/ 25860 w 43153"/>
                  <a:gd name="connsiteY15" fmla="*/ 3319 h 11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53" h="110184">
                    <a:moveTo>
                      <a:pt x="25860" y="3319"/>
                    </a:moveTo>
                    <a:cubicBezTo>
                      <a:pt x="25393" y="4334"/>
                      <a:pt x="25068" y="5405"/>
                      <a:pt x="24891" y="6511"/>
                    </a:cubicBezTo>
                    <a:cubicBezTo>
                      <a:pt x="23352" y="15801"/>
                      <a:pt x="31332" y="23609"/>
                      <a:pt x="37316" y="30734"/>
                    </a:cubicBezTo>
                    <a:cubicBezTo>
                      <a:pt x="39396" y="33008"/>
                      <a:pt x="41021" y="35658"/>
                      <a:pt x="42104" y="38542"/>
                    </a:cubicBezTo>
                    <a:cubicBezTo>
                      <a:pt x="42822" y="40964"/>
                      <a:pt x="43164" y="43483"/>
                      <a:pt x="43130" y="46008"/>
                    </a:cubicBezTo>
                    <a:cubicBezTo>
                      <a:pt x="43585" y="64988"/>
                      <a:pt x="37430" y="83511"/>
                      <a:pt x="34865" y="102376"/>
                    </a:cubicBezTo>
                    <a:cubicBezTo>
                      <a:pt x="28807" y="104126"/>
                      <a:pt x="22845" y="106217"/>
                      <a:pt x="17026" y="108645"/>
                    </a:cubicBezTo>
                    <a:lnTo>
                      <a:pt x="12923" y="110184"/>
                    </a:lnTo>
                    <a:cubicBezTo>
                      <a:pt x="14233" y="98785"/>
                      <a:pt x="14461" y="87386"/>
                      <a:pt x="14746" y="75646"/>
                    </a:cubicBezTo>
                    <a:cubicBezTo>
                      <a:pt x="15271" y="71496"/>
                      <a:pt x="14364" y="67296"/>
                      <a:pt x="12182" y="63734"/>
                    </a:cubicBezTo>
                    <a:cubicBezTo>
                      <a:pt x="10415" y="61511"/>
                      <a:pt x="7679" y="60257"/>
                      <a:pt x="6482" y="58034"/>
                    </a:cubicBezTo>
                    <a:cubicBezTo>
                      <a:pt x="5308" y="55589"/>
                      <a:pt x="4852" y="52865"/>
                      <a:pt x="5171" y="50169"/>
                    </a:cubicBezTo>
                    <a:cubicBezTo>
                      <a:pt x="5354" y="34837"/>
                      <a:pt x="3763" y="19540"/>
                      <a:pt x="441" y="4573"/>
                    </a:cubicBezTo>
                    <a:cubicBezTo>
                      <a:pt x="-380" y="3308"/>
                      <a:pt x="-21" y="1609"/>
                      <a:pt x="1244" y="789"/>
                    </a:cubicBezTo>
                    <a:cubicBezTo>
                      <a:pt x="1751" y="458"/>
                      <a:pt x="2350" y="310"/>
                      <a:pt x="2948" y="355"/>
                    </a:cubicBezTo>
                    <a:cubicBezTo>
                      <a:pt x="10711" y="-613"/>
                      <a:pt x="18599" y="407"/>
                      <a:pt x="25860" y="3319"/>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74" name="Freihandform: Form 668">
                <a:extLst>
                  <a:ext uri="{FF2B5EF4-FFF2-40B4-BE49-F238E27FC236}">
                    <a16:creationId xmlns:a16="http://schemas.microsoft.com/office/drawing/2014/main" id="{49ED7953-926C-CB23-60C8-8E726B7E67B2}"/>
                  </a:ext>
                </a:extLst>
              </p:cNvPr>
              <p:cNvSpPr/>
              <p:nvPr/>
            </p:nvSpPr>
            <p:spPr>
              <a:xfrm>
                <a:off x="3699288" y="3995368"/>
                <a:ext cx="87248" cy="126520"/>
              </a:xfrm>
              <a:custGeom>
                <a:avLst/>
                <a:gdLst>
                  <a:gd name="connsiteX0" fmla="*/ 68865 w 87248"/>
                  <a:gd name="connsiteY0" fmla="*/ 2728 h 126520"/>
                  <a:gd name="connsiteX1" fmla="*/ 72855 w 87248"/>
                  <a:gd name="connsiteY1" fmla="*/ 4495 h 126520"/>
                  <a:gd name="connsiteX2" fmla="*/ 77529 w 87248"/>
                  <a:gd name="connsiteY2" fmla="*/ 50091 h 126520"/>
                  <a:gd name="connsiteX3" fmla="*/ 78840 w 87248"/>
                  <a:gd name="connsiteY3" fmla="*/ 57956 h 126520"/>
                  <a:gd name="connsiteX4" fmla="*/ 84539 w 87248"/>
                  <a:gd name="connsiteY4" fmla="*/ 63656 h 126520"/>
                  <a:gd name="connsiteX5" fmla="*/ 87104 w 87248"/>
                  <a:gd name="connsiteY5" fmla="*/ 75568 h 126520"/>
                  <a:gd name="connsiteX6" fmla="*/ 85280 w 87248"/>
                  <a:gd name="connsiteY6" fmla="*/ 110106 h 126520"/>
                  <a:gd name="connsiteX7" fmla="*/ 6285 w 87248"/>
                  <a:gd name="connsiteY7" fmla="*/ 126521 h 126520"/>
                  <a:gd name="connsiteX8" fmla="*/ 2581 w 87248"/>
                  <a:gd name="connsiteY8" fmla="*/ 109935 h 126520"/>
                  <a:gd name="connsiteX9" fmla="*/ 1099 w 87248"/>
                  <a:gd name="connsiteY9" fmla="*/ 100588 h 126520"/>
                  <a:gd name="connsiteX10" fmla="*/ 4005 w 87248"/>
                  <a:gd name="connsiteY10" fmla="*/ 98935 h 126520"/>
                  <a:gd name="connsiteX11" fmla="*/ 10218 w 87248"/>
                  <a:gd name="connsiteY11" fmla="*/ 79101 h 126520"/>
                  <a:gd name="connsiteX12" fmla="*/ 13809 w 87248"/>
                  <a:gd name="connsiteY12" fmla="*/ 75055 h 126520"/>
                  <a:gd name="connsiteX13" fmla="*/ 17114 w 87248"/>
                  <a:gd name="connsiteY13" fmla="*/ 62060 h 126520"/>
                  <a:gd name="connsiteX14" fmla="*/ 15062 w 87248"/>
                  <a:gd name="connsiteY14" fmla="*/ 10422 h 126520"/>
                  <a:gd name="connsiteX15" fmla="*/ 17855 w 87248"/>
                  <a:gd name="connsiteY15" fmla="*/ 3811 h 126520"/>
                  <a:gd name="connsiteX16" fmla="*/ 31534 w 87248"/>
                  <a:gd name="connsiteY16" fmla="*/ 277 h 126520"/>
                  <a:gd name="connsiteX17" fmla="*/ 59290 w 87248"/>
                  <a:gd name="connsiteY17" fmla="*/ 1417 h 126520"/>
                  <a:gd name="connsiteX18" fmla="*/ 68865 w 87248"/>
                  <a:gd name="connsiteY18" fmla="*/ 2728 h 12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248" h="126520">
                    <a:moveTo>
                      <a:pt x="68865" y="2728"/>
                    </a:moveTo>
                    <a:cubicBezTo>
                      <a:pt x="70239" y="3213"/>
                      <a:pt x="71573" y="3800"/>
                      <a:pt x="72855" y="4495"/>
                    </a:cubicBezTo>
                    <a:cubicBezTo>
                      <a:pt x="76132" y="19468"/>
                      <a:pt x="77700" y="34765"/>
                      <a:pt x="77529" y="50091"/>
                    </a:cubicBezTo>
                    <a:cubicBezTo>
                      <a:pt x="77210" y="52787"/>
                      <a:pt x="77665" y="55511"/>
                      <a:pt x="78840" y="57956"/>
                    </a:cubicBezTo>
                    <a:cubicBezTo>
                      <a:pt x="80321" y="60350"/>
                      <a:pt x="83057" y="61604"/>
                      <a:pt x="84539" y="63656"/>
                    </a:cubicBezTo>
                    <a:cubicBezTo>
                      <a:pt x="86722" y="67218"/>
                      <a:pt x="87628" y="71418"/>
                      <a:pt x="87104" y="75568"/>
                    </a:cubicBezTo>
                    <a:cubicBezTo>
                      <a:pt x="86819" y="86966"/>
                      <a:pt x="86591" y="98650"/>
                      <a:pt x="85280" y="110106"/>
                    </a:cubicBezTo>
                    <a:cubicBezTo>
                      <a:pt x="59895" y="119425"/>
                      <a:pt x="33278" y="124953"/>
                      <a:pt x="6285" y="126521"/>
                    </a:cubicBezTo>
                    <a:cubicBezTo>
                      <a:pt x="6701" y="120747"/>
                      <a:pt x="5413" y="114979"/>
                      <a:pt x="2581" y="109935"/>
                    </a:cubicBezTo>
                    <a:cubicBezTo>
                      <a:pt x="814" y="107029"/>
                      <a:pt x="-1352" y="102982"/>
                      <a:pt x="1099" y="100588"/>
                    </a:cubicBezTo>
                    <a:cubicBezTo>
                      <a:pt x="2005" y="99939"/>
                      <a:pt x="2980" y="99386"/>
                      <a:pt x="4005" y="98935"/>
                    </a:cubicBezTo>
                    <a:cubicBezTo>
                      <a:pt x="10104" y="95174"/>
                      <a:pt x="6228" y="85029"/>
                      <a:pt x="10218" y="79101"/>
                    </a:cubicBezTo>
                    <a:cubicBezTo>
                      <a:pt x="11244" y="77619"/>
                      <a:pt x="12726" y="76479"/>
                      <a:pt x="13809" y="75055"/>
                    </a:cubicBezTo>
                    <a:cubicBezTo>
                      <a:pt x="16391" y="71242"/>
                      <a:pt x="17559" y="66642"/>
                      <a:pt x="17114" y="62060"/>
                    </a:cubicBezTo>
                    <a:cubicBezTo>
                      <a:pt x="17114" y="44961"/>
                      <a:pt x="11415" y="27407"/>
                      <a:pt x="15062" y="10422"/>
                    </a:cubicBezTo>
                    <a:cubicBezTo>
                      <a:pt x="15427" y="8023"/>
                      <a:pt x="16391" y="5749"/>
                      <a:pt x="17855" y="3811"/>
                    </a:cubicBezTo>
                    <a:cubicBezTo>
                      <a:pt x="21668" y="676"/>
                      <a:pt x="26678" y="-617"/>
                      <a:pt x="31534" y="277"/>
                    </a:cubicBezTo>
                    <a:lnTo>
                      <a:pt x="59290" y="1417"/>
                    </a:lnTo>
                    <a:cubicBezTo>
                      <a:pt x="62528" y="1395"/>
                      <a:pt x="65754" y="1833"/>
                      <a:pt x="68865" y="272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5" name="Freihandform: Form 669">
                <a:extLst>
                  <a:ext uri="{FF2B5EF4-FFF2-40B4-BE49-F238E27FC236}">
                    <a16:creationId xmlns:a16="http://schemas.microsoft.com/office/drawing/2014/main" id="{2CACAD91-5526-482C-F258-956E648387D2}"/>
                  </a:ext>
                </a:extLst>
              </p:cNvPr>
              <p:cNvSpPr/>
              <p:nvPr/>
            </p:nvSpPr>
            <p:spPr>
              <a:xfrm>
                <a:off x="3584318" y="4007643"/>
                <a:ext cx="132461" cy="130318"/>
              </a:xfrm>
              <a:custGeom>
                <a:avLst/>
                <a:gdLst>
                  <a:gd name="connsiteX0" fmla="*/ 129349 w 132461"/>
                  <a:gd name="connsiteY0" fmla="*/ 15132 h 130318"/>
                  <a:gd name="connsiteX1" fmla="*/ 132370 w 132461"/>
                  <a:gd name="connsiteY1" fmla="*/ 49785 h 130318"/>
                  <a:gd name="connsiteX2" fmla="*/ 129064 w 132461"/>
                  <a:gd name="connsiteY2" fmla="*/ 62780 h 130318"/>
                  <a:gd name="connsiteX3" fmla="*/ 125473 w 132461"/>
                  <a:gd name="connsiteY3" fmla="*/ 66826 h 130318"/>
                  <a:gd name="connsiteX4" fmla="*/ 119261 w 132461"/>
                  <a:gd name="connsiteY4" fmla="*/ 86660 h 130318"/>
                  <a:gd name="connsiteX5" fmla="*/ 116354 w 132461"/>
                  <a:gd name="connsiteY5" fmla="*/ 88313 h 130318"/>
                  <a:gd name="connsiteX6" fmla="*/ 117836 w 132461"/>
                  <a:gd name="connsiteY6" fmla="*/ 97660 h 130318"/>
                  <a:gd name="connsiteX7" fmla="*/ 121540 w 132461"/>
                  <a:gd name="connsiteY7" fmla="*/ 114246 h 130318"/>
                  <a:gd name="connsiteX8" fmla="*/ 112364 w 132461"/>
                  <a:gd name="connsiteY8" fmla="*/ 114645 h 130318"/>
                  <a:gd name="connsiteX9" fmla="*/ 39810 w 132461"/>
                  <a:gd name="connsiteY9" fmla="*/ 125303 h 130318"/>
                  <a:gd name="connsiteX10" fmla="*/ 30862 w 132461"/>
                  <a:gd name="connsiteY10" fmla="*/ 130318 h 130318"/>
                  <a:gd name="connsiteX11" fmla="*/ 29665 w 132461"/>
                  <a:gd name="connsiteY11" fmla="*/ 127526 h 130318"/>
                  <a:gd name="connsiteX12" fmla="*/ 26359 w 132461"/>
                  <a:gd name="connsiteY12" fmla="*/ 123251 h 130318"/>
                  <a:gd name="connsiteX13" fmla="*/ 25903 w 132461"/>
                  <a:gd name="connsiteY13" fmla="*/ 116241 h 130318"/>
                  <a:gd name="connsiteX14" fmla="*/ 19406 w 132461"/>
                  <a:gd name="connsiteY14" fmla="*/ 108546 h 130318"/>
                  <a:gd name="connsiteX15" fmla="*/ 10173 w 132461"/>
                  <a:gd name="connsiteY15" fmla="*/ 103645 h 130318"/>
                  <a:gd name="connsiteX16" fmla="*/ 4473 w 132461"/>
                  <a:gd name="connsiteY16" fmla="*/ 92246 h 130318"/>
                  <a:gd name="connsiteX17" fmla="*/ 4473 w 132461"/>
                  <a:gd name="connsiteY17" fmla="*/ 86546 h 130318"/>
                  <a:gd name="connsiteX18" fmla="*/ 28 w 132461"/>
                  <a:gd name="connsiteY18" fmla="*/ 76116 h 130318"/>
                  <a:gd name="connsiteX19" fmla="*/ 7665 w 132461"/>
                  <a:gd name="connsiteY19" fmla="*/ 64261 h 130318"/>
                  <a:gd name="connsiteX20" fmla="*/ 7038 w 132461"/>
                  <a:gd name="connsiteY20" fmla="*/ 60500 h 130318"/>
                  <a:gd name="connsiteX21" fmla="*/ 17183 w 132461"/>
                  <a:gd name="connsiteY21" fmla="*/ 42034 h 130318"/>
                  <a:gd name="connsiteX22" fmla="*/ 9147 w 132461"/>
                  <a:gd name="connsiteY22" fmla="*/ 15702 h 130318"/>
                  <a:gd name="connsiteX23" fmla="*/ 11598 w 132461"/>
                  <a:gd name="connsiteY23" fmla="*/ 7210 h 130318"/>
                  <a:gd name="connsiteX24" fmla="*/ 15074 w 132461"/>
                  <a:gd name="connsiteY24" fmla="*/ 1966 h 130318"/>
                  <a:gd name="connsiteX25" fmla="*/ 25333 w 132461"/>
                  <a:gd name="connsiteY25" fmla="*/ 2878 h 130318"/>
                  <a:gd name="connsiteX26" fmla="*/ 34338 w 132461"/>
                  <a:gd name="connsiteY26" fmla="*/ 9034 h 130318"/>
                  <a:gd name="connsiteX27" fmla="*/ 47960 w 132461"/>
                  <a:gd name="connsiteY27" fmla="*/ 427 h 130318"/>
                  <a:gd name="connsiteX28" fmla="*/ 54458 w 132461"/>
                  <a:gd name="connsiteY28" fmla="*/ 427 h 130318"/>
                  <a:gd name="connsiteX29" fmla="*/ 57250 w 132461"/>
                  <a:gd name="connsiteY29" fmla="*/ 5614 h 130318"/>
                  <a:gd name="connsiteX30" fmla="*/ 63748 w 132461"/>
                  <a:gd name="connsiteY30" fmla="*/ 1966 h 130318"/>
                  <a:gd name="connsiteX31" fmla="*/ 70416 w 132461"/>
                  <a:gd name="connsiteY31" fmla="*/ 4588 h 130318"/>
                  <a:gd name="connsiteX32" fmla="*/ 72012 w 132461"/>
                  <a:gd name="connsiteY32" fmla="*/ 7096 h 130318"/>
                  <a:gd name="connsiteX33" fmla="*/ 74805 w 132461"/>
                  <a:gd name="connsiteY33" fmla="*/ 7894 h 130318"/>
                  <a:gd name="connsiteX34" fmla="*/ 82727 w 132461"/>
                  <a:gd name="connsiteY34" fmla="*/ 16899 h 130318"/>
                  <a:gd name="connsiteX35" fmla="*/ 91960 w 132461"/>
                  <a:gd name="connsiteY35" fmla="*/ 23795 h 130318"/>
                  <a:gd name="connsiteX36" fmla="*/ 92473 w 132461"/>
                  <a:gd name="connsiteY36" fmla="*/ 17811 h 130318"/>
                  <a:gd name="connsiteX37" fmla="*/ 106209 w 132461"/>
                  <a:gd name="connsiteY37" fmla="*/ 15531 h 130318"/>
                  <a:gd name="connsiteX38" fmla="*/ 129349 w 132461"/>
                  <a:gd name="connsiteY38" fmla="*/ 15132 h 13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2461" h="130318">
                    <a:moveTo>
                      <a:pt x="129349" y="15132"/>
                    </a:moveTo>
                    <a:cubicBezTo>
                      <a:pt x="129919" y="26531"/>
                      <a:pt x="132312" y="38215"/>
                      <a:pt x="132370" y="49785"/>
                    </a:cubicBezTo>
                    <a:cubicBezTo>
                      <a:pt x="132814" y="54367"/>
                      <a:pt x="131646" y="58967"/>
                      <a:pt x="129064" y="62780"/>
                    </a:cubicBezTo>
                    <a:cubicBezTo>
                      <a:pt x="127981" y="64205"/>
                      <a:pt x="126499" y="65344"/>
                      <a:pt x="125473" y="66826"/>
                    </a:cubicBezTo>
                    <a:cubicBezTo>
                      <a:pt x="121483" y="72526"/>
                      <a:pt x="125473" y="82899"/>
                      <a:pt x="119261" y="86660"/>
                    </a:cubicBezTo>
                    <a:cubicBezTo>
                      <a:pt x="118235" y="87111"/>
                      <a:pt x="117260" y="87664"/>
                      <a:pt x="116354" y="88313"/>
                    </a:cubicBezTo>
                    <a:cubicBezTo>
                      <a:pt x="113903" y="90707"/>
                      <a:pt x="116354" y="94754"/>
                      <a:pt x="117836" y="97660"/>
                    </a:cubicBezTo>
                    <a:cubicBezTo>
                      <a:pt x="120669" y="102704"/>
                      <a:pt x="121956" y="108472"/>
                      <a:pt x="121540" y="114246"/>
                    </a:cubicBezTo>
                    <a:cubicBezTo>
                      <a:pt x="118463" y="114246"/>
                      <a:pt x="115385" y="114588"/>
                      <a:pt x="112364" y="114645"/>
                    </a:cubicBezTo>
                    <a:cubicBezTo>
                      <a:pt x="87628" y="115215"/>
                      <a:pt x="61069" y="112821"/>
                      <a:pt x="39810" y="125303"/>
                    </a:cubicBezTo>
                    <a:cubicBezTo>
                      <a:pt x="36915" y="127127"/>
                      <a:pt x="33928" y="128802"/>
                      <a:pt x="30862" y="130318"/>
                    </a:cubicBezTo>
                    <a:cubicBezTo>
                      <a:pt x="30657" y="129315"/>
                      <a:pt x="30246" y="128369"/>
                      <a:pt x="29665" y="127526"/>
                    </a:cubicBezTo>
                    <a:cubicBezTo>
                      <a:pt x="28639" y="126044"/>
                      <a:pt x="27043" y="124961"/>
                      <a:pt x="26359" y="123251"/>
                    </a:cubicBezTo>
                    <a:cubicBezTo>
                      <a:pt x="25675" y="121541"/>
                      <a:pt x="26359" y="118577"/>
                      <a:pt x="25903" y="116241"/>
                    </a:cubicBezTo>
                    <a:cubicBezTo>
                      <a:pt x="25048" y="112804"/>
                      <a:pt x="22649" y="109966"/>
                      <a:pt x="19406" y="108546"/>
                    </a:cubicBezTo>
                    <a:cubicBezTo>
                      <a:pt x="16191" y="107184"/>
                      <a:pt x="13102" y="105549"/>
                      <a:pt x="10173" y="103645"/>
                    </a:cubicBezTo>
                    <a:cubicBezTo>
                      <a:pt x="6622" y="100926"/>
                      <a:pt x="4519" y="96720"/>
                      <a:pt x="4473" y="92246"/>
                    </a:cubicBezTo>
                    <a:cubicBezTo>
                      <a:pt x="4667" y="90354"/>
                      <a:pt x="4667" y="88439"/>
                      <a:pt x="4473" y="86546"/>
                    </a:cubicBezTo>
                    <a:cubicBezTo>
                      <a:pt x="3675" y="82785"/>
                      <a:pt x="-371" y="79935"/>
                      <a:pt x="28" y="76116"/>
                    </a:cubicBezTo>
                    <a:cubicBezTo>
                      <a:pt x="484" y="71329"/>
                      <a:pt x="7494" y="69049"/>
                      <a:pt x="7665" y="64261"/>
                    </a:cubicBezTo>
                    <a:cubicBezTo>
                      <a:pt x="7545" y="62996"/>
                      <a:pt x="7335" y="61737"/>
                      <a:pt x="7038" y="60500"/>
                    </a:cubicBezTo>
                    <a:cubicBezTo>
                      <a:pt x="6183" y="53375"/>
                      <a:pt x="15302" y="49101"/>
                      <a:pt x="17183" y="42034"/>
                    </a:cubicBezTo>
                    <a:cubicBezTo>
                      <a:pt x="19577" y="32971"/>
                      <a:pt x="8862" y="24935"/>
                      <a:pt x="9147" y="15702"/>
                    </a:cubicBezTo>
                    <a:cubicBezTo>
                      <a:pt x="9403" y="12738"/>
                      <a:pt x="10235" y="9854"/>
                      <a:pt x="11598" y="7210"/>
                    </a:cubicBezTo>
                    <a:cubicBezTo>
                      <a:pt x="12242" y="5169"/>
                      <a:pt x="13444" y="3351"/>
                      <a:pt x="15074" y="1966"/>
                    </a:cubicBezTo>
                    <a:cubicBezTo>
                      <a:pt x="18380" y="234"/>
                      <a:pt x="22387" y="593"/>
                      <a:pt x="25333" y="2878"/>
                    </a:cubicBezTo>
                    <a:cubicBezTo>
                      <a:pt x="28160" y="5175"/>
                      <a:pt x="31175" y="7233"/>
                      <a:pt x="34338" y="9034"/>
                    </a:cubicBezTo>
                    <a:cubicBezTo>
                      <a:pt x="35364" y="3334"/>
                      <a:pt x="42318" y="1339"/>
                      <a:pt x="47960" y="427"/>
                    </a:cubicBezTo>
                    <a:cubicBezTo>
                      <a:pt x="50086" y="-142"/>
                      <a:pt x="52332" y="-142"/>
                      <a:pt x="54458" y="427"/>
                    </a:cubicBezTo>
                    <a:cubicBezTo>
                      <a:pt x="56624" y="1134"/>
                      <a:pt x="57849" y="3420"/>
                      <a:pt x="57250" y="5614"/>
                    </a:cubicBezTo>
                    <a:cubicBezTo>
                      <a:pt x="59029" y="3813"/>
                      <a:pt x="61280" y="2548"/>
                      <a:pt x="63748" y="1966"/>
                    </a:cubicBezTo>
                    <a:cubicBezTo>
                      <a:pt x="66295" y="1453"/>
                      <a:pt x="68900" y="2479"/>
                      <a:pt x="70416" y="4588"/>
                    </a:cubicBezTo>
                    <a:cubicBezTo>
                      <a:pt x="70792" y="5511"/>
                      <a:pt x="71334" y="6366"/>
                      <a:pt x="72012" y="7096"/>
                    </a:cubicBezTo>
                    <a:cubicBezTo>
                      <a:pt x="72873" y="7563"/>
                      <a:pt x="73824" y="7837"/>
                      <a:pt x="74805" y="7894"/>
                    </a:cubicBezTo>
                    <a:cubicBezTo>
                      <a:pt x="78794" y="8863"/>
                      <a:pt x="80846" y="13194"/>
                      <a:pt x="82727" y="16899"/>
                    </a:cubicBezTo>
                    <a:cubicBezTo>
                      <a:pt x="84608" y="20603"/>
                      <a:pt x="87914" y="24536"/>
                      <a:pt x="91960" y="23795"/>
                    </a:cubicBezTo>
                    <a:lnTo>
                      <a:pt x="92473" y="17811"/>
                    </a:lnTo>
                    <a:cubicBezTo>
                      <a:pt x="97169" y="18141"/>
                      <a:pt x="101872" y="17360"/>
                      <a:pt x="106209" y="15531"/>
                    </a:cubicBezTo>
                    <a:cubicBezTo>
                      <a:pt x="113812" y="13816"/>
                      <a:pt x="121689" y="13679"/>
                      <a:pt x="129349" y="1513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6" name="Freihandform: Form 670">
                <a:extLst>
                  <a:ext uri="{FF2B5EF4-FFF2-40B4-BE49-F238E27FC236}">
                    <a16:creationId xmlns:a16="http://schemas.microsoft.com/office/drawing/2014/main" id="{451415FB-1D33-0D57-5F2E-0A83A5882E7D}"/>
                  </a:ext>
                </a:extLst>
              </p:cNvPr>
              <p:cNvSpPr/>
              <p:nvPr/>
            </p:nvSpPr>
            <p:spPr>
              <a:xfrm>
                <a:off x="3526724" y="4053346"/>
                <a:ext cx="88797" cy="85812"/>
              </a:xfrm>
              <a:custGeom>
                <a:avLst/>
                <a:gdLst>
                  <a:gd name="connsiteX0" fmla="*/ 55570 w 88797"/>
                  <a:gd name="connsiteY0" fmla="*/ 31040 h 85812"/>
                  <a:gd name="connsiteX1" fmla="*/ 58021 w 88797"/>
                  <a:gd name="connsiteY1" fmla="*/ 31040 h 85812"/>
                  <a:gd name="connsiteX2" fmla="*/ 62409 w 88797"/>
                  <a:gd name="connsiteY2" fmla="*/ 40330 h 85812"/>
                  <a:gd name="connsiteX3" fmla="*/ 62409 w 88797"/>
                  <a:gd name="connsiteY3" fmla="*/ 46030 h 85812"/>
                  <a:gd name="connsiteX4" fmla="*/ 68109 w 88797"/>
                  <a:gd name="connsiteY4" fmla="*/ 57429 h 85812"/>
                  <a:gd name="connsiteX5" fmla="*/ 77342 w 88797"/>
                  <a:gd name="connsiteY5" fmla="*/ 62330 h 85812"/>
                  <a:gd name="connsiteX6" fmla="*/ 83839 w 88797"/>
                  <a:gd name="connsiteY6" fmla="*/ 70025 h 85812"/>
                  <a:gd name="connsiteX7" fmla="*/ 84295 w 88797"/>
                  <a:gd name="connsiteY7" fmla="*/ 77035 h 85812"/>
                  <a:gd name="connsiteX8" fmla="*/ 87601 w 88797"/>
                  <a:gd name="connsiteY8" fmla="*/ 81310 h 85812"/>
                  <a:gd name="connsiteX9" fmla="*/ 88798 w 88797"/>
                  <a:gd name="connsiteY9" fmla="*/ 84102 h 85812"/>
                  <a:gd name="connsiteX10" fmla="*/ 82528 w 88797"/>
                  <a:gd name="connsiteY10" fmla="*/ 85812 h 85812"/>
                  <a:gd name="connsiteX11" fmla="*/ 69648 w 88797"/>
                  <a:gd name="connsiteY11" fmla="*/ 81880 h 85812"/>
                  <a:gd name="connsiteX12" fmla="*/ 0 w 88797"/>
                  <a:gd name="connsiteY12" fmla="*/ 40672 h 85812"/>
                  <a:gd name="connsiteX13" fmla="*/ 2907 w 88797"/>
                  <a:gd name="connsiteY13" fmla="*/ 26481 h 85812"/>
                  <a:gd name="connsiteX14" fmla="*/ 4275 w 88797"/>
                  <a:gd name="connsiteY14" fmla="*/ 24315 h 85812"/>
                  <a:gd name="connsiteX15" fmla="*/ 11171 w 88797"/>
                  <a:gd name="connsiteY15" fmla="*/ 22092 h 85812"/>
                  <a:gd name="connsiteX16" fmla="*/ 15389 w 88797"/>
                  <a:gd name="connsiteY16" fmla="*/ 12859 h 85812"/>
                  <a:gd name="connsiteX17" fmla="*/ 17383 w 88797"/>
                  <a:gd name="connsiteY17" fmla="*/ 11491 h 85812"/>
                  <a:gd name="connsiteX18" fmla="*/ 20917 w 88797"/>
                  <a:gd name="connsiteY18" fmla="*/ 2030 h 85812"/>
                  <a:gd name="connsiteX19" fmla="*/ 28155 w 88797"/>
                  <a:gd name="connsiteY19" fmla="*/ 377 h 85812"/>
                  <a:gd name="connsiteX20" fmla="*/ 37047 w 88797"/>
                  <a:gd name="connsiteY20" fmla="*/ 9496 h 85812"/>
                  <a:gd name="connsiteX21" fmla="*/ 36477 w 88797"/>
                  <a:gd name="connsiteY21" fmla="*/ 19299 h 85812"/>
                  <a:gd name="connsiteX22" fmla="*/ 42176 w 88797"/>
                  <a:gd name="connsiteY22" fmla="*/ 25626 h 85812"/>
                  <a:gd name="connsiteX23" fmla="*/ 47306 w 88797"/>
                  <a:gd name="connsiteY23" fmla="*/ 24714 h 85812"/>
                  <a:gd name="connsiteX24" fmla="*/ 48902 w 88797"/>
                  <a:gd name="connsiteY24" fmla="*/ 28361 h 85812"/>
                  <a:gd name="connsiteX25" fmla="*/ 55570 w 88797"/>
                  <a:gd name="connsiteY25" fmla="*/ 31040 h 8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8797" h="85812">
                    <a:moveTo>
                      <a:pt x="55570" y="31040"/>
                    </a:moveTo>
                    <a:lnTo>
                      <a:pt x="58021" y="31040"/>
                    </a:lnTo>
                    <a:cubicBezTo>
                      <a:pt x="58420" y="34289"/>
                      <a:pt x="61668" y="36740"/>
                      <a:pt x="62409" y="40330"/>
                    </a:cubicBezTo>
                    <a:cubicBezTo>
                      <a:pt x="62603" y="42223"/>
                      <a:pt x="62603" y="44138"/>
                      <a:pt x="62409" y="46030"/>
                    </a:cubicBezTo>
                    <a:cubicBezTo>
                      <a:pt x="62455" y="50504"/>
                      <a:pt x="64558" y="54710"/>
                      <a:pt x="68109" y="57429"/>
                    </a:cubicBezTo>
                    <a:cubicBezTo>
                      <a:pt x="71038" y="59333"/>
                      <a:pt x="74127" y="60968"/>
                      <a:pt x="77342" y="62330"/>
                    </a:cubicBezTo>
                    <a:cubicBezTo>
                      <a:pt x="80585" y="63750"/>
                      <a:pt x="82984" y="66588"/>
                      <a:pt x="83839" y="70025"/>
                    </a:cubicBezTo>
                    <a:cubicBezTo>
                      <a:pt x="84181" y="72361"/>
                      <a:pt x="83383" y="74869"/>
                      <a:pt x="84295" y="77035"/>
                    </a:cubicBezTo>
                    <a:cubicBezTo>
                      <a:pt x="85207" y="79201"/>
                      <a:pt x="86575" y="79828"/>
                      <a:pt x="87601" y="81310"/>
                    </a:cubicBezTo>
                    <a:cubicBezTo>
                      <a:pt x="88182" y="82147"/>
                      <a:pt x="88593" y="83099"/>
                      <a:pt x="88798" y="84102"/>
                    </a:cubicBezTo>
                    <a:cubicBezTo>
                      <a:pt x="86831" y="85054"/>
                      <a:pt x="84706" y="85636"/>
                      <a:pt x="82528" y="85812"/>
                    </a:cubicBezTo>
                    <a:cubicBezTo>
                      <a:pt x="77975" y="85607"/>
                      <a:pt x="73540" y="84256"/>
                      <a:pt x="69648" y="81880"/>
                    </a:cubicBezTo>
                    <a:cubicBezTo>
                      <a:pt x="45072" y="70589"/>
                      <a:pt x="21726" y="56779"/>
                      <a:pt x="0" y="40672"/>
                    </a:cubicBezTo>
                    <a:cubicBezTo>
                      <a:pt x="291" y="35828"/>
                      <a:pt x="1271" y="31052"/>
                      <a:pt x="2907" y="26481"/>
                    </a:cubicBezTo>
                    <a:cubicBezTo>
                      <a:pt x="3158" y="25649"/>
                      <a:pt x="3631" y="24902"/>
                      <a:pt x="4275" y="24315"/>
                    </a:cubicBezTo>
                    <a:cubicBezTo>
                      <a:pt x="6098" y="22719"/>
                      <a:pt x="9176" y="23574"/>
                      <a:pt x="11171" y="22092"/>
                    </a:cubicBezTo>
                    <a:cubicBezTo>
                      <a:pt x="13166" y="20610"/>
                      <a:pt x="12767" y="15082"/>
                      <a:pt x="15389" y="12859"/>
                    </a:cubicBezTo>
                    <a:cubicBezTo>
                      <a:pt x="16016" y="12289"/>
                      <a:pt x="16756" y="12004"/>
                      <a:pt x="17383" y="11491"/>
                    </a:cubicBezTo>
                    <a:cubicBezTo>
                      <a:pt x="19948" y="9268"/>
                      <a:pt x="18808" y="4709"/>
                      <a:pt x="20917" y="2030"/>
                    </a:cubicBezTo>
                    <a:cubicBezTo>
                      <a:pt x="22821" y="155"/>
                      <a:pt x="25625" y="-484"/>
                      <a:pt x="28155" y="377"/>
                    </a:cubicBezTo>
                    <a:cubicBezTo>
                      <a:pt x="32698" y="1323"/>
                      <a:pt x="36214" y="4931"/>
                      <a:pt x="37047" y="9496"/>
                    </a:cubicBezTo>
                    <a:cubicBezTo>
                      <a:pt x="37052" y="12773"/>
                      <a:pt x="36864" y="16045"/>
                      <a:pt x="36477" y="19299"/>
                    </a:cubicBezTo>
                    <a:cubicBezTo>
                      <a:pt x="36477" y="22548"/>
                      <a:pt x="39098" y="26253"/>
                      <a:pt x="42176" y="25626"/>
                    </a:cubicBezTo>
                    <a:cubicBezTo>
                      <a:pt x="43943" y="25284"/>
                      <a:pt x="45824" y="23688"/>
                      <a:pt x="47306" y="24714"/>
                    </a:cubicBezTo>
                    <a:cubicBezTo>
                      <a:pt x="48787" y="25740"/>
                      <a:pt x="48275" y="27165"/>
                      <a:pt x="48902" y="28361"/>
                    </a:cubicBezTo>
                    <a:cubicBezTo>
                      <a:pt x="49813" y="31154"/>
                      <a:pt x="52777" y="31097"/>
                      <a:pt x="55570" y="3104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7" name="Freihandform: Form 671">
                <a:extLst>
                  <a:ext uri="{FF2B5EF4-FFF2-40B4-BE49-F238E27FC236}">
                    <a16:creationId xmlns:a16="http://schemas.microsoft.com/office/drawing/2014/main" id="{A362B690-394E-959F-8995-75BA4A0801F0}"/>
                  </a:ext>
                </a:extLst>
              </p:cNvPr>
              <p:cNvSpPr/>
              <p:nvPr/>
            </p:nvSpPr>
            <p:spPr>
              <a:xfrm>
                <a:off x="3485687" y="4017475"/>
                <a:ext cx="61041" cy="76828"/>
              </a:xfrm>
              <a:custGeom>
                <a:avLst/>
                <a:gdLst>
                  <a:gd name="connsiteX0" fmla="*/ 61041 w 61041"/>
                  <a:gd name="connsiteY0" fmla="*/ 39041 h 76828"/>
                  <a:gd name="connsiteX1" fmla="*/ 61041 w 61041"/>
                  <a:gd name="connsiteY1" fmla="*/ 39041 h 76828"/>
                  <a:gd name="connsiteX2" fmla="*/ 58021 w 61041"/>
                  <a:gd name="connsiteY2" fmla="*/ 47648 h 76828"/>
                  <a:gd name="connsiteX3" fmla="*/ 56026 w 61041"/>
                  <a:gd name="connsiteY3" fmla="*/ 49016 h 76828"/>
                  <a:gd name="connsiteX4" fmla="*/ 51808 w 61041"/>
                  <a:gd name="connsiteY4" fmla="*/ 58249 h 76828"/>
                  <a:gd name="connsiteX5" fmla="*/ 44912 w 61041"/>
                  <a:gd name="connsiteY5" fmla="*/ 60471 h 76828"/>
                  <a:gd name="connsiteX6" fmla="*/ 43544 w 61041"/>
                  <a:gd name="connsiteY6" fmla="*/ 62637 h 76828"/>
                  <a:gd name="connsiteX7" fmla="*/ 40637 w 61041"/>
                  <a:gd name="connsiteY7" fmla="*/ 76829 h 76828"/>
                  <a:gd name="connsiteX8" fmla="*/ 8606 w 61041"/>
                  <a:gd name="connsiteY8" fmla="*/ 42290 h 76828"/>
                  <a:gd name="connsiteX9" fmla="*/ 0 w 61041"/>
                  <a:gd name="connsiteY9" fmla="*/ 27870 h 76828"/>
                  <a:gd name="connsiteX10" fmla="*/ 1938 w 61041"/>
                  <a:gd name="connsiteY10" fmla="*/ 25021 h 76828"/>
                  <a:gd name="connsiteX11" fmla="*/ 3876 w 61041"/>
                  <a:gd name="connsiteY11" fmla="*/ 9746 h 76828"/>
                  <a:gd name="connsiteX12" fmla="*/ 14933 w 61041"/>
                  <a:gd name="connsiteY12" fmla="*/ 6098 h 76828"/>
                  <a:gd name="connsiteX13" fmla="*/ 16985 w 61041"/>
                  <a:gd name="connsiteY13" fmla="*/ 3933 h 76828"/>
                  <a:gd name="connsiteX14" fmla="*/ 22684 w 61041"/>
                  <a:gd name="connsiteY14" fmla="*/ 3249 h 76828"/>
                  <a:gd name="connsiteX15" fmla="*/ 33228 w 61041"/>
                  <a:gd name="connsiteY15" fmla="*/ 1197 h 76828"/>
                  <a:gd name="connsiteX16" fmla="*/ 36933 w 61041"/>
                  <a:gd name="connsiteY16" fmla="*/ 0 h 76828"/>
                  <a:gd name="connsiteX17" fmla="*/ 41891 w 61041"/>
                  <a:gd name="connsiteY17" fmla="*/ 2622 h 76828"/>
                  <a:gd name="connsiteX18" fmla="*/ 47021 w 61041"/>
                  <a:gd name="connsiteY18" fmla="*/ 11570 h 76828"/>
                  <a:gd name="connsiteX19" fmla="*/ 48446 w 61041"/>
                  <a:gd name="connsiteY19" fmla="*/ 14420 h 76828"/>
                  <a:gd name="connsiteX20" fmla="*/ 53404 w 61041"/>
                  <a:gd name="connsiteY20" fmla="*/ 15332 h 76828"/>
                  <a:gd name="connsiteX21" fmla="*/ 56710 w 61041"/>
                  <a:gd name="connsiteY21" fmla="*/ 19834 h 76828"/>
                  <a:gd name="connsiteX22" fmla="*/ 56710 w 61041"/>
                  <a:gd name="connsiteY22" fmla="*/ 25534 h 76828"/>
                  <a:gd name="connsiteX23" fmla="*/ 61041 w 61041"/>
                  <a:gd name="connsiteY23" fmla="*/ 39041 h 7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041" h="76828">
                    <a:moveTo>
                      <a:pt x="61041" y="39041"/>
                    </a:moveTo>
                    <a:lnTo>
                      <a:pt x="61041" y="39041"/>
                    </a:lnTo>
                    <a:cubicBezTo>
                      <a:pt x="59617" y="41720"/>
                      <a:pt x="60358" y="45653"/>
                      <a:pt x="58021" y="47648"/>
                    </a:cubicBezTo>
                    <a:cubicBezTo>
                      <a:pt x="57394" y="48160"/>
                      <a:pt x="56653" y="48446"/>
                      <a:pt x="56026" y="49016"/>
                    </a:cubicBezTo>
                    <a:cubicBezTo>
                      <a:pt x="53404" y="51238"/>
                      <a:pt x="54658" y="56254"/>
                      <a:pt x="51808" y="58249"/>
                    </a:cubicBezTo>
                    <a:cubicBezTo>
                      <a:pt x="48959" y="60243"/>
                      <a:pt x="46736" y="58875"/>
                      <a:pt x="44912" y="60471"/>
                    </a:cubicBezTo>
                    <a:cubicBezTo>
                      <a:pt x="44268" y="61058"/>
                      <a:pt x="43795" y="61805"/>
                      <a:pt x="43544" y="62637"/>
                    </a:cubicBezTo>
                    <a:cubicBezTo>
                      <a:pt x="41908" y="67208"/>
                      <a:pt x="40928" y="71984"/>
                      <a:pt x="40637" y="76829"/>
                    </a:cubicBezTo>
                    <a:cubicBezTo>
                      <a:pt x="28167" y="67117"/>
                      <a:pt x="17349" y="55456"/>
                      <a:pt x="8606" y="42290"/>
                    </a:cubicBezTo>
                    <a:cubicBezTo>
                      <a:pt x="5586" y="37560"/>
                      <a:pt x="2907" y="32658"/>
                      <a:pt x="0" y="27870"/>
                    </a:cubicBezTo>
                    <a:cubicBezTo>
                      <a:pt x="695" y="26958"/>
                      <a:pt x="1345" y="26007"/>
                      <a:pt x="1938" y="25021"/>
                    </a:cubicBezTo>
                    <a:cubicBezTo>
                      <a:pt x="4041" y="20222"/>
                      <a:pt x="4714" y="14916"/>
                      <a:pt x="3876" y="9746"/>
                    </a:cubicBezTo>
                    <a:cubicBezTo>
                      <a:pt x="7951" y="10647"/>
                      <a:pt x="12191" y="9245"/>
                      <a:pt x="14933" y="6098"/>
                    </a:cubicBezTo>
                    <a:cubicBezTo>
                      <a:pt x="15514" y="5283"/>
                      <a:pt x="16204" y="4554"/>
                      <a:pt x="16985" y="3933"/>
                    </a:cubicBezTo>
                    <a:cubicBezTo>
                      <a:pt x="18746" y="3038"/>
                      <a:pt x="20763" y="2793"/>
                      <a:pt x="22684" y="3249"/>
                    </a:cubicBezTo>
                    <a:cubicBezTo>
                      <a:pt x="26314" y="3414"/>
                      <a:pt x="29928" y="2713"/>
                      <a:pt x="33228" y="1197"/>
                    </a:cubicBezTo>
                    <a:cubicBezTo>
                      <a:pt x="34368" y="553"/>
                      <a:pt x="35628" y="148"/>
                      <a:pt x="36933" y="0"/>
                    </a:cubicBezTo>
                    <a:cubicBezTo>
                      <a:pt x="38882" y="125"/>
                      <a:pt x="40689" y="1077"/>
                      <a:pt x="41891" y="2622"/>
                    </a:cubicBezTo>
                    <a:cubicBezTo>
                      <a:pt x="44285" y="5158"/>
                      <a:pt x="46046" y="8224"/>
                      <a:pt x="47021" y="11570"/>
                    </a:cubicBezTo>
                    <a:cubicBezTo>
                      <a:pt x="47175" y="12647"/>
                      <a:pt x="47676" y="13650"/>
                      <a:pt x="48446" y="14420"/>
                    </a:cubicBezTo>
                    <a:cubicBezTo>
                      <a:pt x="49757" y="15503"/>
                      <a:pt x="51751" y="14876"/>
                      <a:pt x="53404" y="15332"/>
                    </a:cubicBezTo>
                    <a:cubicBezTo>
                      <a:pt x="55217" y="16152"/>
                      <a:pt x="56470" y="17856"/>
                      <a:pt x="56710" y="19834"/>
                    </a:cubicBezTo>
                    <a:cubicBezTo>
                      <a:pt x="56710" y="21829"/>
                      <a:pt x="56710" y="23767"/>
                      <a:pt x="56710" y="25534"/>
                    </a:cubicBezTo>
                    <a:cubicBezTo>
                      <a:pt x="57069" y="30315"/>
                      <a:pt x="58557" y="34943"/>
                      <a:pt x="61041" y="390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8" name="Freihandform: Form 672">
                <a:extLst>
                  <a:ext uri="{FF2B5EF4-FFF2-40B4-BE49-F238E27FC236}">
                    <a16:creationId xmlns:a16="http://schemas.microsoft.com/office/drawing/2014/main" id="{DC384E77-103A-5428-21E2-38B72FE42F49}"/>
                  </a:ext>
                </a:extLst>
              </p:cNvPr>
              <p:cNvSpPr/>
              <p:nvPr/>
            </p:nvSpPr>
            <p:spPr>
              <a:xfrm>
                <a:off x="3442144" y="3957351"/>
                <a:ext cx="160056" cy="127206"/>
              </a:xfrm>
              <a:custGeom>
                <a:avLst/>
                <a:gdLst>
                  <a:gd name="connsiteX0" fmla="*/ 154000 w 160056"/>
                  <a:gd name="connsiteY0" fmla="*/ 47300 h 127206"/>
                  <a:gd name="connsiteX1" fmla="*/ 156963 w 160056"/>
                  <a:gd name="connsiteY1" fmla="*/ 52600 h 127206"/>
                  <a:gd name="connsiteX2" fmla="*/ 154114 w 160056"/>
                  <a:gd name="connsiteY2" fmla="*/ 57160 h 127206"/>
                  <a:gd name="connsiteX3" fmla="*/ 151663 w 160056"/>
                  <a:gd name="connsiteY3" fmla="*/ 65652 h 127206"/>
                  <a:gd name="connsiteX4" fmla="*/ 159699 w 160056"/>
                  <a:gd name="connsiteY4" fmla="*/ 91984 h 127206"/>
                  <a:gd name="connsiteX5" fmla="*/ 149554 w 160056"/>
                  <a:gd name="connsiteY5" fmla="*/ 110450 h 127206"/>
                  <a:gd name="connsiteX6" fmla="*/ 150181 w 160056"/>
                  <a:gd name="connsiteY6" fmla="*/ 114211 h 127206"/>
                  <a:gd name="connsiteX7" fmla="*/ 142544 w 160056"/>
                  <a:gd name="connsiteY7" fmla="*/ 126066 h 127206"/>
                  <a:gd name="connsiteX8" fmla="*/ 142544 w 160056"/>
                  <a:gd name="connsiteY8" fmla="*/ 127206 h 127206"/>
                  <a:gd name="connsiteX9" fmla="*/ 140093 w 160056"/>
                  <a:gd name="connsiteY9" fmla="*/ 127206 h 127206"/>
                  <a:gd name="connsiteX10" fmla="*/ 133197 w 160056"/>
                  <a:gd name="connsiteY10" fmla="*/ 125040 h 127206"/>
                  <a:gd name="connsiteX11" fmla="*/ 131601 w 160056"/>
                  <a:gd name="connsiteY11" fmla="*/ 121393 h 127206"/>
                  <a:gd name="connsiteX12" fmla="*/ 126471 w 160056"/>
                  <a:gd name="connsiteY12" fmla="*/ 122305 h 127206"/>
                  <a:gd name="connsiteX13" fmla="*/ 120772 w 160056"/>
                  <a:gd name="connsiteY13" fmla="*/ 115978 h 127206"/>
                  <a:gd name="connsiteX14" fmla="*/ 121342 w 160056"/>
                  <a:gd name="connsiteY14" fmla="*/ 106175 h 127206"/>
                  <a:gd name="connsiteX15" fmla="*/ 112451 w 160056"/>
                  <a:gd name="connsiteY15" fmla="*/ 97056 h 127206"/>
                  <a:gd name="connsiteX16" fmla="*/ 105212 w 160056"/>
                  <a:gd name="connsiteY16" fmla="*/ 98709 h 127206"/>
                  <a:gd name="connsiteX17" fmla="*/ 104699 w 160056"/>
                  <a:gd name="connsiteY17" fmla="*/ 99564 h 127206"/>
                  <a:gd name="connsiteX18" fmla="*/ 104699 w 160056"/>
                  <a:gd name="connsiteY18" fmla="*/ 99564 h 127206"/>
                  <a:gd name="connsiteX19" fmla="*/ 100254 w 160056"/>
                  <a:gd name="connsiteY19" fmla="*/ 86512 h 127206"/>
                  <a:gd name="connsiteX20" fmla="*/ 100254 w 160056"/>
                  <a:gd name="connsiteY20" fmla="*/ 80813 h 127206"/>
                  <a:gd name="connsiteX21" fmla="*/ 96948 w 160056"/>
                  <a:gd name="connsiteY21" fmla="*/ 76310 h 127206"/>
                  <a:gd name="connsiteX22" fmla="*/ 91989 w 160056"/>
                  <a:gd name="connsiteY22" fmla="*/ 75398 h 127206"/>
                  <a:gd name="connsiteX23" fmla="*/ 90564 w 160056"/>
                  <a:gd name="connsiteY23" fmla="*/ 72548 h 127206"/>
                  <a:gd name="connsiteX24" fmla="*/ 85435 w 160056"/>
                  <a:gd name="connsiteY24" fmla="*/ 63600 h 127206"/>
                  <a:gd name="connsiteX25" fmla="*/ 80477 w 160056"/>
                  <a:gd name="connsiteY25" fmla="*/ 60978 h 127206"/>
                  <a:gd name="connsiteX26" fmla="*/ 76772 w 160056"/>
                  <a:gd name="connsiteY26" fmla="*/ 62175 h 127206"/>
                  <a:gd name="connsiteX27" fmla="*/ 66228 w 160056"/>
                  <a:gd name="connsiteY27" fmla="*/ 64227 h 127206"/>
                  <a:gd name="connsiteX28" fmla="*/ 60528 w 160056"/>
                  <a:gd name="connsiteY28" fmla="*/ 64911 h 127206"/>
                  <a:gd name="connsiteX29" fmla="*/ 58476 w 160056"/>
                  <a:gd name="connsiteY29" fmla="*/ 67077 h 127206"/>
                  <a:gd name="connsiteX30" fmla="*/ 47419 w 160056"/>
                  <a:gd name="connsiteY30" fmla="*/ 70724 h 127206"/>
                  <a:gd name="connsiteX31" fmla="*/ 45482 w 160056"/>
                  <a:gd name="connsiteY31" fmla="*/ 85999 h 127206"/>
                  <a:gd name="connsiteX32" fmla="*/ 43544 w 160056"/>
                  <a:gd name="connsiteY32" fmla="*/ 88849 h 127206"/>
                  <a:gd name="connsiteX33" fmla="*/ 33114 w 160056"/>
                  <a:gd name="connsiteY33" fmla="*/ 74315 h 127206"/>
                  <a:gd name="connsiteX34" fmla="*/ 0 w 160056"/>
                  <a:gd name="connsiteY34" fmla="*/ 40118 h 127206"/>
                  <a:gd name="connsiteX35" fmla="*/ 3305 w 160056"/>
                  <a:gd name="connsiteY35" fmla="*/ 36015 h 127206"/>
                  <a:gd name="connsiteX36" fmla="*/ 11456 w 160056"/>
                  <a:gd name="connsiteY36" fmla="*/ 29175 h 127206"/>
                  <a:gd name="connsiteX37" fmla="*/ 12026 w 160056"/>
                  <a:gd name="connsiteY37" fmla="*/ 26497 h 127206"/>
                  <a:gd name="connsiteX38" fmla="*/ 18922 w 160056"/>
                  <a:gd name="connsiteY38" fmla="*/ 23077 h 127206"/>
                  <a:gd name="connsiteX39" fmla="*/ 23083 w 160056"/>
                  <a:gd name="connsiteY39" fmla="*/ 12989 h 127206"/>
                  <a:gd name="connsiteX40" fmla="*/ 25704 w 160056"/>
                  <a:gd name="connsiteY40" fmla="*/ 2217 h 127206"/>
                  <a:gd name="connsiteX41" fmla="*/ 36533 w 160056"/>
                  <a:gd name="connsiteY41" fmla="*/ 1020 h 127206"/>
                  <a:gd name="connsiteX42" fmla="*/ 46907 w 160056"/>
                  <a:gd name="connsiteY42" fmla="*/ 6036 h 127206"/>
                  <a:gd name="connsiteX43" fmla="*/ 71528 w 160056"/>
                  <a:gd name="connsiteY43" fmla="*/ 7859 h 127206"/>
                  <a:gd name="connsiteX44" fmla="*/ 79679 w 160056"/>
                  <a:gd name="connsiteY44" fmla="*/ 9968 h 127206"/>
                  <a:gd name="connsiteX45" fmla="*/ 105896 w 160056"/>
                  <a:gd name="connsiteY45" fmla="*/ 10994 h 127206"/>
                  <a:gd name="connsiteX46" fmla="*/ 113648 w 160056"/>
                  <a:gd name="connsiteY46" fmla="*/ 9626 h 127206"/>
                  <a:gd name="connsiteX47" fmla="*/ 127212 w 160056"/>
                  <a:gd name="connsiteY47" fmla="*/ 3243 h 127206"/>
                  <a:gd name="connsiteX48" fmla="*/ 134165 w 160056"/>
                  <a:gd name="connsiteY48" fmla="*/ 10994 h 127206"/>
                  <a:gd name="connsiteX49" fmla="*/ 138554 w 160056"/>
                  <a:gd name="connsiteY49" fmla="*/ 20854 h 127206"/>
                  <a:gd name="connsiteX50" fmla="*/ 144254 w 160056"/>
                  <a:gd name="connsiteY50" fmla="*/ 26155 h 127206"/>
                  <a:gd name="connsiteX51" fmla="*/ 144709 w 160056"/>
                  <a:gd name="connsiteY51" fmla="*/ 35958 h 127206"/>
                  <a:gd name="connsiteX52" fmla="*/ 154000 w 160056"/>
                  <a:gd name="connsiteY52" fmla="*/ 47300 h 12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60056" h="127206">
                    <a:moveTo>
                      <a:pt x="154000" y="47300"/>
                    </a:moveTo>
                    <a:cubicBezTo>
                      <a:pt x="155219" y="48924"/>
                      <a:pt x="156217" y="50708"/>
                      <a:pt x="156963" y="52600"/>
                    </a:cubicBezTo>
                    <a:cubicBezTo>
                      <a:pt x="155727" y="53922"/>
                      <a:pt x="154758" y="55473"/>
                      <a:pt x="154114" y="57160"/>
                    </a:cubicBezTo>
                    <a:cubicBezTo>
                      <a:pt x="152751" y="59804"/>
                      <a:pt x="151919" y="62688"/>
                      <a:pt x="151663" y="65652"/>
                    </a:cubicBezTo>
                    <a:cubicBezTo>
                      <a:pt x="151663" y="74999"/>
                      <a:pt x="162093" y="82750"/>
                      <a:pt x="159699" y="91984"/>
                    </a:cubicBezTo>
                    <a:cubicBezTo>
                      <a:pt x="157818" y="98937"/>
                      <a:pt x="148699" y="103382"/>
                      <a:pt x="149554" y="110450"/>
                    </a:cubicBezTo>
                    <a:cubicBezTo>
                      <a:pt x="149851" y="111687"/>
                      <a:pt x="150061" y="112946"/>
                      <a:pt x="150181" y="114211"/>
                    </a:cubicBezTo>
                    <a:cubicBezTo>
                      <a:pt x="150181" y="118999"/>
                      <a:pt x="143000" y="121279"/>
                      <a:pt x="142544" y="126066"/>
                    </a:cubicBezTo>
                    <a:cubicBezTo>
                      <a:pt x="142487" y="126442"/>
                      <a:pt x="142487" y="126830"/>
                      <a:pt x="142544" y="127206"/>
                    </a:cubicBezTo>
                    <a:lnTo>
                      <a:pt x="140093" y="127206"/>
                    </a:lnTo>
                    <a:cubicBezTo>
                      <a:pt x="137528" y="127206"/>
                      <a:pt x="134393" y="127206"/>
                      <a:pt x="133197" y="125040"/>
                    </a:cubicBezTo>
                    <a:cubicBezTo>
                      <a:pt x="132569" y="123844"/>
                      <a:pt x="132684" y="122191"/>
                      <a:pt x="131601" y="121393"/>
                    </a:cubicBezTo>
                    <a:cubicBezTo>
                      <a:pt x="130518" y="120595"/>
                      <a:pt x="128238" y="121963"/>
                      <a:pt x="126471" y="122305"/>
                    </a:cubicBezTo>
                    <a:cubicBezTo>
                      <a:pt x="123280" y="122932"/>
                      <a:pt x="120772" y="119227"/>
                      <a:pt x="120772" y="115978"/>
                    </a:cubicBezTo>
                    <a:cubicBezTo>
                      <a:pt x="121159" y="112724"/>
                      <a:pt x="121347" y="109452"/>
                      <a:pt x="121342" y="106175"/>
                    </a:cubicBezTo>
                    <a:cubicBezTo>
                      <a:pt x="120510" y="101610"/>
                      <a:pt x="116993" y="98002"/>
                      <a:pt x="112451" y="97056"/>
                    </a:cubicBezTo>
                    <a:cubicBezTo>
                      <a:pt x="109920" y="96195"/>
                      <a:pt x="107116" y="96834"/>
                      <a:pt x="105212" y="98709"/>
                    </a:cubicBezTo>
                    <a:lnTo>
                      <a:pt x="104699" y="99564"/>
                    </a:lnTo>
                    <a:lnTo>
                      <a:pt x="104699" y="99564"/>
                    </a:lnTo>
                    <a:cubicBezTo>
                      <a:pt x="102237" y="95608"/>
                      <a:pt x="100715" y="91146"/>
                      <a:pt x="100254" y="86512"/>
                    </a:cubicBezTo>
                    <a:cubicBezTo>
                      <a:pt x="100254" y="84517"/>
                      <a:pt x="100254" y="82579"/>
                      <a:pt x="100254" y="80813"/>
                    </a:cubicBezTo>
                    <a:cubicBezTo>
                      <a:pt x="100014" y="78835"/>
                      <a:pt x="98760" y="77131"/>
                      <a:pt x="96948" y="76310"/>
                    </a:cubicBezTo>
                    <a:cubicBezTo>
                      <a:pt x="95295" y="75854"/>
                      <a:pt x="93300" y="76310"/>
                      <a:pt x="91989" y="75398"/>
                    </a:cubicBezTo>
                    <a:cubicBezTo>
                      <a:pt x="91220" y="74629"/>
                      <a:pt x="90718" y="73625"/>
                      <a:pt x="90564" y="72548"/>
                    </a:cubicBezTo>
                    <a:cubicBezTo>
                      <a:pt x="89590" y="69203"/>
                      <a:pt x="87829" y="66136"/>
                      <a:pt x="85435" y="63600"/>
                    </a:cubicBezTo>
                    <a:cubicBezTo>
                      <a:pt x="84232" y="62056"/>
                      <a:pt x="82426" y="61104"/>
                      <a:pt x="80477" y="60978"/>
                    </a:cubicBezTo>
                    <a:cubicBezTo>
                      <a:pt x="79171" y="61127"/>
                      <a:pt x="77912" y="61531"/>
                      <a:pt x="76772" y="62175"/>
                    </a:cubicBezTo>
                    <a:cubicBezTo>
                      <a:pt x="73472" y="63691"/>
                      <a:pt x="69853" y="64392"/>
                      <a:pt x="66228" y="64227"/>
                    </a:cubicBezTo>
                    <a:cubicBezTo>
                      <a:pt x="64307" y="63771"/>
                      <a:pt x="62284" y="64016"/>
                      <a:pt x="60528" y="64911"/>
                    </a:cubicBezTo>
                    <a:cubicBezTo>
                      <a:pt x="59747" y="65532"/>
                      <a:pt x="59052" y="66262"/>
                      <a:pt x="58476" y="67077"/>
                    </a:cubicBezTo>
                    <a:cubicBezTo>
                      <a:pt x="55735" y="70223"/>
                      <a:pt x="51495" y="71625"/>
                      <a:pt x="47419" y="70724"/>
                    </a:cubicBezTo>
                    <a:cubicBezTo>
                      <a:pt x="48257" y="75894"/>
                      <a:pt x="47585" y="81200"/>
                      <a:pt x="45482" y="85999"/>
                    </a:cubicBezTo>
                    <a:cubicBezTo>
                      <a:pt x="44889" y="86985"/>
                      <a:pt x="44239" y="87937"/>
                      <a:pt x="43544" y="88849"/>
                    </a:cubicBezTo>
                    <a:cubicBezTo>
                      <a:pt x="40569" y="83662"/>
                      <a:pt x="37075" y="78789"/>
                      <a:pt x="33114" y="74315"/>
                    </a:cubicBezTo>
                    <a:cubicBezTo>
                      <a:pt x="22285" y="62574"/>
                      <a:pt x="5642" y="53968"/>
                      <a:pt x="0" y="40118"/>
                    </a:cubicBezTo>
                    <a:cubicBezTo>
                      <a:pt x="764" y="38511"/>
                      <a:pt x="1898" y="37103"/>
                      <a:pt x="3305" y="36015"/>
                    </a:cubicBezTo>
                    <a:cubicBezTo>
                      <a:pt x="6212" y="33849"/>
                      <a:pt x="10544" y="32709"/>
                      <a:pt x="11456" y="29175"/>
                    </a:cubicBezTo>
                    <a:cubicBezTo>
                      <a:pt x="11564" y="28269"/>
                      <a:pt x="11752" y="27369"/>
                      <a:pt x="12026" y="26497"/>
                    </a:cubicBezTo>
                    <a:cubicBezTo>
                      <a:pt x="13109" y="24103"/>
                      <a:pt x="16585" y="24274"/>
                      <a:pt x="18922" y="23077"/>
                    </a:cubicBezTo>
                    <a:cubicBezTo>
                      <a:pt x="22342" y="21310"/>
                      <a:pt x="23026" y="16807"/>
                      <a:pt x="23083" y="12989"/>
                    </a:cubicBezTo>
                    <a:cubicBezTo>
                      <a:pt x="22524" y="9193"/>
                      <a:pt x="23465" y="5329"/>
                      <a:pt x="25704" y="2217"/>
                    </a:cubicBezTo>
                    <a:cubicBezTo>
                      <a:pt x="28788" y="-223"/>
                      <a:pt x="32994" y="-690"/>
                      <a:pt x="36533" y="1020"/>
                    </a:cubicBezTo>
                    <a:cubicBezTo>
                      <a:pt x="40124" y="2388"/>
                      <a:pt x="43316" y="4725"/>
                      <a:pt x="46907" y="6036"/>
                    </a:cubicBezTo>
                    <a:cubicBezTo>
                      <a:pt x="54658" y="8828"/>
                      <a:pt x="63378" y="6434"/>
                      <a:pt x="71528" y="7859"/>
                    </a:cubicBezTo>
                    <a:cubicBezTo>
                      <a:pt x="74264" y="8372"/>
                      <a:pt x="76943" y="9284"/>
                      <a:pt x="79679" y="9968"/>
                    </a:cubicBezTo>
                    <a:cubicBezTo>
                      <a:pt x="88313" y="11649"/>
                      <a:pt x="97153" y="11997"/>
                      <a:pt x="105896" y="10994"/>
                    </a:cubicBezTo>
                    <a:cubicBezTo>
                      <a:pt x="108540" y="11028"/>
                      <a:pt x="111174" y="10561"/>
                      <a:pt x="113648" y="9626"/>
                    </a:cubicBezTo>
                    <a:cubicBezTo>
                      <a:pt x="118321" y="7574"/>
                      <a:pt x="122140" y="2331"/>
                      <a:pt x="127212" y="3243"/>
                    </a:cubicBezTo>
                    <a:cubicBezTo>
                      <a:pt x="130706" y="4462"/>
                      <a:pt x="133333" y="7386"/>
                      <a:pt x="134165" y="10994"/>
                    </a:cubicBezTo>
                    <a:cubicBezTo>
                      <a:pt x="134878" y="14568"/>
                      <a:pt x="136377" y="17930"/>
                      <a:pt x="138554" y="20854"/>
                    </a:cubicBezTo>
                    <a:cubicBezTo>
                      <a:pt x="140378" y="22735"/>
                      <a:pt x="143000" y="23875"/>
                      <a:pt x="144254" y="26155"/>
                    </a:cubicBezTo>
                    <a:cubicBezTo>
                      <a:pt x="145507" y="28434"/>
                      <a:pt x="144254" y="32709"/>
                      <a:pt x="144709" y="35958"/>
                    </a:cubicBezTo>
                    <a:cubicBezTo>
                      <a:pt x="145450" y="40289"/>
                      <a:pt x="150751" y="43253"/>
                      <a:pt x="154000" y="473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79" name="Freihandform: Form 673">
                <a:extLst>
                  <a:ext uri="{FF2B5EF4-FFF2-40B4-BE49-F238E27FC236}">
                    <a16:creationId xmlns:a16="http://schemas.microsoft.com/office/drawing/2014/main" id="{4CE68181-A7E0-3FA7-992E-0A0F3F0E5276}"/>
                  </a:ext>
                </a:extLst>
              </p:cNvPr>
              <p:cNvSpPr/>
              <p:nvPr/>
            </p:nvSpPr>
            <p:spPr>
              <a:xfrm>
                <a:off x="3417978" y="3956196"/>
                <a:ext cx="49072" cy="40475"/>
              </a:xfrm>
              <a:custGeom>
                <a:avLst/>
                <a:gdLst>
                  <a:gd name="connsiteX0" fmla="*/ 49072 w 49072"/>
                  <a:gd name="connsiteY0" fmla="*/ 3828 h 40475"/>
                  <a:gd name="connsiteX1" fmla="*/ 47306 w 49072"/>
                  <a:gd name="connsiteY1" fmla="*/ 13346 h 40475"/>
                  <a:gd name="connsiteX2" fmla="*/ 43145 w 49072"/>
                  <a:gd name="connsiteY2" fmla="*/ 23434 h 40475"/>
                  <a:gd name="connsiteX3" fmla="*/ 36249 w 49072"/>
                  <a:gd name="connsiteY3" fmla="*/ 26854 h 40475"/>
                  <a:gd name="connsiteX4" fmla="*/ 35678 w 49072"/>
                  <a:gd name="connsiteY4" fmla="*/ 29533 h 40475"/>
                  <a:gd name="connsiteX5" fmla="*/ 27528 w 49072"/>
                  <a:gd name="connsiteY5" fmla="*/ 36372 h 40475"/>
                  <a:gd name="connsiteX6" fmla="*/ 24222 w 49072"/>
                  <a:gd name="connsiteY6" fmla="*/ 40476 h 40475"/>
                  <a:gd name="connsiteX7" fmla="*/ 22456 w 49072"/>
                  <a:gd name="connsiteY7" fmla="*/ 33750 h 40475"/>
                  <a:gd name="connsiteX8" fmla="*/ 13564 w 49072"/>
                  <a:gd name="connsiteY8" fmla="*/ 18248 h 40475"/>
                  <a:gd name="connsiteX9" fmla="*/ 342 w 49072"/>
                  <a:gd name="connsiteY9" fmla="*/ 9072 h 40475"/>
                  <a:gd name="connsiteX10" fmla="*/ 57 w 49072"/>
                  <a:gd name="connsiteY10" fmla="*/ 4284 h 40475"/>
                  <a:gd name="connsiteX11" fmla="*/ 13564 w 49072"/>
                  <a:gd name="connsiteY11" fmla="*/ 2232 h 40475"/>
                  <a:gd name="connsiteX12" fmla="*/ 41492 w 49072"/>
                  <a:gd name="connsiteY12" fmla="*/ 67 h 40475"/>
                  <a:gd name="connsiteX13" fmla="*/ 49072 w 49072"/>
                  <a:gd name="connsiteY13" fmla="*/ 3828 h 4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072" h="40475">
                    <a:moveTo>
                      <a:pt x="49072" y="3828"/>
                    </a:moveTo>
                    <a:cubicBezTo>
                      <a:pt x="47619" y="6775"/>
                      <a:pt x="47003" y="10069"/>
                      <a:pt x="47306" y="13346"/>
                    </a:cubicBezTo>
                    <a:cubicBezTo>
                      <a:pt x="47306" y="17165"/>
                      <a:pt x="46565" y="21668"/>
                      <a:pt x="43145" y="23434"/>
                    </a:cubicBezTo>
                    <a:cubicBezTo>
                      <a:pt x="40808" y="24631"/>
                      <a:pt x="37445" y="24460"/>
                      <a:pt x="36249" y="26854"/>
                    </a:cubicBezTo>
                    <a:cubicBezTo>
                      <a:pt x="35975" y="27726"/>
                      <a:pt x="35787" y="28627"/>
                      <a:pt x="35678" y="29533"/>
                    </a:cubicBezTo>
                    <a:cubicBezTo>
                      <a:pt x="34767" y="33067"/>
                      <a:pt x="30435" y="34207"/>
                      <a:pt x="27528" y="36372"/>
                    </a:cubicBezTo>
                    <a:cubicBezTo>
                      <a:pt x="26120" y="37461"/>
                      <a:pt x="24986" y="38869"/>
                      <a:pt x="24222" y="40476"/>
                    </a:cubicBezTo>
                    <a:cubicBezTo>
                      <a:pt x="23334" y="38321"/>
                      <a:pt x="22741" y="36059"/>
                      <a:pt x="22456" y="33750"/>
                    </a:cubicBezTo>
                    <a:cubicBezTo>
                      <a:pt x="26388" y="29818"/>
                      <a:pt x="18694" y="20357"/>
                      <a:pt x="13564" y="18248"/>
                    </a:cubicBezTo>
                    <a:cubicBezTo>
                      <a:pt x="8435" y="16139"/>
                      <a:pt x="1766" y="14486"/>
                      <a:pt x="342" y="9072"/>
                    </a:cubicBezTo>
                    <a:cubicBezTo>
                      <a:pt x="23" y="7499"/>
                      <a:pt x="-74" y="5886"/>
                      <a:pt x="57" y="4284"/>
                    </a:cubicBezTo>
                    <a:lnTo>
                      <a:pt x="13564" y="2232"/>
                    </a:lnTo>
                    <a:cubicBezTo>
                      <a:pt x="22763" y="488"/>
                      <a:pt x="32133" y="-235"/>
                      <a:pt x="41492" y="67"/>
                    </a:cubicBezTo>
                    <a:cubicBezTo>
                      <a:pt x="44478" y="10"/>
                      <a:pt x="47311" y="1412"/>
                      <a:pt x="49072" y="382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0" name="Freihandform: Form 674">
                <a:extLst>
                  <a:ext uri="{FF2B5EF4-FFF2-40B4-BE49-F238E27FC236}">
                    <a16:creationId xmlns:a16="http://schemas.microsoft.com/office/drawing/2014/main" id="{E4A7929E-8E47-B200-5163-AD04E513C8BC}"/>
                  </a:ext>
                </a:extLst>
              </p:cNvPr>
              <p:cNvSpPr/>
              <p:nvPr/>
            </p:nvSpPr>
            <p:spPr>
              <a:xfrm>
                <a:off x="3391839" y="3862891"/>
                <a:ext cx="132622" cy="103972"/>
              </a:xfrm>
              <a:custGeom>
                <a:avLst/>
                <a:gdLst>
                  <a:gd name="connsiteX0" fmla="*/ 132548 w 132622"/>
                  <a:gd name="connsiteY0" fmla="*/ 102206 h 103972"/>
                  <a:gd name="connsiteX1" fmla="*/ 132548 w 132622"/>
                  <a:gd name="connsiteY1" fmla="*/ 103973 h 103972"/>
                  <a:gd name="connsiteX2" fmla="*/ 130040 w 132622"/>
                  <a:gd name="connsiteY2" fmla="*/ 103517 h 103972"/>
                  <a:gd name="connsiteX3" fmla="*/ 121890 w 132622"/>
                  <a:gd name="connsiteY3" fmla="*/ 101408 h 103972"/>
                  <a:gd name="connsiteX4" fmla="*/ 97268 w 132622"/>
                  <a:gd name="connsiteY4" fmla="*/ 99584 h 103972"/>
                  <a:gd name="connsiteX5" fmla="*/ 86895 w 132622"/>
                  <a:gd name="connsiteY5" fmla="*/ 94569 h 103972"/>
                  <a:gd name="connsiteX6" fmla="*/ 76066 w 132622"/>
                  <a:gd name="connsiteY6" fmla="*/ 95765 h 103972"/>
                  <a:gd name="connsiteX7" fmla="*/ 75211 w 132622"/>
                  <a:gd name="connsiteY7" fmla="*/ 97019 h 103972"/>
                  <a:gd name="connsiteX8" fmla="*/ 67631 w 132622"/>
                  <a:gd name="connsiteY8" fmla="*/ 93258 h 103972"/>
                  <a:gd name="connsiteX9" fmla="*/ 39703 w 132622"/>
                  <a:gd name="connsiteY9" fmla="*/ 95423 h 103972"/>
                  <a:gd name="connsiteX10" fmla="*/ 26195 w 132622"/>
                  <a:gd name="connsiteY10" fmla="*/ 97475 h 103972"/>
                  <a:gd name="connsiteX11" fmla="*/ 25398 w 132622"/>
                  <a:gd name="connsiteY11" fmla="*/ 92745 h 103972"/>
                  <a:gd name="connsiteX12" fmla="*/ 17760 w 132622"/>
                  <a:gd name="connsiteY12" fmla="*/ 87045 h 103972"/>
                  <a:gd name="connsiteX13" fmla="*/ 14454 w 132622"/>
                  <a:gd name="connsiteY13" fmla="*/ 79750 h 103972"/>
                  <a:gd name="connsiteX14" fmla="*/ 23688 w 132622"/>
                  <a:gd name="connsiteY14" fmla="*/ 78496 h 103972"/>
                  <a:gd name="connsiteX15" fmla="*/ 30983 w 132622"/>
                  <a:gd name="connsiteY15" fmla="*/ 75874 h 103972"/>
                  <a:gd name="connsiteX16" fmla="*/ 41014 w 132622"/>
                  <a:gd name="connsiteY16" fmla="*/ 78724 h 103972"/>
                  <a:gd name="connsiteX17" fmla="*/ 48366 w 132622"/>
                  <a:gd name="connsiteY17" fmla="*/ 73936 h 103972"/>
                  <a:gd name="connsiteX18" fmla="*/ 65465 w 132622"/>
                  <a:gd name="connsiteY18" fmla="*/ 76957 h 103972"/>
                  <a:gd name="connsiteX19" fmla="*/ 75610 w 132622"/>
                  <a:gd name="connsiteY19" fmla="*/ 79807 h 103972"/>
                  <a:gd name="connsiteX20" fmla="*/ 82221 w 132622"/>
                  <a:gd name="connsiteY20" fmla="*/ 73196 h 103972"/>
                  <a:gd name="connsiteX21" fmla="*/ 73672 w 132622"/>
                  <a:gd name="connsiteY21" fmla="*/ 67496 h 103972"/>
                  <a:gd name="connsiteX22" fmla="*/ 16677 w 132622"/>
                  <a:gd name="connsiteY22" fmla="*/ 61511 h 103972"/>
                  <a:gd name="connsiteX23" fmla="*/ 14739 w 132622"/>
                  <a:gd name="connsiteY23" fmla="*/ 53247 h 103972"/>
                  <a:gd name="connsiteX24" fmla="*/ 206 w 132622"/>
                  <a:gd name="connsiteY24" fmla="*/ 39284 h 103972"/>
                  <a:gd name="connsiteX25" fmla="*/ 7501 w 132622"/>
                  <a:gd name="connsiteY25" fmla="*/ 25035 h 103972"/>
                  <a:gd name="connsiteX26" fmla="*/ 10693 w 132622"/>
                  <a:gd name="connsiteY26" fmla="*/ 10216 h 103972"/>
                  <a:gd name="connsiteX27" fmla="*/ 20553 w 132622"/>
                  <a:gd name="connsiteY27" fmla="*/ 6911 h 103972"/>
                  <a:gd name="connsiteX28" fmla="*/ 19926 w 132622"/>
                  <a:gd name="connsiteY28" fmla="*/ 1211 h 103972"/>
                  <a:gd name="connsiteX29" fmla="*/ 24713 w 132622"/>
                  <a:gd name="connsiteY29" fmla="*/ 641 h 103972"/>
                  <a:gd name="connsiteX30" fmla="*/ 57599 w 132622"/>
                  <a:gd name="connsiteY30" fmla="*/ 641 h 103972"/>
                  <a:gd name="connsiteX31" fmla="*/ 73615 w 132622"/>
                  <a:gd name="connsiteY31" fmla="*/ 5429 h 103972"/>
                  <a:gd name="connsiteX32" fmla="*/ 79713 w 132622"/>
                  <a:gd name="connsiteY32" fmla="*/ 12382 h 103972"/>
                  <a:gd name="connsiteX33" fmla="*/ 90030 w 132622"/>
                  <a:gd name="connsiteY33" fmla="*/ 17740 h 103972"/>
                  <a:gd name="connsiteX34" fmla="*/ 91112 w 132622"/>
                  <a:gd name="connsiteY34" fmla="*/ 22983 h 103972"/>
                  <a:gd name="connsiteX35" fmla="*/ 97325 w 132622"/>
                  <a:gd name="connsiteY35" fmla="*/ 30677 h 103972"/>
                  <a:gd name="connsiteX36" fmla="*/ 108211 w 132622"/>
                  <a:gd name="connsiteY36" fmla="*/ 39341 h 103972"/>
                  <a:gd name="connsiteX37" fmla="*/ 111687 w 132622"/>
                  <a:gd name="connsiteY37" fmla="*/ 42817 h 103972"/>
                  <a:gd name="connsiteX38" fmla="*/ 115164 w 132622"/>
                  <a:gd name="connsiteY38" fmla="*/ 59916 h 103972"/>
                  <a:gd name="connsiteX39" fmla="*/ 119496 w 132622"/>
                  <a:gd name="connsiteY39" fmla="*/ 64817 h 103972"/>
                  <a:gd name="connsiteX40" fmla="*/ 123258 w 132622"/>
                  <a:gd name="connsiteY40" fmla="*/ 73879 h 103972"/>
                  <a:gd name="connsiteX41" fmla="*/ 128558 w 132622"/>
                  <a:gd name="connsiteY41" fmla="*/ 76615 h 103972"/>
                  <a:gd name="connsiteX42" fmla="*/ 132491 w 132622"/>
                  <a:gd name="connsiteY42" fmla="*/ 88014 h 103972"/>
                  <a:gd name="connsiteX43" fmla="*/ 132548 w 132622"/>
                  <a:gd name="connsiteY43" fmla="*/ 102206 h 103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2622" h="103972">
                    <a:moveTo>
                      <a:pt x="132548" y="102206"/>
                    </a:moveTo>
                    <a:lnTo>
                      <a:pt x="132548" y="103973"/>
                    </a:lnTo>
                    <a:cubicBezTo>
                      <a:pt x="131693" y="103973"/>
                      <a:pt x="130838" y="103973"/>
                      <a:pt x="130040" y="103517"/>
                    </a:cubicBezTo>
                    <a:cubicBezTo>
                      <a:pt x="127304" y="102833"/>
                      <a:pt x="124625" y="101921"/>
                      <a:pt x="121890" y="101408"/>
                    </a:cubicBezTo>
                    <a:cubicBezTo>
                      <a:pt x="113740" y="99983"/>
                      <a:pt x="104791" y="102377"/>
                      <a:pt x="97268" y="99584"/>
                    </a:cubicBezTo>
                    <a:cubicBezTo>
                      <a:pt x="93677" y="98273"/>
                      <a:pt x="90486" y="95936"/>
                      <a:pt x="86895" y="94569"/>
                    </a:cubicBezTo>
                    <a:cubicBezTo>
                      <a:pt x="83355" y="92859"/>
                      <a:pt x="79149" y="93326"/>
                      <a:pt x="76066" y="95765"/>
                    </a:cubicBezTo>
                    <a:cubicBezTo>
                      <a:pt x="75747" y="96159"/>
                      <a:pt x="75462" y="96580"/>
                      <a:pt x="75211" y="97019"/>
                    </a:cubicBezTo>
                    <a:cubicBezTo>
                      <a:pt x="73450" y="94608"/>
                      <a:pt x="70617" y="93201"/>
                      <a:pt x="67631" y="93258"/>
                    </a:cubicBezTo>
                    <a:cubicBezTo>
                      <a:pt x="58272" y="92955"/>
                      <a:pt x="48902" y="93679"/>
                      <a:pt x="39703" y="95423"/>
                    </a:cubicBezTo>
                    <a:lnTo>
                      <a:pt x="26195" y="97475"/>
                    </a:lnTo>
                    <a:cubicBezTo>
                      <a:pt x="26366" y="95857"/>
                      <a:pt x="26093" y="94221"/>
                      <a:pt x="25398" y="92745"/>
                    </a:cubicBezTo>
                    <a:cubicBezTo>
                      <a:pt x="23859" y="89895"/>
                      <a:pt x="20211" y="89040"/>
                      <a:pt x="17760" y="87045"/>
                    </a:cubicBezTo>
                    <a:cubicBezTo>
                      <a:pt x="15663" y="85199"/>
                      <a:pt x="14460" y="82543"/>
                      <a:pt x="14454" y="79750"/>
                    </a:cubicBezTo>
                    <a:cubicBezTo>
                      <a:pt x="17589" y="80046"/>
                      <a:pt x="20747" y="79619"/>
                      <a:pt x="23688" y="78496"/>
                    </a:cubicBezTo>
                    <a:cubicBezTo>
                      <a:pt x="25962" y="77236"/>
                      <a:pt x="28424" y="76353"/>
                      <a:pt x="30983" y="75874"/>
                    </a:cubicBezTo>
                    <a:cubicBezTo>
                      <a:pt x="34448" y="76336"/>
                      <a:pt x="37822" y="77299"/>
                      <a:pt x="41014" y="78724"/>
                    </a:cubicBezTo>
                    <a:cubicBezTo>
                      <a:pt x="44434" y="79522"/>
                      <a:pt x="49164" y="77356"/>
                      <a:pt x="48366" y="73936"/>
                    </a:cubicBezTo>
                    <a:cubicBezTo>
                      <a:pt x="54208" y="73828"/>
                      <a:pt x="60016" y="74854"/>
                      <a:pt x="65465" y="76957"/>
                    </a:cubicBezTo>
                    <a:cubicBezTo>
                      <a:pt x="68628" y="78559"/>
                      <a:pt x="72076" y="79528"/>
                      <a:pt x="75610" y="79807"/>
                    </a:cubicBezTo>
                    <a:cubicBezTo>
                      <a:pt x="79144" y="79807"/>
                      <a:pt x="82848" y="76672"/>
                      <a:pt x="82221" y="73196"/>
                    </a:cubicBezTo>
                    <a:cubicBezTo>
                      <a:pt x="81594" y="69719"/>
                      <a:pt x="77206" y="68294"/>
                      <a:pt x="73672" y="67496"/>
                    </a:cubicBezTo>
                    <a:cubicBezTo>
                      <a:pt x="54807" y="64395"/>
                      <a:pt x="35776" y="62395"/>
                      <a:pt x="16677" y="61511"/>
                    </a:cubicBezTo>
                    <a:cubicBezTo>
                      <a:pt x="16888" y="58622"/>
                      <a:pt x="16210" y="55744"/>
                      <a:pt x="14739" y="53247"/>
                    </a:cubicBezTo>
                    <a:cubicBezTo>
                      <a:pt x="10978" y="47548"/>
                      <a:pt x="1745" y="45952"/>
                      <a:pt x="206" y="39284"/>
                    </a:cubicBezTo>
                    <a:cubicBezTo>
                      <a:pt x="-1048" y="33584"/>
                      <a:pt x="3682" y="29081"/>
                      <a:pt x="7501" y="25035"/>
                    </a:cubicBezTo>
                    <a:cubicBezTo>
                      <a:pt x="11320" y="20988"/>
                      <a:pt x="14511" y="14263"/>
                      <a:pt x="10693" y="10216"/>
                    </a:cubicBezTo>
                    <a:cubicBezTo>
                      <a:pt x="14101" y="9521"/>
                      <a:pt x="17413" y="8410"/>
                      <a:pt x="20553" y="6911"/>
                    </a:cubicBezTo>
                    <a:cubicBezTo>
                      <a:pt x="21072" y="5001"/>
                      <a:pt x="20849" y="2961"/>
                      <a:pt x="19926" y="1211"/>
                    </a:cubicBezTo>
                    <a:lnTo>
                      <a:pt x="24713" y="641"/>
                    </a:lnTo>
                    <a:cubicBezTo>
                      <a:pt x="35657" y="-214"/>
                      <a:pt x="46657" y="-214"/>
                      <a:pt x="57599" y="641"/>
                    </a:cubicBezTo>
                    <a:cubicBezTo>
                      <a:pt x="63345" y="231"/>
                      <a:pt x="69038" y="1929"/>
                      <a:pt x="73615" y="5429"/>
                    </a:cubicBezTo>
                    <a:cubicBezTo>
                      <a:pt x="75781" y="7652"/>
                      <a:pt x="77092" y="10729"/>
                      <a:pt x="79713" y="12382"/>
                    </a:cubicBezTo>
                    <a:cubicBezTo>
                      <a:pt x="82335" y="14035"/>
                      <a:pt x="88206" y="14263"/>
                      <a:pt x="90030" y="17740"/>
                    </a:cubicBezTo>
                    <a:cubicBezTo>
                      <a:pt x="90565" y="19450"/>
                      <a:pt x="90930" y="21205"/>
                      <a:pt x="91112" y="22983"/>
                    </a:cubicBezTo>
                    <a:cubicBezTo>
                      <a:pt x="92286" y="26158"/>
                      <a:pt x="94469" y="28865"/>
                      <a:pt x="97325" y="30677"/>
                    </a:cubicBezTo>
                    <a:lnTo>
                      <a:pt x="108211" y="39341"/>
                    </a:lnTo>
                    <a:cubicBezTo>
                      <a:pt x="109562" y="40292"/>
                      <a:pt x="110736" y="41466"/>
                      <a:pt x="111687" y="42817"/>
                    </a:cubicBezTo>
                    <a:cubicBezTo>
                      <a:pt x="114936" y="47776"/>
                      <a:pt x="111687" y="55128"/>
                      <a:pt x="115164" y="59916"/>
                    </a:cubicBezTo>
                    <a:cubicBezTo>
                      <a:pt x="116361" y="61740"/>
                      <a:pt x="118356" y="62936"/>
                      <a:pt x="119496" y="64817"/>
                    </a:cubicBezTo>
                    <a:cubicBezTo>
                      <a:pt x="121206" y="67667"/>
                      <a:pt x="120807" y="71657"/>
                      <a:pt x="123258" y="73879"/>
                    </a:cubicBezTo>
                    <a:cubicBezTo>
                      <a:pt x="124956" y="74917"/>
                      <a:pt x="126729" y="75829"/>
                      <a:pt x="128558" y="76615"/>
                    </a:cubicBezTo>
                    <a:cubicBezTo>
                      <a:pt x="131624" y="79562"/>
                      <a:pt x="133089" y="83802"/>
                      <a:pt x="132491" y="88014"/>
                    </a:cubicBezTo>
                    <a:cubicBezTo>
                      <a:pt x="132548" y="92973"/>
                      <a:pt x="132548" y="97589"/>
                      <a:pt x="132548" y="10220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1" name="Freihandform: Form 675">
                <a:extLst>
                  <a:ext uri="{FF2B5EF4-FFF2-40B4-BE49-F238E27FC236}">
                    <a16:creationId xmlns:a16="http://schemas.microsoft.com/office/drawing/2014/main" id="{D0BFE448-B26B-8D92-CDE0-817385DB3CC6}"/>
                  </a:ext>
                </a:extLst>
              </p:cNvPr>
              <p:cNvSpPr/>
              <p:nvPr/>
            </p:nvSpPr>
            <p:spPr>
              <a:xfrm>
                <a:off x="3406260" y="3924630"/>
                <a:ext cx="67882" cy="18295"/>
              </a:xfrm>
              <a:custGeom>
                <a:avLst/>
                <a:gdLst>
                  <a:gd name="connsiteX0" fmla="*/ 34 w 67882"/>
                  <a:gd name="connsiteY0" fmla="*/ 18010 h 18295"/>
                  <a:gd name="connsiteX1" fmla="*/ 2257 w 67882"/>
                  <a:gd name="connsiteY1" fmla="*/ 0 h 18295"/>
                  <a:gd name="connsiteX2" fmla="*/ 59252 w 67882"/>
                  <a:gd name="connsiteY2" fmla="*/ 5985 h 18295"/>
                  <a:gd name="connsiteX3" fmla="*/ 67801 w 67882"/>
                  <a:gd name="connsiteY3" fmla="*/ 11684 h 18295"/>
                  <a:gd name="connsiteX4" fmla="*/ 61190 w 67882"/>
                  <a:gd name="connsiteY4" fmla="*/ 18295 h 18295"/>
                  <a:gd name="connsiteX5" fmla="*/ 51044 w 67882"/>
                  <a:gd name="connsiteY5" fmla="*/ 15446 h 18295"/>
                  <a:gd name="connsiteX6" fmla="*/ 33946 w 67882"/>
                  <a:gd name="connsiteY6" fmla="*/ 12425 h 18295"/>
                  <a:gd name="connsiteX7" fmla="*/ 26594 w 67882"/>
                  <a:gd name="connsiteY7" fmla="*/ 17212 h 18295"/>
                  <a:gd name="connsiteX8" fmla="*/ 16563 w 67882"/>
                  <a:gd name="connsiteY8" fmla="*/ 14363 h 18295"/>
                  <a:gd name="connsiteX9" fmla="*/ 9267 w 67882"/>
                  <a:gd name="connsiteY9" fmla="*/ 16984 h 18295"/>
                  <a:gd name="connsiteX10" fmla="*/ 34 w 67882"/>
                  <a:gd name="connsiteY10" fmla="*/ 18010 h 1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82" h="18295">
                    <a:moveTo>
                      <a:pt x="34" y="18010"/>
                    </a:moveTo>
                    <a:cubicBezTo>
                      <a:pt x="-308" y="12311"/>
                      <a:pt x="2029" y="5928"/>
                      <a:pt x="2257" y="0"/>
                    </a:cubicBezTo>
                    <a:cubicBezTo>
                      <a:pt x="21356" y="883"/>
                      <a:pt x="40386" y="2884"/>
                      <a:pt x="59252" y="5985"/>
                    </a:cubicBezTo>
                    <a:cubicBezTo>
                      <a:pt x="62785" y="6554"/>
                      <a:pt x="67117" y="7922"/>
                      <a:pt x="67801" y="11684"/>
                    </a:cubicBezTo>
                    <a:cubicBezTo>
                      <a:pt x="68485" y="15446"/>
                      <a:pt x="64723" y="18124"/>
                      <a:pt x="61190" y="18295"/>
                    </a:cubicBezTo>
                    <a:cubicBezTo>
                      <a:pt x="57656" y="18016"/>
                      <a:pt x="54208" y="17047"/>
                      <a:pt x="51044" y="15446"/>
                    </a:cubicBezTo>
                    <a:cubicBezTo>
                      <a:pt x="45596" y="13342"/>
                      <a:pt x="39788" y="12317"/>
                      <a:pt x="33946" y="12425"/>
                    </a:cubicBezTo>
                    <a:cubicBezTo>
                      <a:pt x="34744" y="15845"/>
                      <a:pt x="30013" y="18124"/>
                      <a:pt x="26594" y="17212"/>
                    </a:cubicBezTo>
                    <a:cubicBezTo>
                      <a:pt x="23402" y="15787"/>
                      <a:pt x="20028" y="14824"/>
                      <a:pt x="16563" y="14363"/>
                    </a:cubicBezTo>
                    <a:cubicBezTo>
                      <a:pt x="14009" y="14841"/>
                      <a:pt x="11542" y="15725"/>
                      <a:pt x="9267" y="16984"/>
                    </a:cubicBezTo>
                    <a:cubicBezTo>
                      <a:pt x="6309" y="18027"/>
                      <a:pt x="3152" y="18381"/>
                      <a:pt x="34" y="1801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2" name="Freihandform: Form 676">
                <a:extLst>
                  <a:ext uri="{FF2B5EF4-FFF2-40B4-BE49-F238E27FC236}">
                    <a16:creationId xmlns:a16="http://schemas.microsoft.com/office/drawing/2014/main" id="{67FB365A-0149-BDC6-4477-CC2CF91C64F3}"/>
                  </a:ext>
                </a:extLst>
              </p:cNvPr>
              <p:cNvSpPr/>
              <p:nvPr/>
            </p:nvSpPr>
            <p:spPr>
              <a:xfrm>
                <a:off x="3639402" y="3900419"/>
                <a:ext cx="189792" cy="130825"/>
              </a:xfrm>
              <a:custGeom>
                <a:avLst/>
                <a:gdLst>
                  <a:gd name="connsiteX0" fmla="*/ 189792 w 189792"/>
                  <a:gd name="connsiteY0" fmla="*/ 69352 h 130825"/>
                  <a:gd name="connsiteX1" fmla="*/ 187114 w 189792"/>
                  <a:gd name="connsiteY1" fmla="*/ 77901 h 130825"/>
                  <a:gd name="connsiteX2" fmla="*/ 183637 w 189792"/>
                  <a:gd name="connsiteY2" fmla="*/ 80523 h 130825"/>
                  <a:gd name="connsiteX3" fmla="*/ 167906 w 189792"/>
                  <a:gd name="connsiteY3" fmla="*/ 88103 h 130825"/>
                  <a:gd name="connsiteX4" fmla="*/ 158388 w 189792"/>
                  <a:gd name="connsiteY4" fmla="*/ 98191 h 130825"/>
                  <a:gd name="connsiteX5" fmla="*/ 135191 w 189792"/>
                  <a:gd name="connsiteY5" fmla="*/ 95227 h 130825"/>
                  <a:gd name="connsiteX6" fmla="*/ 132250 w 189792"/>
                  <a:gd name="connsiteY6" fmla="*/ 97741 h 130825"/>
                  <a:gd name="connsiteX7" fmla="*/ 132684 w 189792"/>
                  <a:gd name="connsiteY7" fmla="*/ 99445 h 130825"/>
                  <a:gd name="connsiteX8" fmla="*/ 132684 w 189792"/>
                  <a:gd name="connsiteY8" fmla="*/ 99445 h 130825"/>
                  <a:gd name="connsiteX9" fmla="*/ 128694 w 189792"/>
                  <a:gd name="connsiteY9" fmla="*/ 97678 h 130825"/>
                  <a:gd name="connsiteX10" fmla="*/ 119404 w 189792"/>
                  <a:gd name="connsiteY10" fmla="*/ 96367 h 130825"/>
                  <a:gd name="connsiteX11" fmla="*/ 91648 w 189792"/>
                  <a:gd name="connsiteY11" fmla="*/ 95227 h 130825"/>
                  <a:gd name="connsiteX12" fmla="*/ 77969 w 189792"/>
                  <a:gd name="connsiteY12" fmla="*/ 98761 h 130825"/>
                  <a:gd name="connsiteX13" fmla="*/ 75176 w 189792"/>
                  <a:gd name="connsiteY13" fmla="*/ 105372 h 130825"/>
                  <a:gd name="connsiteX14" fmla="*/ 74207 w 189792"/>
                  <a:gd name="connsiteY14" fmla="*/ 122471 h 130825"/>
                  <a:gd name="connsiteX15" fmla="*/ 51409 w 189792"/>
                  <a:gd name="connsiteY15" fmla="*/ 122471 h 130825"/>
                  <a:gd name="connsiteX16" fmla="*/ 37673 w 189792"/>
                  <a:gd name="connsiteY16" fmla="*/ 124751 h 130825"/>
                  <a:gd name="connsiteX17" fmla="*/ 37161 w 189792"/>
                  <a:gd name="connsiteY17" fmla="*/ 130735 h 130825"/>
                  <a:gd name="connsiteX18" fmla="*/ 27927 w 189792"/>
                  <a:gd name="connsiteY18" fmla="*/ 123839 h 130825"/>
                  <a:gd name="connsiteX19" fmla="*/ 20005 w 189792"/>
                  <a:gd name="connsiteY19" fmla="*/ 114833 h 130825"/>
                  <a:gd name="connsiteX20" fmla="*/ 17213 w 189792"/>
                  <a:gd name="connsiteY20" fmla="*/ 114035 h 130825"/>
                  <a:gd name="connsiteX21" fmla="*/ 15617 w 189792"/>
                  <a:gd name="connsiteY21" fmla="*/ 111528 h 130825"/>
                  <a:gd name="connsiteX22" fmla="*/ 8948 w 189792"/>
                  <a:gd name="connsiteY22" fmla="*/ 108906 h 130825"/>
                  <a:gd name="connsiteX23" fmla="*/ 2451 w 189792"/>
                  <a:gd name="connsiteY23" fmla="*/ 112554 h 130825"/>
                  <a:gd name="connsiteX24" fmla="*/ 0 w 189792"/>
                  <a:gd name="connsiteY24" fmla="*/ 107538 h 130825"/>
                  <a:gd name="connsiteX25" fmla="*/ 6041 w 189792"/>
                  <a:gd name="connsiteY25" fmla="*/ 102295 h 130825"/>
                  <a:gd name="connsiteX26" fmla="*/ 10145 w 189792"/>
                  <a:gd name="connsiteY26" fmla="*/ 101098 h 130825"/>
                  <a:gd name="connsiteX27" fmla="*/ 12596 w 189792"/>
                  <a:gd name="connsiteY27" fmla="*/ 89699 h 130825"/>
                  <a:gd name="connsiteX28" fmla="*/ 18295 w 189792"/>
                  <a:gd name="connsiteY28" fmla="*/ 81776 h 130825"/>
                  <a:gd name="connsiteX29" fmla="*/ 18295 w 189792"/>
                  <a:gd name="connsiteY29" fmla="*/ 76077 h 130825"/>
                  <a:gd name="connsiteX30" fmla="*/ 24736 w 189792"/>
                  <a:gd name="connsiteY30" fmla="*/ 73341 h 130825"/>
                  <a:gd name="connsiteX31" fmla="*/ 33855 w 189792"/>
                  <a:gd name="connsiteY31" fmla="*/ 62854 h 130825"/>
                  <a:gd name="connsiteX32" fmla="*/ 38642 w 189792"/>
                  <a:gd name="connsiteY32" fmla="*/ 51911 h 130825"/>
                  <a:gd name="connsiteX33" fmla="*/ 44342 w 189792"/>
                  <a:gd name="connsiteY33" fmla="*/ 34357 h 130825"/>
                  <a:gd name="connsiteX34" fmla="*/ 55741 w 189792"/>
                  <a:gd name="connsiteY34" fmla="*/ 34357 h 130825"/>
                  <a:gd name="connsiteX35" fmla="*/ 57964 w 189792"/>
                  <a:gd name="connsiteY35" fmla="*/ 36865 h 130825"/>
                  <a:gd name="connsiteX36" fmla="*/ 66684 w 189792"/>
                  <a:gd name="connsiteY36" fmla="*/ 37834 h 130825"/>
                  <a:gd name="connsiteX37" fmla="*/ 70103 w 189792"/>
                  <a:gd name="connsiteY37" fmla="*/ 25751 h 130825"/>
                  <a:gd name="connsiteX38" fmla="*/ 79963 w 189792"/>
                  <a:gd name="connsiteY38" fmla="*/ 18740 h 130825"/>
                  <a:gd name="connsiteX39" fmla="*/ 88285 w 189792"/>
                  <a:gd name="connsiteY39" fmla="*/ 18227 h 130825"/>
                  <a:gd name="connsiteX40" fmla="*/ 94326 w 189792"/>
                  <a:gd name="connsiteY40" fmla="*/ 11217 h 130825"/>
                  <a:gd name="connsiteX41" fmla="*/ 104528 w 189792"/>
                  <a:gd name="connsiteY41" fmla="*/ 9564 h 130825"/>
                  <a:gd name="connsiteX42" fmla="*/ 105782 w 189792"/>
                  <a:gd name="connsiteY42" fmla="*/ 5802 h 130825"/>
                  <a:gd name="connsiteX43" fmla="*/ 116383 w 189792"/>
                  <a:gd name="connsiteY43" fmla="*/ 673 h 130825"/>
                  <a:gd name="connsiteX44" fmla="*/ 126414 w 189792"/>
                  <a:gd name="connsiteY44" fmla="*/ 103 h 130825"/>
                  <a:gd name="connsiteX45" fmla="*/ 132114 w 189792"/>
                  <a:gd name="connsiteY45" fmla="*/ 901 h 130825"/>
                  <a:gd name="connsiteX46" fmla="*/ 135762 w 189792"/>
                  <a:gd name="connsiteY46" fmla="*/ 14067 h 130825"/>
                  <a:gd name="connsiteX47" fmla="*/ 148186 w 189792"/>
                  <a:gd name="connsiteY47" fmla="*/ 25466 h 130825"/>
                  <a:gd name="connsiteX48" fmla="*/ 151378 w 189792"/>
                  <a:gd name="connsiteY48" fmla="*/ 33559 h 130825"/>
                  <a:gd name="connsiteX49" fmla="*/ 155767 w 189792"/>
                  <a:gd name="connsiteY49" fmla="*/ 41424 h 130825"/>
                  <a:gd name="connsiteX50" fmla="*/ 154285 w 189792"/>
                  <a:gd name="connsiteY50" fmla="*/ 43704 h 130825"/>
                  <a:gd name="connsiteX51" fmla="*/ 157077 w 189792"/>
                  <a:gd name="connsiteY51" fmla="*/ 48264 h 130825"/>
                  <a:gd name="connsiteX52" fmla="*/ 162777 w 189792"/>
                  <a:gd name="connsiteY52" fmla="*/ 50315 h 130825"/>
                  <a:gd name="connsiteX53" fmla="*/ 169787 w 189792"/>
                  <a:gd name="connsiteY53" fmla="*/ 59890 h 130825"/>
                  <a:gd name="connsiteX54" fmla="*/ 183865 w 189792"/>
                  <a:gd name="connsiteY54" fmla="*/ 62797 h 130825"/>
                  <a:gd name="connsiteX55" fmla="*/ 189792 w 189792"/>
                  <a:gd name="connsiteY55" fmla="*/ 69352 h 13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89792" h="130825">
                    <a:moveTo>
                      <a:pt x="189792" y="69352"/>
                    </a:moveTo>
                    <a:cubicBezTo>
                      <a:pt x="189508" y="72355"/>
                      <a:pt x="188595" y="75273"/>
                      <a:pt x="187114" y="77901"/>
                    </a:cubicBezTo>
                    <a:cubicBezTo>
                      <a:pt x="186151" y="79007"/>
                      <a:pt x="184965" y="79901"/>
                      <a:pt x="183637" y="80523"/>
                    </a:cubicBezTo>
                    <a:cubicBezTo>
                      <a:pt x="178565" y="83315"/>
                      <a:pt x="172922" y="85139"/>
                      <a:pt x="167906" y="88103"/>
                    </a:cubicBezTo>
                    <a:cubicBezTo>
                      <a:pt x="163740" y="90365"/>
                      <a:pt x="160406" y="93899"/>
                      <a:pt x="158388" y="98191"/>
                    </a:cubicBezTo>
                    <a:cubicBezTo>
                      <a:pt x="151036" y="95227"/>
                      <a:pt x="143051" y="94207"/>
                      <a:pt x="135191" y="95227"/>
                    </a:cubicBezTo>
                    <a:cubicBezTo>
                      <a:pt x="133687" y="95107"/>
                      <a:pt x="132370" y="96236"/>
                      <a:pt x="132250" y="97741"/>
                    </a:cubicBezTo>
                    <a:cubicBezTo>
                      <a:pt x="132205" y="98339"/>
                      <a:pt x="132353" y="98937"/>
                      <a:pt x="132684" y="99445"/>
                    </a:cubicBezTo>
                    <a:lnTo>
                      <a:pt x="132684" y="99445"/>
                    </a:lnTo>
                    <a:cubicBezTo>
                      <a:pt x="131401" y="98749"/>
                      <a:pt x="130068" y="98162"/>
                      <a:pt x="128694" y="97678"/>
                    </a:cubicBezTo>
                    <a:cubicBezTo>
                      <a:pt x="125673" y="96812"/>
                      <a:pt x="122544" y="96373"/>
                      <a:pt x="119404" y="96367"/>
                    </a:cubicBezTo>
                    <a:lnTo>
                      <a:pt x="91648" y="95227"/>
                    </a:lnTo>
                    <a:cubicBezTo>
                      <a:pt x="86791" y="94332"/>
                      <a:pt x="81787" y="95626"/>
                      <a:pt x="77969" y="98761"/>
                    </a:cubicBezTo>
                    <a:cubicBezTo>
                      <a:pt x="76504" y="100699"/>
                      <a:pt x="75541" y="102973"/>
                      <a:pt x="75176" y="105372"/>
                    </a:cubicBezTo>
                    <a:cubicBezTo>
                      <a:pt x="74133" y="111009"/>
                      <a:pt x="73808" y="116754"/>
                      <a:pt x="74207" y="122471"/>
                    </a:cubicBezTo>
                    <a:cubicBezTo>
                      <a:pt x="66684" y="120938"/>
                      <a:pt x="58932" y="120938"/>
                      <a:pt x="51409" y="122471"/>
                    </a:cubicBezTo>
                    <a:cubicBezTo>
                      <a:pt x="47072" y="124300"/>
                      <a:pt x="42370" y="125081"/>
                      <a:pt x="37673" y="124751"/>
                    </a:cubicBezTo>
                    <a:lnTo>
                      <a:pt x="37161" y="130735"/>
                    </a:lnTo>
                    <a:cubicBezTo>
                      <a:pt x="33114" y="131476"/>
                      <a:pt x="29808" y="127543"/>
                      <a:pt x="27927" y="123839"/>
                    </a:cubicBezTo>
                    <a:cubicBezTo>
                      <a:pt x="26047" y="120134"/>
                      <a:pt x="23995" y="115802"/>
                      <a:pt x="20005" y="114833"/>
                    </a:cubicBezTo>
                    <a:cubicBezTo>
                      <a:pt x="19025" y="114776"/>
                      <a:pt x="18073" y="114503"/>
                      <a:pt x="17213" y="114035"/>
                    </a:cubicBezTo>
                    <a:cubicBezTo>
                      <a:pt x="16534" y="113306"/>
                      <a:pt x="15993" y="112451"/>
                      <a:pt x="15617" y="111528"/>
                    </a:cubicBezTo>
                    <a:cubicBezTo>
                      <a:pt x="14100" y="109419"/>
                      <a:pt x="11490" y="108393"/>
                      <a:pt x="8948" y="108906"/>
                    </a:cubicBezTo>
                    <a:cubicBezTo>
                      <a:pt x="6480" y="109487"/>
                      <a:pt x="4229" y="110752"/>
                      <a:pt x="2451" y="112554"/>
                    </a:cubicBezTo>
                    <a:cubicBezTo>
                      <a:pt x="3015" y="110502"/>
                      <a:pt x="1966" y="108353"/>
                      <a:pt x="0" y="107538"/>
                    </a:cubicBezTo>
                    <a:cubicBezTo>
                      <a:pt x="1191" y="105025"/>
                      <a:pt x="3385" y="103121"/>
                      <a:pt x="6041" y="102295"/>
                    </a:cubicBezTo>
                    <a:cubicBezTo>
                      <a:pt x="7466" y="102129"/>
                      <a:pt x="8857" y="101725"/>
                      <a:pt x="10145" y="101098"/>
                    </a:cubicBezTo>
                    <a:cubicBezTo>
                      <a:pt x="13394" y="98818"/>
                      <a:pt x="11000" y="93460"/>
                      <a:pt x="12596" y="89699"/>
                    </a:cubicBezTo>
                    <a:cubicBezTo>
                      <a:pt x="14192" y="85937"/>
                      <a:pt x="18295" y="85082"/>
                      <a:pt x="18295" y="81776"/>
                    </a:cubicBezTo>
                    <a:cubicBezTo>
                      <a:pt x="18295" y="79839"/>
                      <a:pt x="17440" y="77787"/>
                      <a:pt x="18295" y="76077"/>
                    </a:cubicBezTo>
                    <a:cubicBezTo>
                      <a:pt x="19150" y="74367"/>
                      <a:pt x="22399" y="74025"/>
                      <a:pt x="24736" y="73341"/>
                    </a:cubicBezTo>
                    <a:cubicBezTo>
                      <a:pt x="29352" y="72087"/>
                      <a:pt x="31917" y="67243"/>
                      <a:pt x="33855" y="62854"/>
                    </a:cubicBezTo>
                    <a:cubicBezTo>
                      <a:pt x="35793" y="58466"/>
                      <a:pt x="37161" y="55616"/>
                      <a:pt x="38642" y="51911"/>
                    </a:cubicBezTo>
                    <a:cubicBezTo>
                      <a:pt x="40945" y="46200"/>
                      <a:pt x="42849" y="40330"/>
                      <a:pt x="44342" y="34357"/>
                    </a:cubicBezTo>
                    <a:cubicBezTo>
                      <a:pt x="47499" y="31228"/>
                      <a:pt x="52583" y="31228"/>
                      <a:pt x="55741" y="34357"/>
                    </a:cubicBezTo>
                    <a:cubicBezTo>
                      <a:pt x="56408" y="35257"/>
                      <a:pt x="57148" y="36095"/>
                      <a:pt x="57964" y="36865"/>
                    </a:cubicBezTo>
                    <a:cubicBezTo>
                      <a:pt x="60580" y="38477"/>
                      <a:pt x="63777" y="38831"/>
                      <a:pt x="66684" y="37834"/>
                    </a:cubicBezTo>
                    <a:cubicBezTo>
                      <a:pt x="67151" y="33644"/>
                      <a:pt x="68303" y="29563"/>
                      <a:pt x="70103" y="25751"/>
                    </a:cubicBezTo>
                    <a:cubicBezTo>
                      <a:pt x="71996" y="21898"/>
                      <a:pt x="75706" y="19265"/>
                      <a:pt x="79963" y="18740"/>
                    </a:cubicBezTo>
                    <a:cubicBezTo>
                      <a:pt x="82813" y="18740"/>
                      <a:pt x="85663" y="19709"/>
                      <a:pt x="88285" y="18227"/>
                    </a:cubicBezTo>
                    <a:cubicBezTo>
                      <a:pt x="90907" y="16745"/>
                      <a:pt x="91476" y="12528"/>
                      <a:pt x="94326" y="11217"/>
                    </a:cubicBezTo>
                    <a:cubicBezTo>
                      <a:pt x="97176" y="9906"/>
                      <a:pt x="102419" y="12414"/>
                      <a:pt x="104528" y="9564"/>
                    </a:cubicBezTo>
                    <a:cubicBezTo>
                      <a:pt x="105121" y="8379"/>
                      <a:pt x="105548" y="7108"/>
                      <a:pt x="105782" y="5802"/>
                    </a:cubicBezTo>
                    <a:cubicBezTo>
                      <a:pt x="107150" y="1870"/>
                      <a:pt x="112223" y="958"/>
                      <a:pt x="116383" y="673"/>
                    </a:cubicBezTo>
                    <a:lnTo>
                      <a:pt x="126414" y="103"/>
                    </a:lnTo>
                    <a:cubicBezTo>
                      <a:pt x="128352" y="-171"/>
                      <a:pt x="130324" y="103"/>
                      <a:pt x="132114" y="901"/>
                    </a:cubicBezTo>
                    <a:cubicBezTo>
                      <a:pt x="136217" y="3352"/>
                      <a:pt x="135021" y="9393"/>
                      <a:pt x="135762" y="14067"/>
                    </a:cubicBezTo>
                    <a:cubicBezTo>
                      <a:pt x="136884" y="20222"/>
                      <a:pt x="141957" y="24879"/>
                      <a:pt x="148186" y="25466"/>
                    </a:cubicBezTo>
                    <a:cubicBezTo>
                      <a:pt x="146020" y="27916"/>
                      <a:pt x="148756" y="31621"/>
                      <a:pt x="151378" y="33559"/>
                    </a:cubicBezTo>
                    <a:cubicBezTo>
                      <a:pt x="154000" y="35497"/>
                      <a:pt x="157077" y="38460"/>
                      <a:pt x="155767" y="41424"/>
                    </a:cubicBezTo>
                    <a:cubicBezTo>
                      <a:pt x="155202" y="42136"/>
                      <a:pt x="154706" y="42900"/>
                      <a:pt x="154285" y="43704"/>
                    </a:cubicBezTo>
                    <a:cubicBezTo>
                      <a:pt x="153658" y="45585"/>
                      <a:pt x="155311" y="47466"/>
                      <a:pt x="157077" y="48264"/>
                    </a:cubicBezTo>
                    <a:cubicBezTo>
                      <a:pt x="159021" y="48816"/>
                      <a:pt x="160925" y="49500"/>
                      <a:pt x="162777" y="50315"/>
                    </a:cubicBezTo>
                    <a:cubicBezTo>
                      <a:pt x="166083" y="52538"/>
                      <a:pt x="166596" y="57440"/>
                      <a:pt x="169787" y="59890"/>
                    </a:cubicBezTo>
                    <a:cubicBezTo>
                      <a:pt x="172979" y="62341"/>
                      <a:pt x="179476" y="60688"/>
                      <a:pt x="183865" y="62797"/>
                    </a:cubicBezTo>
                    <a:cubicBezTo>
                      <a:pt x="186527" y="64245"/>
                      <a:pt x="188618" y="66559"/>
                      <a:pt x="189792" y="69352"/>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883" name="Freihandform: Form 677">
                <a:extLst>
                  <a:ext uri="{FF2B5EF4-FFF2-40B4-BE49-F238E27FC236}">
                    <a16:creationId xmlns:a16="http://schemas.microsoft.com/office/drawing/2014/main" id="{69654A46-BD1B-4363-9C28-11F7B7E9E331}"/>
                  </a:ext>
                </a:extLst>
              </p:cNvPr>
              <p:cNvSpPr/>
              <p:nvPr/>
            </p:nvSpPr>
            <p:spPr>
              <a:xfrm>
                <a:off x="3505066" y="3649232"/>
                <a:ext cx="362205" cy="367217"/>
              </a:xfrm>
              <a:custGeom>
                <a:avLst/>
                <a:gdLst>
                  <a:gd name="connsiteX0" fmla="*/ 269642 w 362205"/>
                  <a:gd name="connsiteY0" fmla="*/ 255508 h 367217"/>
                  <a:gd name="connsiteX1" fmla="*/ 267020 w 362205"/>
                  <a:gd name="connsiteY1" fmla="*/ 251974 h 367217"/>
                  <a:gd name="connsiteX2" fmla="*/ 261321 w 362205"/>
                  <a:gd name="connsiteY2" fmla="*/ 251176 h 367217"/>
                  <a:gd name="connsiteX3" fmla="*/ 251290 w 362205"/>
                  <a:gd name="connsiteY3" fmla="*/ 251746 h 367217"/>
                  <a:gd name="connsiteX4" fmla="*/ 240689 w 362205"/>
                  <a:gd name="connsiteY4" fmla="*/ 256875 h 367217"/>
                  <a:gd name="connsiteX5" fmla="*/ 239435 w 362205"/>
                  <a:gd name="connsiteY5" fmla="*/ 260637 h 367217"/>
                  <a:gd name="connsiteX6" fmla="*/ 229233 w 362205"/>
                  <a:gd name="connsiteY6" fmla="*/ 262290 h 367217"/>
                  <a:gd name="connsiteX7" fmla="*/ 223191 w 362205"/>
                  <a:gd name="connsiteY7" fmla="*/ 269300 h 367217"/>
                  <a:gd name="connsiteX8" fmla="*/ 214870 w 362205"/>
                  <a:gd name="connsiteY8" fmla="*/ 269813 h 367217"/>
                  <a:gd name="connsiteX9" fmla="*/ 205010 w 362205"/>
                  <a:gd name="connsiteY9" fmla="*/ 276824 h 367217"/>
                  <a:gd name="connsiteX10" fmla="*/ 201590 w 362205"/>
                  <a:gd name="connsiteY10" fmla="*/ 288906 h 367217"/>
                  <a:gd name="connsiteX11" fmla="*/ 192870 w 362205"/>
                  <a:gd name="connsiteY11" fmla="*/ 287938 h 367217"/>
                  <a:gd name="connsiteX12" fmla="*/ 190647 w 362205"/>
                  <a:gd name="connsiteY12" fmla="*/ 285430 h 367217"/>
                  <a:gd name="connsiteX13" fmla="*/ 179249 w 362205"/>
                  <a:gd name="connsiteY13" fmla="*/ 285430 h 367217"/>
                  <a:gd name="connsiteX14" fmla="*/ 173549 w 362205"/>
                  <a:gd name="connsiteY14" fmla="*/ 302984 h 367217"/>
                  <a:gd name="connsiteX15" fmla="*/ 168761 w 362205"/>
                  <a:gd name="connsiteY15" fmla="*/ 313927 h 367217"/>
                  <a:gd name="connsiteX16" fmla="*/ 159642 w 362205"/>
                  <a:gd name="connsiteY16" fmla="*/ 324414 h 367217"/>
                  <a:gd name="connsiteX17" fmla="*/ 153202 w 362205"/>
                  <a:gd name="connsiteY17" fmla="*/ 327150 h 367217"/>
                  <a:gd name="connsiteX18" fmla="*/ 153202 w 362205"/>
                  <a:gd name="connsiteY18" fmla="*/ 332849 h 367217"/>
                  <a:gd name="connsiteX19" fmla="*/ 147502 w 362205"/>
                  <a:gd name="connsiteY19" fmla="*/ 340772 h 367217"/>
                  <a:gd name="connsiteX20" fmla="*/ 145052 w 362205"/>
                  <a:gd name="connsiteY20" fmla="*/ 352171 h 367217"/>
                  <a:gd name="connsiteX21" fmla="*/ 140948 w 362205"/>
                  <a:gd name="connsiteY21" fmla="*/ 353367 h 367217"/>
                  <a:gd name="connsiteX22" fmla="*/ 134906 w 362205"/>
                  <a:gd name="connsiteY22" fmla="*/ 358611 h 367217"/>
                  <a:gd name="connsiteX23" fmla="*/ 134564 w 362205"/>
                  <a:gd name="connsiteY23" fmla="*/ 358611 h 367217"/>
                  <a:gd name="connsiteX24" fmla="*/ 128067 w 362205"/>
                  <a:gd name="connsiteY24" fmla="*/ 358611 h 367217"/>
                  <a:gd name="connsiteX25" fmla="*/ 114446 w 362205"/>
                  <a:gd name="connsiteY25" fmla="*/ 367217 h 367217"/>
                  <a:gd name="connsiteX26" fmla="*/ 105440 w 362205"/>
                  <a:gd name="connsiteY26" fmla="*/ 361062 h 367217"/>
                  <a:gd name="connsiteX27" fmla="*/ 95181 w 362205"/>
                  <a:gd name="connsiteY27" fmla="*/ 360150 h 367217"/>
                  <a:gd name="connsiteX28" fmla="*/ 94554 w 362205"/>
                  <a:gd name="connsiteY28" fmla="*/ 360834 h 367217"/>
                  <a:gd name="connsiteX29" fmla="*/ 91591 w 362205"/>
                  <a:gd name="connsiteY29" fmla="*/ 355533 h 367217"/>
                  <a:gd name="connsiteX30" fmla="*/ 82243 w 362205"/>
                  <a:gd name="connsiteY30" fmla="*/ 343393 h 367217"/>
                  <a:gd name="connsiteX31" fmla="*/ 81787 w 362205"/>
                  <a:gd name="connsiteY31" fmla="*/ 333590 h 367217"/>
                  <a:gd name="connsiteX32" fmla="*/ 76088 w 362205"/>
                  <a:gd name="connsiteY32" fmla="*/ 328290 h 367217"/>
                  <a:gd name="connsiteX33" fmla="*/ 71699 w 362205"/>
                  <a:gd name="connsiteY33" fmla="*/ 318430 h 367217"/>
                  <a:gd name="connsiteX34" fmla="*/ 64746 w 362205"/>
                  <a:gd name="connsiteY34" fmla="*/ 310678 h 367217"/>
                  <a:gd name="connsiteX35" fmla="*/ 51181 w 362205"/>
                  <a:gd name="connsiteY35" fmla="*/ 317062 h 367217"/>
                  <a:gd name="connsiteX36" fmla="*/ 43430 w 362205"/>
                  <a:gd name="connsiteY36" fmla="*/ 318430 h 367217"/>
                  <a:gd name="connsiteX37" fmla="*/ 19720 w 362205"/>
                  <a:gd name="connsiteY37" fmla="*/ 317860 h 367217"/>
                  <a:gd name="connsiteX38" fmla="*/ 19720 w 362205"/>
                  <a:gd name="connsiteY38" fmla="*/ 315979 h 367217"/>
                  <a:gd name="connsiteX39" fmla="*/ 19720 w 362205"/>
                  <a:gd name="connsiteY39" fmla="*/ 302129 h 367217"/>
                  <a:gd name="connsiteX40" fmla="*/ 15788 w 362205"/>
                  <a:gd name="connsiteY40" fmla="*/ 290730 h 367217"/>
                  <a:gd name="connsiteX41" fmla="*/ 10487 w 362205"/>
                  <a:gd name="connsiteY41" fmla="*/ 287994 h 367217"/>
                  <a:gd name="connsiteX42" fmla="*/ 6725 w 362205"/>
                  <a:gd name="connsiteY42" fmla="*/ 278932 h 367217"/>
                  <a:gd name="connsiteX43" fmla="*/ 2394 w 362205"/>
                  <a:gd name="connsiteY43" fmla="*/ 274031 h 367217"/>
                  <a:gd name="connsiteX44" fmla="*/ 0 w 362205"/>
                  <a:gd name="connsiteY44" fmla="*/ 259326 h 367217"/>
                  <a:gd name="connsiteX45" fmla="*/ 4047 w 362205"/>
                  <a:gd name="connsiteY45" fmla="*/ 253171 h 367217"/>
                  <a:gd name="connsiteX46" fmla="*/ 5814 w 362205"/>
                  <a:gd name="connsiteY46" fmla="*/ 251005 h 367217"/>
                  <a:gd name="connsiteX47" fmla="*/ 19606 w 362205"/>
                  <a:gd name="connsiteY47" fmla="*/ 248554 h 367217"/>
                  <a:gd name="connsiteX48" fmla="*/ 22114 w 362205"/>
                  <a:gd name="connsiteY48" fmla="*/ 243254 h 367217"/>
                  <a:gd name="connsiteX49" fmla="*/ 35565 w 362205"/>
                  <a:gd name="connsiteY49" fmla="*/ 243254 h 367217"/>
                  <a:gd name="connsiteX50" fmla="*/ 37104 w 362205"/>
                  <a:gd name="connsiteY50" fmla="*/ 241145 h 367217"/>
                  <a:gd name="connsiteX51" fmla="*/ 46052 w 362205"/>
                  <a:gd name="connsiteY51" fmla="*/ 235445 h 367217"/>
                  <a:gd name="connsiteX52" fmla="*/ 134906 w 362205"/>
                  <a:gd name="connsiteY52" fmla="*/ 235844 h 367217"/>
                  <a:gd name="connsiteX53" fmla="*/ 144539 w 362205"/>
                  <a:gd name="connsiteY53" fmla="*/ 236585 h 367217"/>
                  <a:gd name="connsiteX54" fmla="*/ 145736 w 362205"/>
                  <a:gd name="connsiteY54" fmla="*/ 228036 h 367217"/>
                  <a:gd name="connsiteX55" fmla="*/ 153088 w 362205"/>
                  <a:gd name="connsiteY55" fmla="*/ 225642 h 367217"/>
                  <a:gd name="connsiteX56" fmla="*/ 143456 w 362205"/>
                  <a:gd name="connsiteY56" fmla="*/ 211508 h 367217"/>
                  <a:gd name="connsiteX57" fmla="*/ 138839 w 362205"/>
                  <a:gd name="connsiteY57" fmla="*/ 177311 h 367217"/>
                  <a:gd name="connsiteX58" fmla="*/ 132171 w 362205"/>
                  <a:gd name="connsiteY58" fmla="*/ 92674 h 367217"/>
                  <a:gd name="connsiteX59" fmla="*/ 120031 w 362205"/>
                  <a:gd name="connsiteY59" fmla="*/ 4731 h 367217"/>
                  <a:gd name="connsiteX60" fmla="*/ 139409 w 362205"/>
                  <a:gd name="connsiteY60" fmla="*/ 912 h 367217"/>
                  <a:gd name="connsiteX61" fmla="*/ 147445 w 362205"/>
                  <a:gd name="connsiteY61" fmla="*/ 0 h 367217"/>
                  <a:gd name="connsiteX62" fmla="*/ 166083 w 362205"/>
                  <a:gd name="connsiteY62" fmla="*/ 8378 h 367217"/>
                  <a:gd name="connsiteX63" fmla="*/ 206720 w 362205"/>
                  <a:gd name="connsiteY63" fmla="*/ 36876 h 367217"/>
                  <a:gd name="connsiteX64" fmla="*/ 217492 w 362205"/>
                  <a:gd name="connsiteY64" fmla="*/ 44000 h 367217"/>
                  <a:gd name="connsiteX65" fmla="*/ 225813 w 362205"/>
                  <a:gd name="connsiteY65" fmla="*/ 48617 h 367217"/>
                  <a:gd name="connsiteX66" fmla="*/ 237212 w 362205"/>
                  <a:gd name="connsiteY66" fmla="*/ 57280 h 367217"/>
                  <a:gd name="connsiteX67" fmla="*/ 266223 w 362205"/>
                  <a:gd name="connsiteY67" fmla="*/ 81674 h 367217"/>
                  <a:gd name="connsiteX68" fmla="*/ 291813 w 362205"/>
                  <a:gd name="connsiteY68" fmla="*/ 103161 h 367217"/>
                  <a:gd name="connsiteX69" fmla="*/ 300248 w 362205"/>
                  <a:gd name="connsiteY69" fmla="*/ 110228 h 367217"/>
                  <a:gd name="connsiteX70" fmla="*/ 319512 w 362205"/>
                  <a:gd name="connsiteY70" fmla="*/ 128067 h 367217"/>
                  <a:gd name="connsiteX71" fmla="*/ 326181 w 362205"/>
                  <a:gd name="connsiteY71" fmla="*/ 129606 h 367217"/>
                  <a:gd name="connsiteX72" fmla="*/ 339289 w 362205"/>
                  <a:gd name="connsiteY72" fmla="*/ 147446 h 367217"/>
                  <a:gd name="connsiteX73" fmla="*/ 343906 w 362205"/>
                  <a:gd name="connsiteY73" fmla="*/ 149098 h 367217"/>
                  <a:gd name="connsiteX74" fmla="*/ 345388 w 362205"/>
                  <a:gd name="connsiteY74" fmla="*/ 154000 h 367217"/>
                  <a:gd name="connsiteX75" fmla="*/ 353140 w 362205"/>
                  <a:gd name="connsiteY75" fmla="*/ 154912 h 367217"/>
                  <a:gd name="connsiteX76" fmla="*/ 362201 w 362205"/>
                  <a:gd name="connsiteY76" fmla="*/ 171497 h 367217"/>
                  <a:gd name="connsiteX77" fmla="*/ 361518 w 362205"/>
                  <a:gd name="connsiteY77" fmla="*/ 213844 h 367217"/>
                  <a:gd name="connsiteX78" fmla="*/ 352683 w 362205"/>
                  <a:gd name="connsiteY78" fmla="*/ 218689 h 367217"/>
                  <a:gd name="connsiteX79" fmla="*/ 348637 w 362205"/>
                  <a:gd name="connsiteY79" fmla="*/ 228720 h 367217"/>
                  <a:gd name="connsiteX80" fmla="*/ 324699 w 362205"/>
                  <a:gd name="connsiteY80" fmla="*/ 242342 h 367217"/>
                  <a:gd name="connsiteX81" fmla="*/ 289134 w 362205"/>
                  <a:gd name="connsiteY81" fmla="*/ 247528 h 367217"/>
                  <a:gd name="connsiteX82" fmla="*/ 277165 w 362205"/>
                  <a:gd name="connsiteY82" fmla="*/ 249808 h 367217"/>
                  <a:gd name="connsiteX83" fmla="*/ 269642 w 362205"/>
                  <a:gd name="connsiteY83" fmla="*/ 255508 h 3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205" h="367217">
                    <a:moveTo>
                      <a:pt x="269642" y="255508"/>
                    </a:moveTo>
                    <a:cubicBezTo>
                      <a:pt x="269226" y="254048"/>
                      <a:pt x="268297" y="252795"/>
                      <a:pt x="267020" y="251974"/>
                    </a:cubicBezTo>
                    <a:cubicBezTo>
                      <a:pt x="265231" y="251176"/>
                      <a:pt x="263259" y="250902"/>
                      <a:pt x="261321" y="251176"/>
                    </a:cubicBezTo>
                    <a:lnTo>
                      <a:pt x="251290" y="251746"/>
                    </a:lnTo>
                    <a:cubicBezTo>
                      <a:pt x="247129" y="252031"/>
                      <a:pt x="242056" y="252943"/>
                      <a:pt x="240689" y="256875"/>
                    </a:cubicBezTo>
                    <a:cubicBezTo>
                      <a:pt x="240455" y="258181"/>
                      <a:pt x="240028" y="259451"/>
                      <a:pt x="239435" y="260637"/>
                    </a:cubicBezTo>
                    <a:cubicBezTo>
                      <a:pt x="237326" y="263487"/>
                      <a:pt x="232481" y="260637"/>
                      <a:pt x="229233" y="262290"/>
                    </a:cubicBezTo>
                    <a:cubicBezTo>
                      <a:pt x="225984" y="263943"/>
                      <a:pt x="225870" y="267704"/>
                      <a:pt x="223191" y="269300"/>
                    </a:cubicBezTo>
                    <a:cubicBezTo>
                      <a:pt x="220513" y="270896"/>
                      <a:pt x="217492" y="269699"/>
                      <a:pt x="214870" y="269813"/>
                    </a:cubicBezTo>
                    <a:cubicBezTo>
                      <a:pt x="210613" y="270338"/>
                      <a:pt x="206902" y="272971"/>
                      <a:pt x="205010" y="276824"/>
                    </a:cubicBezTo>
                    <a:cubicBezTo>
                      <a:pt x="203209" y="280637"/>
                      <a:pt x="202058" y="284717"/>
                      <a:pt x="201590" y="288906"/>
                    </a:cubicBezTo>
                    <a:cubicBezTo>
                      <a:pt x="198684" y="289904"/>
                      <a:pt x="195486" y="289550"/>
                      <a:pt x="192870" y="287938"/>
                    </a:cubicBezTo>
                    <a:cubicBezTo>
                      <a:pt x="192055" y="287168"/>
                      <a:pt x="191314" y="286330"/>
                      <a:pt x="190647" y="285430"/>
                    </a:cubicBezTo>
                    <a:cubicBezTo>
                      <a:pt x="187490" y="282301"/>
                      <a:pt x="182406" y="282301"/>
                      <a:pt x="179249" y="285430"/>
                    </a:cubicBezTo>
                    <a:cubicBezTo>
                      <a:pt x="177755" y="291403"/>
                      <a:pt x="175852" y="297268"/>
                      <a:pt x="173549" y="302984"/>
                    </a:cubicBezTo>
                    <a:cubicBezTo>
                      <a:pt x="172067" y="306689"/>
                      <a:pt x="170414" y="310279"/>
                      <a:pt x="168761" y="313927"/>
                    </a:cubicBezTo>
                    <a:cubicBezTo>
                      <a:pt x="167109" y="317575"/>
                      <a:pt x="164259" y="323160"/>
                      <a:pt x="159642" y="324414"/>
                    </a:cubicBezTo>
                    <a:cubicBezTo>
                      <a:pt x="157305" y="325098"/>
                      <a:pt x="154285" y="324984"/>
                      <a:pt x="153202" y="327150"/>
                    </a:cubicBezTo>
                    <a:cubicBezTo>
                      <a:pt x="152119" y="329316"/>
                      <a:pt x="153202" y="330969"/>
                      <a:pt x="153202" y="332849"/>
                    </a:cubicBezTo>
                    <a:cubicBezTo>
                      <a:pt x="152746" y="336155"/>
                      <a:pt x="148585" y="337694"/>
                      <a:pt x="147502" y="340772"/>
                    </a:cubicBezTo>
                    <a:cubicBezTo>
                      <a:pt x="146419" y="343849"/>
                      <a:pt x="148300" y="349777"/>
                      <a:pt x="145052" y="352171"/>
                    </a:cubicBezTo>
                    <a:cubicBezTo>
                      <a:pt x="143764" y="352798"/>
                      <a:pt x="142373" y="353202"/>
                      <a:pt x="140948" y="353367"/>
                    </a:cubicBezTo>
                    <a:cubicBezTo>
                      <a:pt x="138292" y="354194"/>
                      <a:pt x="136103" y="356097"/>
                      <a:pt x="134906" y="358611"/>
                    </a:cubicBezTo>
                    <a:lnTo>
                      <a:pt x="134564" y="358611"/>
                    </a:lnTo>
                    <a:cubicBezTo>
                      <a:pt x="132439" y="358041"/>
                      <a:pt x="130193" y="358041"/>
                      <a:pt x="128067" y="358611"/>
                    </a:cubicBezTo>
                    <a:cubicBezTo>
                      <a:pt x="122368" y="359523"/>
                      <a:pt x="115471" y="361575"/>
                      <a:pt x="114446" y="367217"/>
                    </a:cubicBezTo>
                    <a:cubicBezTo>
                      <a:pt x="111282" y="365416"/>
                      <a:pt x="108267" y="363359"/>
                      <a:pt x="105440" y="361062"/>
                    </a:cubicBezTo>
                    <a:cubicBezTo>
                      <a:pt x="102493" y="358776"/>
                      <a:pt x="98487" y="358417"/>
                      <a:pt x="95181" y="360150"/>
                    </a:cubicBezTo>
                    <a:cubicBezTo>
                      <a:pt x="94959" y="360366"/>
                      <a:pt x="94748" y="360594"/>
                      <a:pt x="94554" y="360834"/>
                    </a:cubicBezTo>
                    <a:cubicBezTo>
                      <a:pt x="93808" y="358941"/>
                      <a:pt x="92810" y="357158"/>
                      <a:pt x="91591" y="355533"/>
                    </a:cubicBezTo>
                    <a:cubicBezTo>
                      <a:pt x="88342" y="351487"/>
                      <a:pt x="83041" y="348523"/>
                      <a:pt x="82243" y="343393"/>
                    </a:cubicBezTo>
                    <a:cubicBezTo>
                      <a:pt x="81731" y="340145"/>
                      <a:pt x="83269" y="336554"/>
                      <a:pt x="81787" y="333590"/>
                    </a:cubicBezTo>
                    <a:cubicBezTo>
                      <a:pt x="80306" y="330627"/>
                      <a:pt x="78026" y="330171"/>
                      <a:pt x="76088" y="328290"/>
                    </a:cubicBezTo>
                    <a:cubicBezTo>
                      <a:pt x="73916" y="325366"/>
                      <a:pt x="72417" y="322003"/>
                      <a:pt x="71699" y="318430"/>
                    </a:cubicBezTo>
                    <a:cubicBezTo>
                      <a:pt x="70867" y="314822"/>
                      <a:pt x="68240" y="311898"/>
                      <a:pt x="64746" y="310678"/>
                    </a:cubicBezTo>
                    <a:cubicBezTo>
                      <a:pt x="59673" y="309766"/>
                      <a:pt x="55855" y="315010"/>
                      <a:pt x="51181" y="317062"/>
                    </a:cubicBezTo>
                    <a:cubicBezTo>
                      <a:pt x="48708" y="317997"/>
                      <a:pt x="46074" y="318464"/>
                      <a:pt x="43430" y="318430"/>
                    </a:cubicBezTo>
                    <a:cubicBezTo>
                      <a:pt x="35531" y="319211"/>
                      <a:pt x="27568" y="319022"/>
                      <a:pt x="19720" y="317860"/>
                    </a:cubicBezTo>
                    <a:lnTo>
                      <a:pt x="19720" y="315979"/>
                    </a:lnTo>
                    <a:cubicBezTo>
                      <a:pt x="19720" y="311362"/>
                      <a:pt x="19720" y="306746"/>
                      <a:pt x="19720" y="302129"/>
                    </a:cubicBezTo>
                    <a:cubicBezTo>
                      <a:pt x="20319" y="297917"/>
                      <a:pt x="18854" y="293677"/>
                      <a:pt x="15788" y="290730"/>
                    </a:cubicBezTo>
                    <a:cubicBezTo>
                      <a:pt x="13958" y="289944"/>
                      <a:pt x="12185" y="289032"/>
                      <a:pt x="10487" y="287994"/>
                    </a:cubicBezTo>
                    <a:cubicBezTo>
                      <a:pt x="8036" y="285772"/>
                      <a:pt x="8435" y="281782"/>
                      <a:pt x="6725" y="278932"/>
                    </a:cubicBezTo>
                    <a:cubicBezTo>
                      <a:pt x="5585" y="277052"/>
                      <a:pt x="3591" y="275855"/>
                      <a:pt x="2394" y="274031"/>
                    </a:cubicBezTo>
                    <a:cubicBezTo>
                      <a:pt x="-456" y="269927"/>
                      <a:pt x="1311" y="264057"/>
                      <a:pt x="0" y="259326"/>
                    </a:cubicBezTo>
                    <a:lnTo>
                      <a:pt x="4047" y="253171"/>
                    </a:lnTo>
                    <a:cubicBezTo>
                      <a:pt x="4520" y="252361"/>
                      <a:pt x="5118" y="251632"/>
                      <a:pt x="5814" y="251005"/>
                    </a:cubicBezTo>
                    <a:cubicBezTo>
                      <a:pt x="9632" y="248041"/>
                      <a:pt x="16585" y="252373"/>
                      <a:pt x="19606" y="248554"/>
                    </a:cubicBezTo>
                    <a:cubicBezTo>
                      <a:pt x="20803" y="247015"/>
                      <a:pt x="20689" y="244622"/>
                      <a:pt x="22114" y="243254"/>
                    </a:cubicBezTo>
                    <a:cubicBezTo>
                      <a:pt x="25476" y="239948"/>
                      <a:pt x="32031" y="246217"/>
                      <a:pt x="35565" y="243254"/>
                    </a:cubicBezTo>
                    <a:cubicBezTo>
                      <a:pt x="36192" y="242638"/>
                      <a:pt x="36710" y="241926"/>
                      <a:pt x="37104" y="241145"/>
                    </a:cubicBezTo>
                    <a:cubicBezTo>
                      <a:pt x="39053" y="237976"/>
                      <a:pt x="42353" y="235873"/>
                      <a:pt x="46052" y="235445"/>
                    </a:cubicBezTo>
                    <a:lnTo>
                      <a:pt x="134906" y="235844"/>
                    </a:lnTo>
                    <a:cubicBezTo>
                      <a:pt x="138036" y="236745"/>
                      <a:pt x="141313" y="236996"/>
                      <a:pt x="144539" y="236585"/>
                    </a:cubicBezTo>
                    <a:cubicBezTo>
                      <a:pt x="144145" y="233678"/>
                      <a:pt x="144562" y="230721"/>
                      <a:pt x="145736" y="228036"/>
                    </a:cubicBezTo>
                    <a:cubicBezTo>
                      <a:pt x="147189" y="225443"/>
                      <a:pt x="150386" y="224400"/>
                      <a:pt x="153088" y="225642"/>
                    </a:cubicBezTo>
                    <a:cubicBezTo>
                      <a:pt x="150352" y="220621"/>
                      <a:pt x="147126" y="215885"/>
                      <a:pt x="143456" y="211508"/>
                    </a:cubicBezTo>
                    <a:cubicBezTo>
                      <a:pt x="137300" y="201534"/>
                      <a:pt x="138383" y="188710"/>
                      <a:pt x="138839" y="177311"/>
                    </a:cubicBezTo>
                    <a:cubicBezTo>
                      <a:pt x="139124" y="148956"/>
                      <a:pt x="136890" y="120635"/>
                      <a:pt x="132171" y="92674"/>
                    </a:cubicBezTo>
                    <a:lnTo>
                      <a:pt x="120031" y="4731"/>
                    </a:lnTo>
                    <a:lnTo>
                      <a:pt x="139409" y="912"/>
                    </a:lnTo>
                    <a:cubicBezTo>
                      <a:pt x="142042" y="302"/>
                      <a:pt x="144738" y="-5"/>
                      <a:pt x="147445" y="0"/>
                    </a:cubicBezTo>
                    <a:cubicBezTo>
                      <a:pt x="154336" y="935"/>
                      <a:pt x="160811" y="3847"/>
                      <a:pt x="166083" y="8378"/>
                    </a:cubicBezTo>
                    <a:lnTo>
                      <a:pt x="206720" y="36876"/>
                    </a:lnTo>
                    <a:cubicBezTo>
                      <a:pt x="210254" y="39383"/>
                      <a:pt x="213730" y="41834"/>
                      <a:pt x="217492" y="44000"/>
                    </a:cubicBezTo>
                    <a:cubicBezTo>
                      <a:pt x="220228" y="45596"/>
                      <a:pt x="223191" y="46964"/>
                      <a:pt x="225813" y="48617"/>
                    </a:cubicBezTo>
                    <a:cubicBezTo>
                      <a:pt x="229820" y="51221"/>
                      <a:pt x="233627" y="54117"/>
                      <a:pt x="237212" y="57280"/>
                    </a:cubicBezTo>
                    <a:lnTo>
                      <a:pt x="266223" y="81674"/>
                    </a:lnTo>
                    <a:lnTo>
                      <a:pt x="291813" y="103161"/>
                    </a:lnTo>
                    <a:lnTo>
                      <a:pt x="300248" y="110228"/>
                    </a:lnTo>
                    <a:cubicBezTo>
                      <a:pt x="302659" y="119410"/>
                      <a:pt x="310171" y="126363"/>
                      <a:pt x="319512" y="128067"/>
                    </a:cubicBezTo>
                    <a:cubicBezTo>
                      <a:pt x="321804" y="128233"/>
                      <a:pt x="324049" y="128751"/>
                      <a:pt x="326181" y="129606"/>
                    </a:cubicBezTo>
                    <a:cubicBezTo>
                      <a:pt x="332906" y="133197"/>
                      <a:pt x="331880" y="145451"/>
                      <a:pt x="339289" y="147446"/>
                    </a:cubicBezTo>
                    <a:cubicBezTo>
                      <a:pt x="340886" y="147844"/>
                      <a:pt x="342823" y="147788"/>
                      <a:pt x="343906" y="149098"/>
                    </a:cubicBezTo>
                    <a:cubicBezTo>
                      <a:pt x="344989" y="150409"/>
                      <a:pt x="344362" y="152575"/>
                      <a:pt x="345388" y="154000"/>
                    </a:cubicBezTo>
                    <a:cubicBezTo>
                      <a:pt x="346927" y="156280"/>
                      <a:pt x="350404" y="154855"/>
                      <a:pt x="353140" y="154912"/>
                    </a:cubicBezTo>
                    <a:cubicBezTo>
                      <a:pt x="360207" y="154912"/>
                      <a:pt x="362316" y="164430"/>
                      <a:pt x="362201" y="171497"/>
                    </a:cubicBezTo>
                    <a:lnTo>
                      <a:pt x="361518" y="213844"/>
                    </a:lnTo>
                    <a:cubicBezTo>
                      <a:pt x="357819" y="213291"/>
                      <a:pt x="354205" y="215275"/>
                      <a:pt x="352683" y="218689"/>
                    </a:cubicBezTo>
                    <a:cubicBezTo>
                      <a:pt x="350917" y="221824"/>
                      <a:pt x="350290" y="225528"/>
                      <a:pt x="348637" y="228720"/>
                    </a:cubicBezTo>
                    <a:cubicBezTo>
                      <a:pt x="344191" y="237155"/>
                      <a:pt x="333989" y="240404"/>
                      <a:pt x="324699" y="242342"/>
                    </a:cubicBezTo>
                    <a:cubicBezTo>
                      <a:pt x="312969" y="244832"/>
                      <a:pt x="301086" y="246565"/>
                      <a:pt x="289134" y="247528"/>
                    </a:cubicBezTo>
                    <a:cubicBezTo>
                      <a:pt x="285042" y="247585"/>
                      <a:pt x="280990" y="248355"/>
                      <a:pt x="277165" y="249808"/>
                    </a:cubicBezTo>
                    <a:cubicBezTo>
                      <a:pt x="274190" y="250999"/>
                      <a:pt x="271591" y="252965"/>
                      <a:pt x="269642" y="25550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4" name="Freihandform: Form 678">
                <a:extLst>
                  <a:ext uri="{FF2B5EF4-FFF2-40B4-BE49-F238E27FC236}">
                    <a16:creationId xmlns:a16="http://schemas.microsoft.com/office/drawing/2014/main" id="{7C7DF013-EE91-B109-0FCE-A9CF4F6ACD0B}"/>
                  </a:ext>
                </a:extLst>
              </p:cNvPr>
              <p:cNvSpPr/>
              <p:nvPr/>
            </p:nvSpPr>
            <p:spPr>
              <a:xfrm>
                <a:off x="3390137" y="3591287"/>
                <a:ext cx="267560" cy="316985"/>
              </a:xfrm>
              <a:custGeom>
                <a:avLst/>
                <a:gdLst>
                  <a:gd name="connsiteX0" fmla="*/ 256161 w 267560"/>
                  <a:gd name="connsiteY0" fmla="*/ 58172 h 316985"/>
                  <a:gd name="connsiteX1" fmla="*/ 253882 w 267560"/>
                  <a:gd name="connsiteY1" fmla="*/ 58571 h 316985"/>
                  <a:gd name="connsiteX2" fmla="*/ 234503 w 267560"/>
                  <a:gd name="connsiteY2" fmla="*/ 62390 h 316985"/>
                  <a:gd name="connsiteX3" fmla="*/ 246643 w 267560"/>
                  <a:gd name="connsiteY3" fmla="*/ 150333 h 316985"/>
                  <a:gd name="connsiteX4" fmla="*/ 253312 w 267560"/>
                  <a:gd name="connsiteY4" fmla="*/ 234970 h 316985"/>
                  <a:gd name="connsiteX5" fmla="*/ 257928 w 267560"/>
                  <a:gd name="connsiteY5" fmla="*/ 269167 h 316985"/>
                  <a:gd name="connsiteX6" fmla="*/ 267560 w 267560"/>
                  <a:gd name="connsiteY6" fmla="*/ 283302 h 316985"/>
                  <a:gd name="connsiteX7" fmla="*/ 260208 w 267560"/>
                  <a:gd name="connsiteY7" fmla="*/ 285695 h 316985"/>
                  <a:gd name="connsiteX8" fmla="*/ 259011 w 267560"/>
                  <a:gd name="connsiteY8" fmla="*/ 294245 h 316985"/>
                  <a:gd name="connsiteX9" fmla="*/ 249379 w 267560"/>
                  <a:gd name="connsiteY9" fmla="*/ 293504 h 316985"/>
                  <a:gd name="connsiteX10" fmla="*/ 160524 w 267560"/>
                  <a:gd name="connsiteY10" fmla="*/ 293105 h 316985"/>
                  <a:gd name="connsiteX11" fmla="*/ 151576 w 267560"/>
                  <a:gd name="connsiteY11" fmla="*/ 298804 h 316985"/>
                  <a:gd name="connsiteX12" fmla="*/ 150037 w 267560"/>
                  <a:gd name="connsiteY12" fmla="*/ 300913 h 316985"/>
                  <a:gd name="connsiteX13" fmla="*/ 136586 w 267560"/>
                  <a:gd name="connsiteY13" fmla="*/ 300913 h 316985"/>
                  <a:gd name="connsiteX14" fmla="*/ 134079 w 267560"/>
                  <a:gd name="connsiteY14" fmla="*/ 306213 h 316985"/>
                  <a:gd name="connsiteX15" fmla="*/ 120286 w 267560"/>
                  <a:gd name="connsiteY15" fmla="*/ 308664 h 316985"/>
                  <a:gd name="connsiteX16" fmla="*/ 118519 w 267560"/>
                  <a:gd name="connsiteY16" fmla="*/ 310830 h 316985"/>
                  <a:gd name="connsiteX17" fmla="*/ 114472 w 267560"/>
                  <a:gd name="connsiteY17" fmla="*/ 316985 h 316985"/>
                  <a:gd name="connsiteX18" fmla="*/ 113389 w 267560"/>
                  <a:gd name="connsiteY18" fmla="*/ 314478 h 316985"/>
                  <a:gd name="connsiteX19" fmla="*/ 109913 w 267560"/>
                  <a:gd name="connsiteY19" fmla="*/ 311001 h 316985"/>
                  <a:gd name="connsiteX20" fmla="*/ 99027 w 267560"/>
                  <a:gd name="connsiteY20" fmla="*/ 302338 h 316985"/>
                  <a:gd name="connsiteX21" fmla="*/ 92814 w 267560"/>
                  <a:gd name="connsiteY21" fmla="*/ 294643 h 316985"/>
                  <a:gd name="connsiteX22" fmla="*/ 91732 w 267560"/>
                  <a:gd name="connsiteY22" fmla="*/ 289400 h 316985"/>
                  <a:gd name="connsiteX23" fmla="*/ 81416 w 267560"/>
                  <a:gd name="connsiteY23" fmla="*/ 284043 h 316985"/>
                  <a:gd name="connsiteX24" fmla="*/ 75317 w 267560"/>
                  <a:gd name="connsiteY24" fmla="*/ 277089 h 316985"/>
                  <a:gd name="connsiteX25" fmla="*/ 59302 w 267560"/>
                  <a:gd name="connsiteY25" fmla="*/ 272302 h 316985"/>
                  <a:gd name="connsiteX26" fmla="*/ 26415 w 267560"/>
                  <a:gd name="connsiteY26" fmla="*/ 272302 h 316985"/>
                  <a:gd name="connsiteX27" fmla="*/ 21628 w 267560"/>
                  <a:gd name="connsiteY27" fmla="*/ 272872 h 316985"/>
                  <a:gd name="connsiteX28" fmla="*/ 17980 w 267560"/>
                  <a:gd name="connsiteY28" fmla="*/ 262783 h 316985"/>
                  <a:gd name="connsiteX29" fmla="*/ 23224 w 267560"/>
                  <a:gd name="connsiteY29" fmla="*/ 253379 h 316985"/>
                  <a:gd name="connsiteX30" fmla="*/ 27840 w 267560"/>
                  <a:gd name="connsiteY30" fmla="*/ 218214 h 316985"/>
                  <a:gd name="connsiteX31" fmla="*/ 23623 w 267560"/>
                  <a:gd name="connsiteY31" fmla="*/ 208695 h 316985"/>
                  <a:gd name="connsiteX32" fmla="*/ 22654 w 267560"/>
                  <a:gd name="connsiteY32" fmla="*/ 188234 h 316985"/>
                  <a:gd name="connsiteX33" fmla="*/ 426 w 267560"/>
                  <a:gd name="connsiteY33" fmla="*/ 163784 h 316985"/>
                  <a:gd name="connsiteX34" fmla="*/ 1680 w 267560"/>
                  <a:gd name="connsiteY34" fmla="*/ 151644 h 316985"/>
                  <a:gd name="connsiteX35" fmla="*/ 88483 w 267560"/>
                  <a:gd name="connsiteY35" fmla="*/ 148338 h 316985"/>
                  <a:gd name="connsiteX36" fmla="*/ 104840 w 267560"/>
                  <a:gd name="connsiteY36" fmla="*/ 104566 h 316985"/>
                  <a:gd name="connsiteX37" fmla="*/ 111566 w 267560"/>
                  <a:gd name="connsiteY37" fmla="*/ 98867 h 316985"/>
                  <a:gd name="connsiteX38" fmla="*/ 113219 w 267560"/>
                  <a:gd name="connsiteY38" fmla="*/ 90089 h 316985"/>
                  <a:gd name="connsiteX39" fmla="*/ 113618 w 267560"/>
                  <a:gd name="connsiteY39" fmla="*/ 34975 h 316985"/>
                  <a:gd name="connsiteX40" fmla="*/ 185488 w 267560"/>
                  <a:gd name="connsiteY40" fmla="*/ 36400 h 316985"/>
                  <a:gd name="connsiteX41" fmla="*/ 187369 w 267560"/>
                  <a:gd name="connsiteY41" fmla="*/ 323 h 316985"/>
                  <a:gd name="connsiteX42" fmla="*/ 194322 w 267560"/>
                  <a:gd name="connsiteY42" fmla="*/ 3970 h 316985"/>
                  <a:gd name="connsiteX43" fmla="*/ 198768 w 267560"/>
                  <a:gd name="connsiteY43" fmla="*/ 11323 h 316985"/>
                  <a:gd name="connsiteX44" fmla="*/ 216550 w 267560"/>
                  <a:gd name="connsiteY44" fmla="*/ 13260 h 316985"/>
                  <a:gd name="connsiteX45" fmla="*/ 227322 w 267560"/>
                  <a:gd name="connsiteY45" fmla="*/ 29504 h 316985"/>
                  <a:gd name="connsiteX46" fmla="*/ 240089 w 267560"/>
                  <a:gd name="connsiteY46" fmla="*/ 34577 h 316985"/>
                  <a:gd name="connsiteX47" fmla="*/ 256161 w 267560"/>
                  <a:gd name="connsiteY47" fmla="*/ 58172 h 31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7560" h="316985">
                    <a:moveTo>
                      <a:pt x="256161" y="58172"/>
                    </a:moveTo>
                    <a:lnTo>
                      <a:pt x="253882" y="58571"/>
                    </a:lnTo>
                    <a:lnTo>
                      <a:pt x="234503" y="62390"/>
                    </a:lnTo>
                    <a:lnTo>
                      <a:pt x="246643" y="150333"/>
                    </a:lnTo>
                    <a:cubicBezTo>
                      <a:pt x="251362" y="178294"/>
                      <a:pt x="253597" y="206615"/>
                      <a:pt x="253312" y="234970"/>
                    </a:cubicBezTo>
                    <a:cubicBezTo>
                      <a:pt x="252856" y="246654"/>
                      <a:pt x="251773" y="259250"/>
                      <a:pt x="257928" y="269167"/>
                    </a:cubicBezTo>
                    <a:cubicBezTo>
                      <a:pt x="261599" y="273544"/>
                      <a:pt x="264825" y="278280"/>
                      <a:pt x="267560" y="283302"/>
                    </a:cubicBezTo>
                    <a:cubicBezTo>
                      <a:pt x="264859" y="282059"/>
                      <a:pt x="261661" y="283102"/>
                      <a:pt x="260208" y="285695"/>
                    </a:cubicBezTo>
                    <a:cubicBezTo>
                      <a:pt x="259034" y="288380"/>
                      <a:pt x="258618" y="291338"/>
                      <a:pt x="259011" y="294245"/>
                    </a:cubicBezTo>
                    <a:cubicBezTo>
                      <a:pt x="255785" y="294655"/>
                      <a:pt x="252508" y="294404"/>
                      <a:pt x="249379" y="293504"/>
                    </a:cubicBezTo>
                    <a:lnTo>
                      <a:pt x="160524" y="293105"/>
                    </a:lnTo>
                    <a:cubicBezTo>
                      <a:pt x="156825" y="293532"/>
                      <a:pt x="153525" y="295635"/>
                      <a:pt x="151576" y="298804"/>
                    </a:cubicBezTo>
                    <a:cubicBezTo>
                      <a:pt x="151183" y="299585"/>
                      <a:pt x="150664" y="300297"/>
                      <a:pt x="150037" y="300913"/>
                    </a:cubicBezTo>
                    <a:cubicBezTo>
                      <a:pt x="146503" y="304105"/>
                      <a:pt x="139949" y="297835"/>
                      <a:pt x="136586" y="300913"/>
                    </a:cubicBezTo>
                    <a:cubicBezTo>
                      <a:pt x="135162" y="302281"/>
                      <a:pt x="135276" y="304675"/>
                      <a:pt x="134079" y="306213"/>
                    </a:cubicBezTo>
                    <a:cubicBezTo>
                      <a:pt x="131058" y="310032"/>
                      <a:pt x="124105" y="305700"/>
                      <a:pt x="120286" y="308664"/>
                    </a:cubicBezTo>
                    <a:cubicBezTo>
                      <a:pt x="119591" y="309291"/>
                      <a:pt x="118992" y="310021"/>
                      <a:pt x="118519" y="310830"/>
                    </a:cubicBezTo>
                    <a:lnTo>
                      <a:pt x="114472" y="316985"/>
                    </a:lnTo>
                    <a:cubicBezTo>
                      <a:pt x="114267" y="316091"/>
                      <a:pt x="113897" y="315241"/>
                      <a:pt x="113389" y="314478"/>
                    </a:cubicBezTo>
                    <a:cubicBezTo>
                      <a:pt x="112438" y="313127"/>
                      <a:pt x="111264" y="311953"/>
                      <a:pt x="109913" y="311001"/>
                    </a:cubicBezTo>
                    <a:lnTo>
                      <a:pt x="99027" y="302338"/>
                    </a:lnTo>
                    <a:cubicBezTo>
                      <a:pt x="96171" y="300525"/>
                      <a:pt x="93989" y="297818"/>
                      <a:pt x="92814" y="294643"/>
                    </a:cubicBezTo>
                    <a:cubicBezTo>
                      <a:pt x="92632" y="292865"/>
                      <a:pt x="92267" y="291110"/>
                      <a:pt x="91732" y="289400"/>
                    </a:cubicBezTo>
                    <a:cubicBezTo>
                      <a:pt x="89908" y="285923"/>
                      <a:pt x="84778" y="286208"/>
                      <a:pt x="81416" y="284043"/>
                    </a:cubicBezTo>
                    <a:cubicBezTo>
                      <a:pt x="78053" y="281877"/>
                      <a:pt x="77483" y="279312"/>
                      <a:pt x="75317" y="277089"/>
                    </a:cubicBezTo>
                    <a:cubicBezTo>
                      <a:pt x="70740" y="273590"/>
                      <a:pt x="65047" y="271891"/>
                      <a:pt x="59302" y="272302"/>
                    </a:cubicBezTo>
                    <a:cubicBezTo>
                      <a:pt x="48359" y="271447"/>
                      <a:pt x="37359" y="271447"/>
                      <a:pt x="26415" y="272302"/>
                    </a:cubicBezTo>
                    <a:lnTo>
                      <a:pt x="21628" y="272872"/>
                    </a:lnTo>
                    <a:cubicBezTo>
                      <a:pt x="19759" y="269782"/>
                      <a:pt x="18516" y="266357"/>
                      <a:pt x="17980" y="262783"/>
                    </a:cubicBezTo>
                    <a:cubicBezTo>
                      <a:pt x="18733" y="259193"/>
                      <a:pt x="20562" y="255910"/>
                      <a:pt x="23224" y="253379"/>
                    </a:cubicBezTo>
                    <a:cubicBezTo>
                      <a:pt x="30890" y="243308"/>
                      <a:pt x="32651" y="229926"/>
                      <a:pt x="27840" y="218214"/>
                    </a:cubicBezTo>
                    <a:cubicBezTo>
                      <a:pt x="26239" y="215130"/>
                      <a:pt x="24831" y="211956"/>
                      <a:pt x="23623" y="208695"/>
                    </a:cubicBezTo>
                    <a:cubicBezTo>
                      <a:pt x="21742" y="202141"/>
                      <a:pt x="23623" y="195017"/>
                      <a:pt x="22654" y="188234"/>
                    </a:cubicBezTo>
                    <a:cubicBezTo>
                      <a:pt x="21035" y="176265"/>
                      <a:pt x="12190" y="166536"/>
                      <a:pt x="426" y="163784"/>
                    </a:cubicBezTo>
                    <a:cubicBezTo>
                      <a:pt x="-429" y="159703"/>
                      <a:pt x="10" y="155462"/>
                      <a:pt x="1680" y="151644"/>
                    </a:cubicBezTo>
                    <a:lnTo>
                      <a:pt x="88483" y="148338"/>
                    </a:lnTo>
                    <a:cubicBezTo>
                      <a:pt x="84180" y="131758"/>
                      <a:pt x="90717" y="114261"/>
                      <a:pt x="104840" y="104566"/>
                    </a:cubicBezTo>
                    <a:cubicBezTo>
                      <a:pt x="107457" y="103153"/>
                      <a:pt x="109742" y="101215"/>
                      <a:pt x="111566" y="98867"/>
                    </a:cubicBezTo>
                    <a:cubicBezTo>
                      <a:pt x="112916" y="96148"/>
                      <a:pt x="113492" y="93110"/>
                      <a:pt x="113219" y="90089"/>
                    </a:cubicBezTo>
                    <a:cubicBezTo>
                      <a:pt x="113219" y="71737"/>
                      <a:pt x="113350" y="53368"/>
                      <a:pt x="113618" y="34975"/>
                    </a:cubicBezTo>
                    <a:cubicBezTo>
                      <a:pt x="137555" y="36571"/>
                      <a:pt x="161510" y="37044"/>
                      <a:pt x="185488" y="36400"/>
                    </a:cubicBezTo>
                    <a:cubicBezTo>
                      <a:pt x="184576" y="24346"/>
                      <a:pt x="185209" y="12218"/>
                      <a:pt x="187369" y="323"/>
                    </a:cubicBezTo>
                    <a:cubicBezTo>
                      <a:pt x="189990" y="-874"/>
                      <a:pt x="193068" y="1463"/>
                      <a:pt x="194322" y="3970"/>
                    </a:cubicBezTo>
                    <a:cubicBezTo>
                      <a:pt x="195314" y="6689"/>
                      <a:pt x="196824" y="9185"/>
                      <a:pt x="198768" y="11323"/>
                    </a:cubicBezTo>
                    <a:cubicBezTo>
                      <a:pt x="203555" y="15084"/>
                      <a:pt x="211022" y="10696"/>
                      <a:pt x="216550" y="13260"/>
                    </a:cubicBezTo>
                    <a:cubicBezTo>
                      <a:pt x="222078" y="15825"/>
                      <a:pt x="222250" y="25058"/>
                      <a:pt x="227322" y="29504"/>
                    </a:cubicBezTo>
                    <a:cubicBezTo>
                      <a:pt x="231255" y="31921"/>
                      <a:pt x="235569" y="33636"/>
                      <a:pt x="240089" y="34577"/>
                    </a:cubicBezTo>
                    <a:cubicBezTo>
                      <a:pt x="249265" y="38566"/>
                      <a:pt x="254052" y="48312"/>
                      <a:pt x="256161" y="5817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5" name="Freihandform: Form 679">
                <a:extLst>
                  <a:ext uri="{FF2B5EF4-FFF2-40B4-BE49-F238E27FC236}">
                    <a16:creationId xmlns:a16="http://schemas.microsoft.com/office/drawing/2014/main" id="{3FBB45C2-3BF2-94B2-6A54-8EE7E051AE4F}"/>
                  </a:ext>
                </a:extLst>
              </p:cNvPr>
              <p:cNvSpPr/>
              <p:nvPr/>
            </p:nvSpPr>
            <p:spPr>
              <a:xfrm>
                <a:off x="3391817" y="3581465"/>
                <a:ext cx="188880" cy="161922"/>
              </a:xfrm>
              <a:custGeom>
                <a:avLst/>
                <a:gdLst>
                  <a:gd name="connsiteX0" fmla="*/ 187228 w 188880"/>
                  <a:gd name="connsiteY0" fmla="*/ 4161 h 161922"/>
                  <a:gd name="connsiteX1" fmla="*/ 188881 w 188880"/>
                  <a:gd name="connsiteY1" fmla="*/ 10601 h 161922"/>
                  <a:gd name="connsiteX2" fmla="*/ 185689 w 188880"/>
                  <a:gd name="connsiteY2" fmla="*/ 10601 h 161922"/>
                  <a:gd name="connsiteX3" fmla="*/ 183808 w 188880"/>
                  <a:gd name="connsiteY3" fmla="*/ 46679 h 161922"/>
                  <a:gd name="connsiteX4" fmla="*/ 111938 w 188880"/>
                  <a:gd name="connsiteY4" fmla="*/ 45254 h 161922"/>
                  <a:gd name="connsiteX5" fmla="*/ 111539 w 188880"/>
                  <a:gd name="connsiteY5" fmla="*/ 100368 h 161922"/>
                  <a:gd name="connsiteX6" fmla="*/ 109886 w 188880"/>
                  <a:gd name="connsiteY6" fmla="*/ 109145 h 161922"/>
                  <a:gd name="connsiteX7" fmla="*/ 103160 w 188880"/>
                  <a:gd name="connsiteY7" fmla="*/ 114844 h 161922"/>
                  <a:gd name="connsiteX8" fmla="*/ 86803 w 188880"/>
                  <a:gd name="connsiteY8" fmla="*/ 158616 h 161922"/>
                  <a:gd name="connsiteX9" fmla="*/ 0 w 188880"/>
                  <a:gd name="connsiteY9" fmla="*/ 161922 h 161922"/>
                  <a:gd name="connsiteX10" fmla="*/ 16073 w 188880"/>
                  <a:gd name="connsiteY10" fmla="*/ 133767 h 161922"/>
                  <a:gd name="connsiteX11" fmla="*/ 23710 w 188880"/>
                  <a:gd name="connsiteY11" fmla="*/ 115756 h 161922"/>
                  <a:gd name="connsiteX12" fmla="*/ 35109 w 188880"/>
                  <a:gd name="connsiteY12" fmla="*/ 109031 h 161922"/>
                  <a:gd name="connsiteX13" fmla="*/ 41720 w 188880"/>
                  <a:gd name="connsiteY13" fmla="*/ 90679 h 161922"/>
                  <a:gd name="connsiteX14" fmla="*/ 52264 w 188880"/>
                  <a:gd name="connsiteY14" fmla="*/ 81673 h 161922"/>
                  <a:gd name="connsiteX15" fmla="*/ 56653 w 188880"/>
                  <a:gd name="connsiteY15" fmla="*/ 65829 h 161922"/>
                  <a:gd name="connsiteX16" fmla="*/ 64290 w 188880"/>
                  <a:gd name="connsiteY16" fmla="*/ 57166 h 161922"/>
                  <a:gd name="connsiteX17" fmla="*/ 70388 w 188880"/>
                  <a:gd name="connsiteY17" fmla="*/ 47249 h 161922"/>
                  <a:gd name="connsiteX18" fmla="*/ 83554 w 188880"/>
                  <a:gd name="connsiteY18" fmla="*/ 20917 h 161922"/>
                  <a:gd name="connsiteX19" fmla="*/ 94497 w 188880"/>
                  <a:gd name="connsiteY19" fmla="*/ 3021 h 161922"/>
                  <a:gd name="connsiteX20" fmla="*/ 184948 w 188880"/>
                  <a:gd name="connsiteY20" fmla="*/ 3021 h 161922"/>
                  <a:gd name="connsiteX21" fmla="*/ 186316 w 188880"/>
                  <a:gd name="connsiteY21" fmla="*/ 0 h 161922"/>
                  <a:gd name="connsiteX22" fmla="*/ 187228 w 188880"/>
                  <a:gd name="connsiteY22" fmla="*/ 4161 h 16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8880" h="161922">
                    <a:moveTo>
                      <a:pt x="187228" y="4161"/>
                    </a:moveTo>
                    <a:cubicBezTo>
                      <a:pt x="187798" y="6326"/>
                      <a:pt x="188368" y="8435"/>
                      <a:pt x="188881" y="10601"/>
                    </a:cubicBezTo>
                    <a:cubicBezTo>
                      <a:pt x="187866" y="10145"/>
                      <a:pt x="186703" y="10145"/>
                      <a:pt x="185689" y="10601"/>
                    </a:cubicBezTo>
                    <a:cubicBezTo>
                      <a:pt x="183529" y="22496"/>
                      <a:pt x="182896" y="34624"/>
                      <a:pt x="183808" y="46679"/>
                    </a:cubicBezTo>
                    <a:cubicBezTo>
                      <a:pt x="159870" y="47323"/>
                      <a:pt x="135915" y="46850"/>
                      <a:pt x="111938" y="45254"/>
                    </a:cubicBezTo>
                    <a:cubicBezTo>
                      <a:pt x="111938" y="63680"/>
                      <a:pt x="111807" y="82055"/>
                      <a:pt x="111539" y="100368"/>
                    </a:cubicBezTo>
                    <a:cubicBezTo>
                      <a:pt x="111812" y="103388"/>
                      <a:pt x="111236" y="106426"/>
                      <a:pt x="109886" y="109145"/>
                    </a:cubicBezTo>
                    <a:cubicBezTo>
                      <a:pt x="108062" y="111493"/>
                      <a:pt x="105777" y="113431"/>
                      <a:pt x="103160" y="114844"/>
                    </a:cubicBezTo>
                    <a:cubicBezTo>
                      <a:pt x="89037" y="124539"/>
                      <a:pt x="82500" y="142037"/>
                      <a:pt x="86803" y="158616"/>
                    </a:cubicBezTo>
                    <a:lnTo>
                      <a:pt x="0" y="161922"/>
                    </a:lnTo>
                    <a:cubicBezTo>
                      <a:pt x="3704" y="152518"/>
                      <a:pt x="12596" y="143798"/>
                      <a:pt x="16073" y="133767"/>
                    </a:cubicBezTo>
                    <a:cubicBezTo>
                      <a:pt x="18238" y="127497"/>
                      <a:pt x="18580" y="119974"/>
                      <a:pt x="23710" y="115756"/>
                    </a:cubicBezTo>
                    <a:cubicBezTo>
                      <a:pt x="27073" y="112964"/>
                      <a:pt x="31917" y="112280"/>
                      <a:pt x="35109" y="109031"/>
                    </a:cubicBezTo>
                    <a:cubicBezTo>
                      <a:pt x="39554" y="104186"/>
                      <a:pt x="37788" y="95922"/>
                      <a:pt x="41720" y="90679"/>
                    </a:cubicBezTo>
                    <a:cubicBezTo>
                      <a:pt x="44513" y="86974"/>
                      <a:pt x="49643" y="85492"/>
                      <a:pt x="52264" y="81673"/>
                    </a:cubicBezTo>
                    <a:cubicBezTo>
                      <a:pt x="54886" y="77855"/>
                      <a:pt x="54145" y="70787"/>
                      <a:pt x="56653" y="65829"/>
                    </a:cubicBezTo>
                    <a:cubicBezTo>
                      <a:pt x="58819" y="62631"/>
                      <a:pt x="61389" y="59719"/>
                      <a:pt x="64290" y="57166"/>
                    </a:cubicBezTo>
                    <a:cubicBezTo>
                      <a:pt x="66729" y="54128"/>
                      <a:pt x="68781" y="50799"/>
                      <a:pt x="70388" y="47249"/>
                    </a:cubicBezTo>
                    <a:lnTo>
                      <a:pt x="83554" y="20917"/>
                    </a:lnTo>
                    <a:cubicBezTo>
                      <a:pt x="86427" y="14511"/>
                      <a:pt x="90103" y="8498"/>
                      <a:pt x="94497" y="3021"/>
                    </a:cubicBezTo>
                    <a:lnTo>
                      <a:pt x="184948" y="3021"/>
                    </a:lnTo>
                    <a:lnTo>
                      <a:pt x="186316" y="0"/>
                    </a:lnTo>
                    <a:cubicBezTo>
                      <a:pt x="186487" y="1368"/>
                      <a:pt x="186886" y="2793"/>
                      <a:pt x="187228" y="416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6" name="Freihandform: Form 680">
                <a:extLst>
                  <a:ext uri="{FF2B5EF4-FFF2-40B4-BE49-F238E27FC236}">
                    <a16:creationId xmlns:a16="http://schemas.microsoft.com/office/drawing/2014/main" id="{369A31FD-57B2-01BD-AEE2-920C3053B580}"/>
                  </a:ext>
                </a:extLst>
              </p:cNvPr>
              <p:cNvSpPr/>
              <p:nvPr/>
            </p:nvSpPr>
            <p:spPr>
              <a:xfrm>
                <a:off x="3486371" y="3371230"/>
                <a:ext cx="265427" cy="213255"/>
              </a:xfrm>
              <a:custGeom>
                <a:avLst/>
                <a:gdLst>
                  <a:gd name="connsiteX0" fmla="*/ 90451 w 265427"/>
                  <a:gd name="connsiteY0" fmla="*/ 212686 h 213255"/>
                  <a:gd name="connsiteX1" fmla="*/ 90451 w 265427"/>
                  <a:gd name="connsiteY1" fmla="*/ 213256 h 213255"/>
                  <a:gd name="connsiteX2" fmla="*/ 0 w 265427"/>
                  <a:gd name="connsiteY2" fmla="*/ 213256 h 213255"/>
                  <a:gd name="connsiteX3" fmla="*/ 5301 w 265427"/>
                  <a:gd name="connsiteY3" fmla="*/ 208297 h 213255"/>
                  <a:gd name="connsiteX4" fmla="*/ 25990 w 265427"/>
                  <a:gd name="connsiteY4" fmla="*/ 199520 h 213255"/>
                  <a:gd name="connsiteX5" fmla="*/ 34368 w 265427"/>
                  <a:gd name="connsiteY5" fmla="*/ 195359 h 213255"/>
                  <a:gd name="connsiteX6" fmla="*/ 43031 w 265427"/>
                  <a:gd name="connsiteY6" fmla="*/ 182250 h 213255"/>
                  <a:gd name="connsiteX7" fmla="*/ 50498 w 265427"/>
                  <a:gd name="connsiteY7" fmla="*/ 178888 h 213255"/>
                  <a:gd name="connsiteX8" fmla="*/ 73922 w 265427"/>
                  <a:gd name="connsiteY8" fmla="*/ 151017 h 213255"/>
                  <a:gd name="connsiteX9" fmla="*/ 132570 w 265427"/>
                  <a:gd name="connsiteY9" fmla="*/ 53613 h 213255"/>
                  <a:gd name="connsiteX10" fmla="*/ 151606 w 265427"/>
                  <a:gd name="connsiteY10" fmla="*/ 25116 h 213255"/>
                  <a:gd name="connsiteX11" fmla="*/ 163917 w 265427"/>
                  <a:gd name="connsiteY11" fmla="*/ 17650 h 213255"/>
                  <a:gd name="connsiteX12" fmla="*/ 160383 w 265427"/>
                  <a:gd name="connsiteY12" fmla="*/ 1520 h 213255"/>
                  <a:gd name="connsiteX13" fmla="*/ 174062 w 265427"/>
                  <a:gd name="connsiteY13" fmla="*/ 4256 h 213255"/>
                  <a:gd name="connsiteX14" fmla="*/ 185461 w 265427"/>
                  <a:gd name="connsiteY14" fmla="*/ 14116 h 213255"/>
                  <a:gd name="connsiteX15" fmla="*/ 200337 w 265427"/>
                  <a:gd name="connsiteY15" fmla="*/ 13261 h 213255"/>
                  <a:gd name="connsiteX16" fmla="*/ 244792 w 265427"/>
                  <a:gd name="connsiteY16" fmla="*/ 26199 h 213255"/>
                  <a:gd name="connsiteX17" fmla="*/ 245762 w 265427"/>
                  <a:gd name="connsiteY17" fmla="*/ 24888 h 213255"/>
                  <a:gd name="connsiteX18" fmla="*/ 249694 w 265427"/>
                  <a:gd name="connsiteY18" fmla="*/ 37712 h 213255"/>
                  <a:gd name="connsiteX19" fmla="*/ 253285 w 265427"/>
                  <a:gd name="connsiteY19" fmla="*/ 42214 h 213255"/>
                  <a:gd name="connsiteX20" fmla="*/ 248440 w 265427"/>
                  <a:gd name="connsiteY20" fmla="*/ 56577 h 213255"/>
                  <a:gd name="connsiteX21" fmla="*/ 264798 w 265427"/>
                  <a:gd name="connsiteY21" fmla="*/ 92313 h 213255"/>
                  <a:gd name="connsiteX22" fmla="*/ 249181 w 265427"/>
                  <a:gd name="connsiteY22" fmla="*/ 99665 h 213255"/>
                  <a:gd name="connsiteX23" fmla="*/ 230886 w 265427"/>
                  <a:gd name="connsiteY23" fmla="*/ 97499 h 213255"/>
                  <a:gd name="connsiteX24" fmla="*/ 216865 w 265427"/>
                  <a:gd name="connsiteY24" fmla="*/ 102287 h 213255"/>
                  <a:gd name="connsiteX25" fmla="*/ 202331 w 265427"/>
                  <a:gd name="connsiteY25" fmla="*/ 116991 h 213255"/>
                  <a:gd name="connsiteX26" fmla="*/ 199938 w 265427"/>
                  <a:gd name="connsiteY26" fmla="*/ 132836 h 213255"/>
                  <a:gd name="connsiteX27" fmla="*/ 187741 w 265427"/>
                  <a:gd name="connsiteY27" fmla="*/ 130499 h 213255"/>
                  <a:gd name="connsiteX28" fmla="*/ 173549 w 265427"/>
                  <a:gd name="connsiteY28" fmla="*/ 147883 h 213255"/>
                  <a:gd name="connsiteX29" fmla="*/ 135591 w 265427"/>
                  <a:gd name="connsiteY29" fmla="*/ 162473 h 213255"/>
                  <a:gd name="connsiteX30" fmla="*/ 131259 w 265427"/>
                  <a:gd name="connsiteY30" fmla="*/ 166292 h 213255"/>
                  <a:gd name="connsiteX31" fmla="*/ 124021 w 265427"/>
                  <a:gd name="connsiteY31" fmla="*/ 167546 h 213255"/>
                  <a:gd name="connsiteX32" fmla="*/ 112622 w 265427"/>
                  <a:gd name="connsiteY32" fmla="*/ 175639 h 213255"/>
                  <a:gd name="connsiteX33" fmla="*/ 99912 w 265427"/>
                  <a:gd name="connsiteY33" fmla="*/ 178090 h 213255"/>
                  <a:gd name="connsiteX34" fmla="*/ 92731 w 265427"/>
                  <a:gd name="connsiteY34" fmla="*/ 191769 h 213255"/>
                  <a:gd name="connsiteX35" fmla="*/ 90736 w 265427"/>
                  <a:gd name="connsiteY35" fmla="*/ 202370 h 213255"/>
                  <a:gd name="connsiteX36" fmla="*/ 90451 w 265427"/>
                  <a:gd name="connsiteY36" fmla="*/ 212686 h 21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5427" h="213255">
                    <a:moveTo>
                      <a:pt x="90451" y="212686"/>
                    </a:moveTo>
                    <a:lnTo>
                      <a:pt x="90451" y="213256"/>
                    </a:lnTo>
                    <a:lnTo>
                      <a:pt x="0" y="213256"/>
                    </a:lnTo>
                    <a:cubicBezTo>
                      <a:pt x="1596" y="211432"/>
                      <a:pt x="3374" y="209767"/>
                      <a:pt x="5301" y="208297"/>
                    </a:cubicBezTo>
                    <a:cubicBezTo>
                      <a:pt x="11644" y="204210"/>
                      <a:pt x="18643" y="201241"/>
                      <a:pt x="25990" y="199520"/>
                    </a:cubicBezTo>
                    <a:cubicBezTo>
                      <a:pt x="29073" y="198813"/>
                      <a:pt x="31946" y="197388"/>
                      <a:pt x="34368" y="195359"/>
                    </a:cubicBezTo>
                    <a:cubicBezTo>
                      <a:pt x="38129" y="191712"/>
                      <a:pt x="38757" y="185385"/>
                      <a:pt x="43031" y="182250"/>
                    </a:cubicBezTo>
                    <a:cubicBezTo>
                      <a:pt x="45419" y="180922"/>
                      <a:pt x="47921" y="179800"/>
                      <a:pt x="50498" y="178888"/>
                    </a:cubicBezTo>
                    <a:cubicBezTo>
                      <a:pt x="61897" y="173188"/>
                      <a:pt x="61897" y="155064"/>
                      <a:pt x="73922" y="151017"/>
                    </a:cubicBezTo>
                    <a:cubicBezTo>
                      <a:pt x="93187" y="118872"/>
                      <a:pt x="113306" y="85758"/>
                      <a:pt x="132570" y="53613"/>
                    </a:cubicBezTo>
                    <a:cubicBezTo>
                      <a:pt x="138230" y="43673"/>
                      <a:pt x="144590" y="34150"/>
                      <a:pt x="151606" y="25116"/>
                    </a:cubicBezTo>
                    <a:cubicBezTo>
                      <a:pt x="156508" y="27795"/>
                      <a:pt x="163005" y="23121"/>
                      <a:pt x="163917" y="17650"/>
                    </a:cubicBezTo>
                    <a:cubicBezTo>
                      <a:pt x="164436" y="12036"/>
                      <a:pt x="163199" y="6399"/>
                      <a:pt x="160383" y="1520"/>
                    </a:cubicBezTo>
                    <a:cubicBezTo>
                      <a:pt x="164316" y="-1729"/>
                      <a:pt x="170414" y="722"/>
                      <a:pt x="174062" y="4256"/>
                    </a:cubicBezTo>
                    <a:cubicBezTo>
                      <a:pt x="177710" y="7789"/>
                      <a:pt x="180787" y="12406"/>
                      <a:pt x="185461" y="14116"/>
                    </a:cubicBezTo>
                    <a:cubicBezTo>
                      <a:pt x="190408" y="15136"/>
                      <a:pt x="195538" y="14840"/>
                      <a:pt x="200337" y="13261"/>
                    </a:cubicBezTo>
                    <a:cubicBezTo>
                      <a:pt x="216358" y="10445"/>
                      <a:pt x="232784" y="15222"/>
                      <a:pt x="244792" y="26199"/>
                    </a:cubicBezTo>
                    <a:cubicBezTo>
                      <a:pt x="244792" y="25743"/>
                      <a:pt x="245476" y="25344"/>
                      <a:pt x="245762" y="24888"/>
                    </a:cubicBezTo>
                    <a:cubicBezTo>
                      <a:pt x="245471" y="29499"/>
                      <a:pt x="246873" y="34058"/>
                      <a:pt x="249694" y="37712"/>
                    </a:cubicBezTo>
                    <a:cubicBezTo>
                      <a:pt x="251113" y="39023"/>
                      <a:pt x="252322" y="40539"/>
                      <a:pt x="253285" y="42214"/>
                    </a:cubicBezTo>
                    <a:cubicBezTo>
                      <a:pt x="255223" y="47059"/>
                      <a:pt x="249808" y="51562"/>
                      <a:pt x="248440" y="56577"/>
                    </a:cubicBezTo>
                    <a:cubicBezTo>
                      <a:pt x="244850" y="69971"/>
                      <a:pt x="269642" y="79375"/>
                      <a:pt x="264798" y="92313"/>
                    </a:cubicBezTo>
                    <a:cubicBezTo>
                      <a:pt x="261703" y="97853"/>
                      <a:pt x="255422" y="100811"/>
                      <a:pt x="249181" y="99665"/>
                    </a:cubicBezTo>
                    <a:cubicBezTo>
                      <a:pt x="243151" y="98468"/>
                      <a:pt x="237030" y="97744"/>
                      <a:pt x="230886" y="97499"/>
                    </a:cubicBezTo>
                    <a:cubicBezTo>
                      <a:pt x="225962" y="98246"/>
                      <a:pt x="221214" y="99870"/>
                      <a:pt x="216865" y="102287"/>
                    </a:cubicBezTo>
                    <a:cubicBezTo>
                      <a:pt x="210368" y="105365"/>
                      <a:pt x="202901" y="109753"/>
                      <a:pt x="202331" y="116991"/>
                    </a:cubicBezTo>
                    <a:cubicBezTo>
                      <a:pt x="201876" y="122691"/>
                      <a:pt x="205124" y="130442"/>
                      <a:pt x="199938" y="132836"/>
                    </a:cubicBezTo>
                    <a:cubicBezTo>
                      <a:pt x="196119" y="134603"/>
                      <a:pt x="192015" y="130613"/>
                      <a:pt x="187741" y="130499"/>
                    </a:cubicBezTo>
                    <a:cubicBezTo>
                      <a:pt x="179875" y="130499"/>
                      <a:pt x="178394" y="141898"/>
                      <a:pt x="173549" y="147883"/>
                    </a:cubicBezTo>
                    <a:cubicBezTo>
                      <a:pt x="165000" y="158825"/>
                      <a:pt x="145565" y="152898"/>
                      <a:pt x="135591" y="162473"/>
                    </a:cubicBezTo>
                    <a:cubicBezTo>
                      <a:pt x="134377" y="163984"/>
                      <a:pt x="132906" y="165272"/>
                      <a:pt x="131259" y="166292"/>
                    </a:cubicBezTo>
                    <a:cubicBezTo>
                      <a:pt x="128905" y="167004"/>
                      <a:pt x="126477" y="167426"/>
                      <a:pt x="124021" y="167546"/>
                    </a:cubicBezTo>
                    <a:cubicBezTo>
                      <a:pt x="119609" y="169256"/>
                      <a:pt x="115688" y="172037"/>
                      <a:pt x="112622" y="175639"/>
                    </a:cubicBezTo>
                    <a:cubicBezTo>
                      <a:pt x="109088" y="178717"/>
                      <a:pt x="103617" y="180997"/>
                      <a:pt x="99912" y="178090"/>
                    </a:cubicBezTo>
                    <a:cubicBezTo>
                      <a:pt x="102819" y="182820"/>
                      <a:pt x="95694" y="187038"/>
                      <a:pt x="92731" y="191769"/>
                    </a:cubicBezTo>
                    <a:cubicBezTo>
                      <a:pt x="91066" y="195040"/>
                      <a:pt x="90371" y="198716"/>
                      <a:pt x="90736" y="202370"/>
                    </a:cubicBezTo>
                    <a:cubicBezTo>
                      <a:pt x="90679" y="205504"/>
                      <a:pt x="90622" y="209095"/>
                      <a:pt x="90451" y="21268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7" name="Freihandform: Form 681">
                <a:extLst>
                  <a:ext uri="{FF2B5EF4-FFF2-40B4-BE49-F238E27FC236}">
                    <a16:creationId xmlns:a16="http://schemas.microsoft.com/office/drawing/2014/main" id="{2923A450-DE72-11C7-61F9-A193B8F947EE}"/>
                  </a:ext>
                </a:extLst>
              </p:cNvPr>
              <p:cNvSpPr/>
              <p:nvPr/>
            </p:nvSpPr>
            <p:spPr>
              <a:xfrm>
                <a:off x="3774252" y="3690287"/>
                <a:ext cx="338330" cy="279255"/>
              </a:xfrm>
              <a:custGeom>
                <a:avLst/>
                <a:gdLst>
                  <a:gd name="connsiteX0" fmla="*/ 293865 w 338330"/>
                  <a:gd name="connsiteY0" fmla="*/ 217986 h 279255"/>
                  <a:gd name="connsiteX1" fmla="*/ 290559 w 338330"/>
                  <a:gd name="connsiteY1" fmla="*/ 243235 h 279255"/>
                  <a:gd name="connsiteX2" fmla="*/ 282637 w 338330"/>
                  <a:gd name="connsiteY2" fmla="*/ 243235 h 279255"/>
                  <a:gd name="connsiteX3" fmla="*/ 276938 w 338330"/>
                  <a:gd name="connsiteY3" fmla="*/ 246825 h 279255"/>
                  <a:gd name="connsiteX4" fmla="*/ 249295 w 338330"/>
                  <a:gd name="connsiteY4" fmla="*/ 248364 h 279255"/>
                  <a:gd name="connsiteX5" fmla="*/ 241202 w 338330"/>
                  <a:gd name="connsiteY5" fmla="*/ 244488 h 279255"/>
                  <a:gd name="connsiteX6" fmla="*/ 224958 w 338330"/>
                  <a:gd name="connsiteY6" fmla="*/ 251157 h 279255"/>
                  <a:gd name="connsiteX7" fmla="*/ 193896 w 338330"/>
                  <a:gd name="connsiteY7" fmla="*/ 261815 h 279255"/>
                  <a:gd name="connsiteX8" fmla="*/ 187855 w 338330"/>
                  <a:gd name="connsiteY8" fmla="*/ 260618 h 279255"/>
                  <a:gd name="connsiteX9" fmla="*/ 184264 w 338330"/>
                  <a:gd name="connsiteY9" fmla="*/ 254919 h 279255"/>
                  <a:gd name="connsiteX10" fmla="*/ 159813 w 338330"/>
                  <a:gd name="connsiteY10" fmla="*/ 252810 h 279255"/>
                  <a:gd name="connsiteX11" fmla="*/ 151150 w 338330"/>
                  <a:gd name="connsiteY11" fmla="*/ 254691 h 279255"/>
                  <a:gd name="connsiteX12" fmla="*/ 140834 w 338330"/>
                  <a:gd name="connsiteY12" fmla="*/ 238105 h 279255"/>
                  <a:gd name="connsiteX13" fmla="*/ 132570 w 338330"/>
                  <a:gd name="connsiteY13" fmla="*/ 236338 h 279255"/>
                  <a:gd name="connsiteX14" fmla="*/ 114161 w 338330"/>
                  <a:gd name="connsiteY14" fmla="*/ 236338 h 279255"/>
                  <a:gd name="connsiteX15" fmla="*/ 107321 w 338330"/>
                  <a:gd name="connsiteY15" fmla="*/ 237193 h 279255"/>
                  <a:gd name="connsiteX16" fmla="*/ 101622 w 338330"/>
                  <a:gd name="connsiteY16" fmla="*/ 240841 h 279255"/>
                  <a:gd name="connsiteX17" fmla="*/ 90223 w 338330"/>
                  <a:gd name="connsiteY17" fmla="*/ 245400 h 279255"/>
                  <a:gd name="connsiteX18" fmla="*/ 83041 w 338330"/>
                  <a:gd name="connsiteY18" fmla="*/ 267115 h 279255"/>
                  <a:gd name="connsiteX19" fmla="*/ 77342 w 338330"/>
                  <a:gd name="connsiteY19" fmla="*/ 276975 h 279255"/>
                  <a:gd name="connsiteX20" fmla="*/ 76829 w 338330"/>
                  <a:gd name="connsiteY20" fmla="*/ 278799 h 279255"/>
                  <a:gd name="connsiteX21" fmla="*/ 71130 w 338330"/>
                  <a:gd name="connsiteY21" fmla="*/ 276348 h 279255"/>
                  <a:gd name="connsiteX22" fmla="*/ 56767 w 338330"/>
                  <a:gd name="connsiteY22" fmla="*/ 275380 h 279255"/>
                  <a:gd name="connsiteX23" fmla="*/ 54829 w 338330"/>
                  <a:gd name="connsiteY23" fmla="*/ 279255 h 279255"/>
                  <a:gd name="connsiteX24" fmla="*/ 49129 w 338330"/>
                  <a:gd name="connsiteY24" fmla="*/ 272587 h 279255"/>
                  <a:gd name="connsiteX25" fmla="*/ 35052 w 338330"/>
                  <a:gd name="connsiteY25" fmla="*/ 269680 h 279255"/>
                  <a:gd name="connsiteX26" fmla="*/ 28042 w 338330"/>
                  <a:gd name="connsiteY26" fmla="*/ 260105 h 279255"/>
                  <a:gd name="connsiteX27" fmla="*/ 22342 w 338330"/>
                  <a:gd name="connsiteY27" fmla="*/ 258053 h 279255"/>
                  <a:gd name="connsiteX28" fmla="*/ 19549 w 338330"/>
                  <a:gd name="connsiteY28" fmla="*/ 253494 h 279255"/>
                  <a:gd name="connsiteX29" fmla="*/ 21031 w 338330"/>
                  <a:gd name="connsiteY29" fmla="*/ 251214 h 279255"/>
                  <a:gd name="connsiteX30" fmla="*/ 16643 w 338330"/>
                  <a:gd name="connsiteY30" fmla="*/ 243349 h 279255"/>
                  <a:gd name="connsiteX31" fmla="*/ 13451 w 338330"/>
                  <a:gd name="connsiteY31" fmla="*/ 235255 h 279255"/>
                  <a:gd name="connsiteX32" fmla="*/ 1026 w 338330"/>
                  <a:gd name="connsiteY32" fmla="*/ 223856 h 279255"/>
                  <a:gd name="connsiteX33" fmla="*/ 0 w 338330"/>
                  <a:gd name="connsiteY33" fmla="*/ 214224 h 279255"/>
                  <a:gd name="connsiteX34" fmla="*/ 7011 w 338330"/>
                  <a:gd name="connsiteY34" fmla="*/ 208525 h 279255"/>
                  <a:gd name="connsiteX35" fmla="*/ 18979 w 338330"/>
                  <a:gd name="connsiteY35" fmla="*/ 206245 h 279255"/>
                  <a:gd name="connsiteX36" fmla="*/ 54544 w 338330"/>
                  <a:gd name="connsiteY36" fmla="*/ 201058 h 279255"/>
                  <a:gd name="connsiteX37" fmla="*/ 78482 w 338330"/>
                  <a:gd name="connsiteY37" fmla="*/ 187437 h 279255"/>
                  <a:gd name="connsiteX38" fmla="*/ 82529 w 338330"/>
                  <a:gd name="connsiteY38" fmla="*/ 177406 h 279255"/>
                  <a:gd name="connsiteX39" fmla="*/ 91363 w 338330"/>
                  <a:gd name="connsiteY39" fmla="*/ 172561 h 279255"/>
                  <a:gd name="connsiteX40" fmla="*/ 92047 w 338330"/>
                  <a:gd name="connsiteY40" fmla="*/ 130214 h 279255"/>
                  <a:gd name="connsiteX41" fmla="*/ 85492 w 338330"/>
                  <a:gd name="connsiteY41" fmla="*/ 114084 h 279255"/>
                  <a:gd name="connsiteX42" fmla="*/ 85492 w 338330"/>
                  <a:gd name="connsiteY42" fmla="*/ 114084 h 279255"/>
                  <a:gd name="connsiteX43" fmla="*/ 95637 w 338330"/>
                  <a:gd name="connsiteY43" fmla="*/ 106504 h 279255"/>
                  <a:gd name="connsiteX44" fmla="*/ 100653 w 338330"/>
                  <a:gd name="connsiteY44" fmla="*/ 106504 h 279255"/>
                  <a:gd name="connsiteX45" fmla="*/ 107321 w 338330"/>
                  <a:gd name="connsiteY45" fmla="*/ 96872 h 279255"/>
                  <a:gd name="connsiteX46" fmla="*/ 131259 w 338330"/>
                  <a:gd name="connsiteY46" fmla="*/ 92198 h 279255"/>
                  <a:gd name="connsiteX47" fmla="*/ 138383 w 338330"/>
                  <a:gd name="connsiteY47" fmla="*/ 83649 h 279255"/>
                  <a:gd name="connsiteX48" fmla="*/ 146704 w 338330"/>
                  <a:gd name="connsiteY48" fmla="*/ 79831 h 279255"/>
                  <a:gd name="connsiteX49" fmla="*/ 149440 w 338330"/>
                  <a:gd name="connsiteY49" fmla="*/ 74131 h 279255"/>
                  <a:gd name="connsiteX50" fmla="*/ 159243 w 338330"/>
                  <a:gd name="connsiteY50" fmla="*/ 67178 h 279255"/>
                  <a:gd name="connsiteX51" fmla="*/ 162663 w 338330"/>
                  <a:gd name="connsiteY51" fmla="*/ 57147 h 279255"/>
                  <a:gd name="connsiteX52" fmla="*/ 183751 w 338330"/>
                  <a:gd name="connsiteY52" fmla="*/ 49053 h 279255"/>
                  <a:gd name="connsiteX53" fmla="*/ 186943 w 338330"/>
                  <a:gd name="connsiteY53" fmla="*/ 44608 h 279255"/>
                  <a:gd name="connsiteX54" fmla="*/ 190989 w 338330"/>
                  <a:gd name="connsiteY54" fmla="*/ 43354 h 279255"/>
                  <a:gd name="connsiteX55" fmla="*/ 214300 w 338330"/>
                  <a:gd name="connsiteY55" fmla="*/ 31442 h 279255"/>
                  <a:gd name="connsiteX56" fmla="*/ 220000 w 338330"/>
                  <a:gd name="connsiteY56" fmla="*/ 26028 h 279255"/>
                  <a:gd name="connsiteX57" fmla="*/ 227523 w 338330"/>
                  <a:gd name="connsiteY57" fmla="*/ 20670 h 279255"/>
                  <a:gd name="connsiteX58" fmla="*/ 253000 w 338330"/>
                  <a:gd name="connsiteY58" fmla="*/ 4769 h 279255"/>
                  <a:gd name="connsiteX59" fmla="*/ 267363 w 338330"/>
                  <a:gd name="connsiteY59" fmla="*/ 266 h 279255"/>
                  <a:gd name="connsiteX60" fmla="*/ 284461 w 338330"/>
                  <a:gd name="connsiteY60" fmla="*/ 1292 h 279255"/>
                  <a:gd name="connsiteX61" fmla="*/ 297057 w 338330"/>
                  <a:gd name="connsiteY61" fmla="*/ 12007 h 279255"/>
                  <a:gd name="connsiteX62" fmla="*/ 307202 w 338330"/>
                  <a:gd name="connsiteY62" fmla="*/ 15142 h 279255"/>
                  <a:gd name="connsiteX63" fmla="*/ 308455 w 338330"/>
                  <a:gd name="connsiteY63" fmla="*/ 19929 h 279255"/>
                  <a:gd name="connsiteX64" fmla="*/ 329487 w 338330"/>
                  <a:gd name="connsiteY64" fmla="*/ 47344 h 279255"/>
                  <a:gd name="connsiteX65" fmla="*/ 329886 w 338330"/>
                  <a:gd name="connsiteY65" fmla="*/ 53385 h 279255"/>
                  <a:gd name="connsiteX66" fmla="*/ 335129 w 338330"/>
                  <a:gd name="connsiteY66" fmla="*/ 62846 h 279255"/>
                  <a:gd name="connsiteX67" fmla="*/ 335129 w 338330"/>
                  <a:gd name="connsiteY67" fmla="*/ 86556 h 279255"/>
                  <a:gd name="connsiteX68" fmla="*/ 330285 w 338330"/>
                  <a:gd name="connsiteY68" fmla="*/ 95333 h 279255"/>
                  <a:gd name="connsiteX69" fmla="*/ 330911 w 338330"/>
                  <a:gd name="connsiteY69" fmla="*/ 103597 h 279255"/>
                  <a:gd name="connsiteX70" fmla="*/ 333191 w 338330"/>
                  <a:gd name="connsiteY70" fmla="*/ 152157 h 279255"/>
                  <a:gd name="connsiteX71" fmla="*/ 321792 w 338330"/>
                  <a:gd name="connsiteY71" fmla="*/ 173929 h 279255"/>
                  <a:gd name="connsiteX72" fmla="*/ 308114 w 338330"/>
                  <a:gd name="connsiteY72" fmla="*/ 182934 h 279255"/>
                  <a:gd name="connsiteX73" fmla="*/ 308114 w 338330"/>
                  <a:gd name="connsiteY73" fmla="*/ 190286 h 279255"/>
                  <a:gd name="connsiteX74" fmla="*/ 299963 w 338330"/>
                  <a:gd name="connsiteY74" fmla="*/ 196784 h 279255"/>
                  <a:gd name="connsiteX75" fmla="*/ 297627 w 338330"/>
                  <a:gd name="connsiteY75" fmla="*/ 206302 h 279255"/>
                  <a:gd name="connsiteX76" fmla="*/ 294036 w 338330"/>
                  <a:gd name="connsiteY76" fmla="*/ 211317 h 279255"/>
                  <a:gd name="connsiteX77" fmla="*/ 293865 w 338330"/>
                  <a:gd name="connsiteY77" fmla="*/ 217986 h 27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38330" h="279255">
                    <a:moveTo>
                      <a:pt x="293865" y="217986"/>
                    </a:moveTo>
                    <a:cubicBezTo>
                      <a:pt x="293740" y="226501"/>
                      <a:pt x="292628" y="234976"/>
                      <a:pt x="290559" y="243235"/>
                    </a:cubicBezTo>
                    <a:cubicBezTo>
                      <a:pt x="288006" y="242288"/>
                      <a:pt x="285190" y="242288"/>
                      <a:pt x="282637" y="243235"/>
                    </a:cubicBezTo>
                    <a:cubicBezTo>
                      <a:pt x="280614" y="244221"/>
                      <a:pt x="278704" y="245429"/>
                      <a:pt x="276938" y="246825"/>
                    </a:cubicBezTo>
                    <a:cubicBezTo>
                      <a:pt x="268685" y="252319"/>
                      <a:pt x="258106" y="252906"/>
                      <a:pt x="249295" y="248364"/>
                    </a:cubicBezTo>
                    <a:cubicBezTo>
                      <a:pt x="246810" y="246666"/>
                      <a:pt x="244080" y="245361"/>
                      <a:pt x="241202" y="244488"/>
                    </a:cubicBezTo>
                    <a:cubicBezTo>
                      <a:pt x="235502" y="243349"/>
                      <a:pt x="229803" y="247737"/>
                      <a:pt x="224958" y="251157"/>
                    </a:cubicBezTo>
                    <a:cubicBezTo>
                      <a:pt x="215736" y="257409"/>
                      <a:pt x="205016" y="261085"/>
                      <a:pt x="193896" y="261815"/>
                    </a:cubicBezTo>
                    <a:cubicBezTo>
                      <a:pt x="191804" y="262128"/>
                      <a:pt x="189667" y="261706"/>
                      <a:pt x="187855" y="260618"/>
                    </a:cubicBezTo>
                    <a:cubicBezTo>
                      <a:pt x="186088" y="259307"/>
                      <a:pt x="185461" y="256970"/>
                      <a:pt x="184264" y="254919"/>
                    </a:cubicBezTo>
                    <a:cubicBezTo>
                      <a:pt x="179533" y="247281"/>
                      <a:pt x="167907" y="248934"/>
                      <a:pt x="159813" y="252810"/>
                    </a:cubicBezTo>
                    <a:cubicBezTo>
                      <a:pt x="157260" y="254497"/>
                      <a:pt x="154171" y="255169"/>
                      <a:pt x="151150" y="254691"/>
                    </a:cubicBezTo>
                    <a:cubicBezTo>
                      <a:pt x="144767" y="252696"/>
                      <a:pt x="146306" y="242038"/>
                      <a:pt x="140834" y="238105"/>
                    </a:cubicBezTo>
                    <a:cubicBezTo>
                      <a:pt x="138326" y="236686"/>
                      <a:pt x="135443" y="236070"/>
                      <a:pt x="132570" y="236338"/>
                    </a:cubicBezTo>
                    <a:lnTo>
                      <a:pt x="114161" y="236338"/>
                    </a:lnTo>
                    <a:cubicBezTo>
                      <a:pt x="111847" y="236190"/>
                      <a:pt x="109527" y="236481"/>
                      <a:pt x="107321" y="237193"/>
                    </a:cubicBezTo>
                    <a:cubicBezTo>
                      <a:pt x="105287" y="238185"/>
                      <a:pt x="103377" y="239410"/>
                      <a:pt x="101622" y="240841"/>
                    </a:cubicBezTo>
                    <a:cubicBezTo>
                      <a:pt x="98265" y="243292"/>
                      <a:pt x="94344" y="244859"/>
                      <a:pt x="90223" y="245400"/>
                    </a:cubicBezTo>
                    <a:cubicBezTo>
                      <a:pt x="89830" y="253152"/>
                      <a:pt x="87350" y="260658"/>
                      <a:pt x="83041" y="267115"/>
                    </a:cubicBezTo>
                    <a:cubicBezTo>
                      <a:pt x="80739" y="270153"/>
                      <a:pt x="78824" y="273465"/>
                      <a:pt x="77342" y="276975"/>
                    </a:cubicBezTo>
                    <a:cubicBezTo>
                      <a:pt x="77108" y="277562"/>
                      <a:pt x="76937" y="278178"/>
                      <a:pt x="76829" y="278799"/>
                    </a:cubicBezTo>
                    <a:lnTo>
                      <a:pt x="71130" y="276348"/>
                    </a:lnTo>
                    <a:cubicBezTo>
                      <a:pt x="66513" y="274012"/>
                      <a:pt x="60358" y="271675"/>
                      <a:pt x="56767" y="275380"/>
                    </a:cubicBezTo>
                    <a:cubicBezTo>
                      <a:pt x="55804" y="276485"/>
                      <a:pt x="55137" y="277819"/>
                      <a:pt x="54829" y="279255"/>
                    </a:cubicBezTo>
                    <a:cubicBezTo>
                      <a:pt x="53735" y="276451"/>
                      <a:pt x="51728" y="274103"/>
                      <a:pt x="49129" y="272587"/>
                    </a:cubicBezTo>
                    <a:cubicBezTo>
                      <a:pt x="44741" y="270478"/>
                      <a:pt x="38928" y="272587"/>
                      <a:pt x="35052" y="269680"/>
                    </a:cubicBezTo>
                    <a:cubicBezTo>
                      <a:pt x="31176" y="266773"/>
                      <a:pt x="31347" y="262328"/>
                      <a:pt x="28042" y="260105"/>
                    </a:cubicBezTo>
                    <a:cubicBezTo>
                      <a:pt x="26189" y="259290"/>
                      <a:pt x="24286" y="258606"/>
                      <a:pt x="22342" y="258053"/>
                    </a:cubicBezTo>
                    <a:cubicBezTo>
                      <a:pt x="20575" y="257255"/>
                      <a:pt x="18922" y="255374"/>
                      <a:pt x="19549" y="253494"/>
                    </a:cubicBezTo>
                    <a:cubicBezTo>
                      <a:pt x="19971" y="252690"/>
                      <a:pt x="20467" y="251926"/>
                      <a:pt x="21031" y="251214"/>
                    </a:cubicBezTo>
                    <a:cubicBezTo>
                      <a:pt x="22456" y="248250"/>
                      <a:pt x="19321" y="245514"/>
                      <a:pt x="16643" y="243349"/>
                    </a:cubicBezTo>
                    <a:cubicBezTo>
                      <a:pt x="13964" y="241183"/>
                      <a:pt x="11285" y="237649"/>
                      <a:pt x="13451" y="235255"/>
                    </a:cubicBezTo>
                    <a:cubicBezTo>
                      <a:pt x="7221" y="234668"/>
                      <a:pt x="2149" y="230012"/>
                      <a:pt x="1026" y="223856"/>
                    </a:cubicBezTo>
                    <a:cubicBezTo>
                      <a:pt x="895" y="220625"/>
                      <a:pt x="553" y="217410"/>
                      <a:pt x="0" y="214224"/>
                    </a:cubicBezTo>
                    <a:cubicBezTo>
                      <a:pt x="1807" y="211756"/>
                      <a:pt x="4223" y="209790"/>
                      <a:pt x="7011" y="208525"/>
                    </a:cubicBezTo>
                    <a:cubicBezTo>
                      <a:pt x="10835" y="207071"/>
                      <a:pt x="14887" y="206302"/>
                      <a:pt x="18979" y="206245"/>
                    </a:cubicBezTo>
                    <a:cubicBezTo>
                      <a:pt x="30931" y="205282"/>
                      <a:pt x="42815" y="203549"/>
                      <a:pt x="54544" y="201058"/>
                    </a:cubicBezTo>
                    <a:cubicBezTo>
                      <a:pt x="63834" y="199121"/>
                      <a:pt x="74036" y="195872"/>
                      <a:pt x="78482" y="187437"/>
                    </a:cubicBezTo>
                    <a:cubicBezTo>
                      <a:pt x="80135" y="184245"/>
                      <a:pt x="80762" y="180540"/>
                      <a:pt x="82529" y="177406"/>
                    </a:cubicBezTo>
                    <a:cubicBezTo>
                      <a:pt x="84050" y="173992"/>
                      <a:pt x="87664" y="172008"/>
                      <a:pt x="91363" y="172561"/>
                    </a:cubicBezTo>
                    <a:lnTo>
                      <a:pt x="92047" y="130214"/>
                    </a:lnTo>
                    <a:cubicBezTo>
                      <a:pt x="92047" y="124059"/>
                      <a:pt x="90565" y="116136"/>
                      <a:pt x="85492" y="114084"/>
                    </a:cubicBezTo>
                    <a:lnTo>
                      <a:pt x="85492" y="114084"/>
                    </a:lnTo>
                    <a:cubicBezTo>
                      <a:pt x="87652" y="110237"/>
                      <a:pt x="91334" y="107485"/>
                      <a:pt x="95637" y="106504"/>
                    </a:cubicBezTo>
                    <a:cubicBezTo>
                      <a:pt x="97307" y="106618"/>
                      <a:pt x="98983" y="106618"/>
                      <a:pt x="100653" y="106504"/>
                    </a:cubicBezTo>
                    <a:cubicBezTo>
                      <a:pt x="104756" y="105706"/>
                      <a:pt x="106352" y="100805"/>
                      <a:pt x="107321" y="96872"/>
                    </a:cubicBezTo>
                    <a:cubicBezTo>
                      <a:pt x="115397" y="101181"/>
                      <a:pt x="125394" y="99232"/>
                      <a:pt x="131259" y="92198"/>
                    </a:cubicBezTo>
                    <a:cubicBezTo>
                      <a:pt x="133596" y="89235"/>
                      <a:pt x="135135" y="85473"/>
                      <a:pt x="138383" y="83649"/>
                    </a:cubicBezTo>
                    <a:cubicBezTo>
                      <a:pt x="141632" y="81825"/>
                      <a:pt x="144653" y="82168"/>
                      <a:pt x="146704" y="79831"/>
                    </a:cubicBezTo>
                    <a:cubicBezTo>
                      <a:pt x="147844" y="78052"/>
                      <a:pt x="148768" y="76137"/>
                      <a:pt x="149440" y="74131"/>
                    </a:cubicBezTo>
                    <a:cubicBezTo>
                      <a:pt x="151492" y="70597"/>
                      <a:pt x="155824" y="69344"/>
                      <a:pt x="159243" y="67178"/>
                    </a:cubicBezTo>
                    <a:cubicBezTo>
                      <a:pt x="162663" y="65012"/>
                      <a:pt x="165399" y="60167"/>
                      <a:pt x="162663" y="57147"/>
                    </a:cubicBezTo>
                    <a:cubicBezTo>
                      <a:pt x="170471" y="56748"/>
                      <a:pt x="179476" y="55608"/>
                      <a:pt x="183751" y="49053"/>
                    </a:cubicBezTo>
                    <a:cubicBezTo>
                      <a:pt x="184515" y="47378"/>
                      <a:pt x="185598" y="45867"/>
                      <a:pt x="186943" y="44608"/>
                    </a:cubicBezTo>
                    <a:cubicBezTo>
                      <a:pt x="188185" y="43901"/>
                      <a:pt x="189565" y="43474"/>
                      <a:pt x="190989" y="43354"/>
                    </a:cubicBezTo>
                    <a:cubicBezTo>
                      <a:pt x="199766" y="41775"/>
                      <a:pt x="207877" y="37626"/>
                      <a:pt x="214300" y="31442"/>
                    </a:cubicBezTo>
                    <a:cubicBezTo>
                      <a:pt x="216181" y="29675"/>
                      <a:pt x="217891" y="27737"/>
                      <a:pt x="220000" y="26028"/>
                    </a:cubicBezTo>
                    <a:cubicBezTo>
                      <a:pt x="222359" y="24044"/>
                      <a:pt x="224878" y="22255"/>
                      <a:pt x="227523" y="20670"/>
                    </a:cubicBezTo>
                    <a:lnTo>
                      <a:pt x="253000" y="4769"/>
                    </a:lnTo>
                    <a:cubicBezTo>
                      <a:pt x="257109" y="1628"/>
                      <a:pt x="262193" y="38"/>
                      <a:pt x="267363" y="266"/>
                    </a:cubicBezTo>
                    <a:cubicBezTo>
                      <a:pt x="273079" y="-304"/>
                      <a:pt x="278853" y="44"/>
                      <a:pt x="284461" y="1292"/>
                    </a:cubicBezTo>
                    <a:cubicBezTo>
                      <a:pt x="290120" y="2671"/>
                      <a:pt x="294788" y="6644"/>
                      <a:pt x="297057" y="12007"/>
                    </a:cubicBezTo>
                    <a:cubicBezTo>
                      <a:pt x="300818" y="12007"/>
                      <a:pt x="305378" y="12007"/>
                      <a:pt x="307202" y="15142"/>
                    </a:cubicBezTo>
                    <a:cubicBezTo>
                      <a:pt x="307869" y="16663"/>
                      <a:pt x="308296" y="18276"/>
                      <a:pt x="308455" y="19929"/>
                    </a:cubicBezTo>
                    <a:cubicBezTo>
                      <a:pt x="311020" y="31328"/>
                      <a:pt x="328005" y="35660"/>
                      <a:pt x="329487" y="47344"/>
                    </a:cubicBezTo>
                    <a:cubicBezTo>
                      <a:pt x="329487" y="49339"/>
                      <a:pt x="329487" y="51390"/>
                      <a:pt x="329886" y="53385"/>
                    </a:cubicBezTo>
                    <a:cubicBezTo>
                      <a:pt x="331066" y="56822"/>
                      <a:pt x="332838" y="60025"/>
                      <a:pt x="335129" y="62846"/>
                    </a:cubicBezTo>
                    <a:cubicBezTo>
                      <a:pt x="339398" y="70170"/>
                      <a:pt x="339398" y="79232"/>
                      <a:pt x="335129" y="86556"/>
                    </a:cubicBezTo>
                    <a:cubicBezTo>
                      <a:pt x="333015" y="89178"/>
                      <a:pt x="331373" y="92147"/>
                      <a:pt x="330285" y="95333"/>
                    </a:cubicBezTo>
                    <a:cubicBezTo>
                      <a:pt x="329897" y="98103"/>
                      <a:pt x="330114" y="100919"/>
                      <a:pt x="330911" y="103597"/>
                    </a:cubicBezTo>
                    <a:cubicBezTo>
                      <a:pt x="334291" y="119556"/>
                      <a:pt x="335061" y="135953"/>
                      <a:pt x="333191" y="152157"/>
                    </a:cubicBezTo>
                    <a:cubicBezTo>
                      <a:pt x="332165" y="160592"/>
                      <a:pt x="329658" y="170110"/>
                      <a:pt x="321792" y="173929"/>
                    </a:cubicBezTo>
                    <a:cubicBezTo>
                      <a:pt x="316663" y="176551"/>
                      <a:pt x="308912" y="177292"/>
                      <a:pt x="308114" y="182934"/>
                    </a:cubicBezTo>
                    <a:cubicBezTo>
                      <a:pt x="307772" y="185385"/>
                      <a:pt x="309083" y="188007"/>
                      <a:pt x="308114" y="190286"/>
                    </a:cubicBezTo>
                    <a:cubicBezTo>
                      <a:pt x="306803" y="193592"/>
                      <a:pt x="302072" y="193934"/>
                      <a:pt x="299963" y="196784"/>
                    </a:cubicBezTo>
                    <a:cubicBezTo>
                      <a:pt x="297855" y="199634"/>
                      <a:pt x="298995" y="203281"/>
                      <a:pt x="297627" y="206302"/>
                    </a:cubicBezTo>
                    <a:cubicBezTo>
                      <a:pt x="296715" y="208126"/>
                      <a:pt x="294948" y="209494"/>
                      <a:pt x="294036" y="211317"/>
                    </a:cubicBezTo>
                    <a:cubicBezTo>
                      <a:pt x="293438" y="213495"/>
                      <a:pt x="293381" y="215780"/>
                      <a:pt x="293865" y="21798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8" name="Freihandform: Form 682">
                <a:extLst>
                  <a:ext uri="{FF2B5EF4-FFF2-40B4-BE49-F238E27FC236}">
                    <a16:creationId xmlns:a16="http://schemas.microsoft.com/office/drawing/2014/main" id="{A4A24178-2E04-1D5E-6638-31ED68A997FD}"/>
                  </a:ext>
                </a:extLst>
              </p:cNvPr>
              <p:cNvSpPr/>
              <p:nvPr/>
            </p:nvSpPr>
            <p:spPr>
              <a:xfrm>
                <a:off x="3576784" y="3336976"/>
                <a:ext cx="467166" cy="467452"/>
              </a:xfrm>
              <a:custGeom>
                <a:avLst/>
                <a:gdLst>
                  <a:gd name="connsiteX0" fmla="*/ 461467 w 467166"/>
                  <a:gd name="connsiteY0" fmla="*/ 344914 h 467452"/>
                  <a:gd name="connsiteX1" fmla="*/ 467167 w 467166"/>
                  <a:gd name="connsiteY1" fmla="*/ 353634 h 467452"/>
                  <a:gd name="connsiteX2" fmla="*/ 465343 w 467166"/>
                  <a:gd name="connsiteY2" fmla="*/ 353634 h 467452"/>
                  <a:gd name="connsiteX3" fmla="*/ 450981 w 467166"/>
                  <a:gd name="connsiteY3" fmla="*/ 358137 h 467452"/>
                  <a:gd name="connsiteX4" fmla="*/ 425504 w 467166"/>
                  <a:gd name="connsiteY4" fmla="*/ 374038 h 467452"/>
                  <a:gd name="connsiteX5" fmla="*/ 417980 w 467166"/>
                  <a:gd name="connsiteY5" fmla="*/ 379396 h 467452"/>
                  <a:gd name="connsiteX6" fmla="*/ 412281 w 467166"/>
                  <a:gd name="connsiteY6" fmla="*/ 384810 h 467452"/>
                  <a:gd name="connsiteX7" fmla="*/ 388970 w 467166"/>
                  <a:gd name="connsiteY7" fmla="*/ 396722 h 467452"/>
                  <a:gd name="connsiteX8" fmla="*/ 384924 w 467166"/>
                  <a:gd name="connsiteY8" fmla="*/ 397976 h 467452"/>
                  <a:gd name="connsiteX9" fmla="*/ 381732 w 467166"/>
                  <a:gd name="connsiteY9" fmla="*/ 402422 h 467452"/>
                  <a:gd name="connsiteX10" fmla="*/ 360644 w 467166"/>
                  <a:gd name="connsiteY10" fmla="*/ 410515 h 467452"/>
                  <a:gd name="connsiteX11" fmla="*/ 357224 w 467166"/>
                  <a:gd name="connsiteY11" fmla="*/ 420546 h 467452"/>
                  <a:gd name="connsiteX12" fmla="*/ 347421 w 467166"/>
                  <a:gd name="connsiteY12" fmla="*/ 427499 h 467452"/>
                  <a:gd name="connsiteX13" fmla="*/ 344685 w 467166"/>
                  <a:gd name="connsiteY13" fmla="*/ 433199 h 467452"/>
                  <a:gd name="connsiteX14" fmla="*/ 336364 w 467166"/>
                  <a:gd name="connsiteY14" fmla="*/ 437017 h 467452"/>
                  <a:gd name="connsiteX15" fmla="*/ 329240 w 467166"/>
                  <a:gd name="connsiteY15" fmla="*/ 445567 h 467452"/>
                  <a:gd name="connsiteX16" fmla="*/ 305302 w 467166"/>
                  <a:gd name="connsiteY16" fmla="*/ 450240 h 467452"/>
                  <a:gd name="connsiteX17" fmla="*/ 298633 w 467166"/>
                  <a:gd name="connsiteY17" fmla="*/ 459872 h 467452"/>
                  <a:gd name="connsiteX18" fmla="*/ 293618 w 467166"/>
                  <a:gd name="connsiteY18" fmla="*/ 459872 h 467452"/>
                  <a:gd name="connsiteX19" fmla="*/ 283473 w 467166"/>
                  <a:gd name="connsiteY19" fmla="*/ 467453 h 467452"/>
                  <a:gd name="connsiteX20" fmla="*/ 283473 w 467166"/>
                  <a:gd name="connsiteY20" fmla="*/ 467453 h 467452"/>
                  <a:gd name="connsiteX21" fmla="*/ 280965 w 467166"/>
                  <a:gd name="connsiteY21" fmla="*/ 466997 h 467452"/>
                  <a:gd name="connsiteX22" fmla="*/ 273214 w 467166"/>
                  <a:gd name="connsiteY22" fmla="*/ 466085 h 467452"/>
                  <a:gd name="connsiteX23" fmla="*/ 271732 w 467166"/>
                  <a:gd name="connsiteY23" fmla="*/ 461183 h 467452"/>
                  <a:gd name="connsiteX24" fmla="*/ 267116 w 467166"/>
                  <a:gd name="connsiteY24" fmla="*/ 459530 h 467452"/>
                  <a:gd name="connsiteX25" fmla="*/ 254007 w 467166"/>
                  <a:gd name="connsiteY25" fmla="*/ 441691 h 467452"/>
                  <a:gd name="connsiteX26" fmla="*/ 247338 w 467166"/>
                  <a:gd name="connsiteY26" fmla="*/ 440152 h 467452"/>
                  <a:gd name="connsiteX27" fmla="*/ 228074 w 467166"/>
                  <a:gd name="connsiteY27" fmla="*/ 422313 h 467452"/>
                  <a:gd name="connsiteX28" fmla="*/ 219639 w 467166"/>
                  <a:gd name="connsiteY28" fmla="*/ 415245 h 467452"/>
                  <a:gd name="connsiteX29" fmla="*/ 194048 w 467166"/>
                  <a:gd name="connsiteY29" fmla="*/ 393758 h 467452"/>
                  <a:gd name="connsiteX30" fmla="*/ 165038 w 467166"/>
                  <a:gd name="connsiteY30" fmla="*/ 369365 h 467452"/>
                  <a:gd name="connsiteX31" fmla="*/ 153639 w 467166"/>
                  <a:gd name="connsiteY31" fmla="*/ 360701 h 467452"/>
                  <a:gd name="connsiteX32" fmla="*/ 145318 w 467166"/>
                  <a:gd name="connsiteY32" fmla="*/ 356085 h 467452"/>
                  <a:gd name="connsiteX33" fmla="*/ 134546 w 467166"/>
                  <a:gd name="connsiteY33" fmla="*/ 348960 h 467452"/>
                  <a:gd name="connsiteX34" fmla="*/ 93908 w 467166"/>
                  <a:gd name="connsiteY34" fmla="*/ 320463 h 467452"/>
                  <a:gd name="connsiteX35" fmla="*/ 75271 w 467166"/>
                  <a:gd name="connsiteY35" fmla="*/ 312085 h 467452"/>
                  <a:gd name="connsiteX36" fmla="*/ 69572 w 467166"/>
                  <a:gd name="connsiteY36" fmla="*/ 312598 h 467452"/>
                  <a:gd name="connsiteX37" fmla="*/ 53499 w 467166"/>
                  <a:gd name="connsiteY37" fmla="*/ 289401 h 467452"/>
                  <a:gd name="connsiteX38" fmla="*/ 40732 w 467166"/>
                  <a:gd name="connsiteY38" fmla="*/ 284328 h 467452"/>
                  <a:gd name="connsiteX39" fmla="*/ 29960 w 467166"/>
                  <a:gd name="connsiteY39" fmla="*/ 268085 h 467452"/>
                  <a:gd name="connsiteX40" fmla="*/ 12178 w 467166"/>
                  <a:gd name="connsiteY40" fmla="*/ 266147 h 467452"/>
                  <a:gd name="connsiteX41" fmla="*/ 7732 w 467166"/>
                  <a:gd name="connsiteY41" fmla="*/ 258795 h 467452"/>
                  <a:gd name="connsiteX42" fmla="*/ 3971 w 467166"/>
                  <a:gd name="connsiteY42" fmla="*/ 255204 h 467452"/>
                  <a:gd name="connsiteX43" fmla="*/ 2318 w 467166"/>
                  <a:gd name="connsiteY43" fmla="*/ 248764 h 467452"/>
                  <a:gd name="connsiteX44" fmla="*/ 1178 w 467166"/>
                  <a:gd name="connsiteY44" fmla="*/ 244603 h 467452"/>
                  <a:gd name="connsiteX45" fmla="*/ 95 w 467166"/>
                  <a:gd name="connsiteY45" fmla="*/ 247054 h 467452"/>
                  <a:gd name="connsiteX46" fmla="*/ 95 w 467166"/>
                  <a:gd name="connsiteY46" fmla="*/ 236396 h 467452"/>
                  <a:gd name="connsiteX47" fmla="*/ 2090 w 467166"/>
                  <a:gd name="connsiteY47" fmla="*/ 225795 h 467452"/>
                  <a:gd name="connsiteX48" fmla="*/ 9271 w 467166"/>
                  <a:gd name="connsiteY48" fmla="*/ 212116 h 467452"/>
                  <a:gd name="connsiteX49" fmla="*/ 21981 w 467166"/>
                  <a:gd name="connsiteY49" fmla="*/ 209665 h 467452"/>
                  <a:gd name="connsiteX50" fmla="*/ 33380 w 467166"/>
                  <a:gd name="connsiteY50" fmla="*/ 201572 h 467452"/>
                  <a:gd name="connsiteX51" fmla="*/ 40618 w 467166"/>
                  <a:gd name="connsiteY51" fmla="*/ 200318 h 467452"/>
                  <a:gd name="connsiteX52" fmla="*/ 44950 w 467166"/>
                  <a:gd name="connsiteY52" fmla="*/ 196500 h 467452"/>
                  <a:gd name="connsiteX53" fmla="*/ 82908 w 467166"/>
                  <a:gd name="connsiteY53" fmla="*/ 181909 h 467452"/>
                  <a:gd name="connsiteX54" fmla="*/ 97100 w 467166"/>
                  <a:gd name="connsiteY54" fmla="*/ 164526 h 467452"/>
                  <a:gd name="connsiteX55" fmla="*/ 109297 w 467166"/>
                  <a:gd name="connsiteY55" fmla="*/ 166862 h 467452"/>
                  <a:gd name="connsiteX56" fmla="*/ 111691 w 467166"/>
                  <a:gd name="connsiteY56" fmla="*/ 151018 h 467452"/>
                  <a:gd name="connsiteX57" fmla="*/ 126224 w 467166"/>
                  <a:gd name="connsiteY57" fmla="*/ 136313 h 467452"/>
                  <a:gd name="connsiteX58" fmla="*/ 140245 w 467166"/>
                  <a:gd name="connsiteY58" fmla="*/ 131526 h 467452"/>
                  <a:gd name="connsiteX59" fmla="*/ 158541 w 467166"/>
                  <a:gd name="connsiteY59" fmla="*/ 133691 h 467452"/>
                  <a:gd name="connsiteX60" fmla="*/ 174157 w 467166"/>
                  <a:gd name="connsiteY60" fmla="*/ 126339 h 467452"/>
                  <a:gd name="connsiteX61" fmla="*/ 157800 w 467166"/>
                  <a:gd name="connsiteY61" fmla="*/ 90603 h 467452"/>
                  <a:gd name="connsiteX62" fmla="*/ 162644 w 467166"/>
                  <a:gd name="connsiteY62" fmla="*/ 76241 h 467452"/>
                  <a:gd name="connsiteX63" fmla="*/ 159053 w 467166"/>
                  <a:gd name="connsiteY63" fmla="*/ 71738 h 467452"/>
                  <a:gd name="connsiteX64" fmla="*/ 155121 w 467166"/>
                  <a:gd name="connsiteY64" fmla="*/ 58914 h 467452"/>
                  <a:gd name="connsiteX65" fmla="*/ 204763 w 467166"/>
                  <a:gd name="connsiteY65" fmla="*/ 29049 h 467452"/>
                  <a:gd name="connsiteX66" fmla="*/ 221178 w 467166"/>
                  <a:gd name="connsiteY66" fmla="*/ 13148 h 467452"/>
                  <a:gd name="connsiteX67" fmla="*/ 246426 w 467166"/>
                  <a:gd name="connsiteY67" fmla="*/ 13661 h 467452"/>
                  <a:gd name="connsiteX68" fmla="*/ 293789 w 467166"/>
                  <a:gd name="connsiteY68" fmla="*/ 5567 h 467452"/>
                  <a:gd name="connsiteX69" fmla="*/ 318354 w 467166"/>
                  <a:gd name="connsiteY69" fmla="*/ 11267 h 467452"/>
                  <a:gd name="connsiteX70" fmla="*/ 325250 w 467166"/>
                  <a:gd name="connsiteY70" fmla="*/ 6536 h 467452"/>
                  <a:gd name="connsiteX71" fmla="*/ 361328 w 467166"/>
                  <a:gd name="connsiteY71" fmla="*/ 381 h 467452"/>
                  <a:gd name="connsiteX72" fmla="*/ 376716 w 467166"/>
                  <a:gd name="connsiteY72" fmla="*/ 1236 h 467452"/>
                  <a:gd name="connsiteX73" fmla="*/ 375747 w 467166"/>
                  <a:gd name="connsiteY73" fmla="*/ 13205 h 467452"/>
                  <a:gd name="connsiteX74" fmla="*/ 382359 w 467166"/>
                  <a:gd name="connsiteY74" fmla="*/ 34635 h 467452"/>
                  <a:gd name="connsiteX75" fmla="*/ 380877 w 467166"/>
                  <a:gd name="connsiteY75" fmla="*/ 56293 h 467452"/>
                  <a:gd name="connsiteX76" fmla="*/ 364975 w 467166"/>
                  <a:gd name="connsiteY76" fmla="*/ 69914 h 467452"/>
                  <a:gd name="connsiteX77" fmla="*/ 361841 w 467166"/>
                  <a:gd name="connsiteY77" fmla="*/ 76241 h 467452"/>
                  <a:gd name="connsiteX78" fmla="*/ 360986 w 467166"/>
                  <a:gd name="connsiteY78" fmla="*/ 97671 h 467452"/>
                  <a:gd name="connsiteX79" fmla="*/ 376716 w 467166"/>
                  <a:gd name="connsiteY79" fmla="*/ 111065 h 467452"/>
                  <a:gd name="connsiteX80" fmla="*/ 379509 w 467166"/>
                  <a:gd name="connsiteY80" fmla="*/ 120925 h 467452"/>
                  <a:gd name="connsiteX81" fmla="*/ 387089 w 467166"/>
                  <a:gd name="connsiteY81" fmla="*/ 128220 h 467452"/>
                  <a:gd name="connsiteX82" fmla="*/ 403219 w 467166"/>
                  <a:gd name="connsiteY82" fmla="*/ 185215 h 467452"/>
                  <a:gd name="connsiteX83" fmla="*/ 407265 w 467166"/>
                  <a:gd name="connsiteY83" fmla="*/ 200375 h 467452"/>
                  <a:gd name="connsiteX84" fmla="*/ 414618 w 467166"/>
                  <a:gd name="connsiteY84" fmla="*/ 208298 h 467452"/>
                  <a:gd name="connsiteX85" fmla="*/ 411711 w 467166"/>
                  <a:gd name="connsiteY85" fmla="*/ 239873 h 467452"/>
                  <a:gd name="connsiteX86" fmla="*/ 414390 w 467166"/>
                  <a:gd name="connsiteY86" fmla="*/ 247111 h 467452"/>
                  <a:gd name="connsiteX87" fmla="*/ 413193 w 467166"/>
                  <a:gd name="connsiteY87" fmla="*/ 270992 h 467452"/>
                  <a:gd name="connsiteX88" fmla="*/ 420374 w 467166"/>
                  <a:gd name="connsiteY88" fmla="*/ 319152 h 467452"/>
                  <a:gd name="connsiteX89" fmla="*/ 426530 w 467166"/>
                  <a:gd name="connsiteY89" fmla="*/ 327075 h 467452"/>
                  <a:gd name="connsiteX90" fmla="*/ 431431 w 467166"/>
                  <a:gd name="connsiteY90" fmla="*/ 329126 h 467452"/>
                  <a:gd name="connsiteX91" fmla="*/ 461467 w 467166"/>
                  <a:gd name="connsiteY91" fmla="*/ 344914 h 46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467166" h="467452">
                    <a:moveTo>
                      <a:pt x="461467" y="344914"/>
                    </a:moveTo>
                    <a:cubicBezTo>
                      <a:pt x="463798" y="347513"/>
                      <a:pt x="465725" y="350454"/>
                      <a:pt x="467167" y="353634"/>
                    </a:cubicBezTo>
                    <a:lnTo>
                      <a:pt x="465343" y="353634"/>
                    </a:lnTo>
                    <a:cubicBezTo>
                      <a:pt x="460174" y="353406"/>
                      <a:pt x="455090" y="354996"/>
                      <a:pt x="450981" y="358137"/>
                    </a:cubicBezTo>
                    <a:lnTo>
                      <a:pt x="425504" y="374038"/>
                    </a:lnTo>
                    <a:cubicBezTo>
                      <a:pt x="422859" y="375623"/>
                      <a:pt x="420340" y="377412"/>
                      <a:pt x="417980" y="379396"/>
                    </a:cubicBezTo>
                    <a:cubicBezTo>
                      <a:pt x="416043" y="381106"/>
                      <a:pt x="414333" y="383043"/>
                      <a:pt x="412281" y="384810"/>
                    </a:cubicBezTo>
                    <a:cubicBezTo>
                      <a:pt x="405858" y="390994"/>
                      <a:pt x="397747" y="395143"/>
                      <a:pt x="388970" y="396722"/>
                    </a:cubicBezTo>
                    <a:cubicBezTo>
                      <a:pt x="387545" y="396842"/>
                      <a:pt x="386166" y="397269"/>
                      <a:pt x="384924" y="397976"/>
                    </a:cubicBezTo>
                    <a:cubicBezTo>
                      <a:pt x="383578" y="399236"/>
                      <a:pt x="382495" y="400746"/>
                      <a:pt x="381732" y="402422"/>
                    </a:cubicBezTo>
                    <a:cubicBezTo>
                      <a:pt x="377457" y="408976"/>
                      <a:pt x="368452" y="410116"/>
                      <a:pt x="360644" y="410515"/>
                    </a:cubicBezTo>
                    <a:cubicBezTo>
                      <a:pt x="363380" y="413536"/>
                      <a:pt x="360644" y="418437"/>
                      <a:pt x="357224" y="420546"/>
                    </a:cubicBezTo>
                    <a:cubicBezTo>
                      <a:pt x="353804" y="422655"/>
                      <a:pt x="349473" y="423966"/>
                      <a:pt x="347421" y="427499"/>
                    </a:cubicBezTo>
                    <a:cubicBezTo>
                      <a:pt x="346748" y="429506"/>
                      <a:pt x="345825" y="431421"/>
                      <a:pt x="344685" y="433199"/>
                    </a:cubicBezTo>
                    <a:cubicBezTo>
                      <a:pt x="342634" y="435535"/>
                      <a:pt x="338986" y="435479"/>
                      <a:pt x="336364" y="437017"/>
                    </a:cubicBezTo>
                    <a:cubicBezTo>
                      <a:pt x="333742" y="438556"/>
                      <a:pt x="331577" y="442717"/>
                      <a:pt x="329240" y="445567"/>
                    </a:cubicBezTo>
                    <a:cubicBezTo>
                      <a:pt x="323375" y="452600"/>
                      <a:pt x="313378" y="454549"/>
                      <a:pt x="305302" y="450240"/>
                    </a:cubicBezTo>
                    <a:cubicBezTo>
                      <a:pt x="304390" y="454287"/>
                      <a:pt x="302737" y="459074"/>
                      <a:pt x="298633" y="459872"/>
                    </a:cubicBezTo>
                    <a:cubicBezTo>
                      <a:pt x="296964" y="459986"/>
                      <a:pt x="295288" y="459986"/>
                      <a:pt x="293618" y="459872"/>
                    </a:cubicBezTo>
                    <a:cubicBezTo>
                      <a:pt x="289315" y="460853"/>
                      <a:pt x="285633" y="463605"/>
                      <a:pt x="283473" y="467453"/>
                    </a:cubicBezTo>
                    <a:lnTo>
                      <a:pt x="283473" y="467453"/>
                    </a:lnTo>
                    <a:cubicBezTo>
                      <a:pt x="282669" y="467150"/>
                      <a:pt x="281820" y="466997"/>
                      <a:pt x="280965" y="466997"/>
                    </a:cubicBezTo>
                    <a:cubicBezTo>
                      <a:pt x="278230" y="466997"/>
                      <a:pt x="274753" y="468365"/>
                      <a:pt x="273214" y="466085"/>
                    </a:cubicBezTo>
                    <a:cubicBezTo>
                      <a:pt x="272188" y="464660"/>
                      <a:pt x="272758" y="462551"/>
                      <a:pt x="271732" y="461183"/>
                    </a:cubicBezTo>
                    <a:cubicBezTo>
                      <a:pt x="270706" y="459815"/>
                      <a:pt x="268711" y="459929"/>
                      <a:pt x="267116" y="459530"/>
                    </a:cubicBezTo>
                    <a:cubicBezTo>
                      <a:pt x="259763" y="457536"/>
                      <a:pt x="260732" y="445282"/>
                      <a:pt x="254007" y="441691"/>
                    </a:cubicBezTo>
                    <a:cubicBezTo>
                      <a:pt x="251875" y="440836"/>
                      <a:pt x="249630" y="440317"/>
                      <a:pt x="247338" y="440152"/>
                    </a:cubicBezTo>
                    <a:cubicBezTo>
                      <a:pt x="237997" y="438448"/>
                      <a:pt x="230491" y="431495"/>
                      <a:pt x="228074" y="422313"/>
                    </a:cubicBezTo>
                    <a:lnTo>
                      <a:pt x="219639" y="415245"/>
                    </a:lnTo>
                    <a:lnTo>
                      <a:pt x="194048" y="393758"/>
                    </a:lnTo>
                    <a:lnTo>
                      <a:pt x="165038" y="369365"/>
                    </a:lnTo>
                    <a:cubicBezTo>
                      <a:pt x="161453" y="366201"/>
                      <a:pt x="157646" y="363306"/>
                      <a:pt x="153639" y="360701"/>
                    </a:cubicBezTo>
                    <a:cubicBezTo>
                      <a:pt x="150903" y="359049"/>
                      <a:pt x="147939" y="357681"/>
                      <a:pt x="145318" y="356085"/>
                    </a:cubicBezTo>
                    <a:cubicBezTo>
                      <a:pt x="141556" y="353919"/>
                      <a:pt x="138079" y="351468"/>
                      <a:pt x="134546" y="348960"/>
                    </a:cubicBezTo>
                    <a:lnTo>
                      <a:pt x="93908" y="320463"/>
                    </a:lnTo>
                    <a:cubicBezTo>
                      <a:pt x="88636" y="315932"/>
                      <a:pt x="82162" y="313020"/>
                      <a:pt x="75271" y="312085"/>
                    </a:cubicBezTo>
                    <a:cubicBezTo>
                      <a:pt x="73356" y="312062"/>
                      <a:pt x="71447" y="312233"/>
                      <a:pt x="69572" y="312598"/>
                    </a:cubicBezTo>
                    <a:cubicBezTo>
                      <a:pt x="67463" y="302738"/>
                      <a:pt x="62675" y="292992"/>
                      <a:pt x="53499" y="289401"/>
                    </a:cubicBezTo>
                    <a:cubicBezTo>
                      <a:pt x="48979" y="288461"/>
                      <a:pt x="44665" y="286745"/>
                      <a:pt x="40732" y="284328"/>
                    </a:cubicBezTo>
                    <a:cubicBezTo>
                      <a:pt x="35831" y="279883"/>
                      <a:pt x="35888" y="270935"/>
                      <a:pt x="29960" y="268085"/>
                    </a:cubicBezTo>
                    <a:cubicBezTo>
                      <a:pt x="24033" y="265235"/>
                      <a:pt x="16966" y="269909"/>
                      <a:pt x="12178" y="266147"/>
                    </a:cubicBezTo>
                    <a:cubicBezTo>
                      <a:pt x="10234" y="264010"/>
                      <a:pt x="8724" y="261514"/>
                      <a:pt x="7732" y="258795"/>
                    </a:cubicBezTo>
                    <a:cubicBezTo>
                      <a:pt x="6883" y="257233"/>
                      <a:pt x="5567" y="255979"/>
                      <a:pt x="3971" y="255204"/>
                    </a:cubicBezTo>
                    <a:cubicBezTo>
                      <a:pt x="3458" y="253038"/>
                      <a:pt x="2888" y="250930"/>
                      <a:pt x="2318" y="248764"/>
                    </a:cubicBezTo>
                    <a:cubicBezTo>
                      <a:pt x="1748" y="246598"/>
                      <a:pt x="1577" y="245971"/>
                      <a:pt x="1178" y="244603"/>
                    </a:cubicBezTo>
                    <a:lnTo>
                      <a:pt x="95" y="247054"/>
                    </a:lnTo>
                    <a:cubicBezTo>
                      <a:pt x="95" y="243463"/>
                      <a:pt x="95" y="239873"/>
                      <a:pt x="95" y="236396"/>
                    </a:cubicBezTo>
                    <a:cubicBezTo>
                      <a:pt x="-270" y="232743"/>
                      <a:pt x="420" y="229066"/>
                      <a:pt x="2090" y="225795"/>
                    </a:cubicBezTo>
                    <a:cubicBezTo>
                      <a:pt x="5053" y="221064"/>
                      <a:pt x="12178" y="216847"/>
                      <a:pt x="9271" y="212116"/>
                    </a:cubicBezTo>
                    <a:cubicBezTo>
                      <a:pt x="12976" y="215023"/>
                      <a:pt x="18447" y="212743"/>
                      <a:pt x="21981" y="209665"/>
                    </a:cubicBezTo>
                    <a:cubicBezTo>
                      <a:pt x="25048" y="206063"/>
                      <a:pt x="28969" y="203282"/>
                      <a:pt x="33380" y="201572"/>
                    </a:cubicBezTo>
                    <a:cubicBezTo>
                      <a:pt x="35836" y="201453"/>
                      <a:pt x="38264" y="201031"/>
                      <a:pt x="40618" y="200318"/>
                    </a:cubicBezTo>
                    <a:cubicBezTo>
                      <a:pt x="42271" y="199298"/>
                      <a:pt x="43736" y="198010"/>
                      <a:pt x="44950" y="196500"/>
                    </a:cubicBezTo>
                    <a:cubicBezTo>
                      <a:pt x="54924" y="186925"/>
                      <a:pt x="74359" y="192852"/>
                      <a:pt x="82908" y="181909"/>
                    </a:cubicBezTo>
                    <a:cubicBezTo>
                      <a:pt x="87753" y="175697"/>
                      <a:pt x="89235" y="164355"/>
                      <a:pt x="97100" y="164526"/>
                    </a:cubicBezTo>
                    <a:cubicBezTo>
                      <a:pt x="101375" y="164526"/>
                      <a:pt x="105479" y="168629"/>
                      <a:pt x="109297" y="166862"/>
                    </a:cubicBezTo>
                    <a:cubicBezTo>
                      <a:pt x="114483" y="164469"/>
                      <a:pt x="111235" y="156717"/>
                      <a:pt x="111691" y="151018"/>
                    </a:cubicBezTo>
                    <a:cubicBezTo>
                      <a:pt x="112261" y="143779"/>
                      <a:pt x="119727" y="139619"/>
                      <a:pt x="126224" y="136313"/>
                    </a:cubicBezTo>
                    <a:cubicBezTo>
                      <a:pt x="130573" y="133897"/>
                      <a:pt x="135321" y="132272"/>
                      <a:pt x="140245" y="131526"/>
                    </a:cubicBezTo>
                    <a:cubicBezTo>
                      <a:pt x="146389" y="131771"/>
                      <a:pt x="152510" y="132495"/>
                      <a:pt x="158541" y="133691"/>
                    </a:cubicBezTo>
                    <a:cubicBezTo>
                      <a:pt x="164781" y="134837"/>
                      <a:pt x="171062" y="131879"/>
                      <a:pt x="174157" y="126339"/>
                    </a:cubicBezTo>
                    <a:cubicBezTo>
                      <a:pt x="179002" y="113401"/>
                      <a:pt x="154209" y="103997"/>
                      <a:pt x="157800" y="90603"/>
                    </a:cubicBezTo>
                    <a:cubicBezTo>
                      <a:pt x="159167" y="85588"/>
                      <a:pt x="164582" y="81085"/>
                      <a:pt x="162644" y="76241"/>
                    </a:cubicBezTo>
                    <a:cubicBezTo>
                      <a:pt x="161681" y="74565"/>
                      <a:pt x="160473" y="73049"/>
                      <a:pt x="159053" y="71738"/>
                    </a:cubicBezTo>
                    <a:cubicBezTo>
                      <a:pt x="156232" y="68085"/>
                      <a:pt x="154830" y="63525"/>
                      <a:pt x="155121" y="58914"/>
                    </a:cubicBezTo>
                    <a:cubicBezTo>
                      <a:pt x="166959" y="42665"/>
                      <a:pt x="184861" y="31893"/>
                      <a:pt x="204763" y="29049"/>
                    </a:cubicBezTo>
                    <a:cubicBezTo>
                      <a:pt x="204022" y="20671"/>
                      <a:pt x="212856" y="14287"/>
                      <a:pt x="221178" y="13148"/>
                    </a:cubicBezTo>
                    <a:cubicBezTo>
                      <a:pt x="229499" y="12008"/>
                      <a:pt x="238276" y="14231"/>
                      <a:pt x="246426" y="13661"/>
                    </a:cubicBezTo>
                    <a:cubicBezTo>
                      <a:pt x="262613" y="12521"/>
                      <a:pt x="278173" y="1179"/>
                      <a:pt x="293789" y="5567"/>
                    </a:cubicBezTo>
                    <a:cubicBezTo>
                      <a:pt x="302110" y="7904"/>
                      <a:pt x="310374" y="14573"/>
                      <a:pt x="318354" y="11267"/>
                    </a:cubicBezTo>
                    <a:cubicBezTo>
                      <a:pt x="320833" y="9973"/>
                      <a:pt x="323153" y="8388"/>
                      <a:pt x="325250" y="6536"/>
                    </a:cubicBezTo>
                    <a:cubicBezTo>
                      <a:pt x="335338" y="-759"/>
                      <a:pt x="348903" y="-360"/>
                      <a:pt x="361328" y="381"/>
                    </a:cubicBezTo>
                    <a:lnTo>
                      <a:pt x="376716" y="1236"/>
                    </a:lnTo>
                    <a:cubicBezTo>
                      <a:pt x="375713" y="5140"/>
                      <a:pt x="375383" y="9186"/>
                      <a:pt x="375747" y="13205"/>
                    </a:cubicBezTo>
                    <a:cubicBezTo>
                      <a:pt x="377195" y="20563"/>
                      <a:pt x="379412" y="27744"/>
                      <a:pt x="382359" y="34635"/>
                    </a:cubicBezTo>
                    <a:cubicBezTo>
                      <a:pt x="385254" y="41691"/>
                      <a:pt x="384707" y="49693"/>
                      <a:pt x="380877" y="56293"/>
                    </a:cubicBezTo>
                    <a:cubicBezTo>
                      <a:pt x="376773" y="61992"/>
                      <a:pt x="369079" y="64215"/>
                      <a:pt x="364975" y="69914"/>
                    </a:cubicBezTo>
                    <a:cubicBezTo>
                      <a:pt x="363682" y="71892"/>
                      <a:pt x="362633" y="74012"/>
                      <a:pt x="361841" y="76241"/>
                    </a:cubicBezTo>
                    <a:cubicBezTo>
                      <a:pt x="359105" y="83194"/>
                      <a:pt x="356654" y="91572"/>
                      <a:pt x="360986" y="97671"/>
                    </a:cubicBezTo>
                    <a:cubicBezTo>
                      <a:pt x="365317" y="103769"/>
                      <a:pt x="373696" y="104738"/>
                      <a:pt x="376716" y="111065"/>
                    </a:cubicBezTo>
                    <a:cubicBezTo>
                      <a:pt x="378198" y="114142"/>
                      <a:pt x="377913" y="117847"/>
                      <a:pt x="379509" y="120925"/>
                    </a:cubicBezTo>
                    <a:cubicBezTo>
                      <a:pt x="381510" y="123854"/>
                      <a:pt x="384086" y="126333"/>
                      <a:pt x="387089" y="128220"/>
                    </a:cubicBezTo>
                    <a:cubicBezTo>
                      <a:pt x="402820" y="141215"/>
                      <a:pt x="402364" y="164811"/>
                      <a:pt x="403219" y="185215"/>
                    </a:cubicBezTo>
                    <a:cubicBezTo>
                      <a:pt x="402991" y="190561"/>
                      <a:pt x="404405" y="195850"/>
                      <a:pt x="407265" y="200375"/>
                    </a:cubicBezTo>
                    <a:cubicBezTo>
                      <a:pt x="409431" y="203225"/>
                      <a:pt x="412965" y="205163"/>
                      <a:pt x="414618" y="208298"/>
                    </a:cubicBezTo>
                    <a:cubicBezTo>
                      <a:pt x="420317" y="217645"/>
                      <a:pt x="409317" y="229329"/>
                      <a:pt x="411711" y="239873"/>
                    </a:cubicBezTo>
                    <a:cubicBezTo>
                      <a:pt x="412281" y="242380"/>
                      <a:pt x="413592" y="244660"/>
                      <a:pt x="414390" y="247111"/>
                    </a:cubicBezTo>
                    <a:cubicBezTo>
                      <a:pt x="416897" y="254748"/>
                      <a:pt x="414390" y="263070"/>
                      <a:pt x="413193" y="270992"/>
                    </a:cubicBezTo>
                    <a:cubicBezTo>
                      <a:pt x="410657" y="287401"/>
                      <a:pt x="413159" y="304197"/>
                      <a:pt x="420374" y="319152"/>
                    </a:cubicBezTo>
                    <a:cubicBezTo>
                      <a:pt x="421674" y="322304"/>
                      <a:pt x="423800" y="325040"/>
                      <a:pt x="426530" y="327075"/>
                    </a:cubicBezTo>
                    <a:cubicBezTo>
                      <a:pt x="428080" y="327941"/>
                      <a:pt x="429727" y="328631"/>
                      <a:pt x="431431" y="329126"/>
                    </a:cubicBezTo>
                    <a:cubicBezTo>
                      <a:pt x="442431" y="332489"/>
                      <a:pt x="453830" y="336422"/>
                      <a:pt x="461467" y="34491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89" name="Freihandform: Form 683">
                <a:extLst>
                  <a:ext uri="{FF2B5EF4-FFF2-40B4-BE49-F238E27FC236}">
                    <a16:creationId xmlns:a16="http://schemas.microsoft.com/office/drawing/2014/main" id="{7214F160-E8D3-6B63-EA3A-75CAFC5FF049}"/>
                  </a:ext>
                </a:extLst>
              </p:cNvPr>
              <p:cNvSpPr/>
              <p:nvPr/>
            </p:nvSpPr>
            <p:spPr>
              <a:xfrm>
                <a:off x="3935468" y="3338098"/>
                <a:ext cx="91042" cy="174289"/>
              </a:xfrm>
              <a:custGeom>
                <a:avLst/>
                <a:gdLst>
                  <a:gd name="connsiteX0" fmla="*/ 46929 w 91042"/>
                  <a:gd name="connsiteY0" fmla="*/ 173777 h 174289"/>
                  <a:gd name="connsiteX1" fmla="*/ 44193 w 91042"/>
                  <a:gd name="connsiteY1" fmla="*/ 174290 h 174289"/>
                  <a:gd name="connsiteX2" fmla="*/ 28462 w 91042"/>
                  <a:gd name="connsiteY2" fmla="*/ 126984 h 174289"/>
                  <a:gd name="connsiteX3" fmla="*/ 20882 w 91042"/>
                  <a:gd name="connsiteY3" fmla="*/ 119689 h 174289"/>
                  <a:gd name="connsiteX4" fmla="*/ 18089 w 91042"/>
                  <a:gd name="connsiteY4" fmla="*/ 109829 h 174289"/>
                  <a:gd name="connsiteX5" fmla="*/ 2359 w 91042"/>
                  <a:gd name="connsiteY5" fmla="*/ 96435 h 174289"/>
                  <a:gd name="connsiteX6" fmla="*/ 3214 w 91042"/>
                  <a:gd name="connsiteY6" fmla="*/ 75005 h 174289"/>
                  <a:gd name="connsiteX7" fmla="*/ 6348 w 91042"/>
                  <a:gd name="connsiteY7" fmla="*/ 68679 h 174289"/>
                  <a:gd name="connsiteX8" fmla="*/ 22250 w 91042"/>
                  <a:gd name="connsiteY8" fmla="*/ 55057 h 174289"/>
                  <a:gd name="connsiteX9" fmla="*/ 23732 w 91042"/>
                  <a:gd name="connsiteY9" fmla="*/ 33399 h 174289"/>
                  <a:gd name="connsiteX10" fmla="*/ 17121 w 91042"/>
                  <a:gd name="connsiteY10" fmla="*/ 11969 h 174289"/>
                  <a:gd name="connsiteX11" fmla="*/ 18089 w 91042"/>
                  <a:gd name="connsiteY11" fmla="*/ 0 h 174289"/>
                  <a:gd name="connsiteX12" fmla="*/ 67732 w 91042"/>
                  <a:gd name="connsiteY12" fmla="*/ 2850 h 174289"/>
                  <a:gd name="connsiteX13" fmla="*/ 73773 w 91042"/>
                  <a:gd name="connsiteY13" fmla="*/ 7523 h 174289"/>
                  <a:gd name="connsiteX14" fmla="*/ 70012 w 91042"/>
                  <a:gd name="connsiteY14" fmla="*/ 10487 h 174289"/>
                  <a:gd name="connsiteX15" fmla="*/ 70867 w 91042"/>
                  <a:gd name="connsiteY15" fmla="*/ 28554 h 174289"/>
                  <a:gd name="connsiteX16" fmla="*/ 78504 w 91042"/>
                  <a:gd name="connsiteY16" fmla="*/ 46508 h 174289"/>
                  <a:gd name="connsiteX17" fmla="*/ 57416 w 91042"/>
                  <a:gd name="connsiteY17" fmla="*/ 61269 h 174289"/>
                  <a:gd name="connsiteX18" fmla="*/ 57427 w 91042"/>
                  <a:gd name="connsiteY18" fmla="*/ 84159 h 174289"/>
                  <a:gd name="connsiteX19" fmla="*/ 62260 w 91042"/>
                  <a:gd name="connsiteY19" fmla="*/ 87487 h 174289"/>
                  <a:gd name="connsiteX20" fmla="*/ 83291 w 91042"/>
                  <a:gd name="connsiteY20" fmla="*/ 94041 h 174289"/>
                  <a:gd name="connsiteX21" fmla="*/ 87053 w 91042"/>
                  <a:gd name="connsiteY21" fmla="*/ 102534 h 174289"/>
                  <a:gd name="connsiteX22" fmla="*/ 91043 w 91042"/>
                  <a:gd name="connsiteY22" fmla="*/ 105554 h 174289"/>
                  <a:gd name="connsiteX23" fmla="*/ 90701 w 91042"/>
                  <a:gd name="connsiteY23" fmla="*/ 106637 h 174289"/>
                  <a:gd name="connsiteX24" fmla="*/ 87851 w 91042"/>
                  <a:gd name="connsiteY24" fmla="*/ 116440 h 174289"/>
                  <a:gd name="connsiteX25" fmla="*/ 78618 w 91042"/>
                  <a:gd name="connsiteY25" fmla="*/ 122425 h 174289"/>
                  <a:gd name="connsiteX26" fmla="*/ 71379 w 91042"/>
                  <a:gd name="connsiteY26" fmla="*/ 130233 h 174289"/>
                  <a:gd name="connsiteX27" fmla="*/ 70924 w 91042"/>
                  <a:gd name="connsiteY27" fmla="*/ 134679 h 174289"/>
                  <a:gd name="connsiteX28" fmla="*/ 63001 w 91042"/>
                  <a:gd name="connsiteY28" fmla="*/ 138269 h 174289"/>
                  <a:gd name="connsiteX29" fmla="*/ 59695 w 91042"/>
                  <a:gd name="connsiteY29" fmla="*/ 146362 h 174289"/>
                  <a:gd name="connsiteX30" fmla="*/ 51716 w 91042"/>
                  <a:gd name="connsiteY30" fmla="*/ 169160 h 174289"/>
                  <a:gd name="connsiteX31" fmla="*/ 46929 w 91042"/>
                  <a:gd name="connsiteY31" fmla="*/ 173777 h 174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042" h="174289">
                    <a:moveTo>
                      <a:pt x="46929" y="173777"/>
                    </a:moveTo>
                    <a:cubicBezTo>
                      <a:pt x="46051" y="174096"/>
                      <a:pt x="45128" y="174267"/>
                      <a:pt x="44193" y="174290"/>
                    </a:cubicBezTo>
                    <a:cubicBezTo>
                      <a:pt x="43452" y="156508"/>
                      <a:pt x="41742" y="137927"/>
                      <a:pt x="28462" y="126984"/>
                    </a:cubicBezTo>
                    <a:cubicBezTo>
                      <a:pt x="25459" y="125098"/>
                      <a:pt x="22883" y="122619"/>
                      <a:pt x="20882" y="119689"/>
                    </a:cubicBezTo>
                    <a:cubicBezTo>
                      <a:pt x="19286" y="116611"/>
                      <a:pt x="19571" y="112907"/>
                      <a:pt x="18089" y="109829"/>
                    </a:cubicBezTo>
                    <a:cubicBezTo>
                      <a:pt x="15069" y="103502"/>
                      <a:pt x="6690" y="102078"/>
                      <a:pt x="2359" y="96435"/>
                    </a:cubicBezTo>
                    <a:cubicBezTo>
                      <a:pt x="-1973" y="90793"/>
                      <a:pt x="478" y="81958"/>
                      <a:pt x="3214" y="75005"/>
                    </a:cubicBezTo>
                    <a:cubicBezTo>
                      <a:pt x="4006" y="72777"/>
                      <a:pt x="5055" y="70656"/>
                      <a:pt x="6348" y="68679"/>
                    </a:cubicBezTo>
                    <a:cubicBezTo>
                      <a:pt x="10452" y="62979"/>
                      <a:pt x="18146" y="60756"/>
                      <a:pt x="22250" y="55057"/>
                    </a:cubicBezTo>
                    <a:cubicBezTo>
                      <a:pt x="26080" y="48457"/>
                      <a:pt x="26627" y="40455"/>
                      <a:pt x="23732" y="33399"/>
                    </a:cubicBezTo>
                    <a:cubicBezTo>
                      <a:pt x="20785" y="26508"/>
                      <a:pt x="18568" y="19327"/>
                      <a:pt x="17121" y="11969"/>
                    </a:cubicBezTo>
                    <a:cubicBezTo>
                      <a:pt x="16756" y="7951"/>
                      <a:pt x="17086" y="3904"/>
                      <a:pt x="18089" y="0"/>
                    </a:cubicBezTo>
                    <a:lnTo>
                      <a:pt x="67732" y="2850"/>
                    </a:lnTo>
                    <a:cubicBezTo>
                      <a:pt x="70695" y="2850"/>
                      <a:pt x="74799" y="4674"/>
                      <a:pt x="73773" y="7523"/>
                    </a:cubicBezTo>
                    <a:cubicBezTo>
                      <a:pt x="73260" y="9062"/>
                      <a:pt x="71379" y="9632"/>
                      <a:pt x="70012" y="10487"/>
                    </a:cubicBezTo>
                    <a:cubicBezTo>
                      <a:pt x="64312" y="14135"/>
                      <a:pt x="66763" y="23140"/>
                      <a:pt x="70867" y="28554"/>
                    </a:cubicBezTo>
                    <a:cubicBezTo>
                      <a:pt x="74970" y="33969"/>
                      <a:pt x="80442" y="39953"/>
                      <a:pt x="78504" y="46508"/>
                    </a:cubicBezTo>
                    <a:cubicBezTo>
                      <a:pt x="76053" y="55000"/>
                      <a:pt x="64141" y="55570"/>
                      <a:pt x="57416" y="61269"/>
                    </a:cubicBezTo>
                    <a:cubicBezTo>
                      <a:pt x="51095" y="67596"/>
                      <a:pt x="51101" y="77844"/>
                      <a:pt x="57427" y="84159"/>
                    </a:cubicBezTo>
                    <a:cubicBezTo>
                      <a:pt x="58823" y="85555"/>
                      <a:pt x="60459" y="86683"/>
                      <a:pt x="62260" y="87487"/>
                    </a:cubicBezTo>
                    <a:cubicBezTo>
                      <a:pt x="69442" y="89995"/>
                      <a:pt x="79359" y="87772"/>
                      <a:pt x="83291" y="94041"/>
                    </a:cubicBezTo>
                    <a:cubicBezTo>
                      <a:pt x="85058" y="96606"/>
                      <a:pt x="85229" y="100026"/>
                      <a:pt x="87053" y="102534"/>
                    </a:cubicBezTo>
                    <a:cubicBezTo>
                      <a:pt x="88085" y="103879"/>
                      <a:pt x="89464" y="104922"/>
                      <a:pt x="91043" y="105554"/>
                    </a:cubicBezTo>
                    <a:lnTo>
                      <a:pt x="90701" y="106637"/>
                    </a:lnTo>
                    <a:cubicBezTo>
                      <a:pt x="90399" y="110057"/>
                      <a:pt x="89430" y="113391"/>
                      <a:pt x="87851" y="116440"/>
                    </a:cubicBezTo>
                    <a:cubicBezTo>
                      <a:pt x="85349" y="119210"/>
                      <a:pt x="82168" y="121273"/>
                      <a:pt x="78618" y="122425"/>
                    </a:cubicBezTo>
                    <a:cubicBezTo>
                      <a:pt x="75027" y="123616"/>
                      <a:pt x="72297" y="126562"/>
                      <a:pt x="71379" y="130233"/>
                    </a:cubicBezTo>
                    <a:cubicBezTo>
                      <a:pt x="71522" y="131732"/>
                      <a:pt x="71368" y="133242"/>
                      <a:pt x="70924" y="134679"/>
                    </a:cubicBezTo>
                    <a:cubicBezTo>
                      <a:pt x="69555" y="137357"/>
                      <a:pt x="65509" y="136673"/>
                      <a:pt x="63001" y="138269"/>
                    </a:cubicBezTo>
                    <a:cubicBezTo>
                      <a:pt x="60493" y="139865"/>
                      <a:pt x="60094" y="143399"/>
                      <a:pt x="59695" y="146362"/>
                    </a:cubicBezTo>
                    <a:cubicBezTo>
                      <a:pt x="58693" y="154444"/>
                      <a:pt x="55974" y="162218"/>
                      <a:pt x="51716" y="169160"/>
                    </a:cubicBezTo>
                    <a:cubicBezTo>
                      <a:pt x="50616" y="171138"/>
                      <a:pt x="48946" y="172751"/>
                      <a:pt x="46929" y="17377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0" name="Freihandform: Form 684">
                <a:extLst>
                  <a:ext uri="{FF2B5EF4-FFF2-40B4-BE49-F238E27FC236}">
                    <a16:creationId xmlns:a16="http://schemas.microsoft.com/office/drawing/2014/main" id="{918B842F-2A50-4DD1-B10E-AE95E1C1AA2A}"/>
                  </a:ext>
                </a:extLst>
              </p:cNvPr>
              <p:cNvSpPr/>
              <p:nvPr/>
            </p:nvSpPr>
            <p:spPr>
              <a:xfrm>
                <a:off x="3979490" y="3443367"/>
                <a:ext cx="328175" cy="336079"/>
              </a:xfrm>
              <a:custGeom>
                <a:avLst/>
                <a:gdLst>
                  <a:gd name="connsiteX0" fmla="*/ 106466 w 328175"/>
                  <a:gd name="connsiteY0" fmla="*/ 261606 h 336079"/>
                  <a:gd name="connsiteX1" fmla="*/ 103047 w 328175"/>
                  <a:gd name="connsiteY1" fmla="*/ 263943 h 336079"/>
                  <a:gd name="connsiteX2" fmla="*/ 102476 w 328175"/>
                  <a:gd name="connsiteY2" fmla="*/ 262290 h 336079"/>
                  <a:gd name="connsiteX3" fmla="*/ 92332 w 328175"/>
                  <a:gd name="connsiteY3" fmla="*/ 259155 h 336079"/>
                  <a:gd name="connsiteX4" fmla="*/ 79736 w 328175"/>
                  <a:gd name="connsiteY4" fmla="*/ 248440 h 336079"/>
                  <a:gd name="connsiteX5" fmla="*/ 64404 w 328175"/>
                  <a:gd name="connsiteY5" fmla="*/ 247357 h 336079"/>
                  <a:gd name="connsiteX6" fmla="*/ 58705 w 328175"/>
                  <a:gd name="connsiteY6" fmla="*/ 238637 h 336079"/>
                  <a:gd name="connsiteX7" fmla="*/ 28725 w 328175"/>
                  <a:gd name="connsiteY7" fmla="*/ 222621 h 336079"/>
                  <a:gd name="connsiteX8" fmla="*/ 23824 w 328175"/>
                  <a:gd name="connsiteY8" fmla="*/ 220570 h 336079"/>
                  <a:gd name="connsiteX9" fmla="*/ 17669 w 328175"/>
                  <a:gd name="connsiteY9" fmla="*/ 212647 h 336079"/>
                  <a:gd name="connsiteX10" fmla="*/ 10373 w 328175"/>
                  <a:gd name="connsiteY10" fmla="*/ 164430 h 336079"/>
                  <a:gd name="connsiteX11" fmla="*/ 11570 w 328175"/>
                  <a:gd name="connsiteY11" fmla="*/ 140549 h 336079"/>
                  <a:gd name="connsiteX12" fmla="*/ 8891 w 328175"/>
                  <a:gd name="connsiteY12" fmla="*/ 133311 h 336079"/>
                  <a:gd name="connsiteX13" fmla="*/ 11798 w 328175"/>
                  <a:gd name="connsiteY13" fmla="*/ 101736 h 336079"/>
                  <a:gd name="connsiteX14" fmla="*/ 4446 w 328175"/>
                  <a:gd name="connsiteY14" fmla="*/ 93813 h 336079"/>
                  <a:gd name="connsiteX15" fmla="*/ 399 w 328175"/>
                  <a:gd name="connsiteY15" fmla="*/ 78653 h 336079"/>
                  <a:gd name="connsiteX16" fmla="*/ 0 w 328175"/>
                  <a:gd name="connsiteY16" fmla="*/ 68964 h 336079"/>
                  <a:gd name="connsiteX17" fmla="*/ 2736 w 328175"/>
                  <a:gd name="connsiteY17" fmla="*/ 68451 h 336079"/>
                  <a:gd name="connsiteX18" fmla="*/ 7523 w 328175"/>
                  <a:gd name="connsiteY18" fmla="*/ 63606 h 336079"/>
                  <a:gd name="connsiteX19" fmla="*/ 15503 w 328175"/>
                  <a:gd name="connsiteY19" fmla="*/ 40808 h 336079"/>
                  <a:gd name="connsiteX20" fmla="*/ 18808 w 328175"/>
                  <a:gd name="connsiteY20" fmla="*/ 32715 h 336079"/>
                  <a:gd name="connsiteX21" fmla="*/ 26731 w 328175"/>
                  <a:gd name="connsiteY21" fmla="*/ 29124 h 336079"/>
                  <a:gd name="connsiteX22" fmla="*/ 27187 w 328175"/>
                  <a:gd name="connsiteY22" fmla="*/ 24679 h 336079"/>
                  <a:gd name="connsiteX23" fmla="*/ 34425 w 328175"/>
                  <a:gd name="connsiteY23" fmla="*/ 16870 h 336079"/>
                  <a:gd name="connsiteX24" fmla="*/ 43658 w 328175"/>
                  <a:gd name="connsiteY24" fmla="*/ 10886 h 336079"/>
                  <a:gd name="connsiteX25" fmla="*/ 46508 w 328175"/>
                  <a:gd name="connsiteY25" fmla="*/ 1083 h 336079"/>
                  <a:gd name="connsiteX26" fmla="*/ 46850 w 328175"/>
                  <a:gd name="connsiteY26" fmla="*/ 0 h 336079"/>
                  <a:gd name="connsiteX27" fmla="*/ 55399 w 328175"/>
                  <a:gd name="connsiteY27" fmla="*/ 1767 h 336079"/>
                  <a:gd name="connsiteX28" fmla="*/ 96606 w 328175"/>
                  <a:gd name="connsiteY28" fmla="*/ 4788 h 336079"/>
                  <a:gd name="connsiteX29" fmla="*/ 98316 w 328175"/>
                  <a:gd name="connsiteY29" fmla="*/ 16186 h 336079"/>
                  <a:gd name="connsiteX30" fmla="*/ 121627 w 328175"/>
                  <a:gd name="connsiteY30" fmla="*/ 25819 h 336079"/>
                  <a:gd name="connsiteX31" fmla="*/ 135876 w 328175"/>
                  <a:gd name="connsiteY31" fmla="*/ 41093 h 336079"/>
                  <a:gd name="connsiteX32" fmla="*/ 144368 w 328175"/>
                  <a:gd name="connsiteY32" fmla="*/ 46793 h 336079"/>
                  <a:gd name="connsiteX33" fmla="*/ 155767 w 328175"/>
                  <a:gd name="connsiteY33" fmla="*/ 44285 h 336079"/>
                  <a:gd name="connsiteX34" fmla="*/ 211679 w 328175"/>
                  <a:gd name="connsiteY34" fmla="*/ 68223 h 336079"/>
                  <a:gd name="connsiteX35" fmla="*/ 221806 w 328175"/>
                  <a:gd name="connsiteY35" fmla="*/ 45824 h 336079"/>
                  <a:gd name="connsiteX36" fmla="*/ 219202 w 328175"/>
                  <a:gd name="connsiteY36" fmla="*/ 41207 h 336079"/>
                  <a:gd name="connsiteX37" fmla="*/ 211679 w 328175"/>
                  <a:gd name="connsiteY37" fmla="*/ 30606 h 336079"/>
                  <a:gd name="connsiteX38" fmla="*/ 215440 w 328175"/>
                  <a:gd name="connsiteY38" fmla="*/ 23938 h 336079"/>
                  <a:gd name="connsiteX39" fmla="*/ 228435 w 328175"/>
                  <a:gd name="connsiteY39" fmla="*/ 16357 h 336079"/>
                  <a:gd name="connsiteX40" fmla="*/ 246046 w 328175"/>
                  <a:gd name="connsiteY40" fmla="*/ 28155 h 336079"/>
                  <a:gd name="connsiteX41" fmla="*/ 267875 w 328175"/>
                  <a:gd name="connsiteY41" fmla="*/ 11627 h 336079"/>
                  <a:gd name="connsiteX42" fmla="*/ 272492 w 328175"/>
                  <a:gd name="connsiteY42" fmla="*/ 3192 h 336079"/>
                  <a:gd name="connsiteX43" fmla="*/ 283891 w 328175"/>
                  <a:gd name="connsiteY43" fmla="*/ 6269 h 336079"/>
                  <a:gd name="connsiteX44" fmla="*/ 287596 w 328175"/>
                  <a:gd name="connsiteY44" fmla="*/ 18694 h 336079"/>
                  <a:gd name="connsiteX45" fmla="*/ 310393 w 328175"/>
                  <a:gd name="connsiteY45" fmla="*/ 19264 h 336079"/>
                  <a:gd name="connsiteX46" fmla="*/ 328176 w 328175"/>
                  <a:gd name="connsiteY46" fmla="*/ 24964 h 336079"/>
                  <a:gd name="connsiteX47" fmla="*/ 328176 w 328175"/>
                  <a:gd name="connsiteY47" fmla="*/ 327036 h 336079"/>
                  <a:gd name="connsiteX48" fmla="*/ 311875 w 328175"/>
                  <a:gd name="connsiteY48" fmla="*/ 332735 h 336079"/>
                  <a:gd name="connsiteX49" fmla="*/ 285430 w 328175"/>
                  <a:gd name="connsiteY49" fmla="*/ 332735 h 336079"/>
                  <a:gd name="connsiteX50" fmla="*/ 273005 w 328175"/>
                  <a:gd name="connsiteY50" fmla="*/ 320481 h 336079"/>
                  <a:gd name="connsiteX51" fmla="*/ 264000 w 328175"/>
                  <a:gd name="connsiteY51" fmla="*/ 317917 h 336079"/>
                  <a:gd name="connsiteX52" fmla="*/ 258642 w 328175"/>
                  <a:gd name="connsiteY52" fmla="*/ 310450 h 336079"/>
                  <a:gd name="connsiteX53" fmla="*/ 251746 w 328175"/>
                  <a:gd name="connsiteY53" fmla="*/ 309196 h 336079"/>
                  <a:gd name="connsiteX54" fmla="*/ 240974 w 328175"/>
                  <a:gd name="connsiteY54" fmla="*/ 304067 h 336079"/>
                  <a:gd name="connsiteX55" fmla="*/ 233963 w 328175"/>
                  <a:gd name="connsiteY55" fmla="*/ 297000 h 336079"/>
                  <a:gd name="connsiteX56" fmla="*/ 222564 w 328175"/>
                  <a:gd name="connsiteY56" fmla="*/ 292953 h 336079"/>
                  <a:gd name="connsiteX57" fmla="*/ 219373 w 328175"/>
                  <a:gd name="connsiteY57" fmla="*/ 288336 h 336079"/>
                  <a:gd name="connsiteX58" fmla="*/ 206435 w 328175"/>
                  <a:gd name="connsiteY58" fmla="*/ 284347 h 336079"/>
                  <a:gd name="connsiteX59" fmla="*/ 201021 w 328175"/>
                  <a:gd name="connsiteY59" fmla="*/ 277507 h 336079"/>
                  <a:gd name="connsiteX60" fmla="*/ 189622 w 328175"/>
                  <a:gd name="connsiteY60" fmla="*/ 273461 h 336079"/>
                  <a:gd name="connsiteX61" fmla="*/ 175202 w 328175"/>
                  <a:gd name="connsiteY61" fmla="*/ 260067 h 336079"/>
                  <a:gd name="connsiteX62" fmla="*/ 160611 w 328175"/>
                  <a:gd name="connsiteY62" fmla="*/ 256134 h 336079"/>
                  <a:gd name="connsiteX63" fmla="*/ 155710 w 328175"/>
                  <a:gd name="connsiteY63" fmla="*/ 250435 h 336079"/>
                  <a:gd name="connsiteX64" fmla="*/ 142316 w 328175"/>
                  <a:gd name="connsiteY64" fmla="*/ 249466 h 336079"/>
                  <a:gd name="connsiteX65" fmla="*/ 137585 w 328175"/>
                  <a:gd name="connsiteY65" fmla="*/ 247129 h 336079"/>
                  <a:gd name="connsiteX66" fmla="*/ 131259 w 328175"/>
                  <a:gd name="connsiteY66" fmla="*/ 248497 h 336079"/>
                  <a:gd name="connsiteX67" fmla="*/ 106466 w 328175"/>
                  <a:gd name="connsiteY67" fmla="*/ 261606 h 33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28175" h="336079">
                    <a:moveTo>
                      <a:pt x="106466" y="261606"/>
                    </a:moveTo>
                    <a:cubicBezTo>
                      <a:pt x="105269" y="262347"/>
                      <a:pt x="104187" y="263145"/>
                      <a:pt x="103047" y="263943"/>
                    </a:cubicBezTo>
                    <a:cubicBezTo>
                      <a:pt x="102915" y="263373"/>
                      <a:pt x="102727" y="262820"/>
                      <a:pt x="102476" y="262290"/>
                    </a:cubicBezTo>
                    <a:cubicBezTo>
                      <a:pt x="100653" y="259041"/>
                      <a:pt x="96093" y="258927"/>
                      <a:pt x="92332" y="259155"/>
                    </a:cubicBezTo>
                    <a:cubicBezTo>
                      <a:pt x="90063" y="253792"/>
                      <a:pt x="85395" y="249819"/>
                      <a:pt x="79736" y="248440"/>
                    </a:cubicBezTo>
                    <a:cubicBezTo>
                      <a:pt x="74714" y="247277"/>
                      <a:pt x="69539" y="246913"/>
                      <a:pt x="64404" y="247357"/>
                    </a:cubicBezTo>
                    <a:cubicBezTo>
                      <a:pt x="62962" y="244177"/>
                      <a:pt x="61036" y="241236"/>
                      <a:pt x="58705" y="238637"/>
                    </a:cubicBezTo>
                    <a:cubicBezTo>
                      <a:pt x="51067" y="230031"/>
                      <a:pt x="39668" y="226098"/>
                      <a:pt x="28725" y="222621"/>
                    </a:cubicBezTo>
                    <a:cubicBezTo>
                      <a:pt x="27021" y="222126"/>
                      <a:pt x="25374" y="221436"/>
                      <a:pt x="23824" y="220570"/>
                    </a:cubicBezTo>
                    <a:cubicBezTo>
                      <a:pt x="21094" y="218535"/>
                      <a:pt x="18968" y="215799"/>
                      <a:pt x="17669" y="212647"/>
                    </a:cubicBezTo>
                    <a:cubicBezTo>
                      <a:pt x="10402" y="197686"/>
                      <a:pt x="7860" y="180873"/>
                      <a:pt x="10373" y="164430"/>
                    </a:cubicBezTo>
                    <a:cubicBezTo>
                      <a:pt x="11627" y="156507"/>
                      <a:pt x="14078" y="148186"/>
                      <a:pt x="11570" y="140549"/>
                    </a:cubicBezTo>
                    <a:cubicBezTo>
                      <a:pt x="10772" y="138098"/>
                      <a:pt x="9461" y="135819"/>
                      <a:pt x="8891" y="133311"/>
                    </a:cubicBezTo>
                    <a:cubicBezTo>
                      <a:pt x="6497" y="122767"/>
                      <a:pt x="17270" y="111083"/>
                      <a:pt x="11798" y="101736"/>
                    </a:cubicBezTo>
                    <a:cubicBezTo>
                      <a:pt x="9974" y="98601"/>
                      <a:pt x="6612" y="96663"/>
                      <a:pt x="4446" y="93813"/>
                    </a:cubicBezTo>
                    <a:cubicBezTo>
                      <a:pt x="1585" y="89288"/>
                      <a:pt x="171" y="83999"/>
                      <a:pt x="399" y="78653"/>
                    </a:cubicBezTo>
                    <a:cubicBezTo>
                      <a:pt x="399" y="75461"/>
                      <a:pt x="399" y="72212"/>
                      <a:pt x="0" y="68964"/>
                    </a:cubicBezTo>
                    <a:cubicBezTo>
                      <a:pt x="935" y="68941"/>
                      <a:pt x="1858" y="68770"/>
                      <a:pt x="2736" y="68451"/>
                    </a:cubicBezTo>
                    <a:cubicBezTo>
                      <a:pt x="4788" y="67362"/>
                      <a:pt x="6457" y="65669"/>
                      <a:pt x="7523" y="63606"/>
                    </a:cubicBezTo>
                    <a:cubicBezTo>
                      <a:pt x="11781" y="56664"/>
                      <a:pt x="14499" y="48890"/>
                      <a:pt x="15503" y="40808"/>
                    </a:cubicBezTo>
                    <a:cubicBezTo>
                      <a:pt x="15901" y="37845"/>
                      <a:pt x="16244" y="34368"/>
                      <a:pt x="18808" y="32715"/>
                    </a:cubicBezTo>
                    <a:cubicBezTo>
                      <a:pt x="21373" y="31062"/>
                      <a:pt x="25363" y="31803"/>
                      <a:pt x="26731" y="29124"/>
                    </a:cubicBezTo>
                    <a:cubicBezTo>
                      <a:pt x="27175" y="27688"/>
                      <a:pt x="27329" y="26178"/>
                      <a:pt x="27187" y="24679"/>
                    </a:cubicBezTo>
                    <a:cubicBezTo>
                      <a:pt x="28104" y="21008"/>
                      <a:pt x="30834" y="18062"/>
                      <a:pt x="34425" y="16870"/>
                    </a:cubicBezTo>
                    <a:cubicBezTo>
                      <a:pt x="37976" y="15719"/>
                      <a:pt x="41156" y="13656"/>
                      <a:pt x="43658" y="10886"/>
                    </a:cubicBezTo>
                    <a:cubicBezTo>
                      <a:pt x="45237" y="7837"/>
                      <a:pt x="46206" y="4503"/>
                      <a:pt x="46508" y="1083"/>
                    </a:cubicBezTo>
                    <a:lnTo>
                      <a:pt x="46850" y="0"/>
                    </a:lnTo>
                    <a:cubicBezTo>
                      <a:pt x="49585" y="1054"/>
                      <a:pt x="52469" y="1653"/>
                      <a:pt x="55399" y="1767"/>
                    </a:cubicBezTo>
                    <a:lnTo>
                      <a:pt x="96606" y="4788"/>
                    </a:lnTo>
                    <a:lnTo>
                      <a:pt x="98316" y="16186"/>
                    </a:lnTo>
                    <a:cubicBezTo>
                      <a:pt x="106352" y="12026"/>
                      <a:pt x="115414" y="19207"/>
                      <a:pt x="121627" y="25819"/>
                    </a:cubicBezTo>
                    <a:lnTo>
                      <a:pt x="135876" y="41093"/>
                    </a:lnTo>
                    <a:cubicBezTo>
                      <a:pt x="135876" y="44912"/>
                      <a:pt x="140549" y="47192"/>
                      <a:pt x="144368" y="46793"/>
                    </a:cubicBezTo>
                    <a:cubicBezTo>
                      <a:pt x="148209" y="46160"/>
                      <a:pt x="152016" y="45322"/>
                      <a:pt x="155767" y="44285"/>
                    </a:cubicBezTo>
                    <a:cubicBezTo>
                      <a:pt x="176627" y="41378"/>
                      <a:pt x="191445" y="74150"/>
                      <a:pt x="211679" y="68223"/>
                    </a:cubicBezTo>
                    <a:cubicBezTo>
                      <a:pt x="220661" y="64832"/>
                      <a:pt x="225198" y="54806"/>
                      <a:pt x="221806" y="45824"/>
                    </a:cubicBezTo>
                    <a:cubicBezTo>
                      <a:pt x="221180" y="44160"/>
                      <a:pt x="220302" y="42604"/>
                      <a:pt x="219202" y="41207"/>
                    </a:cubicBezTo>
                    <a:cubicBezTo>
                      <a:pt x="216181" y="37901"/>
                      <a:pt x="211507" y="35109"/>
                      <a:pt x="211679" y="30606"/>
                    </a:cubicBezTo>
                    <a:cubicBezTo>
                      <a:pt x="212129" y="28019"/>
                      <a:pt x="213457" y="25659"/>
                      <a:pt x="215440" y="23938"/>
                    </a:cubicBezTo>
                    <a:cubicBezTo>
                      <a:pt x="218427" y="19600"/>
                      <a:pt x="223192" y="16819"/>
                      <a:pt x="228435" y="16357"/>
                    </a:cubicBezTo>
                    <a:cubicBezTo>
                      <a:pt x="235616" y="16927"/>
                      <a:pt x="239321" y="25591"/>
                      <a:pt x="246046" y="28155"/>
                    </a:cubicBezTo>
                    <a:cubicBezTo>
                      <a:pt x="255622" y="31746"/>
                      <a:pt x="264855" y="21373"/>
                      <a:pt x="267875" y="11627"/>
                    </a:cubicBezTo>
                    <a:cubicBezTo>
                      <a:pt x="268411" y="8372"/>
                      <a:pt x="270041" y="5397"/>
                      <a:pt x="272492" y="3192"/>
                    </a:cubicBezTo>
                    <a:cubicBezTo>
                      <a:pt x="276522" y="1180"/>
                      <a:pt x="281417" y="2502"/>
                      <a:pt x="283891" y="6269"/>
                    </a:cubicBezTo>
                    <a:cubicBezTo>
                      <a:pt x="286159" y="10031"/>
                      <a:pt x="287430" y="14306"/>
                      <a:pt x="287596" y="18694"/>
                    </a:cubicBezTo>
                    <a:cubicBezTo>
                      <a:pt x="295159" y="17423"/>
                      <a:pt x="302899" y="17617"/>
                      <a:pt x="310393" y="19264"/>
                    </a:cubicBezTo>
                    <a:cubicBezTo>
                      <a:pt x="316555" y="20336"/>
                      <a:pt x="322539" y="22251"/>
                      <a:pt x="328176" y="24964"/>
                    </a:cubicBezTo>
                    <a:lnTo>
                      <a:pt x="328176" y="327036"/>
                    </a:lnTo>
                    <a:lnTo>
                      <a:pt x="311875" y="332735"/>
                    </a:lnTo>
                    <a:cubicBezTo>
                      <a:pt x="303155" y="335756"/>
                      <a:pt x="292611" y="338435"/>
                      <a:pt x="285430" y="332735"/>
                    </a:cubicBezTo>
                    <a:cubicBezTo>
                      <a:pt x="280813" y="329031"/>
                      <a:pt x="278533" y="322419"/>
                      <a:pt x="273005" y="320481"/>
                    </a:cubicBezTo>
                    <a:cubicBezTo>
                      <a:pt x="270041" y="319399"/>
                      <a:pt x="266450" y="319911"/>
                      <a:pt x="264000" y="317917"/>
                    </a:cubicBezTo>
                    <a:cubicBezTo>
                      <a:pt x="261549" y="315922"/>
                      <a:pt x="261150" y="312217"/>
                      <a:pt x="258642" y="310450"/>
                    </a:cubicBezTo>
                    <a:cubicBezTo>
                      <a:pt x="256488" y="309459"/>
                      <a:pt x="254111" y="309025"/>
                      <a:pt x="251746" y="309196"/>
                    </a:cubicBezTo>
                    <a:cubicBezTo>
                      <a:pt x="247665" y="308792"/>
                      <a:pt x="243858" y="306979"/>
                      <a:pt x="240974" y="304067"/>
                    </a:cubicBezTo>
                    <a:cubicBezTo>
                      <a:pt x="238637" y="301673"/>
                      <a:pt x="236927" y="298367"/>
                      <a:pt x="233963" y="297000"/>
                    </a:cubicBezTo>
                    <a:cubicBezTo>
                      <a:pt x="231000" y="295632"/>
                      <a:pt x="225129" y="295974"/>
                      <a:pt x="222564" y="292953"/>
                    </a:cubicBezTo>
                    <a:cubicBezTo>
                      <a:pt x="221254" y="291585"/>
                      <a:pt x="220684" y="289647"/>
                      <a:pt x="219373" y="288336"/>
                    </a:cubicBezTo>
                    <a:cubicBezTo>
                      <a:pt x="216124" y="285088"/>
                      <a:pt x="210197" y="286968"/>
                      <a:pt x="206435" y="284347"/>
                    </a:cubicBezTo>
                    <a:cubicBezTo>
                      <a:pt x="204041" y="282694"/>
                      <a:pt x="203129" y="279559"/>
                      <a:pt x="201021" y="277507"/>
                    </a:cubicBezTo>
                    <a:cubicBezTo>
                      <a:pt x="197590" y="275290"/>
                      <a:pt x="193685" y="273905"/>
                      <a:pt x="189622" y="273461"/>
                    </a:cubicBezTo>
                    <a:cubicBezTo>
                      <a:pt x="182981" y="271506"/>
                      <a:pt x="177641" y="266547"/>
                      <a:pt x="175202" y="260067"/>
                    </a:cubicBezTo>
                    <a:cubicBezTo>
                      <a:pt x="169992" y="261953"/>
                      <a:pt x="164162" y="260386"/>
                      <a:pt x="160611" y="256134"/>
                    </a:cubicBezTo>
                    <a:cubicBezTo>
                      <a:pt x="159015" y="254197"/>
                      <a:pt x="157933" y="251689"/>
                      <a:pt x="155710" y="250435"/>
                    </a:cubicBezTo>
                    <a:cubicBezTo>
                      <a:pt x="151777" y="248155"/>
                      <a:pt x="146591" y="251062"/>
                      <a:pt x="142316" y="249466"/>
                    </a:cubicBezTo>
                    <a:cubicBezTo>
                      <a:pt x="140794" y="248583"/>
                      <a:pt x="139210" y="247802"/>
                      <a:pt x="137585" y="247129"/>
                    </a:cubicBezTo>
                    <a:cubicBezTo>
                      <a:pt x="135385" y="246901"/>
                      <a:pt x="133168" y="247380"/>
                      <a:pt x="131259" y="248497"/>
                    </a:cubicBezTo>
                    <a:cubicBezTo>
                      <a:pt x="122698" y="252282"/>
                      <a:pt x="114411" y="256659"/>
                      <a:pt x="106466" y="26160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1" name="Freihandform: Form 685">
                <a:extLst>
                  <a:ext uri="{FF2B5EF4-FFF2-40B4-BE49-F238E27FC236}">
                    <a16:creationId xmlns:a16="http://schemas.microsoft.com/office/drawing/2014/main" id="{5934374E-CDC4-835A-4D4B-CB5329BBB214}"/>
                  </a:ext>
                </a:extLst>
              </p:cNvPr>
              <p:cNvSpPr/>
              <p:nvPr/>
            </p:nvSpPr>
            <p:spPr>
              <a:xfrm>
                <a:off x="4065267" y="3690498"/>
                <a:ext cx="223989" cy="385408"/>
              </a:xfrm>
              <a:custGeom>
                <a:avLst/>
                <a:gdLst>
                  <a:gd name="connsiteX0" fmla="*/ 196347 w 223989"/>
                  <a:gd name="connsiteY0" fmla="*/ 303096 h 385408"/>
                  <a:gd name="connsiteX1" fmla="*/ 181471 w 223989"/>
                  <a:gd name="connsiteY1" fmla="*/ 304692 h 385408"/>
                  <a:gd name="connsiteX2" fmla="*/ 165399 w 223989"/>
                  <a:gd name="connsiteY2" fmla="*/ 317630 h 385408"/>
                  <a:gd name="connsiteX3" fmla="*/ 158731 w 223989"/>
                  <a:gd name="connsiteY3" fmla="*/ 325096 h 385408"/>
                  <a:gd name="connsiteX4" fmla="*/ 151492 w 223989"/>
                  <a:gd name="connsiteY4" fmla="*/ 335754 h 385408"/>
                  <a:gd name="connsiteX5" fmla="*/ 140093 w 223989"/>
                  <a:gd name="connsiteY5" fmla="*/ 340998 h 385408"/>
                  <a:gd name="connsiteX6" fmla="*/ 136445 w 223989"/>
                  <a:gd name="connsiteY6" fmla="*/ 344304 h 385408"/>
                  <a:gd name="connsiteX7" fmla="*/ 124647 w 223989"/>
                  <a:gd name="connsiteY7" fmla="*/ 347552 h 385408"/>
                  <a:gd name="connsiteX8" fmla="*/ 114104 w 223989"/>
                  <a:gd name="connsiteY8" fmla="*/ 353252 h 385408"/>
                  <a:gd name="connsiteX9" fmla="*/ 111026 w 223989"/>
                  <a:gd name="connsiteY9" fmla="*/ 362998 h 385408"/>
                  <a:gd name="connsiteX10" fmla="*/ 101508 w 223989"/>
                  <a:gd name="connsiteY10" fmla="*/ 368982 h 385408"/>
                  <a:gd name="connsiteX11" fmla="*/ 99114 w 223989"/>
                  <a:gd name="connsiteY11" fmla="*/ 372459 h 385408"/>
                  <a:gd name="connsiteX12" fmla="*/ 94497 w 223989"/>
                  <a:gd name="connsiteY12" fmla="*/ 375366 h 385408"/>
                  <a:gd name="connsiteX13" fmla="*/ 74378 w 223989"/>
                  <a:gd name="connsiteY13" fmla="*/ 381521 h 385408"/>
                  <a:gd name="connsiteX14" fmla="*/ 66342 w 223989"/>
                  <a:gd name="connsiteY14" fmla="*/ 381977 h 385408"/>
                  <a:gd name="connsiteX15" fmla="*/ 59674 w 223989"/>
                  <a:gd name="connsiteY15" fmla="*/ 384257 h 385408"/>
                  <a:gd name="connsiteX16" fmla="*/ 41036 w 223989"/>
                  <a:gd name="connsiteY16" fmla="*/ 384941 h 385408"/>
                  <a:gd name="connsiteX17" fmla="*/ 40466 w 223989"/>
                  <a:gd name="connsiteY17" fmla="*/ 384941 h 385408"/>
                  <a:gd name="connsiteX18" fmla="*/ 38358 w 223989"/>
                  <a:gd name="connsiteY18" fmla="*/ 365335 h 385408"/>
                  <a:gd name="connsiteX19" fmla="*/ 22855 w 223989"/>
                  <a:gd name="connsiteY19" fmla="*/ 348920 h 385408"/>
                  <a:gd name="connsiteX20" fmla="*/ 15389 w 223989"/>
                  <a:gd name="connsiteY20" fmla="*/ 337008 h 385408"/>
                  <a:gd name="connsiteX21" fmla="*/ 26788 w 223989"/>
                  <a:gd name="connsiteY21" fmla="*/ 329656 h 385408"/>
                  <a:gd name="connsiteX22" fmla="*/ 34653 w 223989"/>
                  <a:gd name="connsiteY22" fmla="*/ 328231 h 385408"/>
                  <a:gd name="connsiteX23" fmla="*/ 38586 w 223989"/>
                  <a:gd name="connsiteY23" fmla="*/ 321962 h 385408"/>
                  <a:gd name="connsiteX24" fmla="*/ 35907 w 223989"/>
                  <a:gd name="connsiteY24" fmla="*/ 317231 h 385408"/>
                  <a:gd name="connsiteX25" fmla="*/ 29523 w 223989"/>
                  <a:gd name="connsiteY25" fmla="*/ 298309 h 385408"/>
                  <a:gd name="connsiteX26" fmla="*/ 29523 w 223989"/>
                  <a:gd name="connsiteY26" fmla="*/ 289760 h 385408"/>
                  <a:gd name="connsiteX27" fmla="*/ 23824 w 223989"/>
                  <a:gd name="connsiteY27" fmla="*/ 284402 h 385408"/>
                  <a:gd name="connsiteX28" fmla="*/ 21088 w 223989"/>
                  <a:gd name="connsiteY28" fmla="*/ 285371 h 385408"/>
                  <a:gd name="connsiteX29" fmla="*/ 20290 w 223989"/>
                  <a:gd name="connsiteY29" fmla="*/ 268273 h 385408"/>
                  <a:gd name="connsiteX30" fmla="*/ 18865 w 223989"/>
                  <a:gd name="connsiteY30" fmla="*/ 260863 h 385408"/>
                  <a:gd name="connsiteX31" fmla="*/ 12083 w 223989"/>
                  <a:gd name="connsiteY31" fmla="*/ 251687 h 385408"/>
                  <a:gd name="connsiteX32" fmla="*/ 0 w 223989"/>
                  <a:gd name="connsiteY32" fmla="*/ 242967 h 385408"/>
                  <a:gd name="connsiteX33" fmla="*/ 3306 w 223989"/>
                  <a:gd name="connsiteY33" fmla="*/ 217718 h 385408"/>
                  <a:gd name="connsiteX34" fmla="*/ 4332 w 223989"/>
                  <a:gd name="connsiteY34" fmla="*/ 211278 h 385408"/>
                  <a:gd name="connsiteX35" fmla="*/ 7922 w 223989"/>
                  <a:gd name="connsiteY35" fmla="*/ 206262 h 385408"/>
                  <a:gd name="connsiteX36" fmla="*/ 10259 w 223989"/>
                  <a:gd name="connsiteY36" fmla="*/ 196744 h 385408"/>
                  <a:gd name="connsiteX37" fmla="*/ 18410 w 223989"/>
                  <a:gd name="connsiteY37" fmla="*/ 190247 h 385408"/>
                  <a:gd name="connsiteX38" fmla="*/ 18410 w 223989"/>
                  <a:gd name="connsiteY38" fmla="*/ 182895 h 385408"/>
                  <a:gd name="connsiteX39" fmla="*/ 32088 w 223989"/>
                  <a:gd name="connsiteY39" fmla="*/ 173889 h 385408"/>
                  <a:gd name="connsiteX40" fmla="*/ 43487 w 223989"/>
                  <a:gd name="connsiteY40" fmla="*/ 152117 h 385408"/>
                  <a:gd name="connsiteX41" fmla="*/ 41207 w 223989"/>
                  <a:gd name="connsiteY41" fmla="*/ 103558 h 385408"/>
                  <a:gd name="connsiteX42" fmla="*/ 40580 w 223989"/>
                  <a:gd name="connsiteY42" fmla="*/ 95294 h 385408"/>
                  <a:gd name="connsiteX43" fmla="*/ 45425 w 223989"/>
                  <a:gd name="connsiteY43" fmla="*/ 86516 h 385408"/>
                  <a:gd name="connsiteX44" fmla="*/ 45425 w 223989"/>
                  <a:gd name="connsiteY44" fmla="*/ 62807 h 385408"/>
                  <a:gd name="connsiteX45" fmla="*/ 40182 w 223989"/>
                  <a:gd name="connsiteY45" fmla="*/ 53346 h 385408"/>
                  <a:gd name="connsiteX46" fmla="*/ 39783 w 223989"/>
                  <a:gd name="connsiteY46" fmla="*/ 47304 h 385408"/>
                  <a:gd name="connsiteX47" fmla="*/ 18751 w 223989"/>
                  <a:gd name="connsiteY47" fmla="*/ 19890 h 385408"/>
                  <a:gd name="connsiteX48" fmla="*/ 18068 w 223989"/>
                  <a:gd name="connsiteY48" fmla="*/ 16755 h 385408"/>
                  <a:gd name="connsiteX49" fmla="*/ 21487 w 223989"/>
                  <a:gd name="connsiteY49" fmla="*/ 14418 h 385408"/>
                  <a:gd name="connsiteX50" fmla="*/ 46451 w 223989"/>
                  <a:gd name="connsiteY50" fmla="*/ 1423 h 385408"/>
                  <a:gd name="connsiteX51" fmla="*/ 52777 w 223989"/>
                  <a:gd name="connsiteY51" fmla="*/ 55 h 385408"/>
                  <a:gd name="connsiteX52" fmla="*/ 57508 w 223989"/>
                  <a:gd name="connsiteY52" fmla="*/ 2392 h 385408"/>
                  <a:gd name="connsiteX53" fmla="*/ 70901 w 223989"/>
                  <a:gd name="connsiteY53" fmla="*/ 3361 h 385408"/>
                  <a:gd name="connsiteX54" fmla="*/ 75803 w 223989"/>
                  <a:gd name="connsiteY54" fmla="*/ 9061 h 385408"/>
                  <a:gd name="connsiteX55" fmla="*/ 90394 w 223989"/>
                  <a:gd name="connsiteY55" fmla="*/ 12993 h 385408"/>
                  <a:gd name="connsiteX56" fmla="*/ 104813 w 223989"/>
                  <a:gd name="connsiteY56" fmla="*/ 26387 h 385408"/>
                  <a:gd name="connsiteX57" fmla="*/ 116212 w 223989"/>
                  <a:gd name="connsiteY57" fmla="*/ 30434 h 385408"/>
                  <a:gd name="connsiteX58" fmla="*/ 121627 w 223989"/>
                  <a:gd name="connsiteY58" fmla="*/ 37273 h 385408"/>
                  <a:gd name="connsiteX59" fmla="*/ 134565 w 223989"/>
                  <a:gd name="connsiteY59" fmla="*/ 41263 h 385408"/>
                  <a:gd name="connsiteX60" fmla="*/ 137757 w 223989"/>
                  <a:gd name="connsiteY60" fmla="*/ 45879 h 385408"/>
                  <a:gd name="connsiteX61" fmla="*/ 149155 w 223989"/>
                  <a:gd name="connsiteY61" fmla="*/ 49926 h 385408"/>
                  <a:gd name="connsiteX62" fmla="*/ 156166 w 223989"/>
                  <a:gd name="connsiteY62" fmla="*/ 56993 h 385408"/>
                  <a:gd name="connsiteX63" fmla="*/ 166938 w 223989"/>
                  <a:gd name="connsiteY63" fmla="*/ 62123 h 385408"/>
                  <a:gd name="connsiteX64" fmla="*/ 173834 w 223989"/>
                  <a:gd name="connsiteY64" fmla="*/ 63377 h 385408"/>
                  <a:gd name="connsiteX65" fmla="*/ 179191 w 223989"/>
                  <a:gd name="connsiteY65" fmla="*/ 70843 h 385408"/>
                  <a:gd name="connsiteX66" fmla="*/ 188197 w 223989"/>
                  <a:gd name="connsiteY66" fmla="*/ 73408 h 385408"/>
                  <a:gd name="connsiteX67" fmla="*/ 200622 w 223989"/>
                  <a:gd name="connsiteY67" fmla="*/ 85662 h 385408"/>
                  <a:gd name="connsiteX68" fmla="*/ 223990 w 223989"/>
                  <a:gd name="connsiteY68" fmla="*/ 86687 h 385408"/>
                  <a:gd name="connsiteX69" fmla="*/ 223990 w 223989"/>
                  <a:gd name="connsiteY69" fmla="*/ 173775 h 385408"/>
                  <a:gd name="connsiteX70" fmla="*/ 218290 w 223989"/>
                  <a:gd name="connsiteY70" fmla="*/ 174402 h 385408"/>
                  <a:gd name="connsiteX71" fmla="*/ 209746 w 223989"/>
                  <a:gd name="connsiteY71" fmla="*/ 187112 h 385408"/>
                  <a:gd name="connsiteX72" fmla="*/ 209057 w 223989"/>
                  <a:gd name="connsiteY72" fmla="*/ 187226 h 385408"/>
                  <a:gd name="connsiteX73" fmla="*/ 198969 w 223989"/>
                  <a:gd name="connsiteY73" fmla="*/ 189506 h 385408"/>
                  <a:gd name="connsiteX74" fmla="*/ 198570 w 223989"/>
                  <a:gd name="connsiteY74" fmla="*/ 197029 h 385408"/>
                  <a:gd name="connsiteX75" fmla="*/ 187171 w 223989"/>
                  <a:gd name="connsiteY75" fmla="*/ 205464 h 385408"/>
                  <a:gd name="connsiteX76" fmla="*/ 183375 w 223989"/>
                  <a:gd name="connsiteY76" fmla="*/ 225253 h 385408"/>
                  <a:gd name="connsiteX77" fmla="*/ 183523 w 223989"/>
                  <a:gd name="connsiteY77" fmla="*/ 225470 h 385408"/>
                  <a:gd name="connsiteX78" fmla="*/ 171269 w 223989"/>
                  <a:gd name="connsiteY78" fmla="*/ 232651 h 385408"/>
                  <a:gd name="connsiteX79" fmla="*/ 178622 w 223989"/>
                  <a:gd name="connsiteY79" fmla="*/ 248894 h 385408"/>
                  <a:gd name="connsiteX80" fmla="*/ 181585 w 223989"/>
                  <a:gd name="connsiteY80" fmla="*/ 260806 h 385408"/>
                  <a:gd name="connsiteX81" fmla="*/ 191730 w 223989"/>
                  <a:gd name="connsiteY81" fmla="*/ 287936 h 385408"/>
                  <a:gd name="connsiteX82" fmla="*/ 196347 w 223989"/>
                  <a:gd name="connsiteY82" fmla="*/ 303096 h 38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23989" h="385408">
                    <a:moveTo>
                      <a:pt x="196347" y="303096"/>
                    </a:moveTo>
                    <a:cubicBezTo>
                      <a:pt x="191366" y="301700"/>
                      <a:pt x="186042" y="302276"/>
                      <a:pt x="181471" y="304692"/>
                    </a:cubicBezTo>
                    <a:cubicBezTo>
                      <a:pt x="175584" y="308306"/>
                      <a:pt x="170187" y="312654"/>
                      <a:pt x="165399" y="317630"/>
                    </a:cubicBezTo>
                    <a:cubicBezTo>
                      <a:pt x="162908" y="319870"/>
                      <a:pt x="160674" y="322372"/>
                      <a:pt x="158731" y="325096"/>
                    </a:cubicBezTo>
                    <a:cubicBezTo>
                      <a:pt x="156986" y="329058"/>
                      <a:pt x="154536" y="332671"/>
                      <a:pt x="151492" y="335754"/>
                    </a:cubicBezTo>
                    <a:cubicBezTo>
                      <a:pt x="148073" y="338262"/>
                      <a:pt x="143228" y="338376"/>
                      <a:pt x="140093" y="340998"/>
                    </a:cubicBezTo>
                    <a:cubicBezTo>
                      <a:pt x="138782" y="341967"/>
                      <a:pt x="137699" y="343278"/>
                      <a:pt x="136445" y="344304"/>
                    </a:cubicBezTo>
                    <a:cubicBezTo>
                      <a:pt x="132861" y="346390"/>
                      <a:pt x="128797" y="347512"/>
                      <a:pt x="124647" y="347552"/>
                    </a:cubicBezTo>
                    <a:cubicBezTo>
                      <a:pt x="120418" y="347638"/>
                      <a:pt x="116492" y="349764"/>
                      <a:pt x="114104" y="353252"/>
                    </a:cubicBezTo>
                    <a:cubicBezTo>
                      <a:pt x="112508" y="356272"/>
                      <a:pt x="113135" y="360262"/>
                      <a:pt x="111026" y="362998"/>
                    </a:cubicBezTo>
                    <a:cubicBezTo>
                      <a:pt x="108917" y="365734"/>
                      <a:pt x="104015" y="366133"/>
                      <a:pt x="101508" y="368982"/>
                    </a:cubicBezTo>
                    <a:cubicBezTo>
                      <a:pt x="100596" y="370065"/>
                      <a:pt x="100026" y="371376"/>
                      <a:pt x="99114" y="372459"/>
                    </a:cubicBezTo>
                    <a:cubicBezTo>
                      <a:pt x="97815" y="373764"/>
                      <a:pt x="96236" y="374756"/>
                      <a:pt x="94497" y="375366"/>
                    </a:cubicBezTo>
                    <a:cubicBezTo>
                      <a:pt x="88211" y="378603"/>
                      <a:pt x="81400" y="380683"/>
                      <a:pt x="74378" y="381521"/>
                    </a:cubicBezTo>
                    <a:cubicBezTo>
                      <a:pt x="71694" y="381441"/>
                      <a:pt x="69003" y="381595"/>
                      <a:pt x="66342" y="381977"/>
                    </a:cubicBezTo>
                    <a:cubicBezTo>
                      <a:pt x="64062" y="382490"/>
                      <a:pt x="61953" y="383573"/>
                      <a:pt x="59674" y="384257"/>
                    </a:cubicBezTo>
                    <a:cubicBezTo>
                      <a:pt x="53541" y="385511"/>
                      <a:pt x="47243" y="385745"/>
                      <a:pt x="41036" y="384941"/>
                    </a:cubicBezTo>
                    <a:lnTo>
                      <a:pt x="40466" y="384941"/>
                    </a:lnTo>
                    <a:cubicBezTo>
                      <a:pt x="42638" y="378409"/>
                      <a:pt x="41868" y="371256"/>
                      <a:pt x="38358" y="365335"/>
                    </a:cubicBezTo>
                    <a:cubicBezTo>
                      <a:pt x="34391" y="358843"/>
                      <a:pt x="29113" y="353252"/>
                      <a:pt x="22855" y="348920"/>
                    </a:cubicBezTo>
                    <a:cubicBezTo>
                      <a:pt x="18922" y="345900"/>
                      <a:pt x="14420" y="341853"/>
                      <a:pt x="15389" y="337008"/>
                    </a:cubicBezTo>
                    <a:cubicBezTo>
                      <a:pt x="16357" y="332164"/>
                      <a:pt x="21943" y="330169"/>
                      <a:pt x="26788" y="329656"/>
                    </a:cubicBezTo>
                    <a:cubicBezTo>
                      <a:pt x="29467" y="329593"/>
                      <a:pt x="32123" y="329109"/>
                      <a:pt x="34653" y="328231"/>
                    </a:cubicBezTo>
                    <a:cubicBezTo>
                      <a:pt x="37155" y="327177"/>
                      <a:pt x="38728" y="324669"/>
                      <a:pt x="38586" y="321962"/>
                    </a:cubicBezTo>
                    <a:cubicBezTo>
                      <a:pt x="38124" y="320178"/>
                      <a:pt x="37201" y="318542"/>
                      <a:pt x="35907" y="317231"/>
                    </a:cubicBezTo>
                    <a:cubicBezTo>
                      <a:pt x="31729" y="311811"/>
                      <a:pt x="29484" y="305154"/>
                      <a:pt x="29523" y="298309"/>
                    </a:cubicBezTo>
                    <a:cubicBezTo>
                      <a:pt x="29894" y="295470"/>
                      <a:pt x="29894" y="292598"/>
                      <a:pt x="29523" y="289760"/>
                    </a:cubicBezTo>
                    <a:cubicBezTo>
                      <a:pt x="28982" y="286933"/>
                      <a:pt x="26679" y="284767"/>
                      <a:pt x="23824" y="284402"/>
                    </a:cubicBezTo>
                    <a:cubicBezTo>
                      <a:pt x="22838" y="284465"/>
                      <a:pt x="21892" y="284801"/>
                      <a:pt x="21088" y="285371"/>
                    </a:cubicBezTo>
                    <a:cubicBezTo>
                      <a:pt x="21088" y="279672"/>
                      <a:pt x="20803" y="273972"/>
                      <a:pt x="20290" y="268273"/>
                    </a:cubicBezTo>
                    <a:cubicBezTo>
                      <a:pt x="20170" y="265748"/>
                      <a:pt x="19692" y="263251"/>
                      <a:pt x="18865" y="260863"/>
                    </a:cubicBezTo>
                    <a:cubicBezTo>
                      <a:pt x="17235" y="257387"/>
                      <a:pt x="14933" y="254263"/>
                      <a:pt x="12083" y="251687"/>
                    </a:cubicBezTo>
                    <a:cubicBezTo>
                      <a:pt x="8743" y="247926"/>
                      <a:pt x="4622" y="244950"/>
                      <a:pt x="0" y="242967"/>
                    </a:cubicBezTo>
                    <a:cubicBezTo>
                      <a:pt x="2069" y="234709"/>
                      <a:pt x="3181" y="226233"/>
                      <a:pt x="3306" y="217718"/>
                    </a:cubicBezTo>
                    <a:cubicBezTo>
                      <a:pt x="3129" y="215518"/>
                      <a:pt x="3483" y="213313"/>
                      <a:pt x="4332" y="211278"/>
                    </a:cubicBezTo>
                    <a:cubicBezTo>
                      <a:pt x="5244" y="209454"/>
                      <a:pt x="7011" y="208086"/>
                      <a:pt x="7922" y="206262"/>
                    </a:cubicBezTo>
                    <a:cubicBezTo>
                      <a:pt x="9290" y="203242"/>
                      <a:pt x="8264" y="199366"/>
                      <a:pt x="10259" y="196744"/>
                    </a:cubicBezTo>
                    <a:cubicBezTo>
                      <a:pt x="12254" y="194123"/>
                      <a:pt x="17098" y="193553"/>
                      <a:pt x="18410" y="190247"/>
                    </a:cubicBezTo>
                    <a:cubicBezTo>
                      <a:pt x="19321" y="187967"/>
                      <a:pt x="18011" y="185345"/>
                      <a:pt x="18410" y="182895"/>
                    </a:cubicBezTo>
                    <a:cubicBezTo>
                      <a:pt x="19207" y="177195"/>
                      <a:pt x="26959" y="176511"/>
                      <a:pt x="32088" y="173889"/>
                    </a:cubicBezTo>
                    <a:cubicBezTo>
                      <a:pt x="39668" y="170071"/>
                      <a:pt x="42176" y="160553"/>
                      <a:pt x="43487" y="152117"/>
                    </a:cubicBezTo>
                    <a:cubicBezTo>
                      <a:pt x="45356" y="135914"/>
                      <a:pt x="44587" y="119516"/>
                      <a:pt x="41207" y="103558"/>
                    </a:cubicBezTo>
                    <a:cubicBezTo>
                      <a:pt x="40409" y="100879"/>
                      <a:pt x="40193" y="98064"/>
                      <a:pt x="40580" y="95294"/>
                    </a:cubicBezTo>
                    <a:cubicBezTo>
                      <a:pt x="41669" y="92108"/>
                      <a:pt x="43310" y="89138"/>
                      <a:pt x="45425" y="86516"/>
                    </a:cubicBezTo>
                    <a:cubicBezTo>
                      <a:pt x="49694" y="79193"/>
                      <a:pt x="49694" y="70130"/>
                      <a:pt x="45425" y="62807"/>
                    </a:cubicBezTo>
                    <a:cubicBezTo>
                      <a:pt x="43134" y="59985"/>
                      <a:pt x="41361" y="56782"/>
                      <a:pt x="40182" y="53346"/>
                    </a:cubicBezTo>
                    <a:cubicBezTo>
                      <a:pt x="39783" y="51351"/>
                      <a:pt x="40182" y="49299"/>
                      <a:pt x="39783" y="47304"/>
                    </a:cubicBezTo>
                    <a:cubicBezTo>
                      <a:pt x="38301" y="35620"/>
                      <a:pt x="21316" y="31403"/>
                      <a:pt x="18751" y="19890"/>
                    </a:cubicBezTo>
                    <a:cubicBezTo>
                      <a:pt x="18751" y="18864"/>
                      <a:pt x="18352" y="17781"/>
                      <a:pt x="18068" y="16755"/>
                    </a:cubicBezTo>
                    <a:cubicBezTo>
                      <a:pt x="19207" y="15957"/>
                      <a:pt x="20290" y="15159"/>
                      <a:pt x="21487" y="14418"/>
                    </a:cubicBezTo>
                    <a:cubicBezTo>
                      <a:pt x="29489" y="9505"/>
                      <a:pt x="37833" y="5162"/>
                      <a:pt x="46451" y="1423"/>
                    </a:cubicBezTo>
                    <a:cubicBezTo>
                      <a:pt x="48360" y="306"/>
                      <a:pt x="50577" y="-172"/>
                      <a:pt x="52777" y="55"/>
                    </a:cubicBezTo>
                    <a:cubicBezTo>
                      <a:pt x="54402" y="728"/>
                      <a:pt x="55986" y="1509"/>
                      <a:pt x="57508" y="2392"/>
                    </a:cubicBezTo>
                    <a:cubicBezTo>
                      <a:pt x="61782" y="3988"/>
                      <a:pt x="66969" y="1081"/>
                      <a:pt x="70901" y="3361"/>
                    </a:cubicBezTo>
                    <a:cubicBezTo>
                      <a:pt x="73124" y="4672"/>
                      <a:pt x="74207" y="7180"/>
                      <a:pt x="75803" y="9061"/>
                    </a:cubicBezTo>
                    <a:cubicBezTo>
                      <a:pt x="79354" y="13312"/>
                      <a:pt x="85190" y="14880"/>
                      <a:pt x="90394" y="12993"/>
                    </a:cubicBezTo>
                    <a:cubicBezTo>
                      <a:pt x="92833" y="19474"/>
                      <a:pt x="98174" y="24432"/>
                      <a:pt x="104813" y="26387"/>
                    </a:cubicBezTo>
                    <a:cubicBezTo>
                      <a:pt x="108877" y="26832"/>
                      <a:pt x="112781" y="28217"/>
                      <a:pt x="116212" y="30434"/>
                    </a:cubicBezTo>
                    <a:cubicBezTo>
                      <a:pt x="118321" y="32485"/>
                      <a:pt x="119233" y="35620"/>
                      <a:pt x="121627" y="37273"/>
                    </a:cubicBezTo>
                    <a:cubicBezTo>
                      <a:pt x="125388" y="39895"/>
                      <a:pt x="131316" y="38014"/>
                      <a:pt x="134565" y="41263"/>
                    </a:cubicBezTo>
                    <a:cubicBezTo>
                      <a:pt x="135876" y="42574"/>
                      <a:pt x="136445" y="44511"/>
                      <a:pt x="137757" y="45879"/>
                    </a:cubicBezTo>
                    <a:cubicBezTo>
                      <a:pt x="140606" y="48900"/>
                      <a:pt x="145736" y="47988"/>
                      <a:pt x="149155" y="49926"/>
                    </a:cubicBezTo>
                    <a:cubicBezTo>
                      <a:pt x="152575" y="51864"/>
                      <a:pt x="153829" y="54599"/>
                      <a:pt x="156166" y="56993"/>
                    </a:cubicBezTo>
                    <a:cubicBezTo>
                      <a:pt x="159050" y="59906"/>
                      <a:pt x="162863" y="61718"/>
                      <a:pt x="166938" y="62123"/>
                    </a:cubicBezTo>
                    <a:cubicBezTo>
                      <a:pt x="169303" y="61952"/>
                      <a:pt x="171680" y="62385"/>
                      <a:pt x="173834" y="63377"/>
                    </a:cubicBezTo>
                    <a:cubicBezTo>
                      <a:pt x="176342" y="65143"/>
                      <a:pt x="176798" y="69076"/>
                      <a:pt x="179191" y="70843"/>
                    </a:cubicBezTo>
                    <a:cubicBezTo>
                      <a:pt x="181585" y="72610"/>
                      <a:pt x="185233" y="72325"/>
                      <a:pt x="188197" y="73408"/>
                    </a:cubicBezTo>
                    <a:cubicBezTo>
                      <a:pt x="193896" y="75346"/>
                      <a:pt x="196005" y="81957"/>
                      <a:pt x="200622" y="85662"/>
                    </a:cubicBezTo>
                    <a:cubicBezTo>
                      <a:pt x="207005" y="90791"/>
                      <a:pt x="215953" y="89195"/>
                      <a:pt x="223990" y="86687"/>
                    </a:cubicBezTo>
                    <a:lnTo>
                      <a:pt x="223990" y="173775"/>
                    </a:lnTo>
                    <a:lnTo>
                      <a:pt x="218290" y="174402"/>
                    </a:lnTo>
                    <a:cubicBezTo>
                      <a:pt x="219441" y="180273"/>
                      <a:pt x="215617" y="185961"/>
                      <a:pt x="209746" y="187112"/>
                    </a:cubicBezTo>
                    <a:cubicBezTo>
                      <a:pt x="209519" y="187158"/>
                      <a:pt x="209290" y="187198"/>
                      <a:pt x="209057" y="187226"/>
                    </a:cubicBezTo>
                    <a:cubicBezTo>
                      <a:pt x="205466" y="187226"/>
                      <a:pt x="200736" y="186314"/>
                      <a:pt x="198969" y="189506"/>
                    </a:cubicBezTo>
                    <a:cubicBezTo>
                      <a:pt x="197715" y="191729"/>
                      <a:pt x="198969" y="194522"/>
                      <a:pt x="198570" y="197029"/>
                    </a:cubicBezTo>
                    <a:cubicBezTo>
                      <a:pt x="197715" y="201817"/>
                      <a:pt x="191503" y="202729"/>
                      <a:pt x="187171" y="205464"/>
                    </a:cubicBezTo>
                    <a:cubicBezTo>
                      <a:pt x="180656" y="209882"/>
                      <a:pt x="178958" y="218739"/>
                      <a:pt x="183375" y="225253"/>
                    </a:cubicBezTo>
                    <a:cubicBezTo>
                      <a:pt x="183421" y="225327"/>
                      <a:pt x="183472" y="225396"/>
                      <a:pt x="183523" y="225470"/>
                    </a:cubicBezTo>
                    <a:lnTo>
                      <a:pt x="171269" y="232651"/>
                    </a:lnTo>
                    <a:cubicBezTo>
                      <a:pt x="170357" y="238350"/>
                      <a:pt x="176000" y="243423"/>
                      <a:pt x="178622" y="248894"/>
                    </a:cubicBezTo>
                    <a:cubicBezTo>
                      <a:pt x="180183" y="252702"/>
                      <a:pt x="181181" y="256714"/>
                      <a:pt x="181585" y="260806"/>
                    </a:cubicBezTo>
                    <a:cubicBezTo>
                      <a:pt x="183346" y="270376"/>
                      <a:pt x="186777" y="279558"/>
                      <a:pt x="191730" y="287936"/>
                    </a:cubicBezTo>
                    <a:cubicBezTo>
                      <a:pt x="196068" y="291675"/>
                      <a:pt x="197869" y="297574"/>
                      <a:pt x="196347" y="3030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2" name="Freihandform: Form 686">
                <a:extLst>
                  <a:ext uri="{FF2B5EF4-FFF2-40B4-BE49-F238E27FC236}">
                    <a16:creationId xmlns:a16="http://schemas.microsoft.com/office/drawing/2014/main" id="{94DA9569-06F7-8A0E-EFF5-69D17C60EEE3}"/>
                  </a:ext>
                </a:extLst>
              </p:cNvPr>
              <p:cNvSpPr/>
              <p:nvPr/>
            </p:nvSpPr>
            <p:spPr>
              <a:xfrm>
                <a:off x="4647052" y="3981397"/>
                <a:ext cx="210042" cy="307429"/>
              </a:xfrm>
              <a:custGeom>
                <a:avLst/>
                <a:gdLst>
                  <a:gd name="connsiteX0" fmla="*/ 52852 w 210042"/>
                  <a:gd name="connsiteY0" fmla="*/ 5757 h 307429"/>
                  <a:gd name="connsiteX1" fmla="*/ 54048 w 210042"/>
                  <a:gd name="connsiteY1" fmla="*/ 4617 h 307429"/>
                  <a:gd name="connsiteX2" fmla="*/ 57126 w 210042"/>
                  <a:gd name="connsiteY2" fmla="*/ 4617 h 307429"/>
                  <a:gd name="connsiteX3" fmla="*/ 79012 w 210042"/>
                  <a:gd name="connsiteY3" fmla="*/ 25990 h 307429"/>
                  <a:gd name="connsiteX4" fmla="*/ 111670 w 210042"/>
                  <a:gd name="connsiteY4" fmla="*/ 19834 h 307429"/>
                  <a:gd name="connsiteX5" fmla="*/ 210043 w 210042"/>
                  <a:gd name="connsiteY5" fmla="*/ 0 h 307429"/>
                  <a:gd name="connsiteX6" fmla="*/ 190836 w 210042"/>
                  <a:gd name="connsiteY6" fmla="*/ 88912 h 307429"/>
                  <a:gd name="connsiteX7" fmla="*/ 187473 w 210042"/>
                  <a:gd name="connsiteY7" fmla="*/ 97404 h 307429"/>
                  <a:gd name="connsiteX8" fmla="*/ 180292 w 210042"/>
                  <a:gd name="connsiteY8" fmla="*/ 102306 h 307429"/>
                  <a:gd name="connsiteX9" fmla="*/ 163193 w 210042"/>
                  <a:gd name="connsiteY9" fmla="*/ 130062 h 307429"/>
                  <a:gd name="connsiteX10" fmla="*/ 136349 w 210042"/>
                  <a:gd name="connsiteY10" fmla="*/ 163290 h 307429"/>
                  <a:gd name="connsiteX11" fmla="*/ 129338 w 210042"/>
                  <a:gd name="connsiteY11" fmla="*/ 184948 h 307429"/>
                  <a:gd name="connsiteX12" fmla="*/ 62883 w 210042"/>
                  <a:gd name="connsiteY12" fmla="*/ 236642 h 307429"/>
                  <a:gd name="connsiteX13" fmla="*/ 31934 w 210042"/>
                  <a:gd name="connsiteY13" fmla="*/ 280699 h 307429"/>
                  <a:gd name="connsiteX14" fmla="*/ 24468 w 210042"/>
                  <a:gd name="connsiteY14" fmla="*/ 290217 h 307429"/>
                  <a:gd name="connsiteX15" fmla="*/ 14152 w 210042"/>
                  <a:gd name="connsiteY15" fmla="*/ 299450 h 307429"/>
                  <a:gd name="connsiteX16" fmla="*/ 9535 w 210042"/>
                  <a:gd name="connsiteY16" fmla="*/ 307430 h 307429"/>
                  <a:gd name="connsiteX17" fmla="*/ 7769 w 210042"/>
                  <a:gd name="connsiteY17" fmla="*/ 296031 h 307429"/>
                  <a:gd name="connsiteX18" fmla="*/ 1226 w 210042"/>
                  <a:gd name="connsiteY18" fmla="*/ 293740 h 307429"/>
                  <a:gd name="connsiteX19" fmla="*/ 758 w 210042"/>
                  <a:gd name="connsiteY19" fmla="*/ 292041 h 307429"/>
                  <a:gd name="connsiteX20" fmla="*/ 758 w 210042"/>
                  <a:gd name="connsiteY20" fmla="*/ 217150 h 307429"/>
                  <a:gd name="connsiteX21" fmla="*/ 2012 w 210042"/>
                  <a:gd name="connsiteY21" fmla="*/ 208259 h 307429"/>
                  <a:gd name="connsiteX22" fmla="*/ 6914 w 210042"/>
                  <a:gd name="connsiteY22" fmla="*/ 200166 h 307429"/>
                  <a:gd name="connsiteX23" fmla="*/ 7541 w 210042"/>
                  <a:gd name="connsiteY23" fmla="*/ 196575 h 307429"/>
                  <a:gd name="connsiteX24" fmla="*/ 10618 w 210042"/>
                  <a:gd name="connsiteY24" fmla="*/ 192528 h 307429"/>
                  <a:gd name="connsiteX25" fmla="*/ 20706 w 210042"/>
                  <a:gd name="connsiteY25" fmla="*/ 176570 h 307429"/>
                  <a:gd name="connsiteX26" fmla="*/ 19452 w 210042"/>
                  <a:gd name="connsiteY26" fmla="*/ 177026 h 307429"/>
                  <a:gd name="connsiteX27" fmla="*/ 21048 w 210042"/>
                  <a:gd name="connsiteY27" fmla="*/ 173549 h 307429"/>
                  <a:gd name="connsiteX28" fmla="*/ 40085 w 210042"/>
                  <a:gd name="connsiteY28" fmla="*/ 172124 h 307429"/>
                  <a:gd name="connsiteX29" fmla="*/ 42991 w 210042"/>
                  <a:gd name="connsiteY29" fmla="*/ 167907 h 307429"/>
                  <a:gd name="connsiteX30" fmla="*/ 53820 w 210042"/>
                  <a:gd name="connsiteY30" fmla="*/ 164145 h 307429"/>
                  <a:gd name="connsiteX31" fmla="*/ 60546 w 210042"/>
                  <a:gd name="connsiteY31" fmla="*/ 156223 h 307429"/>
                  <a:gd name="connsiteX32" fmla="*/ 93546 w 210042"/>
                  <a:gd name="connsiteY32" fmla="*/ 147502 h 307429"/>
                  <a:gd name="connsiteX33" fmla="*/ 116857 w 210042"/>
                  <a:gd name="connsiteY33" fmla="*/ 121171 h 307429"/>
                  <a:gd name="connsiteX34" fmla="*/ 122841 w 210042"/>
                  <a:gd name="connsiteY34" fmla="*/ 114674 h 307429"/>
                  <a:gd name="connsiteX35" fmla="*/ 131105 w 210042"/>
                  <a:gd name="connsiteY35" fmla="*/ 111539 h 307429"/>
                  <a:gd name="connsiteX36" fmla="*/ 147748 w 210042"/>
                  <a:gd name="connsiteY36" fmla="*/ 87601 h 307429"/>
                  <a:gd name="connsiteX37" fmla="*/ 113551 w 210042"/>
                  <a:gd name="connsiteY37" fmla="*/ 77969 h 307429"/>
                  <a:gd name="connsiteX38" fmla="*/ 106997 w 210042"/>
                  <a:gd name="connsiteY38" fmla="*/ 72269 h 307429"/>
                  <a:gd name="connsiteX39" fmla="*/ 87390 w 210042"/>
                  <a:gd name="connsiteY39" fmla="*/ 65829 h 307429"/>
                  <a:gd name="connsiteX40" fmla="*/ 83458 w 210042"/>
                  <a:gd name="connsiteY40" fmla="*/ 61383 h 307429"/>
                  <a:gd name="connsiteX41" fmla="*/ 74680 w 210042"/>
                  <a:gd name="connsiteY41" fmla="*/ 60700 h 307429"/>
                  <a:gd name="connsiteX42" fmla="*/ 57183 w 210042"/>
                  <a:gd name="connsiteY42" fmla="*/ 46280 h 307429"/>
                  <a:gd name="connsiteX43" fmla="*/ 52168 w 210042"/>
                  <a:gd name="connsiteY43" fmla="*/ 45197 h 307429"/>
                  <a:gd name="connsiteX44" fmla="*/ 49204 w 210042"/>
                  <a:gd name="connsiteY44" fmla="*/ 37731 h 307429"/>
                  <a:gd name="connsiteX45" fmla="*/ 45271 w 210042"/>
                  <a:gd name="connsiteY45" fmla="*/ 34311 h 307429"/>
                  <a:gd name="connsiteX46" fmla="*/ 42593 w 210042"/>
                  <a:gd name="connsiteY46" fmla="*/ 18694 h 307429"/>
                  <a:gd name="connsiteX47" fmla="*/ 52852 w 210042"/>
                  <a:gd name="connsiteY47" fmla="*/ 5757 h 307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0042" h="307429">
                    <a:moveTo>
                      <a:pt x="52852" y="5757"/>
                    </a:moveTo>
                    <a:lnTo>
                      <a:pt x="54048" y="4617"/>
                    </a:lnTo>
                    <a:cubicBezTo>
                      <a:pt x="55074" y="4674"/>
                      <a:pt x="56100" y="4674"/>
                      <a:pt x="57126" y="4617"/>
                    </a:cubicBezTo>
                    <a:cubicBezTo>
                      <a:pt x="56727" y="16016"/>
                      <a:pt x="67898" y="24622"/>
                      <a:pt x="79012" y="25990"/>
                    </a:cubicBezTo>
                    <a:cubicBezTo>
                      <a:pt x="90126" y="27358"/>
                      <a:pt x="101069" y="23311"/>
                      <a:pt x="111670" y="19834"/>
                    </a:cubicBezTo>
                    <a:cubicBezTo>
                      <a:pt x="143542" y="9284"/>
                      <a:pt x="176576" y="2627"/>
                      <a:pt x="210043" y="0"/>
                    </a:cubicBezTo>
                    <a:cubicBezTo>
                      <a:pt x="203659" y="29637"/>
                      <a:pt x="197259" y="59275"/>
                      <a:pt x="190836" y="88912"/>
                    </a:cubicBezTo>
                    <a:cubicBezTo>
                      <a:pt x="190443" y="91978"/>
                      <a:pt x="189286" y="94896"/>
                      <a:pt x="187473" y="97404"/>
                    </a:cubicBezTo>
                    <a:cubicBezTo>
                      <a:pt x="185279" y="99313"/>
                      <a:pt x="182868" y="100961"/>
                      <a:pt x="180292" y="102306"/>
                    </a:cubicBezTo>
                    <a:cubicBezTo>
                      <a:pt x="171173" y="108404"/>
                      <a:pt x="168893" y="120601"/>
                      <a:pt x="163193" y="130062"/>
                    </a:cubicBezTo>
                    <a:cubicBezTo>
                      <a:pt x="156012" y="142430"/>
                      <a:pt x="142846" y="150580"/>
                      <a:pt x="136349" y="163290"/>
                    </a:cubicBezTo>
                    <a:cubicBezTo>
                      <a:pt x="133482" y="170329"/>
                      <a:pt x="131139" y="177567"/>
                      <a:pt x="129338" y="184948"/>
                    </a:cubicBezTo>
                    <a:cubicBezTo>
                      <a:pt x="119245" y="213719"/>
                      <a:pt x="93255" y="233935"/>
                      <a:pt x="62883" y="236642"/>
                    </a:cubicBezTo>
                    <a:cubicBezTo>
                      <a:pt x="52453" y="252031"/>
                      <a:pt x="42364" y="265140"/>
                      <a:pt x="31934" y="280699"/>
                    </a:cubicBezTo>
                    <a:cubicBezTo>
                      <a:pt x="29786" y="284125"/>
                      <a:pt x="27284" y="287316"/>
                      <a:pt x="24468" y="290217"/>
                    </a:cubicBezTo>
                    <a:cubicBezTo>
                      <a:pt x="20872" y="293113"/>
                      <a:pt x="17429" y="296196"/>
                      <a:pt x="14152" y="299450"/>
                    </a:cubicBezTo>
                    <a:cubicBezTo>
                      <a:pt x="12317" y="301930"/>
                      <a:pt x="10766" y="304603"/>
                      <a:pt x="9535" y="307430"/>
                    </a:cubicBezTo>
                    <a:cubicBezTo>
                      <a:pt x="9290" y="303583"/>
                      <a:pt x="8698" y="299770"/>
                      <a:pt x="7769" y="296031"/>
                    </a:cubicBezTo>
                    <a:cubicBezTo>
                      <a:pt x="5329" y="297205"/>
                      <a:pt x="2400" y="296179"/>
                      <a:pt x="1226" y="293740"/>
                    </a:cubicBezTo>
                    <a:cubicBezTo>
                      <a:pt x="969" y="293209"/>
                      <a:pt x="809" y="292634"/>
                      <a:pt x="758" y="292041"/>
                    </a:cubicBezTo>
                    <a:lnTo>
                      <a:pt x="758" y="217150"/>
                    </a:lnTo>
                    <a:cubicBezTo>
                      <a:pt x="-598" y="214198"/>
                      <a:pt x="-108" y="210721"/>
                      <a:pt x="2012" y="208259"/>
                    </a:cubicBezTo>
                    <a:cubicBezTo>
                      <a:pt x="4149" y="205899"/>
                      <a:pt x="5814" y="203152"/>
                      <a:pt x="6914" y="200166"/>
                    </a:cubicBezTo>
                    <a:cubicBezTo>
                      <a:pt x="7034" y="198957"/>
                      <a:pt x="7244" y="197755"/>
                      <a:pt x="7541" y="196575"/>
                    </a:cubicBezTo>
                    <a:cubicBezTo>
                      <a:pt x="8259" y="195019"/>
                      <a:pt x="9308" y="193640"/>
                      <a:pt x="10618" y="192528"/>
                    </a:cubicBezTo>
                    <a:cubicBezTo>
                      <a:pt x="15047" y="187963"/>
                      <a:pt x="18484" y="182531"/>
                      <a:pt x="20706" y="176570"/>
                    </a:cubicBezTo>
                    <a:cubicBezTo>
                      <a:pt x="20296" y="176746"/>
                      <a:pt x="19880" y="176900"/>
                      <a:pt x="19452" y="177026"/>
                    </a:cubicBezTo>
                    <a:cubicBezTo>
                      <a:pt x="20154" y="175948"/>
                      <a:pt x="20689" y="174780"/>
                      <a:pt x="21048" y="173549"/>
                    </a:cubicBezTo>
                    <a:cubicBezTo>
                      <a:pt x="27489" y="175715"/>
                      <a:pt x="35810" y="177368"/>
                      <a:pt x="40085" y="172124"/>
                    </a:cubicBezTo>
                    <a:cubicBezTo>
                      <a:pt x="41168" y="170813"/>
                      <a:pt x="41795" y="169160"/>
                      <a:pt x="42991" y="167907"/>
                    </a:cubicBezTo>
                    <a:cubicBezTo>
                      <a:pt x="46160" y="165627"/>
                      <a:pt x="49922" y="164322"/>
                      <a:pt x="53820" y="164145"/>
                    </a:cubicBezTo>
                    <a:cubicBezTo>
                      <a:pt x="57582" y="163233"/>
                      <a:pt x="61743" y="159927"/>
                      <a:pt x="60546" y="156223"/>
                    </a:cubicBezTo>
                    <a:cubicBezTo>
                      <a:pt x="72293" y="158246"/>
                      <a:pt x="84335" y="155066"/>
                      <a:pt x="93546" y="147502"/>
                    </a:cubicBezTo>
                    <a:cubicBezTo>
                      <a:pt x="102613" y="139962"/>
                      <a:pt x="110473" y="131082"/>
                      <a:pt x="116857" y="121171"/>
                    </a:cubicBezTo>
                    <a:cubicBezTo>
                      <a:pt x="118418" y="118640"/>
                      <a:pt x="120447" y="116435"/>
                      <a:pt x="122841" y="114674"/>
                    </a:cubicBezTo>
                    <a:cubicBezTo>
                      <a:pt x="125474" y="113334"/>
                      <a:pt x="128244" y="112285"/>
                      <a:pt x="131105" y="111539"/>
                    </a:cubicBezTo>
                    <a:cubicBezTo>
                      <a:pt x="141005" y="107692"/>
                      <a:pt x="147588" y="98225"/>
                      <a:pt x="147748" y="87601"/>
                    </a:cubicBezTo>
                    <a:cubicBezTo>
                      <a:pt x="135471" y="89921"/>
                      <a:pt x="122812" y="86358"/>
                      <a:pt x="113551" y="77969"/>
                    </a:cubicBezTo>
                    <a:cubicBezTo>
                      <a:pt x="111607" y="75809"/>
                      <a:pt x="109407" y="73894"/>
                      <a:pt x="106997" y="72269"/>
                    </a:cubicBezTo>
                    <a:cubicBezTo>
                      <a:pt x="100841" y="68907"/>
                      <a:pt x="92121" y="71016"/>
                      <a:pt x="87390" y="65829"/>
                    </a:cubicBezTo>
                    <a:cubicBezTo>
                      <a:pt x="86079" y="64347"/>
                      <a:pt x="85225" y="62409"/>
                      <a:pt x="83458" y="61383"/>
                    </a:cubicBezTo>
                    <a:cubicBezTo>
                      <a:pt x="81691" y="60358"/>
                      <a:pt x="77758" y="61383"/>
                      <a:pt x="74680" y="60700"/>
                    </a:cubicBezTo>
                    <a:cubicBezTo>
                      <a:pt x="66986" y="59446"/>
                      <a:pt x="64820" y="47648"/>
                      <a:pt x="57183" y="46280"/>
                    </a:cubicBezTo>
                    <a:cubicBezTo>
                      <a:pt x="55451" y="46303"/>
                      <a:pt x="53735" y="45932"/>
                      <a:pt x="52168" y="45197"/>
                    </a:cubicBezTo>
                    <a:cubicBezTo>
                      <a:pt x="49945" y="43544"/>
                      <a:pt x="50629" y="40067"/>
                      <a:pt x="49204" y="37731"/>
                    </a:cubicBezTo>
                    <a:cubicBezTo>
                      <a:pt x="48087" y="36385"/>
                      <a:pt x="46759" y="35234"/>
                      <a:pt x="45271" y="34311"/>
                    </a:cubicBezTo>
                    <a:cubicBezTo>
                      <a:pt x="41224" y="30167"/>
                      <a:pt x="40159" y="23949"/>
                      <a:pt x="42593" y="18694"/>
                    </a:cubicBezTo>
                    <a:cubicBezTo>
                      <a:pt x="45106" y="13736"/>
                      <a:pt x="48594" y="9336"/>
                      <a:pt x="52852" y="5757"/>
                    </a:cubicBezTo>
                    <a:close/>
                  </a:path>
                </a:pathLst>
              </a:custGeom>
              <a:solidFill>
                <a:srgbClr val="005295"/>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93" name="Freihandform: Form 687">
                <a:extLst>
                  <a:ext uri="{FF2B5EF4-FFF2-40B4-BE49-F238E27FC236}">
                    <a16:creationId xmlns:a16="http://schemas.microsoft.com/office/drawing/2014/main" id="{40F19A92-719E-7960-49D7-D5AF1C9ECB29}"/>
                  </a:ext>
                </a:extLst>
              </p:cNvPr>
              <p:cNvSpPr/>
              <p:nvPr/>
            </p:nvSpPr>
            <p:spPr>
              <a:xfrm>
                <a:off x="4662294" y="3954308"/>
                <a:ext cx="38806" cy="56527"/>
              </a:xfrm>
              <a:custGeom>
                <a:avLst/>
                <a:gdLst>
                  <a:gd name="connsiteX0" fmla="*/ 29744 w 38806"/>
                  <a:gd name="connsiteY0" fmla="*/ 644 h 56527"/>
                  <a:gd name="connsiteX1" fmla="*/ 34987 w 38806"/>
                  <a:gd name="connsiteY1" fmla="*/ 7141 h 56527"/>
                  <a:gd name="connsiteX2" fmla="*/ 26723 w 38806"/>
                  <a:gd name="connsiteY2" fmla="*/ 19566 h 56527"/>
                  <a:gd name="connsiteX3" fmla="*/ 29299 w 38806"/>
                  <a:gd name="connsiteY3" fmla="*/ 29723 h 56527"/>
                  <a:gd name="connsiteX4" fmla="*/ 29801 w 38806"/>
                  <a:gd name="connsiteY4" fmla="*/ 29996 h 56527"/>
                  <a:gd name="connsiteX5" fmla="*/ 38806 w 38806"/>
                  <a:gd name="connsiteY5" fmla="*/ 31706 h 56527"/>
                  <a:gd name="connsiteX6" fmla="*/ 37609 w 38806"/>
                  <a:gd name="connsiteY6" fmla="*/ 32846 h 56527"/>
                  <a:gd name="connsiteX7" fmla="*/ 27236 w 38806"/>
                  <a:gd name="connsiteY7" fmla="*/ 46012 h 56527"/>
                  <a:gd name="connsiteX8" fmla="*/ 26609 w 38806"/>
                  <a:gd name="connsiteY8" fmla="*/ 56442 h 56527"/>
                  <a:gd name="connsiteX9" fmla="*/ 21480 w 38806"/>
                  <a:gd name="connsiteY9" fmla="*/ 56442 h 56527"/>
                  <a:gd name="connsiteX10" fmla="*/ 9283 w 38806"/>
                  <a:gd name="connsiteY10" fmla="*/ 52224 h 56527"/>
                  <a:gd name="connsiteX11" fmla="*/ 3583 w 38806"/>
                  <a:gd name="connsiteY11" fmla="*/ 40255 h 56527"/>
                  <a:gd name="connsiteX12" fmla="*/ 3128 w 38806"/>
                  <a:gd name="connsiteY12" fmla="*/ 34898 h 56527"/>
                  <a:gd name="connsiteX13" fmla="*/ 791 w 38806"/>
                  <a:gd name="connsiteY13" fmla="*/ 31991 h 56527"/>
                  <a:gd name="connsiteX14" fmla="*/ 107 w 38806"/>
                  <a:gd name="connsiteY14" fmla="*/ 27260 h 56527"/>
                  <a:gd name="connsiteX15" fmla="*/ 734 w 38806"/>
                  <a:gd name="connsiteY15" fmla="*/ 15007 h 56527"/>
                  <a:gd name="connsiteX16" fmla="*/ 1418 w 38806"/>
                  <a:gd name="connsiteY16" fmla="*/ 9877 h 56527"/>
                  <a:gd name="connsiteX17" fmla="*/ 17205 w 38806"/>
                  <a:gd name="connsiteY17" fmla="*/ 245 h 56527"/>
                  <a:gd name="connsiteX18" fmla="*/ 29744 w 38806"/>
                  <a:gd name="connsiteY18" fmla="*/ 644 h 56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806" h="56527">
                    <a:moveTo>
                      <a:pt x="29744" y="644"/>
                    </a:moveTo>
                    <a:cubicBezTo>
                      <a:pt x="31801" y="2542"/>
                      <a:pt x="33568" y="4731"/>
                      <a:pt x="34987" y="7141"/>
                    </a:cubicBezTo>
                    <a:cubicBezTo>
                      <a:pt x="38179" y="13183"/>
                      <a:pt x="32366" y="23499"/>
                      <a:pt x="26723" y="19566"/>
                    </a:cubicBezTo>
                    <a:cubicBezTo>
                      <a:pt x="24631" y="23083"/>
                      <a:pt x="25783" y="27631"/>
                      <a:pt x="29299" y="29723"/>
                    </a:cubicBezTo>
                    <a:cubicBezTo>
                      <a:pt x="29465" y="29820"/>
                      <a:pt x="29630" y="29911"/>
                      <a:pt x="29801" y="29996"/>
                    </a:cubicBezTo>
                    <a:cubicBezTo>
                      <a:pt x="32582" y="31398"/>
                      <a:pt x="35705" y="31991"/>
                      <a:pt x="38806" y="31706"/>
                    </a:cubicBezTo>
                    <a:lnTo>
                      <a:pt x="37609" y="32846"/>
                    </a:lnTo>
                    <a:cubicBezTo>
                      <a:pt x="33289" y="36482"/>
                      <a:pt x="29761" y="40962"/>
                      <a:pt x="27236" y="46012"/>
                    </a:cubicBezTo>
                    <a:cubicBezTo>
                      <a:pt x="25897" y="49329"/>
                      <a:pt x="25675" y="52988"/>
                      <a:pt x="26609" y="56442"/>
                    </a:cubicBezTo>
                    <a:cubicBezTo>
                      <a:pt x="24899" y="56556"/>
                      <a:pt x="23190" y="56556"/>
                      <a:pt x="21480" y="56442"/>
                    </a:cubicBezTo>
                    <a:cubicBezTo>
                      <a:pt x="17085" y="56271"/>
                      <a:pt x="12845" y="54800"/>
                      <a:pt x="9283" y="52224"/>
                    </a:cubicBezTo>
                    <a:cubicBezTo>
                      <a:pt x="5595" y="49357"/>
                      <a:pt x="3487" y="44923"/>
                      <a:pt x="3583" y="40255"/>
                    </a:cubicBezTo>
                    <a:cubicBezTo>
                      <a:pt x="3925" y="38460"/>
                      <a:pt x="3766" y="36608"/>
                      <a:pt x="3128" y="34898"/>
                    </a:cubicBezTo>
                    <a:cubicBezTo>
                      <a:pt x="2557" y="33815"/>
                      <a:pt x="1418" y="33074"/>
                      <a:pt x="791" y="31991"/>
                    </a:cubicBezTo>
                    <a:cubicBezTo>
                      <a:pt x="78" y="30521"/>
                      <a:pt x="-161" y="28868"/>
                      <a:pt x="107" y="27260"/>
                    </a:cubicBezTo>
                    <a:cubicBezTo>
                      <a:pt x="107" y="23157"/>
                      <a:pt x="506" y="19053"/>
                      <a:pt x="734" y="15007"/>
                    </a:cubicBezTo>
                    <a:cubicBezTo>
                      <a:pt x="728" y="13274"/>
                      <a:pt x="962" y="11547"/>
                      <a:pt x="1418" y="9877"/>
                    </a:cubicBezTo>
                    <a:cubicBezTo>
                      <a:pt x="3355" y="3608"/>
                      <a:pt x="10651" y="815"/>
                      <a:pt x="17205" y="245"/>
                    </a:cubicBezTo>
                    <a:cubicBezTo>
                      <a:pt x="21383" y="-182"/>
                      <a:pt x="25601" y="-51"/>
                      <a:pt x="29744" y="64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4" name="Freihandform: Form 688">
                <a:extLst>
                  <a:ext uri="{FF2B5EF4-FFF2-40B4-BE49-F238E27FC236}">
                    <a16:creationId xmlns:a16="http://schemas.microsoft.com/office/drawing/2014/main" id="{79AFE66A-62AD-9BAF-4A19-5CCAA2CA2833}"/>
                  </a:ext>
                </a:extLst>
              </p:cNvPr>
              <p:cNvSpPr/>
              <p:nvPr/>
            </p:nvSpPr>
            <p:spPr>
              <a:xfrm>
                <a:off x="4551382" y="3820843"/>
                <a:ext cx="140427" cy="133937"/>
              </a:xfrm>
              <a:custGeom>
                <a:avLst/>
                <a:gdLst>
                  <a:gd name="connsiteX0" fmla="*/ 39946 w 140427"/>
                  <a:gd name="connsiteY0" fmla="*/ 0 h 133937"/>
                  <a:gd name="connsiteX1" fmla="*/ 67817 w 140427"/>
                  <a:gd name="connsiteY1" fmla="*/ 43031 h 133937"/>
                  <a:gd name="connsiteX2" fmla="*/ 71122 w 140427"/>
                  <a:gd name="connsiteY2" fmla="*/ 49129 h 133937"/>
                  <a:gd name="connsiteX3" fmla="*/ 104749 w 140427"/>
                  <a:gd name="connsiteY3" fmla="*/ 95181 h 133937"/>
                  <a:gd name="connsiteX4" fmla="*/ 120309 w 140427"/>
                  <a:gd name="connsiteY4" fmla="*/ 106580 h 133937"/>
                  <a:gd name="connsiteX5" fmla="*/ 129998 w 140427"/>
                  <a:gd name="connsiteY5" fmla="*/ 116041 h 133937"/>
                  <a:gd name="connsiteX6" fmla="*/ 132848 w 140427"/>
                  <a:gd name="connsiteY6" fmla="*/ 124534 h 133937"/>
                  <a:gd name="connsiteX7" fmla="*/ 140428 w 140427"/>
                  <a:gd name="connsiteY7" fmla="*/ 133938 h 133937"/>
                  <a:gd name="connsiteX8" fmla="*/ 128117 w 140427"/>
                  <a:gd name="connsiteY8" fmla="*/ 133311 h 133937"/>
                  <a:gd name="connsiteX9" fmla="*/ 125267 w 140427"/>
                  <a:gd name="connsiteY9" fmla="*/ 133710 h 133937"/>
                  <a:gd name="connsiteX10" fmla="*/ 85371 w 140427"/>
                  <a:gd name="connsiteY10" fmla="*/ 94440 h 133937"/>
                  <a:gd name="connsiteX11" fmla="*/ 81381 w 140427"/>
                  <a:gd name="connsiteY11" fmla="*/ 90565 h 133937"/>
                  <a:gd name="connsiteX12" fmla="*/ 74314 w 140427"/>
                  <a:gd name="connsiteY12" fmla="*/ 90280 h 133937"/>
                  <a:gd name="connsiteX13" fmla="*/ 57558 w 140427"/>
                  <a:gd name="connsiteY13" fmla="*/ 85378 h 133937"/>
                  <a:gd name="connsiteX14" fmla="*/ 52542 w 140427"/>
                  <a:gd name="connsiteY14" fmla="*/ 83212 h 133937"/>
                  <a:gd name="connsiteX15" fmla="*/ 46045 w 140427"/>
                  <a:gd name="connsiteY15" fmla="*/ 88912 h 133937"/>
                  <a:gd name="connsiteX16" fmla="*/ 35728 w 140427"/>
                  <a:gd name="connsiteY16" fmla="*/ 80989 h 133937"/>
                  <a:gd name="connsiteX17" fmla="*/ 29288 w 140427"/>
                  <a:gd name="connsiteY17" fmla="*/ 84238 h 133937"/>
                  <a:gd name="connsiteX18" fmla="*/ 27806 w 140427"/>
                  <a:gd name="connsiteY18" fmla="*/ 91762 h 133937"/>
                  <a:gd name="connsiteX19" fmla="*/ 12589 w 140427"/>
                  <a:gd name="connsiteY19" fmla="*/ 93984 h 133937"/>
                  <a:gd name="connsiteX20" fmla="*/ 8029 w 140427"/>
                  <a:gd name="connsiteY20" fmla="*/ 96264 h 133937"/>
                  <a:gd name="connsiteX21" fmla="*/ 506 w 140427"/>
                  <a:gd name="connsiteY21" fmla="*/ 85720 h 133937"/>
                  <a:gd name="connsiteX22" fmla="*/ 4723 w 140427"/>
                  <a:gd name="connsiteY22" fmla="*/ 54658 h 133937"/>
                  <a:gd name="connsiteX23" fmla="*/ 7516 w 140427"/>
                  <a:gd name="connsiteY23" fmla="*/ 48958 h 133937"/>
                  <a:gd name="connsiteX24" fmla="*/ 10252 w 140427"/>
                  <a:gd name="connsiteY24" fmla="*/ 35964 h 133937"/>
                  <a:gd name="connsiteX25" fmla="*/ 19998 w 140427"/>
                  <a:gd name="connsiteY25" fmla="*/ 29010 h 133937"/>
                  <a:gd name="connsiteX26" fmla="*/ 21708 w 140427"/>
                  <a:gd name="connsiteY26" fmla="*/ 20518 h 133937"/>
                  <a:gd name="connsiteX27" fmla="*/ 29858 w 140427"/>
                  <a:gd name="connsiteY27" fmla="*/ 15388 h 133937"/>
                  <a:gd name="connsiteX28" fmla="*/ 39946 w 140427"/>
                  <a:gd name="connsiteY28" fmla="*/ 0 h 133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0427" h="133937">
                    <a:moveTo>
                      <a:pt x="39946" y="0"/>
                    </a:moveTo>
                    <a:cubicBezTo>
                      <a:pt x="50416" y="13548"/>
                      <a:pt x="59735" y="27939"/>
                      <a:pt x="67817" y="43031"/>
                    </a:cubicBezTo>
                    <a:lnTo>
                      <a:pt x="71122" y="49129"/>
                    </a:lnTo>
                    <a:cubicBezTo>
                      <a:pt x="80583" y="65715"/>
                      <a:pt x="90330" y="82699"/>
                      <a:pt x="104749" y="95181"/>
                    </a:cubicBezTo>
                    <a:cubicBezTo>
                      <a:pt x="109713" y="99273"/>
                      <a:pt x="114906" y="103081"/>
                      <a:pt x="120309" y="106580"/>
                    </a:cubicBezTo>
                    <a:cubicBezTo>
                      <a:pt x="124299" y="108848"/>
                      <a:pt x="127638" y="112103"/>
                      <a:pt x="129998" y="116041"/>
                    </a:cubicBezTo>
                    <a:cubicBezTo>
                      <a:pt x="131309" y="118720"/>
                      <a:pt x="131651" y="121741"/>
                      <a:pt x="132848" y="124534"/>
                    </a:cubicBezTo>
                    <a:cubicBezTo>
                      <a:pt x="134797" y="128096"/>
                      <a:pt x="137362" y="131276"/>
                      <a:pt x="140428" y="133938"/>
                    </a:cubicBezTo>
                    <a:cubicBezTo>
                      <a:pt x="136370" y="133185"/>
                      <a:pt x="132232" y="132974"/>
                      <a:pt x="128117" y="133311"/>
                    </a:cubicBezTo>
                    <a:lnTo>
                      <a:pt x="125267" y="133710"/>
                    </a:lnTo>
                    <a:cubicBezTo>
                      <a:pt x="109947" y="122846"/>
                      <a:pt x="96474" y="109589"/>
                      <a:pt x="85371" y="94440"/>
                    </a:cubicBezTo>
                    <a:cubicBezTo>
                      <a:pt x="84379" y="92839"/>
                      <a:pt x="83011" y="91505"/>
                      <a:pt x="81381" y="90565"/>
                    </a:cubicBezTo>
                    <a:cubicBezTo>
                      <a:pt x="79090" y="89841"/>
                      <a:pt x="76651" y="89744"/>
                      <a:pt x="74314" y="90280"/>
                    </a:cubicBezTo>
                    <a:cubicBezTo>
                      <a:pt x="68318" y="90724"/>
                      <a:pt x="62368" y="88986"/>
                      <a:pt x="57558" y="85378"/>
                    </a:cubicBezTo>
                    <a:cubicBezTo>
                      <a:pt x="56076" y="84238"/>
                      <a:pt x="54366" y="82813"/>
                      <a:pt x="52542" y="83212"/>
                    </a:cubicBezTo>
                    <a:cubicBezTo>
                      <a:pt x="49635" y="83782"/>
                      <a:pt x="48894" y="88228"/>
                      <a:pt x="46045" y="88912"/>
                    </a:cubicBezTo>
                    <a:cubicBezTo>
                      <a:pt x="41656" y="90223"/>
                      <a:pt x="40345" y="82357"/>
                      <a:pt x="35728" y="80989"/>
                    </a:cubicBezTo>
                    <a:cubicBezTo>
                      <a:pt x="33084" y="80402"/>
                      <a:pt x="30388" y="81759"/>
                      <a:pt x="29288" y="84238"/>
                    </a:cubicBezTo>
                    <a:cubicBezTo>
                      <a:pt x="28228" y="86604"/>
                      <a:pt x="27726" y="89174"/>
                      <a:pt x="27806" y="91762"/>
                    </a:cubicBezTo>
                    <a:cubicBezTo>
                      <a:pt x="22648" y="90331"/>
                      <a:pt x="17126" y="91135"/>
                      <a:pt x="12589" y="93984"/>
                    </a:cubicBezTo>
                    <a:cubicBezTo>
                      <a:pt x="11244" y="95056"/>
                      <a:pt x="9693" y="95831"/>
                      <a:pt x="8029" y="96264"/>
                    </a:cubicBezTo>
                    <a:cubicBezTo>
                      <a:pt x="3242" y="96948"/>
                      <a:pt x="905" y="90565"/>
                      <a:pt x="506" y="85720"/>
                    </a:cubicBezTo>
                    <a:cubicBezTo>
                      <a:pt x="-874" y="75176"/>
                      <a:pt x="580" y="64455"/>
                      <a:pt x="4723" y="54658"/>
                    </a:cubicBezTo>
                    <a:cubicBezTo>
                      <a:pt x="5761" y="52811"/>
                      <a:pt x="6695" y="50908"/>
                      <a:pt x="7516" y="48958"/>
                    </a:cubicBezTo>
                    <a:cubicBezTo>
                      <a:pt x="9055" y="44798"/>
                      <a:pt x="8884" y="40181"/>
                      <a:pt x="10252" y="35964"/>
                    </a:cubicBezTo>
                    <a:cubicBezTo>
                      <a:pt x="11620" y="31746"/>
                      <a:pt x="15951" y="27756"/>
                      <a:pt x="19998" y="29010"/>
                    </a:cubicBezTo>
                    <a:cubicBezTo>
                      <a:pt x="18323" y="26155"/>
                      <a:pt x="19058" y="22502"/>
                      <a:pt x="21708" y="20518"/>
                    </a:cubicBezTo>
                    <a:cubicBezTo>
                      <a:pt x="24102" y="18409"/>
                      <a:pt x="27407" y="17326"/>
                      <a:pt x="29858" y="15388"/>
                    </a:cubicBezTo>
                    <a:cubicBezTo>
                      <a:pt x="34372" y="11114"/>
                      <a:pt x="37826" y="5848"/>
                      <a:pt x="39946"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5" name="Freihandform: Form 689">
                <a:extLst>
                  <a:ext uri="{FF2B5EF4-FFF2-40B4-BE49-F238E27FC236}">
                    <a16:creationId xmlns:a16="http://schemas.microsoft.com/office/drawing/2014/main" id="{81BF091A-59B7-055B-F2BA-E2E5254CD76C}"/>
                  </a:ext>
                </a:extLst>
              </p:cNvPr>
              <p:cNvSpPr/>
              <p:nvPr/>
            </p:nvSpPr>
            <p:spPr>
              <a:xfrm>
                <a:off x="4473513" y="3901981"/>
                <a:ext cx="321457" cy="273997"/>
              </a:xfrm>
              <a:custGeom>
                <a:avLst/>
                <a:gdLst>
                  <a:gd name="connsiteX0" fmla="*/ 74043 w 321457"/>
                  <a:gd name="connsiteY0" fmla="*/ 38493 h 273997"/>
                  <a:gd name="connsiteX1" fmla="*/ 83048 w 321457"/>
                  <a:gd name="connsiteY1" fmla="*/ 14727 h 273997"/>
                  <a:gd name="connsiteX2" fmla="*/ 86183 w 321457"/>
                  <a:gd name="connsiteY2" fmla="*/ 15411 h 273997"/>
                  <a:gd name="connsiteX3" fmla="*/ 90743 w 321457"/>
                  <a:gd name="connsiteY3" fmla="*/ 13131 h 273997"/>
                  <a:gd name="connsiteX4" fmla="*/ 105960 w 321457"/>
                  <a:gd name="connsiteY4" fmla="*/ 10908 h 273997"/>
                  <a:gd name="connsiteX5" fmla="*/ 107442 w 321457"/>
                  <a:gd name="connsiteY5" fmla="*/ 3385 h 273997"/>
                  <a:gd name="connsiteX6" fmla="*/ 113882 w 321457"/>
                  <a:gd name="connsiteY6" fmla="*/ 136 h 273997"/>
                  <a:gd name="connsiteX7" fmla="*/ 124198 w 321457"/>
                  <a:gd name="connsiteY7" fmla="*/ 8058 h 273997"/>
                  <a:gd name="connsiteX8" fmla="*/ 130696 w 321457"/>
                  <a:gd name="connsiteY8" fmla="*/ 2359 h 273997"/>
                  <a:gd name="connsiteX9" fmla="*/ 135711 w 321457"/>
                  <a:gd name="connsiteY9" fmla="*/ 4525 h 273997"/>
                  <a:gd name="connsiteX10" fmla="*/ 152468 w 321457"/>
                  <a:gd name="connsiteY10" fmla="*/ 9426 h 273997"/>
                  <a:gd name="connsiteX11" fmla="*/ 159535 w 321457"/>
                  <a:gd name="connsiteY11" fmla="*/ 9711 h 273997"/>
                  <a:gd name="connsiteX12" fmla="*/ 163525 w 321457"/>
                  <a:gd name="connsiteY12" fmla="*/ 13587 h 273997"/>
                  <a:gd name="connsiteX13" fmla="*/ 203421 w 321457"/>
                  <a:gd name="connsiteY13" fmla="*/ 52856 h 273997"/>
                  <a:gd name="connsiteX14" fmla="*/ 190483 w 321457"/>
                  <a:gd name="connsiteY14" fmla="*/ 62089 h 273997"/>
                  <a:gd name="connsiteX15" fmla="*/ 189799 w 321457"/>
                  <a:gd name="connsiteY15" fmla="*/ 67219 h 273997"/>
                  <a:gd name="connsiteX16" fmla="*/ 189172 w 321457"/>
                  <a:gd name="connsiteY16" fmla="*/ 79473 h 273997"/>
                  <a:gd name="connsiteX17" fmla="*/ 189856 w 321457"/>
                  <a:gd name="connsiteY17" fmla="*/ 84203 h 273997"/>
                  <a:gd name="connsiteX18" fmla="*/ 192193 w 321457"/>
                  <a:gd name="connsiteY18" fmla="*/ 87110 h 273997"/>
                  <a:gd name="connsiteX19" fmla="*/ 192649 w 321457"/>
                  <a:gd name="connsiteY19" fmla="*/ 92467 h 273997"/>
                  <a:gd name="connsiteX20" fmla="*/ 198348 w 321457"/>
                  <a:gd name="connsiteY20" fmla="*/ 104436 h 273997"/>
                  <a:gd name="connsiteX21" fmla="*/ 210545 w 321457"/>
                  <a:gd name="connsiteY21" fmla="*/ 108654 h 273997"/>
                  <a:gd name="connsiteX22" fmla="*/ 215675 w 321457"/>
                  <a:gd name="connsiteY22" fmla="*/ 108654 h 273997"/>
                  <a:gd name="connsiteX23" fmla="*/ 218981 w 321457"/>
                  <a:gd name="connsiteY23" fmla="*/ 113840 h 273997"/>
                  <a:gd name="connsiteX24" fmla="*/ 222913 w 321457"/>
                  <a:gd name="connsiteY24" fmla="*/ 117260 h 273997"/>
                  <a:gd name="connsiteX25" fmla="*/ 225877 w 321457"/>
                  <a:gd name="connsiteY25" fmla="*/ 124726 h 273997"/>
                  <a:gd name="connsiteX26" fmla="*/ 230892 w 321457"/>
                  <a:gd name="connsiteY26" fmla="*/ 125809 h 273997"/>
                  <a:gd name="connsiteX27" fmla="*/ 248390 w 321457"/>
                  <a:gd name="connsiteY27" fmla="*/ 140229 h 273997"/>
                  <a:gd name="connsiteX28" fmla="*/ 257167 w 321457"/>
                  <a:gd name="connsiteY28" fmla="*/ 140913 h 273997"/>
                  <a:gd name="connsiteX29" fmla="*/ 261100 w 321457"/>
                  <a:gd name="connsiteY29" fmla="*/ 145358 h 273997"/>
                  <a:gd name="connsiteX30" fmla="*/ 280706 w 321457"/>
                  <a:gd name="connsiteY30" fmla="*/ 151799 h 273997"/>
                  <a:gd name="connsiteX31" fmla="*/ 287260 w 321457"/>
                  <a:gd name="connsiteY31" fmla="*/ 157498 h 273997"/>
                  <a:gd name="connsiteX32" fmla="*/ 321457 w 321457"/>
                  <a:gd name="connsiteY32" fmla="*/ 167131 h 273997"/>
                  <a:gd name="connsiteX33" fmla="*/ 304815 w 321457"/>
                  <a:gd name="connsiteY33" fmla="*/ 191068 h 273997"/>
                  <a:gd name="connsiteX34" fmla="*/ 296550 w 321457"/>
                  <a:gd name="connsiteY34" fmla="*/ 194203 h 273997"/>
                  <a:gd name="connsiteX35" fmla="*/ 290566 w 321457"/>
                  <a:gd name="connsiteY35" fmla="*/ 200700 h 273997"/>
                  <a:gd name="connsiteX36" fmla="*/ 267255 w 321457"/>
                  <a:gd name="connsiteY36" fmla="*/ 227032 h 273997"/>
                  <a:gd name="connsiteX37" fmla="*/ 234255 w 321457"/>
                  <a:gd name="connsiteY37" fmla="*/ 235752 h 273997"/>
                  <a:gd name="connsiteX38" fmla="*/ 227530 w 321457"/>
                  <a:gd name="connsiteY38" fmla="*/ 243674 h 273997"/>
                  <a:gd name="connsiteX39" fmla="*/ 216701 w 321457"/>
                  <a:gd name="connsiteY39" fmla="*/ 247436 h 273997"/>
                  <a:gd name="connsiteX40" fmla="*/ 213794 w 321457"/>
                  <a:gd name="connsiteY40" fmla="*/ 251654 h 273997"/>
                  <a:gd name="connsiteX41" fmla="*/ 194758 w 321457"/>
                  <a:gd name="connsiteY41" fmla="*/ 253078 h 273997"/>
                  <a:gd name="connsiteX42" fmla="*/ 193504 w 321457"/>
                  <a:gd name="connsiteY42" fmla="*/ 256726 h 273997"/>
                  <a:gd name="connsiteX43" fmla="*/ 186209 w 321457"/>
                  <a:gd name="connsiteY43" fmla="*/ 255016 h 273997"/>
                  <a:gd name="connsiteX44" fmla="*/ 178286 w 321457"/>
                  <a:gd name="connsiteY44" fmla="*/ 250628 h 273997"/>
                  <a:gd name="connsiteX45" fmla="*/ 162841 w 321457"/>
                  <a:gd name="connsiteY45" fmla="*/ 256327 h 273997"/>
                  <a:gd name="connsiteX46" fmla="*/ 153835 w 321457"/>
                  <a:gd name="connsiteY46" fmla="*/ 261343 h 273997"/>
                  <a:gd name="connsiteX47" fmla="*/ 153835 w 321457"/>
                  <a:gd name="connsiteY47" fmla="*/ 265446 h 273997"/>
                  <a:gd name="connsiteX48" fmla="*/ 146882 w 321457"/>
                  <a:gd name="connsiteY48" fmla="*/ 266529 h 273997"/>
                  <a:gd name="connsiteX49" fmla="*/ 141451 w 321457"/>
                  <a:gd name="connsiteY49" fmla="*/ 272485 h 273997"/>
                  <a:gd name="connsiteX50" fmla="*/ 141468 w 321457"/>
                  <a:gd name="connsiteY50" fmla="*/ 272742 h 273997"/>
                  <a:gd name="connsiteX51" fmla="*/ 128587 w 321457"/>
                  <a:gd name="connsiteY51" fmla="*/ 273882 h 273997"/>
                  <a:gd name="connsiteX52" fmla="*/ 124141 w 321457"/>
                  <a:gd name="connsiteY52" fmla="*/ 273426 h 273997"/>
                  <a:gd name="connsiteX53" fmla="*/ 121007 w 321457"/>
                  <a:gd name="connsiteY53" fmla="*/ 269721 h 273997"/>
                  <a:gd name="connsiteX54" fmla="*/ 108240 w 321457"/>
                  <a:gd name="connsiteY54" fmla="*/ 265218 h 273997"/>
                  <a:gd name="connsiteX55" fmla="*/ 103452 w 321457"/>
                  <a:gd name="connsiteY55" fmla="*/ 259861 h 273997"/>
                  <a:gd name="connsiteX56" fmla="*/ 95587 w 321457"/>
                  <a:gd name="connsiteY56" fmla="*/ 258208 h 273997"/>
                  <a:gd name="connsiteX57" fmla="*/ 92224 w 321457"/>
                  <a:gd name="connsiteY57" fmla="*/ 247892 h 273997"/>
                  <a:gd name="connsiteX58" fmla="*/ 68058 w 321457"/>
                  <a:gd name="connsiteY58" fmla="*/ 245099 h 273997"/>
                  <a:gd name="connsiteX59" fmla="*/ 63727 w 321457"/>
                  <a:gd name="connsiteY59" fmla="*/ 240483 h 273997"/>
                  <a:gd name="connsiteX60" fmla="*/ 59851 w 321457"/>
                  <a:gd name="connsiteY60" fmla="*/ 237747 h 273997"/>
                  <a:gd name="connsiteX61" fmla="*/ 63499 w 321457"/>
                  <a:gd name="connsiteY61" fmla="*/ 224467 h 273997"/>
                  <a:gd name="connsiteX62" fmla="*/ 36597 w 321457"/>
                  <a:gd name="connsiteY62" fmla="*/ 197395 h 273997"/>
                  <a:gd name="connsiteX63" fmla="*/ 29359 w 321457"/>
                  <a:gd name="connsiteY63" fmla="*/ 188333 h 273997"/>
                  <a:gd name="connsiteX64" fmla="*/ 20126 w 321457"/>
                  <a:gd name="connsiteY64" fmla="*/ 183374 h 273997"/>
                  <a:gd name="connsiteX65" fmla="*/ 14426 w 321457"/>
                  <a:gd name="connsiteY65" fmla="*/ 169410 h 273997"/>
                  <a:gd name="connsiteX66" fmla="*/ 8271 w 321457"/>
                  <a:gd name="connsiteY66" fmla="*/ 168099 h 273997"/>
                  <a:gd name="connsiteX67" fmla="*/ 406 w 321457"/>
                  <a:gd name="connsiteY67" fmla="*/ 161773 h 273997"/>
                  <a:gd name="connsiteX68" fmla="*/ 3996 w 321457"/>
                  <a:gd name="connsiteY68" fmla="*/ 152825 h 273997"/>
                  <a:gd name="connsiteX69" fmla="*/ 9696 w 321457"/>
                  <a:gd name="connsiteY69" fmla="*/ 151970 h 273997"/>
                  <a:gd name="connsiteX70" fmla="*/ 26395 w 321457"/>
                  <a:gd name="connsiteY70" fmla="*/ 144219 h 273997"/>
                  <a:gd name="connsiteX71" fmla="*/ 29188 w 321457"/>
                  <a:gd name="connsiteY71" fmla="*/ 126550 h 273997"/>
                  <a:gd name="connsiteX72" fmla="*/ 26623 w 321457"/>
                  <a:gd name="connsiteY72" fmla="*/ 119882 h 273997"/>
                  <a:gd name="connsiteX73" fmla="*/ 30670 w 321457"/>
                  <a:gd name="connsiteY73" fmla="*/ 111561 h 273997"/>
                  <a:gd name="connsiteX74" fmla="*/ 33748 w 321457"/>
                  <a:gd name="connsiteY74" fmla="*/ 102328 h 273997"/>
                  <a:gd name="connsiteX75" fmla="*/ 40758 w 321457"/>
                  <a:gd name="connsiteY75" fmla="*/ 96628 h 273997"/>
                  <a:gd name="connsiteX76" fmla="*/ 43266 w 321457"/>
                  <a:gd name="connsiteY76" fmla="*/ 81524 h 273997"/>
                  <a:gd name="connsiteX77" fmla="*/ 48965 w 321457"/>
                  <a:gd name="connsiteY77" fmla="*/ 66820 h 273997"/>
                  <a:gd name="connsiteX78" fmla="*/ 56716 w 321457"/>
                  <a:gd name="connsiteY78" fmla="*/ 63229 h 273997"/>
                  <a:gd name="connsiteX79" fmla="*/ 62416 w 321457"/>
                  <a:gd name="connsiteY79" fmla="*/ 52799 h 273997"/>
                  <a:gd name="connsiteX80" fmla="*/ 72105 w 321457"/>
                  <a:gd name="connsiteY80" fmla="*/ 44820 h 273997"/>
                  <a:gd name="connsiteX81" fmla="*/ 74043 w 321457"/>
                  <a:gd name="connsiteY81" fmla="*/ 38493 h 27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21457" h="273997">
                    <a:moveTo>
                      <a:pt x="74043" y="38493"/>
                    </a:moveTo>
                    <a:cubicBezTo>
                      <a:pt x="76089" y="30241"/>
                      <a:pt x="79110" y="22261"/>
                      <a:pt x="83048" y="14727"/>
                    </a:cubicBezTo>
                    <a:cubicBezTo>
                      <a:pt x="83971" y="15331"/>
                      <a:pt x="85089" y="15576"/>
                      <a:pt x="86183" y="15411"/>
                    </a:cubicBezTo>
                    <a:cubicBezTo>
                      <a:pt x="87847" y="14977"/>
                      <a:pt x="89397" y="14202"/>
                      <a:pt x="90743" y="13131"/>
                    </a:cubicBezTo>
                    <a:cubicBezTo>
                      <a:pt x="95279" y="10281"/>
                      <a:pt x="100802" y="9477"/>
                      <a:pt x="105960" y="10908"/>
                    </a:cubicBezTo>
                    <a:cubicBezTo>
                      <a:pt x="105880" y="8320"/>
                      <a:pt x="106382" y="5750"/>
                      <a:pt x="107442" y="3385"/>
                    </a:cubicBezTo>
                    <a:cubicBezTo>
                      <a:pt x="108542" y="905"/>
                      <a:pt x="111238" y="-451"/>
                      <a:pt x="113882" y="136"/>
                    </a:cubicBezTo>
                    <a:cubicBezTo>
                      <a:pt x="118271" y="1504"/>
                      <a:pt x="119582" y="9369"/>
                      <a:pt x="124198" y="8058"/>
                    </a:cubicBezTo>
                    <a:cubicBezTo>
                      <a:pt x="127048" y="7260"/>
                      <a:pt x="127789" y="2815"/>
                      <a:pt x="130696" y="2359"/>
                    </a:cubicBezTo>
                    <a:cubicBezTo>
                      <a:pt x="132519" y="1960"/>
                      <a:pt x="134229" y="3385"/>
                      <a:pt x="135711" y="4525"/>
                    </a:cubicBezTo>
                    <a:cubicBezTo>
                      <a:pt x="140521" y="8132"/>
                      <a:pt x="146472" y="9871"/>
                      <a:pt x="152468" y="9426"/>
                    </a:cubicBezTo>
                    <a:cubicBezTo>
                      <a:pt x="154805" y="8890"/>
                      <a:pt x="157244" y="8987"/>
                      <a:pt x="159535" y="9711"/>
                    </a:cubicBezTo>
                    <a:cubicBezTo>
                      <a:pt x="161165" y="10651"/>
                      <a:pt x="162533" y="11985"/>
                      <a:pt x="163525" y="13587"/>
                    </a:cubicBezTo>
                    <a:cubicBezTo>
                      <a:pt x="174627" y="28736"/>
                      <a:pt x="188101" y="41993"/>
                      <a:pt x="203421" y="52856"/>
                    </a:cubicBezTo>
                    <a:cubicBezTo>
                      <a:pt x="197750" y="53346"/>
                      <a:pt x="192791" y="56880"/>
                      <a:pt x="190483" y="62089"/>
                    </a:cubicBezTo>
                    <a:cubicBezTo>
                      <a:pt x="190027" y="63759"/>
                      <a:pt x="189793" y="65486"/>
                      <a:pt x="189799" y="67219"/>
                    </a:cubicBezTo>
                    <a:cubicBezTo>
                      <a:pt x="189799" y="71265"/>
                      <a:pt x="189343" y="75369"/>
                      <a:pt x="189172" y="79473"/>
                    </a:cubicBezTo>
                    <a:cubicBezTo>
                      <a:pt x="188904" y="81080"/>
                      <a:pt x="189144" y="82733"/>
                      <a:pt x="189856" y="84203"/>
                    </a:cubicBezTo>
                    <a:cubicBezTo>
                      <a:pt x="190483" y="85286"/>
                      <a:pt x="191623" y="86027"/>
                      <a:pt x="192193" y="87110"/>
                    </a:cubicBezTo>
                    <a:cubicBezTo>
                      <a:pt x="192831" y="88820"/>
                      <a:pt x="192991" y="90672"/>
                      <a:pt x="192649" y="92467"/>
                    </a:cubicBezTo>
                    <a:cubicBezTo>
                      <a:pt x="192552" y="97135"/>
                      <a:pt x="194661" y="101570"/>
                      <a:pt x="198348" y="104436"/>
                    </a:cubicBezTo>
                    <a:cubicBezTo>
                      <a:pt x="201910" y="107012"/>
                      <a:pt x="206151" y="108483"/>
                      <a:pt x="210545" y="108654"/>
                    </a:cubicBezTo>
                    <a:cubicBezTo>
                      <a:pt x="212255" y="108768"/>
                      <a:pt x="213965" y="108768"/>
                      <a:pt x="215675" y="108654"/>
                    </a:cubicBezTo>
                    <a:cubicBezTo>
                      <a:pt x="216279" y="110654"/>
                      <a:pt x="217425" y="112450"/>
                      <a:pt x="218981" y="113840"/>
                    </a:cubicBezTo>
                    <a:cubicBezTo>
                      <a:pt x="220468" y="114764"/>
                      <a:pt x="221796" y="115915"/>
                      <a:pt x="222913" y="117260"/>
                    </a:cubicBezTo>
                    <a:cubicBezTo>
                      <a:pt x="224338" y="119597"/>
                      <a:pt x="223654" y="122960"/>
                      <a:pt x="225877" y="124726"/>
                    </a:cubicBezTo>
                    <a:cubicBezTo>
                      <a:pt x="227444" y="125462"/>
                      <a:pt x="229160" y="125832"/>
                      <a:pt x="230892" y="125809"/>
                    </a:cubicBezTo>
                    <a:cubicBezTo>
                      <a:pt x="238530" y="127177"/>
                      <a:pt x="240696" y="138975"/>
                      <a:pt x="248390" y="140229"/>
                    </a:cubicBezTo>
                    <a:cubicBezTo>
                      <a:pt x="251297" y="140685"/>
                      <a:pt x="254602" y="139431"/>
                      <a:pt x="257167" y="140913"/>
                    </a:cubicBezTo>
                    <a:cubicBezTo>
                      <a:pt x="259732" y="142395"/>
                      <a:pt x="259789" y="143877"/>
                      <a:pt x="261100" y="145358"/>
                    </a:cubicBezTo>
                    <a:cubicBezTo>
                      <a:pt x="265830" y="150545"/>
                      <a:pt x="274551" y="148436"/>
                      <a:pt x="280706" y="151799"/>
                    </a:cubicBezTo>
                    <a:cubicBezTo>
                      <a:pt x="283117" y="153423"/>
                      <a:pt x="285317" y="155338"/>
                      <a:pt x="287260" y="157498"/>
                    </a:cubicBezTo>
                    <a:cubicBezTo>
                      <a:pt x="296522" y="165888"/>
                      <a:pt x="309180" y="169450"/>
                      <a:pt x="321457" y="167131"/>
                    </a:cubicBezTo>
                    <a:cubicBezTo>
                      <a:pt x="321297" y="177754"/>
                      <a:pt x="314715" y="187221"/>
                      <a:pt x="304815" y="191068"/>
                    </a:cubicBezTo>
                    <a:cubicBezTo>
                      <a:pt x="301954" y="191815"/>
                      <a:pt x="299183" y="192864"/>
                      <a:pt x="296550" y="194203"/>
                    </a:cubicBezTo>
                    <a:cubicBezTo>
                      <a:pt x="294156" y="195964"/>
                      <a:pt x="292128" y="198170"/>
                      <a:pt x="290566" y="200700"/>
                    </a:cubicBezTo>
                    <a:cubicBezTo>
                      <a:pt x="284182" y="210612"/>
                      <a:pt x="276323" y="219492"/>
                      <a:pt x="267255" y="227032"/>
                    </a:cubicBezTo>
                    <a:cubicBezTo>
                      <a:pt x="258045" y="234595"/>
                      <a:pt x="246002" y="237775"/>
                      <a:pt x="234255" y="235752"/>
                    </a:cubicBezTo>
                    <a:cubicBezTo>
                      <a:pt x="235452" y="239457"/>
                      <a:pt x="231291" y="242762"/>
                      <a:pt x="227530" y="243674"/>
                    </a:cubicBezTo>
                    <a:cubicBezTo>
                      <a:pt x="223631" y="243851"/>
                      <a:pt x="219869" y="245156"/>
                      <a:pt x="216701" y="247436"/>
                    </a:cubicBezTo>
                    <a:cubicBezTo>
                      <a:pt x="215504" y="248690"/>
                      <a:pt x="214877" y="250343"/>
                      <a:pt x="213794" y="251654"/>
                    </a:cubicBezTo>
                    <a:cubicBezTo>
                      <a:pt x="209519" y="256897"/>
                      <a:pt x="201198" y="255244"/>
                      <a:pt x="194758" y="253078"/>
                    </a:cubicBezTo>
                    <a:cubicBezTo>
                      <a:pt x="194524" y="254350"/>
                      <a:pt x="194097" y="255581"/>
                      <a:pt x="193504" y="256726"/>
                    </a:cubicBezTo>
                    <a:cubicBezTo>
                      <a:pt x="190939" y="257205"/>
                      <a:pt x="188295" y="256584"/>
                      <a:pt x="186209" y="255016"/>
                    </a:cubicBezTo>
                    <a:cubicBezTo>
                      <a:pt x="183889" y="253039"/>
                      <a:pt x="181193" y="251545"/>
                      <a:pt x="178286" y="250628"/>
                    </a:cubicBezTo>
                    <a:cubicBezTo>
                      <a:pt x="172587" y="249716"/>
                      <a:pt x="168255" y="254788"/>
                      <a:pt x="162841" y="256327"/>
                    </a:cubicBezTo>
                    <a:cubicBezTo>
                      <a:pt x="159307" y="257296"/>
                      <a:pt x="154234" y="257638"/>
                      <a:pt x="153835" y="261343"/>
                    </a:cubicBezTo>
                    <a:cubicBezTo>
                      <a:pt x="153835" y="262711"/>
                      <a:pt x="154406" y="264193"/>
                      <a:pt x="153835" y="265446"/>
                    </a:cubicBezTo>
                    <a:cubicBezTo>
                      <a:pt x="152752" y="267669"/>
                      <a:pt x="149390" y="266472"/>
                      <a:pt x="146882" y="266529"/>
                    </a:cubicBezTo>
                    <a:cubicBezTo>
                      <a:pt x="143736" y="266672"/>
                      <a:pt x="141308" y="269339"/>
                      <a:pt x="141451" y="272485"/>
                    </a:cubicBezTo>
                    <a:cubicBezTo>
                      <a:pt x="141456" y="272571"/>
                      <a:pt x="141462" y="272656"/>
                      <a:pt x="141468" y="272742"/>
                    </a:cubicBezTo>
                    <a:lnTo>
                      <a:pt x="128587" y="273882"/>
                    </a:lnTo>
                    <a:cubicBezTo>
                      <a:pt x="127094" y="274132"/>
                      <a:pt x="125555" y="273973"/>
                      <a:pt x="124141" y="273426"/>
                    </a:cubicBezTo>
                    <a:cubicBezTo>
                      <a:pt x="122842" y="272428"/>
                      <a:pt x="121770" y="271169"/>
                      <a:pt x="121007" y="269721"/>
                    </a:cubicBezTo>
                    <a:cubicBezTo>
                      <a:pt x="118043" y="265794"/>
                      <a:pt x="113016" y="264022"/>
                      <a:pt x="108240" y="265218"/>
                    </a:cubicBezTo>
                    <a:cubicBezTo>
                      <a:pt x="109038" y="262654"/>
                      <a:pt x="106131" y="260374"/>
                      <a:pt x="103452" y="259861"/>
                    </a:cubicBezTo>
                    <a:cubicBezTo>
                      <a:pt x="100751" y="259827"/>
                      <a:pt x="98078" y="259263"/>
                      <a:pt x="95587" y="258208"/>
                    </a:cubicBezTo>
                    <a:cubicBezTo>
                      <a:pt x="92395" y="256099"/>
                      <a:pt x="92167" y="251654"/>
                      <a:pt x="92224" y="247892"/>
                    </a:cubicBezTo>
                    <a:cubicBezTo>
                      <a:pt x="83960" y="249488"/>
                      <a:pt x="74328" y="250742"/>
                      <a:pt x="68058" y="245099"/>
                    </a:cubicBezTo>
                    <a:cubicBezTo>
                      <a:pt x="66463" y="243674"/>
                      <a:pt x="65266" y="241965"/>
                      <a:pt x="63727" y="240483"/>
                    </a:cubicBezTo>
                    <a:cubicBezTo>
                      <a:pt x="62570" y="239394"/>
                      <a:pt x="61264" y="238477"/>
                      <a:pt x="59851" y="237747"/>
                    </a:cubicBezTo>
                    <a:cubicBezTo>
                      <a:pt x="60376" y="233159"/>
                      <a:pt x="61607" y="228679"/>
                      <a:pt x="63499" y="224467"/>
                    </a:cubicBezTo>
                    <a:cubicBezTo>
                      <a:pt x="52465" y="217765"/>
                      <a:pt x="43231" y="208474"/>
                      <a:pt x="36597" y="197395"/>
                    </a:cubicBezTo>
                    <a:cubicBezTo>
                      <a:pt x="34944" y="193838"/>
                      <a:pt x="32460" y="190732"/>
                      <a:pt x="29359" y="188333"/>
                    </a:cubicBezTo>
                    <a:cubicBezTo>
                      <a:pt x="26395" y="186509"/>
                      <a:pt x="22406" y="186053"/>
                      <a:pt x="20126" y="183374"/>
                    </a:cubicBezTo>
                    <a:cubicBezTo>
                      <a:pt x="16820" y="179384"/>
                      <a:pt x="18644" y="171975"/>
                      <a:pt x="14426" y="169410"/>
                    </a:cubicBezTo>
                    <a:cubicBezTo>
                      <a:pt x="12466" y="168624"/>
                      <a:pt x="10380" y="168185"/>
                      <a:pt x="8271" y="168099"/>
                    </a:cubicBezTo>
                    <a:cubicBezTo>
                      <a:pt x="4703" y="167558"/>
                      <a:pt x="1699" y="165141"/>
                      <a:pt x="406" y="161773"/>
                    </a:cubicBezTo>
                    <a:cubicBezTo>
                      <a:pt x="-791" y="158313"/>
                      <a:pt x="736" y="154495"/>
                      <a:pt x="3996" y="152825"/>
                    </a:cubicBezTo>
                    <a:cubicBezTo>
                      <a:pt x="5832" y="152204"/>
                      <a:pt x="7758" y="151913"/>
                      <a:pt x="9696" y="151970"/>
                    </a:cubicBezTo>
                    <a:cubicBezTo>
                      <a:pt x="16091" y="151793"/>
                      <a:pt x="22132" y="148989"/>
                      <a:pt x="26395" y="144219"/>
                    </a:cubicBezTo>
                    <a:cubicBezTo>
                      <a:pt x="30579" y="139323"/>
                      <a:pt x="31656" y="132495"/>
                      <a:pt x="29188" y="126550"/>
                    </a:cubicBezTo>
                    <a:cubicBezTo>
                      <a:pt x="27872" y="124533"/>
                      <a:pt x="26999" y="122258"/>
                      <a:pt x="26623" y="119882"/>
                    </a:cubicBezTo>
                    <a:cubicBezTo>
                      <a:pt x="26623" y="116747"/>
                      <a:pt x="29188" y="114182"/>
                      <a:pt x="30670" y="111561"/>
                    </a:cubicBezTo>
                    <a:cubicBezTo>
                      <a:pt x="31924" y="108563"/>
                      <a:pt x="32955" y="105479"/>
                      <a:pt x="33748" y="102328"/>
                    </a:cubicBezTo>
                    <a:cubicBezTo>
                      <a:pt x="34762" y="99215"/>
                      <a:pt x="37504" y="96981"/>
                      <a:pt x="40758" y="96628"/>
                    </a:cubicBezTo>
                    <a:cubicBezTo>
                      <a:pt x="38826" y="91510"/>
                      <a:pt x="39783" y="85748"/>
                      <a:pt x="43266" y="81524"/>
                    </a:cubicBezTo>
                    <a:cubicBezTo>
                      <a:pt x="46691" y="77358"/>
                      <a:pt x="48686" y="72206"/>
                      <a:pt x="48965" y="66820"/>
                    </a:cubicBezTo>
                    <a:cubicBezTo>
                      <a:pt x="51239" y="65047"/>
                      <a:pt x="53895" y="63822"/>
                      <a:pt x="56716" y="63229"/>
                    </a:cubicBezTo>
                    <a:cubicBezTo>
                      <a:pt x="55576" y="59182"/>
                      <a:pt x="58825" y="55193"/>
                      <a:pt x="62416" y="52799"/>
                    </a:cubicBezTo>
                    <a:cubicBezTo>
                      <a:pt x="66200" y="50890"/>
                      <a:pt x="69506" y="48165"/>
                      <a:pt x="72105" y="44820"/>
                    </a:cubicBezTo>
                    <a:cubicBezTo>
                      <a:pt x="73085" y="42831"/>
                      <a:pt x="73741" y="40693"/>
                      <a:pt x="74043" y="3849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6" name="Freihandform: Form 690">
                <a:extLst>
                  <a:ext uri="{FF2B5EF4-FFF2-40B4-BE49-F238E27FC236}">
                    <a16:creationId xmlns:a16="http://schemas.microsoft.com/office/drawing/2014/main" id="{9C53E292-59F8-B80F-1063-663BB8234BA8}"/>
                  </a:ext>
                </a:extLst>
              </p:cNvPr>
              <p:cNvSpPr/>
              <p:nvPr/>
            </p:nvSpPr>
            <p:spPr>
              <a:xfrm>
                <a:off x="4235867" y="3690097"/>
                <a:ext cx="355346" cy="476304"/>
              </a:xfrm>
              <a:custGeom>
                <a:avLst/>
                <a:gdLst>
                  <a:gd name="connsiteX0" fmla="*/ 295445 w 355346"/>
                  <a:gd name="connsiteY0" fmla="*/ 0 h 476304"/>
                  <a:gd name="connsiteX1" fmla="*/ 299834 w 355346"/>
                  <a:gd name="connsiteY1" fmla="*/ 9518 h 476304"/>
                  <a:gd name="connsiteX2" fmla="*/ 305534 w 355346"/>
                  <a:gd name="connsiteY2" fmla="*/ 18523 h 476304"/>
                  <a:gd name="connsiteX3" fmla="*/ 313855 w 355346"/>
                  <a:gd name="connsiteY3" fmla="*/ 24223 h 476304"/>
                  <a:gd name="connsiteX4" fmla="*/ 331808 w 355346"/>
                  <a:gd name="connsiteY4" fmla="*/ 57109 h 476304"/>
                  <a:gd name="connsiteX5" fmla="*/ 333119 w 355346"/>
                  <a:gd name="connsiteY5" fmla="*/ 95637 h 476304"/>
                  <a:gd name="connsiteX6" fmla="*/ 336652 w 355346"/>
                  <a:gd name="connsiteY6" fmla="*/ 110228 h 476304"/>
                  <a:gd name="connsiteX7" fmla="*/ 344746 w 355346"/>
                  <a:gd name="connsiteY7" fmla="*/ 119290 h 476304"/>
                  <a:gd name="connsiteX8" fmla="*/ 355347 w 355346"/>
                  <a:gd name="connsiteY8" fmla="*/ 130689 h 476304"/>
                  <a:gd name="connsiteX9" fmla="*/ 345544 w 355346"/>
                  <a:gd name="connsiteY9" fmla="*/ 146590 h 476304"/>
                  <a:gd name="connsiteX10" fmla="*/ 337393 w 355346"/>
                  <a:gd name="connsiteY10" fmla="*/ 151720 h 476304"/>
                  <a:gd name="connsiteX11" fmla="*/ 335684 w 355346"/>
                  <a:gd name="connsiteY11" fmla="*/ 160212 h 476304"/>
                  <a:gd name="connsiteX12" fmla="*/ 325937 w 355346"/>
                  <a:gd name="connsiteY12" fmla="*/ 167165 h 476304"/>
                  <a:gd name="connsiteX13" fmla="*/ 323202 w 355346"/>
                  <a:gd name="connsiteY13" fmla="*/ 180160 h 476304"/>
                  <a:gd name="connsiteX14" fmla="*/ 320409 w 355346"/>
                  <a:gd name="connsiteY14" fmla="*/ 185860 h 476304"/>
                  <a:gd name="connsiteX15" fmla="*/ 316192 w 355346"/>
                  <a:gd name="connsiteY15" fmla="*/ 216922 h 476304"/>
                  <a:gd name="connsiteX16" fmla="*/ 320580 w 355346"/>
                  <a:gd name="connsiteY16" fmla="*/ 226782 h 476304"/>
                  <a:gd name="connsiteX17" fmla="*/ 311575 w 355346"/>
                  <a:gd name="connsiteY17" fmla="*/ 250549 h 476304"/>
                  <a:gd name="connsiteX18" fmla="*/ 309637 w 355346"/>
                  <a:gd name="connsiteY18" fmla="*/ 256248 h 476304"/>
                  <a:gd name="connsiteX19" fmla="*/ 299948 w 355346"/>
                  <a:gd name="connsiteY19" fmla="*/ 264227 h 476304"/>
                  <a:gd name="connsiteX20" fmla="*/ 294248 w 355346"/>
                  <a:gd name="connsiteY20" fmla="*/ 274658 h 476304"/>
                  <a:gd name="connsiteX21" fmla="*/ 286497 w 355346"/>
                  <a:gd name="connsiteY21" fmla="*/ 278248 h 476304"/>
                  <a:gd name="connsiteX22" fmla="*/ 280798 w 355346"/>
                  <a:gd name="connsiteY22" fmla="*/ 292953 h 476304"/>
                  <a:gd name="connsiteX23" fmla="*/ 278290 w 355346"/>
                  <a:gd name="connsiteY23" fmla="*/ 308056 h 476304"/>
                  <a:gd name="connsiteX24" fmla="*/ 271280 w 355346"/>
                  <a:gd name="connsiteY24" fmla="*/ 313756 h 476304"/>
                  <a:gd name="connsiteX25" fmla="*/ 268202 w 355346"/>
                  <a:gd name="connsiteY25" fmla="*/ 322989 h 476304"/>
                  <a:gd name="connsiteX26" fmla="*/ 264155 w 355346"/>
                  <a:gd name="connsiteY26" fmla="*/ 331310 h 476304"/>
                  <a:gd name="connsiteX27" fmla="*/ 266720 w 355346"/>
                  <a:gd name="connsiteY27" fmla="*/ 337979 h 476304"/>
                  <a:gd name="connsiteX28" fmla="*/ 263927 w 355346"/>
                  <a:gd name="connsiteY28" fmla="*/ 355647 h 476304"/>
                  <a:gd name="connsiteX29" fmla="*/ 247228 w 355346"/>
                  <a:gd name="connsiteY29" fmla="*/ 363398 h 476304"/>
                  <a:gd name="connsiteX30" fmla="*/ 241528 w 355346"/>
                  <a:gd name="connsiteY30" fmla="*/ 364253 h 476304"/>
                  <a:gd name="connsiteX31" fmla="*/ 237938 w 355346"/>
                  <a:gd name="connsiteY31" fmla="*/ 373202 h 476304"/>
                  <a:gd name="connsiteX32" fmla="*/ 245803 w 355346"/>
                  <a:gd name="connsiteY32" fmla="*/ 379528 h 476304"/>
                  <a:gd name="connsiteX33" fmla="*/ 251958 w 355346"/>
                  <a:gd name="connsiteY33" fmla="*/ 380839 h 476304"/>
                  <a:gd name="connsiteX34" fmla="*/ 257658 w 355346"/>
                  <a:gd name="connsiteY34" fmla="*/ 394802 h 476304"/>
                  <a:gd name="connsiteX35" fmla="*/ 266891 w 355346"/>
                  <a:gd name="connsiteY35" fmla="*/ 399761 h 476304"/>
                  <a:gd name="connsiteX36" fmla="*/ 274129 w 355346"/>
                  <a:gd name="connsiteY36" fmla="*/ 408823 h 476304"/>
                  <a:gd name="connsiteX37" fmla="*/ 301145 w 355346"/>
                  <a:gd name="connsiteY37" fmla="*/ 436352 h 476304"/>
                  <a:gd name="connsiteX38" fmla="*/ 296813 w 355346"/>
                  <a:gd name="connsiteY38" fmla="*/ 449745 h 476304"/>
                  <a:gd name="connsiteX39" fmla="*/ 284844 w 355346"/>
                  <a:gd name="connsiteY39" fmla="*/ 448321 h 476304"/>
                  <a:gd name="connsiteX40" fmla="*/ 278005 w 355346"/>
                  <a:gd name="connsiteY40" fmla="*/ 452766 h 476304"/>
                  <a:gd name="connsiteX41" fmla="*/ 269399 w 355346"/>
                  <a:gd name="connsiteY41" fmla="*/ 455160 h 476304"/>
                  <a:gd name="connsiteX42" fmla="*/ 268544 w 355346"/>
                  <a:gd name="connsiteY42" fmla="*/ 459320 h 476304"/>
                  <a:gd name="connsiteX43" fmla="*/ 261648 w 355346"/>
                  <a:gd name="connsiteY43" fmla="*/ 463994 h 476304"/>
                  <a:gd name="connsiteX44" fmla="*/ 260109 w 355346"/>
                  <a:gd name="connsiteY44" fmla="*/ 468269 h 476304"/>
                  <a:gd name="connsiteX45" fmla="*/ 259653 w 355346"/>
                  <a:gd name="connsiteY45" fmla="*/ 474481 h 476304"/>
                  <a:gd name="connsiteX46" fmla="*/ 256005 w 355346"/>
                  <a:gd name="connsiteY46" fmla="*/ 476305 h 476304"/>
                  <a:gd name="connsiteX47" fmla="*/ 194679 w 355346"/>
                  <a:gd name="connsiteY47" fmla="*/ 476305 h 476304"/>
                  <a:gd name="connsiteX48" fmla="*/ 193596 w 355346"/>
                  <a:gd name="connsiteY48" fmla="*/ 474652 h 476304"/>
                  <a:gd name="connsiteX49" fmla="*/ 183679 w 355346"/>
                  <a:gd name="connsiteY49" fmla="*/ 466103 h 476304"/>
                  <a:gd name="connsiteX50" fmla="*/ 175073 w 355346"/>
                  <a:gd name="connsiteY50" fmla="*/ 459036 h 476304"/>
                  <a:gd name="connsiteX51" fmla="*/ 136715 w 355346"/>
                  <a:gd name="connsiteY51" fmla="*/ 457953 h 476304"/>
                  <a:gd name="connsiteX52" fmla="*/ 124347 w 355346"/>
                  <a:gd name="connsiteY52" fmla="*/ 449688 h 476304"/>
                  <a:gd name="connsiteX53" fmla="*/ 124689 w 355346"/>
                  <a:gd name="connsiteY53" fmla="*/ 447466 h 476304"/>
                  <a:gd name="connsiteX54" fmla="*/ 124689 w 355346"/>
                  <a:gd name="connsiteY54" fmla="*/ 440170 h 476304"/>
                  <a:gd name="connsiteX55" fmla="*/ 118477 w 355346"/>
                  <a:gd name="connsiteY55" fmla="*/ 433673 h 476304"/>
                  <a:gd name="connsiteX56" fmla="*/ 99440 w 355346"/>
                  <a:gd name="connsiteY56" fmla="*/ 410875 h 476304"/>
                  <a:gd name="connsiteX57" fmla="*/ 94938 w 355346"/>
                  <a:gd name="connsiteY57" fmla="*/ 403466 h 476304"/>
                  <a:gd name="connsiteX58" fmla="*/ 84850 w 355346"/>
                  <a:gd name="connsiteY58" fmla="*/ 396626 h 476304"/>
                  <a:gd name="connsiteX59" fmla="*/ 82285 w 355346"/>
                  <a:gd name="connsiteY59" fmla="*/ 386082 h 476304"/>
                  <a:gd name="connsiteX60" fmla="*/ 69005 w 355346"/>
                  <a:gd name="connsiteY60" fmla="*/ 372346 h 476304"/>
                  <a:gd name="connsiteX61" fmla="*/ 69347 w 355346"/>
                  <a:gd name="connsiteY61" fmla="*/ 369554 h 476304"/>
                  <a:gd name="connsiteX62" fmla="*/ 38969 w 355346"/>
                  <a:gd name="connsiteY62" fmla="*/ 357813 h 476304"/>
                  <a:gd name="connsiteX63" fmla="*/ 40679 w 355346"/>
                  <a:gd name="connsiteY63" fmla="*/ 349378 h 476304"/>
                  <a:gd name="connsiteX64" fmla="*/ 38000 w 355346"/>
                  <a:gd name="connsiteY64" fmla="*/ 340544 h 476304"/>
                  <a:gd name="connsiteX65" fmla="*/ 41648 w 355346"/>
                  <a:gd name="connsiteY65" fmla="*/ 331082 h 476304"/>
                  <a:gd name="connsiteX66" fmla="*/ 41648 w 355346"/>
                  <a:gd name="connsiteY66" fmla="*/ 321507 h 476304"/>
                  <a:gd name="connsiteX67" fmla="*/ 36803 w 355346"/>
                  <a:gd name="connsiteY67" fmla="*/ 318088 h 476304"/>
                  <a:gd name="connsiteX68" fmla="*/ 34467 w 355346"/>
                  <a:gd name="connsiteY68" fmla="*/ 311476 h 476304"/>
                  <a:gd name="connsiteX69" fmla="*/ 25746 w 355346"/>
                  <a:gd name="connsiteY69" fmla="*/ 303440 h 476304"/>
                  <a:gd name="connsiteX70" fmla="*/ 20560 w 355346"/>
                  <a:gd name="connsiteY70" fmla="*/ 288393 h 476304"/>
                  <a:gd name="connsiteX71" fmla="*/ 10415 w 355346"/>
                  <a:gd name="connsiteY71" fmla="*/ 261264 h 476304"/>
                  <a:gd name="connsiteX72" fmla="*/ 7451 w 355346"/>
                  <a:gd name="connsiteY72" fmla="*/ 249352 h 476304"/>
                  <a:gd name="connsiteX73" fmla="*/ 99 w 355346"/>
                  <a:gd name="connsiteY73" fmla="*/ 233108 h 476304"/>
                  <a:gd name="connsiteX74" fmla="*/ 12353 w 355346"/>
                  <a:gd name="connsiteY74" fmla="*/ 225927 h 476304"/>
                  <a:gd name="connsiteX75" fmla="*/ 15784 w 355346"/>
                  <a:gd name="connsiteY75" fmla="*/ 206070 h 476304"/>
                  <a:gd name="connsiteX76" fmla="*/ 16000 w 355346"/>
                  <a:gd name="connsiteY76" fmla="*/ 205922 h 476304"/>
                  <a:gd name="connsiteX77" fmla="*/ 27399 w 355346"/>
                  <a:gd name="connsiteY77" fmla="*/ 197487 h 476304"/>
                  <a:gd name="connsiteX78" fmla="*/ 27798 w 355346"/>
                  <a:gd name="connsiteY78" fmla="*/ 189963 h 476304"/>
                  <a:gd name="connsiteX79" fmla="*/ 37886 w 355346"/>
                  <a:gd name="connsiteY79" fmla="*/ 187684 h 476304"/>
                  <a:gd name="connsiteX80" fmla="*/ 47233 w 355346"/>
                  <a:gd name="connsiteY80" fmla="*/ 175549 h 476304"/>
                  <a:gd name="connsiteX81" fmla="*/ 47119 w 355346"/>
                  <a:gd name="connsiteY81" fmla="*/ 174860 h 476304"/>
                  <a:gd name="connsiteX82" fmla="*/ 52819 w 355346"/>
                  <a:gd name="connsiteY82" fmla="*/ 174233 h 476304"/>
                  <a:gd name="connsiteX83" fmla="*/ 52819 w 355346"/>
                  <a:gd name="connsiteY83" fmla="*/ 87145 h 476304"/>
                  <a:gd name="connsiteX84" fmla="*/ 55896 w 355346"/>
                  <a:gd name="connsiteY84" fmla="*/ 86119 h 476304"/>
                  <a:gd name="connsiteX85" fmla="*/ 72197 w 355346"/>
                  <a:gd name="connsiteY85" fmla="*/ 80419 h 476304"/>
                  <a:gd name="connsiteX86" fmla="*/ 72197 w 355346"/>
                  <a:gd name="connsiteY86" fmla="*/ 34368 h 476304"/>
                  <a:gd name="connsiteX87" fmla="*/ 192855 w 355346"/>
                  <a:gd name="connsiteY87" fmla="*/ 34368 h 476304"/>
                  <a:gd name="connsiteX88" fmla="*/ 198554 w 355346"/>
                  <a:gd name="connsiteY88" fmla="*/ 35223 h 476304"/>
                  <a:gd name="connsiteX89" fmla="*/ 203855 w 355346"/>
                  <a:gd name="connsiteY89" fmla="*/ 31689 h 476304"/>
                  <a:gd name="connsiteX90" fmla="*/ 228078 w 355346"/>
                  <a:gd name="connsiteY90" fmla="*/ 33456 h 476304"/>
                  <a:gd name="connsiteX91" fmla="*/ 240047 w 355346"/>
                  <a:gd name="connsiteY91" fmla="*/ 35451 h 476304"/>
                  <a:gd name="connsiteX92" fmla="*/ 252528 w 355346"/>
                  <a:gd name="connsiteY92" fmla="*/ 37047 h 476304"/>
                  <a:gd name="connsiteX93" fmla="*/ 263187 w 355346"/>
                  <a:gd name="connsiteY93" fmla="*/ 37047 h 476304"/>
                  <a:gd name="connsiteX94" fmla="*/ 270311 w 355346"/>
                  <a:gd name="connsiteY94" fmla="*/ 29808 h 476304"/>
                  <a:gd name="connsiteX95" fmla="*/ 271051 w 355346"/>
                  <a:gd name="connsiteY95" fmla="*/ 23197 h 476304"/>
                  <a:gd name="connsiteX96" fmla="*/ 283021 w 355346"/>
                  <a:gd name="connsiteY96" fmla="*/ 21031 h 476304"/>
                  <a:gd name="connsiteX97" fmla="*/ 287181 w 355346"/>
                  <a:gd name="connsiteY97" fmla="*/ 12026 h 476304"/>
                  <a:gd name="connsiteX98" fmla="*/ 295445 w 355346"/>
                  <a:gd name="connsiteY98" fmla="*/ 0 h 47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355346" h="476304">
                    <a:moveTo>
                      <a:pt x="295445" y="0"/>
                    </a:moveTo>
                    <a:lnTo>
                      <a:pt x="299834" y="9518"/>
                    </a:lnTo>
                    <a:cubicBezTo>
                      <a:pt x="301145" y="12852"/>
                      <a:pt x="303077" y="15913"/>
                      <a:pt x="305534" y="18523"/>
                    </a:cubicBezTo>
                    <a:cubicBezTo>
                      <a:pt x="308115" y="20689"/>
                      <a:pt x="310902" y="22598"/>
                      <a:pt x="313855" y="24223"/>
                    </a:cubicBezTo>
                    <a:cubicBezTo>
                      <a:pt x="324273" y="32105"/>
                      <a:pt x="330811" y="44080"/>
                      <a:pt x="331808" y="57109"/>
                    </a:cubicBezTo>
                    <a:cubicBezTo>
                      <a:pt x="333575" y="69819"/>
                      <a:pt x="332378" y="82813"/>
                      <a:pt x="333119" y="95637"/>
                    </a:cubicBezTo>
                    <a:cubicBezTo>
                      <a:pt x="333147" y="100710"/>
                      <a:pt x="334356" y="105708"/>
                      <a:pt x="336652" y="110228"/>
                    </a:cubicBezTo>
                    <a:cubicBezTo>
                      <a:pt x="338932" y="113596"/>
                      <a:pt x="341651" y="116645"/>
                      <a:pt x="344746" y="119290"/>
                    </a:cubicBezTo>
                    <a:cubicBezTo>
                      <a:pt x="348496" y="122886"/>
                      <a:pt x="352036" y="126688"/>
                      <a:pt x="355347" y="130689"/>
                    </a:cubicBezTo>
                    <a:cubicBezTo>
                      <a:pt x="353380" y="136690"/>
                      <a:pt x="350023" y="142139"/>
                      <a:pt x="345544" y="146590"/>
                    </a:cubicBezTo>
                    <a:cubicBezTo>
                      <a:pt x="342979" y="148528"/>
                      <a:pt x="339844" y="149611"/>
                      <a:pt x="337393" y="151720"/>
                    </a:cubicBezTo>
                    <a:cubicBezTo>
                      <a:pt x="334743" y="153703"/>
                      <a:pt x="334008" y="157357"/>
                      <a:pt x="335684" y="160212"/>
                    </a:cubicBezTo>
                    <a:cubicBezTo>
                      <a:pt x="331466" y="158958"/>
                      <a:pt x="327362" y="162948"/>
                      <a:pt x="325937" y="167165"/>
                    </a:cubicBezTo>
                    <a:cubicBezTo>
                      <a:pt x="324513" y="171383"/>
                      <a:pt x="324741" y="176000"/>
                      <a:pt x="323202" y="180160"/>
                    </a:cubicBezTo>
                    <a:cubicBezTo>
                      <a:pt x="322381" y="182110"/>
                      <a:pt x="321446" y="184013"/>
                      <a:pt x="320409" y="185860"/>
                    </a:cubicBezTo>
                    <a:cubicBezTo>
                      <a:pt x="316271" y="195657"/>
                      <a:pt x="314812" y="206378"/>
                      <a:pt x="316192" y="216922"/>
                    </a:cubicBezTo>
                    <a:cubicBezTo>
                      <a:pt x="316226" y="220672"/>
                      <a:pt x="317816" y="224246"/>
                      <a:pt x="320580" y="226782"/>
                    </a:cubicBezTo>
                    <a:cubicBezTo>
                      <a:pt x="316642" y="234317"/>
                      <a:pt x="313621" y="242296"/>
                      <a:pt x="311575" y="250549"/>
                    </a:cubicBezTo>
                    <a:cubicBezTo>
                      <a:pt x="311210" y="252532"/>
                      <a:pt x="310555" y="254453"/>
                      <a:pt x="309637" y="256248"/>
                    </a:cubicBezTo>
                    <a:cubicBezTo>
                      <a:pt x="307038" y="259594"/>
                      <a:pt x="303732" y="262324"/>
                      <a:pt x="299948" y="264227"/>
                    </a:cubicBezTo>
                    <a:cubicBezTo>
                      <a:pt x="296414" y="266621"/>
                      <a:pt x="293165" y="270611"/>
                      <a:pt x="294248" y="274658"/>
                    </a:cubicBezTo>
                    <a:cubicBezTo>
                      <a:pt x="291427" y="275250"/>
                      <a:pt x="288771" y="276476"/>
                      <a:pt x="286497" y="278248"/>
                    </a:cubicBezTo>
                    <a:cubicBezTo>
                      <a:pt x="286218" y="283634"/>
                      <a:pt x="284223" y="288787"/>
                      <a:pt x="280798" y="292953"/>
                    </a:cubicBezTo>
                    <a:cubicBezTo>
                      <a:pt x="277315" y="297176"/>
                      <a:pt x="276358" y="302938"/>
                      <a:pt x="278290" y="308056"/>
                    </a:cubicBezTo>
                    <a:cubicBezTo>
                      <a:pt x="275036" y="308410"/>
                      <a:pt x="272294" y="310644"/>
                      <a:pt x="271280" y="313756"/>
                    </a:cubicBezTo>
                    <a:cubicBezTo>
                      <a:pt x="270487" y="316908"/>
                      <a:pt x="269456" y="319991"/>
                      <a:pt x="268202" y="322989"/>
                    </a:cubicBezTo>
                    <a:cubicBezTo>
                      <a:pt x="266720" y="325725"/>
                      <a:pt x="264098" y="328176"/>
                      <a:pt x="264155" y="331310"/>
                    </a:cubicBezTo>
                    <a:cubicBezTo>
                      <a:pt x="264531" y="333687"/>
                      <a:pt x="265403" y="335961"/>
                      <a:pt x="266720" y="337979"/>
                    </a:cubicBezTo>
                    <a:cubicBezTo>
                      <a:pt x="269188" y="343923"/>
                      <a:pt x="268111" y="350751"/>
                      <a:pt x="263927" y="355647"/>
                    </a:cubicBezTo>
                    <a:cubicBezTo>
                      <a:pt x="259664" y="360418"/>
                      <a:pt x="253623" y="363222"/>
                      <a:pt x="247228" y="363398"/>
                    </a:cubicBezTo>
                    <a:cubicBezTo>
                      <a:pt x="245290" y="363341"/>
                      <a:pt x="243364" y="363632"/>
                      <a:pt x="241528" y="364253"/>
                    </a:cubicBezTo>
                    <a:cubicBezTo>
                      <a:pt x="238268" y="365923"/>
                      <a:pt x="236741" y="369742"/>
                      <a:pt x="237938" y="373202"/>
                    </a:cubicBezTo>
                    <a:cubicBezTo>
                      <a:pt x="239232" y="376570"/>
                      <a:pt x="242235" y="378986"/>
                      <a:pt x="245803" y="379528"/>
                    </a:cubicBezTo>
                    <a:cubicBezTo>
                      <a:pt x="247918" y="379613"/>
                      <a:pt x="249998" y="380052"/>
                      <a:pt x="251958" y="380839"/>
                    </a:cubicBezTo>
                    <a:cubicBezTo>
                      <a:pt x="256404" y="383518"/>
                      <a:pt x="254580" y="390813"/>
                      <a:pt x="257658" y="394802"/>
                    </a:cubicBezTo>
                    <a:cubicBezTo>
                      <a:pt x="259938" y="397481"/>
                      <a:pt x="263927" y="397937"/>
                      <a:pt x="266891" y="399761"/>
                    </a:cubicBezTo>
                    <a:cubicBezTo>
                      <a:pt x="269992" y="402161"/>
                      <a:pt x="272476" y="405267"/>
                      <a:pt x="274129" y="408823"/>
                    </a:cubicBezTo>
                    <a:cubicBezTo>
                      <a:pt x="280735" y="420080"/>
                      <a:pt x="290014" y="429535"/>
                      <a:pt x="301145" y="436352"/>
                    </a:cubicBezTo>
                    <a:cubicBezTo>
                      <a:pt x="299008" y="440564"/>
                      <a:pt x="297543" y="445083"/>
                      <a:pt x="296813" y="449745"/>
                    </a:cubicBezTo>
                    <a:cubicBezTo>
                      <a:pt x="293131" y="447830"/>
                      <a:pt x="288874" y="447329"/>
                      <a:pt x="284844" y="448321"/>
                    </a:cubicBezTo>
                    <a:cubicBezTo>
                      <a:pt x="285585" y="451398"/>
                      <a:pt x="281140" y="453051"/>
                      <a:pt x="278005" y="452766"/>
                    </a:cubicBezTo>
                    <a:cubicBezTo>
                      <a:pt x="274870" y="452481"/>
                      <a:pt x="270653" y="452196"/>
                      <a:pt x="269399" y="455160"/>
                    </a:cubicBezTo>
                    <a:cubicBezTo>
                      <a:pt x="268829" y="456471"/>
                      <a:pt x="269399" y="458067"/>
                      <a:pt x="268544" y="459320"/>
                    </a:cubicBezTo>
                    <a:cubicBezTo>
                      <a:pt x="267347" y="461885"/>
                      <a:pt x="263528" y="461885"/>
                      <a:pt x="261648" y="463994"/>
                    </a:cubicBezTo>
                    <a:cubicBezTo>
                      <a:pt x="260730" y="465237"/>
                      <a:pt x="260194" y="466724"/>
                      <a:pt x="260109" y="468269"/>
                    </a:cubicBezTo>
                    <a:cubicBezTo>
                      <a:pt x="259824" y="470320"/>
                      <a:pt x="259767" y="472429"/>
                      <a:pt x="259653" y="474481"/>
                    </a:cubicBezTo>
                    <a:cubicBezTo>
                      <a:pt x="258291" y="474737"/>
                      <a:pt x="257025" y="475370"/>
                      <a:pt x="256005" y="476305"/>
                    </a:cubicBezTo>
                    <a:lnTo>
                      <a:pt x="194679" y="476305"/>
                    </a:lnTo>
                    <a:cubicBezTo>
                      <a:pt x="194354" y="475735"/>
                      <a:pt x="193989" y="475182"/>
                      <a:pt x="193596" y="474652"/>
                    </a:cubicBezTo>
                    <a:cubicBezTo>
                      <a:pt x="190598" y="471460"/>
                      <a:pt x="187275" y="468594"/>
                      <a:pt x="183679" y="466103"/>
                    </a:cubicBezTo>
                    <a:cubicBezTo>
                      <a:pt x="181045" y="463470"/>
                      <a:pt x="178167" y="461104"/>
                      <a:pt x="175073" y="459036"/>
                    </a:cubicBezTo>
                    <a:cubicBezTo>
                      <a:pt x="163674" y="452823"/>
                      <a:pt x="149026" y="462170"/>
                      <a:pt x="136715" y="457953"/>
                    </a:cubicBezTo>
                    <a:cubicBezTo>
                      <a:pt x="132127" y="455969"/>
                      <a:pt x="127938" y="453171"/>
                      <a:pt x="124347" y="449688"/>
                    </a:cubicBezTo>
                    <a:lnTo>
                      <a:pt x="124689" y="447466"/>
                    </a:lnTo>
                    <a:cubicBezTo>
                      <a:pt x="125316" y="445072"/>
                      <a:pt x="125316" y="442564"/>
                      <a:pt x="124689" y="440170"/>
                    </a:cubicBezTo>
                    <a:cubicBezTo>
                      <a:pt x="123276" y="437463"/>
                      <a:pt x="121121" y="435206"/>
                      <a:pt x="118477" y="433673"/>
                    </a:cubicBezTo>
                    <a:cubicBezTo>
                      <a:pt x="110446" y="427654"/>
                      <a:pt x="103926" y="419852"/>
                      <a:pt x="99440" y="410875"/>
                    </a:cubicBezTo>
                    <a:cubicBezTo>
                      <a:pt x="98346" y="408179"/>
                      <a:pt x="96824" y="405677"/>
                      <a:pt x="94938" y="403466"/>
                    </a:cubicBezTo>
                    <a:cubicBezTo>
                      <a:pt x="91735" y="400958"/>
                      <a:pt x="88366" y="398672"/>
                      <a:pt x="84850" y="396626"/>
                    </a:cubicBezTo>
                    <a:cubicBezTo>
                      <a:pt x="81658" y="394119"/>
                      <a:pt x="79549" y="389103"/>
                      <a:pt x="82285" y="386082"/>
                    </a:cubicBezTo>
                    <a:cubicBezTo>
                      <a:pt x="74825" y="385957"/>
                      <a:pt x="68880" y="379807"/>
                      <a:pt x="69005" y="372346"/>
                    </a:cubicBezTo>
                    <a:cubicBezTo>
                      <a:pt x="69022" y="371406"/>
                      <a:pt x="69137" y="370471"/>
                      <a:pt x="69347" y="369554"/>
                    </a:cubicBezTo>
                    <a:cubicBezTo>
                      <a:pt x="58347" y="371606"/>
                      <a:pt x="49969" y="355647"/>
                      <a:pt x="38969" y="357813"/>
                    </a:cubicBezTo>
                    <a:cubicBezTo>
                      <a:pt x="41363" y="355704"/>
                      <a:pt x="42064" y="352256"/>
                      <a:pt x="40679" y="349378"/>
                    </a:cubicBezTo>
                    <a:cubicBezTo>
                      <a:pt x="39311" y="346596"/>
                      <a:pt x="38405" y="343616"/>
                      <a:pt x="38000" y="340544"/>
                    </a:cubicBezTo>
                    <a:cubicBezTo>
                      <a:pt x="38525" y="337164"/>
                      <a:pt x="39767" y="333938"/>
                      <a:pt x="41648" y="331082"/>
                    </a:cubicBezTo>
                    <a:cubicBezTo>
                      <a:pt x="43574" y="328181"/>
                      <a:pt x="43574" y="324408"/>
                      <a:pt x="41648" y="321507"/>
                    </a:cubicBezTo>
                    <a:cubicBezTo>
                      <a:pt x="40223" y="320082"/>
                      <a:pt x="38114" y="319569"/>
                      <a:pt x="36803" y="318088"/>
                    </a:cubicBezTo>
                    <a:cubicBezTo>
                      <a:pt x="35527" y="316093"/>
                      <a:pt x="34723" y="313830"/>
                      <a:pt x="34467" y="311476"/>
                    </a:cubicBezTo>
                    <a:cubicBezTo>
                      <a:pt x="33236" y="307413"/>
                      <a:pt x="29896" y="304335"/>
                      <a:pt x="25746" y="303440"/>
                    </a:cubicBezTo>
                    <a:cubicBezTo>
                      <a:pt x="27086" y="297843"/>
                      <a:pt x="25062" y="291978"/>
                      <a:pt x="20560" y="288393"/>
                    </a:cubicBezTo>
                    <a:cubicBezTo>
                      <a:pt x="15607" y="280015"/>
                      <a:pt x="12176" y="270833"/>
                      <a:pt x="10415" y="261264"/>
                    </a:cubicBezTo>
                    <a:cubicBezTo>
                      <a:pt x="10010" y="257172"/>
                      <a:pt x="9013" y="253159"/>
                      <a:pt x="7451" y="249352"/>
                    </a:cubicBezTo>
                    <a:cubicBezTo>
                      <a:pt x="4829" y="243652"/>
                      <a:pt x="-813" y="239093"/>
                      <a:pt x="99" y="233108"/>
                    </a:cubicBezTo>
                    <a:lnTo>
                      <a:pt x="12353" y="225927"/>
                    </a:lnTo>
                    <a:cubicBezTo>
                      <a:pt x="7816" y="219498"/>
                      <a:pt x="9355" y="210607"/>
                      <a:pt x="15784" y="206070"/>
                    </a:cubicBezTo>
                    <a:cubicBezTo>
                      <a:pt x="15858" y="206019"/>
                      <a:pt x="15926" y="205973"/>
                      <a:pt x="16000" y="205922"/>
                    </a:cubicBezTo>
                    <a:cubicBezTo>
                      <a:pt x="20218" y="203414"/>
                      <a:pt x="26430" y="202274"/>
                      <a:pt x="27399" y="197487"/>
                    </a:cubicBezTo>
                    <a:cubicBezTo>
                      <a:pt x="27855" y="194979"/>
                      <a:pt x="26544" y="192186"/>
                      <a:pt x="27798" y="189963"/>
                    </a:cubicBezTo>
                    <a:cubicBezTo>
                      <a:pt x="29565" y="186772"/>
                      <a:pt x="34295" y="187912"/>
                      <a:pt x="37886" y="187684"/>
                    </a:cubicBezTo>
                    <a:cubicBezTo>
                      <a:pt x="43819" y="186914"/>
                      <a:pt x="48003" y="181483"/>
                      <a:pt x="47233" y="175549"/>
                    </a:cubicBezTo>
                    <a:cubicBezTo>
                      <a:pt x="47205" y="175321"/>
                      <a:pt x="47165" y="175088"/>
                      <a:pt x="47119" y="174860"/>
                    </a:cubicBezTo>
                    <a:lnTo>
                      <a:pt x="52819" y="174233"/>
                    </a:lnTo>
                    <a:lnTo>
                      <a:pt x="52819" y="87145"/>
                    </a:lnTo>
                    <a:lnTo>
                      <a:pt x="55896" y="86119"/>
                    </a:lnTo>
                    <a:lnTo>
                      <a:pt x="72197" y="80419"/>
                    </a:lnTo>
                    <a:lnTo>
                      <a:pt x="72197" y="34368"/>
                    </a:lnTo>
                    <a:lnTo>
                      <a:pt x="192855" y="34368"/>
                    </a:lnTo>
                    <a:cubicBezTo>
                      <a:pt x="194359" y="35873"/>
                      <a:pt x="196673" y="36220"/>
                      <a:pt x="198554" y="35223"/>
                    </a:cubicBezTo>
                    <a:cubicBezTo>
                      <a:pt x="200492" y="34311"/>
                      <a:pt x="202031" y="32772"/>
                      <a:pt x="203855" y="31689"/>
                    </a:cubicBezTo>
                    <a:cubicBezTo>
                      <a:pt x="211093" y="27472"/>
                      <a:pt x="219984" y="31689"/>
                      <a:pt x="228078" y="33456"/>
                    </a:cubicBezTo>
                    <a:cubicBezTo>
                      <a:pt x="232027" y="34345"/>
                      <a:pt x="236023" y="35012"/>
                      <a:pt x="240047" y="35451"/>
                    </a:cubicBezTo>
                    <a:lnTo>
                      <a:pt x="252528" y="37047"/>
                    </a:lnTo>
                    <a:cubicBezTo>
                      <a:pt x="256051" y="37730"/>
                      <a:pt x="259664" y="37730"/>
                      <a:pt x="263187" y="37047"/>
                    </a:cubicBezTo>
                    <a:cubicBezTo>
                      <a:pt x="266766" y="36220"/>
                      <a:pt x="269541" y="33399"/>
                      <a:pt x="270311" y="29808"/>
                    </a:cubicBezTo>
                    <a:cubicBezTo>
                      <a:pt x="270311" y="27585"/>
                      <a:pt x="269741" y="25021"/>
                      <a:pt x="271051" y="23197"/>
                    </a:cubicBezTo>
                    <a:cubicBezTo>
                      <a:pt x="273503" y="19720"/>
                      <a:pt x="279316" y="23197"/>
                      <a:pt x="283021" y="21031"/>
                    </a:cubicBezTo>
                    <a:cubicBezTo>
                      <a:pt x="286725" y="18865"/>
                      <a:pt x="286269" y="15332"/>
                      <a:pt x="287181" y="12026"/>
                    </a:cubicBezTo>
                    <a:cubicBezTo>
                      <a:pt x="288594" y="7244"/>
                      <a:pt x="291484" y="3032"/>
                      <a:pt x="295445"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7" name="Freihandform: Form 691">
                <a:extLst>
                  <a:ext uri="{FF2B5EF4-FFF2-40B4-BE49-F238E27FC236}">
                    <a16:creationId xmlns:a16="http://schemas.microsoft.com/office/drawing/2014/main" id="{6FC7EE47-1B9C-0002-D9BA-FD8280756787}"/>
                  </a:ext>
                </a:extLst>
              </p:cNvPr>
              <p:cNvSpPr/>
              <p:nvPr/>
            </p:nvSpPr>
            <p:spPr>
              <a:xfrm>
                <a:off x="4307950" y="3468786"/>
                <a:ext cx="223362" cy="259098"/>
              </a:xfrm>
              <a:custGeom>
                <a:avLst/>
                <a:gdLst>
                  <a:gd name="connsiteX0" fmla="*/ 204440 w 223362"/>
                  <a:gd name="connsiteY0" fmla="*/ 33969 h 259098"/>
                  <a:gd name="connsiteX1" fmla="*/ 205352 w 223362"/>
                  <a:gd name="connsiteY1" fmla="*/ 47648 h 259098"/>
                  <a:gd name="connsiteX2" fmla="*/ 201420 w 223362"/>
                  <a:gd name="connsiteY2" fmla="*/ 47135 h 259098"/>
                  <a:gd name="connsiteX3" fmla="*/ 193212 w 223362"/>
                  <a:gd name="connsiteY3" fmla="*/ 101337 h 259098"/>
                  <a:gd name="connsiteX4" fmla="*/ 167907 w 223362"/>
                  <a:gd name="connsiteY4" fmla="*/ 49073 h 259098"/>
                  <a:gd name="connsiteX5" fmla="*/ 156793 w 223362"/>
                  <a:gd name="connsiteY5" fmla="*/ 49073 h 259098"/>
                  <a:gd name="connsiteX6" fmla="*/ 168192 w 223362"/>
                  <a:gd name="connsiteY6" fmla="*/ 100995 h 259098"/>
                  <a:gd name="connsiteX7" fmla="*/ 223362 w 223362"/>
                  <a:gd name="connsiteY7" fmla="*/ 221425 h 259098"/>
                  <a:gd name="connsiteX8" fmla="*/ 214699 w 223362"/>
                  <a:gd name="connsiteY8" fmla="*/ 233564 h 259098"/>
                  <a:gd name="connsiteX9" fmla="*/ 210539 w 223362"/>
                  <a:gd name="connsiteY9" fmla="*/ 242570 h 259098"/>
                  <a:gd name="connsiteX10" fmla="*/ 198570 w 223362"/>
                  <a:gd name="connsiteY10" fmla="*/ 244735 h 259098"/>
                  <a:gd name="connsiteX11" fmla="*/ 197829 w 223362"/>
                  <a:gd name="connsiteY11" fmla="*/ 251347 h 259098"/>
                  <a:gd name="connsiteX12" fmla="*/ 190705 w 223362"/>
                  <a:gd name="connsiteY12" fmla="*/ 258585 h 259098"/>
                  <a:gd name="connsiteX13" fmla="*/ 180047 w 223362"/>
                  <a:gd name="connsiteY13" fmla="*/ 258585 h 259098"/>
                  <a:gd name="connsiteX14" fmla="*/ 167565 w 223362"/>
                  <a:gd name="connsiteY14" fmla="*/ 256989 h 259098"/>
                  <a:gd name="connsiteX15" fmla="*/ 155596 w 223362"/>
                  <a:gd name="connsiteY15" fmla="*/ 254995 h 259098"/>
                  <a:gd name="connsiteX16" fmla="*/ 131373 w 223362"/>
                  <a:gd name="connsiteY16" fmla="*/ 253228 h 259098"/>
                  <a:gd name="connsiteX17" fmla="*/ 126072 w 223362"/>
                  <a:gd name="connsiteY17" fmla="*/ 256761 h 259098"/>
                  <a:gd name="connsiteX18" fmla="*/ 120373 w 223362"/>
                  <a:gd name="connsiteY18" fmla="*/ 255906 h 259098"/>
                  <a:gd name="connsiteX19" fmla="*/ 0 w 223362"/>
                  <a:gd name="connsiteY19" fmla="*/ 255906 h 259098"/>
                  <a:gd name="connsiteX20" fmla="*/ 0 w 223362"/>
                  <a:gd name="connsiteY20" fmla="*/ 0 h 259098"/>
                  <a:gd name="connsiteX21" fmla="*/ 7637 w 223362"/>
                  <a:gd name="connsiteY21" fmla="*/ 5358 h 259098"/>
                  <a:gd name="connsiteX22" fmla="*/ 16814 w 223362"/>
                  <a:gd name="connsiteY22" fmla="*/ 31119 h 259098"/>
                  <a:gd name="connsiteX23" fmla="*/ 22513 w 223362"/>
                  <a:gd name="connsiteY23" fmla="*/ 37902 h 259098"/>
                  <a:gd name="connsiteX24" fmla="*/ 30606 w 223362"/>
                  <a:gd name="connsiteY24" fmla="*/ 38643 h 259098"/>
                  <a:gd name="connsiteX25" fmla="*/ 70502 w 223362"/>
                  <a:gd name="connsiteY25" fmla="*/ 34710 h 259098"/>
                  <a:gd name="connsiteX26" fmla="*/ 90394 w 223362"/>
                  <a:gd name="connsiteY26" fmla="*/ 27529 h 259098"/>
                  <a:gd name="connsiteX27" fmla="*/ 135192 w 223362"/>
                  <a:gd name="connsiteY27" fmla="*/ 16643 h 259098"/>
                  <a:gd name="connsiteX28" fmla="*/ 151794 w 223362"/>
                  <a:gd name="connsiteY28" fmla="*/ 13360 h 259098"/>
                  <a:gd name="connsiteX29" fmla="*/ 153031 w 223362"/>
                  <a:gd name="connsiteY29" fmla="*/ 14306 h 259098"/>
                  <a:gd name="connsiteX30" fmla="*/ 157192 w 223362"/>
                  <a:gd name="connsiteY30" fmla="*/ 19207 h 259098"/>
                  <a:gd name="connsiteX31" fmla="*/ 174974 w 223362"/>
                  <a:gd name="connsiteY31" fmla="*/ 23197 h 259098"/>
                  <a:gd name="connsiteX32" fmla="*/ 192927 w 223362"/>
                  <a:gd name="connsiteY32" fmla="*/ 19720 h 259098"/>
                  <a:gd name="connsiteX33" fmla="*/ 196176 w 223362"/>
                  <a:gd name="connsiteY33" fmla="*/ 23197 h 259098"/>
                  <a:gd name="connsiteX34" fmla="*/ 199824 w 223362"/>
                  <a:gd name="connsiteY34" fmla="*/ 28896 h 259098"/>
                  <a:gd name="connsiteX35" fmla="*/ 204212 w 223362"/>
                  <a:gd name="connsiteY35" fmla="*/ 31461 h 259098"/>
                  <a:gd name="connsiteX36" fmla="*/ 204440 w 223362"/>
                  <a:gd name="connsiteY36" fmla="*/ 33969 h 25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3362" h="259098">
                    <a:moveTo>
                      <a:pt x="204440" y="33969"/>
                    </a:moveTo>
                    <a:cubicBezTo>
                      <a:pt x="204286" y="38546"/>
                      <a:pt x="204594" y="43128"/>
                      <a:pt x="205352" y="47648"/>
                    </a:cubicBezTo>
                    <a:lnTo>
                      <a:pt x="201420" y="47135"/>
                    </a:lnTo>
                    <a:cubicBezTo>
                      <a:pt x="201927" y="65544"/>
                      <a:pt x="199151" y="83902"/>
                      <a:pt x="193212" y="101337"/>
                    </a:cubicBezTo>
                    <a:cubicBezTo>
                      <a:pt x="180463" y="86353"/>
                      <a:pt x="171754" y="68365"/>
                      <a:pt x="167907" y="49073"/>
                    </a:cubicBezTo>
                    <a:lnTo>
                      <a:pt x="156793" y="49073"/>
                    </a:lnTo>
                    <a:cubicBezTo>
                      <a:pt x="153202" y="66798"/>
                      <a:pt x="160896" y="84580"/>
                      <a:pt x="168192" y="100995"/>
                    </a:cubicBezTo>
                    <a:cubicBezTo>
                      <a:pt x="186618" y="141119"/>
                      <a:pt x="205010" y="181260"/>
                      <a:pt x="223362" y="221425"/>
                    </a:cubicBezTo>
                    <a:cubicBezTo>
                      <a:pt x="219236" y="224422"/>
                      <a:pt x="216192" y="228686"/>
                      <a:pt x="214699" y="233564"/>
                    </a:cubicBezTo>
                    <a:cubicBezTo>
                      <a:pt x="213787" y="236870"/>
                      <a:pt x="213559" y="240974"/>
                      <a:pt x="210539" y="242570"/>
                    </a:cubicBezTo>
                    <a:cubicBezTo>
                      <a:pt x="207518" y="244166"/>
                      <a:pt x="201021" y="241259"/>
                      <a:pt x="198570" y="244735"/>
                    </a:cubicBezTo>
                    <a:cubicBezTo>
                      <a:pt x="197259" y="246559"/>
                      <a:pt x="198057" y="249124"/>
                      <a:pt x="197829" y="251347"/>
                    </a:cubicBezTo>
                    <a:cubicBezTo>
                      <a:pt x="197059" y="254937"/>
                      <a:pt x="194284" y="257759"/>
                      <a:pt x="190705" y="258585"/>
                    </a:cubicBezTo>
                    <a:cubicBezTo>
                      <a:pt x="187182" y="259269"/>
                      <a:pt x="183569" y="259269"/>
                      <a:pt x="180047" y="258585"/>
                    </a:cubicBezTo>
                    <a:lnTo>
                      <a:pt x="167565" y="256989"/>
                    </a:lnTo>
                    <a:cubicBezTo>
                      <a:pt x="163541" y="256550"/>
                      <a:pt x="159545" y="255884"/>
                      <a:pt x="155596" y="254995"/>
                    </a:cubicBezTo>
                    <a:cubicBezTo>
                      <a:pt x="147502" y="252943"/>
                      <a:pt x="138497" y="249295"/>
                      <a:pt x="131373" y="253228"/>
                    </a:cubicBezTo>
                    <a:cubicBezTo>
                      <a:pt x="129549" y="254311"/>
                      <a:pt x="128010" y="255849"/>
                      <a:pt x="126072" y="256761"/>
                    </a:cubicBezTo>
                    <a:cubicBezTo>
                      <a:pt x="124191" y="257759"/>
                      <a:pt x="121877" y="257411"/>
                      <a:pt x="120373" y="255906"/>
                    </a:cubicBezTo>
                    <a:lnTo>
                      <a:pt x="0" y="255906"/>
                    </a:lnTo>
                    <a:lnTo>
                      <a:pt x="0" y="0"/>
                    </a:lnTo>
                    <a:cubicBezTo>
                      <a:pt x="2770" y="1442"/>
                      <a:pt x="5335" y="3243"/>
                      <a:pt x="7637" y="5358"/>
                    </a:cubicBezTo>
                    <a:cubicBezTo>
                      <a:pt x="8731" y="14522"/>
                      <a:pt x="11866" y="23328"/>
                      <a:pt x="16814" y="31119"/>
                    </a:cubicBezTo>
                    <a:cubicBezTo>
                      <a:pt x="17988" y="33901"/>
                      <a:pt x="19977" y="36266"/>
                      <a:pt x="22513" y="37902"/>
                    </a:cubicBezTo>
                    <a:cubicBezTo>
                      <a:pt x="25083" y="38922"/>
                      <a:pt x="27893" y="39178"/>
                      <a:pt x="30606" y="38643"/>
                    </a:cubicBezTo>
                    <a:lnTo>
                      <a:pt x="70502" y="34710"/>
                    </a:lnTo>
                    <a:cubicBezTo>
                      <a:pt x="73409" y="27813"/>
                      <a:pt x="82870" y="27529"/>
                      <a:pt x="90394" y="27529"/>
                    </a:cubicBezTo>
                    <a:cubicBezTo>
                      <a:pt x="105982" y="27512"/>
                      <a:pt x="121336" y="23778"/>
                      <a:pt x="135192" y="16643"/>
                    </a:cubicBezTo>
                    <a:cubicBezTo>
                      <a:pt x="138868" y="11148"/>
                      <a:pt x="146305" y="9678"/>
                      <a:pt x="151794" y="13360"/>
                    </a:cubicBezTo>
                    <a:cubicBezTo>
                      <a:pt x="152227" y="13645"/>
                      <a:pt x="152638" y="13964"/>
                      <a:pt x="153031" y="14306"/>
                    </a:cubicBezTo>
                    <a:cubicBezTo>
                      <a:pt x="154570" y="15845"/>
                      <a:pt x="155653" y="17725"/>
                      <a:pt x="157192" y="19207"/>
                    </a:cubicBezTo>
                    <a:cubicBezTo>
                      <a:pt x="162321" y="22918"/>
                      <a:pt x="168750" y="24360"/>
                      <a:pt x="174974" y="23197"/>
                    </a:cubicBezTo>
                    <a:cubicBezTo>
                      <a:pt x="181129" y="23248"/>
                      <a:pt x="187233" y="22063"/>
                      <a:pt x="192927" y="19720"/>
                    </a:cubicBezTo>
                    <a:cubicBezTo>
                      <a:pt x="194181" y="20706"/>
                      <a:pt x="195276" y="21880"/>
                      <a:pt x="196176" y="23197"/>
                    </a:cubicBezTo>
                    <a:cubicBezTo>
                      <a:pt x="197373" y="25078"/>
                      <a:pt x="197943" y="27529"/>
                      <a:pt x="199824" y="28896"/>
                    </a:cubicBezTo>
                    <a:cubicBezTo>
                      <a:pt x="201704" y="30264"/>
                      <a:pt x="203357" y="29979"/>
                      <a:pt x="204212" y="31461"/>
                    </a:cubicBezTo>
                    <a:cubicBezTo>
                      <a:pt x="204497" y="32265"/>
                      <a:pt x="204577" y="33125"/>
                      <a:pt x="204440" y="3396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8" name="Freihandform: Form 692">
                <a:extLst>
                  <a:ext uri="{FF2B5EF4-FFF2-40B4-BE49-F238E27FC236}">
                    <a16:creationId xmlns:a16="http://schemas.microsoft.com/office/drawing/2014/main" id="{F238B8BF-666D-E4B6-E391-DEBF6F8D1518}"/>
                  </a:ext>
                </a:extLst>
              </p:cNvPr>
              <p:cNvSpPr/>
              <p:nvPr/>
            </p:nvSpPr>
            <p:spPr>
              <a:xfrm>
                <a:off x="4689017" y="3803475"/>
                <a:ext cx="231284" cy="148384"/>
              </a:xfrm>
              <a:custGeom>
                <a:avLst/>
                <a:gdLst>
                  <a:gd name="connsiteX0" fmla="*/ 219886 w 231284"/>
                  <a:gd name="connsiteY0" fmla="*/ 31560 h 148384"/>
                  <a:gd name="connsiteX1" fmla="*/ 231285 w 231284"/>
                  <a:gd name="connsiteY1" fmla="*/ 52477 h 148384"/>
                  <a:gd name="connsiteX2" fmla="*/ 208031 w 231284"/>
                  <a:gd name="connsiteY2" fmla="*/ 66498 h 148384"/>
                  <a:gd name="connsiteX3" fmla="*/ 191958 w 231284"/>
                  <a:gd name="connsiteY3" fmla="*/ 77441 h 148384"/>
                  <a:gd name="connsiteX4" fmla="*/ 180559 w 231284"/>
                  <a:gd name="connsiteY4" fmla="*/ 75161 h 148384"/>
                  <a:gd name="connsiteX5" fmla="*/ 157306 w 231284"/>
                  <a:gd name="connsiteY5" fmla="*/ 88156 h 148384"/>
                  <a:gd name="connsiteX6" fmla="*/ 139181 w 231284"/>
                  <a:gd name="connsiteY6" fmla="*/ 109187 h 148384"/>
                  <a:gd name="connsiteX7" fmla="*/ 126813 w 231284"/>
                  <a:gd name="connsiteY7" fmla="*/ 114487 h 148384"/>
                  <a:gd name="connsiteX8" fmla="*/ 79679 w 231284"/>
                  <a:gd name="connsiteY8" fmla="*/ 130047 h 148384"/>
                  <a:gd name="connsiteX9" fmla="*/ 26959 w 231284"/>
                  <a:gd name="connsiteY9" fmla="*/ 147487 h 148384"/>
                  <a:gd name="connsiteX10" fmla="*/ 18865 w 231284"/>
                  <a:gd name="connsiteY10" fmla="*/ 147487 h 148384"/>
                  <a:gd name="connsiteX11" fmla="*/ 15674 w 231284"/>
                  <a:gd name="connsiteY11" fmla="*/ 140933 h 148384"/>
                  <a:gd name="connsiteX12" fmla="*/ 11000 w 231284"/>
                  <a:gd name="connsiteY12" fmla="*/ 116767 h 148384"/>
                  <a:gd name="connsiteX13" fmla="*/ 0 w 231284"/>
                  <a:gd name="connsiteY13" fmla="*/ 69233 h 148384"/>
                  <a:gd name="connsiteX14" fmla="*/ 798 w 231284"/>
                  <a:gd name="connsiteY14" fmla="*/ 68093 h 148384"/>
                  <a:gd name="connsiteX15" fmla="*/ 4275 w 231284"/>
                  <a:gd name="connsiteY15" fmla="*/ 50539 h 148384"/>
                  <a:gd name="connsiteX16" fmla="*/ 13109 w 231284"/>
                  <a:gd name="connsiteY16" fmla="*/ 35663 h 148384"/>
                  <a:gd name="connsiteX17" fmla="*/ 23938 w 231284"/>
                  <a:gd name="connsiteY17" fmla="*/ 34581 h 148384"/>
                  <a:gd name="connsiteX18" fmla="*/ 54430 w 231284"/>
                  <a:gd name="connsiteY18" fmla="*/ 36632 h 148384"/>
                  <a:gd name="connsiteX19" fmla="*/ 59047 w 231284"/>
                  <a:gd name="connsiteY19" fmla="*/ 37430 h 148384"/>
                  <a:gd name="connsiteX20" fmla="*/ 64404 w 231284"/>
                  <a:gd name="connsiteY20" fmla="*/ 40907 h 148384"/>
                  <a:gd name="connsiteX21" fmla="*/ 84637 w 231284"/>
                  <a:gd name="connsiteY21" fmla="*/ 44726 h 148384"/>
                  <a:gd name="connsiteX22" fmla="*/ 98715 w 231284"/>
                  <a:gd name="connsiteY22" fmla="*/ 43016 h 148384"/>
                  <a:gd name="connsiteX23" fmla="*/ 108347 w 231284"/>
                  <a:gd name="connsiteY23" fmla="*/ 33213 h 148384"/>
                  <a:gd name="connsiteX24" fmla="*/ 109487 w 231284"/>
                  <a:gd name="connsiteY24" fmla="*/ 27513 h 148384"/>
                  <a:gd name="connsiteX25" fmla="*/ 120886 w 231284"/>
                  <a:gd name="connsiteY25" fmla="*/ 20674 h 148384"/>
                  <a:gd name="connsiteX26" fmla="*/ 130290 w 231284"/>
                  <a:gd name="connsiteY26" fmla="*/ 13322 h 148384"/>
                  <a:gd name="connsiteX27" fmla="*/ 197487 w 231284"/>
                  <a:gd name="connsiteY27" fmla="*/ 1011 h 148384"/>
                  <a:gd name="connsiteX28" fmla="*/ 204269 w 231284"/>
                  <a:gd name="connsiteY28" fmla="*/ 2436 h 148384"/>
                  <a:gd name="connsiteX29" fmla="*/ 209969 w 231284"/>
                  <a:gd name="connsiteY29" fmla="*/ 7508 h 148384"/>
                  <a:gd name="connsiteX30" fmla="*/ 219886 w 231284"/>
                  <a:gd name="connsiteY30" fmla="*/ 31560 h 14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1284" h="148384">
                    <a:moveTo>
                      <a:pt x="219886" y="31560"/>
                    </a:moveTo>
                    <a:cubicBezTo>
                      <a:pt x="222975" y="38895"/>
                      <a:pt x="226793" y="45905"/>
                      <a:pt x="231285" y="52477"/>
                    </a:cubicBezTo>
                    <a:cubicBezTo>
                      <a:pt x="222701" y="55606"/>
                      <a:pt x="214802" y="60365"/>
                      <a:pt x="208031" y="66498"/>
                    </a:cubicBezTo>
                    <a:cubicBezTo>
                      <a:pt x="203300" y="71114"/>
                      <a:pt x="198627" y="77099"/>
                      <a:pt x="191958" y="77441"/>
                    </a:cubicBezTo>
                    <a:cubicBezTo>
                      <a:pt x="188100" y="77013"/>
                      <a:pt x="184287" y="76249"/>
                      <a:pt x="180559" y="75161"/>
                    </a:cubicBezTo>
                    <a:cubicBezTo>
                      <a:pt x="171326" y="73964"/>
                      <a:pt x="163005" y="80860"/>
                      <a:pt x="157306" y="88156"/>
                    </a:cubicBezTo>
                    <a:cubicBezTo>
                      <a:pt x="151606" y="95451"/>
                      <a:pt x="146990" y="104171"/>
                      <a:pt x="139181" y="109187"/>
                    </a:cubicBezTo>
                    <a:cubicBezTo>
                      <a:pt x="135288" y="111455"/>
                      <a:pt x="131139" y="113233"/>
                      <a:pt x="126813" y="114487"/>
                    </a:cubicBezTo>
                    <a:lnTo>
                      <a:pt x="79679" y="130047"/>
                    </a:lnTo>
                    <a:lnTo>
                      <a:pt x="26959" y="147487"/>
                    </a:lnTo>
                    <a:cubicBezTo>
                      <a:pt x="24394" y="148684"/>
                      <a:pt x="21430" y="148684"/>
                      <a:pt x="18865" y="147487"/>
                    </a:cubicBezTo>
                    <a:cubicBezTo>
                      <a:pt x="16950" y="145829"/>
                      <a:pt x="15799" y="143463"/>
                      <a:pt x="15674" y="140933"/>
                    </a:cubicBezTo>
                    <a:cubicBezTo>
                      <a:pt x="14078" y="132896"/>
                      <a:pt x="12539" y="124803"/>
                      <a:pt x="11000" y="116767"/>
                    </a:cubicBezTo>
                    <a:cubicBezTo>
                      <a:pt x="8036" y="101435"/>
                      <a:pt x="3876" y="85249"/>
                      <a:pt x="0" y="69233"/>
                    </a:cubicBezTo>
                    <a:cubicBezTo>
                      <a:pt x="0" y="68834"/>
                      <a:pt x="570" y="68492"/>
                      <a:pt x="798" y="68093"/>
                    </a:cubicBezTo>
                    <a:cubicBezTo>
                      <a:pt x="2821" y="62445"/>
                      <a:pt x="3995" y="56529"/>
                      <a:pt x="4275" y="50539"/>
                    </a:cubicBezTo>
                    <a:cubicBezTo>
                      <a:pt x="4600" y="44429"/>
                      <a:pt x="7900" y="38872"/>
                      <a:pt x="13109" y="35663"/>
                    </a:cubicBezTo>
                    <a:cubicBezTo>
                      <a:pt x="16574" y="34415"/>
                      <a:pt x="20296" y="34039"/>
                      <a:pt x="23938" y="34581"/>
                    </a:cubicBezTo>
                    <a:lnTo>
                      <a:pt x="54430" y="36632"/>
                    </a:lnTo>
                    <a:cubicBezTo>
                      <a:pt x="55997" y="36672"/>
                      <a:pt x="57553" y="36940"/>
                      <a:pt x="59047" y="37430"/>
                    </a:cubicBezTo>
                    <a:cubicBezTo>
                      <a:pt x="60962" y="38371"/>
                      <a:pt x="62763" y="39539"/>
                      <a:pt x="64404" y="40907"/>
                    </a:cubicBezTo>
                    <a:cubicBezTo>
                      <a:pt x="70611" y="44190"/>
                      <a:pt x="77661" y="45524"/>
                      <a:pt x="84637" y="44726"/>
                    </a:cubicBezTo>
                    <a:cubicBezTo>
                      <a:pt x="89391" y="44937"/>
                      <a:pt x="94150" y="44355"/>
                      <a:pt x="98715" y="43016"/>
                    </a:cubicBezTo>
                    <a:cubicBezTo>
                      <a:pt x="103366" y="41568"/>
                      <a:pt x="106979" y="37886"/>
                      <a:pt x="108347" y="33213"/>
                    </a:cubicBezTo>
                    <a:cubicBezTo>
                      <a:pt x="108512" y="31275"/>
                      <a:pt x="108894" y="29365"/>
                      <a:pt x="109487" y="27513"/>
                    </a:cubicBezTo>
                    <a:cubicBezTo>
                      <a:pt x="111368" y="23296"/>
                      <a:pt x="116896" y="22726"/>
                      <a:pt x="120886" y="20674"/>
                    </a:cubicBezTo>
                    <a:cubicBezTo>
                      <a:pt x="124328" y="18639"/>
                      <a:pt x="127486" y="16171"/>
                      <a:pt x="130290" y="13322"/>
                    </a:cubicBezTo>
                    <a:cubicBezTo>
                      <a:pt x="148073" y="-1839"/>
                      <a:pt x="174119" y="-813"/>
                      <a:pt x="197487" y="1011"/>
                    </a:cubicBezTo>
                    <a:cubicBezTo>
                      <a:pt x="199812" y="1085"/>
                      <a:pt x="202109" y="1564"/>
                      <a:pt x="204269" y="2436"/>
                    </a:cubicBezTo>
                    <a:cubicBezTo>
                      <a:pt x="206583" y="3593"/>
                      <a:pt x="208555" y="5342"/>
                      <a:pt x="209969" y="7508"/>
                    </a:cubicBezTo>
                    <a:cubicBezTo>
                      <a:pt x="214237" y="15094"/>
                      <a:pt x="217566" y="23170"/>
                      <a:pt x="219886" y="3156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899" name="Freihandform: Form 693">
                <a:extLst>
                  <a:ext uri="{FF2B5EF4-FFF2-40B4-BE49-F238E27FC236}">
                    <a16:creationId xmlns:a16="http://schemas.microsoft.com/office/drawing/2014/main" id="{A297AEB6-261F-4A6F-C5AB-0869DAC3D136}"/>
                  </a:ext>
                </a:extLst>
              </p:cNvPr>
              <p:cNvSpPr/>
              <p:nvPr/>
            </p:nvSpPr>
            <p:spPr>
              <a:xfrm>
                <a:off x="4890836" y="3660460"/>
                <a:ext cx="166606" cy="195719"/>
              </a:xfrm>
              <a:custGeom>
                <a:avLst/>
                <a:gdLst>
                  <a:gd name="connsiteX0" fmla="*/ 99285 w 166606"/>
                  <a:gd name="connsiteY0" fmla="*/ 0 h 195719"/>
                  <a:gd name="connsiteX1" fmla="*/ 98943 w 166606"/>
                  <a:gd name="connsiteY1" fmla="*/ 741 h 195719"/>
                  <a:gd name="connsiteX2" fmla="*/ 119974 w 166606"/>
                  <a:gd name="connsiteY2" fmla="*/ 12140 h 195719"/>
                  <a:gd name="connsiteX3" fmla="*/ 125104 w 166606"/>
                  <a:gd name="connsiteY3" fmla="*/ 14876 h 195719"/>
                  <a:gd name="connsiteX4" fmla="*/ 162036 w 166606"/>
                  <a:gd name="connsiteY4" fmla="*/ 34425 h 195719"/>
                  <a:gd name="connsiteX5" fmla="*/ 158616 w 166606"/>
                  <a:gd name="connsiteY5" fmla="*/ 44342 h 195719"/>
                  <a:gd name="connsiteX6" fmla="*/ 166499 w 166606"/>
                  <a:gd name="connsiteY6" fmla="*/ 55051 h 195719"/>
                  <a:gd name="connsiteX7" fmla="*/ 166481 w 166606"/>
                  <a:gd name="connsiteY7" fmla="*/ 55171 h 195719"/>
                  <a:gd name="connsiteX8" fmla="*/ 159585 w 166606"/>
                  <a:gd name="connsiteY8" fmla="*/ 68394 h 195719"/>
                  <a:gd name="connsiteX9" fmla="*/ 129435 w 166606"/>
                  <a:gd name="connsiteY9" fmla="*/ 106466 h 195719"/>
                  <a:gd name="connsiteX10" fmla="*/ 122881 w 166606"/>
                  <a:gd name="connsiteY10" fmla="*/ 120202 h 195719"/>
                  <a:gd name="connsiteX11" fmla="*/ 124932 w 166606"/>
                  <a:gd name="connsiteY11" fmla="*/ 132798 h 195719"/>
                  <a:gd name="connsiteX12" fmla="*/ 120145 w 166606"/>
                  <a:gd name="connsiteY12" fmla="*/ 141746 h 195719"/>
                  <a:gd name="connsiteX13" fmla="*/ 60471 w 166606"/>
                  <a:gd name="connsiteY13" fmla="*/ 184777 h 195719"/>
                  <a:gd name="connsiteX14" fmla="*/ 29238 w 166606"/>
                  <a:gd name="connsiteY14" fmla="*/ 195720 h 195719"/>
                  <a:gd name="connsiteX15" fmla="*/ 17839 w 166606"/>
                  <a:gd name="connsiteY15" fmla="*/ 174803 h 195719"/>
                  <a:gd name="connsiteX16" fmla="*/ 7523 w 166606"/>
                  <a:gd name="connsiteY16" fmla="*/ 151093 h 195719"/>
                  <a:gd name="connsiteX17" fmla="*/ 1824 w 166606"/>
                  <a:gd name="connsiteY17" fmla="*/ 146020 h 195719"/>
                  <a:gd name="connsiteX18" fmla="*/ 0 w 166606"/>
                  <a:gd name="connsiteY18" fmla="*/ 145451 h 195719"/>
                  <a:gd name="connsiteX19" fmla="*/ 285 w 166606"/>
                  <a:gd name="connsiteY19" fmla="*/ 144881 h 195719"/>
                  <a:gd name="connsiteX20" fmla="*/ 2052 w 166606"/>
                  <a:gd name="connsiteY20" fmla="*/ 141746 h 195719"/>
                  <a:gd name="connsiteX21" fmla="*/ 7409 w 166606"/>
                  <a:gd name="connsiteY21" fmla="*/ 139010 h 195719"/>
                  <a:gd name="connsiteX22" fmla="*/ 21772 w 166606"/>
                  <a:gd name="connsiteY22" fmla="*/ 132057 h 195719"/>
                  <a:gd name="connsiteX23" fmla="*/ 23368 w 166606"/>
                  <a:gd name="connsiteY23" fmla="*/ 129549 h 195719"/>
                  <a:gd name="connsiteX24" fmla="*/ 26047 w 166606"/>
                  <a:gd name="connsiteY24" fmla="*/ 128238 h 195719"/>
                  <a:gd name="connsiteX25" fmla="*/ 48274 w 166606"/>
                  <a:gd name="connsiteY25" fmla="*/ 121399 h 195719"/>
                  <a:gd name="connsiteX26" fmla="*/ 51466 w 166606"/>
                  <a:gd name="connsiteY26" fmla="*/ 118891 h 195719"/>
                  <a:gd name="connsiteX27" fmla="*/ 58306 w 166606"/>
                  <a:gd name="connsiteY27" fmla="*/ 118891 h 195719"/>
                  <a:gd name="connsiteX28" fmla="*/ 72839 w 166606"/>
                  <a:gd name="connsiteY28" fmla="*/ 104642 h 195719"/>
                  <a:gd name="connsiteX29" fmla="*/ 82129 w 166606"/>
                  <a:gd name="connsiteY29" fmla="*/ 75803 h 195719"/>
                  <a:gd name="connsiteX30" fmla="*/ 81844 w 166606"/>
                  <a:gd name="connsiteY30" fmla="*/ 59617 h 195719"/>
                  <a:gd name="connsiteX31" fmla="*/ 72383 w 166606"/>
                  <a:gd name="connsiteY31" fmla="*/ 49699 h 195719"/>
                  <a:gd name="connsiteX32" fmla="*/ 68793 w 166606"/>
                  <a:gd name="connsiteY32" fmla="*/ 37389 h 195719"/>
                  <a:gd name="connsiteX33" fmla="*/ 80192 w 166606"/>
                  <a:gd name="connsiteY33" fmla="*/ 26617 h 195719"/>
                  <a:gd name="connsiteX34" fmla="*/ 80590 w 166606"/>
                  <a:gd name="connsiteY34" fmla="*/ 18694 h 195719"/>
                  <a:gd name="connsiteX35" fmla="*/ 86290 w 166606"/>
                  <a:gd name="connsiteY35" fmla="*/ 12368 h 195719"/>
                  <a:gd name="connsiteX36" fmla="*/ 90337 w 166606"/>
                  <a:gd name="connsiteY36" fmla="*/ 6668 h 195719"/>
                  <a:gd name="connsiteX37" fmla="*/ 99285 w 166606"/>
                  <a:gd name="connsiteY37" fmla="*/ 0 h 195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6606" h="195719">
                    <a:moveTo>
                      <a:pt x="99285" y="0"/>
                    </a:moveTo>
                    <a:lnTo>
                      <a:pt x="98943" y="741"/>
                    </a:lnTo>
                    <a:lnTo>
                      <a:pt x="119974" y="12140"/>
                    </a:lnTo>
                    <a:lnTo>
                      <a:pt x="125104" y="14876"/>
                    </a:lnTo>
                    <a:lnTo>
                      <a:pt x="162036" y="34425"/>
                    </a:lnTo>
                    <a:lnTo>
                      <a:pt x="158616" y="44342"/>
                    </a:lnTo>
                    <a:cubicBezTo>
                      <a:pt x="163751" y="45123"/>
                      <a:pt x="167279" y="49916"/>
                      <a:pt x="166499" y="55051"/>
                    </a:cubicBezTo>
                    <a:cubicBezTo>
                      <a:pt x="166493" y="55091"/>
                      <a:pt x="166487" y="55131"/>
                      <a:pt x="166481" y="55171"/>
                    </a:cubicBezTo>
                    <a:cubicBezTo>
                      <a:pt x="165479" y="60141"/>
                      <a:pt x="163090" y="64729"/>
                      <a:pt x="159585" y="68394"/>
                    </a:cubicBezTo>
                    <a:lnTo>
                      <a:pt x="129435" y="106466"/>
                    </a:lnTo>
                    <a:cubicBezTo>
                      <a:pt x="125742" y="110159"/>
                      <a:pt x="123428" y="115010"/>
                      <a:pt x="122881" y="120202"/>
                    </a:cubicBezTo>
                    <a:cubicBezTo>
                      <a:pt x="122881" y="124476"/>
                      <a:pt x="125445" y="128523"/>
                      <a:pt x="124932" y="132798"/>
                    </a:cubicBezTo>
                    <a:cubicBezTo>
                      <a:pt x="124277" y="136195"/>
                      <a:pt x="122607" y="139318"/>
                      <a:pt x="120145" y="141746"/>
                    </a:cubicBezTo>
                    <a:cubicBezTo>
                      <a:pt x="104186" y="160879"/>
                      <a:pt x="83662" y="175675"/>
                      <a:pt x="60471" y="184777"/>
                    </a:cubicBezTo>
                    <a:cubicBezTo>
                      <a:pt x="50269" y="188710"/>
                      <a:pt x="39383" y="191673"/>
                      <a:pt x="29238" y="195720"/>
                    </a:cubicBezTo>
                    <a:cubicBezTo>
                      <a:pt x="24747" y="189148"/>
                      <a:pt x="20928" y="182138"/>
                      <a:pt x="17839" y="174803"/>
                    </a:cubicBezTo>
                    <a:cubicBezTo>
                      <a:pt x="15366" y="166516"/>
                      <a:pt x="11906" y="158554"/>
                      <a:pt x="7523" y="151093"/>
                    </a:cubicBezTo>
                    <a:cubicBezTo>
                      <a:pt x="6110" y="148927"/>
                      <a:pt x="4138" y="147177"/>
                      <a:pt x="1824" y="146020"/>
                    </a:cubicBezTo>
                    <a:cubicBezTo>
                      <a:pt x="1237" y="145770"/>
                      <a:pt x="627" y="145582"/>
                      <a:pt x="0" y="145451"/>
                    </a:cubicBezTo>
                    <a:cubicBezTo>
                      <a:pt x="74" y="145251"/>
                      <a:pt x="165" y="145057"/>
                      <a:pt x="285" y="144881"/>
                    </a:cubicBezTo>
                    <a:cubicBezTo>
                      <a:pt x="707" y="143746"/>
                      <a:pt x="1299" y="142692"/>
                      <a:pt x="2052" y="141746"/>
                    </a:cubicBezTo>
                    <a:cubicBezTo>
                      <a:pt x="3522" y="140321"/>
                      <a:pt x="5392" y="139363"/>
                      <a:pt x="7409" y="139010"/>
                    </a:cubicBezTo>
                    <a:cubicBezTo>
                      <a:pt x="12710" y="137642"/>
                      <a:pt x="18808" y="136787"/>
                      <a:pt x="21772" y="132057"/>
                    </a:cubicBezTo>
                    <a:cubicBezTo>
                      <a:pt x="22182" y="131151"/>
                      <a:pt x="22718" y="130307"/>
                      <a:pt x="23368" y="129549"/>
                    </a:cubicBezTo>
                    <a:cubicBezTo>
                      <a:pt x="24132" y="128882"/>
                      <a:pt x="25055" y="128432"/>
                      <a:pt x="26047" y="128238"/>
                    </a:cubicBezTo>
                    <a:cubicBezTo>
                      <a:pt x="33627" y="126129"/>
                      <a:pt x="42461" y="126642"/>
                      <a:pt x="48274" y="121399"/>
                    </a:cubicBezTo>
                    <a:cubicBezTo>
                      <a:pt x="49204" y="120407"/>
                      <a:pt x="50281" y="119564"/>
                      <a:pt x="51466" y="118891"/>
                    </a:cubicBezTo>
                    <a:cubicBezTo>
                      <a:pt x="53723" y="118429"/>
                      <a:pt x="56049" y="118429"/>
                      <a:pt x="58306" y="118891"/>
                    </a:cubicBezTo>
                    <a:cubicBezTo>
                      <a:pt x="65544" y="118891"/>
                      <a:pt x="70103" y="111311"/>
                      <a:pt x="72839" y="104642"/>
                    </a:cubicBezTo>
                    <a:cubicBezTo>
                      <a:pt x="76726" y="95301"/>
                      <a:pt x="79838" y="85658"/>
                      <a:pt x="82129" y="75803"/>
                    </a:cubicBezTo>
                    <a:cubicBezTo>
                      <a:pt x="83925" y="70537"/>
                      <a:pt x="83822" y="64814"/>
                      <a:pt x="81844" y="59617"/>
                    </a:cubicBezTo>
                    <a:cubicBezTo>
                      <a:pt x="79222" y="55843"/>
                      <a:pt x="76031" y="52498"/>
                      <a:pt x="72383" y="49699"/>
                    </a:cubicBezTo>
                    <a:cubicBezTo>
                      <a:pt x="68775" y="46724"/>
                      <a:pt x="67350" y="41840"/>
                      <a:pt x="68793" y="37389"/>
                    </a:cubicBezTo>
                    <a:cubicBezTo>
                      <a:pt x="71300" y="32658"/>
                      <a:pt x="78995" y="31689"/>
                      <a:pt x="80192" y="26617"/>
                    </a:cubicBezTo>
                    <a:cubicBezTo>
                      <a:pt x="80876" y="24052"/>
                      <a:pt x="79679" y="21202"/>
                      <a:pt x="80590" y="18694"/>
                    </a:cubicBezTo>
                    <a:cubicBezTo>
                      <a:pt x="81502" y="16186"/>
                      <a:pt x="84523" y="14477"/>
                      <a:pt x="86290" y="12368"/>
                    </a:cubicBezTo>
                    <a:cubicBezTo>
                      <a:pt x="87755" y="10556"/>
                      <a:pt x="89105" y="8652"/>
                      <a:pt x="90337" y="6668"/>
                    </a:cubicBezTo>
                    <a:cubicBezTo>
                      <a:pt x="92702" y="3716"/>
                      <a:pt x="95780" y="1419"/>
                      <a:pt x="99285"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0" name="Freihandform: Form 694">
                <a:extLst>
                  <a:ext uri="{FF2B5EF4-FFF2-40B4-BE49-F238E27FC236}">
                    <a16:creationId xmlns:a16="http://schemas.microsoft.com/office/drawing/2014/main" id="{220CB311-B238-0395-6493-DDA1D99554E6}"/>
                  </a:ext>
                </a:extLst>
              </p:cNvPr>
              <p:cNvSpPr/>
              <p:nvPr/>
            </p:nvSpPr>
            <p:spPr>
              <a:xfrm>
                <a:off x="4894164" y="3626495"/>
                <a:ext cx="101829" cy="85806"/>
              </a:xfrm>
              <a:custGeom>
                <a:avLst/>
                <a:gdLst>
                  <a:gd name="connsiteX0" fmla="*/ 376 w 101829"/>
                  <a:gd name="connsiteY0" fmla="*/ 56364 h 85806"/>
                  <a:gd name="connsiteX1" fmla="*/ 1972 w 101829"/>
                  <a:gd name="connsiteY1" fmla="*/ 50152 h 85806"/>
                  <a:gd name="connsiteX2" fmla="*/ 22718 w 101829"/>
                  <a:gd name="connsiteY2" fmla="*/ 48784 h 85806"/>
                  <a:gd name="connsiteX3" fmla="*/ 48821 w 101829"/>
                  <a:gd name="connsiteY3" fmla="*/ 45649 h 85806"/>
                  <a:gd name="connsiteX4" fmla="*/ 62842 w 101829"/>
                  <a:gd name="connsiteY4" fmla="*/ 25872 h 85806"/>
                  <a:gd name="connsiteX5" fmla="*/ 76008 w 101829"/>
                  <a:gd name="connsiteY5" fmla="*/ 16468 h 85806"/>
                  <a:gd name="connsiteX6" fmla="*/ 84671 w 101829"/>
                  <a:gd name="connsiteY6" fmla="*/ 1022 h 85806"/>
                  <a:gd name="connsiteX7" fmla="*/ 101770 w 101829"/>
                  <a:gd name="connsiteY7" fmla="*/ 12421 h 85806"/>
                  <a:gd name="connsiteX8" fmla="*/ 96070 w 101829"/>
                  <a:gd name="connsiteY8" fmla="*/ 34250 h 85806"/>
                  <a:gd name="connsiteX9" fmla="*/ 88091 w 101829"/>
                  <a:gd name="connsiteY9" fmla="*/ 40577 h 85806"/>
                  <a:gd name="connsiteX10" fmla="*/ 84044 w 101829"/>
                  <a:gd name="connsiteY10" fmla="*/ 46276 h 85806"/>
                  <a:gd name="connsiteX11" fmla="*/ 78345 w 101829"/>
                  <a:gd name="connsiteY11" fmla="*/ 52603 h 85806"/>
                  <a:gd name="connsiteX12" fmla="*/ 77946 w 101829"/>
                  <a:gd name="connsiteY12" fmla="*/ 60525 h 85806"/>
                  <a:gd name="connsiteX13" fmla="*/ 66547 w 101829"/>
                  <a:gd name="connsiteY13" fmla="*/ 71297 h 85806"/>
                  <a:gd name="connsiteX14" fmla="*/ 68941 w 101829"/>
                  <a:gd name="connsiteY14" fmla="*/ 82354 h 85806"/>
                  <a:gd name="connsiteX15" fmla="*/ 65977 w 101829"/>
                  <a:gd name="connsiteY15" fmla="*/ 83152 h 85806"/>
                  <a:gd name="connsiteX16" fmla="*/ 31153 w 101829"/>
                  <a:gd name="connsiteY16" fmla="*/ 85489 h 85806"/>
                  <a:gd name="connsiteX17" fmla="*/ 21977 w 101829"/>
                  <a:gd name="connsiteY17" fmla="*/ 83038 h 85806"/>
                  <a:gd name="connsiteX18" fmla="*/ 18215 w 101829"/>
                  <a:gd name="connsiteY18" fmla="*/ 78136 h 85806"/>
                  <a:gd name="connsiteX19" fmla="*/ 7899 w 101829"/>
                  <a:gd name="connsiteY19" fmla="*/ 74717 h 85806"/>
                  <a:gd name="connsiteX20" fmla="*/ 604 w 101829"/>
                  <a:gd name="connsiteY20" fmla="*/ 62805 h 85806"/>
                  <a:gd name="connsiteX21" fmla="*/ 376 w 101829"/>
                  <a:gd name="connsiteY21" fmla="*/ 56364 h 8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1829" h="85806">
                    <a:moveTo>
                      <a:pt x="376" y="56364"/>
                    </a:moveTo>
                    <a:lnTo>
                      <a:pt x="1972" y="50152"/>
                    </a:lnTo>
                    <a:cubicBezTo>
                      <a:pt x="8914" y="50232"/>
                      <a:pt x="15850" y="49770"/>
                      <a:pt x="22718" y="48784"/>
                    </a:cubicBezTo>
                    <a:cubicBezTo>
                      <a:pt x="31518" y="48864"/>
                      <a:pt x="40289" y="47809"/>
                      <a:pt x="48821" y="45649"/>
                    </a:cubicBezTo>
                    <a:cubicBezTo>
                      <a:pt x="57086" y="42629"/>
                      <a:pt x="64495" y="34250"/>
                      <a:pt x="62842" y="25872"/>
                    </a:cubicBezTo>
                    <a:cubicBezTo>
                      <a:pt x="68542" y="28323"/>
                      <a:pt x="74241" y="22224"/>
                      <a:pt x="76008" y="16468"/>
                    </a:cubicBezTo>
                    <a:cubicBezTo>
                      <a:pt x="77775" y="10711"/>
                      <a:pt x="79314" y="3872"/>
                      <a:pt x="84671" y="1022"/>
                    </a:cubicBezTo>
                    <a:cubicBezTo>
                      <a:pt x="91682" y="-2682"/>
                      <a:pt x="100516" y="4271"/>
                      <a:pt x="101770" y="12421"/>
                    </a:cubicBezTo>
                    <a:cubicBezTo>
                      <a:pt x="102208" y="20116"/>
                      <a:pt x="100214" y="27753"/>
                      <a:pt x="96070" y="34250"/>
                    </a:cubicBezTo>
                    <a:cubicBezTo>
                      <a:pt x="92953" y="35709"/>
                      <a:pt x="90223" y="37875"/>
                      <a:pt x="88091" y="40577"/>
                    </a:cubicBezTo>
                    <a:cubicBezTo>
                      <a:pt x="86860" y="42560"/>
                      <a:pt x="85509" y="44464"/>
                      <a:pt x="84044" y="46276"/>
                    </a:cubicBezTo>
                    <a:cubicBezTo>
                      <a:pt x="81992" y="48385"/>
                      <a:pt x="78972" y="49810"/>
                      <a:pt x="78345" y="52603"/>
                    </a:cubicBezTo>
                    <a:cubicBezTo>
                      <a:pt x="77718" y="55395"/>
                      <a:pt x="78345" y="57960"/>
                      <a:pt x="77946" y="60525"/>
                    </a:cubicBezTo>
                    <a:cubicBezTo>
                      <a:pt x="76521" y="65711"/>
                      <a:pt x="68827" y="66566"/>
                      <a:pt x="66547" y="71297"/>
                    </a:cubicBezTo>
                    <a:cubicBezTo>
                      <a:pt x="65088" y="75133"/>
                      <a:pt x="66028" y="79464"/>
                      <a:pt x="68941" y="82354"/>
                    </a:cubicBezTo>
                    <a:lnTo>
                      <a:pt x="65977" y="83152"/>
                    </a:lnTo>
                    <a:cubicBezTo>
                      <a:pt x="54532" y="85528"/>
                      <a:pt x="42814" y="86315"/>
                      <a:pt x="31153" y="85489"/>
                    </a:cubicBezTo>
                    <a:cubicBezTo>
                      <a:pt x="27904" y="85756"/>
                      <a:pt x="24662" y="84890"/>
                      <a:pt x="21977" y="83038"/>
                    </a:cubicBezTo>
                    <a:cubicBezTo>
                      <a:pt x="20632" y="81476"/>
                      <a:pt x="19372" y="79840"/>
                      <a:pt x="18215" y="78136"/>
                    </a:cubicBezTo>
                    <a:cubicBezTo>
                      <a:pt x="15662" y="75195"/>
                      <a:pt x="11707" y="73884"/>
                      <a:pt x="7899" y="74717"/>
                    </a:cubicBezTo>
                    <a:cubicBezTo>
                      <a:pt x="9495" y="70100"/>
                      <a:pt x="2200" y="67421"/>
                      <a:pt x="604" y="62805"/>
                    </a:cubicBezTo>
                    <a:cubicBezTo>
                      <a:pt x="-114" y="60730"/>
                      <a:pt x="-194" y="58484"/>
                      <a:pt x="376" y="563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1" name="Freihandform: Form 695">
                <a:extLst>
                  <a:ext uri="{FF2B5EF4-FFF2-40B4-BE49-F238E27FC236}">
                    <a16:creationId xmlns:a16="http://schemas.microsoft.com/office/drawing/2014/main" id="{12E5FF32-8669-4BA5-C86F-87D0B2035474}"/>
                  </a:ext>
                </a:extLst>
              </p:cNvPr>
              <p:cNvSpPr/>
              <p:nvPr/>
            </p:nvSpPr>
            <p:spPr>
              <a:xfrm>
                <a:off x="4865302" y="3626206"/>
                <a:ext cx="19720" cy="36704"/>
              </a:xfrm>
              <a:custGeom>
                <a:avLst/>
                <a:gdLst>
                  <a:gd name="connsiteX0" fmla="*/ 4047 w 19720"/>
                  <a:gd name="connsiteY0" fmla="*/ 32886 h 36704"/>
                  <a:gd name="connsiteX1" fmla="*/ 0 w 19720"/>
                  <a:gd name="connsiteY1" fmla="*/ 26445 h 36704"/>
                  <a:gd name="connsiteX2" fmla="*/ 9860 w 19720"/>
                  <a:gd name="connsiteY2" fmla="*/ 0 h 36704"/>
                  <a:gd name="connsiteX3" fmla="*/ 19720 w 19720"/>
                  <a:gd name="connsiteY3" fmla="*/ 5243 h 36704"/>
                  <a:gd name="connsiteX4" fmla="*/ 19720 w 19720"/>
                  <a:gd name="connsiteY4" fmla="*/ 23995 h 36704"/>
                  <a:gd name="connsiteX5" fmla="*/ 13149 w 19720"/>
                  <a:gd name="connsiteY5" fmla="*/ 36659 h 36704"/>
                  <a:gd name="connsiteX6" fmla="*/ 13166 w 19720"/>
                  <a:gd name="connsiteY6" fmla="*/ 36705 h 36704"/>
                  <a:gd name="connsiteX7" fmla="*/ 9347 w 19720"/>
                  <a:gd name="connsiteY7" fmla="*/ 35850 h 36704"/>
                  <a:gd name="connsiteX8" fmla="*/ 4047 w 19720"/>
                  <a:gd name="connsiteY8" fmla="*/ 32886 h 36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20" h="36704">
                    <a:moveTo>
                      <a:pt x="4047" y="32886"/>
                    </a:moveTo>
                    <a:cubicBezTo>
                      <a:pt x="2246" y="31056"/>
                      <a:pt x="867" y="28862"/>
                      <a:pt x="0" y="26445"/>
                    </a:cubicBezTo>
                    <a:cubicBezTo>
                      <a:pt x="2063" y="17218"/>
                      <a:pt x="5380" y="8321"/>
                      <a:pt x="9860" y="0"/>
                    </a:cubicBezTo>
                    <a:lnTo>
                      <a:pt x="19720" y="5243"/>
                    </a:lnTo>
                    <a:cubicBezTo>
                      <a:pt x="19720" y="11513"/>
                      <a:pt x="19720" y="17725"/>
                      <a:pt x="19720" y="23995"/>
                    </a:cubicBezTo>
                    <a:cubicBezTo>
                      <a:pt x="14408" y="25676"/>
                      <a:pt x="11467" y="31347"/>
                      <a:pt x="13149" y="36659"/>
                    </a:cubicBezTo>
                    <a:cubicBezTo>
                      <a:pt x="13155" y="36676"/>
                      <a:pt x="13160" y="36687"/>
                      <a:pt x="13166" y="36705"/>
                    </a:cubicBezTo>
                    <a:cubicBezTo>
                      <a:pt x="11878" y="36499"/>
                      <a:pt x="10601" y="36214"/>
                      <a:pt x="9347" y="35850"/>
                    </a:cubicBezTo>
                    <a:cubicBezTo>
                      <a:pt x="7404" y="35223"/>
                      <a:pt x="5603" y="34214"/>
                      <a:pt x="4047" y="32886"/>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902" name="Freihandform: Form 696">
                <a:extLst>
                  <a:ext uri="{FF2B5EF4-FFF2-40B4-BE49-F238E27FC236}">
                    <a16:creationId xmlns:a16="http://schemas.microsoft.com/office/drawing/2014/main" id="{383C6D16-EBFB-0BF5-5939-7A666620CDD4}"/>
                  </a:ext>
                </a:extLst>
              </p:cNvPr>
              <p:cNvSpPr/>
              <p:nvPr/>
            </p:nvSpPr>
            <p:spPr>
              <a:xfrm>
                <a:off x="4859691" y="3616408"/>
                <a:ext cx="7705" cy="12653"/>
              </a:xfrm>
              <a:custGeom>
                <a:avLst/>
                <a:gdLst>
                  <a:gd name="connsiteX0" fmla="*/ 1565 w 7705"/>
                  <a:gd name="connsiteY0" fmla="*/ 1363 h 12653"/>
                  <a:gd name="connsiteX1" fmla="*/ 2534 w 7705"/>
                  <a:gd name="connsiteY1" fmla="*/ 565 h 12653"/>
                  <a:gd name="connsiteX2" fmla="*/ 6580 w 7705"/>
                  <a:gd name="connsiteY2" fmla="*/ 223 h 12653"/>
                  <a:gd name="connsiteX3" fmla="*/ 7207 w 7705"/>
                  <a:gd name="connsiteY3" fmla="*/ 565 h 12653"/>
                  <a:gd name="connsiteX4" fmla="*/ 7207 w 7705"/>
                  <a:gd name="connsiteY4" fmla="*/ 1078 h 12653"/>
                  <a:gd name="connsiteX5" fmla="*/ 7663 w 7705"/>
                  <a:gd name="connsiteY5" fmla="*/ 4156 h 12653"/>
                  <a:gd name="connsiteX6" fmla="*/ 7663 w 7705"/>
                  <a:gd name="connsiteY6" fmla="*/ 5353 h 12653"/>
                  <a:gd name="connsiteX7" fmla="*/ 6067 w 7705"/>
                  <a:gd name="connsiteY7" fmla="*/ 7917 h 12653"/>
                  <a:gd name="connsiteX8" fmla="*/ 6067 w 7705"/>
                  <a:gd name="connsiteY8" fmla="*/ 8829 h 12653"/>
                  <a:gd name="connsiteX9" fmla="*/ 2254 w 7705"/>
                  <a:gd name="connsiteY9" fmla="*/ 12654 h 12653"/>
                  <a:gd name="connsiteX10" fmla="*/ 2021 w 7705"/>
                  <a:gd name="connsiteY10" fmla="*/ 12648 h 12653"/>
                  <a:gd name="connsiteX11" fmla="*/ 824 w 7705"/>
                  <a:gd name="connsiteY11" fmla="*/ 12078 h 12653"/>
                  <a:gd name="connsiteX12" fmla="*/ 824 w 7705"/>
                  <a:gd name="connsiteY12" fmla="*/ 9171 h 12653"/>
                  <a:gd name="connsiteX13" fmla="*/ 368 w 7705"/>
                  <a:gd name="connsiteY13" fmla="*/ 7746 h 12653"/>
                  <a:gd name="connsiteX14" fmla="*/ 1565 w 7705"/>
                  <a:gd name="connsiteY14" fmla="*/ 1363 h 1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 h="12653">
                    <a:moveTo>
                      <a:pt x="1565" y="1363"/>
                    </a:moveTo>
                    <a:cubicBezTo>
                      <a:pt x="1850" y="1055"/>
                      <a:pt x="2175" y="782"/>
                      <a:pt x="2534" y="565"/>
                    </a:cubicBezTo>
                    <a:cubicBezTo>
                      <a:pt x="3793" y="-45"/>
                      <a:pt x="5235" y="-164"/>
                      <a:pt x="6580" y="223"/>
                    </a:cubicBezTo>
                    <a:cubicBezTo>
                      <a:pt x="6825" y="252"/>
                      <a:pt x="7048" y="377"/>
                      <a:pt x="7207" y="565"/>
                    </a:cubicBezTo>
                    <a:cubicBezTo>
                      <a:pt x="7264" y="730"/>
                      <a:pt x="7264" y="913"/>
                      <a:pt x="7207" y="1078"/>
                    </a:cubicBezTo>
                    <a:cubicBezTo>
                      <a:pt x="7207" y="2104"/>
                      <a:pt x="7549" y="3130"/>
                      <a:pt x="7663" y="4156"/>
                    </a:cubicBezTo>
                    <a:cubicBezTo>
                      <a:pt x="7720" y="4555"/>
                      <a:pt x="7720" y="4954"/>
                      <a:pt x="7663" y="5353"/>
                    </a:cubicBezTo>
                    <a:cubicBezTo>
                      <a:pt x="7663" y="6322"/>
                      <a:pt x="6238" y="6949"/>
                      <a:pt x="6067" y="7917"/>
                    </a:cubicBezTo>
                    <a:cubicBezTo>
                      <a:pt x="6039" y="8219"/>
                      <a:pt x="6039" y="8527"/>
                      <a:pt x="6067" y="8829"/>
                    </a:cubicBezTo>
                    <a:cubicBezTo>
                      <a:pt x="6073" y="10938"/>
                      <a:pt x="4363" y="12654"/>
                      <a:pt x="2254" y="12654"/>
                    </a:cubicBezTo>
                    <a:cubicBezTo>
                      <a:pt x="2175" y="12654"/>
                      <a:pt x="2101" y="12654"/>
                      <a:pt x="2021" y="12648"/>
                    </a:cubicBezTo>
                    <a:cubicBezTo>
                      <a:pt x="1565" y="12614"/>
                      <a:pt x="1137" y="12414"/>
                      <a:pt x="824" y="12078"/>
                    </a:cubicBezTo>
                    <a:cubicBezTo>
                      <a:pt x="140" y="11337"/>
                      <a:pt x="824" y="10140"/>
                      <a:pt x="824" y="9171"/>
                    </a:cubicBezTo>
                    <a:cubicBezTo>
                      <a:pt x="733" y="8681"/>
                      <a:pt x="585" y="8197"/>
                      <a:pt x="368" y="7746"/>
                    </a:cubicBezTo>
                    <a:cubicBezTo>
                      <a:pt x="-402" y="5558"/>
                      <a:pt x="54" y="3124"/>
                      <a:pt x="1565" y="136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3" name="Freihandform: Form 697">
                <a:extLst>
                  <a:ext uri="{FF2B5EF4-FFF2-40B4-BE49-F238E27FC236}">
                    <a16:creationId xmlns:a16="http://schemas.microsoft.com/office/drawing/2014/main" id="{01C02C84-84ED-40F8-F208-E1D4D890515C}"/>
                  </a:ext>
                </a:extLst>
              </p:cNvPr>
              <p:cNvSpPr/>
              <p:nvPr/>
            </p:nvSpPr>
            <p:spPr>
              <a:xfrm>
                <a:off x="4516781" y="3468028"/>
                <a:ext cx="457913" cy="404851"/>
              </a:xfrm>
              <a:custGeom>
                <a:avLst/>
                <a:gdLst>
                  <a:gd name="connsiteX0" fmla="*/ 297624 w 457913"/>
                  <a:gd name="connsiteY0" fmla="*/ 92748 h 404851"/>
                  <a:gd name="connsiteX1" fmla="*/ 323500 w 457913"/>
                  <a:gd name="connsiteY1" fmla="*/ 128541 h 404851"/>
                  <a:gd name="connsiteX2" fmla="*/ 333075 w 457913"/>
                  <a:gd name="connsiteY2" fmla="*/ 138686 h 404851"/>
                  <a:gd name="connsiteX3" fmla="*/ 335241 w 457913"/>
                  <a:gd name="connsiteY3" fmla="*/ 160401 h 404851"/>
                  <a:gd name="connsiteX4" fmla="*/ 347837 w 457913"/>
                  <a:gd name="connsiteY4" fmla="*/ 187245 h 404851"/>
                  <a:gd name="connsiteX5" fmla="*/ 348521 w 457913"/>
                  <a:gd name="connsiteY5" fmla="*/ 184396 h 404851"/>
                  <a:gd name="connsiteX6" fmla="*/ 352567 w 457913"/>
                  <a:gd name="connsiteY6" fmla="*/ 190836 h 404851"/>
                  <a:gd name="connsiteX7" fmla="*/ 357811 w 457913"/>
                  <a:gd name="connsiteY7" fmla="*/ 193800 h 404851"/>
                  <a:gd name="connsiteX8" fmla="*/ 361630 w 457913"/>
                  <a:gd name="connsiteY8" fmla="*/ 194655 h 404851"/>
                  <a:gd name="connsiteX9" fmla="*/ 369267 w 457913"/>
                  <a:gd name="connsiteY9" fmla="*/ 206054 h 404851"/>
                  <a:gd name="connsiteX10" fmla="*/ 379355 w 457913"/>
                  <a:gd name="connsiteY10" fmla="*/ 208675 h 404851"/>
                  <a:gd name="connsiteX11" fmla="*/ 377759 w 457913"/>
                  <a:gd name="connsiteY11" fmla="*/ 214888 h 404851"/>
                  <a:gd name="connsiteX12" fmla="*/ 377360 w 457913"/>
                  <a:gd name="connsiteY12" fmla="*/ 220929 h 404851"/>
                  <a:gd name="connsiteX13" fmla="*/ 384656 w 457913"/>
                  <a:gd name="connsiteY13" fmla="*/ 232841 h 404851"/>
                  <a:gd name="connsiteX14" fmla="*/ 394972 w 457913"/>
                  <a:gd name="connsiteY14" fmla="*/ 236261 h 404851"/>
                  <a:gd name="connsiteX15" fmla="*/ 398733 w 457913"/>
                  <a:gd name="connsiteY15" fmla="*/ 241163 h 404851"/>
                  <a:gd name="connsiteX16" fmla="*/ 407909 w 457913"/>
                  <a:gd name="connsiteY16" fmla="*/ 243613 h 404851"/>
                  <a:gd name="connsiteX17" fmla="*/ 442733 w 457913"/>
                  <a:gd name="connsiteY17" fmla="*/ 241276 h 404851"/>
                  <a:gd name="connsiteX18" fmla="*/ 445697 w 457913"/>
                  <a:gd name="connsiteY18" fmla="*/ 240479 h 404851"/>
                  <a:gd name="connsiteX19" fmla="*/ 446894 w 457913"/>
                  <a:gd name="connsiteY19" fmla="*/ 241732 h 404851"/>
                  <a:gd name="connsiteX20" fmla="*/ 456355 w 457913"/>
                  <a:gd name="connsiteY20" fmla="*/ 251650 h 404851"/>
                  <a:gd name="connsiteX21" fmla="*/ 456640 w 457913"/>
                  <a:gd name="connsiteY21" fmla="*/ 267836 h 404851"/>
                  <a:gd name="connsiteX22" fmla="*/ 447350 w 457913"/>
                  <a:gd name="connsiteY22" fmla="*/ 296675 h 404851"/>
                  <a:gd name="connsiteX23" fmla="*/ 432816 w 457913"/>
                  <a:gd name="connsiteY23" fmla="*/ 310924 h 404851"/>
                  <a:gd name="connsiteX24" fmla="*/ 425977 w 457913"/>
                  <a:gd name="connsiteY24" fmla="*/ 310924 h 404851"/>
                  <a:gd name="connsiteX25" fmla="*/ 422785 w 457913"/>
                  <a:gd name="connsiteY25" fmla="*/ 313432 h 404851"/>
                  <a:gd name="connsiteX26" fmla="*/ 400557 w 457913"/>
                  <a:gd name="connsiteY26" fmla="*/ 320271 h 404851"/>
                  <a:gd name="connsiteX27" fmla="*/ 397878 w 457913"/>
                  <a:gd name="connsiteY27" fmla="*/ 321582 h 404851"/>
                  <a:gd name="connsiteX28" fmla="*/ 396282 w 457913"/>
                  <a:gd name="connsiteY28" fmla="*/ 324090 h 404851"/>
                  <a:gd name="connsiteX29" fmla="*/ 381920 w 457913"/>
                  <a:gd name="connsiteY29" fmla="*/ 331043 h 404851"/>
                  <a:gd name="connsiteX30" fmla="*/ 376562 w 457913"/>
                  <a:gd name="connsiteY30" fmla="*/ 333779 h 404851"/>
                  <a:gd name="connsiteX31" fmla="*/ 374796 w 457913"/>
                  <a:gd name="connsiteY31" fmla="*/ 336914 h 404851"/>
                  <a:gd name="connsiteX32" fmla="*/ 374510 w 457913"/>
                  <a:gd name="connsiteY32" fmla="*/ 337484 h 404851"/>
                  <a:gd name="connsiteX33" fmla="*/ 369552 w 457913"/>
                  <a:gd name="connsiteY33" fmla="*/ 336629 h 404851"/>
                  <a:gd name="connsiteX34" fmla="*/ 302355 w 457913"/>
                  <a:gd name="connsiteY34" fmla="*/ 348940 h 404851"/>
                  <a:gd name="connsiteX35" fmla="*/ 292951 w 457913"/>
                  <a:gd name="connsiteY35" fmla="*/ 356292 h 404851"/>
                  <a:gd name="connsiteX36" fmla="*/ 281552 w 457913"/>
                  <a:gd name="connsiteY36" fmla="*/ 363131 h 404851"/>
                  <a:gd name="connsiteX37" fmla="*/ 280412 w 457913"/>
                  <a:gd name="connsiteY37" fmla="*/ 368831 h 404851"/>
                  <a:gd name="connsiteX38" fmla="*/ 270780 w 457913"/>
                  <a:gd name="connsiteY38" fmla="*/ 378634 h 404851"/>
                  <a:gd name="connsiteX39" fmla="*/ 256702 w 457913"/>
                  <a:gd name="connsiteY39" fmla="*/ 380344 h 404851"/>
                  <a:gd name="connsiteX40" fmla="*/ 236469 w 457913"/>
                  <a:gd name="connsiteY40" fmla="*/ 376525 h 404851"/>
                  <a:gd name="connsiteX41" fmla="*/ 231112 w 457913"/>
                  <a:gd name="connsiteY41" fmla="*/ 373048 h 404851"/>
                  <a:gd name="connsiteX42" fmla="*/ 226495 w 457913"/>
                  <a:gd name="connsiteY42" fmla="*/ 372250 h 404851"/>
                  <a:gd name="connsiteX43" fmla="*/ 196003 w 457913"/>
                  <a:gd name="connsiteY43" fmla="*/ 370198 h 404851"/>
                  <a:gd name="connsiteX44" fmla="*/ 185174 w 457913"/>
                  <a:gd name="connsiteY44" fmla="*/ 371281 h 404851"/>
                  <a:gd name="connsiteX45" fmla="*/ 176340 w 457913"/>
                  <a:gd name="connsiteY45" fmla="*/ 386157 h 404851"/>
                  <a:gd name="connsiteX46" fmla="*/ 172863 w 457913"/>
                  <a:gd name="connsiteY46" fmla="*/ 403711 h 404851"/>
                  <a:gd name="connsiteX47" fmla="*/ 172065 w 457913"/>
                  <a:gd name="connsiteY47" fmla="*/ 404851 h 404851"/>
                  <a:gd name="connsiteX48" fmla="*/ 165454 w 457913"/>
                  <a:gd name="connsiteY48" fmla="*/ 376069 h 404851"/>
                  <a:gd name="connsiteX49" fmla="*/ 159754 w 457913"/>
                  <a:gd name="connsiteY49" fmla="*/ 360851 h 404851"/>
                  <a:gd name="connsiteX50" fmla="*/ 144879 w 457913"/>
                  <a:gd name="connsiteY50" fmla="*/ 347401 h 404851"/>
                  <a:gd name="connsiteX51" fmla="*/ 133480 w 457913"/>
                  <a:gd name="connsiteY51" fmla="*/ 314230 h 404851"/>
                  <a:gd name="connsiteX52" fmla="*/ 111594 w 457913"/>
                  <a:gd name="connsiteY52" fmla="*/ 297986 h 404851"/>
                  <a:gd name="connsiteX53" fmla="*/ 96034 w 457913"/>
                  <a:gd name="connsiteY53" fmla="*/ 248971 h 404851"/>
                  <a:gd name="connsiteX54" fmla="*/ 44169 w 457913"/>
                  <a:gd name="connsiteY54" fmla="*/ 165416 h 404851"/>
                  <a:gd name="connsiteX55" fmla="*/ 34993 w 457913"/>
                  <a:gd name="connsiteY55" fmla="*/ 142049 h 404851"/>
                  <a:gd name="connsiteX56" fmla="*/ 21770 w 457913"/>
                  <a:gd name="connsiteY56" fmla="*/ 126717 h 404851"/>
                  <a:gd name="connsiteX57" fmla="*/ 112 w 457913"/>
                  <a:gd name="connsiteY57" fmla="*/ 64365 h 404851"/>
                  <a:gd name="connsiteX58" fmla="*/ 15159 w 457913"/>
                  <a:gd name="connsiteY58" fmla="*/ 69437 h 404851"/>
                  <a:gd name="connsiteX59" fmla="*/ 19661 w 457913"/>
                  <a:gd name="connsiteY59" fmla="*/ 71033 h 404851"/>
                  <a:gd name="connsiteX60" fmla="*/ 20630 w 457913"/>
                  <a:gd name="connsiteY60" fmla="*/ 76163 h 404851"/>
                  <a:gd name="connsiteX61" fmla="*/ 30832 w 457913"/>
                  <a:gd name="connsiteY61" fmla="*/ 73883 h 404851"/>
                  <a:gd name="connsiteX62" fmla="*/ 32542 w 457913"/>
                  <a:gd name="connsiteY62" fmla="*/ 63567 h 404851"/>
                  <a:gd name="connsiteX63" fmla="*/ 42573 w 457913"/>
                  <a:gd name="connsiteY63" fmla="*/ 59121 h 404851"/>
                  <a:gd name="connsiteX64" fmla="*/ 42573 w 457913"/>
                  <a:gd name="connsiteY64" fmla="*/ 54049 h 404851"/>
                  <a:gd name="connsiteX65" fmla="*/ 51179 w 457913"/>
                  <a:gd name="connsiteY65" fmla="*/ 50686 h 404851"/>
                  <a:gd name="connsiteX66" fmla="*/ 63490 w 457913"/>
                  <a:gd name="connsiteY66" fmla="*/ 45841 h 404851"/>
                  <a:gd name="connsiteX67" fmla="*/ 65656 w 457913"/>
                  <a:gd name="connsiteY67" fmla="*/ 33360 h 404851"/>
                  <a:gd name="connsiteX68" fmla="*/ 49640 w 457913"/>
                  <a:gd name="connsiteY68" fmla="*/ 19225 h 404851"/>
                  <a:gd name="connsiteX69" fmla="*/ 59501 w 457913"/>
                  <a:gd name="connsiteY69" fmla="*/ 11930 h 404851"/>
                  <a:gd name="connsiteX70" fmla="*/ 67138 w 457913"/>
                  <a:gd name="connsiteY70" fmla="*/ 5090 h 404851"/>
                  <a:gd name="connsiteX71" fmla="*/ 78537 w 457913"/>
                  <a:gd name="connsiteY71" fmla="*/ 5090 h 404851"/>
                  <a:gd name="connsiteX72" fmla="*/ 86459 w 457913"/>
                  <a:gd name="connsiteY72" fmla="*/ 3210 h 404851"/>
                  <a:gd name="connsiteX73" fmla="*/ 123050 w 457913"/>
                  <a:gd name="connsiteY73" fmla="*/ 1158 h 404851"/>
                  <a:gd name="connsiteX74" fmla="*/ 130345 w 457913"/>
                  <a:gd name="connsiteY74" fmla="*/ 5033 h 404851"/>
                  <a:gd name="connsiteX75" fmla="*/ 132169 w 457913"/>
                  <a:gd name="connsiteY75" fmla="*/ 9764 h 404851"/>
                  <a:gd name="connsiteX76" fmla="*/ 140319 w 457913"/>
                  <a:gd name="connsiteY76" fmla="*/ 13582 h 404851"/>
                  <a:gd name="connsiteX77" fmla="*/ 144708 w 457913"/>
                  <a:gd name="connsiteY77" fmla="*/ 19567 h 404851"/>
                  <a:gd name="connsiteX78" fmla="*/ 156107 w 457913"/>
                  <a:gd name="connsiteY78" fmla="*/ 24696 h 404851"/>
                  <a:gd name="connsiteX79" fmla="*/ 161008 w 457913"/>
                  <a:gd name="connsiteY79" fmla="*/ 31935 h 404851"/>
                  <a:gd name="connsiteX80" fmla="*/ 172863 w 457913"/>
                  <a:gd name="connsiteY80" fmla="*/ 38033 h 404851"/>
                  <a:gd name="connsiteX81" fmla="*/ 182951 w 457913"/>
                  <a:gd name="connsiteY81" fmla="*/ 50116 h 404851"/>
                  <a:gd name="connsiteX82" fmla="*/ 199251 w 457913"/>
                  <a:gd name="connsiteY82" fmla="*/ 59064 h 404851"/>
                  <a:gd name="connsiteX83" fmla="*/ 200848 w 457913"/>
                  <a:gd name="connsiteY83" fmla="*/ 63795 h 404851"/>
                  <a:gd name="connsiteX84" fmla="*/ 212246 w 457913"/>
                  <a:gd name="connsiteY84" fmla="*/ 67784 h 404851"/>
                  <a:gd name="connsiteX85" fmla="*/ 216920 w 457913"/>
                  <a:gd name="connsiteY85" fmla="*/ 72800 h 404851"/>
                  <a:gd name="connsiteX86" fmla="*/ 224101 w 457913"/>
                  <a:gd name="connsiteY86" fmla="*/ 76505 h 404851"/>
                  <a:gd name="connsiteX87" fmla="*/ 259894 w 457913"/>
                  <a:gd name="connsiteY87" fmla="*/ 79696 h 404851"/>
                  <a:gd name="connsiteX88" fmla="*/ 276992 w 457913"/>
                  <a:gd name="connsiteY88" fmla="*/ 81406 h 404851"/>
                  <a:gd name="connsiteX89" fmla="*/ 283547 w 457913"/>
                  <a:gd name="connsiteY89" fmla="*/ 89443 h 404851"/>
                  <a:gd name="connsiteX90" fmla="*/ 297624 w 457913"/>
                  <a:gd name="connsiteY90" fmla="*/ 92748 h 40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57913" h="404851">
                    <a:moveTo>
                      <a:pt x="297624" y="92748"/>
                    </a:moveTo>
                    <a:cubicBezTo>
                      <a:pt x="303410" y="106495"/>
                      <a:pt x="312261" y="118738"/>
                      <a:pt x="323500" y="128541"/>
                    </a:cubicBezTo>
                    <a:cubicBezTo>
                      <a:pt x="327324" y="131265"/>
                      <a:pt x="330573" y="134713"/>
                      <a:pt x="333075" y="138686"/>
                    </a:cubicBezTo>
                    <a:cubicBezTo>
                      <a:pt x="336495" y="145240"/>
                      <a:pt x="334899" y="153049"/>
                      <a:pt x="335241" y="160401"/>
                    </a:cubicBezTo>
                    <a:cubicBezTo>
                      <a:pt x="335834" y="170637"/>
                      <a:pt x="340348" y="180246"/>
                      <a:pt x="347837" y="187245"/>
                    </a:cubicBezTo>
                    <a:cubicBezTo>
                      <a:pt x="347837" y="186277"/>
                      <a:pt x="348293" y="185308"/>
                      <a:pt x="348521" y="184396"/>
                    </a:cubicBezTo>
                    <a:cubicBezTo>
                      <a:pt x="349387" y="186812"/>
                      <a:pt x="350767" y="189007"/>
                      <a:pt x="352567" y="190836"/>
                    </a:cubicBezTo>
                    <a:cubicBezTo>
                      <a:pt x="354106" y="192158"/>
                      <a:pt x="355885" y="193167"/>
                      <a:pt x="357811" y="193800"/>
                    </a:cubicBezTo>
                    <a:cubicBezTo>
                      <a:pt x="359065" y="194165"/>
                      <a:pt x="360342" y="194450"/>
                      <a:pt x="361630" y="194655"/>
                    </a:cubicBezTo>
                    <a:cubicBezTo>
                      <a:pt x="362342" y="199403"/>
                      <a:pt x="365146" y="203586"/>
                      <a:pt x="369267" y="206054"/>
                    </a:cubicBezTo>
                    <a:cubicBezTo>
                      <a:pt x="372419" y="207604"/>
                      <a:pt x="375850" y="208493"/>
                      <a:pt x="379355" y="208675"/>
                    </a:cubicBezTo>
                    <a:lnTo>
                      <a:pt x="377759" y="214888"/>
                    </a:lnTo>
                    <a:cubicBezTo>
                      <a:pt x="377064" y="216826"/>
                      <a:pt x="376927" y="218917"/>
                      <a:pt x="377360" y="220929"/>
                    </a:cubicBezTo>
                    <a:cubicBezTo>
                      <a:pt x="378842" y="225546"/>
                      <a:pt x="386251" y="228225"/>
                      <a:pt x="384656" y="232841"/>
                    </a:cubicBezTo>
                    <a:cubicBezTo>
                      <a:pt x="388463" y="232009"/>
                      <a:pt x="392418" y="233320"/>
                      <a:pt x="394972" y="236261"/>
                    </a:cubicBezTo>
                    <a:cubicBezTo>
                      <a:pt x="396129" y="237965"/>
                      <a:pt x="397388" y="239601"/>
                      <a:pt x="398733" y="241163"/>
                    </a:cubicBezTo>
                    <a:cubicBezTo>
                      <a:pt x="401418" y="243015"/>
                      <a:pt x="404661" y="243881"/>
                      <a:pt x="407909" y="243613"/>
                    </a:cubicBezTo>
                    <a:cubicBezTo>
                      <a:pt x="419570" y="244440"/>
                      <a:pt x="431289" y="243653"/>
                      <a:pt x="442733" y="241276"/>
                    </a:cubicBezTo>
                    <a:lnTo>
                      <a:pt x="445697" y="240479"/>
                    </a:lnTo>
                    <a:lnTo>
                      <a:pt x="446894" y="241732"/>
                    </a:lnTo>
                    <a:cubicBezTo>
                      <a:pt x="450541" y="244531"/>
                      <a:pt x="453733" y="247876"/>
                      <a:pt x="456355" y="251650"/>
                    </a:cubicBezTo>
                    <a:cubicBezTo>
                      <a:pt x="458333" y="256847"/>
                      <a:pt x="458429" y="262570"/>
                      <a:pt x="456640" y="267836"/>
                    </a:cubicBezTo>
                    <a:cubicBezTo>
                      <a:pt x="454349" y="277690"/>
                      <a:pt x="451237" y="287334"/>
                      <a:pt x="447350" y="296675"/>
                    </a:cubicBezTo>
                    <a:cubicBezTo>
                      <a:pt x="444614" y="303344"/>
                      <a:pt x="440054" y="310810"/>
                      <a:pt x="432816" y="310924"/>
                    </a:cubicBezTo>
                    <a:cubicBezTo>
                      <a:pt x="430559" y="310462"/>
                      <a:pt x="428234" y="310462"/>
                      <a:pt x="425977" y="310924"/>
                    </a:cubicBezTo>
                    <a:cubicBezTo>
                      <a:pt x="424791" y="311597"/>
                      <a:pt x="423714" y="312440"/>
                      <a:pt x="422785" y="313432"/>
                    </a:cubicBezTo>
                    <a:cubicBezTo>
                      <a:pt x="417086" y="318675"/>
                      <a:pt x="408137" y="318162"/>
                      <a:pt x="400557" y="320271"/>
                    </a:cubicBezTo>
                    <a:cubicBezTo>
                      <a:pt x="399566" y="320465"/>
                      <a:pt x="398636" y="320915"/>
                      <a:pt x="397878" y="321582"/>
                    </a:cubicBezTo>
                    <a:cubicBezTo>
                      <a:pt x="397229" y="322340"/>
                      <a:pt x="396693" y="323184"/>
                      <a:pt x="396282" y="324090"/>
                    </a:cubicBezTo>
                    <a:cubicBezTo>
                      <a:pt x="393547" y="328820"/>
                      <a:pt x="387220" y="329789"/>
                      <a:pt x="381920" y="331043"/>
                    </a:cubicBezTo>
                    <a:cubicBezTo>
                      <a:pt x="379902" y="331397"/>
                      <a:pt x="378033" y="332354"/>
                      <a:pt x="376562" y="333779"/>
                    </a:cubicBezTo>
                    <a:cubicBezTo>
                      <a:pt x="375810" y="334725"/>
                      <a:pt x="375217" y="335779"/>
                      <a:pt x="374796" y="336914"/>
                    </a:cubicBezTo>
                    <a:cubicBezTo>
                      <a:pt x="374676" y="337090"/>
                      <a:pt x="374584" y="337284"/>
                      <a:pt x="374510" y="337484"/>
                    </a:cubicBezTo>
                    <a:cubicBezTo>
                      <a:pt x="372886" y="337056"/>
                      <a:pt x="371227" y="336771"/>
                      <a:pt x="369552" y="336629"/>
                    </a:cubicBezTo>
                    <a:cubicBezTo>
                      <a:pt x="346184" y="334805"/>
                      <a:pt x="320137" y="333779"/>
                      <a:pt x="302355" y="348940"/>
                    </a:cubicBezTo>
                    <a:cubicBezTo>
                      <a:pt x="299551" y="351789"/>
                      <a:pt x="296393" y="354257"/>
                      <a:pt x="292951" y="356292"/>
                    </a:cubicBezTo>
                    <a:cubicBezTo>
                      <a:pt x="288790" y="358344"/>
                      <a:pt x="283262" y="358914"/>
                      <a:pt x="281552" y="363131"/>
                    </a:cubicBezTo>
                    <a:cubicBezTo>
                      <a:pt x="280959" y="364984"/>
                      <a:pt x="280578" y="366893"/>
                      <a:pt x="280412" y="368831"/>
                    </a:cubicBezTo>
                    <a:cubicBezTo>
                      <a:pt x="279044" y="373504"/>
                      <a:pt x="275431" y="377186"/>
                      <a:pt x="270780" y="378634"/>
                    </a:cubicBezTo>
                    <a:cubicBezTo>
                      <a:pt x="266215" y="379973"/>
                      <a:pt x="261456" y="380555"/>
                      <a:pt x="256702" y="380344"/>
                    </a:cubicBezTo>
                    <a:cubicBezTo>
                      <a:pt x="249726" y="381142"/>
                      <a:pt x="242676" y="379808"/>
                      <a:pt x="236469" y="376525"/>
                    </a:cubicBezTo>
                    <a:cubicBezTo>
                      <a:pt x="234828" y="375157"/>
                      <a:pt x="233027" y="373989"/>
                      <a:pt x="231112" y="373048"/>
                    </a:cubicBezTo>
                    <a:cubicBezTo>
                      <a:pt x="229618" y="372558"/>
                      <a:pt x="228063" y="372290"/>
                      <a:pt x="226495" y="372250"/>
                    </a:cubicBezTo>
                    <a:lnTo>
                      <a:pt x="196003" y="370198"/>
                    </a:lnTo>
                    <a:cubicBezTo>
                      <a:pt x="192361" y="369657"/>
                      <a:pt x="188639" y="370033"/>
                      <a:pt x="185174" y="371281"/>
                    </a:cubicBezTo>
                    <a:cubicBezTo>
                      <a:pt x="179965" y="374490"/>
                      <a:pt x="176665" y="380047"/>
                      <a:pt x="176340" y="386157"/>
                    </a:cubicBezTo>
                    <a:cubicBezTo>
                      <a:pt x="176061" y="392147"/>
                      <a:pt x="174886" y="398063"/>
                      <a:pt x="172863" y="403711"/>
                    </a:cubicBezTo>
                    <a:cubicBezTo>
                      <a:pt x="172863" y="404110"/>
                      <a:pt x="172293" y="404452"/>
                      <a:pt x="172065" y="404851"/>
                    </a:cubicBezTo>
                    <a:cubicBezTo>
                      <a:pt x="169671" y="395105"/>
                      <a:pt x="167335" y="385416"/>
                      <a:pt x="165454" y="376069"/>
                    </a:cubicBezTo>
                    <a:cubicBezTo>
                      <a:pt x="164719" y="370632"/>
                      <a:pt x="162775" y="365434"/>
                      <a:pt x="159754" y="360851"/>
                    </a:cubicBezTo>
                    <a:cubicBezTo>
                      <a:pt x="155708" y="355494"/>
                      <a:pt x="148982" y="352701"/>
                      <a:pt x="144879" y="347401"/>
                    </a:cubicBezTo>
                    <a:cubicBezTo>
                      <a:pt x="137640" y="338054"/>
                      <a:pt x="140319" y="323748"/>
                      <a:pt x="133480" y="314230"/>
                    </a:cubicBezTo>
                    <a:cubicBezTo>
                      <a:pt x="127780" y="306820"/>
                      <a:pt x="118319" y="304142"/>
                      <a:pt x="111594" y="297986"/>
                    </a:cubicBezTo>
                    <a:cubicBezTo>
                      <a:pt x="98770" y="286131"/>
                      <a:pt x="100195" y="265898"/>
                      <a:pt x="96034" y="248971"/>
                    </a:cubicBezTo>
                    <a:cubicBezTo>
                      <a:pt x="87656" y="217054"/>
                      <a:pt x="56138" y="196194"/>
                      <a:pt x="44169" y="165416"/>
                    </a:cubicBezTo>
                    <a:cubicBezTo>
                      <a:pt x="41826" y="157363"/>
                      <a:pt x="38754" y="149543"/>
                      <a:pt x="34993" y="142049"/>
                    </a:cubicBezTo>
                    <a:cubicBezTo>
                      <a:pt x="31037" y="136566"/>
                      <a:pt x="26615" y="131436"/>
                      <a:pt x="21770" y="126717"/>
                    </a:cubicBezTo>
                    <a:cubicBezTo>
                      <a:pt x="6729" y="109533"/>
                      <a:pt x="-1039" y="87174"/>
                      <a:pt x="112" y="64365"/>
                    </a:cubicBezTo>
                    <a:cubicBezTo>
                      <a:pt x="6154" y="63738"/>
                      <a:pt x="12480" y="64365"/>
                      <a:pt x="15159" y="69437"/>
                    </a:cubicBezTo>
                    <a:cubicBezTo>
                      <a:pt x="16846" y="68691"/>
                      <a:pt x="18823" y="69392"/>
                      <a:pt x="19661" y="71033"/>
                    </a:cubicBezTo>
                    <a:cubicBezTo>
                      <a:pt x="20442" y="72623"/>
                      <a:pt x="20778" y="74396"/>
                      <a:pt x="20630" y="76163"/>
                    </a:cubicBezTo>
                    <a:cubicBezTo>
                      <a:pt x="24186" y="77462"/>
                      <a:pt x="28171" y="76567"/>
                      <a:pt x="30832" y="73883"/>
                    </a:cubicBezTo>
                    <a:cubicBezTo>
                      <a:pt x="33397" y="71085"/>
                      <a:pt x="34064" y="67044"/>
                      <a:pt x="32542" y="63567"/>
                    </a:cubicBezTo>
                    <a:cubicBezTo>
                      <a:pt x="36589" y="63567"/>
                      <a:pt x="41832" y="63054"/>
                      <a:pt x="42573" y="59121"/>
                    </a:cubicBezTo>
                    <a:cubicBezTo>
                      <a:pt x="42915" y="57411"/>
                      <a:pt x="42231" y="55645"/>
                      <a:pt x="42573" y="54049"/>
                    </a:cubicBezTo>
                    <a:cubicBezTo>
                      <a:pt x="43599" y="50857"/>
                      <a:pt x="47873" y="50800"/>
                      <a:pt x="51179" y="50686"/>
                    </a:cubicBezTo>
                    <a:cubicBezTo>
                      <a:pt x="55767" y="50789"/>
                      <a:pt x="60202" y="49045"/>
                      <a:pt x="63490" y="45841"/>
                    </a:cubicBezTo>
                    <a:cubicBezTo>
                      <a:pt x="66790" y="42564"/>
                      <a:pt x="67662" y="37560"/>
                      <a:pt x="65656" y="33360"/>
                    </a:cubicBezTo>
                    <a:cubicBezTo>
                      <a:pt x="62065" y="27033"/>
                      <a:pt x="51578" y="26235"/>
                      <a:pt x="49640" y="19225"/>
                    </a:cubicBezTo>
                    <a:cubicBezTo>
                      <a:pt x="48215" y="14038"/>
                      <a:pt x="55340" y="8510"/>
                      <a:pt x="59501" y="11930"/>
                    </a:cubicBezTo>
                    <a:cubicBezTo>
                      <a:pt x="59501" y="8225"/>
                      <a:pt x="63433" y="5603"/>
                      <a:pt x="67138" y="5090"/>
                    </a:cubicBezTo>
                    <a:cubicBezTo>
                      <a:pt x="70843" y="4577"/>
                      <a:pt x="74604" y="5432"/>
                      <a:pt x="78537" y="5090"/>
                    </a:cubicBezTo>
                    <a:cubicBezTo>
                      <a:pt x="81233" y="4714"/>
                      <a:pt x="83883" y="4081"/>
                      <a:pt x="86459" y="3210"/>
                    </a:cubicBezTo>
                    <a:cubicBezTo>
                      <a:pt x="98348" y="-204"/>
                      <a:pt x="110853" y="-906"/>
                      <a:pt x="123050" y="1158"/>
                    </a:cubicBezTo>
                    <a:cubicBezTo>
                      <a:pt x="125939" y="1289"/>
                      <a:pt x="128618" y="2714"/>
                      <a:pt x="130345" y="5033"/>
                    </a:cubicBezTo>
                    <a:cubicBezTo>
                      <a:pt x="131143" y="6515"/>
                      <a:pt x="131143" y="8396"/>
                      <a:pt x="132169" y="9764"/>
                    </a:cubicBezTo>
                    <a:cubicBezTo>
                      <a:pt x="133993" y="12215"/>
                      <a:pt x="137868" y="11759"/>
                      <a:pt x="140319" y="13582"/>
                    </a:cubicBezTo>
                    <a:cubicBezTo>
                      <a:pt x="142770" y="15406"/>
                      <a:pt x="142941" y="17800"/>
                      <a:pt x="144708" y="19567"/>
                    </a:cubicBezTo>
                    <a:cubicBezTo>
                      <a:pt x="147728" y="22531"/>
                      <a:pt x="152972" y="21904"/>
                      <a:pt x="156107" y="24696"/>
                    </a:cubicBezTo>
                    <a:cubicBezTo>
                      <a:pt x="158329" y="26634"/>
                      <a:pt x="159013" y="29769"/>
                      <a:pt x="161008" y="31935"/>
                    </a:cubicBezTo>
                    <a:cubicBezTo>
                      <a:pt x="164029" y="35241"/>
                      <a:pt x="169216" y="35412"/>
                      <a:pt x="172863" y="38033"/>
                    </a:cubicBezTo>
                    <a:cubicBezTo>
                      <a:pt x="176511" y="40655"/>
                      <a:pt x="178563" y="47038"/>
                      <a:pt x="182951" y="50116"/>
                    </a:cubicBezTo>
                    <a:cubicBezTo>
                      <a:pt x="188138" y="53821"/>
                      <a:pt x="196858" y="53137"/>
                      <a:pt x="199251" y="59064"/>
                    </a:cubicBezTo>
                    <a:cubicBezTo>
                      <a:pt x="199628" y="60689"/>
                      <a:pt x="200164" y="62273"/>
                      <a:pt x="200848" y="63795"/>
                    </a:cubicBezTo>
                    <a:cubicBezTo>
                      <a:pt x="203184" y="67272"/>
                      <a:pt x="208770" y="65619"/>
                      <a:pt x="212246" y="67784"/>
                    </a:cubicBezTo>
                    <a:cubicBezTo>
                      <a:pt x="214184" y="68924"/>
                      <a:pt x="215324" y="71147"/>
                      <a:pt x="216920" y="72800"/>
                    </a:cubicBezTo>
                    <a:cubicBezTo>
                      <a:pt x="219000" y="74561"/>
                      <a:pt x="221457" y="75832"/>
                      <a:pt x="224101" y="76505"/>
                    </a:cubicBezTo>
                    <a:cubicBezTo>
                      <a:pt x="235649" y="80204"/>
                      <a:pt x="247874" y="81298"/>
                      <a:pt x="259894" y="79696"/>
                    </a:cubicBezTo>
                    <a:cubicBezTo>
                      <a:pt x="265593" y="78955"/>
                      <a:pt x="272205" y="77759"/>
                      <a:pt x="276992" y="81406"/>
                    </a:cubicBezTo>
                    <a:cubicBezTo>
                      <a:pt x="279671" y="83629"/>
                      <a:pt x="280982" y="87106"/>
                      <a:pt x="283547" y="89443"/>
                    </a:cubicBezTo>
                    <a:cubicBezTo>
                      <a:pt x="287576" y="92458"/>
                      <a:pt x="292677" y="93654"/>
                      <a:pt x="297624" y="9274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4" name="Freihandform: Form 698">
                <a:extLst>
                  <a:ext uri="{FF2B5EF4-FFF2-40B4-BE49-F238E27FC236}">
                    <a16:creationId xmlns:a16="http://schemas.microsoft.com/office/drawing/2014/main" id="{030BDE8F-490D-190C-1090-37163B52F31D}"/>
                  </a:ext>
                </a:extLst>
              </p:cNvPr>
              <p:cNvSpPr/>
              <p:nvPr/>
            </p:nvSpPr>
            <p:spPr>
              <a:xfrm>
                <a:off x="4781178" y="3513737"/>
                <a:ext cx="33227" cy="47379"/>
              </a:xfrm>
              <a:custGeom>
                <a:avLst/>
                <a:gdLst>
                  <a:gd name="connsiteX0" fmla="*/ 28782 w 33227"/>
                  <a:gd name="connsiteY0" fmla="*/ 6003 h 47379"/>
                  <a:gd name="connsiteX1" fmla="*/ 29238 w 33227"/>
                  <a:gd name="connsiteY1" fmla="*/ 6573 h 47379"/>
                  <a:gd name="connsiteX2" fmla="*/ 27357 w 33227"/>
                  <a:gd name="connsiteY2" fmla="*/ 10221 h 47379"/>
                  <a:gd name="connsiteX3" fmla="*/ 26958 w 33227"/>
                  <a:gd name="connsiteY3" fmla="*/ 25780 h 47379"/>
                  <a:gd name="connsiteX4" fmla="*/ 33228 w 33227"/>
                  <a:gd name="connsiteY4" fmla="*/ 47039 h 47379"/>
                  <a:gd name="connsiteX5" fmla="*/ 18865 w 33227"/>
                  <a:gd name="connsiteY5" fmla="*/ 43734 h 47379"/>
                  <a:gd name="connsiteX6" fmla="*/ 12311 w 33227"/>
                  <a:gd name="connsiteY6" fmla="*/ 35697 h 47379"/>
                  <a:gd name="connsiteX7" fmla="*/ 0 w 33227"/>
                  <a:gd name="connsiteY7" fmla="*/ 33417 h 47379"/>
                  <a:gd name="connsiteX8" fmla="*/ 1026 w 33227"/>
                  <a:gd name="connsiteY8" fmla="*/ 23159 h 47379"/>
                  <a:gd name="connsiteX9" fmla="*/ 1026 w 33227"/>
                  <a:gd name="connsiteY9" fmla="*/ 17459 h 47379"/>
                  <a:gd name="connsiteX10" fmla="*/ 3078 w 33227"/>
                  <a:gd name="connsiteY10" fmla="*/ 14723 h 47379"/>
                  <a:gd name="connsiteX11" fmla="*/ 12482 w 33227"/>
                  <a:gd name="connsiteY11" fmla="*/ 988 h 47379"/>
                  <a:gd name="connsiteX12" fmla="*/ 28782 w 33227"/>
                  <a:gd name="connsiteY12" fmla="*/ 6003 h 47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227" h="47379">
                    <a:moveTo>
                      <a:pt x="28782" y="6003"/>
                    </a:moveTo>
                    <a:lnTo>
                      <a:pt x="29238" y="6573"/>
                    </a:lnTo>
                    <a:cubicBezTo>
                      <a:pt x="28474" y="7713"/>
                      <a:pt x="27848" y="8938"/>
                      <a:pt x="27357" y="10221"/>
                    </a:cubicBezTo>
                    <a:cubicBezTo>
                      <a:pt x="25915" y="15293"/>
                      <a:pt x="25778" y="20645"/>
                      <a:pt x="26958" y="25780"/>
                    </a:cubicBezTo>
                    <a:cubicBezTo>
                      <a:pt x="28218" y="33087"/>
                      <a:pt x="30321" y="40217"/>
                      <a:pt x="33228" y="47039"/>
                    </a:cubicBezTo>
                    <a:cubicBezTo>
                      <a:pt x="28190" y="48031"/>
                      <a:pt x="22963" y="46829"/>
                      <a:pt x="18865" y="43734"/>
                    </a:cubicBezTo>
                    <a:cubicBezTo>
                      <a:pt x="16300" y="41397"/>
                      <a:pt x="14989" y="38034"/>
                      <a:pt x="12311" y="35697"/>
                    </a:cubicBezTo>
                    <a:cubicBezTo>
                      <a:pt x="8674" y="33326"/>
                      <a:pt x="4246" y="32511"/>
                      <a:pt x="0" y="33417"/>
                    </a:cubicBezTo>
                    <a:cubicBezTo>
                      <a:pt x="764" y="30055"/>
                      <a:pt x="1106" y="26607"/>
                      <a:pt x="1026" y="23159"/>
                    </a:cubicBezTo>
                    <a:cubicBezTo>
                      <a:pt x="541" y="21289"/>
                      <a:pt x="541" y="19328"/>
                      <a:pt x="1026" y="17459"/>
                    </a:cubicBezTo>
                    <a:cubicBezTo>
                      <a:pt x="1613" y="16479"/>
                      <a:pt x="2303" y="15561"/>
                      <a:pt x="3078" y="14723"/>
                    </a:cubicBezTo>
                    <a:cubicBezTo>
                      <a:pt x="6611" y="10335"/>
                      <a:pt x="7580" y="3723"/>
                      <a:pt x="12482" y="988"/>
                    </a:cubicBezTo>
                    <a:cubicBezTo>
                      <a:pt x="17383" y="-1748"/>
                      <a:pt x="24678" y="1615"/>
                      <a:pt x="28782" y="60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5" name="Freihandform: Form 699">
                <a:extLst>
                  <a:ext uri="{FF2B5EF4-FFF2-40B4-BE49-F238E27FC236}">
                    <a16:creationId xmlns:a16="http://schemas.microsoft.com/office/drawing/2014/main" id="{392ACAB7-9EE6-BDCD-941E-121C4A067B7B}"/>
                  </a:ext>
                </a:extLst>
              </p:cNvPr>
              <p:cNvSpPr/>
              <p:nvPr/>
            </p:nvSpPr>
            <p:spPr>
              <a:xfrm>
                <a:off x="4500650" y="3463543"/>
                <a:ext cx="30103" cy="67139"/>
              </a:xfrm>
              <a:custGeom>
                <a:avLst/>
                <a:gdLst>
                  <a:gd name="connsiteX0" fmla="*/ 20347 w 30103"/>
                  <a:gd name="connsiteY0" fmla="*/ 55399 h 67139"/>
                  <a:gd name="connsiteX1" fmla="*/ 16300 w 30103"/>
                  <a:gd name="connsiteY1" fmla="*/ 67140 h 67139"/>
                  <a:gd name="connsiteX2" fmla="*/ 18352 w 30103"/>
                  <a:gd name="connsiteY2" fmla="*/ 53632 h 67139"/>
                  <a:gd name="connsiteX3" fmla="*/ 12653 w 30103"/>
                  <a:gd name="connsiteY3" fmla="*/ 52891 h 67139"/>
                  <a:gd name="connsiteX4" fmla="*/ 11741 w 30103"/>
                  <a:gd name="connsiteY4" fmla="*/ 39212 h 67139"/>
                  <a:gd name="connsiteX5" fmla="*/ 11285 w 30103"/>
                  <a:gd name="connsiteY5" fmla="*/ 36420 h 67139"/>
                  <a:gd name="connsiteX6" fmla="*/ 6896 w 30103"/>
                  <a:gd name="connsiteY6" fmla="*/ 33855 h 67139"/>
                  <a:gd name="connsiteX7" fmla="*/ 3249 w 30103"/>
                  <a:gd name="connsiteY7" fmla="*/ 28155 h 67139"/>
                  <a:gd name="connsiteX8" fmla="*/ 0 w 30103"/>
                  <a:gd name="connsiteY8" fmla="*/ 24679 h 67139"/>
                  <a:gd name="connsiteX9" fmla="*/ 2508 w 30103"/>
                  <a:gd name="connsiteY9" fmla="*/ 23197 h 67139"/>
                  <a:gd name="connsiteX10" fmla="*/ 7010 w 30103"/>
                  <a:gd name="connsiteY10" fmla="*/ 4788 h 67139"/>
                  <a:gd name="connsiteX11" fmla="*/ 19264 w 30103"/>
                  <a:gd name="connsiteY11" fmla="*/ 741 h 67139"/>
                  <a:gd name="connsiteX12" fmla="*/ 19264 w 30103"/>
                  <a:gd name="connsiteY12" fmla="*/ 0 h 67139"/>
                  <a:gd name="connsiteX13" fmla="*/ 24337 w 30103"/>
                  <a:gd name="connsiteY13" fmla="*/ 2964 h 67139"/>
                  <a:gd name="connsiteX14" fmla="*/ 28554 w 30103"/>
                  <a:gd name="connsiteY14" fmla="*/ 21658 h 67139"/>
                  <a:gd name="connsiteX15" fmla="*/ 21772 w 30103"/>
                  <a:gd name="connsiteY15" fmla="*/ 34368 h 67139"/>
                  <a:gd name="connsiteX16" fmla="*/ 23368 w 30103"/>
                  <a:gd name="connsiteY16" fmla="*/ 38528 h 67139"/>
                  <a:gd name="connsiteX17" fmla="*/ 20347 w 30103"/>
                  <a:gd name="connsiteY17" fmla="*/ 55399 h 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103" h="67139">
                    <a:moveTo>
                      <a:pt x="20347" y="55399"/>
                    </a:moveTo>
                    <a:cubicBezTo>
                      <a:pt x="18769" y="59229"/>
                      <a:pt x="17418" y="63150"/>
                      <a:pt x="16300" y="67140"/>
                    </a:cubicBezTo>
                    <a:cubicBezTo>
                      <a:pt x="16614" y="62586"/>
                      <a:pt x="17298" y="58072"/>
                      <a:pt x="18352" y="53632"/>
                    </a:cubicBezTo>
                    <a:lnTo>
                      <a:pt x="12653" y="52891"/>
                    </a:lnTo>
                    <a:cubicBezTo>
                      <a:pt x="11895" y="48371"/>
                      <a:pt x="11587" y="43789"/>
                      <a:pt x="11741" y="39212"/>
                    </a:cubicBezTo>
                    <a:cubicBezTo>
                      <a:pt x="11855" y="38255"/>
                      <a:pt x="11701" y="37286"/>
                      <a:pt x="11285" y="36420"/>
                    </a:cubicBezTo>
                    <a:cubicBezTo>
                      <a:pt x="10430" y="34938"/>
                      <a:pt x="8321" y="34824"/>
                      <a:pt x="6896" y="33855"/>
                    </a:cubicBezTo>
                    <a:cubicBezTo>
                      <a:pt x="5472" y="32886"/>
                      <a:pt x="4446" y="30207"/>
                      <a:pt x="3249" y="28155"/>
                    </a:cubicBezTo>
                    <a:cubicBezTo>
                      <a:pt x="2348" y="26839"/>
                      <a:pt x="1254" y="25665"/>
                      <a:pt x="0" y="24679"/>
                    </a:cubicBezTo>
                    <a:cubicBezTo>
                      <a:pt x="866" y="24240"/>
                      <a:pt x="1704" y="23744"/>
                      <a:pt x="2508" y="23197"/>
                    </a:cubicBezTo>
                    <a:cubicBezTo>
                      <a:pt x="8207" y="19150"/>
                      <a:pt x="11456" y="10316"/>
                      <a:pt x="7010" y="4788"/>
                    </a:cubicBezTo>
                    <a:lnTo>
                      <a:pt x="19264" y="741"/>
                    </a:lnTo>
                    <a:cubicBezTo>
                      <a:pt x="19264" y="456"/>
                      <a:pt x="19264" y="228"/>
                      <a:pt x="19264" y="0"/>
                    </a:cubicBezTo>
                    <a:cubicBezTo>
                      <a:pt x="21105" y="707"/>
                      <a:pt x="22815" y="1710"/>
                      <a:pt x="24337" y="2964"/>
                    </a:cubicBezTo>
                    <a:cubicBezTo>
                      <a:pt x="29945" y="7438"/>
                      <a:pt x="31695" y="15206"/>
                      <a:pt x="28554" y="21658"/>
                    </a:cubicBezTo>
                    <a:cubicBezTo>
                      <a:pt x="26047" y="25933"/>
                      <a:pt x="20860" y="29523"/>
                      <a:pt x="21772" y="34368"/>
                    </a:cubicBezTo>
                    <a:cubicBezTo>
                      <a:pt x="22160" y="35804"/>
                      <a:pt x="22695" y="37201"/>
                      <a:pt x="23368" y="38528"/>
                    </a:cubicBezTo>
                    <a:cubicBezTo>
                      <a:pt x="24497" y="44330"/>
                      <a:pt x="23419" y="50349"/>
                      <a:pt x="20347" y="55399"/>
                    </a:cubicBezTo>
                    <a:close/>
                  </a:path>
                </a:pathLst>
              </a:custGeom>
              <a:solidFill>
                <a:srgbClr val="005295"/>
              </a:solidFill>
              <a:ln w="3175" cap="flat">
                <a:solidFill>
                  <a:schemeClr val="accent2"/>
                </a:solidFill>
                <a:prstDash val="solid"/>
                <a:miter/>
              </a:ln>
            </p:spPr>
            <p:txBody>
              <a:bodyPr rtlCol="0" anchor="ctr"/>
              <a:lstStyle/>
              <a:p>
                <a:endParaRPr lang="en-US"/>
              </a:p>
            </p:txBody>
          </p:sp>
          <p:sp>
            <p:nvSpPr>
              <p:cNvPr id="906" name="Freihandform: Form 700">
                <a:extLst>
                  <a:ext uri="{FF2B5EF4-FFF2-40B4-BE49-F238E27FC236}">
                    <a16:creationId xmlns:a16="http://schemas.microsoft.com/office/drawing/2014/main" id="{9D9E8A46-EAFE-8F14-5C7A-3A66FE8EA0BA}"/>
                  </a:ext>
                </a:extLst>
              </p:cNvPr>
              <p:cNvSpPr/>
              <p:nvPr/>
            </p:nvSpPr>
            <p:spPr>
              <a:xfrm>
                <a:off x="4516779" y="3437652"/>
                <a:ext cx="91476" cy="107127"/>
              </a:xfrm>
              <a:custGeom>
                <a:avLst/>
                <a:gdLst>
                  <a:gd name="connsiteX0" fmla="*/ 89596 w 91476"/>
                  <a:gd name="connsiteY0" fmla="*/ 24979 h 107127"/>
                  <a:gd name="connsiteX1" fmla="*/ 91135 w 91476"/>
                  <a:gd name="connsiteY1" fmla="*/ 32503 h 107127"/>
                  <a:gd name="connsiteX2" fmla="*/ 86347 w 91476"/>
                  <a:gd name="connsiteY2" fmla="*/ 33586 h 107127"/>
                  <a:gd name="connsiteX3" fmla="*/ 78425 w 91476"/>
                  <a:gd name="connsiteY3" fmla="*/ 35466 h 107127"/>
                  <a:gd name="connsiteX4" fmla="*/ 67026 w 91476"/>
                  <a:gd name="connsiteY4" fmla="*/ 35466 h 107127"/>
                  <a:gd name="connsiteX5" fmla="*/ 59388 w 91476"/>
                  <a:gd name="connsiteY5" fmla="*/ 42306 h 107127"/>
                  <a:gd name="connsiteX6" fmla="*/ 49528 w 91476"/>
                  <a:gd name="connsiteY6" fmla="*/ 49601 h 107127"/>
                  <a:gd name="connsiteX7" fmla="*/ 65544 w 91476"/>
                  <a:gd name="connsiteY7" fmla="*/ 63736 h 107127"/>
                  <a:gd name="connsiteX8" fmla="*/ 63378 w 91476"/>
                  <a:gd name="connsiteY8" fmla="*/ 76218 h 107127"/>
                  <a:gd name="connsiteX9" fmla="*/ 51067 w 91476"/>
                  <a:gd name="connsiteY9" fmla="*/ 81062 h 107127"/>
                  <a:gd name="connsiteX10" fmla="*/ 42461 w 91476"/>
                  <a:gd name="connsiteY10" fmla="*/ 84425 h 107127"/>
                  <a:gd name="connsiteX11" fmla="*/ 42461 w 91476"/>
                  <a:gd name="connsiteY11" fmla="*/ 89498 h 107127"/>
                  <a:gd name="connsiteX12" fmla="*/ 32430 w 91476"/>
                  <a:gd name="connsiteY12" fmla="*/ 93943 h 107127"/>
                  <a:gd name="connsiteX13" fmla="*/ 30720 w 91476"/>
                  <a:gd name="connsiteY13" fmla="*/ 104259 h 107127"/>
                  <a:gd name="connsiteX14" fmla="*/ 20518 w 91476"/>
                  <a:gd name="connsiteY14" fmla="*/ 106539 h 107127"/>
                  <a:gd name="connsiteX15" fmla="*/ 19549 w 91476"/>
                  <a:gd name="connsiteY15" fmla="*/ 101409 h 107127"/>
                  <a:gd name="connsiteX16" fmla="*/ 15047 w 91476"/>
                  <a:gd name="connsiteY16" fmla="*/ 99814 h 107127"/>
                  <a:gd name="connsiteX17" fmla="*/ 0 w 91476"/>
                  <a:gd name="connsiteY17" fmla="*/ 94741 h 107127"/>
                  <a:gd name="connsiteX18" fmla="*/ 0 w 91476"/>
                  <a:gd name="connsiteY18" fmla="*/ 93031 h 107127"/>
                  <a:gd name="connsiteX19" fmla="*/ 4046 w 91476"/>
                  <a:gd name="connsiteY19" fmla="*/ 81290 h 107127"/>
                  <a:gd name="connsiteX20" fmla="*/ 6953 w 91476"/>
                  <a:gd name="connsiteY20" fmla="*/ 64591 h 107127"/>
                  <a:gd name="connsiteX21" fmla="*/ 5358 w 91476"/>
                  <a:gd name="connsiteY21" fmla="*/ 60430 h 107127"/>
                  <a:gd name="connsiteX22" fmla="*/ 12140 w 91476"/>
                  <a:gd name="connsiteY22" fmla="*/ 47720 h 107127"/>
                  <a:gd name="connsiteX23" fmla="*/ 13565 w 91476"/>
                  <a:gd name="connsiteY23" fmla="*/ 39399 h 107127"/>
                  <a:gd name="connsiteX24" fmla="*/ 15047 w 91476"/>
                  <a:gd name="connsiteY24" fmla="*/ 37860 h 107127"/>
                  <a:gd name="connsiteX25" fmla="*/ 17041 w 91476"/>
                  <a:gd name="connsiteY25" fmla="*/ 29482 h 107127"/>
                  <a:gd name="connsiteX26" fmla="*/ 17611 w 91476"/>
                  <a:gd name="connsiteY26" fmla="*/ 17171 h 107127"/>
                  <a:gd name="connsiteX27" fmla="*/ 18466 w 91476"/>
                  <a:gd name="connsiteY27" fmla="*/ 13638 h 107127"/>
                  <a:gd name="connsiteX28" fmla="*/ 25249 w 91476"/>
                  <a:gd name="connsiteY28" fmla="*/ 13011 h 107127"/>
                  <a:gd name="connsiteX29" fmla="*/ 42347 w 91476"/>
                  <a:gd name="connsiteY29" fmla="*/ 17798 h 107127"/>
                  <a:gd name="connsiteX30" fmla="*/ 56938 w 91476"/>
                  <a:gd name="connsiteY30" fmla="*/ 9420 h 107127"/>
                  <a:gd name="connsiteX31" fmla="*/ 69762 w 91476"/>
                  <a:gd name="connsiteY31" fmla="*/ 5031 h 107127"/>
                  <a:gd name="connsiteX32" fmla="*/ 73409 w 91476"/>
                  <a:gd name="connsiteY32" fmla="*/ 2182 h 107127"/>
                  <a:gd name="connsiteX33" fmla="*/ 89334 w 91476"/>
                  <a:gd name="connsiteY33" fmla="*/ 4695 h 107127"/>
                  <a:gd name="connsiteX34" fmla="*/ 91476 w 91476"/>
                  <a:gd name="connsiteY34" fmla="*/ 10503 h 107127"/>
                  <a:gd name="connsiteX35" fmla="*/ 89596 w 91476"/>
                  <a:gd name="connsiteY35" fmla="*/ 24979 h 107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1476" h="107127">
                    <a:moveTo>
                      <a:pt x="89596" y="24979"/>
                    </a:moveTo>
                    <a:cubicBezTo>
                      <a:pt x="89596" y="27567"/>
                      <a:pt x="90120" y="30126"/>
                      <a:pt x="91135" y="32503"/>
                    </a:cubicBezTo>
                    <a:cubicBezTo>
                      <a:pt x="89539" y="32845"/>
                      <a:pt x="87886" y="33130"/>
                      <a:pt x="86347" y="33586"/>
                    </a:cubicBezTo>
                    <a:cubicBezTo>
                      <a:pt x="83771" y="34458"/>
                      <a:pt x="81120" y="35090"/>
                      <a:pt x="78425" y="35466"/>
                    </a:cubicBezTo>
                    <a:cubicBezTo>
                      <a:pt x="74663" y="35808"/>
                      <a:pt x="70901" y="34954"/>
                      <a:pt x="67026" y="35466"/>
                    </a:cubicBezTo>
                    <a:cubicBezTo>
                      <a:pt x="63150" y="35979"/>
                      <a:pt x="59445" y="38601"/>
                      <a:pt x="59388" y="42306"/>
                    </a:cubicBezTo>
                    <a:cubicBezTo>
                      <a:pt x="55171" y="38886"/>
                      <a:pt x="47989" y="44415"/>
                      <a:pt x="49528" y="49601"/>
                    </a:cubicBezTo>
                    <a:cubicBezTo>
                      <a:pt x="51466" y="56611"/>
                      <a:pt x="61953" y="57409"/>
                      <a:pt x="65544" y="63736"/>
                    </a:cubicBezTo>
                    <a:cubicBezTo>
                      <a:pt x="67550" y="67936"/>
                      <a:pt x="66678" y="72941"/>
                      <a:pt x="63378" y="76218"/>
                    </a:cubicBezTo>
                    <a:cubicBezTo>
                      <a:pt x="60089" y="79421"/>
                      <a:pt x="55655" y="81165"/>
                      <a:pt x="51067" y="81062"/>
                    </a:cubicBezTo>
                    <a:cubicBezTo>
                      <a:pt x="47762" y="81062"/>
                      <a:pt x="43487" y="81062"/>
                      <a:pt x="42461" y="84425"/>
                    </a:cubicBezTo>
                    <a:cubicBezTo>
                      <a:pt x="41948" y="86021"/>
                      <a:pt x="42461" y="87788"/>
                      <a:pt x="42461" y="89498"/>
                    </a:cubicBezTo>
                    <a:cubicBezTo>
                      <a:pt x="41720" y="93430"/>
                      <a:pt x="36762" y="94114"/>
                      <a:pt x="32430" y="93943"/>
                    </a:cubicBezTo>
                    <a:cubicBezTo>
                      <a:pt x="33952" y="97420"/>
                      <a:pt x="33285" y="101461"/>
                      <a:pt x="30720" y="104259"/>
                    </a:cubicBezTo>
                    <a:cubicBezTo>
                      <a:pt x="28058" y="106944"/>
                      <a:pt x="24075" y="107838"/>
                      <a:pt x="20518" y="106539"/>
                    </a:cubicBezTo>
                    <a:cubicBezTo>
                      <a:pt x="20666" y="104772"/>
                      <a:pt x="20336" y="102999"/>
                      <a:pt x="19549" y="101409"/>
                    </a:cubicBezTo>
                    <a:cubicBezTo>
                      <a:pt x="18711" y="99768"/>
                      <a:pt x="16734" y="99067"/>
                      <a:pt x="15047" y="99814"/>
                    </a:cubicBezTo>
                    <a:cubicBezTo>
                      <a:pt x="12368" y="94741"/>
                      <a:pt x="6041" y="94114"/>
                      <a:pt x="0" y="94741"/>
                    </a:cubicBezTo>
                    <a:cubicBezTo>
                      <a:pt x="0" y="94171"/>
                      <a:pt x="0" y="93601"/>
                      <a:pt x="0" y="93031"/>
                    </a:cubicBezTo>
                    <a:cubicBezTo>
                      <a:pt x="1117" y="89041"/>
                      <a:pt x="2468" y="85120"/>
                      <a:pt x="4046" y="81290"/>
                    </a:cubicBezTo>
                    <a:cubicBezTo>
                      <a:pt x="7033" y="76269"/>
                      <a:pt x="8071" y="70324"/>
                      <a:pt x="6953" y="64591"/>
                    </a:cubicBezTo>
                    <a:cubicBezTo>
                      <a:pt x="6281" y="63263"/>
                      <a:pt x="5745" y="61867"/>
                      <a:pt x="5358" y="60430"/>
                    </a:cubicBezTo>
                    <a:cubicBezTo>
                      <a:pt x="4445" y="55586"/>
                      <a:pt x="9632" y="51995"/>
                      <a:pt x="12140" y="47720"/>
                    </a:cubicBezTo>
                    <a:cubicBezTo>
                      <a:pt x="13548" y="45190"/>
                      <a:pt x="14049" y="42255"/>
                      <a:pt x="13565" y="39399"/>
                    </a:cubicBezTo>
                    <a:cubicBezTo>
                      <a:pt x="14129" y="38960"/>
                      <a:pt x="14631" y="38442"/>
                      <a:pt x="15047" y="37860"/>
                    </a:cubicBezTo>
                    <a:cubicBezTo>
                      <a:pt x="16460" y="35301"/>
                      <a:pt x="17150" y="32406"/>
                      <a:pt x="17041" y="29482"/>
                    </a:cubicBezTo>
                    <a:lnTo>
                      <a:pt x="17611" y="17171"/>
                    </a:lnTo>
                    <a:cubicBezTo>
                      <a:pt x="17549" y="15934"/>
                      <a:pt x="17845" y="14709"/>
                      <a:pt x="18466" y="13638"/>
                    </a:cubicBezTo>
                    <a:cubicBezTo>
                      <a:pt x="19948" y="11700"/>
                      <a:pt x="22969" y="12156"/>
                      <a:pt x="25249" y="13011"/>
                    </a:cubicBezTo>
                    <a:cubicBezTo>
                      <a:pt x="30948" y="15176"/>
                      <a:pt x="36648" y="18710"/>
                      <a:pt x="42347" y="17798"/>
                    </a:cubicBezTo>
                    <a:cubicBezTo>
                      <a:pt x="48047" y="16886"/>
                      <a:pt x="51751" y="11700"/>
                      <a:pt x="56938" y="9420"/>
                    </a:cubicBezTo>
                    <a:cubicBezTo>
                      <a:pt x="61320" y="8303"/>
                      <a:pt x="65612" y="6832"/>
                      <a:pt x="69762" y="5031"/>
                    </a:cubicBezTo>
                    <a:cubicBezTo>
                      <a:pt x="71072" y="4176"/>
                      <a:pt x="72155" y="3036"/>
                      <a:pt x="73409" y="2182"/>
                    </a:cubicBezTo>
                    <a:cubicBezTo>
                      <a:pt x="78499" y="-1523"/>
                      <a:pt x="85629" y="-395"/>
                      <a:pt x="89334" y="4695"/>
                    </a:cubicBezTo>
                    <a:cubicBezTo>
                      <a:pt x="90570" y="6399"/>
                      <a:pt x="91311" y="8405"/>
                      <a:pt x="91476" y="10503"/>
                    </a:cubicBezTo>
                    <a:cubicBezTo>
                      <a:pt x="91152" y="15364"/>
                      <a:pt x="90525" y="20198"/>
                      <a:pt x="89596" y="2497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7" name="Freihandform: Form 701">
                <a:extLst>
                  <a:ext uri="{FF2B5EF4-FFF2-40B4-BE49-F238E27FC236}">
                    <a16:creationId xmlns:a16="http://schemas.microsoft.com/office/drawing/2014/main" id="{088F3FD3-29FC-67E0-C441-841382317E9B}"/>
                  </a:ext>
                </a:extLst>
              </p:cNvPr>
              <p:cNvSpPr/>
              <p:nvPr/>
            </p:nvSpPr>
            <p:spPr>
              <a:xfrm>
                <a:off x="4519452" y="3396460"/>
                <a:ext cx="36824" cy="80704"/>
              </a:xfrm>
              <a:custGeom>
                <a:avLst/>
                <a:gdLst>
                  <a:gd name="connsiteX0" fmla="*/ 22291 w 36824"/>
                  <a:gd name="connsiteY0" fmla="*/ 49813 h 80704"/>
                  <a:gd name="connsiteX1" fmla="*/ 22975 w 36824"/>
                  <a:gd name="connsiteY1" fmla="*/ 54316 h 80704"/>
                  <a:gd name="connsiteX2" fmla="*/ 22975 w 36824"/>
                  <a:gd name="connsiteY2" fmla="*/ 54316 h 80704"/>
                  <a:gd name="connsiteX3" fmla="*/ 16192 w 36824"/>
                  <a:gd name="connsiteY3" fmla="*/ 54943 h 80704"/>
                  <a:gd name="connsiteX4" fmla="*/ 15337 w 36824"/>
                  <a:gd name="connsiteY4" fmla="*/ 58476 h 80704"/>
                  <a:gd name="connsiteX5" fmla="*/ 14768 w 36824"/>
                  <a:gd name="connsiteY5" fmla="*/ 70787 h 80704"/>
                  <a:gd name="connsiteX6" fmla="*/ 12773 w 36824"/>
                  <a:gd name="connsiteY6" fmla="*/ 79166 h 80704"/>
                  <a:gd name="connsiteX7" fmla="*/ 11291 w 36824"/>
                  <a:gd name="connsiteY7" fmla="*/ 80704 h 80704"/>
                  <a:gd name="connsiteX8" fmla="*/ 5592 w 36824"/>
                  <a:gd name="connsiteY8" fmla="*/ 70331 h 80704"/>
                  <a:gd name="connsiteX9" fmla="*/ 519 w 36824"/>
                  <a:gd name="connsiteY9" fmla="*/ 67368 h 80704"/>
                  <a:gd name="connsiteX10" fmla="*/ 10892 w 36824"/>
                  <a:gd name="connsiteY10" fmla="*/ 44114 h 80704"/>
                  <a:gd name="connsiteX11" fmla="*/ 12431 w 36824"/>
                  <a:gd name="connsiteY11" fmla="*/ 22798 h 80704"/>
                  <a:gd name="connsiteX12" fmla="*/ 17503 w 36824"/>
                  <a:gd name="connsiteY12" fmla="*/ 14192 h 80704"/>
                  <a:gd name="connsiteX13" fmla="*/ 26109 w 36824"/>
                  <a:gd name="connsiteY13" fmla="*/ 5699 h 80704"/>
                  <a:gd name="connsiteX14" fmla="*/ 26109 w 36824"/>
                  <a:gd name="connsiteY14" fmla="*/ 0 h 80704"/>
                  <a:gd name="connsiteX15" fmla="*/ 30498 w 36824"/>
                  <a:gd name="connsiteY15" fmla="*/ 2223 h 80704"/>
                  <a:gd name="connsiteX16" fmla="*/ 36825 w 36824"/>
                  <a:gd name="connsiteY16" fmla="*/ 10658 h 80704"/>
                  <a:gd name="connsiteX17" fmla="*/ 27078 w 36824"/>
                  <a:gd name="connsiteY17" fmla="*/ 26104 h 80704"/>
                  <a:gd name="connsiteX18" fmla="*/ 26508 w 36824"/>
                  <a:gd name="connsiteY18" fmla="*/ 30264 h 80704"/>
                  <a:gd name="connsiteX19" fmla="*/ 24343 w 36824"/>
                  <a:gd name="connsiteY19" fmla="*/ 32031 h 80704"/>
                  <a:gd name="connsiteX20" fmla="*/ 20695 w 36824"/>
                  <a:gd name="connsiteY20" fmla="*/ 40523 h 80704"/>
                  <a:gd name="connsiteX21" fmla="*/ 22291 w 36824"/>
                  <a:gd name="connsiteY21" fmla="*/ 49813 h 8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824" h="80704">
                    <a:moveTo>
                      <a:pt x="22291" y="49813"/>
                    </a:moveTo>
                    <a:cubicBezTo>
                      <a:pt x="22291" y="51295"/>
                      <a:pt x="22804" y="52777"/>
                      <a:pt x="22975" y="54316"/>
                    </a:cubicBezTo>
                    <a:lnTo>
                      <a:pt x="22975" y="54316"/>
                    </a:lnTo>
                    <a:cubicBezTo>
                      <a:pt x="20695" y="53461"/>
                      <a:pt x="17674" y="53005"/>
                      <a:pt x="16192" y="54943"/>
                    </a:cubicBezTo>
                    <a:cubicBezTo>
                      <a:pt x="15571" y="56014"/>
                      <a:pt x="15275" y="57240"/>
                      <a:pt x="15337" y="58476"/>
                    </a:cubicBezTo>
                    <a:lnTo>
                      <a:pt x="14768" y="70787"/>
                    </a:lnTo>
                    <a:cubicBezTo>
                      <a:pt x="14876" y="73711"/>
                      <a:pt x="14186" y="76606"/>
                      <a:pt x="12773" y="79166"/>
                    </a:cubicBezTo>
                    <a:cubicBezTo>
                      <a:pt x="12357" y="79747"/>
                      <a:pt x="11855" y="80266"/>
                      <a:pt x="11291" y="80704"/>
                    </a:cubicBezTo>
                    <a:cubicBezTo>
                      <a:pt x="10738" y="76664"/>
                      <a:pt x="8709" y="72964"/>
                      <a:pt x="5592" y="70331"/>
                    </a:cubicBezTo>
                    <a:cubicBezTo>
                      <a:pt x="4070" y="69078"/>
                      <a:pt x="2360" y="68075"/>
                      <a:pt x="519" y="67368"/>
                    </a:cubicBezTo>
                    <a:cubicBezTo>
                      <a:pt x="-1544" y="58175"/>
                      <a:pt x="2673" y="48719"/>
                      <a:pt x="10892" y="44114"/>
                    </a:cubicBezTo>
                    <a:cubicBezTo>
                      <a:pt x="5193" y="39098"/>
                      <a:pt x="8498" y="29523"/>
                      <a:pt x="12431" y="22798"/>
                    </a:cubicBezTo>
                    <a:lnTo>
                      <a:pt x="17503" y="14192"/>
                    </a:lnTo>
                    <a:cubicBezTo>
                      <a:pt x="19156" y="10350"/>
                      <a:pt x="22245" y="7301"/>
                      <a:pt x="26109" y="5699"/>
                    </a:cubicBezTo>
                    <a:cubicBezTo>
                      <a:pt x="26109" y="3761"/>
                      <a:pt x="26109" y="1824"/>
                      <a:pt x="26109" y="0"/>
                    </a:cubicBezTo>
                    <a:cubicBezTo>
                      <a:pt x="27620" y="638"/>
                      <a:pt x="29090" y="1379"/>
                      <a:pt x="30498" y="2223"/>
                    </a:cubicBezTo>
                    <a:cubicBezTo>
                      <a:pt x="33923" y="3750"/>
                      <a:pt x="36317" y="6942"/>
                      <a:pt x="36825" y="10658"/>
                    </a:cubicBezTo>
                    <a:cubicBezTo>
                      <a:pt x="36825" y="16870"/>
                      <a:pt x="27591" y="19834"/>
                      <a:pt x="27078" y="26104"/>
                    </a:cubicBezTo>
                    <a:cubicBezTo>
                      <a:pt x="27078" y="27471"/>
                      <a:pt x="27078" y="29067"/>
                      <a:pt x="26508" y="30264"/>
                    </a:cubicBezTo>
                    <a:cubicBezTo>
                      <a:pt x="25893" y="30971"/>
                      <a:pt x="25163" y="31569"/>
                      <a:pt x="24343" y="32031"/>
                    </a:cubicBezTo>
                    <a:cubicBezTo>
                      <a:pt x="21818" y="34100"/>
                      <a:pt x="20456" y="37269"/>
                      <a:pt x="20695" y="40523"/>
                    </a:cubicBezTo>
                    <a:cubicBezTo>
                      <a:pt x="20923" y="43664"/>
                      <a:pt x="21459" y="46776"/>
                      <a:pt x="22291" y="4981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8" name="Freihandform: Form 702">
                <a:extLst>
                  <a:ext uri="{FF2B5EF4-FFF2-40B4-BE49-F238E27FC236}">
                    <a16:creationId xmlns:a16="http://schemas.microsoft.com/office/drawing/2014/main" id="{F3EEB7CE-9770-F274-756D-5270A18EAE63}"/>
                  </a:ext>
                </a:extLst>
              </p:cNvPr>
              <p:cNvSpPr/>
              <p:nvPr/>
            </p:nvSpPr>
            <p:spPr>
              <a:xfrm>
                <a:off x="4539892" y="3325728"/>
                <a:ext cx="147495" cy="129920"/>
              </a:xfrm>
              <a:custGeom>
                <a:avLst/>
                <a:gdLst>
                  <a:gd name="connsiteX0" fmla="*/ 62607 w 147495"/>
                  <a:gd name="connsiteY0" fmla="*/ 113535 h 129920"/>
                  <a:gd name="connsiteX1" fmla="*/ 61980 w 147495"/>
                  <a:gd name="connsiteY1" fmla="*/ 113136 h 129920"/>
                  <a:gd name="connsiteX2" fmla="*/ 50581 w 147495"/>
                  <a:gd name="connsiteY2" fmla="*/ 114105 h 129920"/>
                  <a:gd name="connsiteX3" fmla="*/ 46934 w 147495"/>
                  <a:gd name="connsiteY3" fmla="*/ 116954 h 129920"/>
                  <a:gd name="connsiteX4" fmla="*/ 34110 w 147495"/>
                  <a:gd name="connsiteY4" fmla="*/ 121343 h 129920"/>
                  <a:gd name="connsiteX5" fmla="*/ 19519 w 147495"/>
                  <a:gd name="connsiteY5" fmla="*/ 129721 h 129920"/>
                  <a:gd name="connsiteX6" fmla="*/ 2421 w 147495"/>
                  <a:gd name="connsiteY6" fmla="*/ 125048 h 129920"/>
                  <a:gd name="connsiteX7" fmla="*/ 1737 w 147495"/>
                  <a:gd name="connsiteY7" fmla="*/ 120545 h 129920"/>
                  <a:gd name="connsiteX8" fmla="*/ 27 w 147495"/>
                  <a:gd name="connsiteY8" fmla="*/ 111084 h 129920"/>
                  <a:gd name="connsiteX9" fmla="*/ 3675 w 147495"/>
                  <a:gd name="connsiteY9" fmla="*/ 102592 h 129920"/>
                  <a:gd name="connsiteX10" fmla="*/ 5841 w 147495"/>
                  <a:gd name="connsiteY10" fmla="*/ 100825 h 129920"/>
                  <a:gd name="connsiteX11" fmla="*/ 6410 w 147495"/>
                  <a:gd name="connsiteY11" fmla="*/ 96664 h 129920"/>
                  <a:gd name="connsiteX12" fmla="*/ 16157 w 147495"/>
                  <a:gd name="connsiteY12" fmla="*/ 81219 h 129920"/>
                  <a:gd name="connsiteX13" fmla="*/ 9830 w 147495"/>
                  <a:gd name="connsiteY13" fmla="*/ 72784 h 129920"/>
                  <a:gd name="connsiteX14" fmla="*/ 5442 w 147495"/>
                  <a:gd name="connsiteY14" fmla="*/ 70561 h 129920"/>
                  <a:gd name="connsiteX15" fmla="*/ 5442 w 147495"/>
                  <a:gd name="connsiteY15" fmla="*/ 44457 h 129920"/>
                  <a:gd name="connsiteX16" fmla="*/ 5442 w 147495"/>
                  <a:gd name="connsiteY16" fmla="*/ 40981 h 129920"/>
                  <a:gd name="connsiteX17" fmla="*/ 10685 w 147495"/>
                  <a:gd name="connsiteY17" fmla="*/ 34426 h 129920"/>
                  <a:gd name="connsiteX18" fmla="*/ 11597 w 147495"/>
                  <a:gd name="connsiteY18" fmla="*/ 29468 h 129920"/>
                  <a:gd name="connsiteX19" fmla="*/ 25276 w 147495"/>
                  <a:gd name="connsiteY19" fmla="*/ 19550 h 129920"/>
                  <a:gd name="connsiteX20" fmla="*/ 26416 w 147495"/>
                  <a:gd name="connsiteY20" fmla="*/ 16986 h 129920"/>
                  <a:gd name="connsiteX21" fmla="*/ 30291 w 147495"/>
                  <a:gd name="connsiteY21" fmla="*/ 15789 h 129920"/>
                  <a:gd name="connsiteX22" fmla="*/ 79307 w 147495"/>
                  <a:gd name="connsiteY22" fmla="*/ 17214 h 129920"/>
                  <a:gd name="connsiteX23" fmla="*/ 93840 w 147495"/>
                  <a:gd name="connsiteY23" fmla="*/ 17556 h 129920"/>
                  <a:gd name="connsiteX24" fmla="*/ 111623 w 147495"/>
                  <a:gd name="connsiteY24" fmla="*/ 8380 h 129920"/>
                  <a:gd name="connsiteX25" fmla="*/ 123307 w 147495"/>
                  <a:gd name="connsiteY25" fmla="*/ 8094 h 129920"/>
                  <a:gd name="connsiteX26" fmla="*/ 147187 w 147495"/>
                  <a:gd name="connsiteY26" fmla="*/ 1 h 129920"/>
                  <a:gd name="connsiteX27" fmla="*/ 145135 w 147495"/>
                  <a:gd name="connsiteY27" fmla="*/ 6727 h 129920"/>
                  <a:gd name="connsiteX28" fmla="*/ 138410 w 147495"/>
                  <a:gd name="connsiteY28" fmla="*/ 10146 h 129920"/>
                  <a:gd name="connsiteX29" fmla="*/ 122224 w 147495"/>
                  <a:gd name="connsiteY29" fmla="*/ 21545 h 129920"/>
                  <a:gd name="connsiteX30" fmla="*/ 117550 w 147495"/>
                  <a:gd name="connsiteY30" fmla="*/ 34483 h 129920"/>
                  <a:gd name="connsiteX31" fmla="*/ 121141 w 147495"/>
                  <a:gd name="connsiteY31" fmla="*/ 43602 h 129920"/>
                  <a:gd name="connsiteX32" fmla="*/ 115783 w 147495"/>
                  <a:gd name="connsiteY32" fmla="*/ 53462 h 129920"/>
                  <a:gd name="connsiteX33" fmla="*/ 113617 w 147495"/>
                  <a:gd name="connsiteY33" fmla="*/ 63835 h 129920"/>
                  <a:gd name="connsiteX34" fmla="*/ 91503 w 147495"/>
                  <a:gd name="connsiteY34" fmla="*/ 90965 h 129920"/>
                  <a:gd name="connsiteX35" fmla="*/ 78509 w 147495"/>
                  <a:gd name="connsiteY35" fmla="*/ 95468 h 129920"/>
                  <a:gd name="connsiteX36" fmla="*/ 62322 w 147495"/>
                  <a:gd name="connsiteY36" fmla="*/ 113535 h 1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7495" h="129920">
                    <a:moveTo>
                      <a:pt x="62607" y="113535"/>
                    </a:moveTo>
                    <a:lnTo>
                      <a:pt x="61980" y="113136"/>
                    </a:lnTo>
                    <a:cubicBezTo>
                      <a:pt x="58270" y="111472"/>
                      <a:pt x="53961" y="111836"/>
                      <a:pt x="50581" y="114105"/>
                    </a:cubicBezTo>
                    <a:cubicBezTo>
                      <a:pt x="49327" y="114960"/>
                      <a:pt x="48244" y="116100"/>
                      <a:pt x="46934" y="116954"/>
                    </a:cubicBezTo>
                    <a:cubicBezTo>
                      <a:pt x="42785" y="118756"/>
                      <a:pt x="38493" y="120226"/>
                      <a:pt x="34110" y="121343"/>
                    </a:cubicBezTo>
                    <a:cubicBezTo>
                      <a:pt x="28923" y="123623"/>
                      <a:pt x="25104" y="128638"/>
                      <a:pt x="19519" y="129721"/>
                    </a:cubicBezTo>
                    <a:cubicBezTo>
                      <a:pt x="13934" y="130804"/>
                      <a:pt x="8120" y="127213"/>
                      <a:pt x="2421" y="125048"/>
                    </a:cubicBezTo>
                    <a:cubicBezTo>
                      <a:pt x="2421" y="123509"/>
                      <a:pt x="2022" y="122027"/>
                      <a:pt x="1737" y="120545"/>
                    </a:cubicBezTo>
                    <a:cubicBezTo>
                      <a:pt x="854" y="117456"/>
                      <a:pt x="283" y="114287"/>
                      <a:pt x="27" y="111084"/>
                    </a:cubicBezTo>
                    <a:cubicBezTo>
                      <a:pt x="-212" y="107830"/>
                      <a:pt x="1150" y="104661"/>
                      <a:pt x="3675" y="102592"/>
                    </a:cubicBezTo>
                    <a:cubicBezTo>
                      <a:pt x="4495" y="102130"/>
                      <a:pt x="5225" y="101532"/>
                      <a:pt x="5841" y="100825"/>
                    </a:cubicBezTo>
                    <a:cubicBezTo>
                      <a:pt x="6638" y="99628"/>
                      <a:pt x="6296" y="98032"/>
                      <a:pt x="6410" y="96664"/>
                    </a:cubicBezTo>
                    <a:cubicBezTo>
                      <a:pt x="6923" y="90395"/>
                      <a:pt x="16043" y="87431"/>
                      <a:pt x="16157" y="81219"/>
                    </a:cubicBezTo>
                    <a:cubicBezTo>
                      <a:pt x="15649" y="77503"/>
                      <a:pt x="13255" y="74311"/>
                      <a:pt x="9830" y="72784"/>
                    </a:cubicBezTo>
                    <a:cubicBezTo>
                      <a:pt x="8422" y="71940"/>
                      <a:pt x="6952" y="71199"/>
                      <a:pt x="5442" y="70561"/>
                    </a:cubicBezTo>
                    <a:cubicBezTo>
                      <a:pt x="5442" y="61840"/>
                      <a:pt x="5442" y="53177"/>
                      <a:pt x="5442" y="44457"/>
                    </a:cubicBezTo>
                    <a:lnTo>
                      <a:pt x="5442" y="40981"/>
                    </a:lnTo>
                    <a:cubicBezTo>
                      <a:pt x="7875" y="39447"/>
                      <a:pt x="9722" y="37139"/>
                      <a:pt x="10685" y="34426"/>
                    </a:cubicBezTo>
                    <a:cubicBezTo>
                      <a:pt x="10907" y="32762"/>
                      <a:pt x="11209" y="31103"/>
                      <a:pt x="11597" y="29468"/>
                    </a:cubicBezTo>
                    <a:cubicBezTo>
                      <a:pt x="13763" y="24110"/>
                      <a:pt x="22996" y="24794"/>
                      <a:pt x="25276" y="19550"/>
                    </a:cubicBezTo>
                    <a:cubicBezTo>
                      <a:pt x="25538" y="18650"/>
                      <a:pt x="25920" y="17784"/>
                      <a:pt x="26416" y="16986"/>
                    </a:cubicBezTo>
                    <a:cubicBezTo>
                      <a:pt x="27516" y="16125"/>
                      <a:pt x="28895" y="15698"/>
                      <a:pt x="30291" y="15789"/>
                    </a:cubicBezTo>
                    <a:cubicBezTo>
                      <a:pt x="46637" y="14751"/>
                      <a:pt x="63046" y="15230"/>
                      <a:pt x="79307" y="17214"/>
                    </a:cubicBezTo>
                    <a:cubicBezTo>
                      <a:pt x="84071" y="18376"/>
                      <a:pt x="89030" y="18496"/>
                      <a:pt x="93840" y="17556"/>
                    </a:cubicBezTo>
                    <a:cubicBezTo>
                      <a:pt x="100281" y="15675"/>
                      <a:pt x="105239" y="9690"/>
                      <a:pt x="111623" y="8380"/>
                    </a:cubicBezTo>
                    <a:cubicBezTo>
                      <a:pt x="115498" y="7582"/>
                      <a:pt x="119431" y="8380"/>
                      <a:pt x="123307" y="8094"/>
                    </a:cubicBezTo>
                    <a:cubicBezTo>
                      <a:pt x="131742" y="7126"/>
                      <a:pt x="138752" y="-113"/>
                      <a:pt x="147187" y="1"/>
                    </a:cubicBezTo>
                    <a:cubicBezTo>
                      <a:pt x="147997" y="2452"/>
                      <a:pt x="147176" y="5142"/>
                      <a:pt x="145135" y="6727"/>
                    </a:cubicBezTo>
                    <a:cubicBezTo>
                      <a:pt x="143090" y="8214"/>
                      <a:pt x="140815" y="9366"/>
                      <a:pt x="138410" y="10146"/>
                    </a:cubicBezTo>
                    <a:cubicBezTo>
                      <a:pt x="132226" y="12677"/>
                      <a:pt x="126692" y="16575"/>
                      <a:pt x="122224" y="21545"/>
                    </a:cubicBezTo>
                    <a:cubicBezTo>
                      <a:pt x="118622" y="24817"/>
                      <a:pt x="116872" y="29661"/>
                      <a:pt x="117550" y="34483"/>
                    </a:cubicBezTo>
                    <a:cubicBezTo>
                      <a:pt x="118462" y="37618"/>
                      <a:pt x="121198" y="40183"/>
                      <a:pt x="121141" y="43602"/>
                    </a:cubicBezTo>
                    <a:cubicBezTo>
                      <a:pt x="121084" y="47022"/>
                      <a:pt x="117550" y="50100"/>
                      <a:pt x="115783" y="53462"/>
                    </a:cubicBezTo>
                    <a:cubicBezTo>
                      <a:pt x="114478" y="56774"/>
                      <a:pt x="113749" y="60279"/>
                      <a:pt x="113617" y="63835"/>
                    </a:cubicBezTo>
                    <a:cubicBezTo>
                      <a:pt x="111549" y="76146"/>
                      <a:pt x="103142" y="86457"/>
                      <a:pt x="91503" y="90965"/>
                    </a:cubicBezTo>
                    <a:cubicBezTo>
                      <a:pt x="87075" y="92173"/>
                      <a:pt x="82738" y="93678"/>
                      <a:pt x="78509" y="95468"/>
                    </a:cubicBezTo>
                    <a:cubicBezTo>
                      <a:pt x="75021" y="102962"/>
                      <a:pt x="69390" y="109249"/>
                      <a:pt x="62322" y="1135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09" name="Freihandform: Form 703">
                <a:extLst>
                  <a:ext uri="{FF2B5EF4-FFF2-40B4-BE49-F238E27FC236}">
                    <a16:creationId xmlns:a16="http://schemas.microsoft.com/office/drawing/2014/main" id="{BD87423F-3743-4DB6-C006-6B8D99D27512}"/>
                  </a:ext>
                </a:extLst>
              </p:cNvPr>
              <p:cNvSpPr/>
              <p:nvPr/>
            </p:nvSpPr>
            <p:spPr>
              <a:xfrm>
                <a:off x="4602841" y="3326742"/>
                <a:ext cx="209968" cy="221812"/>
              </a:xfrm>
              <a:custGeom>
                <a:avLst/>
                <a:gdLst>
                  <a:gd name="connsiteX0" fmla="*/ 208886 w 209968"/>
                  <a:gd name="connsiteY0" fmla="*/ 187982 h 221812"/>
                  <a:gd name="connsiteX1" fmla="*/ 209969 w 209968"/>
                  <a:gd name="connsiteY1" fmla="*/ 190604 h 221812"/>
                  <a:gd name="connsiteX2" fmla="*/ 207575 w 209968"/>
                  <a:gd name="connsiteY2" fmla="*/ 193568 h 221812"/>
                  <a:gd name="connsiteX3" fmla="*/ 207119 w 209968"/>
                  <a:gd name="connsiteY3" fmla="*/ 192998 h 221812"/>
                  <a:gd name="connsiteX4" fmla="*/ 191046 w 209968"/>
                  <a:gd name="connsiteY4" fmla="*/ 188096 h 221812"/>
                  <a:gd name="connsiteX5" fmla="*/ 181642 w 209968"/>
                  <a:gd name="connsiteY5" fmla="*/ 201832 h 221812"/>
                  <a:gd name="connsiteX6" fmla="*/ 179590 w 209968"/>
                  <a:gd name="connsiteY6" fmla="*/ 204568 h 221812"/>
                  <a:gd name="connsiteX7" fmla="*/ 179590 w 209968"/>
                  <a:gd name="connsiteY7" fmla="*/ 210267 h 221812"/>
                  <a:gd name="connsiteX8" fmla="*/ 178565 w 209968"/>
                  <a:gd name="connsiteY8" fmla="*/ 220526 h 221812"/>
                  <a:gd name="connsiteX9" fmla="*/ 174062 w 209968"/>
                  <a:gd name="connsiteY9" fmla="*/ 221096 h 221812"/>
                  <a:gd name="connsiteX10" fmla="*/ 138269 w 209968"/>
                  <a:gd name="connsiteY10" fmla="*/ 217905 h 221812"/>
                  <a:gd name="connsiteX11" fmla="*/ 131088 w 209968"/>
                  <a:gd name="connsiteY11" fmla="*/ 214200 h 221812"/>
                  <a:gd name="connsiteX12" fmla="*/ 126414 w 209968"/>
                  <a:gd name="connsiteY12" fmla="*/ 209184 h 221812"/>
                  <a:gd name="connsiteX13" fmla="*/ 115015 w 209968"/>
                  <a:gd name="connsiteY13" fmla="*/ 205195 h 221812"/>
                  <a:gd name="connsiteX14" fmla="*/ 113420 w 209968"/>
                  <a:gd name="connsiteY14" fmla="*/ 200464 h 221812"/>
                  <a:gd name="connsiteX15" fmla="*/ 97119 w 209968"/>
                  <a:gd name="connsiteY15" fmla="*/ 191516 h 221812"/>
                  <a:gd name="connsiteX16" fmla="*/ 87031 w 209968"/>
                  <a:gd name="connsiteY16" fmla="*/ 179433 h 221812"/>
                  <a:gd name="connsiteX17" fmla="*/ 75176 w 209968"/>
                  <a:gd name="connsiteY17" fmla="*/ 173335 h 221812"/>
                  <a:gd name="connsiteX18" fmla="*/ 70275 w 209968"/>
                  <a:gd name="connsiteY18" fmla="*/ 166096 h 221812"/>
                  <a:gd name="connsiteX19" fmla="*/ 58876 w 209968"/>
                  <a:gd name="connsiteY19" fmla="*/ 160967 h 221812"/>
                  <a:gd name="connsiteX20" fmla="*/ 54487 w 209968"/>
                  <a:gd name="connsiteY20" fmla="*/ 154982 h 221812"/>
                  <a:gd name="connsiteX21" fmla="*/ 46337 w 209968"/>
                  <a:gd name="connsiteY21" fmla="*/ 151164 h 221812"/>
                  <a:gd name="connsiteX22" fmla="*/ 44513 w 209968"/>
                  <a:gd name="connsiteY22" fmla="*/ 146433 h 221812"/>
                  <a:gd name="connsiteX23" fmla="*/ 37218 w 209968"/>
                  <a:gd name="connsiteY23" fmla="*/ 142558 h 221812"/>
                  <a:gd name="connsiteX24" fmla="*/ 5415 w 209968"/>
                  <a:gd name="connsiteY24" fmla="*/ 143526 h 221812"/>
                  <a:gd name="connsiteX25" fmla="*/ 3876 w 209968"/>
                  <a:gd name="connsiteY25" fmla="*/ 136003 h 221812"/>
                  <a:gd name="connsiteX26" fmla="*/ 6041 w 209968"/>
                  <a:gd name="connsiteY26" fmla="*/ 121527 h 221812"/>
                  <a:gd name="connsiteX27" fmla="*/ 0 w 209968"/>
                  <a:gd name="connsiteY27" fmla="*/ 112635 h 221812"/>
                  <a:gd name="connsiteX28" fmla="*/ 16187 w 209968"/>
                  <a:gd name="connsiteY28" fmla="*/ 94568 h 221812"/>
                  <a:gd name="connsiteX29" fmla="*/ 29181 w 209968"/>
                  <a:gd name="connsiteY29" fmla="*/ 90065 h 221812"/>
                  <a:gd name="connsiteX30" fmla="*/ 51295 w 209968"/>
                  <a:gd name="connsiteY30" fmla="*/ 62936 h 221812"/>
                  <a:gd name="connsiteX31" fmla="*/ 53461 w 209968"/>
                  <a:gd name="connsiteY31" fmla="*/ 52563 h 221812"/>
                  <a:gd name="connsiteX32" fmla="*/ 58819 w 209968"/>
                  <a:gd name="connsiteY32" fmla="*/ 42703 h 221812"/>
                  <a:gd name="connsiteX33" fmla="*/ 55228 w 209968"/>
                  <a:gd name="connsiteY33" fmla="*/ 33584 h 221812"/>
                  <a:gd name="connsiteX34" fmla="*/ 59902 w 209968"/>
                  <a:gd name="connsiteY34" fmla="*/ 20646 h 221812"/>
                  <a:gd name="connsiteX35" fmla="*/ 76088 w 209968"/>
                  <a:gd name="connsiteY35" fmla="*/ 9247 h 221812"/>
                  <a:gd name="connsiteX36" fmla="*/ 82814 w 209968"/>
                  <a:gd name="connsiteY36" fmla="*/ 5827 h 221812"/>
                  <a:gd name="connsiteX37" fmla="*/ 85207 w 209968"/>
                  <a:gd name="connsiteY37" fmla="*/ 1097 h 221812"/>
                  <a:gd name="connsiteX38" fmla="*/ 89938 w 209968"/>
                  <a:gd name="connsiteY38" fmla="*/ 71 h 221812"/>
                  <a:gd name="connsiteX39" fmla="*/ 115015 w 209968"/>
                  <a:gd name="connsiteY39" fmla="*/ 3091 h 221812"/>
                  <a:gd name="connsiteX40" fmla="*/ 120715 w 209968"/>
                  <a:gd name="connsiteY40" fmla="*/ 3547 h 221812"/>
                  <a:gd name="connsiteX41" fmla="*/ 122083 w 209968"/>
                  <a:gd name="connsiteY41" fmla="*/ 6454 h 221812"/>
                  <a:gd name="connsiteX42" fmla="*/ 134793 w 209968"/>
                  <a:gd name="connsiteY42" fmla="*/ 13122 h 221812"/>
                  <a:gd name="connsiteX43" fmla="*/ 138041 w 209968"/>
                  <a:gd name="connsiteY43" fmla="*/ 20361 h 221812"/>
                  <a:gd name="connsiteX44" fmla="*/ 144140 w 209968"/>
                  <a:gd name="connsiteY44" fmla="*/ 24008 h 221812"/>
                  <a:gd name="connsiteX45" fmla="*/ 148756 w 209968"/>
                  <a:gd name="connsiteY45" fmla="*/ 38827 h 221812"/>
                  <a:gd name="connsiteX46" fmla="*/ 164601 w 209968"/>
                  <a:gd name="connsiteY46" fmla="*/ 40936 h 221812"/>
                  <a:gd name="connsiteX47" fmla="*/ 166425 w 209968"/>
                  <a:gd name="connsiteY47" fmla="*/ 48516 h 221812"/>
                  <a:gd name="connsiteX48" fmla="*/ 157077 w 209968"/>
                  <a:gd name="connsiteY48" fmla="*/ 57806 h 221812"/>
                  <a:gd name="connsiteX49" fmla="*/ 155425 w 209968"/>
                  <a:gd name="connsiteY49" fmla="*/ 67837 h 221812"/>
                  <a:gd name="connsiteX50" fmla="*/ 149725 w 209968"/>
                  <a:gd name="connsiteY50" fmla="*/ 74905 h 221812"/>
                  <a:gd name="connsiteX51" fmla="*/ 152404 w 209968"/>
                  <a:gd name="connsiteY51" fmla="*/ 89951 h 221812"/>
                  <a:gd name="connsiteX52" fmla="*/ 151207 w 209968"/>
                  <a:gd name="connsiteY52" fmla="*/ 97076 h 221812"/>
                  <a:gd name="connsiteX53" fmla="*/ 164088 w 209968"/>
                  <a:gd name="connsiteY53" fmla="*/ 106765 h 221812"/>
                  <a:gd name="connsiteX54" fmla="*/ 164088 w 209968"/>
                  <a:gd name="connsiteY54" fmla="*/ 111438 h 221812"/>
                  <a:gd name="connsiteX55" fmla="*/ 168533 w 209968"/>
                  <a:gd name="connsiteY55" fmla="*/ 115998 h 221812"/>
                  <a:gd name="connsiteX56" fmla="*/ 173150 w 209968"/>
                  <a:gd name="connsiteY56" fmla="*/ 123977 h 221812"/>
                  <a:gd name="connsiteX57" fmla="*/ 180845 w 209968"/>
                  <a:gd name="connsiteY57" fmla="*/ 126998 h 221812"/>
                  <a:gd name="connsiteX58" fmla="*/ 186544 w 209968"/>
                  <a:gd name="connsiteY58" fmla="*/ 133495 h 221812"/>
                  <a:gd name="connsiteX59" fmla="*/ 195378 w 209968"/>
                  <a:gd name="connsiteY59" fmla="*/ 136858 h 221812"/>
                  <a:gd name="connsiteX60" fmla="*/ 199083 w 209968"/>
                  <a:gd name="connsiteY60" fmla="*/ 145749 h 221812"/>
                  <a:gd name="connsiteX61" fmla="*/ 201477 w 209968"/>
                  <a:gd name="connsiteY61" fmla="*/ 159656 h 221812"/>
                  <a:gd name="connsiteX62" fmla="*/ 201477 w 209968"/>
                  <a:gd name="connsiteY62" fmla="*/ 165754 h 221812"/>
                  <a:gd name="connsiteX63" fmla="*/ 200793 w 209968"/>
                  <a:gd name="connsiteY63" fmla="*/ 168547 h 221812"/>
                  <a:gd name="connsiteX64" fmla="*/ 203756 w 209968"/>
                  <a:gd name="connsiteY64" fmla="*/ 173221 h 221812"/>
                  <a:gd name="connsiteX65" fmla="*/ 208886 w 209968"/>
                  <a:gd name="connsiteY65" fmla="*/ 187982 h 22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9968" h="221812">
                    <a:moveTo>
                      <a:pt x="208886" y="187982"/>
                    </a:moveTo>
                    <a:cubicBezTo>
                      <a:pt x="208886" y="188894"/>
                      <a:pt x="209627" y="189692"/>
                      <a:pt x="209969" y="190604"/>
                    </a:cubicBezTo>
                    <a:cubicBezTo>
                      <a:pt x="209063" y="191499"/>
                      <a:pt x="208259" y="192496"/>
                      <a:pt x="207575" y="193568"/>
                    </a:cubicBezTo>
                    <a:lnTo>
                      <a:pt x="207119" y="192998"/>
                    </a:lnTo>
                    <a:cubicBezTo>
                      <a:pt x="203015" y="188609"/>
                      <a:pt x="196347" y="185133"/>
                      <a:pt x="191046" y="188096"/>
                    </a:cubicBezTo>
                    <a:cubicBezTo>
                      <a:pt x="185746" y="191060"/>
                      <a:pt x="185347" y="197443"/>
                      <a:pt x="181642" y="201832"/>
                    </a:cubicBezTo>
                    <a:cubicBezTo>
                      <a:pt x="180867" y="202670"/>
                      <a:pt x="180178" y="203587"/>
                      <a:pt x="179590" y="204568"/>
                    </a:cubicBezTo>
                    <a:cubicBezTo>
                      <a:pt x="179106" y="206437"/>
                      <a:pt x="179106" y="208398"/>
                      <a:pt x="179590" y="210267"/>
                    </a:cubicBezTo>
                    <a:cubicBezTo>
                      <a:pt x="179670" y="213715"/>
                      <a:pt x="179328" y="217164"/>
                      <a:pt x="178565" y="220526"/>
                    </a:cubicBezTo>
                    <a:lnTo>
                      <a:pt x="174062" y="221096"/>
                    </a:lnTo>
                    <a:cubicBezTo>
                      <a:pt x="162042" y="222698"/>
                      <a:pt x="149816" y="221604"/>
                      <a:pt x="138269" y="217905"/>
                    </a:cubicBezTo>
                    <a:cubicBezTo>
                      <a:pt x="135625" y="217232"/>
                      <a:pt x="133168" y="215961"/>
                      <a:pt x="131088" y="214200"/>
                    </a:cubicBezTo>
                    <a:cubicBezTo>
                      <a:pt x="129492" y="212547"/>
                      <a:pt x="128352" y="210324"/>
                      <a:pt x="126414" y="209184"/>
                    </a:cubicBezTo>
                    <a:cubicBezTo>
                      <a:pt x="122824" y="207019"/>
                      <a:pt x="117238" y="208671"/>
                      <a:pt x="115015" y="205195"/>
                    </a:cubicBezTo>
                    <a:cubicBezTo>
                      <a:pt x="114331" y="203673"/>
                      <a:pt x="113796" y="202088"/>
                      <a:pt x="113420" y="200464"/>
                    </a:cubicBezTo>
                    <a:cubicBezTo>
                      <a:pt x="111026" y="194765"/>
                      <a:pt x="102306" y="195221"/>
                      <a:pt x="97119" y="191516"/>
                    </a:cubicBezTo>
                    <a:cubicBezTo>
                      <a:pt x="92788" y="188438"/>
                      <a:pt x="91420" y="182511"/>
                      <a:pt x="87031" y="179433"/>
                    </a:cubicBezTo>
                    <a:cubicBezTo>
                      <a:pt x="82642" y="176355"/>
                      <a:pt x="78197" y="176640"/>
                      <a:pt x="75176" y="173335"/>
                    </a:cubicBezTo>
                    <a:cubicBezTo>
                      <a:pt x="73181" y="171169"/>
                      <a:pt x="72497" y="168034"/>
                      <a:pt x="70275" y="166096"/>
                    </a:cubicBezTo>
                    <a:cubicBezTo>
                      <a:pt x="67140" y="163304"/>
                      <a:pt x="61896" y="163931"/>
                      <a:pt x="58876" y="160967"/>
                    </a:cubicBezTo>
                    <a:cubicBezTo>
                      <a:pt x="57109" y="159200"/>
                      <a:pt x="56482" y="156464"/>
                      <a:pt x="54487" y="154982"/>
                    </a:cubicBezTo>
                    <a:cubicBezTo>
                      <a:pt x="52492" y="153500"/>
                      <a:pt x="48161" y="153615"/>
                      <a:pt x="46337" y="151164"/>
                    </a:cubicBezTo>
                    <a:cubicBezTo>
                      <a:pt x="45311" y="149796"/>
                      <a:pt x="45311" y="147915"/>
                      <a:pt x="44513" y="146433"/>
                    </a:cubicBezTo>
                    <a:cubicBezTo>
                      <a:pt x="42786" y="144113"/>
                      <a:pt x="40107" y="142689"/>
                      <a:pt x="37218" y="142558"/>
                    </a:cubicBezTo>
                    <a:cubicBezTo>
                      <a:pt x="26651" y="140825"/>
                      <a:pt x="15856" y="141156"/>
                      <a:pt x="5415" y="143526"/>
                    </a:cubicBezTo>
                    <a:cubicBezTo>
                      <a:pt x="4394" y="141150"/>
                      <a:pt x="3876" y="138591"/>
                      <a:pt x="3876" y="136003"/>
                    </a:cubicBezTo>
                    <a:cubicBezTo>
                      <a:pt x="4901" y="131227"/>
                      <a:pt x="5620" y="126394"/>
                      <a:pt x="6041" y="121527"/>
                    </a:cubicBezTo>
                    <a:cubicBezTo>
                      <a:pt x="5574" y="117765"/>
                      <a:pt x="3323" y="114459"/>
                      <a:pt x="0" y="112635"/>
                    </a:cubicBezTo>
                    <a:cubicBezTo>
                      <a:pt x="7067" y="108349"/>
                      <a:pt x="12699" y="102063"/>
                      <a:pt x="16187" y="94568"/>
                    </a:cubicBezTo>
                    <a:cubicBezTo>
                      <a:pt x="20410" y="92778"/>
                      <a:pt x="24753" y="91274"/>
                      <a:pt x="29181" y="90065"/>
                    </a:cubicBezTo>
                    <a:cubicBezTo>
                      <a:pt x="40820" y="85557"/>
                      <a:pt x="49226" y="75247"/>
                      <a:pt x="51295" y="62936"/>
                    </a:cubicBezTo>
                    <a:cubicBezTo>
                      <a:pt x="51426" y="59379"/>
                      <a:pt x="52156" y="55874"/>
                      <a:pt x="53461" y="52563"/>
                    </a:cubicBezTo>
                    <a:cubicBezTo>
                      <a:pt x="55228" y="49200"/>
                      <a:pt x="58819" y="46521"/>
                      <a:pt x="58819" y="42703"/>
                    </a:cubicBezTo>
                    <a:cubicBezTo>
                      <a:pt x="58819" y="38884"/>
                      <a:pt x="56140" y="36718"/>
                      <a:pt x="55228" y="33584"/>
                    </a:cubicBezTo>
                    <a:cubicBezTo>
                      <a:pt x="54550" y="28762"/>
                      <a:pt x="56299" y="23917"/>
                      <a:pt x="59902" y="20646"/>
                    </a:cubicBezTo>
                    <a:cubicBezTo>
                      <a:pt x="64370" y="15676"/>
                      <a:pt x="69904" y="11777"/>
                      <a:pt x="76088" y="9247"/>
                    </a:cubicBezTo>
                    <a:cubicBezTo>
                      <a:pt x="78493" y="8466"/>
                      <a:pt x="80767" y="7315"/>
                      <a:pt x="82814" y="5827"/>
                    </a:cubicBezTo>
                    <a:cubicBezTo>
                      <a:pt x="84215" y="4636"/>
                      <a:pt x="85076" y="2932"/>
                      <a:pt x="85207" y="1097"/>
                    </a:cubicBezTo>
                    <a:cubicBezTo>
                      <a:pt x="86735" y="555"/>
                      <a:pt x="88325" y="207"/>
                      <a:pt x="89938" y="71"/>
                    </a:cubicBezTo>
                    <a:cubicBezTo>
                      <a:pt x="98373" y="-670"/>
                      <a:pt x="106694" y="4687"/>
                      <a:pt x="115015" y="3091"/>
                    </a:cubicBezTo>
                    <a:cubicBezTo>
                      <a:pt x="116953" y="2750"/>
                      <a:pt x="119290" y="2123"/>
                      <a:pt x="120715" y="3547"/>
                    </a:cubicBezTo>
                    <a:cubicBezTo>
                      <a:pt x="121319" y="4442"/>
                      <a:pt x="121781" y="5423"/>
                      <a:pt x="122083" y="6454"/>
                    </a:cubicBezTo>
                    <a:cubicBezTo>
                      <a:pt x="124248" y="10843"/>
                      <a:pt x="131373" y="9589"/>
                      <a:pt x="134793" y="13122"/>
                    </a:cubicBezTo>
                    <a:cubicBezTo>
                      <a:pt x="136326" y="15305"/>
                      <a:pt x="137432" y="17762"/>
                      <a:pt x="138041" y="20361"/>
                    </a:cubicBezTo>
                    <a:cubicBezTo>
                      <a:pt x="139067" y="22812"/>
                      <a:pt x="141746" y="25148"/>
                      <a:pt x="144140" y="24008"/>
                    </a:cubicBezTo>
                    <a:cubicBezTo>
                      <a:pt x="142293" y="29429"/>
                      <a:pt x="144163" y="35419"/>
                      <a:pt x="148756" y="38827"/>
                    </a:cubicBezTo>
                    <a:cubicBezTo>
                      <a:pt x="153396" y="42036"/>
                      <a:pt x="159289" y="42817"/>
                      <a:pt x="164601" y="40936"/>
                    </a:cubicBezTo>
                    <a:cubicBezTo>
                      <a:pt x="166128" y="43147"/>
                      <a:pt x="166778" y="45849"/>
                      <a:pt x="166425" y="48516"/>
                    </a:cubicBezTo>
                    <a:cubicBezTo>
                      <a:pt x="165228" y="52848"/>
                      <a:pt x="159472" y="54216"/>
                      <a:pt x="157077" y="57806"/>
                    </a:cubicBezTo>
                    <a:cubicBezTo>
                      <a:pt x="155778" y="60981"/>
                      <a:pt x="155214" y="64412"/>
                      <a:pt x="155425" y="67837"/>
                    </a:cubicBezTo>
                    <a:cubicBezTo>
                      <a:pt x="155083" y="71257"/>
                      <a:pt x="152860" y="75190"/>
                      <a:pt x="149725" y="74905"/>
                    </a:cubicBezTo>
                    <a:cubicBezTo>
                      <a:pt x="152165" y="79521"/>
                      <a:pt x="153099" y="84782"/>
                      <a:pt x="152404" y="89951"/>
                    </a:cubicBezTo>
                    <a:cubicBezTo>
                      <a:pt x="151349" y="92169"/>
                      <a:pt x="150933" y="94636"/>
                      <a:pt x="151207" y="97076"/>
                    </a:cubicBezTo>
                    <a:cubicBezTo>
                      <a:pt x="152974" y="102433"/>
                      <a:pt x="163347" y="101179"/>
                      <a:pt x="164088" y="106765"/>
                    </a:cubicBezTo>
                    <a:cubicBezTo>
                      <a:pt x="164088" y="108304"/>
                      <a:pt x="163575" y="109957"/>
                      <a:pt x="164088" y="111438"/>
                    </a:cubicBezTo>
                    <a:cubicBezTo>
                      <a:pt x="164601" y="112920"/>
                      <a:pt x="166938" y="114516"/>
                      <a:pt x="168533" y="115998"/>
                    </a:cubicBezTo>
                    <a:cubicBezTo>
                      <a:pt x="170414" y="118449"/>
                      <a:pt x="171965" y="121128"/>
                      <a:pt x="173150" y="123977"/>
                    </a:cubicBezTo>
                    <a:cubicBezTo>
                      <a:pt x="174746" y="126599"/>
                      <a:pt x="178280" y="128765"/>
                      <a:pt x="180845" y="126998"/>
                    </a:cubicBezTo>
                    <a:cubicBezTo>
                      <a:pt x="180502" y="130190"/>
                      <a:pt x="183694" y="132697"/>
                      <a:pt x="186544" y="133495"/>
                    </a:cubicBezTo>
                    <a:cubicBezTo>
                      <a:pt x="189684" y="134003"/>
                      <a:pt x="192694" y="135148"/>
                      <a:pt x="195378" y="136858"/>
                    </a:cubicBezTo>
                    <a:cubicBezTo>
                      <a:pt x="197572" y="139326"/>
                      <a:pt x="198877" y="142455"/>
                      <a:pt x="199083" y="145749"/>
                    </a:cubicBezTo>
                    <a:lnTo>
                      <a:pt x="201477" y="159656"/>
                    </a:lnTo>
                    <a:cubicBezTo>
                      <a:pt x="201932" y="161662"/>
                      <a:pt x="201932" y="163748"/>
                      <a:pt x="201477" y="165754"/>
                    </a:cubicBezTo>
                    <a:cubicBezTo>
                      <a:pt x="201135" y="166655"/>
                      <a:pt x="200906" y="167590"/>
                      <a:pt x="200793" y="168547"/>
                    </a:cubicBezTo>
                    <a:cubicBezTo>
                      <a:pt x="200793" y="170428"/>
                      <a:pt x="202502" y="171796"/>
                      <a:pt x="203756" y="173221"/>
                    </a:cubicBezTo>
                    <a:cubicBezTo>
                      <a:pt x="206509" y="177712"/>
                      <a:pt x="208259" y="182750"/>
                      <a:pt x="208886" y="18798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0" name="Freihandform: Form 704">
                <a:extLst>
                  <a:ext uri="{FF2B5EF4-FFF2-40B4-BE49-F238E27FC236}">
                    <a16:creationId xmlns:a16="http://schemas.microsoft.com/office/drawing/2014/main" id="{CFD0DDD2-90DF-3914-09F4-EBB0B159D1D2}"/>
                  </a:ext>
                </a:extLst>
              </p:cNvPr>
              <p:cNvSpPr/>
              <p:nvPr/>
            </p:nvSpPr>
            <p:spPr>
              <a:xfrm>
                <a:off x="4717351" y="3259331"/>
                <a:ext cx="423917" cy="379300"/>
              </a:xfrm>
              <a:custGeom>
                <a:avLst/>
                <a:gdLst>
                  <a:gd name="connsiteX0" fmla="*/ 394282 w 423917"/>
                  <a:gd name="connsiteY0" fmla="*/ 379300 h 379300"/>
                  <a:gd name="connsiteX1" fmla="*/ 360826 w 423917"/>
                  <a:gd name="connsiteY1" fmla="*/ 367217 h 379300"/>
                  <a:gd name="connsiteX2" fmla="*/ 314489 w 423917"/>
                  <a:gd name="connsiteY2" fmla="*/ 367616 h 379300"/>
                  <a:gd name="connsiteX3" fmla="*/ 310899 w 423917"/>
                  <a:gd name="connsiteY3" fmla="*/ 377419 h 379300"/>
                  <a:gd name="connsiteX4" fmla="*/ 295054 w 423917"/>
                  <a:gd name="connsiteY4" fmla="*/ 361347 h 379300"/>
                  <a:gd name="connsiteX5" fmla="*/ 264619 w 423917"/>
                  <a:gd name="connsiteY5" fmla="*/ 337067 h 379300"/>
                  <a:gd name="connsiteX6" fmla="*/ 252479 w 423917"/>
                  <a:gd name="connsiteY6" fmla="*/ 345502 h 379300"/>
                  <a:gd name="connsiteX7" fmla="*/ 199474 w 423917"/>
                  <a:gd name="connsiteY7" fmla="*/ 334901 h 379300"/>
                  <a:gd name="connsiteX8" fmla="*/ 165619 w 423917"/>
                  <a:gd name="connsiteY8" fmla="*/ 307259 h 379300"/>
                  <a:gd name="connsiteX9" fmla="*/ 147324 w 423917"/>
                  <a:gd name="connsiteY9" fmla="*/ 276311 h 379300"/>
                  <a:gd name="connsiteX10" fmla="*/ 121391 w 423917"/>
                  <a:gd name="connsiteY10" fmla="*/ 252487 h 379300"/>
                  <a:gd name="connsiteX11" fmla="*/ 95459 w 423917"/>
                  <a:gd name="connsiteY11" fmla="*/ 258186 h 379300"/>
                  <a:gd name="connsiteX12" fmla="*/ 94376 w 423917"/>
                  <a:gd name="connsiteY12" fmla="*/ 255565 h 379300"/>
                  <a:gd name="connsiteX13" fmla="*/ 88676 w 423917"/>
                  <a:gd name="connsiteY13" fmla="*/ 240689 h 379300"/>
                  <a:gd name="connsiteX14" fmla="*/ 85712 w 423917"/>
                  <a:gd name="connsiteY14" fmla="*/ 236015 h 379300"/>
                  <a:gd name="connsiteX15" fmla="*/ 86396 w 423917"/>
                  <a:gd name="connsiteY15" fmla="*/ 233223 h 379300"/>
                  <a:gd name="connsiteX16" fmla="*/ 86396 w 423917"/>
                  <a:gd name="connsiteY16" fmla="*/ 227124 h 379300"/>
                  <a:gd name="connsiteX17" fmla="*/ 84003 w 423917"/>
                  <a:gd name="connsiteY17" fmla="*/ 213217 h 379300"/>
                  <a:gd name="connsiteX18" fmla="*/ 80298 w 423917"/>
                  <a:gd name="connsiteY18" fmla="*/ 204326 h 379300"/>
                  <a:gd name="connsiteX19" fmla="*/ 71464 w 423917"/>
                  <a:gd name="connsiteY19" fmla="*/ 200963 h 379300"/>
                  <a:gd name="connsiteX20" fmla="*/ 65764 w 423917"/>
                  <a:gd name="connsiteY20" fmla="*/ 194466 h 379300"/>
                  <a:gd name="connsiteX21" fmla="*/ 58070 w 423917"/>
                  <a:gd name="connsiteY21" fmla="*/ 191445 h 379300"/>
                  <a:gd name="connsiteX22" fmla="*/ 53339 w 423917"/>
                  <a:gd name="connsiteY22" fmla="*/ 183181 h 379300"/>
                  <a:gd name="connsiteX23" fmla="*/ 48894 w 423917"/>
                  <a:gd name="connsiteY23" fmla="*/ 178622 h 379300"/>
                  <a:gd name="connsiteX24" fmla="*/ 48894 w 423917"/>
                  <a:gd name="connsiteY24" fmla="*/ 173948 h 379300"/>
                  <a:gd name="connsiteX25" fmla="*/ 36013 w 423917"/>
                  <a:gd name="connsiteY25" fmla="*/ 164259 h 379300"/>
                  <a:gd name="connsiteX26" fmla="*/ 37210 w 423917"/>
                  <a:gd name="connsiteY26" fmla="*/ 157135 h 379300"/>
                  <a:gd name="connsiteX27" fmla="*/ 34531 w 423917"/>
                  <a:gd name="connsiteY27" fmla="*/ 142088 h 379300"/>
                  <a:gd name="connsiteX28" fmla="*/ 40231 w 423917"/>
                  <a:gd name="connsiteY28" fmla="*/ 135021 h 379300"/>
                  <a:gd name="connsiteX29" fmla="*/ 41883 w 423917"/>
                  <a:gd name="connsiteY29" fmla="*/ 124990 h 379300"/>
                  <a:gd name="connsiteX30" fmla="*/ 51231 w 423917"/>
                  <a:gd name="connsiteY30" fmla="*/ 115699 h 379300"/>
                  <a:gd name="connsiteX31" fmla="*/ 49407 w 423917"/>
                  <a:gd name="connsiteY31" fmla="*/ 108119 h 379300"/>
                  <a:gd name="connsiteX32" fmla="*/ 33562 w 423917"/>
                  <a:gd name="connsiteY32" fmla="*/ 106010 h 379300"/>
                  <a:gd name="connsiteX33" fmla="*/ 28945 w 423917"/>
                  <a:gd name="connsiteY33" fmla="*/ 91192 h 379300"/>
                  <a:gd name="connsiteX34" fmla="*/ 22847 w 423917"/>
                  <a:gd name="connsiteY34" fmla="*/ 87544 h 379300"/>
                  <a:gd name="connsiteX35" fmla="*/ 19599 w 423917"/>
                  <a:gd name="connsiteY35" fmla="*/ 80306 h 379300"/>
                  <a:gd name="connsiteX36" fmla="*/ 6889 w 423917"/>
                  <a:gd name="connsiteY36" fmla="*/ 73637 h 379300"/>
                  <a:gd name="connsiteX37" fmla="*/ 5521 w 423917"/>
                  <a:gd name="connsiteY37" fmla="*/ 70730 h 379300"/>
                  <a:gd name="connsiteX38" fmla="*/ 4381 w 423917"/>
                  <a:gd name="connsiteY38" fmla="*/ 70047 h 379300"/>
                  <a:gd name="connsiteX39" fmla="*/ 8997 w 423917"/>
                  <a:gd name="connsiteY39" fmla="*/ 59560 h 379300"/>
                  <a:gd name="connsiteX40" fmla="*/ 9567 w 423917"/>
                  <a:gd name="connsiteY40" fmla="*/ 55171 h 379300"/>
                  <a:gd name="connsiteX41" fmla="*/ 7915 w 423917"/>
                  <a:gd name="connsiteY41" fmla="*/ 51694 h 379300"/>
                  <a:gd name="connsiteX42" fmla="*/ 8769 w 423917"/>
                  <a:gd name="connsiteY42" fmla="*/ 46508 h 379300"/>
                  <a:gd name="connsiteX43" fmla="*/ 3526 w 423917"/>
                  <a:gd name="connsiteY43" fmla="*/ 22912 h 379300"/>
                  <a:gd name="connsiteX44" fmla="*/ 106 w 423917"/>
                  <a:gd name="connsiteY44" fmla="*/ 16585 h 379300"/>
                  <a:gd name="connsiteX45" fmla="*/ 5065 w 423917"/>
                  <a:gd name="connsiteY45" fmla="*/ 12026 h 379300"/>
                  <a:gd name="connsiteX46" fmla="*/ 9340 w 423917"/>
                  <a:gd name="connsiteY46" fmla="*/ 0 h 379300"/>
                  <a:gd name="connsiteX47" fmla="*/ 31453 w 423917"/>
                  <a:gd name="connsiteY47" fmla="*/ 18124 h 379300"/>
                  <a:gd name="connsiteX48" fmla="*/ 44904 w 423917"/>
                  <a:gd name="connsiteY48" fmla="*/ 28383 h 379300"/>
                  <a:gd name="connsiteX49" fmla="*/ 52029 w 423917"/>
                  <a:gd name="connsiteY49" fmla="*/ 25363 h 379300"/>
                  <a:gd name="connsiteX50" fmla="*/ 82179 w 423917"/>
                  <a:gd name="connsiteY50" fmla="*/ 6384 h 379300"/>
                  <a:gd name="connsiteX51" fmla="*/ 85940 w 423917"/>
                  <a:gd name="connsiteY51" fmla="*/ 5187 h 379300"/>
                  <a:gd name="connsiteX52" fmla="*/ 88619 w 423917"/>
                  <a:gd name="connsiteY52" fmla="*/ 12425 h 379300"/>
                  <a:gd name="connsiteX53" fmla="*/ 101785 w 423917"/>
                  <a:gd name="connsiteY53" fmla="*/ 33057 h 379300"/>
                  <a:gd name="connsiteX54" fmla="*/ 101785 w 423917"/>
                  <a:gd name="connsiteY54" fmla="*/ 33057 h 379300"/>
                  <a:gd name="connsiteX55" fmla="*/ 103381 w 423917"/>
                  <a:gd name="connsiteY55" fmla="*/ 47249 h 379300"/>
                  <a:gd name="connsiteX56" fmla="*/ 111588 w 423917"/>
                  <a:gd name="connsiteY56" fmla="*/ 49186 h 379300"/>
                  <a:gd name="connsiteX57" fmla="*/ 119339 w 423917"/>
                  <a:gd name="connsiteY57" fmla="*/ 64176 h 379300"/>
                  <a:gd name="connsiteX58" fmla="*/ 134614 w 423917"/>
                  <a:gd name="connsiteY58" fmla="*/ 62409 h 379300"/>
                  <a:gd name="connsiteX59" fmla="*/ 138318 w 423917"/>
                  <a:gd name="connsiteY59" fmla="*/ 75461 h 379300"/>
                  <a:gd name="connsiteX60" fmla="*/ 147894 w 423917"/>
                  <a:gd name="connsiteY60" fmla="*/ 74720 h 379300"/>
                  <a:gd name="connsiteX61" fmla="*/ 154847 w 423917"/>
                  <a:gd name="connsiteY61" fmla="*/ 85036 h 379300"/>
                  <a:gd name="connsiteX62" fmla="*/ 167386 w 423917"/>
                  <a:gd name="connsiteY62" fmla="*/ 88513 h 379300"/>
                  <a:gd name="connsiteX63" fmla="*/ 194743 w 423917"/>
                  <a:gd name="connsiteY63" fmla="*/ 92731 h 379300"/>
                  <a:gd name="connsiteX64" fmla="*/ 201241 w 423917"/>
                  <a:gd name="connsiteY64" fmla="*/ 84010 h 379300"/>
                  <a:gd name="connsiteX65" fmla="*/ 213552 w 423917"/>
                  <a:gd name="connsiteY65" fmla="*/ 82015 h 379300"/>
                  <a:gd name="connsiteX66" fmla="*/ 221075 w 423917"/>
                  <a:gd name="connsiteY66" fmla="*/ 69762 h 379300"/>
                  <a:gd name="connsiteX67" fmla="*/ 236521 w 423917"/>
                  <a:gd name="connsiteY67" fmla="*/ 65715 h 379300"/>
                  <a:gd name="connsiteX68" fmla="*/ 263878 w 423917"/>
                  <a:gd name="connsiteY68" fmla="*/ 49186 h 379300"/>
                  <a:gd name="connsiteX69" fmla="*/ 277329 w 423917"/>
                  <a:gd name="connsiteY69" fmla="*/ 47933 h 379300"/>
                  <a:gd name="connsiteX70" fmla="*/ 292888 w 423917"/>
                  <a:gd name="connsiteY70" fmla="*/ 44456 h 379300"/>
                  <a:gd name="connsiteX71" fmla="*/ 301780 w 423917"/>
                  <a:gd name="connsiteY71" fmla="*/ 51067 h 379300"/>
                  <a:gd name="connsiteX72" fmla="*/ 341220 w 423917"/>
                  <a:gd name="connsiteY72" fmla="*/ 67254 h 379300"/>
                  <a:gd name="connsiteX73" fmla="*/ 358888 w 423917"/>
                  <a:gd name="connsiteY73" fmla="*/ 78368 h 379300"/>
                  <a:gd name="connsiteX74" fmla="*/ 376670 w 423917"/>
                  <a:gd name="connsiteY74" fmla="*/ 93984 h 379300"/>
                  <a:gd name="connsiteX75" fmla="*/ 384878 w 423917"/>
                  <a:gd name="connsiteY75" fmla="*/ 94554 h 379300"/>
                  <a:gd name="connsiteX76" fmla="*/ 381287 w 423917"/>
                  <a:gd name="connsiteY76" fmla="*/ 130974 h 379300"/>
                  <a:gd name="connsiteX77" fmla="*/ 370287 w 423917"/>
                  <a:gd name="connsiteY77" fmla="*/ 148471 h 379300"/>
                  <a:gd name="connsiteX78" fmla="*/ 372966 w 423917"/>
                  <a:gd name="connsiteY78" fmla="*/ 202901 h 379300"/>
                  <a:gd name="connsiteX79" fmla="*/ 377126 w 423917"/>
                  <a:gd name="connsiteY79" fmla="*/ 218062 h 379300"/>
                  <a:gd name="connsiteX80" fmla="*/ 396106 w 423917"/>
                  <a:gd name="connsiteY80" fmla="*/ 233792 h 379300"/>
                  <a:gd name="connsiteX81" fmla="*/ 381515 w 423917"/>
                  <a:gd name="connsiteY81" fmla="*/ 252430 h 379300"/>
                  <a:gd name="connsiteX82" fmla="*/ 385448 w 423917"/>
                  <a:gd name="connsiteY82" fmla="*/ 289647 h 379300"/>
                  <a:gd name="connsiteX83" fmla="*/ 417821 w 423917"/>
                  <a:gd name="connsiteY83" fmla="*/ 314725 h 379300"/>
                  <a:gd name="connsiteX84" fmla="*/ 422152 w 423917"/>
                  <a:gd name="connsiteY84" fmla="*/ 334217 h 379300"/>
                  <a:gd name="connsiteX85" fmla="*/ 419758 w 423917"/>
                  <a:gd name="connsiteY85" fmla="*/ 352911 h 379300"/>
                  <a:gd name="connsiteX86" fmla="*/ 413318 w 423917"/>
                  <a:gd name="connsiteY86" fmla="*/ 355647 h 379300"/>
                  <a:gd name="connsiteX87" fmla="*/ 394282 w 423917"/>
                  <a:gd name="connsiteY87" fmla="*/ 379300 h 37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23917" h="379300">
                    <a:moveTo>
                      <a:pt x="394282" y="379300"/>
                    </a:moveTo>
                    <a:cubicBezTo>
                      <a:pt x="382883" y="376279"/>
                      <a:pt x="372054" y="371036"/>
                      <a:pt x="360826" y="367217"/>
                    </a:cubicBezTo>
                    <a:cubicBezTo>
                      <a:pt x="345722" y="362031"/>
                      <a:pt x="328225" y="359523"/>
                      <a:pt x="314489" y="367616"/>
                    </a:cubicBezTo>
                    <a:lnTo>
                      <a:pt x="310899" y="377419"/>
                    </a:lnTo>
                    <a:cubicBezTo>
                      <a:pt x="303147" y="381466"/>
                      <a:pt x="297220" y="369782"/>
                      <a:pt x="295054" y="361347"/>
                    </a:cubicBezTo>
                    <a:cubicBezTo>
                      <a:pt x="291349" y="347041"/>
                      <a:pt x="278241" y="331538"/>
                      <a:pt x="264619" y="337067"/>
                    </a:cubicBezTo>
                    <a:cubicBezTo>
                      <a:pt x="260321" y="339495"/>
                      <a:pt x="256258" y="342322"/>
                      <a:pt x="252479" y="345502"/>
                    </a:cubicBezTo>
                    <a:cubicBezTo>
                      <a:pt x="236406" y="355818"/>
                      <a:pt x="215489" y="345502"/>
                      <a:pt x="199474" y="334901"/>
                    </a:cubicBezTo>
                    <a:cubicBezTo>
                      <a:pt x="186736" y="327623"/>
                      <a:pt x="175297" y="318282"/>
                      <a:pt x="165619" y="307259"/>
                    </a:cubicBezTo>
                    <a:cubicBezTo>
                      <a:pt x="158865" y="297347"/>
                      <a:pt x="152750" y="287009"/>
                      <a:pt x="147324" y="276311"/>
                    </a:cubicBezTo>
                    <a:cubicBezTo>
                      <a:pt x="141761" y="265556"/>
                      <a:pt x="132573" y="257120"/>
                      <a:pt x="121391" y="252487"/>
                    </a:cubicBezTo>
                    <a:cubicBezTo>
                      <a:pt x="112352" y="249557"/>
                      <a:pt x="102435" y="251740"/>
                      <a:pt x="95459" y="258186"/>
                    </a:cubicBezTo>
                    <a:cubicBezTo>
                      <a:pt x="95117" y="257274"/>
                      <a:pt x="94661" y="256476"/>
                      <a:pt x="94376" y="255565"/>
                    </a:cubicBezTo>
                    <a:cubicBezTo>
                      <a:pt x="93589" y="250247"/>
                      <a:pt x="91646" y="245169"/>
                      <a:pt x="88676" y="240689"/>
                    </a:cubicBezTo>
                    <a:cubicBezTo>
                      <a:pt x="87422" y="239264"/>
                      <a:pt x="85712" y="237896"/>
                      <a:pt x="85712" y="236015"/>
                    </a:cubicBezTo>
                    <a:cubicBezTo>
                      <a:pt x="85826" y="235058"/>
                      <a:pt x="86054" y="234123"/>
                      <a:pt x="86396" y="233223"/>
                    </a:cubicBezTo>
                    <a:cubicBezTo>
                      <a:pt x="86852" y="231216"/>
                      <a:pt x="86852" y="229130"/>
                      <a:pt x="86396" y="227124"/>
                    </a:cubicBezTo>
                    <a:lnTo>
                      <a:pt x="84003" y="213217"/>
                    </a:lnTo>
                    <a:cubicBezTo>
                      <a:pt x="83797" y="209923"/>
                      <a:pt x="82492" y="206794"/>
                      <a:pt x="80298" y="204326"/>
                    </a:cubicBezTo>
                    <a:cubicBezTo>
                      <a:pt x="77613" y="202616"/>
                      <a:pt x="74604" y="201471"/>
                      <a:pt x="71464" y="200963"/>
                    </a:cubicBezTo>
                    <a:cubicBezTo>
                      <a:pt x="68386" y="200052"/>
                      <a:pt x="65194" y="197658"/>
                      <a:pt x="65764" y="194466"/>
                    </a:cubicBezTo>
                    <a:cubicBezTo>
                      <a:pt x="63199" y="196233"/>
                      <a:pt x="59666" y="194067"/>
                      <a:pt x="58070" y="191445"/>
                    </a:cubicBezTo>
                    <a:cubicBezTo>
                      <a:pt x="56873" y="188493"/>
                      <a:pt x="55277" y="185712"/>
                      <a:pt x="53339" y="183181"/>
                    </a:cubicBezTo>
                    <a:cubicBezTo>
                      <a:pt x="51743" y="181699"/>
                      <a:pt x="49407" y="180730"/>
                      <a:pt x="48894" y="178622"/>
                    </a:cubicBezTo>
                    <a:cubicBezTo>
                      <a:pt x="48381" y="176513"/>
                      <a:pt x="49236" y="175487"/>
                      <a:pt x="48894" y="173948"/>
                    </a:cubicBezTo>
                    <a:cubicBezTo>
                      <a:pt x="48153" y="168249"/>
                      <a:pt x="37495" y="169616"/>
                      <a:pt x="36013" y="164259"/>
                    </a:cubicBezTo>
                    <a:cubicBezTo>
                      <a:pt x="35739" y="161820"/>
                      <a:pt x="36155" y="159352"/>
                      <a:pt x="37210" y="157135"/>
                    </a:cubicBezTo>
                    <a:cubicBezTo>
                      <a:pt x="37905" y="151965"/>
                      <a:pt x="36970" y="146705"/>
                      <a:pt x="34531" y="142088"/>
                    </a:cubicBezTo>
                    <a:cubicBezTo>
                      <a:pt x="37894" y="142373"/>
                      <a:pt x="40231" y="138440"/>
                      <a:pt x="40231" y="135021"/>
                    </a:cubicBezTo>
                    <a:cubicBezTo>
                      <a:pt x="40020" y="131595"/>
                      <a:pt x="40584" y="128164"/>
                      <a:pt x="41883" y="124990"/>
                    </a:cubicBezTo>
                    <a:cubicBezTo>
                      <a:pt x="44277" y="121228"/>
                      <a:pt x="50034" y="120031"/>
                      <a:pt x="51231" y="115699"/>
                    </a:cubicBezTo>
                    <a:cubicBezTo>
                      <a:pt x="51584" y="113032"/>
                      <a:pt x="50934" y="110330"/>
                      <a:pt x="49407" y="108119"/>
                    </a:cubicBezTo>
                    <a:cubicBezTo>
                      <a:pt x="44095" y="110000"/>
                      <a:pt x="38202" y="109219"/>
                      <a:pt x="33562" y="106010"/>
                    </a:cubicBezTo>
                    <a:cubicBezTo>
                      <a:pt x="28968" y="102602"/>
                      <a:pt x="27099" y="96612"/>
                      <a:pt x="28945" y="91192"/>
                    </a:cubicBezTo>
                    <a:cubicBezTo>
                      <a:pt x="26552" y="92332"/>
                      <a:pt x="23873" y="89995"/>
                      <a:pt x="22847" y="87544"/>
                    </a:cubicBezTo>
                    <a:cubicBezTo>
                      <a:pt x="22238" y="84945"/>
                      <a:pt x="21132" y="82489"/>
                      <a:pt x="19599" y="80306"/>
                    </a:cubicBezTo>
                    <a:cubicBezTo>
                      <a:pt x="16179" y="76772"/>
                      <a:pt x="9054" y="78026"/>
                      <a:pt x="6889" y="73637"/>
                    </a:cubicBezTo>
                    <a:cubicBezTo>
                      <a:pt x="6587" y="72606"/>
                      <a:pt x="6125" y="71625"/>
                      <a:pt x="5521" y="70730"/>
                    </a:cubicBezTo>
                    <a:cubicBezTo>
                      <a:pt x="5202" y="70411"/>
                      <a:pt x="4814" y="70178"/>
                      <a:pt x="4381" y="70047"/>
                    </a:cubicBezTo>
                    <a:cubicBezTo>
                      <a:pt x="6290" y="66724"/>
                      <a:pt x="7835" y="63207"/>
                      <a:pt x="8997" y="59560"/>
                    </a:cubicBezTo>
                    <a:cubicBezTo>
                      <a:pt x="9659" y="58197"/>
                      <a:pt x="9858" y="56659"/>
                      <a:pt x="9567" y="55171"/>
                    </a:cubicBezTo>
                    <a:cubicBezTo>
                      <a:pt x="9226" y="53917"/>
                      <a:pt x="8257" y="52948"/>
                      <a:pt x="7915" y="51694"/>
                    </a:cubicBezTo>
                    <a:cubicBezTo>
                      <a:pt x="7669" y="49916"/>
                      <a:pt x="7966" y="48109"/>
                      <a:pt x="8769" y="46508"/>
                    </a:cubicBezTo>
                    <a:cubicBezTo>
                      <a:pt x="11465" y="38278"/>
                      <a:pt x="9453" y="29227"/>
                      <a:pt x="3526" y="22912"/>
                    </a:cubicBezTo>
                    <a:cubicBezTo>
                      <a:pt x="1759" y="21145"/>
                      <a:pt x="-521" y="19036"/>
                      <a:pt x="106" y="16585"/>
                    </a:cubicBezTo>
                    <a:cubicBezTo>
                      <a:pt x="733" y="14135"/>
                      <a:pt x="3241" y="13451"/>
                      <a:pt x="5065" y="12026"/>
                    </a:cubicBezTo>
                    <a:cubicBezTo>
                      <a:pt x="8143" y="8812"/>
                      <a:pt x="9699" y="4434"/>
                      <a:pt x="9340" y="0"/>
                    </a:cubicBezTo>
                    <a:cubicBezTo>
                      <a:pt x="18248" y="3881"/>
                      <a:pt x="25902" y="10151"/>
                      <a:pt x="31453" y="18124"/>
                    </a:cubicBezTo>
                    <a:cubicBezTo>
                      <a:pt x="34873" y="22912"/>
                      <a:pt x="38977" y="28782"/>
                      <a:pt x="44904" y="28383"/>
                    </a:cubicBezTo>
                    <a:cubicBezTo>
                      <a:pt x="47497" y="28007"/>
                      <a:pt x="49954" y="26964"/>
                      <a:pt x="52029" y="25363"/>
                    </a:cubicBezTo>
                    <a:lnTo>
                      <a:pt x="82179" y="6384"/>
                    </a:lnTo>
                    <a:cubicBezTo>
                      <a:pt x="83250" y="5551"/>
                      <a:pt x="84584" y="5124"/>
                      <a:pt x="85940" y="5187"/>
                    </a:cubicBezTo>
                    <a:cubicBezTo>
                      <a:pt x="88676" y="5814"/>
                      <a:pt x="88676" y="9632"/>
                      <a:pt x="88619" y="12425"/>
                    </a:cubicBezTo>
                    <a:cubicBezTo>
                      <a:pt x="89058" y="21145"/>
                      <a:pt x="94062" y="28988"/>
                      <a:pt x="101785" y="33057"/>
                    </a:cubicBezTo>
                    <a:lnTo>
                      <a:pt x="101785" y="33057"/>
                    </a:lnTo>
                    <a:cubicBezTo>
                      <a:pt x="99106" y="37674"/>
                      <a:pt x="98707" y="44741"/>
                      <a:pt x="103381" y="47249"/>
                    </a:cubicBezTo>
                    <a:cubicBezTo>
                      <a:pt x="106065" y="48104"/>
                      <a:pt x="108807" y="48748"/>
                      <a:pt x="111588" y="49186"/>
                    </a:cubicBezTo>
                    <a:cubicBezTo>
                      <a:pt x="117287" y="51238"/>
                      <a:pt x="118655" y="58306"/>
                      <a:pt x="119339" y="64176"/>
                    </a:cubicBezTo>
                    <a:lnTo>
                      <a:pt x="134614" y="62409"/>
                    </a:lnTo>
                    <a:cubicBezTo>
                      <a:pt x="135868" y="66741"/>
                      <a:pt x="137065" y="71072"/>
                      <a:pt x="138318" y="75461"/>
                    </a:cubicBezTo>
                    <a:lnTo>
                      <a:pt x="147894" y="74720"/>
                    </a:lnTo>
                    <a:cubicBezTo>
                      <a:pt x="148224" y="79149"/>
                      <a:pt x="150869" y="83070"/>
                      <a:pt x="154847" y="85036"/>
                    </a:cubicBezTo>
                    <a:cubicBezTo>
                      <a:pt x="158791" y="86911"/>
                      <a:pt x="163037" y="88091"/>
                      <a:pt x="167386" y="88513"/>
                    </a:cubicBezTo>
                    <a:lnTo>
                      <a:pt x="194743" y="92731"/>
                    </a:lnTo>
                    <a:cubicBezTo>
                      <a:pt x="193034" y="88912"/>
                      <a:pt x="197194" y="84922"/>
                      <a:pt x="201241" y="84010"/>
                    </a:cubicBezTo>
                    <a:cubicBezTo>
                      <a:pt x="205401" y="83782"/>
                      <a:pt x="209528" y="83115"/>
                      <a:pt x="213552" y="82015"/>
                    </a:cubicBezTo>
                    <a:cubicBezTo>
                      <a:pt x="218014" y="79513"/>
                      <a:pt x="220858" y="74874"/>
                      <a:pt x="221075" y="69762"/>
                    </a:cubicBezTo>
                    <a:cubicBezTo>
                      <a:pt x="226455" y="69534"/>
                      <a:pt x="231721" y="68154"/>
                      <a:pt x="236521" y="65715"/>
                    </a:cubicBezTo>
                    <a:cubicBezTo>
                      <a:pt x="246039" y="60700"/>
                      <a:pt x="253619" y="51181"/>
                      <a:pt x="263878" y="49186"/>
                    </a:cubicBezTo>
                    <a:cubicBezTo>
                      <a:pt x="268323" y="48389"/>
                      <a:pt x="272940" y="49186"/>
                      <a:pt x="277329" y="47933"/>
                    </a:cubicBezTo>
                    <a:cubicBezTo>
                      <a:pt x="281717" y="46679"/>
                      <a:pt x="287702" y="42974"/>
                      <a:pt x="292888" y="44456"/>
                    </a:cubicBezTo>
                    <a:cubicBezTo>
                      <a:pt x="296268" y="46035"/>
                      <a:pt x="299294" y="48280"/>
                      <a:pt x="301780" y="51067"/>
                    </a:cubicBezTo>
                    <a:cubicBezTo>
                      <a:pt x="312837" y="60243"/>
                      <a:pt x="331018" y="57052"/>
                      <a:pt x="341220" y="67254"/>
                    </a:cubicBezTo>
                    <a:cubicBezTo>
                      <a:pt x="346577" y="72611"/>
                      <a:pt x="352220" y="82015"/>
                      <a:pt x="358888" y="78368"/>
                    </a:cubicBezTo>
                    <a:lnTo>
                      <a:pt x="376670" y="93984"/>
                    </a:lnTo>
                    <a:lnTo>
                      <a:pt x="384878" y="94554"/>
                    </a:lnTo>
                    <a:lnTo>
                      <a:pt x="381287" y="130974"/>
                    </a:lnTo>
                    <a:cubicBezTo>
                      <a:pt x="380546" y="138497"/>
                      <a:pt x="377810" y="148072"/>
                      <a:pt x="370287" y="148471"/>
                    </a:cubicBezTo>
                    <a:cubicBezTo>
                      <a:pt x="371199" y="166596"/>
                      <a:pt x="372054" y="184720"/>
                      <a:pt x="372966" y="202901"/>
                    </a:cubicBezTo>
                    <a:cubicBezTo>
                      <a:pt x="372641" y="208276"/>
                      <a:pt x="374106" y="213605"/>
                      <a:pt x="377126" y="218062"/>
                    </a:cubicBezTo>
                    <a:cubicBezTo>
                      <a:pt x="382826" y="224502"/>
                      <a:pt x="394738" y="225414"/>
                      <a:pt x="396106" y="233792"/>
                    </a:cubicBezTo>
                    <a:cubicBezTo>
                      <a:pt x="397474" y="242171"/>
                      <a:pt x="387158" y="246388"/>
                      <a:pt x="381515" y="252430"/>
                    </a:cubicBezTo>
                    <a:cubicBezTo>
                      <a:pt x="372225" y="262518"/>
                      <a:pt x="376328" y="279388"/>
                      <a:pt x="385448" y="289647"/>
                    </a:cubicBezTo>
                    <a:cubicBezTo>
                      <a:pt x="394567" y="299906"/>
                      <a:pt x="407334" y="305948"/>
                      <a:pt x="417821" y="314725"/>
                    </a:cubicBezTo>
                    <a:cubicBezTo>
                      <a:pt x="416225" y="321336"/>
                      <a:pt x="419815" y="327891"/>
                      <a:pt x="422152" y="334217"/>
                    </a:cubicBezTo>
                    <a:cubicBezTo>
                      <a:pt x="424489" y="340544"/>
                      <a:pt x="425230" y="348922"/>
                      <a:pt x="419758" y="352911"/>
                    </a:cubicBezTo>
                    <a:cubicBezTo>
                      <a:pt x="417752" y="354120"/>
                      <a:pt x="415581" y="355043"/>
                      <a:pt x="413318" y="355647"/>
                    </a:cubicBezTo>
                    <a:cubicBezTo>
                      <a:pt x="403378" y="359796"/>
                      <a:pt x="396214" y="368699"/>
                      <a:pt x="394282" y="3793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1" name="Freihandform: Form 705">
                <a:extLst>
                  <a:ext uri="{FF2B5EF4-FFF2-40B4-BE49-F238E27FC236}">
                    <a16:creationId xmlns:a16="http://schemas.microsoft.com/office/drawing/2014/main" id="{83F65A90-1F92-0921-D763-CB7BF20122DB}"/>
                  </a:ext>
                </a:extLst>
              </p:cNvPr>
              <p:cNvSpPr/>
              <p:nvPr/>
            </p:nvSpPr>
            <p:spPr>
              <a:xfrm>
                <a:off x="4655504" y="3160079"/>
                <a:ext cx="120893" cy="60666"/>
              </a:xfrm>
              <a:custGeom>
                <a:avLst/>
                <a:gdLst>
                  <a:gd name="connsiteX0" fmla="*/ 59161 w 120893"/>
                  <a:gd name="connsiteY0" fmla="*/ 59812 h 60666"/>
                  <a:gd name="connsiteX1" fmla="*/ 52150 w 120893"/>
                  <a:gd name="connsiteY1" fmla="*/ 60667 h 60666"/>
                  <a:gd name="connsiteX2" fmla="*/ 48389 w 120893"/>
                  <a:gd name="connsiteY2" fmla="*/ 58159 h 60666"/>
                  <a:gd name="connsiteX3" fmla="*/ 38757 w 120893"/>
                  <a:gd name="connsiteY3" fmla="*/ 50579 h 60666"/>
                  <a:gd name="connsiteX4" fmla="*/ 2565 w 120893"/>
                  <a:gd name="connsiteY4" fmla="*/ 50009 h 60666"/>
                  <a:gd name="connsiteX5" fmla="*/ 20005 w 120893"/>
                  <a:gd name="connsiteY5" fmla="*/ 38610 h 60666"/>
                  <a:gd name="connsiteX6" fmla="*/ 10943 w 120893"/>
                  <a:gd name="connsiteY6" fmla="*/ 28750 h 60666"/>
                  <a:gd name="connsiteX7" fmla="*/ 4275 w 120893"/>
                  <a:gd name="connsiteY7" fmla="*/ 7662 h 60666"/>
                  <a:gd name="connsiteX8" fmla="*/ 0 w 120893"/>
                  <a:gd name="connsiteY8" fmla="*/ 7947 h 60666"/>
                  <a:gd name="connsiteX9" fmla="*/ 4446 w 120893"/>
                  <a:gd name="connsiteY9" fmla="*/ 3102 h 60666"/>
                  <a:gd name="connsiteX10" fmla="*/ 7865 w 120893"/>
                  <a:gd name="connsiteY10" fmla="*/ 81 h 60666"/>
                  <a:gd name="connsiteX11" fmla="*/ 14078 w 120893"/>
                  <a:gd name="connsiteY11" fmla="*/ 1335 h 60666"/>
                  <a:gd name="connsiteX12" fmla="*/ 32031 w 120893"/>
                  <a:gd name="connsiteY12" fmla="*/ 2133 h 60666"/>
                  <a:gd name="connsiteX13" fmla="*/ 48104 w 120893"/>
                  <a:gd name="connsiteY13" fmla="*/ 8574 h 60666"/>
                  <a:gd name="connsiteX14" fmla="*/ 50156 w 120893"/>
                  <a:gd name="connsiteY14" fmla="*/ 11708 h 60666"/>
                  <a:gd name="connsiteX15" fmla="*/ 61555 w 120893"/>
                  <a:gd name="connsiteY15" fmla="*/ 13190 h 60666"/>
                  <a:gd name="connsiteX16" fmla="*/ 64119 w 120893"/>
                  <a:gd name="connsiteY16" fmla="*/ 14957 h 60666"/>
                  <a:gd name="connsiteX17" fmla="*/ 74435 w 120893"/>
                  <a:gd name="connsiteY17" fmla="*/ 16781 h 60666"/>
                  <a:gd name="connsiteX18" fmla="*/ 105155 w 120893"/>
                  <a:gd name="connsiteY18" fmla="*/ 24133 h 60666"/>
                  <a:gd name="connsiteX19" fmla="*/ 107720 w 120893"/>
                  <a:gd name="connsiteY19" fmla="*/ 26185 h 60666"/>
                  <a:gd name="connsiteX20" fmla="*/ 107720 w 120893"/>
                  <a:gd name="connsiteY20" fmla="*/ 29548 h 60666"/>
                  <a:gd name="connsiteX21" fmla="*/ 117124 w 120893"/>
                  <a:gd name="connsiteY21" fmla="*/ 41573 h 60666"/>
                  <a:gd name="connsiteX22" fmla="*/ 119290 w 120893"/>
                  <a:gd name="connsiteY22" fmla="*/ 42314 h 60666"/>
                  <a:gd name="connsiteX23" fmla="*/ 120145 w 120893"/>
                  <a:gd name="connsiteY23" fmla="*/ 44081 h 60666"/>
                  <a:gd name="connsiteX24" fmla="*/ 120145 w 120893"/>
                  <a:gd name="connsiteY24" fmla="*/ 53428 h 60666"/>
                  <a:gd name="connsiteX25" fmla="*/ 109145 w 120893"/>
                  <a:gd name="connsiteY25" fmla="*/ 58444 h 60666"/>
                  <a:gd name="connsiteX26" fmla="*/ 102363 w 120893"/>
                  <a:gd name="connsiteY26" fmla="*/ 54112 h 60666"/>
                  <a:gd name="connsiteX27" fmla="*/ 91762 w 120893"/>
                  <a:gd name="connsiteY27" fmla="*/ 50693 h 60666"/>
                  <a:gd name="connsiteX28" fmla="*/ 83041 w 120893"/>
                  <a:gd name="connsiteY28" fmla="*/ 49838 h 60666"/>
                  <a:gd name="connsiteX29" fmla="*/ 59161 w 120893"/>
                  <a:gd name="connsiteY29" fmla="*/ 59812 h 6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0893" h="60666">
                    <a:moveTo>
                      <a:pt x="59161" y="59812"/>
                    </a:moveTo>
                    <a:cubicBezTo>
                      <a:pt x="56807" y="59949"/>
                      <a:pt x="54464" y="60234"/>
                      <a:pt x="52150" y="60667"/>
                    </a:cubicBezTo>
                    <a:cubicBezTo>
                      <a:pt x="50965" y="59732"/>
                      <a:pt x="49705" y="58894"/>
                      <a:pt x="48389" y="58159"/>
                    </a:cubicBezTo>
                    <a:cubicBezTo>
                      <a:pt x="44855" y="56050"/>
                      <a:pt x="42233" y="52801"/>
                      <a:pt x="38757" y="50579"/>
                    </a:cubicBezTo>
                    <a:cubicBezTo>
                      <a:pt x="28441" y="44138"/>
                      <a:pt x="14876" y="49325"/>
                      <a:pt x="2565" y="50009"/>
                    </a:cubicBezTo>
                    <a:lnTo>
                      <a:pt x="20005" y="38610"/>
                    </a:lnTo>
                    <a:cubicBezTo>
                      <a:pt x="19943" y="33492"/>
                      <a:pt x="16038" y="29246"/>
                      <a:pt x="10943" y="28750"/>
                    </a:cubicBezTo>
                    <a:cubicBezTo>
                      <a:pt x="11051" y="21187"/>
                      <a:pt x="8714" y="13789"/>
                      <a:pt x="4275" y="7662"/>
                    </a:cubicBezTo>
                    <a:cubicBezTo>
                      <a:pt x="2873" y="7981"/>
                      <a:pt x="1431" y="8078"/>
                      <a:pt x="0" y="7947"/>
                    </a:cubicBezTo>
                    <a:cubicBezTo>
                      <a:pt x="1585" y="6431"/>
                      <a:pt x="3072" y="4812"/>
                      <a:pt x="4446" y="3102"/>
                    </a:cubicBezTo>
                    <a:cubicBezTo>
                      <a:pt x="5283" y="1797"/>
                      <a:pt x="6469" y="748"/>
                      <a:pt x="7865" y="81"/>
                    </a:cubicBezTo>
                    <a:cubicBezTo>
                      <a:pt x="10020" y="-198"/>
                      <a:pt x="12203" y="247"/>
                      <a:pt x="14078" y="1335"/>
                    </a:cubicBezTo>
                    <a:cubicBezTo>
                      <a:pt x="19954" y="2772"/>
                      <a:pt x="26053" y="3045"/>
                      <a:pt x="32031" y="2133"/>
                    </a:cubicBezTo>
                    <a:cubicBezTo>
                      <a:pt x="38152" y="1295"/>
                      <a:pt x="44256" y="3740"/>
                      <a:pt x="48104" y="8574"/>
                    </a:cubicBezTo>
                    <a:cubicBezTo>
                      <a:pt x="48622" y="9719"/>
                      <a:pt x="49318" y="10774"/>
                      <a:pt x="50156" y="11708"/>
                    </a:cubicBezTo>
                    <a:cubicBezTo>
                      <a:pt x="53062" y="14330"/>
                      <a:pt x="58021" y="11708"/>
                      <a:pt x="61555" y="13190"/>
                    </a:cubicBezTo>
                    <a:cubicBezTo>
                      <a:pt x="62455" y="13714"/>
                      <a:pt x="63310" y="14301"/>
                      <a:pt x="64119" y="14957"/>
                    </a:cubicBezTo>
                    <a:cubicBezTo>
                      <a:pt x="67322" y="16513"/>
                      <a:pt x="70896" y="17146"/>
                      <a:pt x="74435" y="16781"/>
                    </a:cubicBezTo>
                    <a:cubicBezTo>
                      <a:pt x="85088" y="16975"/>
                      <a:pt x="95569" y="19488"/>
                      <a:pt x="105155" y="24133"/>
                    </a:cubicBezTo>
                    <a:cubicBezTo>
                      <a:pt x="106193" y="24549"/>
                      <a:pt x="107087" y="25262"/>
                      <a:pt x="107720" y="26185"/>
                    </a:cubicBezTo>
                    <a:cubicBezTo>
                      <a:pt x="108005" y="27285"/>
                      <a:pt x="108005" y="28448"/>
                      <a:pt x="107720" y="29548"/>
                    </a:cubicBezTo>
                    <a:cubicBezTo>
                      <a:pt x="107629" y="35270"/>
                      <a:pt x="111545" y="40286"/>
                      <a:pt x="117124" y="41573"/>
                    </a:cubicBezTo>
                    <a:cubicBezTo>
                      <a:pt x="117905" y="41608"/>
                      <a:pt x="118652" y="41870"/>
                      <a:pt x="119290" y="42314"/>
                    </a:cubicBezTo>
                    <a:cubicBezTo>
                      <a:pt x="119717" y="42822"/>
                      <a:pt x="120014" y="43432"/>
                      <a:pt x="120145" y="44081"/>
                    </a:cubicBezTo>
                    <a:cubicBezTo>
                      <a:pt x="121142" y="47119"/>
                      <a:pt x="121142" y="50391"/>
                      <a:pt x="120145" y="53428"/>
                    </a:cubicBezTo>
                    <a:cubicBezTo>
                      <a:pt x="118316" y="57680"/>
                      <a:pt x="113556" y="59846"/>
                      <a:pt x="109145" y="58444"/>
                    </a:cubicBezTo>
                    <a:cubicBezTo>
                      <a:pt x="106751" y="57224"/>
                      <a:pt x="104477" y="55777"/>
                      <a:pt x="102363" y="54112"/>
                    </a:cubicBezTo>
                    <a:cubicBezTo>
                      <a:pt x="99057" y="52363"/>
                      <a:pt x="95466" y="51206"/>
                      <a:pt x="91762" y="50693"/>
                    </a:cubicBezTo>
                    <a:cubicBezTo>
                      <a:pt x="88912" y="49980"/>
                      <a:pt x="85977" y="49695"/>
                      <a:pt x="83041" y="49838"/>
                    </a:cubicBezTo>
                    <a:cubicBezTo>
                      <a:pt x="74720" y="50864"/>
                      <a:pt x="67881" y="58729"/>
                      <a:pt x="59161" y="5981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2" name="Freihandform: Form 706">
                <a:extLst>
                  <a:ext uri="{FF2B5EF4-FFF2-40B4-BE49-F238E27FC236}">
                    <a16:creationId xmlns:a16="http://schemas.microsoft.com/office/drawing/2014/main" id="{7DD372A6-FEC9-2259-270E-910F8A20DA3F}"/>
                  </a:ext>
                </a:extLst>
              </p:cNvPr>
              <p:cNvSpPr/>
              <p:nvPr/>
            </p:nvSpPr>
            <p:spPr>
              <a:xfrm>
                <a:off x="4707597" y="3210714"/>
                <a:ext cx="71300" cy="77075"/>
              </a:xfrm>
              <a:custGeom>
                <a:avLst/>
                <a:gdLst>
                  <a:gd name="connsiteX0" fmla="*/ 66456 w 71300"/>
                  <a:gd name="connsiteY0" fmla="*/ 57508 h 77075"/>
                  <a:gd name="connsiteX1" fmla="*/ 71300 w 71300"/>
                  <a:gd name="connsiteY1" fmla="*/ 68337 h 77075"/>
                  <a:gd name="connsiteX2" fmla="*/ 62067 w 71300"/>
                  <a:gd name="connsiteY2" fmla="*/ 74036 h 77075"/>
                  <a:gd name="connsiteX3" fmla="*/ 54943 w 71300"/>
                  <a:gd name="connsiteY3" fmla="*/ 77057 h 77075"/>
                  <a:gd name="connsiteX4" fmla="*/ 41492 w 71300"/>
                  <a:gd name="connsiteY4" fmla="*/ 66798 h 77075"/>
                  <a:gd name="connsiteX5" fmla="*/ 19378 w 71300"/>
                  <a:gd name="connsiteY5" fmla="*/ 48674 h 77075"/>
                  <a:gd name="connsiteX6" fmla="*/ 19378 w 71300"/>
                  <a:gd name="connsiteY6" fmla="*/ 47021 h 77075"/>
                  <a:gd name="connsiteX7" fmla="*/ 15389 w 71300"/>
                  <a:gd name="connsiteY7" fmla="*/ 38187 h 77075"/>
                  <a:gd name="connsiteX8" fmla="*/ 11399 w 71300"/>
                  <a:gd name="connsiteY8" fmla="*/ 36876 h 77075"/>
                  <a:gd name="connsiteX9" fmla="*/ 10829 w 71300"/>
                  <a:gd name="connsiteY9" fmla="*/ 34881 h 77075"/>
                  <a:gd name="connsiteX10" fmla="*/ 2052 w 71300"/>
                  <a:gd name="connsiteY10" fmla="*/ 27642 h 77075"/>
                  <a:gd name="connsiteX11" fmla="*/ 1083 w 71300"/>
                  <a:gd name="connsiteY11" fmla="*/ 10943 h 77075"/>
                  <a:gd name="connsiteX12" fmla="*/ 0 w 71300"/>
                  <a:gd name="connsiteY12" fmla="*/ 9974 h 77075"/>
                  <a:gd name="connsiteX13" fmla="*/ 7010 w 71300"/>
                  <a:gd name="connsiteY13" fmla="*/ 9119 h 77075"/>
                  <a:gd name="connsiteX14" fmla="*/ 28327 w 71300"/>
                  <a:gd name="connsiteY14" fmla="*/ 0 h 77075"/>
                  <a:gd name="connsiteX15" fmla="*/ 38301 w 71300"/>
                  <a:gd name="connsiteY15" fmla="*/ 8549 h 77075"/>
                  <a:gd name="connsiteX16" fmla="*/ 43088 w 71300"/>
                  <a:gd name="connsiteY16" fmla="*/ 15161 h 77075"/>
                  <a:gd name="connsiteX17" fmla="*/ 42404 w 71300"/>
                  <a:gd name="connsiteY17" fmla="*/ 20860 h 77075"/>
                  <a:gd name="connsiteX18" fmla="*/ 49129 w 71300"/>
                  <a:gd name="connsiteY18" fmla="*/ 25933 h 77075"/>
                  <a:gd name="connsiteX19" fmla="*/ 50441 w 71300"/>
                  <a:gd name="connsiteY19" fmla="*/ 35850 h 77075"/>
                  <a:gd name="connsiteX20" fmla="*/ 55627 w 71300"/>
                  <a:gd name="connsiteY20" fmla="*/ 39896 h 77075"/>
                  <a:gd name="connsiteX21" fmla="*/ 56995 w 71300"/>
                  <a:gd name="connsiteY21" fmla="*/ 43145 h 77075"/>
                  <a:gd name="connsiteX22" fmla="*/ 66456 w 71300"/>
                  <a:gd name="connsiteY22" fmla="*/ 57508 h 7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300" h="77075">
                    <a:moveTo>
                      <a:pt x="66456" y="57508"/>
                    </a:moveTo>
                    <a:cubicBezTo>
                      <a:pt x="68667" y="60819"/>
                      <a:pt x="70303" y="64484"/>
                      <a:pt x="71300" y="68337"/>
                    </a:cubicBezTo>
                    <a:lnTo>
                      <a:pt x="62067" y="74036"/>
                    </a:lnTo>
                    <a:cubicBezTo>
                      <a:pt x="59993" y="75638"/>
                      <a:pt x="57536" y="76681"/>
                      <a:pt x="54943" y="77057"/>
                    </a:cubicBezTo>
                    <a:cubicBezTo>
                      <a:pt x="49244" y="77456"/>
                      <a:pt x="44912" y="71358"/>
                      <a:pt x="41492" y="66798"/>
                    </a:cubicBezTo>
                    <a:cubicBezTo>
                      <a:pt x="35941" y="58824"/>
                      <a:pt x="28287" y="52555"/>
                      <a:pt x="19378" y="48674"/>
                    </a:cubicBezTo>
                    <a:cubicBezTo>
                      <a:pt x="19407" y="48121"/>
                      <a:pt x="19407" y="47574"/>
                      <a:pt x="19378" y="47021"/>
                    </a:cubicBezTo>
                    <a:cubicBezTo>
                      <a:pt x="19378" y="43544"/>
                      <a:pt x="18808" y="39041"/>
                      <a:pt x="15389" y="38187"/>
                    </a:cubicBezTo>
                    <a:cubicBezTo>
                      <a:pt x="14021" y="37788"/>
                      <a:pt x="12197" y="38187"/>
                      <a:pt x="11399" y="36876"/>
                    </a:cubicBezTo>
                    <a:cubicBezTo>
                      <a:pt x="11091" y="36249"/>
                      <a:pt x="10897" y="35576"/>
                      <a:pt x="10829" y="34881"/>
                    </a:cubicBezTo>
                    <a:cubicBezTo>
                      <a:pt x="9860" y="31119"/>
                      <a:pt x="4332" y="30834"/>
                      <a:pt x="2052" y="27642"/>
                    </a:cubicBezTo>
                    <a:cubicBezTo>
                      <a:pt x="-1311" y="22969"/>
                      <a:pt x="4446" y="15617"/>
                      <a:pt x="1083" y="10943"/>
                    </a:cubicBezTo>
                    <a:cubicBezTo>
                      <a:pt x="764" y="10573"/>
                      <a:pt x="399" y="10248"/>
                      <a:pt x="0" y="9974"/>
                    </a:cubicBezTo>
                    <a:cubicBezTo>
                      <a:pt x="2314" y="9541"/>
                      <a:pt x="4657" y="9256"/>
                      <a:pt x="7010" y="9119"/>
                    </a:cubicBezTo>
                    <a:cubicBezTo>
                      <a:pt x="14705" y="8150"/>
                      <a:pt x="20917" y="1938"/>
                      <a:pt x="28327" y="0"/>
                    </a:cubicBezTo>
                    <a:cubicBezTo>
                      <a:pt x="31490" y="3032"/>
                      <a:pt x="34824" y="5882"/>
                      <a:pt x="38301" y="8549"/>
                    </a:cubicBezTo>
                    <a:cubicBezTo>
                      <a:pt x="40523" y="10259"/>
                      <a:pt x="43088" y="12368"/>
                      <a:pt x="43088" y="15161"/>
                    </a:cubicBezTo>
                    <a:cubicBezTo>
                      <a:pt x="43088" y="17098"/>
                      <a:pt x="41777" y="19036"/>
                      <a:pt x="42404" y="20860"/>
                    </a:cubicBezTo>
                    <a:cubicBezTo>
                      <a:pt x="43373" y="23596"/>
                      <a:pt x="47477" y="23596"/>
                      <a:pt x="49129" y="25933"/>
                    </a:cubicBezTo>
                    <a:cubicBezTo>
                      <a:pt x="50783" y="28270"/>
                      <a:pt x="48560" y="33000"/>
                      <a:pt x="50441" y="35850"/>
                    </a:cubicBezTo>
                    <a:cubicBezTo>
                      <a:pt x="51694" y="37731"/>
                      <a:pt x="54259" y="38187"/>
                      <a:pt x="55627" y="39896"/>
                    </a:cubicBezTo>
                    <a:cubicBezTo>
                      <a:pt x="56271" y="40894"/>
                      <a:pt x="56732" y="41988"/>
                      <a:pt x="56995" y="43145"/>
                    </a:cubicBezTo>
                    <a:cubicBezTo>
                      <a:pt x="59531" y="48309"/>
                      <a:pt x="62711" y="53136"/>
                      <a:pt x="66456" y="5750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3" name="Freihandform: Form 707">
                <a:extLst>
                  <a:ext uri="{FF2B5EF4-FFF2-40B4-BE49-F238E27FC236}">
                    <a16:creationId xmlns:a16="http://schemas.microsoft.com/office/drawing/2014/main" id="{3AA0BF14-E9D0-ABF9-591A-190C903CC656}"/>
                  </a:ext>
                </a:extLst>
              </p:cNvPr>
              <p:cNvSpPr/>
              <p:nvPr/>
            </p:nvSpPr>
            <p:spPr>
              <a:xfrm>
                <a:off x="4735981" y="3207409"/>
                <a:ext cx="107104" cy="84865"/>
              </a:xfrm>
              <a:custGeom>
                <a:avLst/>
                <a:gdLst>
                  <a:gd name="connsiteX0" fmla="*/ 90109 w 107104"/>
                  <a:gd name="connsiteY0" fmla="*/ 75518 h 84865"/>
                  <a:gd name="connsiteX1" fmla="*/ 83440 w 107104"/>
                  <a:gd name="connsiteY1" fmla="*/ 84865 h 84865"/>
                  <a:gd name="connsiteX2" fmla="*/ 70275 w 107104"/>
                  <a:gd name="connsiteY2" fmla="*/ 64233 h 84865"/>
                  <a:gd name="connsiteX3" fmla="*/ 67596 w 107104"/>
                  <a:gd name="connsiteY3" fmla="*/ 56995 h 84865"/>
                  <a:gd name="connsiteX4" fmla="*/ 63834 w 107104"/>
                  <a:gd name="connsiteY4" fmla="*/ 58192 h 84865"/>
                  <a:gd name="connsiteX5" fmla="*/ 42917 w 107104"/>
                  <a:gd name="connsiteY5" fmla="*/ 71414 h 84865"/>
                  <a:gd name="connsiteX6" fmla="*/ 38073 w 107104"/>
                  <a:gd name="connsiteY6" fmla="*/ 60585 h 84865"/>
                  <a:gd name="connsiteX7" fmla="*/ 28669 w 107104"/>
                  <a:gd name="connsiteY7" fmla="*/ 46280 h 84865"/>
                  <a:gd name="connsiteX8" fmla="*/ 27301 w 107104"/>
                  <a:gd name="connsiteY8" fmla="*/ 43031 h 84865"/>
                  <a:gd name="connsiteX9" fmla="*/ 22114 w 107104"/>
                  <a:gd name="connsiteY9" fmla="*/ 38984 h 84865"/>
                  <a:gd name="connsiteX10" fmla="*/ 20803 w 107104"/>
                  <a:gd name="connsiteY10" fmla="*/ 29067 h 84865"/>
                  <a:gd name="connsiteX11" fmla="*/ 14078 w 107104"/>
                  <a:gd name="connsiteY11" fmla="*/ 23995 h 84865"/>
                  <a:gd name="connsiteX12" fmla="*/ 14762 w 107104"/>
                  <a:gd name="connsiteY12" fmla="*/ 18295 h 84865"/>
                  <a:gd name="connsiteX13" fmla="*/ 9974 w 107104"/>
                  <a:gd name="connsiteY13" fmla="*/ 11684 h 84865"/>
                  <a:gd name="connsiteX14" fmla="*/ 0 w 107104"/>
                  <a:gd name="connsiteY14" fmla="*/ 3135 h 84865"/>
                  <a:gd name="connsiteX15" fmla="*/ 3021 w 107104"/>
                  <a:gd name="connsiteY15" fmla="*/ 2565 h 84865"/>
                  <a:gd name="connsiteX16" fmla="*/ 11741 w 107104"/>
                  <a:gd name="connsiteY16" fmla="*/ 3420 h 84865"/>
                  <a:gd name="connsiteX17" fmla="*/ 22342 w 107104"/>
                  <a:gd name="connsiteY17" fmla="*/ 6839 h 84865"/>
                  <a:gd name="connsiteX18" fmla="*/ 29125 w 107104"/>
                  <a:gd name="connsiteY18" fmla="*/ 11171 h 84865"/>
                  <a:gd name="connsiteX19" fmla="*/ 40125 w 107104"/>
                  <a:gd name="connsiteY19" fmla="*/ 6155 h 84865"/>
                  <a:gd name="connsiteX20" fmla="*/ 40581 w 107104"/>
                  <a:gd name="connsiteY20" fmla="*/ 0 h 84865"/>
                  <a:gd name="connsiteX21" fmla="*/ 52492 w 107104"/>
                  <a:gd name="connsiteY21" fmla="*/ 798 h 84865"/>
                  <a:gd name="connsiteX22" fmla="*/ 56140 w 107104"/>
                  <a:gd name="connsiteY22" fmla="*/ 1425 h 84865"/>
                  <a:gd name="connsiteX23" fmla="*/ 58591 w 107104"/>
                  <a:gd name="connsiteY23" fmla="*/ 4332 h 84865"/>
                  <a:gd name="connsiteX24" fmla="*/ 67653 w 107104"/>
                  <a:gd name="connsiteY24" fmla="*/ 7580 h 84865"/>
                  <a:gd name="connsiteX25" fmla="*/ 77570 w 107104"/>
                  <a:gd name="connsiteY25" fmla="*/ 7580 h 84865"/>
                  <a:gd name="connsiteX26" fmla="*/ 81617 w 107104"/>
                  <a:gd name="connsiteY26" fmla="*/ 8378 h 84865"/>
                  <a:gd name="connsiteX27" fmla="*/ 84865 w 107104"/>
                  <a:gd name="connsiteY27" fmla="*/ 6896 h 84865"/>
                  <a:gd name="connsiteX28" fmla="*/ 93187 w 107104"/>
                  <a:gd name="connsiteY28" fmla="*/ 1197 h 84865"/>
                  <a:gd name="connsiteX29" fmla="*/ 93187 w 107104"/>
                  <a:gd name="connsiteY29" fmla="*/ 1197 h 84865"/>
                  <a:gd name="connsiteX30" fmla="*/ 101223 w 107104"/>
                  <a:gd name="connsiteY30" fmla="*/ 18010 h 84865"/>
                  <a:gd name="connsiteX31" fmla="*/ 105098 w 107104"/>
                  <a:gd name="connsiteY31" fmla="*/ 31689 h 84865"/>
                  <a:gd name="connsiteX32" fmla="*/ 107093 w 107104"/>
                  <a:gd name="connsiteY32" fmla="*/ 36078 h 84865"/>
                  <a:gd name="connsiteX33" fmla="*/ 106466 w 107104"/>
                  <a:gd name="connsiteY33" fmla="*/ 40352 h 84865"/>
                  <a:gd name="connsiteX34" fmla="*/ 99969 w 107104"/>
                  <a:gd name="connsiteY34" fmla="*/ 63150 h 84865"/>
                  <a:gd name="connsiteX35" fmla="*/ 96606 w 107104"/>
                  <a:gd name="connsiteY35" fmla="*/ 67710 h 84865"/>
                  <a:gd name="connsiteX36" fmla="*/ 94041 w 107104"/>
                  <a:gd name="connsiteY36" fmla="*/ 67710 h 84865"/>
                  <a:gd name="connsiteX37" fmla="*/ 91990 w 107104"/>
                  <a:gd name="connsiteY37" fmla="*/ 70959 h 84865"/>
                  <a:gd name="connsiteX38" fmla="*/ 90280 w 107104"/>
                  <a:gd name="connsiteY38" fmla="*/ 74549 h 8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7104" h="84865">
                    <a:moveTo>
                      <a:pt x="90109" y="75518"/>
                    </a:moveTo>
                    <a:cubicBezTo>
                      <a:pt x="88114" y="78710"/>
                      <a:pt x="85378" y="81559"/>
                      <a:pt x="83440" y="84865"/>
                    </a:cubicBezTo>
                    <a:cubicBezTo>
                      <a:pt x="75718" y="80796"/>
                      <a:pt x="70714" y="72953"/>
                      <a:pt x="70275" y="64233"/>
                    </a:cubicBezTo>
                    <a:cubicBezTo>
                      <a:pt x="70275" y="61440"/>
                      <a:pt x="70275" y="57622"/>
                      <a:pt x="67596" y="56995"/>
                    </a:cubicBezTo>
                    <a:cubicBezTo>
                      <a:pt x="66239" y="56932"/>
                      <a:pt x="64906" y="57359"/>
                      <a:pt x="63834" y="58192"/>
                    </a:cubicBezTo>
                    <a:lnTo>
                      <a:pt x="42917" y="71414"/>
                    </a:lnTo>
                    <a:cubicBezTo>
                      <a:pt x="41920" y="67562"/>
                      <a:pt x="40284" y="63897"/>
                      <a:pt x="38073" y="60585"/>
                    </a:cubicBezTo>
                    <a:cubicBezTo>
                      <a:pt x="34351" y="56231"/>
                      <a:pt x="31193" y="51421"/>
                      <a:pt x="28669" y="46280"/>
                    </a:cubicBezTo>
                    <a:cubicBezTo>
                      <a:pt x="28406" y="45123"/>
                      <a:pt x="27945" y="44028"/>
                      <a:pt x="27301" y="43031"/>
                    </a:cubicBezTo>
                    <a:cubicBezTo>
                      <a:pt x="25933" y="41321"/>
                      <a:pt x="23368" y="40865"/>
                      <a:pt x="22114" y="38984"/>
                    </a:cubicBezTo>
                    <a:cubicBezTo>
                      <a:pt x="20233" y="36135"/>
                      <a:pt x="22798" y="31860"/>
                      <a:pt x="20803" y="29067"/>
                    </a:cubicBezTo>
                    <a:cubicBezTo>
                      <a:pt x="18809" y="26274"/>
                      <a:pt x="15104" y="26731"/>
                      <a:pt x="14078" y="23995"/>
                    </a:cubicBezTo>
                    <a:cubicBezTo>
                      <a:pt x="13451" y="22171"/>
                      <a:pt x="14705" y="20233"/>
                      <a:pt x="14762" y="18295"/>
                    </a:cubicBezTo>
                    <a:cubicBezTo>
                      <a:pt x="14762" y="15503"/>
                      <a:pt x="12197" y="13394"/>
                      <a:pt x="9974" y="11684"/>
                    </a:cubicBezTo>
                    <a:cubicBezTo>
                      <a:pt x="6497" y="9017"/>
                      <a:pt x="3164" y="6167"/>
                      <a:pt x="0" y="3135"/>
                    </a:cubicBezTo>
                    <a:cubicBezTo>
                      <a:pt x="980" y="2833"/>
                      <a:pt x="1995" y="2639"/>
                      <a:pt x="3021" y="2565"/>
                    </a:cubicBezTo>
                    <a:cubicBezTo>
                      <a:pt x="5956" y="2422"/>
                      <a:pt x="8891" y="2707"/>
                      <a:pt x="11741" y="3420"/>
                    </a:cubicBezTo>
                    <a:cubicBezTo>
                      <a:pt x="15446" y="3933"/>
                      <a:pt x="19036" y="5090"/>
                      <a:pt x="22342" y="6839"/>
                    </a:cubicBezTo>
                    <a:cubicBezTo>
                      <a:pt x="24457" y="8498"/>
                      <a:pt x="26731" y="9951"/>
                      <a:pt x="29125" y="11171"/>
                    </a:cubicBezTo>
                    <a:cubicBezTo>
                      <a:pt x="33536" y="12573"/>
                      <a:pt x="38289" y="10407"/>
                      <a:pt x="40125" y="6155"/>
                    </a:cubicBezTo>
                    <a:cubicBezTo>
                      <a:pt x="40843" y="4183"/>
                      <a:pt x="40997" y="2057"/>
                      <a:pt x="40581" y="0"/>
                    </a:cubicBezTo>
                    <a:cubicBezTo>
                      <a:pt x="44530" y="524"/>
                      <a:pt x="48508" y="792"/>
                      <a:pt x="52492" y="798"/>
                    </a:cubicBezTo>
                    <a:cubicBezTo>
                      <a:pt x="53746" y="650"/>
                      <a:pt x="55012" y="872"/>
                      <a:pt x="56140" y="1425"/>
                    </a:cubicBezTo>
                    <a:cubicBezTo>
                      <a:pt x="57103" y="2257"/>
                      <a:pt x="57935" y="3237"/>
                      <a:pt x="58591" y="4332"/>
                    </a:cubicBezTo>
                    <a:cubicBezTo>
                      <a:pt x="60984" y="6697"/>
                      <a:pt x="64302" y="7888"/>
                      <a:pt x="67653" y="7580"/>
                    </a:cubicBezTo>
                    <a:cubicBezTo>
                      <a:pt x="70941" y="7124"/>
                      <a:pt x="74281" y="7124"/>
                      <a:pt x="77570" y="7580"/>
                    </a:cubicBezTo>
                    <a:cubicBezTo>
                      <a:pt x="78852" y="8116"/>
                      <a:pt x="80226" y="8390"/>
                      <a:pt x="81617" y="8378"/>
                    </a:cubicBezTo>
                    <a:cubicBezTo>
                      <a:pt x="82808" y="8173"/>
                      <a:pt x="83925" y="7660"/>
                      <a:pt x="84865" y="6896"/>
                    </a:cubicBezTo>
                    <a:lnTo>
                      <a:pt x="93187" y="1197"/>
                    </a:lnTo>
                    <a:lnTo>
                      <a:pt x="93187" y="1197"/>
                    </a:lnTo>
                    <a:cubicBezTo>
                      <a:pt x="91266" y="8025"/>
                      <a:pt x="94708" y="15218"/>
                      <a:pt x="101223" y="18010"/>
                    </a:cubicBezTo>
                    <a:cubicBezTo>
                      <a:pt x="101411" y="22815"/>
                      <a:pt x="102739" y="27500"/>
                      <a:pt x="105098" y="31689"/>
                    </a:cubicBezTo>
                    <a:cubicBezTo>
                      <a:pt x="106027" y="33017"/>
                      <a:pt x="106700" y="34505"/>
                      <a:pt x="107093" y="36078"/>
                    </a:cubicBezTo>
                    <a:cubicBezTo>
                      <a:pt x="107156" y="37531"/>
                      <a:pt x="106945" y="38979"/>
                      <a:pt x="106466" y="40352"/>
                    </a:cubicBezTo>
                    <a:lnTo>
                      <a:pt x="99969" y="63150"/>
                    </a:lnTo>
                    <a:cubicBezTo>
                      <a:pt x="99399" y="65088"/>
                      <a:pt x="98544" y="67311"/>
                      <a:pt x="96606" y="67710"/>
                    </a:cubicBezTo>
                    <a:cubicBezTo>
                      <a:pt x="95757" y="67596"/>
                      <a:pt x="94891" y="67596"/>
                      <a:pt x="94041" y="67710"/>
                    </a:cubicBezTo>
                    <a:cubicBezTo>
                      <a:pt x="92788" y="68166"/>
                      <a:pt x="92389" y="69705"/>
                      <a:pt x="91990" y="70959"/>
                    </a:cubicBezTo>
                    <a:cubicBezTo>
                      <a:pt x="91534" y="72207"/>
                      <a:pt x="90964" y="73409"/>
                      <a:pt x="90280" y="74549"/>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14" name="Freihandform: Form 708">
                <a:extLst>
                  <a:ext uri="{FF2B5EF4-FFF2-40B4-BE49-F238E27FC236}">
                    <a16:creationId xmlns:a16="http://schemas.microsoft.com/office/drawing/2014/main" id="{54AAD54B-1240-0748-C1C5-0E022EE8CE3C}"/>
                  </a:ext>
                </a:extLst>
              </p:cNvPr>
              <p:cNvSpPr/>
              <p:nvPr/>
            </p:nvSpPr>
            <p:spPr>
              <a:xfrm>
                <a:off x="5094136" y="3326063"/>
                <a:ext cx="356668" cy="359816"/>
              </a:xfrm>
              <a:custGeom>
                <a:avLst/>
                <a:gdLst>
                  <a:gd name="connsiteX0" fmla="*/ 168704 w 356668"/>
                  <a:gd name="connsiteY0" fmla="*/ 349785 h 359816"/>
                  <a:gd name="connsiteX1" fmla="*/ 164373 w 356668"/>
                  <a:gd name="connsiteY1" fmla="*/ 359817 h 359816"/>
                  <a:gd name="connsiteX2" fmla="*/ 143000 w 356668"/>
                  <a:gd name="connsiteY2" fmla="*/ 349329 h 359816"/>
                  <a:gd name="connsiteX3" fmla="*/ 141917 w 356668"/>
                  <a:gd name="connsiteY3" fmla="*/ 337930 h 359816"/>
                  <a:gd name="connsiteX4" fmla="*/ 93414 w 356668"/>
                  <a:gd name="connsiteY4" fmla="*/ 306469 h 359816"/>
                  <a:gd name="connsiteX5" fmla="*/ 29523 w 356668"/>
                  <a:gd name="connsiteY5" fmla="*/ 315133 h 359816"/>
                  <a:gd name="connsiteX6" fmla="*/ 17497 w 356668"/>
                  <a:gd name="connsiteY6" fmla="*/ 312796 h 359816"/>
                  <a:gd name="connsiteX7" fmla="*/ 36762 w 356668"/>
                  <a:gd name="connsiteY7" fmla="*/ 289371 h 359816"/>
                  <a:gd name="connsiteX8" fmla="*/ 43202 w 356668"/>
                  <a:gd name="connsiteY8" fmla="*/ 286635 h 359816"/>
                  <a:gd name="connsiteX9" fmla="*/ 45596 w 356668"/>
                  <a:gd name="connsiteY9" fmla="*/ 267941 h 359816"/>
                  <a:gd name="connsiteX10" fmla="*/ 41264 w 356668"/>
                  <a:gd name="connsiteY10" fmla="*/ 248449 h 359816"/>
                  <a:gd name="connsiteX11" fmla="*/ 8891 w 356668"/>
                  <a:gd name="connsiteY11" fmla="*/ 223371 h 359816"/>
                  <a:gd name="connsiteX12" fmla="*/ 0 w 356668"/>
                  <a:gd name="connsiteY12" fmla="*/ 203708 h 359816"/>
                  <a:gd name="connsiteX13" fmla="*/ 86917 w 356668"/>
                  <a:gd name="connsiteY13" fmla="*/ 209977 h 359816"/>
                  <a:gd name="connsiteX14" fmla="*/ 115870 w 356668"/>
                  <a:gd name="connsiteY14" fmla="*/ 199376 h 359816"/>
                  <a:gd name="connsiteX15" fmla="*/ 120316 w 356668"/>
                  <a:gd name="connsiteY15" fmla="*/ 183475 h 359816"/>
                  <a:gd name="connsiteX16" fmla="*/ 130176 w 356668"/>
                  <a:gd name="connsiteY16" fmla="*/ 171221 h 359816"/>
                  <a:gd name="connsiteX17" fmla="*/ 141176 w 356668"/>
                  <a:gd name="connsiteY17" fmla="*/ 170024 h 359816"/>
                  <a:gd name="connsiteX18" fmla="*/ 148471 w 356668"/>
                  <a:gd name="connsiteY18" fmla="*/ 160392 h 359816"/>
                  <a:gd name="connsiteX19" fmla="*/ 154513 w 356668"/>
                  <a:gd name="connsiteY19" fmla="*/ 158055 h 359816"/>
                  <a:gd name="connsiteX20" fmla="*/ 186031 w 356668"/>
                  <a:gd name="connsiteY20" fmla="*/ 151273 h 359816"/>
                  <a:gd name="connsiteX21" fmla="*/ 202103 w 356668"/>
                  <a:gd name="connsiteY21" fmla="*/ 117076 h 359816"/>
                  <a:gd name="connsiteX22" fmla="*/ 211792 w 356668"/>
                  <a:gd name="connsiteY22" fmla="*/ 110066 h 359816"/>
                  <a:gd name="connsiteX23" fmla="*/ 206606 w 356668"/>
                  <a:gd name="connsiteY23" fmla="*/ 89605 h 359816"/>
                  <a:gd name="connsiteX24" fmla="*/ 230886 w 356668"/>
                  <a:gd name="connsiteY24" fmla="*/ 76781 h 359816"/>
                  <a:gd name="connsiteX25" fmla="*/ 246787 w 356668"/>
                  <a:gd name="connsiteY25" fmla="*/ 24574 h 359816"/>
                  <a:gd name="connsiteX26" fmla="*/ 270782 w 356668"/>
                  <a:gd name="connsiteY26" fmla="*/ 14828 h 359816"/>
                  <a:gd name="connsiteX27" fmla="*/ 287880 w 356668"/>
                  <a:gd name="connsiteY27" fmla="*/ 408 h 359816"/>
                  <a:gd name="connsiteX28" fmla="*/ 296999 w 356668"/>
                  <a:gd name="connsiteY28" fmla="*/ 10325 h 359816"/>
                  <a:gd name="connsiteX29" fmla="*/ 312103 w 356668"/>
                  <a:gd name="connsiteY29" fmla="*/ 11009 h 359816"/>
                  <a:gd name="connsiteX30" fmla="*/ 326694 w 356668"/>
                  <a:gd name="connsiteY30" fmla="*/ 21610 h 359816"/>
                  <a:gd name="connsiteX31" fmla="*/ 351259 w 356668"/>
                  <a:gd name="connsiteY31" fmla="*/ 48112 h 359816"/>
                  <a:gd name="connsiteX32" fmla="*/ 356445 w 356668"/>
                  <a:gd name="connsiteY32" fmla="*/ 55636 h 359816"/>
                  <a:gd name="connsiteX33" fmla="*/ 347839 w 356668"/>
                  <a:gd name="connsiteY33" fmla="*/ 72734 h 359816"/>
                  <a:gd name="connsiteX34" fmla="*/ 328461 w 356668"/>
                  <a:gd name="connsiteY34" fmla="*/ 77009 h 359816"/>
                  <a:gd name="connsiteX35" fmla="*/ 301673 w 356668"/>
                  <a:gd name="connsiteY35" fmla="*/ 70055 h 359816"/>
                  <a:gd name="connsiteX36" fmla="*/ 284575 w 356668"/>
                  <a:gd name="connsiteY36" fmla="*/ 86014 h 359816"/>
                  <a:gd name="connsiteX37" fmla="*/ 291927 w 356668"/>
                  <a:gd name="connsiteY37" fmla="*/ 97413 h 359816"/>
                  <a:gd name="connsiteX38" fmla="*/ 292326 w 356668"/>
                  <a:gd name="connsiteY38" fmla="*/ 105962 h 359816"/>
                  <a:gd name="connsiteX39" fmla="*/ 296430 w 356668"/>
                  <a:gd name="connsiteY39" fmla="*/ 116563 h 359816"/>
                  <a:gd name="connsiteX40" fmla="*/ 312445 w 356668"/>
                  <a:gd name="connsiteY40" fmla="*/ 137252 h 359816"/>
                  <a:gd name="connsiteX41" fmla="*/ 316207 w 356668"/>
                  <a:gd name="connsiteY41" fmla="*/ 142154 h 359816"/>
                  <a:gd name="connsiteX42" fmla="*/ 303383 w 356668"/>
                  <a:gd name="connsiteY42" fmla="*/ 160506 h 359816"/>
                  <a:gd name="connsiteX43" fmla="*/ 298139 w 356668"/>
                  <a:gd name="connsiteY43" fmla="*/ 181480 h 359816"/>
                  <a:gd name="connsiteX44" fmla="*/ 268388 w 356668"/>
                  <a:gd name="connsiteY44" fmla="*/ 219552 h 359816"/>
                  <a:gd name="connsiteX45" fmla="*/ 263715 w 356668"/>
                  <a:gd name="connsiteY45" fmla="*/ 227760 h 359816"/>
                  <a:gd name="connsiteX46" fmla="*/ 256932 w 356668"/>
                  <a:gd name="connsiteY46" fmla="*/ 232547 h 359816"/>
                  <a:gd name="connsiteX47" fmla="*/ 247072 w 356668"/>
                  <a:gd name="connsiteY47" fmla="*/ 250501 h 359816"/>
                  <a:gd name="connsiteX48" fmla="*/ 209798 w 356668"/>
                  <a:gd name="connsiteY48" fmla="*/ 256200 h 359816"/>
                  <a:gd name="connsiteX49" fmla="*/ 187513 w 356668"/>
                  <a:gd name="connsiteY49" fmla="*/ 275407 h 359816"/>
                  <a:gd name="connsiteX50" fmla="*/ 203699 w 356668"/>
                  <a:gd name="connsiteY50" fmla="*/ 293418 h 359816"/>
                  <a:gd name="connsiteX51" fmla="*/ 205580 w 356668"/>
                  <a:gd name="connsiteY51" fmla="*/ 299516 h 359816"/>
                  <a:gd name="connsiteX52" fmla="*/ 209228 w 356668"/>
                  <a:gd name="connsiteY52" fmla="*/ 303905 h 359816"/>
                  <a:gd name="connsiteX53" fmla="*/ 213103 w 356668"/>
                  <a:gd name="connsiteY53" fmla="*/ 311599 h 359816"/>
                  <a:gd name="connsiteX54" fmla="*/ 224502 w 356668"/>
                  <a:gd name="connsiteY54" fmla="*/ 341179 h 359816"/>
                  <a:gd name="connsiteX55" fmla="*/ 177824 w 356668"/>
                  <a:gd name="connsiteY55" fmla="*/ 346879 h 359816"/>
                  <a:gd name="connsiteX56" fmla="*/ 168704 w 356668"/>
                  <a:gd name="connsiteY56" fmla="*/ 349785 h 35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6668" h="359816">
                    <a:moveTo>
                      <a:pt x="168704" y="349785"/>
                    </a:moveTo>
                    <a:cubicBezTo>
                      <a:pt x="165729" y="352236"/>
                      <a:pt x="164116" y="355969"/>
                      <a:pt x="164373" y="359817"/>
                    </a:cubicBezTo>
                    <a:cubicBezTo>
                      <a:pt x="156508" y="357024"/>
                      <a:pt x="146305" y="356739"/>
                      <a:pt x="143000" y="349329"/>
                    </a:cubicBezTo>
                    <a:cubicBezTo>
                      <a:pt x="141946" y="345631"/>
                      <a:pt x="141581" y="341766"/>
                      <a:pt x="141917" y="337930"/>
                    </a:cubicBezTo>
                    <a:cubicBezTo>
                      <a:pt x="141062" y="316386"/>
                      <a:pt x="114901" y="304931"/>
                      <a:pt x="93414" y="306469"/>
                    </a:cubicBezTo>
                    <a:cubicBezTo>
                      <a:pt x="71927" y="308008"/>
                      <a:pt x="51010" y="317242"/>
                      <a:pt x="29523" y="315133"/>
                    </a:cubicBezTo>
                    <a:cubicBezTo>
                      <a:pt x="25459" y="314665"/>
                      <a:pt x="21442" y="313884"/>
                      <a:pt x="17497" y="312796"/>
                    </a:cubicBezTo>
                    <a:cubicBezTo>
                      <a:pt x="19544" y="302229"/>
                      <a:pt x="26793" y="293418"/>
                      <a:pt x="36762" y="289371"/>
                    </a:cubicBezTo>
                    <a:cubicBezTo>
                      <a:pt x="39024" y="288767"/>
                      <a:pt x="41196" y="287844"/>
                      <a:pt x="43202" y="286635"/>
                    </a:cubicBezTo>
                    <a:cubicBezTo>
                      <a:pt x="48902" y="282646"/>
                      <a:pt x="47989" y="274267"/>
                      <a:pt x="45596" y="267941"/>
                    </a:cubicBezTo>
                    <a:cubicBezTo>
                      <a:pt x="43202" y="261615"/>
                      <a:pt x="39896" y="255060"/>
                      <a:pt x="41264" y="248449"/>
                    </a:cubicBezTo>
                    <a:cubicBezTo>
                      <a:pt x="30777" y="239672"/>
                      <a:pt x="18010" y="233573"/>
                      <a:pt x="8891" y="223371"/>
                    </a:cubicBezTo>
                    <a:cubicBezTo>
                      <a:pt x="4029" y="217854"/>
                      <a:pt x="929" y="211003"/>
                      <a:pt x="0" y="203708"/>
                    </a:cubicBezTo>
                    <a:cubicBezTo>
                      <a:pt x="28765" y="208068"/>
                      <a:pt x="57827" y="210165"/>
                      <a:pt x="86917" y="209977"/>
                    </a:cubicBezTo>
                    <a:cubicBezTo>
                      <a:pt x="97689" y="209977"/>
                      <a:pt x="110285" y="208610"/>
                      <a:pt x="115870" y="199376"/>
                    </a:cubicBezTo>
                    <a:cubicBezTo>
                      <a:pt x="118144" y="194332"/>
                      <a:pt x="119643" y="188969"/>
                      <a:pt x="120316" y="183475"/>
                    </a:cubicBezTo>
                    <a:cubicBezTo>
                      <a:pt x="121085" y="177884"/>
                      <a:pt x="124875" y="173170"/>
                      <a:pt x="130176" y="171221"/>
                    </a:cubicBezTo>
                    <a:cubicBezTo>
                      <a:pt x="133824" y="170480"/>
                      <a:pt x="137984" y="171905"/>
                      <a:pt x="141176" y="170024"/>
                    </a:cubicBezTo>
                    <a:cubicBezTo>
                      <a:pt x="144368" y="168143"/>
                      <a:pt x="145280" y="162957"/>
                      <a:pt x="148471" y="160392"/>
                    </a:cubicBezTo>
                    <a:cubicBezTo>
                      <a:pt x="150278" y="159161"/>
                      <a:pt x="152347" y="158357"/>
                      <a:pt x="154513" y="158055"/>
                    </a:cubicBezTo>
                    <a:lnTo>
                      <a:pt x="186031" y="151273"/>
                    </a:lnTo>
                    <a:cubicBezTo>
                      <a:pt x="182508" y="137497"/>
                      <a:pt x="189251" y="123157"/>
                      <a:pt x="202103" y="117076"/>
                    </a:cubicBezTo>
                    <a:cubicBezTo>
                      <a:pt x="205865" y="115423"/>
                      <a:pt x="210596" y="114055"/>
                      <a:pt x="211792" y="110066"/>
                    </a:cubicBezTo>
                    <a:cubicBezTo>
                      <a:pt x="213901" y="102941"/>
                      <a:pt x="202103" y="95532"/>
                      <a:pt x="206606" y="89605"/>
                    </a:cubicBezTo>
                    <a:cubicBezTo>
                      <a:pt x="215611" y="87154"/>
                      <a:pt x="225300" y="84247"/>
                      <a:pt x="230886" y="76781"/>
                    </a:cubicBezTo>
                    <a:cubicBezTo>
                      <a:pt x="242285" y="61677"/>
                      <a:pt x="231285" y="35118"/>
                      <a:pt x="246787" y="24574"/>
                    </a:cubicBezTo>
                    <a:cubicBezTo>
                      <a:pt x="254026" y="19672"/>
                      <a:pt x="264399" y="20755"/>
                      <a:pt x="270782" y="14828"/>
                    </a:cubicBezTo>
                    <a:cubicBezTo>
                      <a:pt x="277165" y="8900"/>
                      <a:pt x="280357" y="-2271"/>
                      <a:pt x="287880" y="408"/>
                    </a:cubicBezTo>
                    <a:cubicBezTo>
                      <a:pt x="286626" y="5309"/>
                      <a:pt x="291984" y="9584"/>
                      <a:pt x="296999" y="10325"/>
                    </a:cubicBezTo>
                    <a:cubicBezTo>
                      <a:pt x="302015" y="11066"/>
                      <a:pt x="307202" y="9812"/>
                      <a:pt x="312103" y="11009"/>
                    </a:cubicBezTo>
                    <a:cubicBezTo>
                      <a:pt x="317888" y="13061"/>
                      <a:pt x="322955" y="16743"/>
                      <a:pt x="326694" y="21610"/>
                    </a:cubicBezTo>
                    <a:lnTo>
                      <a:pt x="351259" y="48112"/>
                    </a:lnTo>
                    <a:cubicBezTo>
                      <a:pt x="353516" y="50215"/>
                      <a:pt x="355282" y="52780"/>
                      <a:pt x="356445" y="55636"/>
                    </a:cubicBezTo>
                    <a:cubicBezTo>
                      <a:pt x="357613" y="62600"/>
                      <a:pt x="354131" y="69525"/>
                      <a:pt x="347839" y="72734"/>
                    </a:cubicBezTo>
                    <a:cubicBezTo>
                      <a:pt x="342037" y="76279"/>
                      <a:pt x="335215" y="77784"/>
                      <a:pt x="328461" y="77009"/>
                    </a:cubicBezTo>
                    <a:cubicBezTo>
                      <a:pt x="319285" y="75926"/>
                      <a:pt x="310906" y="70625"/>
                      <a:pt x="301673" y="70055"/>
                    </a:cubicBezTo>
                    <a:cubicBezTo>
                      <a:pt x="292440" y="69485"/>
                      <a:pt x="281497" y="77408"/>
                      <a:pt x="284575" y="86014"/>
                    </a:cubicBezTo>
                    <a:cubicBezTo>
                      <a:pt x="286171" y="90288"/>
                      <a:pt x="290673" y="92967"/>
                      <a:pt x="291927" y="97413"/>
                    </a:cubicBezTo>
                    <a:cubicBezTo>
                      <a:pt x="292343" y="100240"/>
                      <a:pt x="292480" y="103107"/>
                      <a:pt x="292326" y="105962"/>
                    </a:cubicBezTo>
                    <a:cubicBezTo>
                      <a:pt x="292885" y="109758"/>
                      <a:pt x="294286" y="113377"/>
                      <a:pt x="296430" y="116563"/>
                    </a:cubicBezTo>
                    <a:cubicBezTo>
                      <a:pt x="300910" y="124081"/>
                      <a:pt x="306290" y="131028"/>
                      <a:pt x="312445" y="137252"/>
                    </a:cubicBezTo>
                    <a:cubicBezTo>
                      <a:pt x="314030" y="138603"/>
                      <a:pt x="315312" y="140273"/>
                      <a:pt x="316207" y="142154"/>
                    </a:cubicBezTo>
                    <a:cubicBezTo>
                      <a:pt x="318999" y="149677"/>
                      <a:pt x="309025" y="154863"/>
                      <a:pt x="303383" y="160506"/>
                    </a:cubicBezTo>
                    <a:cubicBezTo>
                      <a:pt x="297923" y="166006"/>
                      <a:pt x="295911" y="174054"/>
                      <a:pt x="298139" y="181480"/>
                    </a:cubicBezTo>
                    <a:cubicBezTo>
                      <a:pt x="285048" y="191334"/>
                      <a:pt x="274789" y="204466"/>
                      <a:pt x="268388" y="219552"/>
                    </a:cubicBezTo>
                    <a:cubicBezTo>
                      <a:pt x="267408" y="222579"/>
                      <a:pt x="265818" y="225372"/>
                      <a:pt x="263715" y="227760"/>
                    </a:cubicBezTo>
                    <a:cubicBezTo>
                      <a:pt x="261720" y="229698"/>
                      <a:pt x="259041" y="230723"/>
                      <a:pt x="256932" y="232547"/>
                    </a:cubicBezTo>
                    <a:cubicBezTo>
                      <a:pt x="251746" y="237107"/>
                      <a:pt x="251518" y="245257"/>
                      <a:pt x="247072" y="250501"/>
                    </a:cubicBezTo>
                    <a:cubicBezTo>
                      <a:pt x="238637" y="260418"/>
                      <a:pt x="222621" y="254319"/>
                      <a:pt x="209798" y="256200"/>
                    </a:cubicBezTo>
                    <a:cubicBezTo>
                      <a:pt x="199385" y="257978"/>
                      <a:pt x="190807" y="265371"/>
                      <a:pt x="187513" y="275407"/>
                    </a:cubicBezTo>
                    <a:cubicBezTo>
                      <a:pt x="195469" y="278491"/>
                      <a:pt x="201482" y="285176"/>
                      <a:pt x="203699" y="293418"/>
                    </a:cubicBezTo>
                    <a:cubicBezTo>
                      <a:pt x="204030" y="295532"/>
                      <a:pt x="204662" y="297584"/>
                      <a:pt x="205580" y="299516"/>
                    </a:cubicBezTo>
                    <a:cubicBezTo>
                      <a:pt x="206686" y="301066"/>
                      <a:pt x="207906" y="302537"/>
                      <a:pt x="209228" y="303905"/>
                    </a:cubicBezTo>
                    <a:cubicBezTo>
                      <a:pt x="210921" y="306247"/>
                      <a:pt x="212231" y="308846"/>
                      <a:pt x="213103" y="311599"/>
                    </a:cubicBezTo>
                    <a:cubicBezTo>
                      <a:pt x="216905" y="321476"/>
                      <a:pt x="220701" y="331336"/>
                      <a:pt x="224502" y="341179"/>
                    </a:cubicBezTo>
                    <a:lnTo>
                      <a:pt x="177824" y="346879"/>
                    </a:lnTo>
                    <a:cubicBezTo>
                      <a:pt x="174586" y="347050"/>
                      <a:pt x="171446" y="348053"/>
                      <a:pt x="168704" y="349785"/>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15" name="Freihandform: Form 709">
                <a:extLst>
                  <a:ext uri="{FF2B5EF4-FFF2-40B4-BE49-F238E27FC236}">
                    <a16:creationId xmlns:a16="http://schemas.microsoft.com/office/drawing/2014/main" id="{90100536-6176-FBF7-7FA3-D244CE5E5123}"/>
                  </a:ext>
                </a:extLst>
              </p:cNvPr>
              <p:cNvSpPr/>
              <p:nvPr/>
            </p:nvSpPr>
            <p:spPr>
              <a:xfrm>
                <a:off x="5087867" y="3302617"/>
                <a:ext cx="250035" cy="233485"/>
              </a:xfrm>
              <a:custGeom>
                <a:avLst/>
                <a:gdLst>
                  <a:gd name="connsiteX0" fmla="*/ 247699 w 250035"/>
                  <a:gd name="connsiteY0" fmla="*/ 37875 h 233485"/>
                  <a:gd name="connsiteX1" fmla="*/ 250036 w 250035"/>
                  <a:gd name="connsiteY1" fmla="*/ 50927 h 233485"/>
                  <a:gd name="connsiteX2" fmla="*/ 237269 w 250035"/>
                  <a:gd name="connsiteY2" fmla="*/ 100284 h 233485"/>
                  <a:gd name="connsiteX3" fmla="*/ 212989 w 250035"/>
                  <a:gd name="connsiteY3" fmla="*/ 113108 h 233485"/>
                  <a:gd name="connsiteX4" fmla="*/ 218176 w 250035"/>
                  <a:gd name="connsiteY4" fmla="*/ 133569 h 233485"/>
                  <a:gd name="connsiteX5" fmla="*/ 208486 w 250035"/>
                  <a:gd name="connsiteY5" fmla="*/ 140579 h 233485"/>
                  <a:gd name="connsiteX6" fmla="*/ 192414 w 250035"/>
                  <a:gd name="connsiteY6" fmla="*/ 174776 h 233485"/>
                  <a:gd name="connsiteX7" fmla="*/ 160896 w 250035"/>
                  <a:gd name="connsiteY7" fmla="*/ 181558 h 233485"/>
                  <a:gd name="connsiteX8" fmla="*/ 154855 w 250035"/>
                  <a:gd name="connsiteY8" fmla="*/ 183895 h 233485"/>
                  <a:gd name="connsiteX9" fmla="*/ 147559 w 250035"/>
                  <a:gd name="connsiteY9" fmla="*/ 193527 h 233485"/>
                  <a:gd name="connsiteX10" fmla="*/ 136559 w 250035"/>
                  <a:gd name="connsiteY10" fmla="*/ 194724 h 233485"/>
                  <a:gd name="connsiteX11" fmla="*/ 126699 w 250035"/>
                  <a:gd name="connsiteY11" fmla="*/ 206978 h 233485"/>
                  <a:gd name="connsiteX12" fmla="*/ 122253 w 250035"/>
                  <a:gd name="connsiteY12" fmla="*/ 222880 h 233485"/>
                  <a:gd name="connsiteX13" fmla="*/ 93300 w 250035"/>
                  <a:gd name="connsiteY13" fmla="*/ 233481 h 233485"/>
                  <a:gd name="connsiteX14" fmla="*/ 6269 w 250035"/>
                  <a:gd name="connsiteY14" fmla="*/ 226983 h 233485"/>
                  <a:gd name="connsiteX15" fmla="*/ 11228 w 250035"/>
                  <a:gd name="connsiteY15" fmla="*/ 209429 h 233485"/>
                  <a:gd name="connsiteX16" fmla="*/ 25818 w 250035"/>
                  <a:gd name="connsiteY16" fmla="*/ 190792 h 233485"/>
                  <a:gd name="connsiteX17" fmla="*/ 6839 w 250035"/>
                  <a:gd name="connsiteY17" fmla="*/ 175061 h 233485"/>
                  <a:gd name="connsiteX18" fmla="*/ 2679 w 250035"/>
                  <a:gd name="connsiteY18" fmla="*/ 159901 h 233485"/>
                  <a:gd name="connsiteX19" fmla="*/ 0 w 250035"/>
                  <a:gd name="connsiteY19" fmla="*/ 105470 h 233485"/>
                  <a:gd name="connsiteX20" fmla="*/ 11000 w 250035"/>
                  <a:gd name="connsiteY20" fmla="*/ 87973 h 233485"/>
                  <a:gd name="connsiteX21" fmla="*/ 12254 w 250035"/>
                  <a:gd name="connsiteY21" fmla="*/ 75206 h 233485"/>
                  <a:gd name="connsiteX22" fmla="*/ 21088 w 250035"/>
                  <a:gd name="connsiteY22" fmla="*/ 74522 h 233485"/>
                  <a:gd name="connsiteX23" fmla="*/ 31119 w 250035"/>
                  <a:gd name="connsiteY23" fmla="*/ 83186 h 233485"/>
                  <a:gd name="connsiteX24" fmla="*/ 37788 w 250035"/>
                  <a:gd name="connsiteY24" fmla="*/ 83186 h 233485"/>
                  <a:gd name="connsiteX25" fmla="*/ 47590 w 250035"/>
                  <a:gd name="connsiteY25" fmla="*/ 88486 h 233485"/>
                  <a:gd name="connsiteX26" fmla="*/ 51010 w 250035"/>
                  <a:gd name="connsiteY26" fmla="*/ 82787 h 233485"/>
                  <a:gd name="connsiteX27" fmla="*/ 51010 w 250035"/>
                  <a:gd name="connsiteY27" fmla="*/ 75434 h 233485"/>
                  <a:gd name="connsiteX28" fmla="*/ 63549 w 250035"/>
                  <a:gd name="connsiteY28" fmla="*/ 67341 h 233485"/>
                  <a:gd name="connsiteX29" fmla="*/ 74435 w 250035"/>
                  <a:gd name="connsiteY29" fmla="*/ 57823 h 233485"/>
                  <a:gd name="connsiteX30" fmla="*/ 86347 w 250035"/>
                  <a:gd name="connsiteY30" fmla="*/ 52876 h 233485"/>
                  <a:gd name="connsiteX31" fmla="*/ 87031 w 250035"/>
                  <a:gd name="connsiteY31" fmla="*/ 49673 h 233485"/>
                  <a:gd name="connsiteX32" fmla="*/ 87031 w 250035"/>
                  <a:gd name="connsiteY32" fmla="*/ 44486 h 233485"/>
                  <a:gd name="connsiteX33" fmla="*/ 99114 w 250035"/>
                  <a:gd name="connsiteY33" fmla="*/ 36051 h 233485"/>
                  <a:gd name="connsiteX34" fmla="*/ 101963 w 250035"/>
                  <a:gd name="connsiteY34" fmla="*/ 29725 h 233485"/>
                  <a:gd name="connsiteX35" fmla="*/ 107378 w 250035"/>
                  <a:gd name="connsiteY35" fmla="*/ 26989 h 233485"/>
                  <a:gd name="connsiteX36" fmla="*/ 123450 w 250035"/>
                  <a:gd name="connsiteY36" fmla="*/ 22543 h 233485"/>
                  <a:gd name="connsiteX37" fmla="*/ 138098 w 250035"/>
                  <a:gd name="connsiteY37" fmla="*/ 20149 h 233485"/>
                  <a:gd name="connsiteX38" fmla="*/ 150808 w 250035"/>
                  <a:gd name="connsiteY38" fmla="*/ 26761 h 233485"/>
                  <a:gd name="connsiteX39" fmla="*/ 154855 w 250035"/>
                  <a:gd name="connsiteY39" fmla="*/ 31890 h 233485"/>
                  <a:gd name="connsiteX40" fmla="*/ 162834 w 250035"/>
                  <a:gd name="connsiteY40" fmla="*/ 30921 h 233485"/>
                  <a:gd name="connsiteX41" fmla="*/ 170072 w 250035"/>
                  <a:gd name="connsiteY41" fmla="*/ 42719 h 233485"/>
                  <a:gd name="connsiteX42" fmla="*/ 198569 w 250035"/>
                  <a:gd name="connsiteY42" fmla="*/ 31035 h 233485"/>
                  <a:gd name="connsiteX43" fmla="*/ 203927 w 250035"/>
                  <a:gd name="connsiteY43" fmla="*/ 26590 h 233485"/>
                  <a:gd name="connsiteX44" fmla="*/ 205181 w 250035"/>
                  <a:gd name="connsiteY44" fmla="*/ 23113 h 233485"/>
                  <a:gd name="connsiteX45" fmla="*/ 214414 w 250035"/>
                  <a:gd name="connsiteY45" fmla="*/ 18611 h 233485"/>
                  <a:gd name="connsiteX46" fmla="*/ 220114 w 250035"/>
                  <a:gd name="connsiteY46" fmla="*/ 12056 h 233485"/>
                  <a:gd name="connsiteX47" fmla="*/ 227808 w 250035"/>
                  <a:gd name="connsiteY47" fmla="*/ 10061 h 233485"/>
                  <a:gd name="connsiteX48" fmla="*/ 228834 w 250035"/>
                  <a:gd name="connsiteY48" fmla="*/ 3108 h 233485"/>
                  <a:gd name="connsiteX49" fmla="*/ 234533 w 250035"/>
                  <a:gd name="connsiteY49" fmla="*/ 87 h 233485"/>
                  <a:gd name="connsiteX50" fmla="*/ 238010 w 250035"/>
                  <a:gd name="connsiteY50" fmla="*/ 6699 h 233485"/>
                  <a:gd name="connsiteX51" fmla="*/ 238409 w 250035"/>
                  <a:gd name="connsiteY51" fmla="*/ 14621 h 233485"/>
                  <a:gd name="connsiteX52" fmla="*/ 244792 w 250035"/>
                  <a:gd name="connsiteY52" fmla="*/ 16274 h 233485"/>
                  <a:gd name="connsiteX53" fmla="*/ 247699 w 250035"/>
                  <a:gd name="connsiteY53" fmla="*/ 37875 h 2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0035" h="233485">
                    <a:moveTo>
                      <a:pt x="247699" y="37875"/>
                    </a:moveTo>
                    <a:cubicBezTo>
                      <a:pt x="247933" y="42303"/>
                      <a:pt x="248719" y="46692"/>
                      <a:pt x="250036" y="50927"/>
                    </a:cubicBezTo>
                    <a:cubicBezTo>
                      <a:pt x="239264" y="62781"/>
                      <a:pt x="247471" y="86377"/>
                      <a:pt x="237269" y="100284"/>
                    </a:cubicBezTo>
                    <a:cubicBezTo>
                      <a:pt x="231570" y="107750"/>
                      <a:pt x="221994" y="110657"/>
                      <a:pt x="212989" y="113108"/>
                    </a:cubicBezTo>
                    <a:cubicBezTo>
                      <a:pt x="208486" y="118807"/>
                      <a:pt x="220284" y="126445"/>
                      <a:pt x="218176" y="133569"/>
                    </a:cubicBezTo>
                    <a:cubicBezTo>
                      <a:pt x="216979" y="137559"/>
                      <a:pt x="212476" y="138926"/>
                      <a:pt x="208486" y="140579"/>
                    </a:cubicBezTo>
                    <a:cubicBezTo>
                      <a:pt x="195634" y="146661"/>
                      <a:pt x="188892" y="161001"/>
                      <a:pt x="192414" y="174776"/>
                    </a:cubicBezTo>
                    <a:lnTo>
                      <a:pt x="160896" y="181558"/>
                    </a:lnTo>
                    <a:cubicBezTo>
                      <a:pt x="158730" y="181861"/>
                      <a:pt x="156661" y="182664"/>
                      <a:pt x="154855" y="183895"/>
                    </a:cubicBezTo>
                    <a:cubicBezTo>
                      <a:pt x="151663" y="186460"/>
                      <a:pt x="151093" y="191476"/>
                      <a:pt x="147559" y="193527"/>
                    </a:cubicBezTo>
                    <a:cubicBezTo>
                      <a:pt x="144025" y="195579"/>
                      <a:pt x="140207" y="193983"/>
                      <a:pt x="136559" y="194724"/>
                    </a:cubicBezTo>
                    <a:cubicBezTo>
                      <a:pt x="131259" y="196674"/>
                      <a:pt x="127469" y="201387"/>
                      <a:pt x="126699" y="206978"/>
                    </a:cubicBezTo>
                    <a:cubicBezTo>
                      <a:pt x="126027" y="212472"/>
                      <a:pt x="124528" y="217836"/>
                      <a:pt x="122253" y="222880"/>
                    </a:cubicBezTo>
                    <a:cubicBezTo>
                      <a:pt x="116554" y="232113"/>
                      <a:pt x="104072" y="233481"/>
                      <a:pt x="93300" y="233481"/>
                    </a:cubicBezTo>
                    <a:cubicBezTo>
                      <a:pt x="64165" y="233600"/>
                      <a:pt x="35063" y="231423"/>
                      <a:pt x="6269" y="226983"/>
                    </a:cubicBezTo>
                    <a:cubicBezTo>
                      <a:pt x="5249" y="220685"/>
                      <a:pt x="7061" y="214262"/>
                      <a:pt x="11228" y="209429"/>
                    </a:cubicBezTo>
                    <a:cubicBezTo>
                      <a:pt x="16927" y="203388"/>
                      <a:pt x="27186" y="198942"/>
                      <a:pt x="25818" y="190792"/>
                    </a:cubicBezTo>
                    <a:cubicBezTo>
                      <a:pt x="24451" y="182641"/>
                      <a:pt x="12368" y="181501"/>
                      <a:pt x="6839" y="175061"/>
                    </a:cubicBezTo>
                    <a:cubicBezTo>
                      <a:pt x="3819" y="170604"/>
                      <a:pt x="2354" y="165275"/>
                      <a:pt x="2679" y="159901"/>
                    </a:cubicBezTo>
                    <a:cubicBezTo>
                      <a:pt x="1767" y="141719"/>
                      <a:pt x="912" y="123595"/>
                      <a:pt x="0" y="105470"/>
                    </a:cubicBezTo>
                    <a:cubicBezTo>
                      <a:pt x="7523" y="105015"/>
                      <a:pt x="10259" y="95496"/>
                      <a:pt x="11000" y="87973"/>
                    </a:cubicBezTo>
                    <a:cubicBezTo>
                      <a:pt x="11456" y="83755"/>
                      <a:pt x="11855" y="79481"/>
                      <a:pt x="12254" y="75206"/>
                    </a:cubicBezTo>
                    <a:cubicBezTo>
                      <a:pt x="14887" y="73491"/>
                      <a:pt x="18221" y="73229"/>
                      <a:pt x="21088" y="74522"/>
                    </a:cubicBezTo>
                    <a:cubicBezTo>
                      <a:pt x="25077" y="76631"/>
                      <a:pt x="26787" y="82445"/>
                      <a:pt x="31119" y="83186"/>
                    </a:cubicBezTo>
                    <a:cubicBezTo>
                      <a:pt x="33342" y="83585"/>
                      <a:pt x="35622" y="82559"/>
                      <a:pt x="37788" y="83186"/>
                    </a:cubicBezTo>
                    <a:cubicBezTo>
                      <a:pt x="41549" y="84097"/>
                      <a:pt x="43829" y="89341"/>
                      <a:pt x="47590" y="88486"/>
                    </a:cubicBezTo>
                    <a:cubicBezTo>
                      <a:pt x="49984" y="87973"/>
                      <a:pt x="51067" y="85066"/>
                      <a:pt x="51010" y="82787"/>
                    </a:cubicBezTo>
                    <a:cubicBezTo>
                      <a:pt x="50697" y="80347"/>
                      <a:pt x="50697" y="77874"/>
                      <a:pt x="51010" y="75434"/>
                    </a:cubicBezTo>
                    <a:cubicBezTo>
                      <a:pt x="52321" y="70362"/>
                      <a:pt x="58476" y="68595"/>
                      <a:pt x="63549" y="67341"/>
                    </a:cubicBezTo>
                    <a:cubicBezTo>
                      <a:pt x="68622" y="66087"/>
                      <a:pt x="74948" y="63066"/>
                      <a:pt x="74435" y="57823"/>
                    </a:cubicBezTo>
                    <a:cubicBezTo>
                      <a:pt x="79091" y="59744"/>
                      <a:pt x="84420" y="57532"/>
                      <a:pt x="86347" y="52876"/>
                    </a:cubicBezTo>
                    <a:cubicBezTo>
                      <a:pt x="86763" y="51856"/>
                      <a:pt x="86997" y="50773"/>
                      <a:pt x="87031" y="49673"/>
                    </a:cubicBezTo>
                    <a:cubicBezTo>
                      <a:pt x="86751" y="47957"/>
                      <a:pt x="86751" y="46202"/>
                      <a:pt x="87031" y="44486"/>
                    </a:cubicBezTo>
                    <a:cubicBezTo>
                      <a:pt x="88285" y="39528"/>
                      <a:pt x="96150" y="40212"/>
                      <a:pt x="99114" y="36051"/>
                    </a:cubicBezTo>
                    <a:cubicBezTo>
                      <a:pt x="100482" y="34170"/>
                      <a:pt x="100538" y="31548"/>
                      <a:pt x="101963" y="29725"/>
                    </a:cubicBezTo>
                    <a:cubicBezTo>
                      <a:pt x="103462" y="28305"/>
                      <a:pt x="105343" y="27359"/>
                      <a:pt x="107378" y="26989"/>
                    </a:cubicBezTo>
                    <a:lnTo>
                      <a:pt x="123450" y="22543"/>
                    </a:lnTo>
                    <a:cubicBezTo>
                      <a:pt x="128181" y="20987"/>
                      <a:pt x="133123" y="20178"/>
                      <a:pt x="138098" y="20149"/>
                    </a:cubicBezTo>
                    <a:cubicBezTo>
                      <a:pt x="143148" y="20201"/>
                      <a:pt x="147867" y="22657"/>
                      <a:pt x="150808" y="26761"/>
                    </a:cubicBezTo>
                    <a:cubicBezTo>
                      <a:pt x="151948" y="28642"/>
                      <a:pt x="152803" y="31035"/>
                      <a:pt x="154855" y="31890"/>
                    </a:cubicBezTo>
                    <a:cubicBezTo>
                      <a:pt x="156906" y="32745"/>
                      <a:pt x="160155" y="30807"/>
                      <a:pt x="162834" y="30921"/>
                    </a:cubicBezTo>
                    <a:cubicBezTo>
                      <a:pt x="167963" y="30921"/>
                      <a:pt x="169730" y="37647"/>
                      <a:pt x="170072" y="42719"/>
                    </a:cubicBezTo>
                    <a:cubicBezTo>
                      <a:pt x="179995" y="39949"/>
                      <a:pt x="189559" y="36028"/>
                      <a:pt x="198569" y="31035"/>
                    </a:cubicBezTo>
                    <a:cubicBezTo>
                      <a:pt x="200792" y="30180"/>
                      <a:pt x="202679" y="28619"/>
                      <a:pt x="203927" y="26590"/>
                    </a:cubicBezTo>
                    <a:cubicBezTo>
                      <a:pt x="204275" y="25410"/>
                      <a:pt x="204696" y="24247"/>
                      <a:pt x="205181" y="23113"/>
                    </a:cubicBezTo>
                    <a:cubicBezTo>
                      <a:pt x="206948" y="20035"/>
                      <a:pt x="211393" y="20377"/>
                      <a:pt x="214414" y="18611"/>
                    </a:cubicBezTo>
                    <a:cubicBezTo>
                      <a:pt x="217435" y="16844"/>
                      <a:pt x="218290" y="14279"/>
                      <a:pt x="220114" y="12056"/>
                    </a:cubicBezTo>
                    <a:cubicBezTo>
                      <a:pt x="221938" y="9833"/>
                      <a:pt x="225471" y="8237"/>
                      <a:pt x="227808" y="10061"/>
                    </a:cubicBezTo>
                    <a:cubicBezTo>
                      <a:pt x="227626" y="7696"/>
                      <a:pt x="227973" y="5319"/>
                      <a:pt x="228834" y="3108"/>
                    </a:cubicBezTo>
                    <a:cubicBezTo>
                      <a:pt x="229802" y="897"/>
                      <a:pt x="232162" y="-352"/>
                      <a:pt x="234533" y="87"/>
                    </a:cubicBezTo>
                    <a:cubicBezTo>
                      <a:pt x="237098" y="885"/>
                      <a:pt x="238010" y="4020"/>
                      <a:pt x="238010" y="6699"/>
                    </a:cubicBezTo>
                    <a:cubicBezTo>
                      <a:pt x="237565" y="9337"/>
                      <a:pt x="237702" y="12039"/>
                      <a:pt x="238409" y="14621"/>
                    </a:cubicBezTo>
                    <a:cubicBezTo>
                      <a:pt x="239492" y="17072"/>
                      <a:pt x="243253" y="18497"/>
                      <a:pt x="244792" y="16274"/>
                    </a:cubicBezTo>
                    <a:cubicBezTo>
                      <a:pt x="248383" y="22258"/>
                      <a:pt x="247357" y="30351"/>
                      <a:pt x="247699" y="3787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6" name="Freihandform: Form 710">
                <a:extLst>
                  <a:ext uri="{FF2B5EF4-FFF2-40B4-BE49-F238E27FC236}">
                    <a16:creationId xmlns:a16="http://schemas.microsoft.com/office/drawing/2014/main" id="{5486526E-874B-A783-DF41-71BF6F9B0741}"/>
                  </a:ext>
                </a:extLst>
              </p:cNvPr>
              <p:cNvSpPr/>
              <p:nvPr/>
            </p:nvSpPr>
            <p:spPr>
              <a:xfrm>
                <a:off x="5521073" y="3515804"/>
                <a:ext cx="169844" cy="104487"/>
              </a:xfrm>
              <a:custGeom>
                <a:avLst/>
                <a:gdLst>
                  <a:gd name="connsiteX0" fmla="*/ 156347 w 169844"/>
                  <a:gd name="connsiteY0" fmla="*/ 93019 h 104487"/>
                  <a:gd name="connsiteX1" fmla="*/ 150135 w 169844"/>
                  <a:gd name="connsiteY1" fmla="*/ 103392 h 104487"/>
                  <a:gd name="connsiteX2" fmla="*/ 142212 w 169844"/>
                  <a:gd name="connsiteY2" fmla="*/ 104475 h 104487"/>
                  <a:gd name="connsiteX3" fmla="*/ 118104 w 169844"/>
                  <a:gd name="connsiteY3" fmla="*/ 100599 h 104487"/>
                  <a:gd name="connsiteX4" fmla="*/ 85617 w 169844"/>
                  <a:gd name="connsiteY4" fmla="*/ 83159 h 104487"/>
                  <a:gd name="connsiteX5" fmla="*/ 58601 w 169844"/>
                  <a:gd name="connsiteY5" fmla="*/ 77858 h 104487"/>
                  <a:gd name="connsiteX6" fmla="*/ 51990 w 169844"/>
                  <a:gd name="connsiteY6" fmla="*/ 75465 h 104487"/>
                  <a:gd name="connsiteX7" fmla="*/ 44751 w 169844"/>
                  <a:gd name="connsiteY7" fmla="*/ 67884 h 104487"/>
                  <a:gd name="connsiteX8" fmla="*/ 33922 w 169844"/>
                  <a:gd name="connsiteY8" fmla="*/ 66345 h 104487"/>
                  <a:gd name="connsiteX9" fmla="*/ 865 w 169844"/>
                  <a:gd name="connsiteY9" fmla="*/ 44859 h 104487"/>
                  <a:gd name="connsiteX10" fmla="*/ 2461 w 169844"/>
                  <a:gd name="connsiteY10" fmla="*/ 16760 h 104487"/>
                  <a:gd name="connsiteX11" fmla="*/ 2860 w 169844"/>
                  <a:gd name="connsiteY11" fmla="*/ 7755 h 104487"/>
                  <a:gd name="connsiteX12" fmla="*/ 6052 w 169844"/>
                  <a:gd name="connsiteY12" fmla="*/ 6102 h 104487"/>
                  <a:gd name="connsiteX13" fmla="*/ 43526 w 169844"/>
                  <a:gd name="connsiteY13" fmla="*/ 9658 h 104487"/>
                  <a:gd name="connsiteX14" fmla="*/ 43783 w 169844"/>
                  <a:gd name="connsiteY14" fmla="*/ 9978 h 104487"/>
                  <a:gd name="connsiteX15" fmla="*/ 64528 w 169844"/>
                  <a:gd name="connsiteY15" fmla="*/ 27589 h 104487"/>
                  <a:gd name="connsiteX16" fmla="*/ 115368 w 169844"/>
                  <a:gd name="connsiteY16" fmla="*/ 55402 h 104487"/>
                  <a:gd name="connsiteX17" fmla="*/ 128363 w 169844"/>
                  <a:gd name="connsiteY17" fmla="*/ 57454 h 104487"/>
                  <a:gd name="connsiteX18" fmla="*/ 135772 w 169844"/>
                  <a:gd name="connsiteY18" fmla="*/ 61900 h 104487"/>
                  <a:gd name="connsiteX19" fmla="*/ 158000 w 169844"/>
                  <a:gd name="connsiteY19" fmla="*/ 66687 h 104487"/>
                  <a:gd name="connsiteX20" fmla="*/ 168886 w 169844"/>
                  <a:gd name="connsiteY20" fmla="*/ 83273 h 104487"/>
                  <a:gd name="connsiteX21" fmla="*/ 156347 w 169844"/>
                  <a:gd name="connsiteY21" fmla="*/ 93019 h 10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844" h="104487">
                    <a:moveTo>
                      <a:pt x="156347" y="93019"/>
                    </a:moveTo>
                    <a:cubicBezTo>
                      <a:pt x="153714" y="96108"/>
                      <a:pt x="151617" y="99613"/>
                      <a:pt x="150135" y="103392"/>
                    </a:cubicBezTo>
                    <a:cubicBezTo>
                      <a:pt x="147513" y="103791"/>
                      <a:pt x="144891" y="104247"/>
                      <a:pt x="142212" y="104475"/>
                    </a:cubicBezTo>
                    <a:cubicBezTo>
                      <a:pt x="134011" y="104634"/>
                      <a:pt x="125843" y="103318"/>
                      <a:pt x="118104" y="100599"/>
                    </a:cubicBezTo>
                    <a:cubicBezTo>
                      <a:pt x="106078" y="97123"/>
                      <a:pt x="93254" y="93076"/>
                      <a:pt x="85617" y="83159"/>
                    </a:cubicBezTo>
                    <a:lnTo>
                      <a:pt x="58601" y="77858"/>
                    </a:lnTo>
                    <a:cubicBezTo>
                      <a:pt x="56241" y="77573"/>
                      <a:pt x="53984" y="76753"/>
                      <a:pt x="51990" y="75465"/>
                    </a:cubicBezTo>
                    <a:cubicBezTo>
                      <a:pt x="49140" y="73413"/>
                      <a:pt x="47772" y="69765"/>
                      <a:pt x="44751" y="67884"/>
                    </a:cubicBezTo>
                    <a:cubicBezTo>
                      <a:pt x="41280" y="66648"/>
                      <a:pt x="37599" y="66123"/>
                      <a:pt x="33922" y="66345"/>
                    </a:cubicBezTo>
                    <a:cubicBezTo>
                      <a:pt x="20643" y="64750"/>
                      <a:pt x="13974" y="47480"/>
                      <a:pt x="865" y="44859"/>
                    </a:cubicBezTo>
                    <a:cubicBezTo>
                      <a:pt x="-1358" y="35682"/>
                      <a:pt x="1264" y="26164"/>
                      <a:pt x="2461" y="16760"/>
                    </a:cubicBezTo>
                    <a:cubicBezTo>
                      <a:pt x="2854" y="13774"/>
                      <a:pt x="2986" y="10764"/>
                      <a:pt x="2860" y="7755"/>
                    </a:cubicBezTo>
                    <a:lnTo>
                      <a:pt x="6052" y="6102"/>
                    </a:lnTo>
                    <a:cubicBezTo>
                      <a:pt x="17382" y="-3262"/>
                      <a:pt x="34162" y="-1672"/>
                      <a:pt x="43526" y="9658"/>
                    </a:cubicBezTo>
                    <a:cubicBezTo>
                      <a:pt x="43611" y="9767"/>
                      <a:pt x="43697" y="9869"/>
                      <a:pt x="43783" y="9978"/>
                    </a:cubicBezTo>
                    <a:lnTo>
                      <a:pt x="64528" y="27589"/>
                    </a:lnTo>
                    <a:cubicBezTo>
                      <a:pt x="79518" y="40242"/>
                      <a:pt x="95818" y="53522"/>
                      <a:pt x="115368" y="55402"/>
                    </a:cubicBezTo>
                    <a:cubicBezTo>
                      <a:pt x="119779" y="55385"/>
                      <a:pt x="124168" y="56081"/>
                      <a:pt x="128363" y="57454"/>
                    </a:cubicBezTo>
                    <a:cubicBezTo>
                      <a:pt x="130984" y="58594"/>
                      <a:pt x="133207" y="60532"/>
                      <a:pt x="135772" y="61900"/>
                    </a:cubicBezTo>
                    <a:cubicBezTo>
                      <a:pt x="142497" y="65434"/>
                      <a:pt x="150648" y="64636"/>
                      <a:pt x="158000" y="66687"/>
                    </a:cubicBezTo>
                    <a:cubicBezTo>
                      <a:pt x="165352" y="68739"/>
                      <a:pt x="172476" y="76548"/>
                      <a:pt x="168886" y="83273"/>
                    </a:cubicBezTo>
                    <a:cubicBezTo>
                      <a:pt x="166549" y="88231"/>
                      <a:pt x="160223" y="89314"/>
                      <a:pt x="156347" y="93019"/>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17" name="Freihandform: Form 711">
                <a:extLst>
                  <a:ext uri="{FF2B5EF4-FFF2-40B4-BE49-F238E27FC236}">
                    <a16:creationId xmlns:a16="http://schemas.microsoft.com/office/drawing/2014/main" id="{7C15A3A0-1D75-1D2B-4621-6E667F58C977}"/>
                  </a:ext>
                </a:extLst>
              </p:cNvPr>
              <p:cNvSpPr/>
              <p:nvPr/>
            </p:nvSpPr>
            <p:spPr>
              <a:xfrm>
                <a:off x="5687223" y="3572688"/>
                <a:ext cx="64021" cy="33966"/>
              </a:xfrm>
              <a:custGeom>
                <a:avLst/>
                <a:gdLst>
                  <a:gd name="connsiteX0" fmla="*/ 29067 w 64021"/>
                  <a:gd name="connsiteY0" fmla="*/ 29694 h 33966"/>
                  <a:gd name="connsiteX1" fmla="*/ 3761 w 64021"/>
                  <a:gd name="connsiteY1" fmla="*/ 22912 h 33966"/>
                  <a:gd name="connsiteX2" fmla="*/ 0 w 64021"/>
                  <a:gd name="connsiteY2" fmla="*/ 14819 h 33966"/>
                  <a:gd name="connsiteX3" fmla="*/ 25306 w 64021"/>
                  <a:gd name="connsiteY3" fmla="*/ 3420 h 33966"/>
                  <a:gd name="connsiteX4" fmla="*/ 45425 w 64021"/>
                  <a:gd name="connsiteY4" fmla="*/ 0 h 33966"/>
                  <a:gd name="connsiteX5" fmla="*/ 50326 w 64021"/>
                  <a:gd name="connsiteY5" fmla="*/ 912 h 33966"/>
                  <a:gd name="connsiteX6" fmla="*/ 56026 w 64021"/>
                  <a:gd name="connsiteY6" fmla="*/ 4446 h 33966"/>
                  <a:gd name="connsiteX7" fmla="*/ 62865 w 64021"/>
                  <a:gd name="connsiteY7" fmla="*/ 31119 h 33966"/>
                  <a:gd name="connsiteX8" fmla="*/ 61839 w 64021"/>
                  <a:gd name="connsiteY8" fmla="*/ 33000 h 33966"/>
                  <a:gd name="connsiteX9" fmla="*/ 59503 w 64021"/>
                  <a:gd name="connsiteY9" fmla="*/ 33798 h 33966"/>
                  <a:gd name="connsiteX10" fmla="*/ 29067 w 64021"/>
                  <a:gd name="connsiteY10" fmla="*/ 29694 h 3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21" h="33966">
                    <a:moveTo>
                      <a:pt x="29067" y="29694"/>
                    </a:moveTo>
                    <a:lnTo>
                      <a:pt x="3761" y="22912"/>
                    </a:lnTo>
                    <a:cubicBezTo>
                      <a:pt x="3659" y="19817"/>
                      <a:pt x="2303" y="16893"/>
                      <a:pt x="0" y="14819"/>
                    </a:cubicBezTo>
                    <a:cubicBezTo>
                      <a:pt x="7461" y="9148"/>
                      <a:pt x="16113" y="5249"/>
                      <a:pt x="25306" y="3420"/>
                    </a:cubicBezTo>
                    <a:cubicBezTo>
                      <a:pt x="31786" y="1208"/>
                      <a:pt x="38580" y="57"/>
                      <a:pt x="45425" y="0"/>
                    </a:cubicBezTo>
                    <a:cubicBezTo>
                      <a:pt x="47095" y="74"/>
                      <a:pt x="48742" y="382"/>
                      <a:pt x="50326" y="912"/>
                    </a:cubicBezTo>
                    <a:cubicBezTo>
                      <a:pt x="52447" y="1687"/>
                      <a:pt x="54390" y="2890"/>
                      <a:pt x="56026" y="4446"/>
                    </a:cubicBezTo>
                    <a:cubicBezTo>
                      <a:pt x="63122" y="11353"/>
                      <a:pt x="65761" y="21647"/>
                      <a:pt x="62865" y="31119"/>
                    </a:cubicBezTo>
                    <a:cubicBezTo>
                      <a:pt x="62672" y="31814"/>
                      <a:pt x="62324" y="32459"/>
                      <a:pt x="61839" y="33000"/>
                    </a:cubicBezTo>
                    <a:cubicBezTo>
                      <a:pt x="61150" y="33473"/>
                      <a:pt x="60340" y="33752"/>
                      <a:pt x="59503" y="33798"/>
                    </a:cubicBezTo>
                    <a:cubicBezTo>
                      <a:pt x="49186" y="34482"/>
                      <a:pt x="38836" y="33085"/>
                      <a:pt x="29067" y="2969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18" name="Freihandform: Form 712">
                <a:extLst>
                  <a:ext uri="{FF2B5EF4-FFF2-40B4-BE49-F238E27FC236}">
                    <a16:creationId xmlns:a16="http://schemas.microsoft.com/office/drawing/2014/main" id="{FD0CE762-FCDD-44E4-7D60-782568385949}"/>
                  </a:ext>
                </a:extLst>
              </p:cNvPr>
              <p:cNvSpPr/>
              <p:nvPr/>
            </p:nvSpPr>
            <p:spPr>
              <a:xfrm>
                <a:off x="5679777" y="3621158"/>
                <a:ext cx="87483" cy="109279"/>
              </a:xfrm>
              <a:custGeom>
                <a:avLst/>
                <a:gdLst>
                  <a:gd name="connsiteX0" fmla="*/ 73161 w 87483"/>
                  <a:gd name="connsiteY0" fmla="*/ 62841 h 109279"/>
                  <a:gd name="connsiteX1" fmla="*/ 73161 w 87483"/>
                  <a:gd name="connsiteY1" fmla="*/ 64265 h 109279"/>
                  <a:gd name="connsiteX2" fmla="*/ 44664 w 87483"/>
                  <a:gd name="connsiteY2" fmla="*/ 105530 h 109279"/>
                  <a:gd name="connsiteX3" fmla="*/ 23861 w 87483"/>
                  <a:gd name="connsiteY3" fmla="*/ 109006 h 109279"/>
                  <a:gd name="connsiteX4" fmla="*/ 18674 w 87483"/>
                  <a:gd name="connsiteY4" fmla="*/ 109006 h 109279"/>
                  <a:gd name="connsiteX5" fmla="*/ 18674 w 87483"/>
                  <a:gd name="connsiteY5" fmla="*/ 104789 h 109279"/>
                  <a:gd name="connsiteX6" fmla="*/ 18674 w 87483"/>
                  <a:gd name="connsiteY6" fmla="*/ 81022 h 109279"/>
                  <a:gd name="connsiteX7" fmla="*/ 3855 w 87483"/>
                  <a:gd name="connsiteY7" fmla="*/ 54633 h 109279"/>
                  <a:gd name="connsiteX8" fmla="*/ 4938 w 87483"/>
                  <a:gd name="connsiteY8" fmla="*/ 45286 h 109279"/>
                  <a:gd name="connsiteX9" fmla="*/ 664 w 87483"/>
                  <a:gd name="connsiteY9" fmla="*/ 31664 h 109279"/>
                  <a:gd name="connsiteX10" fmla="*/ 17762 w 87483"/>
                  <a:gd name="connsiteY10" fmla="*/ 25623 h 109279"/>
                  <a:gd name="connsiteX11" fmla="*/ 9897 w 87483"/>
                  <a:gd name="connsiteY11" fmla="*/ 14851 h 109279"/>
                  <a:gd name="connsiteX12" fmla="*/ 8985 w 87483"/>
                  <a:gd name="connsiteY12" fmla="*/ 5561 h 109279"/>
                  <a:gd name="connsiteX13" fmla="*/ 5736 w 87483"/>
                  <a:gd name="connsiteY13" fmla="*/ 773 h 109279"/>
                  <a:gd name="connsiteX14" fmla="*/ 20726 w 87483"/>
                  <a:gd name="connsiteY14" fmla="*/ 4136 h 109279"/>
                  <a:gd name="connsiteX15" fmla="*/ 30985 w 87483"/>
                  <a:gd name="connsiteY15" fmla="*/ 16333 h 109279"/>
                  <a:gd name="connsiteX16" fmla="*/ 39648 w 87483"/>
                  <a:gd name="connsiteY16" fmla="*/ 16333 h 109279"/>
                  <a:gd name="connsiteX17" fmla="*/ 40560 w 87483"/>
                  <a:gd name="connsiteY17" fmla="*/ 19639 h 109279"/>
                  <a:gd name="connsiteX18" fmla="*/ 41073 w 87483"/>
                  <a:gd name="connsiteY18" fmla="*/ 31322 h 109279"/>
                  <a:gd name="connsiteX19" fmla="*/ 84503 w 87483"/>
                  <a:gd name="connsiteY19" fmla="*/ 27048 h 109279"/>
                  <a:gd name="connsiteX20" fmla="*/ 87466 w 87483"/>
                  <a:gd name="connsiteY20" fmla="*/ 37706 h 109279"/>
                  <a:gd name="connsiteX21" fmla="*/ 82280 w 87483"/>
                  <a:gd name="connsiteY21" fmla="*/ 46825 h 109279"/>
                  <a:gd name="connsiteX22" fmla="*/ 77150 w 87483"/>
                  <a:gd name="connsiteY22" fmla="*/ 48364 h 109279"/>
                  <a:gd name="connsiteX23" fmla="*/ 73161 w 87483"/>
                  <a:gd name="connsiteY23" fmla="*/ 62841 h 10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483" h="109279">
                    <a:moveTo>
                      <a:pt x="73161" y="62841"/>
                    </a:moveTo>
                    <a:lnTo>
                      <a:pt x="73161" y="64265"/>
                    </a:lnTo>
                    <a:cubicBezTo>
                      <a:pt x="57830" y="69110"/>
                      <a:pt x="59425" y="96353"/>
                      <a:pt x="44664" y="105530"/>
                    </a:cubicBezTo>
                    <a:cubicBezTo>
                      <a:pt x="38206" y="108664"/>
                      <a:pt x="30985" y="109873"/>
                      <a:pt x="23861" y="109006"/>
                    </a:cubicBezTo>
                    <a:cubicBezTo>
                      <a:pt x="22151" y="109006"/>
                      <a:pt x="20384" y="109006"/>
                      <a:pt x="18674" y="109006"/>
                    </a:cubicBezTo>
                    <a:cubicBezTo>
                      <a:pt x="18674" y="107581"/>
                      <a:pt x="18674" y="106214"/>
                      <a:pt x="18674" y="104789"/>
                    </a:cubicBezTo>
                    <a:cubicBezTo>
                      <a:pt x="19472" y="96809"/>
                      <a:pt x="21752" y="88488"/>
                      <a:pt x="18674" y="81022"/>
                    </a:cubicBezTo>
                    <a:cubicBezTo>
                      <a:pt x="14912" y="71390"/>
                      <a:pt x="3057" y="64892"/>
                      <a:pt x="3855" y="54633"/>
                    </a:cubicBezTo>
                    <a:cubicBezTo>
                      <a:pt x="4636" y="51578"/>
                      <a:pt x="4995" y="48438"/>
                      <a:pt x="4938" y="45286"/>
                    </a:cubicBezTo>
                    <a:cubicBezTo>
                      <a:pt x="3969" y="40385"/>
                      <a:pt x="-1958" y="35939"/>
                      <a:pt x="664" y="31664"/>
                    </a:cubicBezTo>
                    <a:cubicBezTo>
                      <a:pt x="4026" y="25965"/>
                      <a:pt x="16166" y="31950"/>
                      <a:pt x="17762" y="25623"/>
                    </a:cubicBezTo>
                    <a:cubicBezTo>
                      <a:pt x="18902" y="21120"/>
                      <a:pt x="12063" y="19069"/>
                      <a:pt x="9897" y="14851"/>
                    </a:cubicBezTo>
                    <a:cubicBezTo>
                      <a:pt x="8529" y="12001"/>
                      <a:pt x="9897" y="8639"/>
                      <a:pt x="8985" y="5561"/>
                    </a:cubicBezTo>
                    <a:cubicBezTo>
                      <a:pt x="8483" y="3640"/>
                      <a:pt x="7338" y="1947"/>
                      <a:pt x="5736" y="773"/>
                    </a:cubicBezTo>
                    <a:cubicBezTo>
                      <a:pt x="10968" y="-988"/>
                      <a:pt x="16748" y="312"/>
                      <a:pt x="20726" y="4136"/>
                    </a:cubicBezTo>
                    <a:cubicBezTo>
                      <a:pt x="24260" y="8411"/>
                      <a:pt x="25399" y="16219"/>
                      <a:pt x="30985" y="16333"/>
                    </a:cubicBezTo>
                    <a:cubicBezTo>
                      <a:pt x="34005" y="16333"/>
                      <a:pt x="37653" y="13882"/>
                      <a:pt x="39648" y="16333"/>
                    </a:cubicBezTo>
                    <a:cubicBezTo>
                      <a:pt x="40304" y="17308"/>
                      <a:pt x="40628" y="18465"/>
                      <a:pt x="40560" y="19639"/>
                    </a:cubicBezTo>
                    <a:lnTo>
                      <a:pt x="41073" y="31322"/>
                    </a:lnTo>
                    <a:lnTo>
                      <a:pt x="84503" y="27048"/>
                    </a:lnTo>
                    <a:cubicBezTo>
                      <a:pt x="86156" y="30382"/>
                      <a:pt x="87159" y="33996"/>
                      <a:pt x="87466" y="37706"/>
                    </a:cubicBezTo>
                    <a:cubicBezTo>
                      <a:pt x="87689" y="41502"/>
                      <a:pt x="85660" y="45075"/>
                      <a:pt x="82280" y="46825"/>
                    </a:cubicBezTo>
                    <a:cubicBezTo>
                      <a:pt x="80627" y="47509"/>
                      <a:pt x="78746" y="47566"/>
                      <a:pt x="77150" y="48364"/>
                    </a:cubicBezTo>
                    <a:cubicBezTo>
                      <a:pt x="72705" y="50644"/>
                      <a:pt x="73560" y="57483"/>
                      <a:pt x="73161" y="62841"/>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19" name="Freihandform: Form 713">
                <a:extLst>
                  <a:ext uri="{FF2B5EF4-FFF2-40B4-BE49-F238E27FC236}">
                    <a16:creationId xmlns:a16="http://schemas.microsoft.com/office/drawing/2014/main" id="{6E7A4167-D81E-EB7F-9FCC-AC65621FEE20}"/>
                  </a:ext>
                </a:extLst>
              </p:cNvPr>
              <p:cNvSpPr/>
              <p:nvPr/>
            </p:nvSpPr>
            <p:spPr>
              <a:xfrm>
                <a:off x="5259223" y="3382656"/>
                <a:ext cx="597341" cy="683948"/>
              </a:xfrm>
              <a:custGeom>
                <a:avLst/>
                <a:gdLst>
                  <a:gd name="connsiteX0" fmla="*/ 439456 w 597341"/>
                  <a:gd name="connsiteY0" fmla="*/ 343291 h 683948"/>
                  <a:gd name="connsiteX1" fmla="*/ 439456 w 597341"/>
                  <a:gd name="connsiteY1" fmla="*/ 347509 h 683948"/>
                  <a:gd name="connsiteX2" fmla="*/ 395057 w 597341"/>
                  <a:gd name="connsiteY2" fmla="*/ 368141 h 683948"/>
                  <a:gd name="connsiteX3" fmla="*/ 390726 w 597341"/>
                  <a:gd name="connsiteY3" fmla="*/ 377317 h 683948"/>
                  <a:gd name="connsiteX4" fmla="*/ 363539 w 597341"/>
                  <a:gd name="connsiteY4" fmla="*/ 380338 h 683948"/>
                  <a:gd name="connsiteX5" fmla="*/ 352140 w 597341"/>
                  <a:gd name="connsiteY5" fmla="*/ 386037 h 683948"/>
                  <a:gd name="connsiteX6" fmla="*/ 319368 w 597341"/>
                  <a:gd name="connsiteY6" fmla="*/ 421431 h 683948"/>
                  <a:gd name="connsiteX7" fmla="*/ 297425 w 597341"/>
                  <a:gd name="connsiteY7" fmla="*/ 464120 h 683948"/>
                  <a:gd name="connsiteX8" fmla="*/ 263229 w 597341"/>
                  <a:gd name="connsiteY8" fmla="*/ 496208 h 683948"/>
                  <a:gd name="connsiteX9" fmla="*/ 254109 w 597341"/>
                  <a:gd name="connsiteY9" fmla="*/ 500939 h 683948"/>
                  <a:gd name="connsiteX10" fmla="*/ 251658 w 597341"/>
                  <a:gd name="connsiteY10" fmla="*/ 510400 h 683948"/>
                  <a:gd name="connsiteX11" fmla="*/ 249550 w 597341"/>
                  <a:gd name="connsiteY11" fmla="*/ 569161 h 683948"/>
                  <a:gd name="connsiteX12" fmla="*/ 247726 w 597341"/>
                  <a:gd name="connsiteY12" fmla="*/ 604270 h 683948"/>
                  <a:gd name="connsiteX13" fmla="*/ 244021 w 597341"/>
                  <a:gd name="connsiteY13" fmla="*/ 625244 h 683948"/>
                  <a:gd name="connsiteX14" fmla="*/ 218716 w 597341"/>
                  <a:gd name="connsiteY14" fmla="*/ 661835 h 683948"/>
                  <a:gd name="connsiteX15" fmla="*/ 198197 w 597341"/>
                  <a:gd name="connsiteY15" fmla="*/ 683949 h 683948"/>
                  <a:gd name="connsiteX16" fmla="*/ 152602 w 597341"/>
                  <a:gd name="connsiteY16" fmla="*/ 589622 h 683948"/>
                  <a:gd name="connsiteX17" fmla="*/ 141203 w 597341"/>
                  <a:gd name="connsiteY17" fmla="*/ 568933 h 683948"/>
                  <a:gd name="connsiteX18" fmla="*/ 133508 w 597341"/>
                  <a:gd name="connsiteY18" fmla="*/ 534736 h 683948"/>
                  <a:gd name="connsiteX19" fmla="*/ 127011 w 597341"/>
                  <a:gd name="connsiteY19" fmla="*/ 527726 h 683948"/>
                  <a:gd name="connsiteX20" fmla="*/ 125529 w 597341"/>
                  <a:gd name="connsiteY20" fmla="*/ 518835 h 683948"/>
                  <a:gd name="connsiteX21" fmla="*/ 125529 w 597341"/>
                  <a:gd name="connsiteY21" fmla="*/ 479964 h 683948"/>
                  <a:gd name="connsiteX22" fmla="*/ 104099 w 597341"/>
                  <a:gd name="connsiteY22" fmla="*/ 434369 h 683948"/>
                  <a:gd name="connsiteX23" fmla="*/ 101477 w 597341"/>
                  <a:gd name="connsiteY23" fmla="*/ 383985 h 683948"/>
                  <a:gd name="connsiteX24" fmla="*/ 100736 w 597341"/>
                  <a:gd name="connsiteY24" fmla="*/ 370250 h 683948"/>
                  <a:gd name="connsiteX25" fmla="*/ 96690 w 597341"/>
                  <a:gd name="connsiteY25" fmla="*/ 361016 h 683948"/>
                  <a:gd name="connsiteX26" fmla="*/ 93441 w 597341"/>
                  <a:gd name="connsiteY26" fmla="*/ 346426 h 683948"/>
                  <a:gd name="connsiteX27" fmla="*/ 81529 w 597341"/>
                  <a:gd name="connsiteY27" fmla="*/ 341752 h 683948"/>
                  <a:gd name="connsiteX28" fmla="*/ 77084 w 597341"/>
                  <a:gd name="connsiteY28" fmla="*/ 364550 h 683948"/>
                  <a:gd name="connsiteX29" fmla="*/ 67451 w 597341"/>
                  <a:gd name="connsiteY29" fmla="*/ 382959 h 683948"/>
                  <a:gd name="connsiteX30" fmla="*/ 20488 w 597341"/>
                  <a:gd name="connsiteY30" fmla="*/ 352125 h 683948"/>
                  <a:gd name="connsiteX31" fmla="*/ 13535 w 597341"/>
                  <a:gd name="connsiteY31" fmla="*/ 341524 h 683948"/>
                  <a:gd name="connsiteX32" fmla="*/ 42032 w 597341"/>
                  <a:gd name="connsiteY32" fmla="*/ 334343 h 683948"/>
                  <a:gd name="connsiteX33" fmla="*/ 47731 w 597341"/>
                  <a:gd name="connsiteY33" fmla="*/ 331892 h 683948"/>
                  <a:gd name="connsiteX34" fmla="*/ 39353 w 597341"/>
                  <a:gd name="connsiteY34" fmla="*/ 318441 h 683948"/>
                  <a:gd name="connsiteX35" fmla="*/ 19747 w 597341"/>
                  <a:gd name="connsiteY35" fmla="*/ 321804 h 683948"/>
                  <a:gd name="connsiteX36" fmla="*/ 8633 w 597341"/>
                  <a:gd name="connsiteY36" fmla="*/ 309721 h 683948"/>
                  <a:gd name="connsiteX37" fmla="*/ 27 w 597341"/>
                  <a:gd name="connsiteY37" fmla="*/ 303053 h 683948"/>
                  <a:gd name="connsiteX38" fmla="*/ 4358 w 597341"/>
                  <a:gd name="connsiteY38" fmla="*/ 293022 h 683948"/>
                  <a:gd name="connsiteX39" fmla="*/ 13705 w 597341"/>
                  <a:gd name="connsiteY39" fmla="*/ 290172 h 683948"/>
                  <a:gd name="connsiteX40" fmla="*/ 60384 w 597341"/>
                  <a:gd name="connsiteY40" fmla="*/ 284473 h 683948"/>
                  <a:gd name="connsiteX41" fmla="*/ 48985 w 597341"/>
                  <a:gd name="connsiteY41" fmla="*/ 254892 h 683948"/>
                  <a:gd name="connsiteX42" fmla="*/ 45110 w 597341"/>
                  <a:gd name="connsiteY42" fmla="*/ 247198 h 683948"/>
                  <a:gd name="connsiteX43" fmla="*/ 41462 w 597341"/>
                  <a:gd name="connsiteY43" fmla="*/ 242809 h 683948"/>
                  <a:gd name="connsiteX44" fmla="*/ 39581 w 597341"/>
                  <a:gd name="connsiteY44" fmla="*/ 236711 h 683948"/>
                  <a:gd name="connsiteX45" fmla="*/ 23395 w 597341"/>
                  <a:gd name="connsiteY45" fmla="*/ 218701 h 683948"/>
                  <a:gd name="connsiteX46" fmla="*/ 45679 w 597341"/>
                  <a:gd name="connsiteY46" fmla="*/ 199493 h 683948"/>
                  <a:gd name="connsiteX47" fmla="*/ 82954 w 597341"/>
                  <a:gd name="connsiteY47" fmla="*/ 193794 h 683948"/>
                  <a:gd name="connsiteX48" fmla="*/ 92814 w 597341"/>
                  <a:gd name="connsiteY48" fmla="*/ 175841 h 683948"/>
                  <a:gd name="connsiteX49" fmla="*/ 99597 w 597341"/>
                  <a:gd name="connsiteY49" fmla="*/ 171053 h 683948"/>
                  <a:gd name="connsiteX50" fmla="*/ 104270 w 597341"/>
                  <a:gd name="connsiteY50" fmla="*/ 162846 h 683948"/>
                  <a:gd name="connsiteX51" fmla="*/ 134021 w 597341"/>
                  <a:gd name="connsiteY51" fmla="*/ 124773 h 683948"/>
                  <a:gd name="connsiteX52" fmla="*/ 139265 w 597341"/>
                  <a:gd name="connsiteY52" fmla="*/ 103799 h 683948"/>
                  <a:gd name="connsiteX53" fmla="*/ 152089 w 597341"/>
                  <a:gd name="connsiteY53" fmla="*/ 85447 h 683948"/>
                  <a:gd name="connsiteX54" fmla="*/ 148327 w 597341"/>
                  <a:gd name="connsiteY54" fmla="*/ 80545 h 683948"/>
                  <a:gd name="connsiteX55" fmla="*/ 132311 w 597341"/>
                  <a:gd name="connsiteY55" fmla="*/ 59856 h 683948"/>
                  <a:gd name="connsiteX56" fmla="*/ 128208 w 597341"/>
                  <a:gd name="connsiteY56" fmla="*/ 49255 h 683948"/>
                  <a:gd name="connsiteX57" fmla="*/ 127809 w 597341"/>
                  <a:gd name="connsiteY57" fmla="*/ 40706 h 683948"/>
                  <a:gd name="connsiteX58" fmla="*/ 120456 w 597341"/>
                  <a:gd name="connsiteY58" fmla="*/ 29307 h 683948"/>
                  <a:gd name="connsiteX59" fmla="*/ 137555 w 597341"/>
                  <a:gd name="connsiteY59" fmla="*/ 13349 h 683948"/>
                  <a:gd name="connsiteX60" fmla="*/ 164342 w 597341"/>
                  <a:gd name="connsiteY60" fmla="*/ 20302 h 683948"/>
                  <a:gd name="connsiteX61" fmla="*/ 183721 w 597341"/>
                  <a:gd name="connsiteY61" fmla="*/ 16027 h 683948"/>
                  <a:gd name="connsiteX62" fmla="*/ 192669 w 597341"/>
                  <a:gd name="connsiteY62" fmla="*/ 582 h 683948"/>
                  <a:gd name="connsiteX63" fmla="*/ 203042 w 597341"/>
                  <a:gd name="connsiteY63" fmla="*/ 69 h 683948"/>
                  <a:gd name="connsiteX64" fmla="*/ 207146 w 597341"/>
                  <a:gd name="connsiteY64" fmla="*/ 639 h 683948"/>
                  <a:gd name="connsiteX65" fmla="*/ 211534 w 597341"/>
                  <a:gd name="connsiteY65" fmla="*/ 11012 h 683948"/>
                  <a:gd name="connsiteX66" fmla="*/ 217234 w 597341"/>
                  <a:gd name="connsiteY66" fmla="*/ 15970 h 683948"/>
                  <a:gd name="connsiteX67" fmla="*/ 227721 w 597341"/>
                  <a:gd name="connsiteY67" fmla="*/ 32727 h 683948"/>
                  <a:gd name="connsiteX68" fmla="*/ 237296 w 597341"/>
                  <a:gd name="connsiteY68" fmla="*/ 56779 h 683948"/>
                  <a:gd name="connsiteX69" fmla="*/ 236897 w 597341"/>
                  <a:gd name="connsiteY69" fmla="*/ 73877 h 683948"/>
                  <a:gd name="connsiteX70" fmla="*/ 226866 w 597341"/>
                  <a:gd name="connsiteY70" fmla="*/ 78380 h 683948"/>
                  <a:gd name="connsiteX71" fmla="*/ 226866 w 597341"/>
                  <a:gd name="connsiteY71" fmla="*/ 101633 h 683948"/>
                  <a:gd name="connsiteX72" fmla="*/ 244819 w 597341"/>
                  <a:gd name="connsiteY72" fmla="*/ 116395 h 683948"/>
                  <a:gd name="connsiteX73" fmla="*/ 258327 w 597341"/>
                  <a:gd name="connsiteY73" fmla="*/ 123576 h 683948"/>
                  <a:gd name="connsiteX74" fmla="*/ 264824 w 597341"/>
                  <a:gd name="connsiteY74" fmla="*/ 149965 h 683948"/>
                  <a:gd name="connsiteX75" fmla="*/ 263229 w 597341"/>
                  <a:gd name="connsiteY75" fmla="*/ 178063 h 683948"/>
                  <a:gd name="connsiteX76" fmla="*/ 296285 w 597341"/>
                  <a:gd name="connsiteY76" fmla="*/ 199550 h 683948"/>
                  <a:gd name="connsiteX77" fmla="*/ 307114 w 597341"/>
                  <a:gd name="connsiteY77" fmla="*/ 201089 h 683948"/>
                  <a:gd name="connsiteX78" fmla="*/ 314353 w 597341"/>
                  <a:gd name="connsiteY78" fmla="*/ 208670 h 683948"/>
                  <a:gd name="connsiteX79" fmla="*/ 320964 w 597341"/>
                  <a:gd name="connsiteY79" fmla="*/ 211063 h 683948"/>
                  <a:gd name="connsiteX80" fmla="*/ 347980 w 597341"/>
                  <a:gd name="connsiteY80" fmla="*/ 216364 h 683948"/>
                  <a:gd name="connsiteX81" fmla="*/ 380466 w 597341"/>
                  <a:gd name="connsiteY81" fmla="*/ 233804 h 683948"/>
                  <a:gd name="connsiteX82" fmla="*/ 404575 w 597341"/>
                  <a:gd name="connsiteY82" fmla="*/ 237680 h 683948"/>
                  <a:gd name="connsiteX83" fmla="*/ 419052 w 597341"/>
                  <a:gd name="connsiteY83" fmla="*/ 236198 h 683948"/>
                  <a:gd name="connsiteX84" fmla="*/ 430451 w 597341"/>
                  <a:gd name="connsiteY84" fmla="*/ 243892 h 683948"/>
                  <a:gd name="connsiteX85" fmla="*/ 431363 w 597341"/>
                  <a:gd name="connsiteY85" fmla="*/ 253183 h 683948"/>
                  <a:gd name="connsiteX86" fmla="*/ 439228 w 597341"/>
                  <a:gd name="connsiteY86" fmla="*/ 263954 h 683948"/>
                  <a:gd name="connsiteX87" fmla="*/ 422130 w 597341"/>
                  <a:gd name="connsiteY87" fmla="*/ 269996 h 683948"/>
                  <a:gd name="connsiteX88" fmla="*/ 426404 w 597341"/>
                  <a:gd name="connsiteY88" fmla="*/ 283618 h 683948"/>
                  <a:gd name="connsiteX89" fmla="*/ 425322 w 597341"/>
                  <a:gd name="connsiteY89" fmla="*/ 292965 h 683948"/>
                  <a:gd name="connsiteX90" fmla="*/ 440140 w 597341"/>
                  <a:gd name="connsiteY90" fmla="*/ 319353 h 683948"/>
                  <a:gd name="connsiteX91" fmla="*/ 439456 w 597341"/>
                  <a:gd name="connsiteY91" fmla="*/ 343291 h 683948"/>
                  <a:gd name="connsiteX92" fmla="*/ 502777 w 597341"/>
                  <a:gd name="connsiteY92" fmla="*/ 303737 h 683948"/>
                  <a:gd name="connsiteX93" fmla="*/ 509674 w 597341"/>
                  <a:gd name="connsiteY93" fmla="*/ 303224 h 683948"/>
                  <a:gd name="connsiteX94" fmla="*/ 536005 w 597341"/>
                  <a:gd name="connsiteY94" fmla="*/ 276550 h 683948"/>
                  <a:gd name="connsiteX95" fmla="*/ 540850 w 597341"/>
                  <a:gd name="connsiteY95" fmla="*/ 264125 h 683948"/>
                  <a:gd name="connsiteX96" fmla="*/ 547176 w 597341"/>
                  <a:gd name="connsiteY96" fmla="*/ 256944 h 683948"/>
                  <a:gd name="connsiteX97" fmla="*/ 554300 w 597341"/>
                  <a:gd name="connsiteY97" fmla="*/ 234146 h 683948"/>
                  <a:gd name="connsiteX98" fmla="*/ 566497 w 597341"/>
                  <a:gd name="connsiteY98" fmla="*/ 221835 h 683948"/>
                  <a:gd name="connsiteX99" fmla="*/ 566497 w 597341"/>
                  <a:gd name="connsiteY99" fmla="*/ 215737 h 683948"/>
                  <a:gd name="connsiteX100" fmla="*/ 571456 w 597341"/>
                  <a:gd name="connsiteY100" fmla="*/ 212830 h 683948"/>
                  <a:gd name="connsiteX101" fmla="*/ 590093 w 597341"/>
                  <a:gd name="connsiteY101" fmla="*/ 200519 h 683948"/>
                  <a:gd name="connsiteX102" fmla="*/ 597161 w 597341"/>
                  <a:gd name="connsiteY102" fmla="*/ 178633 h 683948"/>
                  <a:gd name="connsiteX103" fmla="*/ 581487 w 597341"/>
                  <a:gd name="connsiteY103" fmla="*/ 163245 h 683948"/>
                  <a:gd name="connsiteX104" fmla="*/ 569290 w 597341"/>
                  <a:gd name="connsiteY104" fmla="*/ 166151 h 683948"/>
                  <a:gd name="connsiteX105" fmla="*/ 552648 w 597341"/>
                  <a:gd name="connsiteY105" fmla="*/ 172706 h 683948"/>
                  <a:gd name="connsiteX106" fmla="*/ 546948 w 597341"/>
                  <a:gd name="connsiteY106" fmla="*/ 176183 h 683948"/>
                  <a:gd name="connsiteX107" fmla="*/ 540907 w 597341"/>
                  <a:gd name="connsiteY107" fmla="*/ 198297 h 683948"/>
                  <a:gd name="connsiteX108" fmla="*/ 533555 w 597341"/>
                  <a:gd name="connsiteY108" fmla="*/ 199664 h 683948"/>
                  <a:gd name="connsiteX109" fmla="*/ 517311 w 597341"/>
                  <a:gd name="connsiteY109" fmla="*/ 205364 h 683948"/>
                  <a:gd name="connsiteX110" fmla="*/ 511269 w 597341"/>
                  <a:gd name="connsiteY110" fmla="*/ 221037 h 683948"/>
                  <a:gd name="connsiteX111" fmla="*/ 514461 w 597341"/>
                  <a:gd name="connsiteY111" fmla="*/ 231866 h 683948"/>
                  <a:gd name="connsiteX112" fmla="*/ 504031 w 597341"/>
                  <a:gd name="connsiteY112" fmla="*/ 245203 h 683948"/>
                  <a:gd name="connsiteX113" fmla="*/ 490694 w 597341"/>
                  <a:gd name="connsiteY113" fmla="*/ 234773 h 683948"/>
                  <a:gd name="connsiteX114" fmla="*/ 489839 w 597341"/>
                  <a:gd name="connsiteY114" fmla="*/ 222291 h 683948"/>
                  <a:gd name="connsiteX115" fmla="*/ 489441 w 597341"/>
                  <a:gd name="connsiteY115" fmla="*/ 222861 h 683948"/>
                  <a:gd name="connsiteX116" fmla="*/ 487104 w 597341"/>
                  <a:gd name="connsiteY116" fmla="*/ 223659 h 683948"/>
                  <a:gd name="connsiteX117" fmla="*/ 456897 w 597341"/>
                  <a:gd name="connsiteY117" fmla="*/ 219784 h 683948"/>
                  <a:gd name="connsiteX118" fmla="*/ 431591 w 597341"/>
                  <a:gd name="connsiteY118" fmla="*/ 213001 h 683948"/>
                  <a:gd name="connsiteX119" fmla="*/ 430736 w 597341"/>
                  <a:gd name="connsiteY119" fmla="*/ 216706 h 683948"/>
                  <a:gd name="connsiteX120" fmla="*/ 418026 w 597341"/>
                  <a:gd name="connsiteY120" fmla="*/ 226224 h 683948"/>
                  <a:gd name="connsiteX121" fmla="*/ 411985 w 597341"/>
                  <a:gd name="connsiteY121" fmla="*/ 236540 h 683948"/>
                  <a:gd name="connsiteX122" fmla="*/ 418539 w 597341"/>
                  <a:gd name="connsiteY122" fmla="*/ 236141 h 683948"/>
                  <a:gd name="connsiteX123" fmla="*/ 426461 w 597341"/>
                  <a:gd name="connsiteY123" fmla="*/ 239048 h 683948"/>
                  <a:gd name="connsiteX124" fmla="*/ 441451 w 597341"/>
                  <a:gd name="connsiteY124" fmla="*/ 242410 h 683948"/>
                  <a:gd name="connsiteX125" fmla="*/ 451710 w 597341"/>
                  <a:gd name="connsiteY125" fmla="*/ 254607 h 683948"/>
                  <a:gd name="connsiteX126" fmla="*/ 460373 w 597341"/>
                  <a:gd name="connsiteY126" fmla="*/ 254607 h 683948"/>
                  <a:gd name="connsiteX127" fmla="*/ 461285 w 597341"/>
                  <a:gd name="connsiteY127" fmla="*/ 257913 h 683948"/>
                  <a:gd name="connsiteX128" fmla="*/ 461798 w 597341"/>
                  <a:gd name="connsiteY128" fmla="*/ 269597 h 683948"/>
                  <a:gd name="connsiteX129" fmla="*/ 505228 w 597341"/>
                  <a:gd name="connsiteY129" fmla="*/ 265322 h 683948"/>
                  <a:gd name="connsiteX130" fmla="*/ 508192 w 597341"/>
                  <a:gd name="connsiteY130" fmla="*/ 275980 h 683948"/>
                  <a:gd name="connsiteX131" fmla="*/ 503005 w 597341"/>
                  <a:gd name="connsiteY131" fmla="*/ 285099 h 683948"/>
                  <a:gd name="connsiteX132" fmla="*/ 497876 w 597341"/>
                  <a:gd name="connsiteY132" fmla="*/ 286638 h 683948"/>
                  <a:gd name="connsiteX133" fmla="*/ 493544 w 597341"/>
                  <a:gd name="connsiteY133" fmla="*/ 301286 h 683948"/>
                  <a:gd name="connsiteX134" fmla="*/ 493544 w 597341"/>
                  <a:gd name="connsiteY134" fmla="*/ 302711 h 683948"/>
                  <a:gd name="connsiteX135" fmla="*/ 495710 w 597341"/>
                  <a:gd name="connsiteY135" fmla="*/ 302141 h 683948"/>
                  <a:gd name="connsiteX136" fmla="*/ 492860 w 597341"/>
                  <a:gd name="connsiteY136" fmla="*/ 311089 h 683948"/>
                  <a:gd name="connsiteX137" fmla="*/ 496394 w 597341"/>
                  <a:gd name="connsiteY137" fmla="*/ 307840 h 683948"/>
                  <a:gd name="connsiteX138" fmla="*/ 502777 w 597341"/>
                  <a:gd name="connsiteY138" fmla="*/ 303737 h 68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97341" h="683948">
                    <a:moveTo>
                      <a:pt x="439456" y="343291"/>
                    </a:moveTo>
                    <a:cubicBezTo>
                      <a:pt x="439456" y="344716"/>
                      <a:pt x="439456" y="346084"/>
                      <a:pt x="439456" y="347509"/>
                    </a:cubicBezTo>
                    <a:cubicBezTo>
                      <a:pt x="421560" y="347851"/>
                      <a:pt x="401783" y="352125"/>
                      <a:pt x="395057" y="368141"/>
                    </a:cubicBezTo>
                    <a:cubicBezTo>
                      <a:pt x="394140" y="371424"/>
                      <a:pt x="392675" y="374524"/>
                      <a:pt x="390726" y="377317"/>
                    </a:cubicBezTo>
                    <a:cubicBezTo>
                      <a:pt x="384342" y="384270"/>
                      <a:pt x="372772" y="378457"/>
                      <a:pt x="363539" y="380338"/>
                    </a:cubicBezTo>
                    <a:cubicBezTo>
                      <a:pt x="359362" y="381364"/>
                      <a:pt x="355469" y="383313"/>
                      <a:pt x="352140" y="386037"/>
                    </a:cubicBezTo>
                    <a:cubicBezTo>
                      <a:pt x="339134" y="395721"/>
                      <a:pt x="328026" y="407718"/>
                      <a:pt x="319368" y="421431"/>
                    </a:cubicBezTo>
                    <a:cubicBezTo>
                      <a:pt x="310933" y="435053"/>
                      <a:pt x="305347" y="449928"/>
                      <a:pt x="297425" y="464120"/>
                    </a:cubicBezTo>
                    <a:cubicBezTo>
                      <a:pt x="289503" y="478312"/>
                      <a:pt x="278275" y="491021"/>
                      <a:pt x="263229" y="496208"/>
                    </a:cubicBezTo>
                    <a:cubicBezTo>
                      <a:pt x="259809" y="496915"/>
                      <a:pt x="256657" y="498551"/>
                      <a:pt x="254109" y="500939"/>
                    </a:cubicBezTo>
                    <a:cubicBezTo>
                      <a:pt x="252291" y="503743"/>
                      <a:pt x="251431" y="507065"/>
                      <a:pt x="251658" y="510400"/>
                    </a:cubicBezTo>
                    <a:cubicBezTo>
                      <a:pt x="250975" y="530006"/>
                      <a:pt x="250234" y="549555"/>
                      <a:pt x="249550" y="569161"/>
                    </a:cubicBezTo>
                    <a:cubicBezTo>
                      <a:pt x="249151" y="580845"/>
                      <a:pt x="248695" y="592586"/>
                      <a:pt x="247726" y="604270"/>
                    </a:cubicBezTo>
                    <a:cubicBezTo>
                      <a:pt x="247298" y="611377"/>
                      <a:pt x="246056" y="618416"/>
                      <a:pt x="244021" y="625244"/>
                    </a:cubicBezTo>
                    <a:cubicBezTo>
                      <a:pt x="239348" y="639436"/>
                      <a:pt x="228861" y="650892"/>
                      <a:pt x="218716" y="661835"/>
                    </a:cubicBezTo>
                    <a:lnTo>
                      <a:pt x="198197" y="683949"/>
                    </a:lnTo>
                    <a:cubicBezTo>
                      <a:pt x="188218" y="650242"/>
                      <a:pt x="172818" y="618382"/>
                      <a:pt x="152602" y="589622"/>
                    </a:cubicBezTo>
                    <a:cubicBezTo>
                      <a:pt x="147632" y="583438"/>
                      <a:pt x="143773" y="576439"/>
                      <a:pt x="141203" y="568933"/>
                    </a:cubicBezTo>
                    <a:cubicBezTo>
                      <a:pt x="138182" y="557534"/>
                      <a:pt x="141488" y="543514"/>
                      <a:pt x="133508" y="534736"/>
                    </a:cubicBezTo>
                    <a:cubicBezTo>
                      <a:pt x="131080" y="532656"/>
                      <a:pt x="128903" y="530302"/>
                      <a:pt x="127011" y="527726"/>
                    </a:cubicBezTo>
                    <a:cubicBezTo>
                      <a:pt x="125797" y="524928"/>
                      <a:pt x="125290" y="521873"/>
                      <a:pt x="125529" y="518835"/>
                    </a:cubicBezTo>
                    <a:lnTo>
                      <a:pt x="125529" y="479964"/>
                    </a:lnTo>
                    <a:cubicBezTo>
                      <a:pt x="112192" y="469022"/>
                      <a:pt x="106835" y="451467"/>
                      <a:pt x="104099" y="434369"/>
                    </a:cubicBezTo>
                    <a:cubicBezTo>
                      <a:pt x="101375" y="417721"/>
                      <a:pt x="100497" y="400827"/>
                      <a:pt x="101477" y="383985"/>
                    </a:cubicBezTo>
                    <a:cubicBezTo>
                      <a:pt x="102093" y="379403"/>
                      <a:pt x="101842" y="374741"/>
                      <a:pt x="100736" y="370250"/>
                    </a:cubicBezTo>
                    <a:cubicBezTo>
                      <a:pt x="99711" y="367058"/>
                      <a:pt x="97773" y="364208"/>
                      <a:pt x="96690" y="361016"/>
                    </a:cubicBezTo>
                    <a:cubicBezTo>
                      <a:pt x="95094" y="356286"/>
                      <a:pt x="95436" y="350985"/>
                      <a:pt x="93441" y="346426"/>
                    </a:cubicBezTo>
                    <a:cubicBezTo>
                      <a:pt x="91446" y="341866"/>
                      <a:pt x="85234" y="338447"/>
                      <a:pt x="81529" y="341752"/>
                    </a:cubicBezTo>
                    <a:cubicBezTo>
                      <a:pt x="78571" y="348985"/>
                      <a:pt x="77061" y="356731"/>
                      <a:pt x="77084" y="364550"/>
                    </a:cubicBezTo>
                    <a:cubicBezTo>
                      <a:pt x="71259" y="368916"/>
                      <a:pt x="67719" y="375681"/>
                      <a:pt x="67451" y="382959"/>
                    </a:cubicBezTo>
                    <a:cubicBezTo>
                      <a:pt x="49270" y="377830"/>
                      <a:pt x="34566" y="364778"/>
                      <a:pt x="20488" y="352125"/>
                    </a:cubicBezTo>
                    <a:cubicBezTo>
                      <a:pt x="16897" y="349612"/>
                      <a:pt x="14406" y="345816"/>
                      <a:pt x="13535" y="341524"/>
                    </a:cubicBezTo>
                    <a:lnTo>
                      <a:pt x="42032" y="334343"/>
                    </a:lnTo>
                    <a:cubicBezTo>
                      <a:pt x="44106" y="334018"/>
                      <a:pt x="46067" y="333174"/>
                      <a:pt x="47731" y="331892"/>
                    </a:cubicBezTo>
                    <a:cubicBezTo>
                      <a:pt x="52519" y="327219"/>
                      <a:pt x="46021" y="318897"/>
                      <a:pt x="39353" y="318441"/>
                    </a:cubicBezTo>
                    <a:cubicBezTo>
                      <a:pt x="32685" y="317986"/>
                      <a:pt x="26415" y="321576"/>
                      <a:pt x="19747" y="321804"/>
                    </a:cubicBezTo>
                    <a:cubicBezTo>
                      <a:pt x="13079" y="322032"/>
                      <a:pt x="5327" y="315535"/>
                      <a:pt x="8633" y="309721"/>
                    </a:cubicBezTo>
                    <a:cubicBezTo>
                      <a:pt x="6781" y="306433"/>
                      <a:pt x="3674" y="304027"/>
                      <a:pt x="27" y="303053"/>
                    </a:cubicBezTo>
                    <a:cubicBezTo>
                      <a:pt x="-230" y="299206"/>
                      <a:pt x="1383" y="295473"/>
                      <a:pt x="4358" y="293022"/>
                    </a:cubicBezTo>
                    <a:cubicBezTo>
                      <a:pt x="7168" y="291272"/>
                      <a:pt x="10394" y="290286"/>
                      <a:pt x="13705" y="290172"/>
                    </a:cubicBezTo>
                    <a:lnTo>
                      <a:pt x="60384" y="284473"/>
                    </a:lnTo>
                    <a:cubicBezTo>
                      <a:pt x="56583" y="274630"/>
                      <a:pt x="52787" y="264770"/>
                      <a:pt x="48985" y="254892"/>
                    </a:cubicBezTo>
                    <a:cubicBezTo>
                      <a:pt x="48113" y="252139"/>
                      <a:pt x="46802" y="249541"/>
                      <a:pt x="45110" y="247198"/>
                    </a:cubicBezTo>
                    <a:cubicBezTo>
                      <a:pt x="43787" y="245830"/>
                      <a:pt x="42568" y="244360"/>
                      <a:pt x="41462" y="242809"/>
                    </a:cubicBezTo>
                    <a:cubicBezTo>
                      <a:pt x="40544" y="240877"/>
                      <a:pt x="39912" y="238825"/>
                      <a:pt x="39581" y="236711"/>
                    </a:cubicBezTo>
                    <a:cubicBezTo>
                      <a:pt x="37364" y="228470"/>
                      <a:pt x="31351" y="221784"/>
                      <a:pt x="23395" y="218701"/>
                    </a:cubicBezTo>
                    <a:cubicBezTo>
                      <a:pt x="26689" y="208664"/>
                      <a:pt x="35267" y="201272"/>
                      <a:pt x="45679" y="199493"/>
                    </a:cubicBezTo>
                    <a:cubicBezTo>
                      <a:pt x="58503" y="197556"/>
                      <a:pt x="74519" y="203654"/>
                      <a:pt x="82954" y="193794"/>
                    </a:cubicBezTo>
                    <a:cubicBezTo>
                      <a:pt x="87400" y="188550"/>
                      <a:pt x="87628" y="180400"/>
                      <a:pt x="92814" y="175841"/>
                    </a:cubicBezTo>
                    <a:cubicBezTo>
                      <a:pt x="94923" y="174017"/>
                      <a:pt x="97602" y="172991"/>
                      <a:pt x="99597" y="171053"/>
                    </a:cubicBezTo>
                    <a:cubicBezTo>
                      <a:pt x="101694" y="168665"/>
                      <a:pt x="103290" y="165872"/>
                      <a:pt x="104270" y="162846"/>
                    </a:cubicBezTo>
                    <a:cubicBezTo>
                      <a:pt x="110671" y="147759"/>
                      <a:pt x="120930" y="134628"/>
                      <a:pt x="134021" y="124773"/>
                    </a:cubicBezTo>
                    <a:cubicBezTo>
                      <a:pt x="131793" y="117347"/>
                      <a:pt x="133805" y="109299"/>
                      <a:pt x="139265" y="103799"/>
                    </a:cubicBezTo>
                    <a:cubicBezTo>
                      <a:pt x="144964" y="98100"/>
                      <a:pt x="154881" y="92970"/>
                      <a:pt x="152089" y="85447"/>
                    </a:cubicBezTo>
                    <a:cubicBezTo>
                      <a:pt x="151194" y="83566"/>
                      <a:pt x="149911" y="81896"/>
                      <a:pt x="148327" y="80545"/>
                    </a:cubicBezTo>
                    <a:cubicBezTo>
                      <a:pt x="142171" y="74322"/>
                      <a:pt x="136797" y="67374"/>
                      <a:pt x="132311" y="59856"/>
                    </a:cubicBezTo>
                    <a:cubicBezTo>
                      <a:pt x="130174" y="56670"/>
                      <a:pt x="128772" y="53051"/>
                      <a:pt x="128208" y="49255"/>
                    </a:cubicBezTo>
                    <a:cubicBezTo>
                      <a:pt x="128362" y="46400"/>
                      <a:pt x="128231" y="43533"/>
                      <a:pt x="127809" y="40706"/>
                    </a:cubicBezTo>
                    <a:cubicBezTo>
                      <a:pt x="126555" y="36375"/>
                      <a:pt x="122110" y="33696"/>
                      <a:pt x="120456" y="29307"/>
                    </a:cubicBezTo>
                    <a:cubicBezTo>
                      <a:pt x="117208" y="20701"/>
                      <a:pt x="128151" y="12722"/>
                      <a:pt x="137555" y="13349"/>
                    </a:cubicBezTo>
                    <a:cubicBezTo>
                      <a:pt x="146959" y="13976"/>
                      <a:pt x="155166" y="19048"/>
                      <a:pt x="164342" y="20302"/>
                    </a:cubicBezTo>
                    <a:cubicBezTo>
                      <a:pt x="171096" y="21077"/>
                      <a:pt x="177919" y="19573"/>
                      <a:pt x="183721" y="16027"/>
                    </a:cubicBezTo>
                    <a:cubicBezTo>
                      <a:pt x="189369" y="12967"/>
                      <a:pt x="192823" y="7005"/>
                      <a:pt x="192669" y="582"/>
                    </a:cubicBezTo>
                    <a:lnTo>
                      <a:pt x="203042" y="69"/>
                    </a:lnTo>
                    <a:cubicBezTo>
                      <a:pt x="204438" y="-119"/>
                      <a:pt x="205857" y="80"/>
                      <a:pt x="207146" y="639"/>
                    </a:cubicBezTo>
                    <a:cubicBezTo>
                      <a:pt x="210565" y="2406"/>
                      <a:pt x="209596" y="7649"/>
                      <a:pt x="211534" y="11012"/>
                    </a:cubicBezTo>
                    <a:cubicBezTo>
                      <a:pt x="213101" y="13012"/>
                      <a:pt x="215033" y="14699"/>
                      <a:pt x="217234" y="15970"/>
                    </a:cubicBezTo>
                    <a:cubicBezTo>
                      <a:pt x="222175" y="20507"/>
                      <a:pt x="225800" y="26298"/>
                      <a:pt x="227721" y="32727"/>
                    </a:cubicBezTo>
                    <a:lnTo>
                      <a:pt x="237296" y="56779"/>
                    </a:lnTo>
                    <a:cubicBezTo>
                      <a:pt x="239576" y="62478"/>
                      <a:pt x="241457" y="69773"/>
                      <a:pt x="236897" y="73877"/>
                    </a:cubicBezTo>
                    <a:cubicBezTo>
                      <a:pt x="234104" y="76328"/>
                      <a:pt x="230001" y="76385"/>
                      <a:pt x="226866" y="78380"/>
                    </a:cubicBezTo>
                    <a:cubicBezTo>
                      <a:pt x="219456" y="82996"/>
                      <a:pt x="221793" y="94623"/>
                      <a:pt x="226866" y="101633"/>
                    </a:cubicBezTo>
                    <a:cubicBezTo>
                      <a:pt x="231568" y="107937"/>
                      <a:pt x="237729" y="113004"/>
                      <a:pt x="244819" y="116395"/>
                    </a:cubicBezTo>
                    <a:cubicBezTo>
                      <a:pt x="249635" y="118145"/>
                      <a:pt x="254183" y="120561"/>
                      <a:pt x="258327" y="123576"/>
                    </a:cubicBezTo>
                    <a:cubicBezTo>
                      <a:pt x="265337" y="129846"/>
                      <a:pt x="266021" y="140675"/>
                      <a:pt x="264824" y="149965"/>
                    </a:cubicBezTo>
                    <a:cubicBezTo>
                      <a:pt x="263627" y="159255"/>
                      <a:pt x="261006" y="168887"/>
                      <a:pt x="263229" y="178063"/>
                    </a:cubicBezTo>
                    <a:cubicBezTo>
                      <a:pt x="276337" y="180685"/>
                      <a:pt x="283006" y="197955"/>
                      <a:pt x="296285" y="199550"/>
                    </a:cubicBezTo>
                    <a:cubicBezTo>
                      <a:pt x="299961" y="199328"/>
                      <a:pt x="303644" y="199852"/>
                      <a:pt x="307114" y="201089"/>
                    </a:cubicBezTo>
                    <a:cubicBezTo>
                      <a:pt x="310135" y="202856"/>
                      <a:pt x="311503" y="206789"/>
                      <a:pt x="314353" y="208670"/>
                    </a:cubicBezTo>
                    <a:cubicBezTo>
                      <a:pt x="316347" y="209958"/>
                      <a:pt x="318610" y="210778"/>
                      <a:pt x="320964" y="211063"/>
                    </a:cubicBezTo>
                    <a:lnTo>
                      <a:pt x="347980" y="216364"/>
                    </a:lnTo>
                    <a:cubicBezTo>
                      <a:pt x="355617" y="226281"/>
                      <a:pt x="368441" y="230328"/>
                      <a:pt x="380466" y="233804"/>
                    </a:cubicBezTo>
                    <a:cubicBezTo>
                      <a:pt x="388206" y="236523"/>
                      <a:pt x="396374" y="237839"/>
                      <a:pt x="404575" y="237680"/>
                    </a:cubicBezTo>
                    <a:cubicBezTo>
                      <a:pt x="409357" y="236819"/>
                      <a:pt x="414196" y="236323"/>
                      <a:pt x="419052" y="236198"/>
                    </a:cubicBezTo>
                    <a:cubicBezTo>
                      <a:pt x="424147" y="235924"/>
                      <a:pt x="428798" y="239065"/>
                      <a:pt x="430451" y="243892"/>
                    </a:cubicBezTo>
                    <a:cubicBezTo>
                      <a:pt x="431135" y="246970"/>
                      <a:pt x="429995" y="250333"/>
                      <a:pt x="431363" y="253183"/>
                    </a:cubicBezTo>
                    <a:cubicBezTo>
                      <a:pt x="433358" y="257400"/>
                      <a:pt x="440368" y="259452"/>
                      <a:pt x="439228" y="263954"/>
                    </a:cubicBezTo>
                    <a:cubicBezTo>
                      <a:pt x="437689" y="270281"/>
                      <a:pt x="425549" y="264467"/>
                      <a:pt x="422130" y="269996"/>
                    </a:cubicBezTo>
                    <a:cubicBezTo>
                      <a:pt x="419508" y="274270"/>
                      <a:pt x="425435" y="278716"/>
                      <a:pt x="426404" y="283618"/>
                    </a:cubicBezTo>
                    <a:cubicBezTo>
                      <a:pt x="426461" y="286769"/>
                      <a:pt x="426102" y="289910"/>
                      <a:pt x="425322" y="292965"/>
                    </a:cubicBezTo>
                    <a:cubicBezTo>
                      <a:pt x="424524" y="303224"/>
                      <a:pt x="436379" y="309721"/>
                      <a:pt x="440140" y="319353"/>
                    </a:cubicBezTo>
                    <a:cubicBezTo>
                      <a:pt x="442534" y="326991"/>
                      <a:pt x="440482" y="335312"/>
                      <a:pt x="439456" y="343291"/>
                    </a:cubicBezTo>
                    <a:close/>
                    <a:moveTo>
                      <a:pt x="502777" y="303737"/>
                    </a:moveTo>
                    <a:cubicBezTo>
                      <a:pt x="505051" y="303309"/>
                      <a:pt x="507365" y="303133"/>
                      <a:pt x="509674" y="303224"/>
                    </a:cubicBezTo>
                    <a:cubicBezTo>
                      <a:pt x="522953" y="302426"/>
                      <a:pt x="532472" y="289317"/>
                      <a:pt x="536005" y="276550"/>
                    </a:cubicBezTo>
                    <a:cubicBezTo>
                      <a:pt x="536860" y="272156"/>
                      <a:pt x="538513" y="267950"/>
                      <a:pt x="540850" y="264125"/>
                    </a:cubicBezTo>
                    <a:cubicBezTo>
                      <a:pt x="542731" y="261561"/>
                      <a:pt x="545466" y="259623"/>
                      <a:pt x="547176" y="256944"/>
                    </a:cubicBezTo>
                    <a:cubicBezTo>
                      <a:pt x="551622" y="250105"/>
                      <a:pt x="548943" y="239846"/>
                      <a:pt x="554300" y="234146"/>
                    </a:cubicBezTo>
                    <a:cubicBezTo>
                      <a:pt x="558233" y="229644"/>
                      <a:pt x="566042" y="227820"/>
                      <a:pt x="566497" y="221835"/>
                    </a:cubicBezTo>
                    <a:cubicBezTo>
                      <a:pt x="566497" y="219784"/>
                      <a:pt x="565813" y="217561"/>
                      <a:pt x="566497" y="215737"/>
                    </a:cubicBezTo>
                    <a:cubicBezTo>
                      <a:pt x="567694" y="214158"/>
                      <a:pt x="569461" y="213115"/>
                      <a:pt x="571456" y="212830"/>
                    </a:cubicBezTo>
                    <a:cubicBezTo>
                      <a:pt x="578751" y="210636"/>
                      <a:pt x="585192" y="206356"/>
                      <a:pt x="590093" y="200519"/>
                    </a:cubicBezTo>
                    <a:cubicBezTo>
                      <a:pt x="595508" y="194580"/>
                      <a:pt x="598073" y="186607"/>
                      <a:pt x="597161" y="178633"/>
                    </a:cubicBezTo>
                    <a:cubicBezTo>
                      <a:pt x="596021" y="170551"/>
                      <a:pt x="589580" y="164242"/>
                      <a:pt x="581487" y="163245"/>
                    </a:cubicBezTo>
                    <a:cubicBezTo>
                      <a:pt x="577269" y="163359"/>
                      <a:pt x="573109" y="164351"/>
                      <a:pt x="569290" y="166151"/>
                    </a:cubicBezTo>
                    <a:lnTo>
                      <a:pt x="552648" y="172706"/>
                    </a:lnTo>
                    <a:cubicBezTo>
                      <a:pt x="550482" y="173413"/>
                      <a:pt x="548544" y="174604"/>
                      <a:pt x="546948" y="176183"/>
                    </a:cubicBezTo>
                    <a:cubicBezTo>
                      <a:pt x="541705" y="181882"/>
                      <a:pt x="547632" y="194022"/>
                      <a:pt x="540907" y="198297"/>
                    </a:cubicBezTo>
                    <a:cubicBezTo>
                      <a:pt x="538627" y="199357"/>
                      <a:pt x="536062" y="199830"/>
                      <a:pt x="533555" y="199664"/>
                    </a:cubicBezTo>
                    <a:cubicBezTo>
                      <a:pt x="527684" y="199704"/>
                      <a:pt x="521939" y="201711"/>
                      <a:pt x="517311" y="205364"/>
                    </a:cubicBezTo>
                    <a:cubicBezTo>
                      <a:pt x="512694" y="209171"/>
                      <a:pt x="510403" y="215116"/>
                      <a:pt x="511269" y="221037"/>
                    </a:cubicBezTo>
                    <a:cubicBezTo>
                      <a:pt x="511953" y="224742"/>
                      <a:pt x="514062" y="228105"/>
                      <a:pt x="514461" y="231866"/>
                    </a:cubicBezTo>
                    <a:cubicBezTo>
                      <a:pt x="515265" y="238432"/>
                      <a:pt x="510597" y="244400"/>
                      <a:pt x="504031" y="245203"/>
                    </a:cubicBezTo>
                    <a:cubicBezTo>
                      <a:pt x="497465" y="246007"/>
                      <a:pt x="491498" y="241333"/>
                      <a:pt x="490694" y="234773"/>
                    </a:cubicBezTo>
                    <a:cubicBezTo>
                      <a:pt x="490125" y="230613"/>
                      <a:pt x="491606" y="225939"/>
                      <a:pt x="489839" y="222291"/>
                    </a:cubicBezTo>
                    <a:cubicBezTo>
                      <a:pt x="489726" y="222497"/>
                      <a:pt x="489594" y="222685"/>
                      <a:pt x="489441" y="222861"/>
                    </a:cubicBezTo>
                    <a:cubicBezTo>
                      <a:pt x="488751" y="223340"/>
                      <a:pt x="487942" y="223614"/>
                      <a:pt x="487104" y="223659"/>
                    </a:cubicBezTo>
                    <a:cubicBezTo>
                      <a:pt x="476879" y="224383"/>
                      <a:pt x="466608" y="223066"/>
                      <a:pt x="456897" y="219784"/>
                    </a:cubicBezTo>
                    <a:lnTo>
                      <a:pt x="431591" y="213001"/>
                    </a:lnTo>
                    <a:cubicBezTo>
                      <a:pt x="431613" y="214289"/>
                      <a:pt x="431317" y="215560"/>
                      <a:pt x="430736" y="216706"/>
                    </a:cubicBezTo>
                    <a:cubicBezTo>
                      <a:pt x="428228" y="221436"/>
                      <a:pt x="421902" y="222405"/>
                      <a:pt x="418026" y="226224"/>
                    </a:cubicBezTo>
                    <a:cubicBezTo>
                      <a:pt x="415461" y="229307"/>
                      <a:pt x="413421" y="232795"/>
                      <a:pt x="411985" y="236540"/>
                    </a:cubicBezTo>
                    <a:cubicBezTo>
                      <a:pt x="414145" y="236152"/>
                      <a:pt x="416345" y="236016"/>
                      <a:pt x="418539" y="236141"/>
                    </a:cubicBezTo>
                    <a:cubicBezTo>
                      <a:pt x="421412" y="236306"/>
                      <a:pt x="424165" y="237321"/>
                      <a:pt x="426461" y="239048"/>
                    </a:cubicBezTo>
                    <a:cubicBezTo>
                      <a:pt x="431693" y="237287"/>
                      <a:pt x="437473" y="238586"/>
                      <a:pt x="441451" y="242410"/>
                    </a:cubicBezTo>
                    <a:cubicBezTo>
                      <a:pt x="444984" y="246685"/>
                      <a:pt x="446124" y="254493"/>
                      <a:pt x="451710" y="254607"/>
                    </a:cubicBezTo>
                    <a:cubicBezTo>
                      <a:pt x="454731" y="254607"/>
                      <a:pt x="458378" y="252157"/>
                      <a:pt x="460373" y="254607"/>
                    </a:cubicBezTo>
                    <a:cubicBezTo>
                      <a:pt x="461029" y="255582"/>
                      <a:pt x="461353" y="256739"/>
                      <a:pt x="461285" y="257913"/>
                    </a:cubicBezTo>
                    <a:lnTo>
                      <a:pt x="461798" y="269597"/>
                    </a:lnTo>
                    <a:lnTo>
                      <a:pt x="505228" y="265322"/>
                    </a:lnTo>
                    <a:cubicBezTo>
                      <a:pt x="506881" y="268657"/>
                      <a:pt x="507884" y="272270"/>
                      <a:pt x="508192" y="275980"/>
                    </a:cubicBezTo>
                    <a:cubicBezTo>
                      <a:pt x="508414" y="279776"/>
                      <a:pt x="506385" y="283350"/>
                      <a:pt x="503005" y="285099"/>
                    </a:cubicBezTo>
                    <a:cubicBezTo>
                      <a:pt x="501352" y="285784"/>
                      <a:pt x="499471" y="285840"/>
                      <a:pt x="497876" y="286638"/>
                    </a:cubicBezTo>
                    <a:cubicBezTo>
                      <a:pt x="493088" y="289089"/>
                      <a:pt x="493943" y="295929"/>
                      <a:pt x="493544" y="301286"/>
                    </a:cubicBezTo>
                    <a:lnTo>
                      <a:pt x="493544" y="302711"/>
                    </a:lnTo>
                    <a:cubicBezTo>
                      <a:pt x="494245" y="302454"/>
                      <a:pt x="494969" y="302261"/>
                      <a:pt x="495710" y="302141"/>
                    </a:cubicBezTo>
                    <a:cubicBezTo>
                      <a:pt x="494479" y="305025"/>
                      <a:pt x="493527" y="308023"/>
                      <a:pt x="492860" y="311089"/>
                    </a:cubicBezTo>
                    <a:cubicBezTo>
                      <a:pt x="494000" y="309949"/>
                      <a:pt x="495197" y="308866"/>
                      <a:pt x="496394" y="307840"/>
                    </a:cubicBezTo>
                    <a:cubicBezTo>
                      <a:pt x="498206" y="306034"/>
                      <a:pt x="500384" y="304632"/>
                      <a:pt x="502777" y="303737"/>
                    </a:cubicBezTo>
                    <a:close/>
                  </a:path>
                </a:pathLst>
              </a:custGeom>
              <a:solidFill>
                <a:schemeClr val="accent1"/>
              </a:solidFill>
              <a:ln w="3175" cap="flat">
                <a:solidFill>
                  <a:schemeClr val="accent2"/>
                </a:solidFill>
                <a:prstDash val="solid"/>
                <a:miter/>
              </a:ln>
            </p:spPr>
            <p:txBody>
              <a:bodyPr rtlCol="0" anchor="ctr"/>
              <a:lstStyle/>
              <a:p>
                <a:endParaRPr lang="en-US"/>
              </a:p>
            </p:txBody>
          </p:sp>
          <p:sp>
            <p:nvSpPr>
              <p:cNvPr id="920" name="Freihandform: Form 714">
                <a:extLst>
                  <a:ext uri="{FF2B5EF4-FFF2-40B4-BE49-F238E27FC236}">
                    <a16:creationId xmlns:a16="http://schemas.microsoft.com/office/drawing/2014/main" id="{3736B3BF-7BEB-6F6B-DACD-A9EE47F38782}"/>
                  </a:ext>
                </a:extLst>
              </p:cNvPr>
              <p:cNvSpPr/>
              <p:nvPr/>
            </p:nvSpPr>
            <p:spPr>
              <a:xfrm>
                <a:off x="5468819" y="3367338"/>
                <a:ext cx="50921" cy="54998"/>
              </a:xfrm>
              <a:custGeom>
                <a:avLst/>
                <a:gdLst>
                  <a:gd name="connsiteX0" fmla="*/ 24337 w 50921"/>
                  <a:gd name="connsiteY0" fmla="*/ 53688 h 54998"/>
                  <a:gd name="connsiteX1" fmla="*/ 20290 w 50921"/>
                  <a:gd name="connsiteY1" fmla="*/ 54998 h 54998"/>
                  <a:gd name="connsiteX2" fmla="*/ 17612 w 50921"/>
                  <a:gd name="connsiteY2" fmla="*/ 48330 h 54998"/>
                  <a:gd name="connsiteX3" fmla="*/ 7124 w 50921"/>
                  <a:gd name="connsiteY3" fmla="*/ 31574 h 54998"/>
                  <a:gd name="connsiteX4" fmla="*/ 1425 w 50921"/>
                  <a:gd name="connsiteY4" fmla="*/ 26615 h 54998"/>
                  <a:gd name="connsiteX5" fmla="*/ 0 w 50921"/>
                  <a:gd name="connsiteY5" fmla="*/ 21713 h 54998"/>
                  <a:gd name="connsiteX6" fmla="*/ 2109 w 50921"/>
                  <a:gd name="connsiteY6" fmla="*/ 19662 h 54998"/>
                  <a:gd name="connsiteX7" fmla="*/ 4845 w 50921"/>
                  <a:gd name="connsiteY7" fmla="*/ 14361 h 54998"/>
                  <a:gd name="connsiteX8" fmla="*/ 13508 w 50921"/>
                  <a:gd name="connsiteY8" fmla="*/ 2962 h 54998"/>
                  <a:gd name="connsiteX9" fmla="*/ 27130 w 50921"/>
                  <a:gd name="connsiteY9" fmla="*/ 796 h 54998"/>
                  <a:gd name="connsiteX10" fmla="*/ 31689 w 50921"/>
                  <a:gd name="connsiteY10" fmla="*/ 3418 h 54998"/>
                  <a:gd name="connsiteX11" fmla="*/ 42062 w 50921"/>
                  <a:gd name="connsiteY11" fmla="*/ 10485 h 54998"/>
                  <a:gd name="connsiteX12" fmla="*/ 47762 w 50921"/>
                  <a:gd name="connsiteY12" fmla="*/ 15102 h 54998"/>
                  <a:gd name="connsiteX13" fmla="*/ 45174 w 50921"/>
                  <a:gd name="connsiteY13" fmla="*/ 36059 h 54998"/>
                  <a:gd name="connsiteX14" fmla="*/ 43658 w 50921"/>
                  <a:gd name="connsiteY14" fmla="*/ 37102 h 54998"/>
                  <a:gd name="connsiteX15" fmla="*/ 37047 w 50921"/>
                  <a:gd name="connsiteY15" fmla="*/ 39952 h 54998"/>
                  <a:gd name="connsiteX16" fmla="*/ 33057 w 50921"/>
                  <a:gd name="connsiteY16" fmla="*/ 45651 h 54998"/>
                  <a:gd name="connsiteX17" fmla="*/ 33057 w 50921"/>
                  <a:gd name="connsiteY17" fmla="*/ 48501 h 54998"/>
                  <a:gd name="connsiteX18" fmla="*/ 24337 w 50921"/>
                  <a:gd name="connsiteY18" fmla="*/ 53688 h 5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921" h="54998">
                    <a:moveTo>
                      <a:pt x="24337" y="53688"/>
                    </a:moveTo>
                    <a:cubicBezTo>
                      <a:pt x="22958" y="54029"/>
                      <a:pt x="21607" y="54468"/>
                      <a:pt x="20290" y="54998"/>
                    </a:cubicBezTo>
                    <a:lnTo>
                      <a:pt x="17612" y="48330"/>
                    </a:lnTo>
                    <a:cubicBezTo>
                      <a:pt x="15691" y="41901"/>
                      <a:pt x="12066" y="36110"/>
                      <a:pt x="7124" y="31574"/>
                    </a:cubicBezTo>
                    <a:cubicBezTo>
                      <a:pt x="4924" y="30303"/>
                      <a:pt x="2992" y="28615"/>
                      <a:pt x="1425" y="26615"/>
                    </a:cubicBezTo>
                    <a:cubicBezTo>
                      <a:pt x="707" y="25059"/>
                      <a:pt x="228" y="23412"/>
                      <a:pt x="0" y="21713"/>
                    </a:cubicBezTo>
                    <a:cubicBezTo>
                      <a:pt x="769" y="21104"/>
                      <a:pt x="1476" y="20414"/>
                      <a:pt x="2109" y="19662"/>
                    </a:cubicBezTo>
                    <a:cubicBezTo>
                      <a:pt x="3220" y="18009"/>
                      <a:pt x="4138" y="16225"/>
                      <a:pt x="4845" y="14361"/>
                    </a:cubicBezTo>
                    <a:cubicBezTo>
                      <a:pt x="6657" y="9853"/>
                      <a:pt x="9649" y="5914"/>
                      <a:pt x="13508" y="2962"/>
                    </a:cubicBezTo>
                    <a:cubicBezTo>
                      <a:pt x="17406" y="21"/>
                      <a:pt x="22513" y="-788"/>
                      <a:pt x="27130" y="796"/>
                    </a:cubicBezTo>
                    <a:cubicBezTo>
                      <a:pt x="28748" y="1492"/>
                      <a:pt x="30276" y="2369"/>
                      <a:pt x="31689" y="3418"/>
                    </a:cubicBezTo>
                    <a:lnTo>
                      <a:pt x="42062" y="10485"/>
                    </a:lnTo>
                    <a:cubicBezTo>
                      <a:pt x="44159" y="11768"/>
                      <a:pt x="46074" y="13318"/>
                      <a:pt x="47762" y="15102"/>
                    </a:cubicBezTo>
                    <a:cubicBezTo>
                      <a:pt x="52834" y="21605"/>
                      <a:pt x="51677" y="30986"/>
                      <a:pt x="45174" y="36059"/>
                    </a:cubicBezTo>
                    <a:cubicBezTo>
                      <a:pt x="44690" y="36441"/>
                      <a:pt x="44182" y="36789"/>
                      <a:pt x="43658" y="37102"/>
                    </a:cubicBezTo>
                    <a:cubicBezTo>
                      <a:pt x="41549" y="38242"/>
                      <a:pt x="39155" y="38812"/>
                      <a:pt x="37047" y="39952"/>
                    </a:cubicBezTo>
                    <a:cubicBezTo>
                      <a:pt x="34795" y="41000"/>
                      <a:pt x="33274" y="43178"/>
                      <a:pt x="33057" y="45651"/>
                    </a:cubicBezTo>
                    <a:cubicBezTo>
                      <a:pt x="33057" y="46620"/>
                      <a:pt x="33057" y="47589"/>
                      <a:pt x="33057" y="48501"/>
                    </a:cubicBezTo>
                    <a:cubicBezTo>
                      <a:pt x="32772" y="52377"/>
                      <a:pt x="27871" y="52889"/>
                      <a:pt x="24337" y="5368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1" name="Freihandform: Form 715">
                <a:extLst>
                  <a:ext uri="{FF2B5EF4-FFF2-40B4-BE49-F238E27FC236}">
                    <a16:creationId xmlns:a16="http://schemas.microsoft.com/office/drawing/2014/main" id="{3E435AFD-7A25-C1AE-27C4-96FD95B442C0}"/>
                  </a:ext>
                </a:extLst>
              </p:cNvPr>
              <p:cNvSpPr/>
              <p:nvPr/>
            </p:nvSpPr>
            <p:spPr>
              <a:xfrm>
                <a:off x="5750302" y="3567330"/>
                <a:ext cx="184107" cy="425408"/>
              </a:xfrm>
              <a:custGeom>
                <a:avLst/>
                <a:gdLst>
                  <a:gd name="connsiteX0" fmla="*/ 150879 w 184107"/>
                  <a:gd name="connsiteY0" fmla="*/ 407000 h 425408"/>
                  <a:gd name="connsiteX1" fmla="*/ 143584 w 184107"/>
                  <a:gd name="connsiteY1" fmla="*/ 425409 h 425408"/>
                  <a:gd name="connsiteX2" fmla="*/ 133667 w 184107"/>
                  <a:gd name="connsiteY2" fmla="*/ 415378 h 425408"/>
                  <a:gd name="connsiteX3" fmla="*/ 145977 w 184107"/>
                  <a:gd name="connsiteY3" fmla="*/ 396684 h 425408"/>
                  <a:gd name="connsiteX4" fmla="*/ 134579 w 184107"/>
                  <a:gd name="connsiteY4" fmla="*/ 381124 h 425408"/>
                  <a:gd name="connsiteX5" fmla="*/ 137314 w 184107"/>
                  <a:gd name="connsiteY5" fmla="*/ 374456 h 425408"/>
                  <a:gd name="connsiteX6" fmla="*/ 125915 w 184107"/>
                  <a:gd name="connsiteY6" fmla="*/ 365678 h 425408"/>
                  <a:gd name="connsiteX7" fmla="*/ 122895 w 184107"/>
                  <a:gd name="connsiteY7" fmla="*/ 357357 h 425408"/>
                  <a:gd name="connsiteX8" fmla="*/ 115827 w 184107"/>
                  <a:gd name="connsiteY8" fmla="*/ 301901 h 425408"/>
                  <a:gd name="connsiteX9" fmla="*/ 113776 w 184107"/>
                  <a:gd name="connsiteY9" fmla="*/ 290502 h 425408"/>
                  <a:gd name="connsiteX10" fmla="*/ 102377 w 184107"/>
                  <a:gd name="connsiteY10" fmla="*/ 278704 h 425408"/>
                  <a:gd name="connsiteX11" fmla="*/ 76102 w 184107"/>
                  <a:gd name="connsiteY11" fmla="*/ 308114 h 425408"/>
                  <a:gd name="connsiteX12" fmla="*/ 70402 w 184107"/>
                  <a:gd name="connsiteY12" fmla="*/ 311305 h 425408"/>
                  <a:gd name="connsiteX13" fmla="*/ 57408 w 184107"/>
                  <a:gd name="connsiteY13" fmla="*/ 297171 h 425408"/>
                  <a:gd name="connsiteX14" fmla="*/ 60770 w 184107"/>
                  <a:gd name="connsiteY14" fmla="*/ 275285 h 425408"/>
                  <a:gd name="connsiteX15" fmla="*/ 46750 w 184107"/>
                  <a:gd name="connsiteY15" fmla="*/ 234135 h 425408"/>
                  <a:gd name="connsiteX16" fmla="*/ 46180 w 184107"/>
                  <a:gd name="connsiteY16" fmla="*/ 224559 h 425408"/>
                  <a:gd name="connsiteX17" fmla="*/ 14491 w 184107"/>
                  <a:gd name="connsiteY17" fmla="*/ 193725 h 425408"/>
                  <a:gd name="connsiteX18" fmla="*/ 12097 w 184107"/>
                  <a:gd name="connsiteY18" fmla="*/ 182953 h 425408"/>
                  <a:gd name="connsiteX19" fmla="*/ 4915 w 184107"/>
                  <a:gd name="connsiteY19" fmla="*/ 176399 h 425408"/>
                  <a:gd name="connsiteX20" fmla="*/ 2123 w 184107"/>
                  <a:gd name="connsiteY20" fmla="*/ 167793 h 425408"/>
                  <a:gd name="connsiteX21" fmla="*/ 1610 w 184107"/>
                  <a:gd name="connsiteY21" fmla="*/ 126243 h 425408"/>
                  <a:gd name="connsiteX22" fmla="*/ 5144 w 184107"/>
                  <a:gd name="connsiteY22" fmla="*/ 122995 h 425408"/>
                  <a:gd name="connsiteX23" fmla="*/ 11527 w 184107"/>
                  <a:gd name="connsiteY23" fmla="*/ 118834 h 425408"/>
                  <a:gd name="connsiteX24" fmla="*/ 18423 w 184107"/>
                  <a:gd name="connsiteY24" fmla="*/ 118321 h 425408"/>
                  <a:gd name="connsiteX25" fmla="*/ 44755 w 184107"/>
                  <a:gd name="connsiteY25" fmla="*/ 91648 h 425408"/>
                  <a:gd name="connsiteX26" fmla="*/ 49599 w 184107"/>
                  <a:gd name="connsiteY26" fmla="*/ 79223 h 425408"/>
                  <a:gd name="connsiteX27" fmla="*/ 55926 w 184107"/>
                  <a:gd name="connsiteY27" fmla="*/ 72042 h 425408"/>
                  <a:gd name="connsiteX28" fmla="*/ 63050 w 184107"/>
                  <a:gd name="connsiteY28" fmla="*/ 49244 h 425408"/>
                  <a:gd name="connsiteX29" fmla="*/ 75247 w 184107"/>
                  <a:gd name="connsiteY29" fmla="*/ 36933 h 425408"/>
                  <a:gd name="connsiteX30" fmla="*/ 75247 w 184107"/>
                  <a:gd name="connsiteY30" fmla="*/ 30834 h 425408"/>
                  <a:gd name="connsiteX31" fmla="*/ 80206 w 184107"/>
                  <a:gd name="connsiteY31" fmla="*/ 27928 h 425408"/>
                  <a:gd name="connsiteX32" fmla="*/ 98843 w 184107"/>
                  <a:gd name="connsiteY32" fmla="*/ 15617 h 425408"/>
                  <a:gd name="connsiteX33" fmla="*/ 106024 w 184107"/>
                  <a:gd name="connsiteY33" fmla="*/ 0 h 425408"/>
                  <a:gd name="connsiteX34" fmla="*/ 144952 w 184107"/>
                  <a:gd name="connsiteY34" fmla="*/ 38700 h 425408"/>
                  <a:gd name="connsiteX35" fmla="*/ 139537 w 184107"/>
                  <a:gd name="connsiteY35" fmla="*/ 58591 h 425408"/>
                  <a:gd name="connsiteX36" fmla="*/ 129734 w 184107"/>
                  <a:gd name="connsiteY36" fmla="*/ 76886 h 425408"/>
                  <a:gd name="connsiteX37" fmla="*/ 128765 w 184107"/>
                  <a:gd name="connsiteY37" fmla="*/ 87259 h 425408"/>
                  <a:gd name="connsiteX38" fmla="*/ 121185 w 184107"/>
                  <a:gd name="connsiteY38" fmla="*/ 97518 h 425408"/>
                  <a:gd name="connsiteX39" fmla="*/ 121185 w 184107"/>
                  <a:gd name="connsiteY39" fmla="*/ 108917 h 425408"/>
                  <a:gd name="connsiteX40" fmla="*/ 130532 w 184107"/>
                  <a:gd name="connsiteY40" fmla="*/ 110513 h 425408"/>
                  <a:gd name="connsiteX41" fmla="*/ 150822 w 184107"/>
                  <a:gd name="connsiteY41" fmla="*/ 139010 h 425408"/>
                  <a:gd name="connsiteX42" fmla="*/ 155325 w 184107"/>
                  <a:gd name="connsiteY42" fmla="*/ 142487 h 425408"/>
                  <a:gd name="connsiteX43" fmla="*/ 159314 w 184107"/>
                  <a:gd name="connsiteY43" fmla="*/ 148813 h 425408"/>
                  <a:gd name="connsiteX44" fmla="*/ 163760 w 184107"/>
                  <a:gd name="connsiteY44" fmla="*/ 158104 h 425408"/>
                  <a:gd name="connsiteX45" fmla="*/ 178806 w 184107"/>
                  <a:gd name="connsiteY45" fmla="*/ 176855 h 425408"/>
                  <a:gd name="connsiteX46" fmla="*/ 184107 w 184107"/>
                  <a:gd name="connsiteY46" fmla="*/ 178109 h 425408"/>
                  <a:gd name="connsiteX47" fmla="*/ 176469 w 184107"/>
                  <a:gd name="connsiteY47" fmla="*/ 195720 h 425408"/>
                  <a:gd name="connsiteX48" fmla="*/ 167522 w 184107"/>
                  <a:gd name="connsiteY48" fmla="*/ 204668 h 425408"/>
                  <a:gd name="connsiteX49" fmla="*/ 158174 w 184107"/>
                  <a:gd name="connsiteY49" fmla="*/ 207917 h 425408"/>
                  <a:gd name="connsiteX50" fmla="*/ 128822 w 184107"/>
                  <a:gd name="connsiteY50" fmla="*/ 217834 h 425408"/>
                  <a:gd name="connsiteX51" fmla="*/ 120330 w 184107"/>
                  <a:gd name="connsiteY51" fmla="*/ 223534 h 425408"/>
                  <a:gd name="connsiteX52" fmla="*/ 118392 w 184107"/>
                  <a:gd name="connsiteY52" fmla="*/ 233394 h 425408"/>
                  <a:gd name="connsiteX53" fmla="*/ 118107 w 184107"/>
                  <a:gd name="connsiteY53" fmla="*/ 260124 h 425408"/>
                  <a:gd name="connsiteX54" fmla="*/ 119247 w 184107"/>
                  <a:gd name="connsiteY54" fmla="*/ 270041 h 425408"/>
                  <a:gd name="connsiteX55" fmla="*/ 123921 w 184107"/>
                  <a:gd name="connsiteY55" fmla="*/ 277394 h 425408"/>
                  <a:gd name="connsiteX56" fmla="*/ 137257 w 184107"/>
                  <a:gd name="connsiteY56" fmla="*/ 294093 h 425408"/>
                  <a:gd name="connsiteX57" fmla="*/ 140848 w 184107"/>
                  <a:gd name="connsiteY57" fmla="*/ 300818 h 425408"/>
                  <a:gd name="connsiteX58" fmla="*/ 139594 w 184107"/>
                  <a:gd name="connsiteY58" fmla="*/ 307430 h 425408"/>
                  <a:gd name="connsiteX59" fmla="*/ 145578 w 184107"/>
                  <a:gd name="connsiteY59" fmla="*/ 363627 h 425408"/>
                  <a:gd name="connsiteX60" fmla="*/ 150081 w 184107"/>
                  <a:gd name="connsiteY60" fmla="*/ 372062 h 425408"/>
                  <a:gd name="connsiteX61" fmla="*/ 151563 w 184107"/>
                  <a:gd name="connsiteY61" fmla="*/ 381181 h 425408"/>
                  <a:gd name="connsiteX62" fmla="*/ 150879 w 184107"/>
                  <a:gd name="connsiteY62" fmla="*/ 407000 h 42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84107" h="425408">
                    <a:moveTo>
                      <a:pt x="150879" y="407000"/>
                    </a:moveTo>
                    <a:cubicBezTo>
                      <a:pt x="150537" y="413770"/>
                      <a:pt x="147972" y="420239"/>
                      <a:pt x="143584" y="425409"/>
                    </a:cubicBezTo>
                    <a:cubicBezTo>
                      <a:pt x="138568" y="423585"/>
                      <a:pt x="133382" y="420507"/>
                      <a:pt x="133667" y="415378"/>
                    </a:cubicBezTo>
                    <a:cubicBezTo>
                      <a:pt x="134122" y="407627"/>
                      <a:pt x="147232" y="404321"/>
                      <a:pt x="145977" y="396684"/>
                    </a:cubicBezTo>
                    <a:cubicBezTo>
                      <a:pt x="144895" y="390072"/>
                      <a:pt x="133496" y="387678"/>
                      <a:pt x="134579" y="381124"/>
                    </a:cubicBezTo>
                    <a:cubicBezTo>
                      <a:pt x="135035" y="378730"/>
                      <a:pt x="137257" y="376906"/>
                      <a:pt x="137314" y="374456"/>
                    </a:cubicBezTo>
                    <a:cubicBezTo>
                      <a:pt x="137314" y="369497"/>
                      <a:pt x="129734" y="369155"/>
                      <a:pt x="125915" y="365678"/>
                    </a:cubicBezTo>
                    <a:cubicBezTo>
                      <a:pt x="123978" y="363330"/>
                      <a:pt x="122895" y="360395"/>
                      <a:pt x="122895" y="357357"/>
                    </a:cubicBezTo>
                    <a:cubicBezTo>
                      <a:pt x="120501" y="338891"/>
                      <a:pt x="118164" y="320408"/>
                      <a:pt x="115827" y="301901"/>
                    </a:cubicBezTo>
                    <a:cubicBezTo>
                      <a:pt x="114915" y="298145"/>
                      <a:pt x="114231" y="294338"/>
                      <a:pt x="113776" y="290502"/>
                    </a:cubicBezTo>
                    <a:cubicBezTo>
                      <a:pt x="108076" y="289032"/>
                      <a:pt x="103630" y="284472"/>
                      <a:pt x="102377" y="278704"/>
                    </a:cubicBezTo>
                    <a:cubicBezTo>
                      <a:pt x="95309" y="289915"/>
                      <a:pt x="86475" y="299861"/>
                      <a:pt x="76102" y="308114"/>
                    </a:cubicBezTo>
                    <a:cubicBezTo>
                      <a:pt x="74449" y="309601"/>
                      <a:pt x="72511" y="310690"/>
                      <a:pt x="70402" y="311305"/>
                    </a:cubicBezTo>
                    <a:cubicBezTo>
                      <a:pt x="63221" y="313129"/>
                      <a:pt x="57351" y="304580"/>
                      <a:pt x="57408" y="297171"/>
                    </a:cubicBezTo>
                    <a:cubicBezTo>
                      <a:pt x="57465" y="289761"/>
                      <a:pt x="60770" y="282637"/>
                      <a:pt x="60770" y="275285"/>
                    </a:cubicBezTo>
                    <a:cubicBezTo>
                      <a:pt x="60770" y="260637"/>
                      <a:pt x="47719" y="248725"/>
                      <a:pt x="46750" y="234135"/>
                    </a:cubicBezTo>
                    <a:cubicBezTo>
                      <a:pt x="46807" y="230931"/>
                      <a:pt x="46579" y="227734"/>
                      <a:pt x="46180" y="224559"/>
                    </a:cubicBezTo>
                    <a:cubicBezTo>
                      <a:pt x="42760" y="209798"/>
                      <a:pt x="18936" y="208259"/>
                      <a:pt x="14491" y="193725"/>
                    </a:cubicBezTo>
                    <a:cubicBezTo>
                      <a:pt x="14280" y="190026"/>
                      <a:pt x="13471" y="186390"/>
                      <a:pt x="12097" y="182953"/>
                    </a:cubicBezTo>
                    <a:cubicBezTo>
                      <a:pt x="10273" y="180275"/>
                      <a:pt x="6910" y="178964"/>
                      <a:pt x="4915" y="176399"/>
                    </a:cubicBezTo>
                    <a:cubicBezTo>
                      <a:pt x="3263" y="173817"/>
                      <a:pt x="2300" y="170853"/>
                      <a:pt x="2123" y="167793"/>
                    </a:cubicBezTo>
                    <a:cubicBezTo>
                      <a:pt x="-522" y="154085"/>
                      <a:pt x="-698" y="140013"/>
                      <a:pt x="1610" y="126243"/>
                    </a:cubicBezTo>
                    <a:cubicBezTo>
                      <a:pt x="2750" y="125104"/>
                      <a:pt x="3947" y="124021"/>
                      <a:pt x="5144" y="122995"/>
                    </a:cubicBezTo>
                    <a:cubicBezTo>
                      <a:pt x="6950" y="121165"/>
                      <a:pt x="9127" y="119746"/>
                      <a:pt x="11527" y="118834"/>
                    </a:cubicBezTo>
                    <a:cubicBezTo>
                      <a:pt x="13801" y="118407"/>
                      <a:pt x="16115" y="118230"/>
                      <a:pt x="18423" y="118321"/>
                    </a:cubicBezTo>
                    <a:cubicBezTo>
                      <a:pt x="31703" y="117523"/>
                      <a:pt x="41221" y="104415"/>
                      <a:pt x="44755" y="91648"/>
                    </a:cubicBezTo>
                    <a:cubicBezTo>
                      <a:pt x="45610" y="87254"/>
                      <a:pt x="47263" y="83047"/>
                      <a:pt x="49599" y="79223"/>
                    </a:cubicBezTo>
                    <a:cubicBezTo>
                      <a:pt x="51480" y="76658"/>
                      <a:pt x="54216" y="74720"/>
                      <a:pt x="55926" y="72042"/>
                    </a:cubicBezTo>
                    <a:cubicBezTo>
                      <a:pt x="60371" y="65202"/>
                      <a:pt x="57693" y="54943"/>
                      <a:pt x="63050" y="49244"/>
                    </a:cubicBezTo>
                    <a:cubicBezTo>
                      <a:pt x="66983" y="44741"/>
                      <a:pt x="74791" y="42917"/>
                      <a:pt x="75247" y="36933"/>
                    </a:cubicBezTo>
                    <a:cubicBezTo>
                      <a:pt x="75247" y="34881"/>
                      <a:pt x="74563" y="32658"/>
                      <a:pt x="75247" y="30834"/>
                    </a:cubicBezTo>
                    <a:cubicBezTo>
                      <a:pt x="76444" y="29256"/>
                      <a:pt x="78211" y="28213"/>
                      <a:pt x="80206" y="27928"/>
                    </a:cubicBezTo>
                    <a:cubicBezTo>
                      <a:pt x="87501" y="25733"/>
                      <a:pt x="93941" y="21453"/>
                      <a:pt x="98843" y="15617"/>
                    </a:cubicBezTo>
                    <a:cubicBezTo>
                      <a:pt x="102662" y="11205"/>
                      <a:pt x="105169" y="5785"/>
                      <a:pt x="106024" y="0"/>
                    </a:cubicBezTo>
                    <a:cubicBezTo>
                      <a:pt x="127454" y="-62"/>
                      <a:pt x="144895" y="17264"/>
                      <a:pt x="144952" y="38700"/>
                    </a:cubicBezTo>
                    <a:cubicBezTo>
                      <a:pt x="144952" y="45693"/>
                      <a:pt x="143128" y="52566"/>
                      <a:pt x="139537" y="58591"/>
                    </a:cubicBezTo>
                    <a:cubicBezTo>
                      <a:pt x="136003" y="64632"/>
                      <a:pt x="130703" y="69990"/>
                      <a:pt x="129734" y="76886"/>
                    </a:cubicBezTo>
                    <a:cubicBezTo>
                      <a:pt x="129677" y="80363"/>
                      <a:pt x="129392" y="83834"/>
                      <a:pt x="128765" y="87259"/>
                    </a:cubicBezTo>
                    <a:cubicBezTo>
                      <a:pt x="126770" y="91044"/>
                      <a:pt x="124205" y="94503"/>
                      <a:pt x="121185" y="97518"/>
                    </a:cubicBezTo>
                    <a:cubicBezTo>
                      <a:pt x="118620" y="100995"/>
                      <a:pt x="117594" y="106580"/>
                      <a:pt x="121185" y="108917"/>
                    </a:cubicBezTo>
                    <a:cubicBezTo>
                      <a:pt x="123750" y="110855"/>
                      <a:pt x="127397" y="109943"/>
                      <a:pt x="130532" y="110513"/>
                    </a:cubicBezTo>
                    <a:cubicBezTo>
                      <a:pt x="142444" y="112565"/>
                      <a:pt x="141646" y="131088"/>
                      <a:pt x="150822" y="139010"/>
                    </a:cubicBezTo>
                    <a:cubicBezTo>
                      <a:pt x="152304" y="140207"/>
                      <a:pt x="153957" y="141176"/>
                      <a:pt x="155325" y="142487"/>
                    </a:cubicBezTo>
                    <a:cubicBezTo>
                      <a:pt x="156977" y="144351"/>
                      <a:pt x="158345" y="146494"/>
                      <a:pt x="159314" y="148813"/>
                    </a:cubicBezTo>
                    <a:lnTo>
                      <a:pt x="163760" y="158104"/>
                    </a:lnTo>
                    <a:cubicBezTo>
                      <a:pt x="167293" y="165513"/>
                      <a:pt x="171340" y="173435"/>
                      <a:pt x="178806" y="176855"/>
                    </a:cubicBezTo>
                    <a:cubicBezTo>
                      <a:pt x="180460" y="177579"/>
                      <a:pt x="182283" y="178006"/>
                      <a:pt x="184107" y="178109"/>
                    </a:cubicBezTo>
                    <a:cubicBezTo>
                      <a:pt x="182625" y="184390"/>
                      <a:pt x="180060" y="190351"/>
                      <a:pt x="176469" y="195720"/>
                    </a:cubicBezTo>
                    <a:cubicBezTo>
                      <a:pt x="174247" y="199374"/>
                      <a:pt x="171169" y="202440"/>
                      <a:pt x="167522" y="204668"/>
                    </a:cubicBezTo>
                    <a:cubicBezTo>
                      <a:pt x="164558" y="206122"/>
                      <a:pt x="161423" y="207210"/>
                      <a:pt x="158174" y="207917"/>
                    </a:cubicBezTo>
                    <a:cubicBezTo>
                      <a:pt x="148143" y="210527"/>
                      <a:pt x="138340" y="213839"/>
                      <a:pt x="128822" y="217834"/>
                    </a:cubicBezTo>
                    <a:cubicBezTo>
                      <a:pt x="125459" y="218820"/>
                      <a:pt x="122496" y="220809"/>
                      <a:pt x="120330" y="223534"/>
                    </a:cubicBezTo>
                    <a:cubicBezTo>
                      <a:pt x="118791" y="226571"/>
                      <a:pt x="118107" y="229991"/>
                      <a:pt x="118392" y="233394"/>
                    </a:cubicBezTo>
                    <a:cubicBezTo>
                      <a:pt x="118392" y="242285"/>
                      <a:pt x="118392" y="251233"/>
                      <a:pt x="118107" y="260124"/>
                    </a:cubicBezTo>
                    <a:cubicBezTo>
                      <a:pt x="117936" y="263470"/>
                      <a:pt x="118278" y="266827"/>
                      <a:pt x="119247" y="270041"/>
                    </a:cubicBezTo>
                    <a:cubicBezTo>
                      <a:pt x="120387" y="272720"/>
                      <a:pt x="121983" y="275205"/>
                      <a:pt x="123921" y="277394"/>
                    </a:cubicBezTo>
                    <a:lnTo>
                      <a:pt x="137257" y="294093"/>
                    </a:lnTo>
                    <a:cubicBezTo>
                      <a:pt x="139024" y="295985"/>
                      <a:pt x="140278" y="298305"/>
                      <a:pt x="140848" y="300818"/>
                    </a:cubicBezTo>
                    <a:cubicBezTo>
                      <a:pt x="140905" y="303087"/>
                      <a:pt x="140506" y="305344"/>
                      <a:pt x="139594" y="307430"/>
                    </a:cubicBezTo>
                    <a:cubicBezTo>
                      <a:pt x="133553" y="326170"/>
                      <a:pt x="135776" y="346574"/>
                      <a:pt x="145578" y="363627"/>
                    </a:cubicBezTo>
                    <a:cubicBezTo>
                      <a:pt x="147345" y="366294"/>
                      <a:pt x="148827" y="369115"/>
                      <a:pt x="150081" y="372062"/>
                    </a:cubicBezTo>
                    <a:cubicBezTo>
                      <a:pt x="150993" y="375014"/>
                      <a:pt x="151506" y="378086"/>
                      <a:pt x="151563" y="381181"/>
                    </a:cubicBezTo>
                    <a:cubicBezTo>
                      <a:pt x="152133" y="389793"/>
                      <a:pt x="151905" y="398433"/>
                      <a:pt x="150879" y="40700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2" name="Freihandform: Form 716">
                <a:extLst>
                  <a:ext uri="{FF2B5EF4-FFF2-40B4-BE49-F238E27FC236}">
                    <a16:creationId xmlns:a16="http://schemas.microsoft.com/office/drawing/2014/main" id="{427D2B75-CDEB-D7B0-06F9-8062A72B7C2F}"/>
                  </a:ext>
                </a:extLst>
              </p:cNvPr>
              <p:cNvSpPr/>
              <p:nvPr/>
            </p:nvSpPr>
            <p:spPr>
              <a:xfrm>
                <a:off x="5869051" y="3767553"/>
                <a:ext cx="175069" cy="339745"/>
              </a:xfrm>
              <a:custGeom>
                <a:avLst/>
                <a:gdLst>
                  <a:gd name="connsiteX0" fmla="*/ 109472 w 175069"/>
                  <a:gd name="connsiteY0" fmla="*/ 167393 h 339745"/>
                  <a:gd name="connsiteX1" fmla="*/ 98074 w 175069"/>
                  <a:gd name="connsiteY1" fmla="*/ 195093 h 339745"/>
                  <a:gd name="connsiteX2" fmla="*/ 92374 w 175069"/>
                  <a:gd name="connsiteY2" fmla="*/ 189394 h 339745"/>
                  <a:gd name="connsiteX3" fmla="*/ 74306 w 175069"/>
                  <a:gd name="connsiteY3" fmla="*/ 175430 h 339745"/>
                  <a:gd name="connsiteX4" fmla="*/ 52706 w 175069"/>
                  <a:gd name="connsiteY4" fmla="*/ 177767 h 339745"/>
                  <a:gd name="connsiteX5" fmla="*/ 47006 w 175069"/>
                  <a:gd name="connsiteY5" fmla="*/ 219202 h 339745"/>
                  <a:gd name="connsiteX6" fmla="*/ 41819 w 175069"/>
                  <a:gd name="connsiteY6" fmla="*/ 232196 h 339745"/>
                  <a:gd name="connsiteX7" fmla="*/ 37089 w 175069"/>
                  <a:gd name="connsiteY7" fmla="*/ 266393 h 339745"/>
                  <a:gd name="connsiteX8" fmla="*/ 52534 w 175069"/>
                  <a:gd name="connsiteY8" fmla="*/ 275455 h 339745"/>
                  <a:gd name="connsiteX9" fmla="*/ 52990 w 175069"/>
                  <a:gd name="connsiteY9" fmla="*/ 281155 h 339745"/>
                  <a:gd name="connsiteX10" fmla="*/ 59374 w 175069"/>
                  <a:gd name="connsiteY10" fmla="*/ 291756 h 339745"/>
                  <a:gd name="connsiteX11" fmla="*/ 60115 w 175069"/>
                  <a:gd name="connsiteY11" fmla="*/ 310108 h 339745"/>
                  <a:gd name="connsiteX12" fmla="*/ 67752 w 175069"/>
                  <a:gd name="connsiteY12" fmla="*/ 325440 h 339745"/>
                  <a:gd name="connsiteX13" fmla="*/ 75389 w 175069"/>
                  <a:gd name="connsiteY13" fmla="*/ 326181 h 339745"/>
                  <a:gd name="connsiteX14" fmla="*/ 82856 w 175069"/>
                  <a:gd name="connsiteY14" fmla="*/ 332507 h 339745"/>
                  <a:gd name="connsiteX15" fmla="*/ 87016 w 175069"/>
                  <a:gd name="connsiteY15" fmla="*/ 335642 h 339745"/>
                  <a:gd name="connsiteX16" fmla="*/ 71286 w 175069"/>
                  <a:gd name="connsiteY16" fmla="*/ 339746 h 339745"/>
                  <a:gd name="connsiteX17" fmla="*/ 64959 w 175069"/>
                  <a:gd name="connsiteY17" fmla="*/ 337808 h 339745"/>
                  <a:gd name="connsiteX18" fmla="*/ 53903 w 175069"/>
                  <a:gd name="connsiteY18" fmla="*/ 336383 h 339745"/>
                  <a:gd name="connsiteX19" fmla="*/ 51908 w 175069"/>
                  <a:gd name="connsiteY19" fmla="*/ 331652 h 339745"/>
                  <a:gd name="connsiteX20" fmla="*/ 36177 w 175069"/>
                  <a:gd name="connsiteY20" fmla="*/ 319057 h 339745"/>
                  <a:gd name="connsiteX21" fmla="*/ 32074 w 175069"/>
                  <a:gd name="connsiteY21" fmla="*/ 305891 h 339745"/>
                  <a:gd name="connsiteX22" fmla="*/ 20333 w 175069"/>
                  <a:gd name="connsiteY22" fmla="*/ 303212 h 339745"/>
                  <a:gd name="connsiteX23" fmla="*/ 9674 w 175069"/>
                  <a:gd name="connsiteY23" fmla="*/ 292098 h 339745"/>
                  <a:gd name="connsiteX24" fmla="*/ 8478 w 175069"/>
                  <a:gd name="connsiteY24" fmla="*/ 276140 h 339745"/>
                  <a:gd name="connsiteX25" fmla="*/ 15830 w 175069"/>
                  <a:gd name="connsiteY25" fmla="*/ 246844 h 339745"/>
                  <a:gd name="connsiteX26" fmla="*/ 27229 w 175069"/>
                  <a:gd name="connsiteY26" fmla="*/ 225813 h 339745"/>
                  <a:gd name="connsiteX27" fmla="*/ 25234 w 175069"/>
                  <a:gd name="connsiteY27" fmla="*/ 225129 h 339745"/>
                  <a:gd name="connsiteX28" fmla="*/ 32529 w 175069"/>
                  <a:gd name="connsiteY28" fmla="*/ 206720 h 339745"/>
                  <a:gd name="connsiteX29" fmla="*/ 33498 w 175069"/>
                  <a:gd name="connsiteY29" fmla="*/ 181129 h 339745"/>
                  <a:gd name="connsiteX30" fmla="*/ 32016 w 175069"/>
                  <a:gd name="connsiteY30" fmla="*/ 172010 h 339745"/>
                  <a:gd name="connsiteX31" fmla="*/ 27514 w 175069"/>
                  <a:gd name="connsiteY31" fmla="*/ 163575 h 339745"/>
                  <a:gd name="connsiteX32" fmla="*/ 21529 w 175069"/>
                  <a:gd name="connsiteY32" fmla="*/ 107378 h 339745"/>
                  <a:gd name="connsiteX33" fmla="*/ 22783 w 175069"/>
                  <a:gd name="connsiteY33" fmla="*/ 100767 h 339745"/>
                  <a:gd name="connsiteX34" fmla="*/ 19193 w 175069"/>
                  <a:gd name="connsiteY34" fmla="*/ 94041 h 339745"/>
                  <a:gd name="connsiteX35" fmla="*/ 5856 w 175069"/>
                  <a:gd name="connsiteY35" fmla="*/ 77342 h 339745"/>
                  <a:gd name="connsiteX36" fmla="*/ 1182 w 175069"/>
                  <a:gd name="connsiteY36" fmla="*/ 69990 h 339745"/>
                  <a:gd name="connsiteX37" fmla="*/ 42 w 175069"/>
                  <a:gd name="connsiteY37" fmla="*/ 60072 h 339745"/>
                  <a:gd name="connsiteX38" fmla="*/ 327 w 175069"/>
                  <a:gd name="connsiteY38" fmla="*/ 33342 h 339745"/>
                  <a:gd name="connsiteX39" fmla="*/ 2265 w 175069"/>
                  <a:gd name="connsiteY39" fmla="*/ 23482 h 339745"/>
                  <a:gd name="connsiteX40" fmla="*/ 10757 w 175069"/>
                  <a:gd name="connsiteY40" fmla="*/ 17782 h 339745"/>
                  <a:gd name="connsiteX41" fmla="*/ 40110 w 175069"/>
                  <a:gd name="connsiteY41" fmla="*/ 7865 h 339745"/>
                  <a:gd name="connsiteX42" fmla="*/ 49457 w 175069"/>
                  <a:gd name="connsiteY42" fmla="*/ 4617 h 339745"/>
                  <a:gd name="connsiteX43" fmla="*/ 55156 w 175069"/>
                  <a:gd name="connsiteY43" fmla="*/ 0 h 339745"/>
                  <a:gd name="connsiteX44" fmla="*/ 59203 w 175069"/>
                  <a:gd name="connsiteY44" fmla="*/ 13679 h 339745"/>
                  <a:gd name="connsiteX45" fmla="*/ 68550 w 175069"/>
                  <a:gd name="connsiteY45" fmla="*/ 25534 h 339745"/>
                  <a:gd name="connsiteX46" fmla="*/ 75560 w 175069"/>
                  <a:gd name="connsiteY46" fmla="*/ 26731 h 339745"/>
                  <a:gd name="connsiteX47" fmla="*/ 76472 w 175069"/>
                  <a:gd name="connsiteY47" fmla="*/ 30435 h 339745"/>
                  <a:gd name="connsiteX48" fmla="*/ 72939 w 175069"/>
                  <a:gd name="connsiteY48" fmla="*/ 73352 h 339745"/>
                  <a:gd name="connsiteX49" fmla="*/ 86845 w 175069"/>
                  <a:gd name="connsiteY49" fmla="*/ 60984 h 339745"/>
                  <a:gd name="connsiteX50" fmla="*/ 102006 w 175069"/>
                  <a:gd name="connsiteY50" fmla="*/ 62979 h 339745"/>
                  <a:gd name="connsiteX51" fmla="*/ 102804 w 175069"/>
                  <a:gd name="connsiteY51" fmla="*/ 54658 h 339745"/>
                  <a:gd name="connsiteX52" fmla="*/ 115628 w 175069"/>
                  <a:gd name="connsiteY52" fmla="*/ 60357 h 339745"/>
                  <a:gd name="connsiteX53" fmla="*/ 118933 w 175069"/>
                  <a:gd name="connsiteY53" fmla="*/ 57850 h 339745"/>
                  <a:gd name="connsiteX54" fmla="*/ 136715 w 175069"/>
                  <a:gd name="connsiteY54" fmla="*/ 53917 h 339745"/>
                  <a:gd name="connsiteX55" fmla="*/ 152617 w 175069"/>
                  <a:gd name="connsiteY55" fmla="*/ 69249 h 339745"/>
                  <a:gd name="connsiteX56" fmla="*/ 152617 w 175069"/>
                  <a:gd name="connsiteY56" fmla="*/ 77684 h 339745"/>
                  <a:gd name="connsiteX57" fmla="*/ 160084 w 175069"/>
                  <a:gd name="connsiteY57" fmla="*/ 92445 h 339745"/>
                  <a:gd name="connsiteX58" fmla="*/ 159742 w 175069"/>
                  <a:gd name="connsiteY58" fmla="*/ 98145 h 339745"/>
                  <a:gd name="connsiteX59" fmla="*/ 162021 w 175069"/>
                  <a:gd name="connsiteY59" fmla="*/ 102704 h 339745"/>
                  <a:gd name="connsiteX60" fmla="*/ 174275 w 175069"/>
                  <a:gd name="connsiteY60" fmla="*/ 123223 h 339745"/>
                  <a:gd name="connsiteX61" fmla="*/ 166581 w 175069"/>
                  <a:gd name="connsiteY61" fmla="*/ 143741 h 339745"/>
                  <a:gd name="connsiteX62" fmla="*/ 147602 w 175069"/>
                  <a:gd name="connsiteY62" fmla="*/ 143456 h 339745"/>
                  <a:gd name="connsiteX63" fmla="*/ 128907 w 175069"/>
                  <a:gd name="connsiteY63" fmla="*/ 148243 h 339745"/>
                  <a:gd name="connsiteX64" fmla="*/ 117508 w 175069"/>
                  <a:gd name="connsiteY64" fmla="*/ 154513 h 339745"/>
                  <a:gd name="connsiteX65" fmla="*/ 109472 w 175069"/>
                  <a:gd name="connsiteY65" fmla="*/ 167393 h 33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5069" h="339745">
                    <a:moveTo>
                      <a:pt x="109472" y="167393"/>
                    </a:moveTo>
                    <a:cubicBezTo>
                      <a:pt x="105368" y="176513"/>
                      <a:pt x="101322" y="185689"/>
                      <a:pt x="98074" y="195093"/>
                    </a:cubicBezTo>
                    <a:lnTo>
                      <a:pt x="92374" y="189394"/>
                    </a:lnTo>
                    <a:cubicBezTo>
                      <a:pt x="87301" y="183614"/>
                      <a:pt x="81203" y="178872"/>
                      <a:pt x="74306" y="175430"/>
                    </a:cubicBezTo>
                    <a:cubicBezTo>
                      <a:pt x="67239" y="171976"/>
                      <a:pt x="58861" y="172888"/>
                      <a:pt x="52706" y="177767"/>
                    </a:cubicBezTo>
                    <a:cubicBezTo>
                      <a:pt x="42161" y="187513"/>
                      <a:pt x="50084" y="205238"/>
                      <a:pt x="47006" y="219202"/>
                    </a:cubicBezTo>
                    <a:cubicBezTo>
                      <a:pt x="45638" y="223670"/>
                      <a:pt x="43928" y="228019"/>
                      <a:pt x="41819" y="232196"/>
                    </a:cubicBezTo>
                    <a:cubicBezTo>
                      <a:pt x="37260" y="242986"/>
                      <a:pt x="35664" y="254778"/>
                      <a:pt x="37089" y="266393"/>
                    </a:cubicBezTo>
                    <a:cubicBezTo>
                      <a:pt x="37830" y="272435"/>
                      <a:pt x="50426" y="269699"/>
                      <a:pt x="52534" y="275455"/>
                    </a:cubicBezTo>
                    <a:cubicBezTo>
                      <a:pt x="52876" y="277336"/>
                      <a:pt x="53048" y="279246"/>
                      <a:pt x="52990" y="281155"/>
                    </a:cubicBezTo>
                    <a:cubicBezTo>
                      <a:pt x="53560" y="285259"/>
                      <a:pt x="57436" y="288051"/>
                      <a:pt x="59374" y="291756"/>
                    </a:cubicBezTo>
                    <a:cubicBezTo>
                      <a:pt x="62224" y="297456"/>
                      <a:pt x="60571" y="303896"/>
                      <a:pt x="60115" y="310108"/>
                    </a:cubicBezTo>
                    <a:cubicBezTo>
                      <a:pt x="59659" y="316321"/>
                      <a:pt x="61711" y="323958"/>
                      <a:pt x="67752" y="325440"/>
                    </a:cubicBezTo>
                    <a:cubicBezTo>
                      <a:pt x="70260" y="326067"/>
                      <a:pt x="72939" y="325440"/>
                      <a:pt x="75389" y="326181"/>
                    </a:cubicBezTo>
                    <a:cubicBezTo>
                      <a:pt x="78353" y="327680"/>
                      <a:pt x="80918" y="329846"/>
                      <a:pt x="82856" y="332507"/>
                    </a:cubicBezTo>
                    <a:cubicBezTo>
                      <a:pt x="84109" y="333693"/>
                      <a:pt x="85534" y="334747"/>
                      <a:pt x="87016" y="335642"/>
                    </a:cubicBezTo>
                    <a:cubicBezTo>
                      <a:pt x="82229" y="338321"/>
                      <a:pt x="76814" y="339734"/>
                      <a:pt x="71286" y="339746"/>
                    </a:cubicBezTo>
                    <a:cubicBezTo>
                      <a:pt x="69120" y="339267"/>
                      <a:pt x="67011" y="338617"/>
                      <a:pt x="64959" y="337808"/>
                    </a:cubicBezTo>
                    <a:cubicBezTo>
                      <a:pt x="61369" y="336793"/>
                      <a:pt x="57664" y="336314"/>
                      <a:pt x="53903" y="336383"/>
                    </a:cubicBezTo>
                    <a:cubicBezTo>
                      <a:pt x="53503" y="334702"/>
                      <a:pt x="52819" y="333106"/>
                      <a:pt x="51908" y="331652"/>
                    </a:cubicBezTo>
                    <a:cubicBezTo>
                      <a:pt x="47975" y="325953"/>
                      <a:pt x="39141" y="325212"/>
                      <a:pt x="36177" y="319057"/>
                    </a:cubicBezTo>
                    <a:cubicBezTo>
                      <a:pt x="34125" y="314839"/>
                      <a:pt x="35493" y="309082"/>
                      <a:pt x="32074" y="305891"/>
                    </a:cubicBezTo>
                    <a:cubicBezTo>
                      <a:pt x="28654" y="302699"/>
                      <a:pt x="24322" y="304124"/>
                      <a:pt x="20333" y="303212"/>
                    </a:cubicBezTo>
                    <a:cubicBezTo>
                      <a:pt x="15089" y="301610"/>
                      <a:pt x="11042" y="297404"/>
                      <a:pt x="9674" y="292098"/>
                    </a:cubicBezTo>
                    <a:cubicBezTo>
                      <a:pt x="8364" y="286889"/>
                      <a:pt x="7907" y="281486"/>
                      <a:pt x="8478" y="276140"/>
                    </a:cubicBezTo>
                    <a:cubicBezTo>
                      <a:pt x="8990" y="265937"/>
                      <a:pt x="9788" y="255051"/>
                      <a:pt x="15830" y="246844"/>
                    </a:cubicBezTo>
                    <a:cubicBezTo>
                      <a:pt x="20788" y="240119"/>
                      <a:pt x="29338" y="233792"/>
                      <a:pt x="27229" y="225813"/>
                    </a:cubicBezTo>
                    <a:lnTo>
                      <a:pt x="25234" y="225129"/>
                    </a:lnTo>
                    <a:cubicBezTo>
                      <a:pt x="29622" y="219960"/>
                      <a:pt x="32187" y="213491"/>
                      <a:pt x="32529" y="206720"/>
                    </a:cubicBezTo>
                    <a:cubicBezTo>
                      <a:pt x="33612" y="198233"/>
                      <a:pt x="33954" y="189673"/>
                      <a:pt x="33498" y="181129"/>
                    </a:cubicBezTo>
                    <a:cubicBezTo>
                      <a:pt x="33441" y="178034"/>
                      <a:pt x="32928" y="174962"/>
                      <a:pt x="32016" y="172010"/>
                    </a:cubicBezTo>
                    <a:cubicBezTo>
                      <a:pt x="30762" y="169063"/>
                      <a:pt x="29280" y="166242"/>
                      <a:pt x="27514" y="163575"/>
                    </a:cubicBezTo>
                    <a:cubicBezTo>
                      <a:pt x="17711" y="146522"/>
                      <a:pt x="15488" y="126118"/>
                      <a:pt x="21529" y="107378"/>
                    </a:cubicBezTo>
                    <a:cubicBezTo>
                      <a:pt x="22441" y="105292"/>
                      <a:pt x="22840" y="103035"/>
                      <a:pt x="22783" y="100767"/>
                    </a:cubicBezTo>
                    <a:cubicBezTo>
                      <a:pt x="22213" y="98253"/>
                      <a:pt x="20959" y="95934"/>
                      <a:pt x="19193" y="94041"/>
                    </a:cubicBezTo>
                    <a:lnTo>
                      <a:pt x="5856" y="77342"/>
                    </a:lnTo>
                    <a:cubicBezTo>
                      <a:pt x="3918" y="75153"/>
                      <a:pt x="2322" y="72668"/>
                      <a:pt x="1182" y="69990"/>
                    </a:cubicBezTo>
                    <a:cubicBezTo>
                      <a:pt x="213" y="66775"/>
                      <a:pt x="-129" y="63418"/>
                      <a:pt x="42" y="60072"/>
                    </a:cubicBezTo>
                    <a:cubicBezTo>
                      <a:pt x="42" y="51181"/>
                      <a:pt x="42" y="42233"/>
                      <a:pt x="327" y="33342"/>
                    </a:cubicBezTo>
                    <a:cubicBezTo>
                      <a:pt x="42" y="29939"/>
                      <a:pt x="726" y="26520"/>
                      <a:pt x="2265" y="23482"/>
                    </a:cubicBezTo>
                    <a:cubicBezTo>
                      <a:pt x="4431" y="20757"/>
                      <a:pt x="7395" y="18768"/>
                      <a:pt x="10757" y="17782"/>
                    </a:cubicBezTo>
                    <a:cubicBezTo>
                      <a:pt x="20276" y="13787"/>
                      <a:pt x="30078" y="10476"/>
                      <a:pt x="40110" y="7865"/>
                    </a:cubicBezTo>
                    <a:cubicBezTo>
                      <a:pt x="43358" y="7159"/>
                      <a:pt x="46493" y="6070"/>
                      <a:pt x="49457" y="4617"/>
                    </a:cubicBezTo>
                    <a:cubicBezTo>
                      <a:pt x="51566" y="3397"/>
                      <a:pt x="53503" y="1835"/>
                      <a:pt x="55156" y="0"/>
                    </a:cubicBezTo>
                    <a:cubicBezTo>
                      <a:pt x="57436" y="4223"/>
                      <a:pt x="58804" y="8885"/>
                      <a:pt x="59203" y="13679"/>
                    </a:cubicBezTo>
                    <a:cubicBezTo>
                      <a:pt x="60172" y="18979"/>
                      <a:pt x="63193" y="25078"/>
                      <a:pt x="68550" y="25534"/>
                    </a:cubicBezTo>
                    <a:cubicBezTo>
                      <a:pt x="71001" y="25534"/>
                      <a:pt x="73964" y="24907"/>
                      <a:pt x="75560" y="26731"/>
                    </a:cubicBezTo>
                    <a:cubicBezTo>
                      <a:pt x="76301" y="27825"/>
                      <a:pt x="76586" y="29130"/>
                      <a:pt x="76472" y="30435"/>
                    </a:cubicBezTo>
                    <a:cubicBezTo>
                      <a:pt x="76814" y="44826"/>
                      <a:pt x="75617" y="59212"/>
                      <a:pt x="72939" y="73352"/>
                    </a:cubicBezTo>
                    <a:cubicBezTo>
                      <a:pt x="80177" y="73774"/>
                      <a:pt x="86389" y="68240"/>
                      <a:pt x="86845" y="60984"/>
                    </a:cubicBezTo>
                    <a:lnTo>
                      <a:pt x="102006" y="62979"/>
                    </a:lnTo>
                    <a:cubicBezTo>
                      <a:pt x="102006" y="60186"/>
                      <a:pt x="102519" y="57280"/>
                      <a:pt x="102804" y="54658"/>
                    </a:cubicBezTo>
                    <a:cubicBezTo>
                      <a:pt x="107705" y="54658"/>
                      <a:pt x="110954" y="62124"/>
                      <a:pt x="115628" y="60357"/>
                    </a:cubicBezTo>
                    <a:cubicBezTo>
                      <a:pt x="116881" y="59765"/>
                      <a:pt x="118022" y="58910"/>
                      <a:pt x="118933" y="57850"/>
                    </a:cubicBezTo>
                    <a:cubicBezTo>
                      <a:pt x="123721" y="53461"/>
                      <a:pt x="130503" y="51962"/>
                      <a:pt x="136715" y="53917"/>
                    </a:cubicBezTo>
                    <a:cubicBezTo>
                      <a:pt x="137399" y="61554"/>
                      <a:pt x="150451" y="61896"/>
                      <a:pt x="152617" y="69249"/>
                    </a:cubicBezTo>
                    <a:cubicBezTo>
                      <a:pt x="152788" y="72058"/>
                      <a:pt x="152788" y="74874"/>
                      <a:pt x="152617" y="77684"/>
                    </a:cubicBezTo>
                    <a:cubicBezTo>
                      <a:pt x="153529" y="83383"/>
                      <a:pt x="159799" y="86860"/>
                      <a:pt x="160084" y="92445"/>
                    </a:cubicBezTo>
                    <a:cubicBezTo>
                      <a:pt x="160084" y="94383"/>
                      <a:pt x="159456" y="96378"/>
                      <a:pt x="159742" y="98145"/>
                    </a:cubicBezTo>
                    <a:cubicBezTo>
                      <a:pt x="160141" y="99826"/>
                      <a:pt x="160881" y="101388"/>
                      <a:pt x="162021" y="102704"/>
                    </a:cubicBezTo>
                    <a:cubicBezTo>
                      <a:pt x="167208" y="108803"/>
                      <a:pt x="171369" y="115745"/>
                      <a:pt x="174275" y="123223"/>
                    </a:cubicBezTo>
                    <a:cubicBezTo>
                      <a:pt x="176441" y="130917"/>
                      <a:pt x="174275" y="140720"/>
                      <a:pt x="166581" y="143741"/>
                    </a:cubicBezTo>
                    <a:cubicBezTo>
                      <a:pt x="160881" y="146191"/>
                      <a:pt x="153985" y="143741"/>
                      <a:pt x="147602" y="143456"/>
                    </a:cubicBezTo>
                    <a:cubicBezTo>
                      <a:pt x="141104" y="143741"/>
                      <a:pt x="134721" y="145371"/>
                      <a:pt x="128907" y="148243"/>
                    </a:cubicBezTo>
                    <a:cubicBezTo>
                      <a:pt x="124747" y="149611"/>
                      <a:pt x="120871" y="151737"/>
                      <a:pt x="117508" y="154513"/>
                    </a:cubicBezTo>
                    <a:cubicBezTo>
                      <a:pt x="113975" y="158200"/>
                      <a:pt x="111239" y="162589"/>
                      <a:pt x="109472" y="167393"/>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23" name="Freihandform: Form 717">
                <a:extLst>
                  <a:ext uri="{FF2B5EF4-FFF2-40B4-BE49-F238E27FC236}">
                    <a16:creationId xmlns:a16="http://schemas.microsoft.com/office/drawing/2014/main" id="{9719E807-6ADD-139F-F8C3-0FB761379727}"/>
                  </a:ext>
                </a:extLst>
              </p:cNvPr>
              <p:cNvSpPr/>
              <p:nvPr/>
            </p:nvSpPr>
            <p:spPr>
              <a:xfrm>
                <a:off x="5966953" y="3910610"/>
                <a:ext cx="127257" cy="105896"/>
              </a:xfrm>
              <a:custGeom>
                <a:avLst/>
                <a:gdLst>
                  <a:gd name="connsiteX0" fmla="*/ 54772 w 127257"/>
                  <a:gd name="connsiteY0" fmla="*/ 105497 h 105896"/>
                  <a:gd name="connsiteX1" fmla="*/ 54202 w 127257"/>
                  <a:gd name="connsiteY1" fmla="*/ 105896 h 105896"/>
                  <a:gd name="connsiteX2" fmla="*/ 55854 w 127257"/>
                  <a:gd name="connsiteY2" fmla="*/ 100653 h 105896"/>
                  <a:gd name="connsiteX3" fmla="*/ 33627 w 127257"/>
                  <a:gd name="connsiteY3" fmla="*/ 96834 h 105896"/>
                  <a:gd name="connsiteX4" fmla="*/ 32943 w 127257"/>
                  <a:gd name="connsiteY4" fmla="*/ 87487 h 105896"/>
                  <a:gd name="connsiteX5" fmla="*/ 18751 w 127257"/>
                  <a:gd name="connsiteY5" fmla="*/ 83725 h 105896"/>
                  <a:gd name="connsiteX6" fmla="*/ 3362 w 127257"/>
                  <a:gd name="connsiteY6" fmla="*/ 55228 h 105896"/>
                  <a:gd name="connsiteX7" fmla="*/ 0 w 127257"/>
                  <a:gd name="connsiteY7" fmla="*/ 51922 h 105896"/>
                  <a:gd name="connsiteX8" fmla="*/ 11399 w 127257"/>
                  <a:gd name="connsiteY8" fmla="*/ 24223 h 105896"/>
                  <a:gd name="connsiteX9" fmla="*/ 19207 w 127257"/>
                  <a:gd name="connsiteY9" fmla="*/ 11684 h 105896"/>
                  <a:gd name="connsiteX10" fmla="*/ 30606 w 127257"/>
                  <a:gd name="connsiteY10" fmla="*/ 5414 h 105896"/>
                  <a:gd name="connsiteX11" fmla="*/ 49301 w 127257"/>
                  <a:gd name="connsiteY11" fmla="*/ 627 h 105896"/>
                  <a:gd name="connsiteX12" fmla="*/ 68280 w 127257"/>
                  <a:gd name="connsiteY12" fmla="*/ 912 h 105896"/>
                  <a:gd name="connsiteX13" fmla="*/ 69933 w 127257"/>
                  <a:gd name="connsiteY13" fmla="*/ 0 h 105896"/>
                  <a:gd name="connsiteX14" fmla="*/ 72156 w 127257"/>
                  <a:gd name="connsiteY14" fmla="*/ 855 h 105896"/>
                  <a:gd name="connsiteX15" fmla="*/ 86347 w 127257"/>
                  <a:gd name="connsiteY15" fmla="*/ 16016 h 105896"/>
                  <a:gd name="connsiteX16" fmla="*/ 104357 w 127257"/>
                  <a:gd name="connsiteY16" fmla="*/ 5928 h 105896"/>
                  <a:gd name="connsiteX17" fmla="*/ 109430 w 127257"/>
                  <a:gd name="connsiteY17" fmla="*/ 6554 h 105896"/>
                  <a:gd name="connsiteX18" fmla="*/ 112451 w 127257"/>
                  <a:gd name="connsiteY18" fmla="*/ 9575 h 105896"/>
                  <a:gd name="connsiteX19" fmla="*/ 122937 w 127257"/>
                  <a:gd name="connsiteY19" fmla="*/ 23824 h 105896"/>
                  <a:gd name="connsiteX20" fmla="*/ 127098 w 127257"/>
                  <a:gd name="connsiteY20" fmla="*/ 36477 h 105896"/>
                  <a:gd name="connsiteX21" fmla="*/ 110854 w 127257"/>
                  <a:gd name="connsiteY21" fmla="*/ 51067 h 105896"/>
                  <a:gd name="connsiteX22" fmla="*/ 109031 w 127257"/>
                  <a:gd name="connsiteY22" fmla="*/ 63948 h 105896"/>
                  <a:gd name="connsiteX23" fmla="*/ 96150 w 127257"/>
                  <a:gd name="connsiteY23" fmla="*/ 66228 h 105896"/>
                  <a:gd name="connsiteX24" fmla="*/ 87487 w 127257"/>
                  <a:gd name="connsiteY24" fmla="*/ 73580 h 105896"/>
                  <a:gd name="connsiteX25" fmla="*/ 91990 w 127257"/>
                  <a:gd name="connsiteY25" fmla="*/ 77741 h 105896"/>
                  <a:gd name="connsiteX26" fmla="*/ 92958 w 127257"/>
                  <a:gd name="connsiteY26" fmla="*/ 85036 h 105896"/>
                  <a:gd name="connsiteX27" fmla="*/ 83155 w 127257"/>
                  <a:gd name="connsiteY27" fmla="*/ 87715 h 105896"/>
                  <a:gd name="connsiteX28" fmla="*/ 75119 w 127257"/>
                  <a:gd name="connsiteY28" fmla="*/ 92844 h 105896"/>
                  <a:gd name="connsiteX29" fmla="*/ 75119 w 127257"/>
                  <a:gd name="connsiteY29" fmla="*/ 95865 h 105896"/>
                  <a:gd name="connsiteX30" fmla="*/ 68678 w 127257"/>
                  <a:gd name="connsiteY30" fmla="*/ 97176 h 105896"/>
                  <a:gd name="connsiteX31" fmla="*/ 54772 w 127257"/>
                  <a:gd name="connsiteY31" fmla="*/ 105497 h 10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7257" h="105896">
                    <a:moveTo>
                      <a:pt x="54772" y="105497"/>
                    </a:moveTo>
                    <a:lnTo>
                      <a:pt x="54202" y="105896"/>
                    </a:lnTo>
                    <a:cubicBezTo>
                      <a:pt x="53176" y="103502"/>
                      <a:pt x="53347" y="101109"/>
                      <a:pt x="55854" y="100653"/>
                    </a:cubicBezTo>
                    <a:cubicBezTo>
                      <a:pt x="48674" y="98270"/>
                      <a:pt x="41207" y="96982"/>
                      <a:pt x="33627" y="96834"/>
                    </a:cubicBezTo>
                    <a:lnTo>
                      <a:pt x="32943" y="87487"/>
                    </a:lnTo>
                    <a:lnTo>
                      <a:pt x="18751" y="83725"/>
                    </a:lnTo>
                    <a:cubicBezTo>
                      <a:pt x="19663" y="72668"/>
                      <a:pt x="11228" y="63264"/>
                      <a:pt x="3362" y="55228"/>
                    </a:cubicBezTo>
                    <a:lnTo>
                      <a:pt x="0" y="51922"/>
                    </a:lnTo>
                    <a:cubicBezTo>
                      <a:pt x="3420" y="42518"/>
                      <a:pt x="7466" y="33342"/>
                      <a:pt x="11399" y="24223"/>
                    </a:cubicBezTo>
                    <a:cubicBezTo>
                      <a:pt x="13108" y="19555"/>
                      <a:pt x="15788" y="15292"/>
                      <a:pt x="19207" y="11684"/>
                    </a:cubicBezTo>
                    <a:cubicBezTo>
                      <a:pt x="22570" y="8908"/>
                      <a:pt x="26446" y="6782"/>
                      <a:pt x="30606" y="5414"/>
                    </a:cubicBezTo>
                    <a:cubicBezTo>
                      <a:pt x="36420" y="2542"/>
                      <a:pt x="42803" y="912"/>
                      <a:pt x="49301" y="627"/>
                    </a:cubicBezTo>
                    <a:cubicBezTo>
                      <a:pt x="55684" y="627"/>
                      <a:pt x="62352" y="3363"/>
                      <a:pt x="68280" y="912"/>
                    </a:cubicBezTo>
                    <a:cubicBezTo>
                      <a:pt x="68849" y="678"/>
                      <a:pt x="69419" y="370"/>
                      <a:pt x="69933" y="0"/>
                    </a:cubicBezTo>
                    <a:cubicBezTo>
                      <a:pt x="70674" y="211"/>
                      <a:pt x="71472" y="496"/>
                      <a:pt x="72156" y="855"/>
                    </a:cubicBezTo>
                    <a:cubicBezTo>
                      <a:pt x="78425" y="4275"/>
                      <a:pt x="79337" y="14876"/>
                      <a:pt x="86347" y="16016"/>
                    </a:cubicBezTo>
                    <a:cubicBezTo>
                      <a:pt x="87430" y="8606"/>
                      <a:pt x="96891" y="6383"/>
                      <a:pt x="104357" y="5928"/>
                    </a:cubicBezTo>
                    <a:cubicBezTo>
                      <a:pt x="106067" y="5671"/>
                      <a:pt x="107834" y="5887"/>
                      <a:pt x="109430" y="6554"/>
                    </a:cubicBezTo>
                    <a:cubicBezTo>
                      <a:pt x="110627" y="7335"/>
                      <a:pt x="111652" y="8367"/>
                      <a:pt x="112451" y="9575"/>
                    </a:cubicBezTo>
                    <a:cubicBezTo>
                      <a:pt x="115927" y="14363"/>
                      <a:pt x="119404" y="19093"/>
                      <a:pt x="122937" y="23824"/>
                    </a:cubicBezTo>
                    <a:cubicBezTo>
                      <a:pt x="126243" y="27158"/>
                      <a:pt x="127782" y="31843"/>
                      <a:pt x="127098" y="36477"/>
                    </a:cubicBezTo>
                    <a:cubicBezTo>
                      <a:pt x="124762" y="43544"/>
                      <a:pt x="113363" y="44057"/>
                      <a:pt x="110854" y="51067"/>
                    </a:cubicBezTo>
                    <a:cubicBezTo>
                      <a:pt x="109430" y="55228"/>
                      <a:pt x="111710" y="60471"/>
                      <a:pt x="109031" y="63948"/>
                    </a:cubicBezTo>
                    <a:cubicBezTo>
                      <a:pt x="106352" y="67425"/>
                      <a:pt x="100710" y="66513"/>
                      <a:pt x="96150" y="66228"/>
                    </a:cubicBezTo>
                    <a:cubicBezTo>
                      <a:pt x="91590" y="65943"/>
                      <a:pt x="85549" y="69477"/>
                      <a:pt x="87487" y="73580"/>
                    </a:cubicBezTo>
                    <a:cubicBezTo>
                      <a:pt x="88399" y="75404"/>
                      <a:pt x="90565" y="76259"/>
                      <a:pt x="91990" y="77741"/>
                    </a:cubicBezTo>
                    <a:cubicBezTo>
                      <a:pt x="93813" y="79724"/>
                      <a:pt x="94212" y="82642"/>
                      <a:pt x="92958" y="85036"/>
                    </a:cubicBezTo>
                    <a:cubicBezTo>
                      <a:pt x="91020" y="88000"/>
                      <a:pt x="86689" y="87772"/>
                      <a:pt x="83155" y="87715"/>
                    </a:cubicBezTo>
                    <a:cubicBezTo>
                      <a:pt x="79621" y="87658"/>
                      <a:pt x="75005" y="89311"/>
                      <a:pt x="75119" y="92844"/>
                    </a:cubicBezTo>
                    <a:cubicBezTo>
                      <a:pt x="75290" y="93842"/>
                      <a:pt x="75290" y="94868"/>
                      <a:pt x="75119" y="95865"/>
                    </a:cubicBezTo>
                    <a:cubicBezTo>
                      <a:pt x="74378" y="98145"/>
                      <a:pt x="71072" y="97404"/>
                      <a:pt x="68678" y="97176"/>
                    </a:cubicBezTo>
                    <a:cubicBezTo>
                      <a:pt x="63321" y="96777"/>
                      <a:pt x="59218" y="101850"/>
                      <a:pt x="54772" y="10549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24" name="Freihandform: Form 718">
                <a:extLst>
                  <a:ext uri="{FF2B5EF4-FFF2-40B4-BE49-F238E27FC236}">
                    <a16:creationId xmlns:a16="http://schemas.microsoft.com/office/drawing/2014/main" id="{AC681B8B-2AC2-CD7E-40CD-13EE3287A247}"/>
                  </a:ext>
                </a:extLst>
              </p:cNvPr>
              <p:cNvSpPr/>
              <p:nvPr/>
            </p:nvSpPr>
            <p:spPr>
              <a:xfrm>
                <a:off x="5923979" y="3717398"/>
                <a:ext cx="165854" cy="209341"/>
              </a:xfrm>
              <a:custGeom>
                <a:avLst/>
                <a:gdLst>
                  <a:gd name="connsiteX0" fmla="*/ 160440 w 165854"/>
                  <a:gd name="connsiteY0" fmla="*/ 197259 h 209341"/>
                  <a:gd name="connsiteX1" fmla="*/ 159187 w 165854"/>
                  <a:gd name="connsiteY1" fmla="*/ 207746 h 209341"/>
                  <a:gd name="connsiteX2" fmla="*/ 155596 w 165854"/>
                  <a:gd name="connsiteY2" fmla="*/ 202901 h 209341"/>
                  <a:gd name="connsiteX3" fmla="*/ 152575 w 165854"/>
                  <a:gd name="connsiteY3" fmla="*/ 199880 h 209341"/>
                  <a:gd name="connsiteX4" fmla="*/ 147502 w 165854"/>
                  <a:gd name="connsiteY4" fmla="*/ 199254 h 209341"/>
                  <a:gd name="connsiteX5" fmla="*/ 129492 w 165854"/>
                  <a:gd name="connsiteY5" fmla="*/ 209342 h 209341"/>
                  <a:gd name="connsiteX6" fmla="*/ 115300 w 165854"/>
                  <a:gd name="connsiteY6" fmla="*/ 194181 h 209341"/>
                  <a:gd name="connsiteX7" fmla="*/ 113077 w 165854"/>
                  <a:gd name="connsiteY7" fmla="*/ 193326 h 209341"/>
                  <a:gd name="connsiteX8" fmla="*/ 119119 w 165854"/>
                  <a:gd name="connsiteY8" fmla="*/ 173720 h 209341"/>
                  <a:gd name="connsiteX9" fmla="*/ 106865 w 165854"/>
                  <a:gd name="connsiteY9" fmla="*/ 153202 h 209341"/>
                  <a:gd name="connsiteX10" fmla="*/ 104585 w 165854"/>
                  <a:gd name="connsiteY10" fmla="*/ 148642 h 209341"/>
                  <a:gd name="connsiteX11" fmla="*/ 104928 w 165854"/>
                  <a:gd name="connsiteY11" fmla="*/ 142943 h 209341"/>
                  <a:gd name="connsiteX12" fmla="*/ 97461 w 165854"/>
                  <a:gd name="connsiteY12" fmla="*/ 128181 h 209341"/>
                  <a:gd name="connsiteX13" fmla="*/ 97461 w 165854"/>
                  <a:gd name="connsiteY13" fmla="*/ 119746 h 209341"/>
                  <a:gd name="connsiteX14" fmla="*/ 81560 w 165854"/>
                  <a:gd name="connsiteY14" fmla="*/ 104414 h 209341"/>
                  <a:gd name="connsiteX15" fmla="*/ 63777 w 165854"/>
                  <a:gd name="connsiteY15" fmla="*/ 108347 h 209341"/>
                  <a:gd name="connsiteX16" fmla="*/ 60471 w 165854"/>
                  <a:gd name="connsiteY16" fmla="*/ 110855 h 209341"/>
                  <a:gd name="connsiteX17" fmla="*/ 47648 w 165854"/>
                  <a:gd name="connsiteY17" fmla="*/ 105155 h 209341"/>
                  <a:gd name="connsiteX18" fmla="*/ 46850 w 165854"/>
                  <a:gd name="connsiteY18" fmla="*/ 113477 h 209341"/>
                  <a:gd name="connsiteX19" fmla="*/ 31689 w 165854"/>
                  <a:gd name="connsiteY19" fmla="*/ 111482 h 209341"/>
                  <a:gd name="connsiteX20" fmla="*/ 17782 w 165854"/>
                  <a:gd name="connsiteY20" fmla="*/ 123849 h 209341"/>
                  <a:gd name="connsiteX21" fmla="*/ 21316 w 165854"/>
                  <a:gd name="connsiteY21" fmla="*/ 80932 h 209341"/>
                  <a:gd name="connsiteX22" fmla="*/ 20405 w 165854"/>
                  <a:gd name="connsiteY22" fmla="*/ 77228 h 209341"/>
                  <a:gd name="connsiteX23" fmla="*/ 13394 w 165854"/>
                  <a:gd name="connsiteY23" fmla="*/ 76031 h 209341"/>
                  <a:gd name="connsiteX24" fmla="*/ 4047 w 165854"/>
                  <a:gd name="connsiteY24" fmla="*/ 64176 h 209341"/>
                  <a:gd name="connsiteX25" fmla="*/ 0 w 165854"/>
                  <a:gd name="connsiteY25" fmla="*/ 50497 h 209341"/>
                  <a:gd name="connsiteX26" fmla="*/ 3362 w 165854"/>
                  <a:gd name="connsiteY26" fmla="*/ 46166 h 209341"/>
                  <a:gd name="connsiteX27" fmla="*/ 11000 w 165854"/>
                  <a:gd name="connsiteY27" fmla="*/ 28554 h 209341"/>
                  <a:gd name="connsiteX28" fmla="*/ 30492 w 165854"/>
                  <a:gd name="connsiteY28" fmla="*/ 13736 h 209341"/>
                  <a:gd name="connsiteX29" fmla="*/ 32658 w 165854"/>
                  <a:gd name="connsiteY29" fmla="*/ 3477 h 209341"/>
                  <a:gd name="connsiteX30" fmla="*/ 49756 w 165854"/>
                  <a:gd name="connsiteY30" fmla="*/ 0 h 209341"/>
                  <a:gd name="connsiteX31" fmla="*/ 49756 w 165854"/>
                  <a:gd name="connsiteY31" fmla="*/ 3363 h 209341"/>
                  <a:gd name="connsiteX32" fmla="*/ 49301 w 165854"/>
                  <a:gd name="connsiteY32" fmla="*/ 13508 h 209341"/>
                  <a:gd name="connsiteX33" fmla="*/ 58135 w 165854"/>
                  <a:gd name="connsiteY33" fmla="*/ 19207 h 209341"/>
                  <a:gd name="connsiteX34" fmla="*/ 64803 w 165854"/>
                  <a:gd name="connsiteY34" fmla="*/ 26731 h 209341"/>
                  <a:gd name="connsiteX35" fmla="*/ 63094 w 165854"/>
                  <a:gd name="connsiteY35" fmla="*/ 31860 h 209341"/>
                  <a:gd name="connsiteX36" fmla="*/ 67539 w 165854"/>
                  <a:gd name="connsiteY36" fmla="*/ 36705 h 209341"/>
                  <a:gd name="connsiteX37" fmla="*/ 74550 w 165854"/>
                  <a:gd name="connsiteY37" fmla="*/ 37161 h 209341"/>
                  <a:gd name="connsiteX38" fmla="*/ 93016 w 165854"/>
                  <a:gd name="connsiteY38" fmla="*/ 44969 h 209341"/>
                  <a:gd name="connsiteX39" fmla="*/ 102419 w 165854"/>
                  <a:gd name="connsiteY39" fmla="*/ 53062 h 209341"/>
                  <a:gd name="connsiteX40" fmla="*/ 102419 w 165854"/>
                  <a:gd name="connsiteY40" fmla="*/ 64461 h 209341"/>
                  <a:gd name="connsiteX41" fmla="*/ 88570 w 165854"/>
                  <a:gd name="connsiteY41" fmla="*/ 73352 h 209341"/>
                  <a:gd name="connsiteX42" fmla="*/ 95923 w 165854"/>
                  <a:gd name="connsiteY42" fmla="*/ 87373 h 209341"/>
                  <a:gd name="connsiteX43" fmla="*/ 107322 w 165854"/>
                  <a:gd name="connsiteY43" fmla="*/ 99627 h 209341"/>
                  <a:gd name="connsiteX44" fmla="*/ 107322 w 165854"/>
                  <a:gd name="connsiteY44" fmla="*/ 103274 h 209341"/>
                  <a:gd name="connsiteX45" fmla="*/ 117751 w 165854"/>
                  <a:gd name="connsiteY45" fmla="*/ 112963 h 209341"/>
                  <a:gd name="connsiteX46" fmla="*/ 118321 w 165854"/>
                  <a:gd name="connsiteY46" fmla="*/ 117409 h 209341"/>
                  <a:gd name="connsiteX47" fmla="*/ 121741 w 165854"/>
                  <a:gd name="connsiteY47" fmla="*/ 123108 h 209341"/>
                  <a:gd name="connsiteX48" fmla="*/ 141575 w 165854"/>
                  <a:gd name="connsiteY48" fmla="*/ 145564 h 209341"/>
                  <a:gd name="connsiteX49" fmla="*/ 145508 w 165854"/>
                  <a:gd name="connsiteY49" fmla="*/ 150751 h 209341"/>
                  <a:gd name="connsiteX50" fmla="*/ 147845 w 165854"/>
                  <a:gd name="connsiteY50" fmla="*/ 155880 h 209341"/>
                  <a:gd name="connsiteX51" fmla="*/ 158673 w 165854"/>
                  <a:gd name="connsiteY51" fmla="*/ 164772 h 209341"/>
                  <a:gd name="connsiteX52" fmla="*/ 165855 w 165854"/>
                  <a:gd name="connsiteY52" fmla="*/ 176171 h 209341"/>
                  <a:gd name="connsiteX53" fmla="*/ 160155 w 165854"/>
                  <a:gd name="connsiteY53" fmla="*/ 187228 h 209341"/>
                  <a:gd name="connsiteX54" fmla="*/ 160440 w 165854"/>
                  <a:gd name="connsiteY54" fmla="*/ 197259 h 20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5854" h="209341">
                    <a:moveTo>
                      <a:pt x="160440" y="197259"/>
                    </a:moveTo>
                    <a:cubicBezTo>
                      <a:pt x="160497" y="200792"/>
                      <a:pt x="160042" y="204320"/>
                      <a:pt x="159187" y="207746"/>
                    </a:cubicBezTo>
                    <a:lnTo>
                      <a:pt x="155596" y="202901"/>
                    </a:lnTo>
                    <a:cubicBezTo>
                      <a:pt x="154798" y="201693"/>
                      <a:pt x="153772" y="200661"/>
                      <a:pt x="152575" y="199880"/>
                    </a:cubicBezTo>
                    <a:cubicBezTo>
                      <a:pt x="150979" y="199214"/>
                      <a:pt x="149213" y="198997"/>
                      <a:pt x="147502" y="199254"/>
                    </a:cubicBezTo>
                    <a:cubicBezTo>
                      <a:pt x="140036" y="199709"/>
                      <a:pt x="130404" y="201932"/>
                      <a:pt x="129492" y="209342"/>
                    </a:cubicBezTo>
                    <a:cubicBezTo>
                      <a:pt x="122482" y="208202"/>
                      <a:pt x="121570" y="197601"/>
                      <a:pt x="115300" y="194181"/>
                    </a:cubicBezTo>
                    <a:cubicBezTo>
                      <a:pt x="114616" y="193822"/>
                      <a:pt x="113818" y="193537"/>
                      <a:pt x="113077" y="193326"/>
                    </a:cubicBezTo>
                    <a:cubicBezTo>
                      <a:pt x="119062" y="188738"/>
                      <a:pt x="121456" y="180873"/>
                      <a:pt x="119119" y="173720"/>
                    </a:cubicBezTo>
                    <a:cubicBezTo>
                      <a:pt x="116212" y="166242"/>
                      <a:pt x="112052" y="159300"/>
                      <a:pt x="106865" y="153202"/>
                    </a:cubicBezTo>
                    <a:cubicBezTo>
                      <a:pt x="105726" y="151885"/>
                      <a:pt x="104985" y="150324"/>
                      <a:pt x="104585" y="148642"/>
                    </a:cubicBezTo>
                    <a:cubicBezTo>
                      <a:pt x="104585" y="146704"/>
                      <a:pt x="105042" y="144710"/>
                      <a:pt x="104928" y="142943"/>
                    </a:cubicBezTo>
                    <a:cubicBezTo>
                      <a:pt x="104928" y="137243"/>
                      <a:pt x="98373" y="133710"/>
                      <a:pt x="97461" y="128181"/>
                    </a:cubicBezTo>
                    <a:cubicBezTo>
                      <a:pt x="97632" y="125371"/>
                      <a:pt x="97632" y="122556"/>
                      <a:pt x="97461" y="119746"/>
                    </a:cubicBezTo>
                    <a:cubicBezTo>
                      <a:pt x="95295" y="112394"/>
                      <a:pt x="82244" y="112052"/>
                      <a:pt x="81560" y="104414"/>
                    </a:cubicBezTo>
                    <a:cubicBezTo>
                      <a:pt x="75347" y="102459"/>
                      <a:pt x="68565" y="103958"/>
                      <a:pt x="63777" y="108347"/>
                    </a:cubicBezTo>
                    <a:cubicBezTo>
                      <a:pt x="62865" y="109407"/>
                      <a:pt x="61726" y="110262"/>
                      <a:pt x="60471" y="110855"/>
                    </a:cubicBezTo>
                    <a:cubicBezTo>
                      <a:pt x="55798" y="112394"/>
                      <a:pt x="52549" y="104813"/>
                      <a:pt x="47648" y="105155"/>
                    </a:cubicBezTo>
                    <a:cubicBezTo>
                      <a:pt x="47363" y="107948"/>
                      <a:pt x="47135" y="110855"/>
                      <a:pt x="46850" y="113477"/>
                    </a:cubicBezTo>
                    <a:lnTo>
                      <a:pt x="31689" y="111482"/>
                    </a:lnTo>
                    <a:cubicBezTo>
                      <a:pt x="31233" y="118737"/>
                      <a:pt x="25021" y="124271"/>
                      <a:pt x="17782" y="123849"/>
                    </a:cubicBezTo>
                    <a:cubicBezTo>
                      <a:pt x="20461" y="109709"/>
                      <a:pt x="21658" y="95324"/>
                      <a:pt x="21316" y="80932"/>
                    </a:cubicBezTo>
                    <a:cubicBezTo>
                      <a:pt x="21430" y="79627"/>
                      <a:pt x="21146" y="78322"/>
                      <a:pt x="20405" y="77228"/>
                    </a:cubicBezTo>
                    <a:cubicBezTo>
                      <a:pt x="18809" y="75404"/>
                      <a:pt x="15845" y="76259"/>
                      <a:pt x="13394" y="76031"/>
                    </a:cubicBezTo>
                    <a:cubicBezTo>
                      <a:pt x="8036" y="75518"/>
                      <a:pt x="5016" y="69477"/>
                      <a:pt x="4047" y="64176"/>
                    </a:cubicBezTo>
                    <a:cubicBezTo>
                      <a:pt x="3648" y="59383"/>
                      <a:pt x="2280" y="54721"/>
                      <a:pt x="0" y="50497"/>
                    </a:cubicBezTo>
                    <a:cubicBezTo>
                      <a:pt x="1197" y="49129"/>
                      <a:pt x="2337" y="47682"/>
                      <a:pt x="3362" y="46166"/>
                    </a:cubicBezTo>
                    <a:cubicBezTo>
                      <a:pt x="6953" y="40797"/>
                      <a:pt x="9518" y="34835"/>
                      <a:pt x="11000" y="28554"/>
                    </a:cubicBezTo>
                    <a:cubicBezTo>
                      <a:pt x="20290" y="29176"/>
                      <a:pt x="28611" y="22849"/>
                      <a:pt x="30492" y="13736"/>
                    </a:cubicBezTo>
                    <a:cubicBezTo>
                      <a:pt x="30322" y="10191"/>
                      <a:pt x="31063" y="6657"/>
                      <a:pt x="32658" y="3477"/>
                    </a:cubicBezTo>
                    <a:cubicBezTo>
                      <a:pt x="36363" y="-1311"/>
                      <a:pt x="43715" y="1083"/>
                      <a:pt x="49756" y="0"/>
                    </a:cubicBezTo>
                    <a:cubicBezTo>
                      <a:pt x="49927" y="1117"/>
                      <a:pt x="49927" y="2245"/>
                      <a:pt x="49756" y="3363"/>
                    </a:cubicBezTo>
                    <a:cubicBezTo>
                      <a:pt x="49756" y="6782"/>
                      <a:pt x="47933" y="10373"/>
                      <a:pt x="49301" y="13508"/>
                    </a:cubicBezTo>
                    <a:cubicBezTo>
                      <a:pt x="50668" y="16642"/>
                      <a:pt x="55000" y="17953"/>
                      <a:pt x="58135" y="19207"/>
                    </a:cubicBezTo>
                    <a:cubicBezTo>
                      <a:pt x="61269" y="20461"/>
                      <a:pt x="65316" y="23140"/>
                      <a:pt x="64803" y="26731"/>
                    </a:cubicBezTo>
                    <a:cubicBezTo>
                      <a:pt x="64803" y="28554"/>
                      <a:pt x="63151" y="30036"/>
                      <a:pt x="63094" y="31860"/>
                    </a:cubicBezTo>
                    <a:cubicBezTo>
                      <a:pt x="63378" y="34254"/>
                      <a:pt x="65202" y="36192"/>
                      <a:pt x="67539" y="36705"/>
                    </a:cubicBezTo>
                    <a:cubicBezTo>
                      <a:pt x="69876" y="37115"/>
                      <a:pt x="72213" y="37269"/>
                      <a:pt x="74550" y="37161"/>
                    </a:cubicBezTo>
                    <a:cubicBezTo>
                      <a:pt x="81275" y="38101"/>
                      <a:pt x="87658" y="40791"/>
                      <a:pt x="93016" y="44969"/>
                    </a:cubicBezTo>
                    <a:cubicBezTo>
                      <a:pt x="96664" y="46964"/>
                      <a:pt x="99912" y="49722"/>
                      <a:pt x="102419" y="53062"/>
                    </a:cubicBezTo>
                    <a:cubicBezTo>
                      <a:pt x="104756" y="56499"/>
                      <a:pt x="104756" y="61024"/>
                      <a:pt x="102419" y="64461"/>
                    </a:cubicBezTo>
                    <a:cubicBezTo>
                      <a:pt x="98886" y="68793"/>
                      <a:pt x="91020" y="68451"/>
                      <a:pt x="88570" y="73352"/>
                    </a:cubicBezTo>
                    <a:cubicBezTo>
                      <a:pt x="86119" y="78254"/>
                      <a:pt x="90907" y="84352"/>
                      <a:pt x="95923" y="87373"/>
                    </a:cubicBezTo>
                    <a:cubicBezTo>
                      <a:pt x="100938" y="90394"/>
                      <a:pt x="107322" y="93756"/>
                      <a:pt x="107322" y="99627"/>
                    </a:cubicBezTo>
                    <a:cubicBezTo>
                      <a:pt x="107264" y="100841"/>
                      <a:pt x="107264" y="102060"/>
                      <a:pt x="107322" y="103274"/>
                    </a:cubicBezTo>
                    <a:cubicBezTo>
                      <a:pt x="108518" y="108005"/>
                      <a:pt x="116212" y="108290"/>
                      <a:pt x="117751" y="112963"/>
                    </a:cubicBezTo>
                    <a:cubicBezTo>
                      <a:pt x="118037" y="114428"/>
                      <a:pt x="118264" y="115916"/>
                      <a:pt x="118321" y="117409"/>
                    </a:cubicBezTo>
                    <a:cubicBezTo>
                      <a:pt x="118948" y="119581"/>
                      <a:pt x="120088" y="121547"/>
                      <a:pt x="121741" y="123108"/>
                    </a:cubicBezTo>
                    <a:lnTo>
                      <a:pt x="141575" y="145564"/>
                    </a:lnTo>
                    <a:cubicBezTo>
                      <a:pt x="143057" y="147137"/>
                      <a:pt x="144368" y="148882"/>
                      <a:pt x="145508" y="150751"/>
                    </a:cubicBezTo>
                    <a:cubicBezTo>
                      <a:pt x="146363" y="152404"/>
                      <a:pt x="146933" y="154228"/>
                      <a:pt x="147845" y="155880"/>
                    </a:cubicBezTo>
                    <a:cubicBezTo>
                      <a:pt x="150751" y="159614"/>
                      <a:pt x="154456" y="162646"/>
                      <a:pt x="158673" y="164772"/>
                    </a:cubicBezTo>
                    <a:cubicBezTo>
                      <a:pt x="162948" y="167012"/>
                      <a:pt x="165684" y="171360"/>
                      <a:pt x="165855" y="176171"/>
                    </a:cubicBezTo>
                    <a:cubicBezTo>
                      <a:pt x="165399" y="180274"/>
                      <a:pt x="161751" y="183295"/>
                      <a:pt x="160155" y="187228"/>
                    </a:cubicBezTo>
                    <a:cubicBezTo>
                      <a:pt x="159642" y="190562"/>
                      <a:pt x="159756" y="193959"/>
                      <a:pt x="160440" y="19725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5" name="Freihandform: Form 719">
                <a:extLst>
                  <a:ext uri="{FF2B5EF4-FFF2-40B4-BE49-F238E27FC236}">
                    <a16:creationId xmlns:a16="http://schemas.microsoft.com/office/drawing/2014/main" id="{CAFCF773-E2DA-39E7-BCD7-9DB4D3445B21}"/>
                  </a:ext>
                </a:extLst>
              </p:cNvPr>
              <p:cNvSpPr/>
              <p:nvPr/>
            </p:nvSpPr>
            <p:spPr>
              <a:xfrm>
                <a:off x="5973517" y="3692605"/>
                <a:ext cx="148856" cy="349605"/>
              </a:xfrm>
              <a:custGeom>
                <a:avLst/>
                <a:gdLst>
                  <a:gd name="connsiteX0" fmla="*/ 145840 w 148856"/>
                  <a:gd name="connsiteY0" fmla="*/ 272207 h 349605"/>
                  <a:gd name="connsiteX1" fmla="*/ 136550 w 148856"/>
                  <a:gd name="connsiteY1" fmla="*/ 297057 h 349605"/>
                  <a:gd name="connsiteX2" fmla="*/ 127089 w 148856"/>
                  <a:gd name="connsiteY2" fmla="*/ 298310 h 349605"/>
                  <a:gd name="connsiteX3" fmla="*/ 115006 w 148856"/>
                  <a:gd name="connsiteY3" fmla="*/ 319170 h 349605"/>
                  <a:gd name="connsiteX4" fmla="*/ 93063 w 148856"/>
                  <a:gd name="connsiteY4" fmla="*/ 318601 h 349605"/>
                  <a:gd name="connsiteX5" fmla="*/ 83830 w 148856"/>
                  <a:gd name="connsiteY5" fmla="*/ 333875 h 349605"/>
                  <a:gd name="connsiteX6" fmla="*/ 75109 w 148856"/>
                  <a:gd name="connsiteY6" fmla="*/ 339575 h 349605"/>
                  <a:gd name="connsiteX7" fmla="*/ 48436 w 148856"/>
                  <a:gd name="connsiteY7" fmla="*/ 349606 h 349605"/>
                  <a:gd name="connsiteX8" fmla="*/ 52881 w 148856"/>
                  <a:gd name="connsiteY8" fmla="*/ 342538 h 349605"/>
                  <a:gd name="connsiteX9" fmla="*/ 60861 w 148856"/>
                  <a:gd name="connsiteY9" fmla="*/ 337580 h 349605"/>
                  <a:gd name="connsiteX10" fmla="*/ 51856 w 148856"/>
                  <a:gd name="connsiteY10" fmla="*/ 328632 h 349605"/>
                  <a:gd name="connsiteX11" fmla="*/ 47467 w 148856"/>
                  <a:gd name="connsiteY11" fmla="*/ 323844 h 349605"/>
                  <a:gd name="connsiteX12" fmla="*/ 48037 w 148856"/>
                  <a:gd name="connsiteY12" fmla="*/ 323445 h 349605"/>
                  <a:gd name="connsiteX13" fmla="*/ 62343 w 148856"/>
                  <a:gd name="connsiteY13" fmla="*/ 315238 h 349605"/>
                  <a:gd name="connsiteX14" fmla="*/ 68783 w 148856"/>
                  <a:gd name="connsiteY14" fmla="*/ 313927 h 349605"/>
                  <a:gd name="connsiteX15" fmla="*/ 68783 w 148856"/>
                  <a:gd name="connsiteY15" fmla="*/ 310906 h 349605"/>
                  <a:gd name="connsiteX16" fmla="*/ 76820 w 148856"/>
                  <a:gd name="connsiteY16" fmla="*/ 305777 h 349605"/>
                  <a:gd name="connsiteX17" fmla="*/ 86622 w 148856"/>
                  <a:gd name="connsiteY17" fmla="*/ 303098 h 349605"/>
                  <a:gd name="connsiteX18" fmla="*/ 85653 w 148856"/>
                  <a:gd name="connsiteY18" fmla="*/ 295803 h 349605"/>
                  <a:gd name="connsiteX19" fmla="*/ 81151 w 148856"/>
                  <a:gd name="connsiteY19" fmla="*/ 291642 h 349605"/>
                  <a:gd name="connsiteX20" fmla="*/ 89815 w 148856"/>
                  <a:gd name="connsiteY20" fmla="*/ 284290 h 349605"/>
                  <a:gd name="connsiteX21" fmla="*/ 102695 w 148856"/>
                  <a:gd name="connsiteY21" fmla="*/ 282010 h 349605"/>
                  <a:gd name="connsiteX22" fmla="*/ 104519 w 148856"/>
                  <a:gd name="connsiteY22" fmla="*/ 269129 h 349605"/>
                  <a:gd name="connsiteX23" fmla="*/ 120762 w 148856"/>
                  <a:gd name="connsiteY23" fmla="*/ 254538 h 349605"/>
                  <a:gd name="connsiteX24" fmla="*/ 116602 w 148856"/>
                  <a:gd name="connsiteY24" fmla="*/ 241886 h 349605"/>
                  <a:gd name="connsiteX25" fmla="*/ 109706 w 148856"/>
                  <a:gd name="connsiteY25" fmla="*/ 232482 h 349605"/>
                  <a:gd name="connsiteX26" fmla="*/ 110959 w 148856"/>
                  <a:gd name="connsiteY26" fmla="*/ 221994 h 349605"/>
                  <a:gd name="connsiteX27" fmla="*/ 111472 w 148856"/>
                  <a:gd name="connsiteY27" fmla="*/ 211849 h 349605"/>
                  <a:gd name="connsiteX28" fmla="*/ 117172 w 148856"/>
                  <a:gd name="connsiteY28" fmla="*/ 200792 h 349605"/>
                  <a:gd name="connsiteX29" fmla="*/ 109990 w 148856"/>
                  <a:gd name="connsiteY29" fmla="*/ 189393 h 349605"/>
                  <a:gd name="connsiteX30" fmla="*/ 99161 w 148856"/>
                  <a:gd name="connsiteY30" fmla="*/ 180502 h 349605"/>
                  <a:gd name="connsiteX31" fmla="*/ 96825 w 148856"/>
                  <a:gd name="connsiteY31" fmla="*/ 175373 h 349605"/>
                  <a:gd name="connsiteX32" fmla="*/ 92892 w 148856"/>
                  <a:gd name="connsiteY32" fmla="*/ 170186 h 349605"/>
                  <a:gd name="connsiteX33" fmla="*/ 73058 w 148856"/>
                  <a:gd name="connsiteY33" fmla="*/ 147730 h 349605"/>
                  <a:gd name="connsiteX34" fmla="*/ 69638 w 148856"/>
                  <a:gd name="connsiteY34" fmla="*/ 142031 h 349605"/>
                  <a:gd name="connsiteX35" fmla="*/ 69068 w 148856"/>
                  <a:gd name="connsiteY35" fmla="*/ 137585 h 349605"/>
                  <a:gd name="connsiteX36" fmla="*/ 58638 w 148856"/>
                  <a:gd name="connsiteY36" fmla="*/ 127896 h 349605"/>
                  <a:gd name="connsiteX37" fmla="*/ 58638 w 148856"/>
                  <a:gd name="connsiteY37" fmla="*/ 124248 h 349605"/>
                  <a:gd name="connsiteX38" fmla="*/ 47239 w 148856"/>
                  <a:gd name="connsiteY38" fmla="*/ 111995 h 349605"/>
                  <a:gd name="connsiteX39" fmla="*/ 39887 w 148856"/>
                  <a:gd name="connsiteY39" fmla="*/ 97974 h 349605"/>
                  <a:gd name="connsiteX40" fmla="*/ 53736 w 148856"/>
                  <a:gd name="connsiteY40" fmla="*/ 89083 h 349605"/>
                  <a:gd name="connsiteX41" fmla="*/ 53736 w 148856"/>
                  <a:gd name="connsiteY41" fmla="*/ 77684 h 349605"/>
                  <a:gd name="connsiteX42" fmla="*/ 44332 w 148856"/>
                  <a:gd name="connsiteY42" fmla="*/ 69591 h 349605"/>
                  <a:gd name="connsiteX43" fmla="*/ 25866 w 148856"/>
                  <a:gd name="connsiteY43" fmla="*/ 61782 h 349605"/>
                  <a:gd name="connsiteX44" fmla="*/ 18856 w 148856"/>
                  <a:gd name="connsiteY44" fmla="*/ 61326 h 349605"/>
                  <a:gd name="connsiteX45" fmla="*/ 14410 w 148856"/>
                  <a:gd name="connsiteY45" fmla="*/ 56482 h 349605"/>
                  <a:gd name="connsiteX46" fmla="*/ 16120 w 148856"/>
                  <a:gd name="connsiteY46" fmla="*/ 51352 h 349605"/>
                  <a:gd name="connsiteX47" fmla="*/ 9451 w 148856"/>
                  <a:gd name="connsiteY47" fmla="*/ 43829 h 349605"/>
                  <a:gd name="connsiteX48" fmla="*/ 618 w 148856"/>
                  <a:gd name="connsiteY48" fmla="*/ 38129 h 349605"/>
                  <a:gd name="connsiteX49" fmla="*/ 1073 w 148856"/>
                  <a:gd name="connsiteY49" fmla="*/ 27984 h 349605"/>
                  <a:gd name="connsiteX50" fmla="*/ 1073 w 148856"/>
                  <a:gd name="connsiteY50" fmla="*/ 24622 h 349605"/>
                  <a:gd name="connsiteX51" fmla="*/ 3752 w 148856"/>
                  <a:gd name="connsiteY51" fmla="*/ 23881 h 349605"/>
                  <a:gd name="connsiteX52" fmla="*/ 10876 w 148856"/>
                  <a:gd name="connsiteY52" fmla="*/ 18637 h 349605"/>
                  <a:gd name="connsiteX53" fmla="*/ 31737 w 148856"/>
                  <a:gd name="connsiteY53" fmla="*/ 15047 h 349605"/>
                  <a:gd name="connsiteX54" fmla="*/ 53224 w 148856"/>
                  <a:gd name="connsiteY54" fmla="*/ 15047 h 349605"/>
                  <a:gd name="connsiteX55" fmla="*/ 66104 w 148856"/>
                  <a:gd name="connsiteY55" fmla="*/ 0 h 349605"/>
                  <a:gd name="connsiteX56" fmla="*/ 83602 w 148856"/>
                  <a:gd name="connsiteY56" fmla="*/ 10259 h 349605"/>
                  <a:gd name="connsiteX57" fmla="*/ 95970 w 148856"/>
                  <a:gd name="connsiteY57" fmla="*/ 17383 h 349605"/>
                  <a:gd name="connsiteX58" fmla="*/ 95970 w 148856"/>
                  <a:gd name="connsiteY58" fmla="*/ 26274 h 349605"/>
                  <a:gd name="connsiteX59" fmla="*/ 116659 w 148856"/>
                  <a:gd name="connsiteY59" fmla="*/ 45539 h 349605"/>
                  <a:gd name="connsiteX60" fmla="*/ 129711 w 148856"/>
                  <a:gd name="connsiteY60" fmla="*/ 52264 h 349605"/>
                  <a:gd name="connsiteX61" fmla="*/ 92322 w 148856"/>
                  <a:gd name="connsiteY61" fmla="*/ 62181 h 349605"/>
                  <a:gd name="connsiteX62" fmla="*/ 80923 w 148856"/>
                  <a:gd name="connsiteY62" fmla="*/ 89938 h 349605"/>
                  <a:gd name="connsiteX63" fmla="*/ 75736 w 148856"/>
                  <a:gd name="connsiteY63" fmla="*/ 118435 h 349605"/>
                  <a:gd name="connsiteX64" fmla="*/ 81037 w 148856"/>
                  <a:gd name="connsiteY64" fmla="*/ 128466 h 349605"/>
                  <a:gd name="connsiteX65" fmla="*/ 108622 w 148856"/>
                  <a:gd name="connsiteY65" fmla="*/ 167849 h 349605"/>
                  <a:gd name="connsiteX66" fmla="*/ 131420 w 148856"/>
                  <a:gd name="connsiteY66" fmla="*/ 191901 h 349605"/>
                  <a:gd name="connsiteX67" fmla="*/ 144073 w 148856"/>
                  <a:gd name="connsiteY67" fmla="*/ 202559 h 349605"/>
                  <a:gd name="connsiteX68" fmla="*/ 145840 w 148856"/>
                  <a:gd name="connsiteY68" fmla="*/ 272207 h 34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48856" h="349605">
                    <a:moveTo>
                      <a:pt x="145840" y="272207"/>
                    </a:moveTo>
                    <a:cubicBezTo>
                      <a:pt x="144301" y="280990"/>
                      <a:pt x="141167" y="289413"/>
                      <a:pt x="136550" y="297057"/>
                    </a:cubicBezTo>
                    <a:lnTo>
                      <a:pt x="127089" y="298310"/>
                    </a:lnTo>
                    <a:cubicBezTo>
                      <a:pt x="125721" y="306501"/>
                      <a:pt x="121446" y="313916"/>
                      <a:pt x="115006" y="319170"/>
                    </a:cubicBezTo>
                    <a:cubicBezTo>
                      <a:pt x="107881" y="316321"/>
                      <a:pt x="98991" y="313471"/>
                      <a:pt x="93063" y="318601"/>
                    </a:cubicBezTo>
                    <a:cubicBezTo>
                      <a:pt x="88447" y="322419"/>
                      <a:pt x="87762" y="329373"/>
                      <a:pt x="83830" y="333875"/>
                    </a:cubicBezTo>
                    <a:cubicBezTo>
                      <a:pt x="81379" y="336383"/>
                      <a:pt x="78416" y="338326"/>
                      <a:pt x="75109" y="339575"/>
                    </a:cubicBezTo>
                    <a:cubicBezTo>
                      <a:pt x="66503" y="343570"/>
                      <a:pt x="57555" y="346927"/>
                      <a:pt x="48436" y="349606"/>
                    </a:cubicBezTo>
                    <a:cubicBezTo>
                      <a:pt x="46441" y="347041"/>
                      <a:pt x="49747" y="343507"/>
                      <a:pt x="52881" y="342538"/>
                    </a:cubicBezTo>
                    <a:cubicBezTo>
                      <a:pt x="56016" y="341569"/>
                      <a:pt x="59949" y="340714"/>
                      <a:pt x="60861" y="337580"/>
                    </a:cubicBezTo>
                    <a:cubicBezTo>
                      <a:pt x="62171" y="333077"/>
                      <a:pt x="56187" y="330455"/>
                      <a:pt x="51856" y="328632"/>
                    </a:cubicBezTo>
                    <a:cubicBezTo>
                      <a:pt x="49861" y="327617"/>
                      <a:pt x="48322" y="325919"/>
                      <a:pt x="47467" y="323844"/>
                    </a:cubicBezTo>
                    <a:lnTo>
                      <a:pt x="48037" y="323445"/>
                    </a:lnTo>
                    <a:cubicBezTo>
                      <a:pt x="52483" y="319911"/>
                      <a:pt x="56700" y="314725"/>
                      <a:pt x="62343" y="315238"/>
                    </a:cubicBezTo>
                    <a:cubicBezTo>
                      <a:pt x="64737" y="315238"/>
                      <a:pt x="68042" y="316207"/>
                      <a:pt x="68783" y="313927"/>
                    </a:cubicBezTo>
                    <a:cubicBezTo>
                      <a:pt x="68954" y="312930"/>
                      <a:pt x="68954" y="311904"/>
                      <a:pt x="68783" y="310906"/>
                    </a:cubicBezTo>
                    <a:cubicBezTo>
                      <a:pt x="68783" y="307373"/>
                      <a:pt x="73229" y="305720"/>
                      <a:pt x="76820" y="305777"/>
                    </a:cubicBezTo>
                    <a:cubicBezTo>
                      <a:pt x="80410" y="305834"/>
                      <a:pt x="84685" y="305777"/>
                      <a:pt x="86622" y="303098"/>
                    </a:cubicBezTo>
                    <a:cubicBezTo>
                      <a:pt x="87876" y="300704"/>
                      <a:pt x="87478" y="297786"/>
                      <a:pt x="85653" y="295803"/>
                    </a:cubicBezTo>
                    <a:cubicBezTo>
                      <a:pt x="84228" y="294321"/>
                      <a:pt x="82063" y="293466"/>
                      <a:pt x="81151" y="291642"/>
                    </a:cubicBezTo>
                    <a:cubicBezTo>
                      <a:pt x="79213" y="287538"/>
                      <a:pt x="85255" y="284062"/>
                      <a:pt x="89815" y="284290"/>
                    </a:cubicBezTo>
                    <a:cubicBezTo>
                      <a:pt x="94374" y="284518"/>
                      <a:pt x="99902" y="285658"/>
                      <a:pt x="102695" y="282010"/>
                    </a:cubicBezTo>
                    <a:cubicBezTo>
                      <a:pt x="105488" y="278362"/>
                      <a:pt x="103094" y="273290"/>
                      <a:pt x="104519" y="269129"/>
                    </a:cubicBezTo>
                    <a:cubicBezTo>
                      <a:pt x="107026" y="262119"/>
                      <a:pt x="118425" y="261606"/>
                      <a:pt x="120762" y="254538"/>
                    </a:cubicBezTo>
                    <a:cubicBezTo>
                      <a:pt x="121446" y="249905"/>
                      <a:pt x="119907" y="245220"/>
                      <a:pt x="116602" y="241886"/>
                    </a:cubicBezTo>
                    <a:lnTo>
                      <a:pt x="109706" y="232482"/>
                    </a:lnTo>
                    <a:cubicBezTo>
                      <a:pt x="110560" y="229056"/>
                      <a:pt x="111016" y="225528"/>
                      <a:pt x="110959" y="221994"/>
                    </a:cubicBezTo>
                    <a:cubicBezTo>
                      <a:pt x="110504" y="218609"/>
                      <a:pt x="110674" y="215172"/>
                      <a:pt x="111472" y="211849"/>
                    </a:cubicBezTo>
                    <a:cubicBezTo>
                      <a:pt x="112840" y="207917"/>
                      <a:pt x="116488" y="204896"/>
                      <a:pt x="117172" y="200792"/>
                    </a:cubicBezTo>
                    <a:cubicBezTo>
                      <a:pt x="117000" y="195982"/>
                      <a:pt x="114265" y="191633"/>
                      <a:pt x="109990" y="189393"/>
                    </a:cubicBezTo>
                    <a:cubicBezTo>
                      <a:pt x="105773" y="187268"/>
                      <a:pt x="102068" y="184235"/>
                      <a:pt x="99161" y="180502"/>
                    </a:cubicBezTo>
                    <a:cubicBezTo>
                      <a:pt x="98250" y="178849"/>
                      <a:pt x="97680" y="177026"/>
                      <a:pt x="96825" y="175373"/>
                    </a:cubicBezTo>
                    <a:cubicBezTo>
                      <a:pt x="95741" y="173503"/>
                      <a:pt x="94374" y="171759"/>
                      <a:pt x="92892" y="170186"/>
                    </a:cubicBezTo>
                    <a:lnTo>
                      <a:pt x="73058" y="147730"/>
                    </a:lnTo>
                    <a:cubicBezTo>
                      <a:pt x="71405" y="146169"/>
                      <a:pt x="70265" y="144202"/>
                      <a:pt x="69638" y="142031"/>
                    </a:cubicBezTo>
                    <a:cubicBezTo>
                      <a:pt x="69581" y="140538"/>
                      <a:pt x="69353" y="139050"/>
                      <a:pt x="69068" y="137585"/>
                    </a:cubicBezTo>
                    <a:cubicBezTo>
                      <a:pt x="67529" y="132912"/>
                      <a:pt x="59835" y="132627"/>
                      <a:pt x="58638" y="127896"/>
                    </a:cubicBezTo>
                    <a:cubicBezTo>
                      <a:pt x="58581" y="126682"/>
                      <a:pt x="58581" y="125462"/>
                      <a:pt x="58638" y="124248"/>
                    </a:cubicBezTo>
                    <a:cubicBezTo>
                      <a:pt x="58239" y="118549"/>
                      <a:pt x="52084" y="115015"/>
                      <a:pt x="47239" y="111995"/>
                    </a:cubicBezTo>
                    <a:cubicBezTo>
                      <a:pt x="42394" y="108974"/>
                      <a:pt x="37094" y="103103"/>
                      <a:pt x="39887" y="97974"/>
                    </a:cubicBezTo>
                    <a:cubicBezTo>
                      <a:pt x="42680" y="92844"/>
                      <a:pt x="50203" y="93414"/>
                      <a:pt x="53736" y="89083"/>
                    </a:cubicBezTo>
                    <a:cubicBezTo>
                      <a:pt x="56073" y="85646"/>
                      <a:pt x="56073" y="81121"/>
                      <a:pt x="53736" y="77684"/>
                    </a:cubicBezTo>
                    <a:cubicBezTo>
                      <a:pt x="51229" y="74344"/>
                      <a:pt x="47980" y="71585"/>
                      <a:pt x="44332" y="69591"/>
                    </a:cubicBezTo>
                    <a:cubicBezTo>
                      <a:pt x="38975" y="65413"/>
                      <a:pt x="32592" y="62723"/>
                      <a:pt x="25866" y="61782"/>
                    </a:cubicBezTo>
                    <a:cubicBezTo>
                      <a:pt x="23530" y="61891"/>
                      <a:pt x="21193" y="61737"/>
                      <a:pt x="18856" y="61326"/>
                    </a:cubicBezTo>
                    <a:cubicBezTo>
                      <a:pt x="16519" y="60813"/>
                      <a:pt x="14695" y="58875"/>
                      <a:pt x="14410" y="56482"/>
                    </a:cubicBezTo>
                    <a:cubicBezTo>
                      <a:pt x="14410" y="54658"/>
                      <a:pt x="15835" y="53176"/>
                      <a:pt x="16120" y="51352"/>
                    </a:cubicBezTo>
                    <a:cubicBezTo>
                      <a:pt x="16633" y="47762"/>
                      <a:pt x="12872" y="45083"/>
                      <a:pt x="9451" y="43829"/>
                    </a:cubicBezTo>
                    <a:cubicBezTo>
                      <a:pt x="6032" y="42575"/>
                      <a:pt x="2042" y="41435"/>
                      <a:pt x="618" y="38129"/>
                    </a:cubicBezTo>
                    <a:cubicBezTo>
                      <a:pt x="-807" y="34824"/>
                      <a:pt x="618" y="31404"/>
                      <a:pt x="1073" y="27984"/>
                    </a:cubicBezTo>
                    <a:cubicBezTo>
                      <a:pt x="1244" y="26867"/>
                      <a:pt x="1244" y="25739"/>
                      <a:pt x="1073" y="24622"/>
                    </a:cubicBezTo>
                    <a:cubicBezTo>
                      <a:pt x="1985" y="24462"/>
                      <a:pt x="2898" y="24211"/>
                      <a:pt x="3752" y="23881"/>
                    </a:cubicBezTo>
                    <a:cubicBezTo>
                      <a:pt x="6317" y="22388"/>
                      <a:pt x="8710" y="20626"/>
                      <a:pt x="10876" y="18637"/>
                    </a:cubicBezTo>
                    <a:cubicBezTo>
                      <a:pt x="17203" y="15024"/>
                      <a:pt x="24555" y="13747"/>
                      <a:pt x="31737" y="15047"/>
                    </a:cubicBezTo>
                    <a:cubicBezTo>
                      <a:pt x="38861" y="16272"/>
                      <a:pt x="46099" y="16272"/>
                      <a:pt x="53224" y="15047"/>
                    </a:cubicBezTo>
                    <a:cubicBezTo>
                      <a:pt x="60519" y="13662"/>
                      <a:pt x="65876" y="7409"/>
                      <a:pt x="66104" y="0"/>
                    </a:cubicBezTo>
                    <a:cubicBezTo>
                      <a:pt x="70949" y="4867"/>
                      <a:pt x="76991" y="8401"/>
                      <a:pt x="83602" y="10259"/>
                    </a:cubicBezTo>
                    <a:cubicBezTo>
                      <a:pt x="88333" y="11627"/>
                      <a:pt x="94203" y="12767"/>
                      <a:pt x="95970" y="17383"/>
                    </a:cubicBezTo>
                    <a:cubicBezTo>
                      <a:pt x="96482" y="20324"/>
                      <a:pt x="96482" y="23334"/>
                      <a:pt x="95970" y="26274"/>
                    </a:cubicBezTo>
                    <a:cubicBezTo>
                      <a:pt x="96311" y="36306"/>
                      <a:pt x="107369" y="42005"/>
                      <a:pt x="116659" y="45539"/>
                    </a:cubicBezTo>
                    <a:cubicBezTo>
                      <a:pt x="121275" y="47203"/>
                      <a:pt x="125664" y="49466"/>
                      <a:pt x="129711" y="52264"/>
                    </a:cubicBezTo>
                    <a:cubicBezTo>
                      <a:pt x="116716" y="53056"/>
                      <a:pt x="104006" y="56430"/>
                      <a:pt x="92322" y="62181"/>
                    </a:cubicBezTo>
                    <a:cubicBezTo>
                      <a:pt x="94488" y="72269"/>
                      <a:pt x="87022" y="81616"/>
                      <a:pt x="80923" y="89938"/>
                    </a:cubicBezTo>
                    <a:cubicBezTo>
                      <a:pt x="74825" y="98259"/>
                      <a:pt x="69524" y="110057"/>
                      <a:pt x="75736" y="118435"/>
                    </a:cubicBezTo>
                    <a:lnTo>
                      <a:pt x="81037" y="128466"/>
                    </a:lnTo>
                    <a:cubicBezTo>
                      <a:pt x="87762" y="143159"/>
                      <a:pt x="97109" y="156502"/>
                      <a:pt x="108622" y="167849"/>
                    </a:cubicBezTo>
                    <a:cubicBezTo>
                      <a:pt x="117057" y="175259"/>
                      <a:pt x="128001" y="181243"/>
                      <a:pt x="131420" y="191901"/>
                    </a:cubicBezTo>
                    <a:cubicBezTo>
                      <a:pt x="137120" y="188482"/>
                      <a:pt x="142819" y="196290"/>
                      <a:pt x="144073" y="202559"/>
                    </a:cubicBezTo>
                    <a:cubicBezTo>
                      <a:pt x="149772" y="225363"/>
                      <a:pt x="150400" y="249147"/>
                      <a:pt x="145840" y="272207"/>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26" name="Freihandform: Form 720">
                <a:extLst>
                  <a:ext uri="{FF2B5EF4-FFF2-40B4-BE49-F238E27FC236}">
                    <a16:creationId xmlns:a16="http://schemas.microsoft.com/office/drawing/2014/main" id="{F01EF1A1-0B6D-8948-D526-D4EBD9347908}"/>
                  </a:ext>
                </a:extLst>
              </p:cNvPr>
              <p:cNvSpPr/>
              <p:nvPr/>
            </p:nvSpPr>
            <p:spPr>
              <a:xfrm>
                <a:off x="6234691" y="4132718"/>
                <a:ext cx="28402" cy="33946"/>
              </a:xfrm>
              <a:custGeom>
                <a:avLst/>
                <a:gdLst>
                  <a:gd name="connsiteX0" fmla="*/ 80 w 28402"/>
                  <a:gd name="connsiteY0" fmla="*/ 19321 h 33946"/>
                  <a:gd name="connsiteX1" fmla="*/ 1733 w 28402"/>
                  <a:gd name="connsiteY1" fmla="*/ 19321 h 33946"/>
                  <a:gd name="connsiteX2" fmla="*/ 14044 w 28402"/>
                  <a:gd name="connsiteY2" fmla="*/ 18409 h 33946"/>
                  <a:gd name="connsiteX3" fmla="*/ 24816 w 28402"/>
                  <a:gd name="connsiteY3" fmla="*/ 3648 h 33946"/>
                  <a:gd name="connsiteX4" fmla="*/ 26925 w 28402"/>
                  <a:gd name="connsiteY4" fmla="*/ 0 h 33946"/>
                  <a:gd name="connsiteX5" fmla="*/ 28065 w 28402"/>
                  <a:gd name="connsiteY5" fmla="*/ 14591 h 33946"/>
                  <a:gd name="connsiteX6" fmla="*/ 26583 w 28402"/>
                  <a:gd name="connsiteY6" fmla="*/ 18694 h 33946"/>
                  <a:gd name="connsiteX7" fmla="*/ 23562 w 28402"/>
                  <a:gd name="connsiteY7" fmla="*/ 20974 h 33946"/>
                  <a:gd name="connsiteX8" fmla="*/ 19174 w 28402"/>
                  <a:gd name="connsiteY8" fmla="*/ 23425 h 33946"/>
                  <a:gd name="connsiteX9" fmla="*/ 16153 w 28402"/>
                  <a:gd name="connsiteY9" fmla="*/ 25705 h 33946"/>
                  <a:gd name="connsiteX10" fmla="*/ 14329 w 28402"/>
                  <a:gd name="connsiteY10" fmla="*/ 29637 h 33946"/>
                  <a:gd name="connsiteX11" fmla="*/ 1562 w 28402"/>
                  <a:gd name="connsiteY11" fmla="*/ 32772 h 33946"/>
                  <a:gd name="connsiteX12" fmla="*/ 764 w 28402"/>
                  <a:gd name="connsiteY12" fmla="*/ 32202 h 33946"/>
                  <a:gd name="connsiteX13" fmla="*/ 309 w 28402"/>
                  <a:gd name="connsiteY13" fmla="*/ 30777 h 33946"/>
                  <a:gd name="connsiteX14" fmla="*/ 80 w 28402"/>
                  <a:gd name="connsiteY14" fmla="*/ 19321 h 3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02" h="33946">
                    <a:moveTo>
                      <a:pt x="80" y="19321"/>
                    </a:moveTo>
                    <a:lnTo>
                      <a:pt x="1733" y="19321"/>
                    </a:lnTo>
                    <a:cubicBezTo>
                      <a:pt x="5837" y="20170"/>
                      <a:pt x="10112" y="19857"/>
                      <a:pt x="14044" y="18409"/>
                    </a:cubicBezTo>
                    <a:cubicBezTo>
                      <a:pt x="19743" y="15730"/>
                      <a:pt x="22023" y="9233"/>
                      <a:pt x="24816" y="3648"/>
                    </a:cubicBezTo>
                    <a:cubicBezTo>
                      <a:pt x="25443" y="2377"/>
                      <a:pt x="26127" y="1157"/>
                      <a:pt x="26925" y="0"/>
                    </a:cubicBezTo>
                    <a:cubicBezTo>
                      <a:pt x="28407" y="4719"/>
                      <a:pt x="28749" y="9700"/>
                      <a:pt x="28065" y="14591"/>
                    </a:cubicBezTo>
                    <a:cubicBezTo>
                      <a:pt x="27894" y="16061"/>
                      <a:pt x="27381" y="17469"/>
                      <a:pt x="26583" y="18694"/>
                    </a:cubicBezTo>
                    <a:cubicBezTo>
                      <a:pt x="25728" y="19623"/>
                      <a:pt x="24702" y="20398"/>
                      <a:pt x="23562" y="20974"/>
                    </a:cubicBezTo>
                    <a:lnTo>
                      <a:pt x="19174" y="23425"/>
                    </a:lnTo>
                    <a:cubicBezTo>
                      <a:pt x="18034" y="23955"/>
                      <a:pt x="16951" y="24730"/>
                      <a:pt x="16153" y="25705"/>
                    </a:cubicBezTo>
                    <a:cubicBezTo>
                      <a:pt x="15469" y="26964"/>
                      <a:pt x="14842" y="28281"/>
                      <a:pt x="14329" y="29637"/>
                    </a:cubicBezTo>
                    <a:cubicBezTo>
                      <a:pt x="11536" y="33804"/>
                      <a:pt x="6008" y="35160"/>
                      <a:pt x="1562" y="32772"/>
                    </a:cubicBezTo>
                    <a:cubicBezTo>
                      <a:pt x="1277" y="32630"/>
                      <a:pt x="993" y="32436"/>
                      <a:pt x="764" y="32202"/>
                    </a:cubicBezTo>
                    <a:cubicBezTo>
                      <a:pt x="479" y="31786"/>
                      <a:pt x="309" y="31290"/>
                      <a:pt x="309" y="30777"/>
                    </a:cubicBezTo>
                    <a:cubicBezTo>
                      <a:pt x="23" y="26964"/>
                      <a:pt x="-91" y="23140"/>
                      <a:pt x="80" y="1932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7" name="Freihandform: Form 721">
                <a:extLst>
                  <a:ext uri="{FF2B5EF4-FFF2-40B4-BE49-F238E27FC236}">
                    <a16:creationId xmlns:a16="http://schemas.microsoft.com/office/drawing/2014/main" id="{F1B79956-01F6-E8B3-C709-DD061C880308}"/>
                  </a:ext>
                </a:extLst>
              </p:cNvPr>
              <p:cNvSpPr/>
              <p:nvPr/>
            </p:nvSpPr>
            <p:spPr>
              <a:xfrm>
                <a:off x="5994140" y="4205044"/>
                <a:ext cx="17124" cy="21574"/>
              </a:xfrm>
              <a:custGeom>
                <a:avLst/>
                <a:gdLst>
                  <a:gd name="connsiteX0" fmla="*/ 10202 w 17124"/>
                  <a:gd name="connsiteY0" fmla="*/ 0 h 21574"/>
                  <a:gd name="connsiteX1" fmla="*/ 11285 w 17124"/>
                  <a:gd name="connsiteY1" fmla="*/ 1311 h 21574"/>
                  <a:gd name="connsiteX2" fmla="*/ 14704 w 17124"/>
                  <a:gd name="connsiteY2" fmla="*/ 20746 h 21574"/>
                  <a:gd name="connsiteX3" fmla="*/ 4844 w 17124"/>
                  <a:gd name="connsiteY3" fmla="*/ 18409 h 21574"/>
                  <a:gd name="connsiteX4" fmla="*/ 0 w 17124"/>
                  <a:gd name="connsiteY4" fmla="*/ 11570 h 21574"/>
                  <a:gd name="connsiteX5" fmla="*/ 1425 w 17124"/>
                  <a:gd name="connsiteY5" fmla="*/ 9347 h 21574"/>
                  <a:gd name="connsiteX6" fmla="*/ 10202 w 17124"/>
                  <a:gd name="connsiteY6" fmla="*/ 0 h 2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4" h="21574">
                    <a:moveTo>
                      <a:pt x="10202" y="0"/>
                    </a:moveTo>
                    <a:lnTo>
                      <a:pt x="11285" y="1311"/>
                    </a:lnTo>
                    <a:cubicBezTo>
                      <a:pt x="15674" y="7010"/>
                      <a:pt x="19948" y="15730"/>
                      <a:pt x="14704" y="20746"/>
                    </a:cubicBezTo>
                    <a:cubicBezTo>
                      <a:pt x="11285" y="22444"/>
                      <a:pt x="7124" y="21464"/>
                      <a:pt x="4844" y="18409"/>
                    </a:cubicBezTo>
                    <a:cubicBezTo>
                      <a:pt x="3134" y="16215"/>
                      <a:pt x="1482" y="13930"/>
                      <a:pt x="0" y="11570"/>
                    </a:cubicBezTo>
                    <a:cubicBezTo>
                      <a:pt x="456" y="10829"/>
                      <a:pt x="911" y="10088"/>
                      <a:pt x="1425" y="9347"/>
                    </a:cubicBezTo>
                    <a:cubicBezTo>
                      <a:pt x="3932" y="5870"/>
                      <a:pt x="6896" y="2730"/>
                      <a:pt x="10202" y="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8" name="Freihandform: Form 722">
                <a:extLst>
                  <a:ext uri="{FF2B5EF4-FFF2-40B4-BE49-F238E27FC236}">
                    <a16:creationId xmlns:a16="http://schemas.microsoft.com/office/drawing/2014/main" id="{F90A2B3D-1988-3080-CCFE-0D7F5B63B38A}"/>
                  </a:ext>
                </a:extLst>
              </p:cNvPr>
              <p:cNvSpPr/>
              <p:nvPr/>
            </p:nvSpPr>
            <p:spPr>
              <a:xfrm>
                <a:off x="5922725" y="4098364"/>
                <a:ext cx="422775" cy="146882"/>
              </a:xfrm>
              <a:custGeom>
                <a:avLst/>
                <a:gdLst>
                  <a:gd name="connsiteX0" fmla="*/ 417372 w 422775"/>
                  <a:gd name="connsiteY0" fmla="*/ 43815 h 146882"/>
                  <a:gd name="connsiteX1" fmla="*/ 404264 w 422775"/>
                  <a:gd name="connsiteY1" fmla="*/ 44214 h 146882"/>
                  <a:gd name="connsiteX2" fmla="*/ 392865 w 422775"/>
                  <a:gd name="connsiteY2" fmla="*/ 49572 h 146882"/>
                  <a:gd name="connsiteX3" fmla="*/ 390072 w 422775"/>
                  <a:gd name="connsiteY3" fmla="*/ 59147 h 146882"/>
                  <a:gd name="connsiteX4" fmla="*/ 390072 w 422775"/>
                  <a:gd name="connsiteY4" fmla="*/ 59147 h 146882"/>
                  <a:gd name="connsiteX5" fmla="*/ 364368 w 422775"/>
                  <a:gd name="connsiteY5" fmla="*/ 58748 h 146882"/>
                  <a:gd name="connsiteX6" fmla="*/ 341570 w 422775"/>
                  <a:gd name="connsiteY6" fmla="*/ 80520 h 146882"/>
                  <a:gd name="connsiteX7" fmla="*/ 338890 w 422775"/>
                  <a:gd name="connsiteY7" fmla="*/ 92204 h 146882"/>
                  <a:gd name="connsiteX8" fmla="*/ 324186 w 422775"/>
                  <a:gd name="connsiteY8" fmla="*/ 100525 h 146882"/>
                  <a:gd name="connsiteX9" fmla="*/ 323730 w 422775"/>
                  <a:gd name="connsiteY9" fmla="*/ 113805 h 146882"/>
                  <a:gd name="connsiteX10" fmla="*/ 309994 w 422775"/>
                  <a:gd name="connsiteY10" fmla="*/ 126002 h 146882"/>
                  <a:gd name="connsiteX11" fmla="*/ 298196 w 422775"/>
                  <a:gd name="connsiteY11" fmla="*/ 129650 h 146882"/>
                  <a:gd name="connsiteX12" fmla="*/ 286797 w 422775"/>
                  <a:gd name="connsiteY12" fmla="*/ 129650 h 146882"/>
                  <a:gd name="connsiteX13" fmla="*/ 251746 w 422775"/>
                  <a:gd name="connsiteY13" fmla="*/ 140308 h 146882"/>
                  <a:gd name="connsiteX14" fmla="*/ 240347 w 422775"/>
                  <a:gd name="connsiteY14" fmla="*/ 146691 h 146882"/>
                  <a:gd name="connsiteX15" fmla="*/ 219316 w 422775"/>
                  <a:gd name="connsiteY15" fmla="*/ 137230 h 146882"/>
                  <a:gd name="connsiteX16" fmla="*/ 207290 w 422775"/>
                  <a:gd name="connsiteY16" fmla="*/ 119276 h 146882"/>
                  <a:gd name="connsiteX17" fmla="*/ 210311 w 422775"/>
                  <a:gd name="connsiteY17" fmla="*/ 118934 h 146882"/>
                  <a:gd name="connsiteX18" fmla="*/ 222279 w 422775"/>
                  <a:gd name="connsiteY18" fmla="*/ 120188 h 146882"/>
                  <a:gd name="connsiteX19" fmla="*/ 226953 w 422775"/>
                  <a:gd name="connsiteY19" fmla="*/ 130162 h 146882"/>
                  <a:gd name="connsiteX20" fmla="*/ 244051 w 422775"/>
                  <a:gd name="connsiteY20" fmla="*/ 127712 h 146882"/>
                  <a:gd name="connsiteX21" fmla="*/ 244051 w 422775"/>
                  <a:gd name="connsiteY21" fmla="*/ 108732 h 146882"/>
                  <a:gd name="connsiteX22" fmla="*/ 244963 w 422775"/>
                  <a:gd name="connsiteY22" fmla="*/ 102007 h 146882"/>
                  <a:gd name="connsiteX23" fmla="*/ 258015 w 422775"/>
                  <a:gd name="connsiteY23" fmla="*/ 94940 h 146882"/>
                  <a:gd name="connsiteX24" fmla="*/ 273689 w 422775"/>
                  <a:gd name="connsiteY24" fmla="*/ 95510 h 146882"/>
                  <a:gd name="connsiteX25" fmla="*/ 285088 w 422775"/>
                  <a:gd name="connsiteY25" fmla="*/ 86276 h 146882"/>
                  <a:gd name="connsiteX26" fmla="*/ 285088 w 422775"/>
                  <a:gd name="connsiteY26" fmla="*/ 80577 h 146882"/>
                  <a:gd name="connsiteX27" fmla="*/ 292953 w 422775"/>
                  <a:gd name="connsiteY27" fmla="*/ 72028 h 146882"/>
                  <a:gd name="connsiteX28" fmla="*/ 297057 w 422775"/>
                  <a:gd name="connsiteY28" fmla="*/ 52878 h 146882"/>
                  <a:gd name="connsiteX29" fmla="*/ 302414 w 422775"/>
                  <a:gd name="connsiteY29" fmla="*/ 52479 h 146882"/>
                  <a:gd name="connsiteX30" fmla="*/ 311476 w 422775"/>
                  <a:gd name="connsiteY30" fmla="*/ 53504 h 146882"/>
                  <a:gd name="connsiteX31" fmla="*/ 311476 w 422775"/>
                  <a:gd name="connsiteY31" fmla="*/ 64903 h 146882"/>
                  <a:gd name="connsiteX32" fmla="*/ 311932 w 422775"/>
                  <a:gd name="connsiteY32" fmla="*/ 66328 h 146882"/>
                  <a:gd name="connsiteX33" fmla="*/ 312730 w 422775"/>
                  <a:gd name="connsiteY33" fmla="*/ 66898 h 146882"/>
                  <a:gd name="connsiteX34" fmla="*/ 325497 w 422775"/>
                  <a:gd name="connsiteY34" fmla="*/ 63764 h 146882"/>
                  <a:gd name="connsiteX35" fmla="*/ 327321 w 422775"/>
                  <a:gd name="connsiteY35" fmla="*/ 59831 h 146882"/>
                  <a:gd name="connsiteX36" fmla="*/ 330341 w 422775"/>
                  <a:gd name="connsiteY36" fmla="*/ 57551 h 146882"/>
                  <a:gd name="connsiteX37" fmla="*/ 334730 w 422775"/>
                  <a:gd name="connsiteY37" fmla="*/ 55100 h 146882"/>
                  <a:gd name="connsiteX38" fmla="*/ 337751 w 422775"/>
                  <a:gd name="connsiteY38" fmla="*/ 52821 h 146882"/>
                  <a:gd name="connsiteX39" fmla="*/ 339233 w 422775"/>
                  <a:gd name="connsiteY39" fmla="*/ 48717 h 146882"/>
                  <a:gd name="connsiteX40" fmla="*/ 338092 w 422775"/>
                  <a:gd name="connsiteY40" fmla="*/ 34126 h 146882"/>
                  <a:gd name="connsiteX41" fmla="*/ 349891 w 422775"/>
                  <a:gd name="connsiteY41" fmla="*/ 27401 h 146882"/>
                  <a:gd name="connsiteX42" fmla="*/ 358440 w 422775"/>
                  <a:gd name="connsiteY42" fmla="*/ 1981 h 146882"/>
                  <a:gd name="connsiteX43" fmla="*/ 378844 w 422775"/>
                  <a:gd name="connsiteY43" fmla="*/ 5344 h 146882"/>
                  <a:gd name="connsiteX44" fmla="*/ 387222 w 422775"/>
                  <a:gd name="connsiteY44" fmla="*/ 25520 h 146882"/>
                  <a:gd name="connsiteX45" fmla="*/ 417258 w 422775"/>
                  <a:gd name="connsiteY45" fmla="*/ 30479 h 146882"/>
                  <a:gd name="connsiteX46" fmla="*/ 421305 w 422775"/>
                  <a:gd name="connsiteY46" fmla="*/ 33157 h 146882"/>
                  <a:gd name="connsiteX47" fmla="*/ 417372 w 422775"/>
                  <a:gd name="connsiteY47" fmla="*/ 43815 h 146882"/>
                  <a:gd name="connsiteX48" fmla="*/ 71813 w 422775"/>
                  <a:gd name="connsiteY48" fmla="*/ 92603 h 146882"/>
                  <a:gd name="connsiteX49" fmla="*/ 70958 w 422775"/>
                  <a:gd name="connsiteY49" fmla="*/ 82287 h 146882"/>
                  <a:gd name="connsiteX50" fmla="*/ 67367 w 422775"/>
                  <a:gd name="connsiteY50" fmla="*/ 33157 h 146882"/>
                  <a:gd name="connsiteX51" fmla="*/ 58932 w 422775"/>
                  <a:gd name="connsiteY51" fmla="*/ 27116 h 146882"/>
                  <a:gd name="connsiteX52" fmla="*/ 47192 w 422775"/>
                  <a:gd name="connsiteY52" fmla="*/ 11499 h 146882"/>
                  <a:gd name="connsiteX53" fmla="*/ 33114 w 422775"/>
                  <a:gd name="connsiteY53" fmla="*/ 4888 h 146882"/>
                  <a:gd name="connsiteX54" fmla="*/ 17384 w 422775"/>
                  <a:gd name="connsiteY54" fmla="*/ 8992 h 146882"/>
                  <a:gd name="connsiteX55" fmla="*/ 11057 w 422775"/>
                  <a:gd name="connsiteY55" fmla="*/ 7054 h 146882"/>
                  <a:gd name="connsiteX56" fmla="*/ 0 w 422775"/>
                  <a:gd name="connsiteY56" fmla="*/ 5629 h 146882"/>
                  <a:gd name="connsiteX57" fmla="*/ 741 w 422775"/>
                  <a:gd name="connsiteY57" fmla="*/ 10246 h 146882"/>
                  <a:gd name="connsiteX58" fmla="*/ 3135 w 422775"/>
                  <a:gd name="connsiteY58" fmla="*/ 29852 h 146882"/>
                  <a:gd name="connsiteX59" fmla="*/ 21031 w 422775"/>
                  <a:gd name="connsiteY59" fmla="*/ 75789 h 146882"/>
                  <a:gd name="connsiteX60" fmla="*/ 31062 w 422775"/>
                  <a:gd name="connsiteY60" fmla="*/ 84111 h 146882"/>
                  <a:gd name="connsiteX61" fmla="*/ 43202 w 422775"/>
                  <a:gd name="connsiteY61" fmla="*/ 104800 h 146882"/>
                  <a:gd name="connsiteX62" fmla="*/ 69647 w 422775"/>
                  <a:gd name="connsiteY62" fmla="*/ 116199 h 146882"/>
                  <a:gd name="connsiteX63" fmla="*/ 71415 w 422775"/>
                  <a:gd name="connsiteY63" fmla="*/ 118251 h 146882"/>
                  <a:gd name="connsiteX64" fmla="*/ 72839 w 422775"/>
                  <a:gd name="connsiteY64" fmla="*/ 116028 h 146882"/>
                  <a:gd name="connsiteX65" fmla="*/ 81616 w 422775"/>
                  <a:gd name="connsiteY65" fmla="*/ 106681 h 146882"/>
                  <a:gd name="connsiteX66" fmla="*/ 75917 w 422775"/>
                  <a:gd name="connsiteY66" fmla="*/ 99100 h 146882"/>
                  <a:gd name="connsiteX67" fmla="*/ 71813 w 422775"/>
                  <a:gd name="connsiteY67" fmla="*/ 92603 h 146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22775" h="146882">
                    <a:moveTo>
                      <a:pt x="417372" y="43815"/>
                    </a:moveTo>
                    <a:cubicBezTo>
                      <a:pt x="413041" y="44693"/>
                      <a:pt x="408652" y="44824"/>
                      <a:pt x="404264" y="44214"/>
                    </a:cubicBezTo>
                    <a:cubicBezTo>
                      <a:pt x="399761" y="43548"/>
                      <a:pt x="395258" y="45656"/>
                      <a:pt x="392865" y="49572"/>
                    </a:cubicBezTo>
                    <a:cubicBezTo>
                      <a:pt x="391554" y="52650"/>
                      <a:pt x="392523" y="56810"/>
                      <a:pt x="390072" y="59147"/>
                    </a:cubicBezTo>
                    <a:lnTo>
                      <a:pt x="390072" y="59147"/>
                    </a:lnTo>
                    <a:cubicBezTo>
                      <a:pt x="381579" y="57420"/>
                      <a:pt x="372860" y="57289"/>
                      <a:pt x="364368" y="58748"/>
                    </a:cubicBezTo>
                    <a:cubicBezTo>
                      <a:pt x="353367" y="61142"/>
                      <a:pt x="342766" y="69349"/>
                      <a:pt x="341570" y="80520"/>
                    </a:cubicBezTo>
                    <a:cubicBezTo>
                      <a:pt x="340999" y="84567"/>
                      <a:pt x="341570" y="89126"/>
                      <a:pt x="338890" y="92204"/>
                    </a:cubicBezTo>
                    <a:cubicBezTo>
                      <a:pt x="335129" y="96592"/>
                      <a:pt x="327036" y="95567"/>
                      <a:pt x="324186" y="100525"/>
                    </a:cubicBezTo>
                    <a:cubicBezTo>
                      <a:pt x="321906" y="104401"/>
                      <a:pt x="324186" y="109359"/>
                      <a:pt x="323730" y="113805"/>
                    </a:cubicBezTo>
                    <a:cubicBezTo>
                      <a:pt x="322761" y="120188"/>
                      <a:pt x="315978" y="123608"/>
                      <a:pt x="309994" y="126002"/>
                    </a:cubicBezTo>
                    <a:cubicBezTo>
                      <a:pt x="306233" y="127695"/>
                      <a:pt x="302243" y="128920"/>
                      <a:pt x="298196" y="129650"/>
                    </a:cubicBezTo>
                    <a:cubicBezTo>
                      <a:pt x="294378" y="129889"/>
                      <a:pt x="290616" y="129889"/>
                      <a:pt x="286797" y="129650"/>
                    </a:cubicBezTo>
                    <a:cubicBezTo>
                      <a:pt x="274316" y="129547"/>
                      <a:pt x="262062" y="133269"/>
                      <a:pt x="251746" y="140308"/>
                    </a:cubicBezTo>
                    <a:cubicBezTo>
                      <a:pt x="248326" y="143083"/>
                      <a:pt x="244508" y="145249"/>
                      <a:pt x="240347" y="146691"/>
                    </a:cubicBezTo>
                    <a:cubicBezTo>
                      <a:pt x="232082" y="147785"/>
                      <a:pt x="223990" y="144121"/>
                      <a:pt x="219316" y="137230"/>
                    </a:cubicBezTo>
                    <a:cubicBezTo>
                      <a:pt x="214813" y="131530"/>
                      <a:pt x="211621" y="125033"/>
                      <a:pt x="207290" y="119276"/>
                    </a:cubicBezTo>
                    <a:lnTo>
                      <a:pt x="210311" y="118934"/>
                    </a:lnTo>
                    <a:cubicBezTo>
                      <a:pt x="214357" y="118370"/>
                      <a:pt x="218461" y="118803"/>
                      <a:pt x="222279" y="120188"/>
                    </a:cubicBezTo>
                    <a:cubicBezTo>
                      <a:pt x="226155" y="121841"/>
                      <a:pt x="228150" y="126133"/>
                      <a:pt x="226953" y="130162"/>
                    </a:cubicBezTo>
                    <a:cubicBezTo>
                      <a:pt x="232709" y="130094"/>
                      <a:pt x="238466" y="129273"/>
                      <a:pt x="244051" y="127712"/>
                    </a:cubicBezTo>
                    <a:cubicBezTo>
                      <a:pt x="244051" y="121385"/>
                      <a:pt x="244051" y="115059"/>
                      <a:pt x="244051" y="108732"/>
                    </a:cubicBezTo>
                    <a:cubicBezTo>
                      <a:pt x="243881" y="106453"/>
                      <a:pt x="244222" y="104161"/>
                      <a:pt x="244963" y="102007"/>
                    </a:cubicBezTo>
                    <a:cubicBezTo>
                      <a:pt x="247585" y="97311"/>
                      <a:pt x="252657" y="94552"/>
                      <a:pt x="258015" y="94940"/>
                    </a:cubicBezTo>
                    <a:cubicBezTo>
                      <a:pt x="263258" y="94940"/>
                      <a:pt x="268502" y="96137"/>
                      <a:pt x="273689" y="95510"/>
                    </a:cubicBezTo>
                    <a:cubicBezTo>
                      <a:pt x="279160" y="95396"/>
                      <a:pt x="283834" y="91594"/>
                      <a:pt x="285088" y="86276"/>
                    </a:cubicBezTo>
                    <a:cubicBezTo>
                      <a:pt x="284917" y="84379"/>
                      <a:pt x="284917" y="82475"/>
                      <a:pt x="285088" y="80577"/>
                    </a:cubicBezTo>
                    <a:cubicBezTo>
                      <a:pt x="286170" y="76815"/>
                      <a:pt x="290787" y="75447"/>
                      <a:pt x="292953" y="72028"/>
                    </a:cubicBezTo>
                    <a:cubicBezTo>
                      <a:pt x="296430" y="66328"/>
                      <a:pt x="290844" y="55898"/>
                      <a:pt x="297057" y="52878"/>
                    </a:cubicBezTo>
                    <a:cubicBezTo>
                      <a:pt x="298767" y="52262"/>
                      <a:pt x="300647" y="52120"/>
                      <a:pt x="302414" y="52479"/>
                    </a:cubicBezTo>
                    <a:lnTo>
                      <a:pt x="311476" y="53504"/>
                    </a:lnTo>
                    <a:cubicBezTo>
                      <a:pt x="311248" y="57300"/>
                      <a:pt x="311248" y="61108"/>
                      <a:pt x="311476" y="64903"/>
                    </a:cubicBezTo>
                    <a:cubicBezTo>
                      <a:pt x="311476" y="65416"/>
                      <a:pt x="311648" y="65912"/>
                      <a:pt x="311932" y="66328"/>
                    </a:cubicBezTo>
                    <a:cubicBezTo>
                      <a:pt x="312160" y="66562"/>
                      <a:pt x="312445" y="66756"/>
                      <a:pt x="312730" y="66898"/>
                    </a:cubicBezTo>
                    <a:cubicBezTo>
                      <a:pt x="317176" y="69286"/>
                      <a:pt x="322704" y="67930"/>
                      <a:pt x="325497" y="63764"/>
                    </a:cubicBezTo>
                    <a:cubicBezTo>
                      <a:pt x="326010" y="62407"/>
                      <a:pt x="326636" y="61090"/>
                      <a:pt x="327321" y="59831"/>
                    </a:cubicBezTo>
                    <a:cubicBezTo>
                      <a:pt x="328118" y="58856"/>
                      <a:pt x="329202" y="58081"/>
                      <a:pt x="330341" y="57551"/>
                    </a:cubicBezTo>
                    <a:lnTo>
                      <a:pt x="334730" y="55100"/>
                    </a:lnTo>
                    <a:cubicBezTo>
                      <a:pt x="335870" y="54525"/>
                      <a:pt x="336896" y="53750"/>
                      <a:pt x="337751" y="52821"/>
                    </a:cubicBezTo>
                    <a:cubicBezTo>
                      <a:pt x="338549" y="51595"/>
                      <a:pt x="339062" y="50187"/>
                      <a:pt x="339233" y="48717"/>
                    </a:cubicBezTo>
                    <a:cubicBezTo>
                      <a:pt x="339917" y="43827"/>
                      <a:pt x="339574" y="38845"/>
                      <a:pt x="338092" y="34126"/>
                    </a:cubicBezTo>
                    <a:cubicBezTo>
                      <a:pt x="340372" y="29795"/>
                      <a:pt x="344989" y="27179"/>
                      <a:pt x="349891" y="27401"/>
                    </a:cubicBezTo>
                    <a:cubicBezTo>
                      <a:pt x="349891" y="17997"/>
                      <a:pt x="350461" y="6883"/>
                      <a:pt x="358440" y="1981"/>
                    </a:cubicBezTo>
                    <a:cubicBezTo>
                      <a:pt x="365222" y="-1604"/>
                      <a:pt x="373544" y="-230"/>
                      <a:pt x="378844" y="5344"/>
                    </a:cubicBezTo>
                    <a:cubicBezTo>
                      <a:pt x="383916" y="10867"/>
                      <a:pt x="386880" y="18014"/>
                      <a:pt x="387222" y="25520"/>
                    </a:cubicBezTo>
                    <a:cubicBezTo>
                      <a:pt x="397481" y="24842"/>
                      <a:pt x="407741" y="26535"/>
                      <a:pt x="417258" y="30479"/>
                    </a:cubicBezTo>
                    <a:cubicBezTo>
                      <a:pt x="418797" y="30986"/>
                      <a:pt x="420222" y="31915"/>
                      <a:pt x="421305" y="33157"/>
                    </a:cubicBezTo>
                    <a:cubicBezTo>
                      <a:pt x="424782" y="37033"/>
                      <a:pt x="421533" y="42391"/>
                      <a:pt x="417372" y="43815"/>
                    </a:cubicBezTo>
                    <a:close/>
                    <a:moveTo>
                      <a:pt x="71813" y="92603"/>
                    </a:moveTo>
                    <a:cubicBezTo>
                      <a:pt x="70788" y="89269"/>
                      <a:pt x="70502" y="85746"/>
                      <a:pt x="70958" y="82287"/>
                    </a:cubicBezTo>
                    <a:cubicBezTo>
                      <a:pt x="72156" y="65644"/>
                      <a:pt x="74777" y="48090"/>
                      <a:pt x="67367" y="33157"/>
                    </a:cubicBezTo>
                    <a:cubicBezTo>
                      <a:pt x="65715" y="29795"/>
                      <a:pt x="62580" y="26261"/>
                      <a:pt x="58932" y="27116"/>
                    </a:cubicBezTo>
                    <a:cubicBezTo>
                      <a:pt x="59446" y="20220"/>
                      <a:pt x="53233" y="14577"/>
                      <a:pt x="47192" y="11499"/>
                    </a:cubicBezTo>
                    <a:cubicBezTo>
                      <a:pt x="42575" y="9163"/>
                      <a:pt x="37445" y="7567"/>
                      <a:pt x="33114" y="4888"/>
                    </a:cubicBezTo>
                    <a:cubicBezTo>
                      <a:pt x="28326" y="7567"/>
                      <a:pt x="22912" y="8980"/>
                      <a:pt x="17384" y="8992"/>
                    </a:cubicBezTo>
                    <a:cubicBezTo>
                      <a:pt x="15218" y="8513"/>
                      <a:pt x="13109" y="7863"/>
                      <a:pt x="11057" y="7054"/>
                    </a:cubicBezTo>
                    <a:cubicBezTo>
                      <a:pt x="7466" y="6039"/>
                      <a:pt x="3762" y="5561"/>
                      <a:pt x="0" y="5629"/>
                    </a:cubicBezTo>
                    <a:cubicBezTo>
                      <a:pt x="342" y="7151"/>
                      <a:pt x="570" y="8695"/>
                      <a:pt x="741" y="10246"/>
                    </a:cubicBezTo>
                    <a:lnTo>
                      <a:pt x="3135" y="29852"/>
                    </a:lnTo>
                    <a:cubicBezTo>
                      <a:pt x="5244" y="46551"/>
                      <a:pt x="8151" y="64960"/>
                      <a:pt x="21031" y="75789"/>
                    </a:cubicBezTo>
                    <a:cubicBezTo>
                      <a:pt x="24564" y="78297"/>
                      <a:pt x="27928" y="81079"/>
                      <a:pt x="31062" y="84111"/>
                    </a:cubicBezTo>
                    <a:cubicBezTo>
                      <a:pt x="36249" y="90266"/>
                      <a:pt x="37104" y="99499"/>
                      <a:pt x="43202" y="104800"/>
                    </a:cubicBezTo>
                    <a:cubicBezTo>
                      <a:pt x="50554" y="111183"/>
                      <a:pt x="62751" y="109359"/>
                      <a:pt x="69647" y="116199"/>
                    </a:cubicBezTo>
                    <a:cubicBezTo>
                      <a:pt x="70331" y="116814"/>
                      <a:pt x="70901" y="117504"/>
                      <a:pt x="71415" y="118251"/>
                    </a:cubicBezTo>
                    <a:cubicBezTo>
                      <a:pt x="71870" y="117510"/>
                      <a:pt x="72326" y="116769"/>
                      <a:pt x="72839" y="116028"/>
                    </a:cubicBezTo>
                    <a:cubicBezTo>
                      <a:pt x="75347" y="112551"/>
                      <a:pt x="78311" y="109411"/>
                      <a:pt x="81616" y="106681"/>
                    </a:cubicBezTo>
                    <a:lnTo>
                      <a:pt x="75917" y="99100"/>
                    </a:lnTo>
                    <a:cubicBezTo>
                      <a:pt x="74207" y="97151"/>
                      <a:pt x="72839" y="94963"/>
                      <a:pt x="71813" y="926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29" name="Freihandform: Form 723">
                <a:extLst>
                  <a:ext uri="{FF2B5EF4-FFF2-40B4-BE49-F238E27FC236}">
                    <a16:creationId xmlns:a16="http://schemas.microsoft.com/office/drawing/2014/main" id="{3250A8A7-F6EA-6CA2-03B8-A53D379B521A}"/>
                  </a:ext>
                </a:extLst>
              </p:cNvPr>
              <p:cNvSpPr/>
              <p:nvPr/>
            </p:nvSpPr>
            <p:spPr>
              <a:xfrm>
                <a:off x="6821760" y="4328552"/>
                <a:ext cx="477219" cy="197801"/>
              </a:xfrm>
              <a:custGeom>
                <a:avLst/>
                <a:gdLst>
                  <a:gd name="connsiteX0" fmla="*/ 201819 w 477219"/>
                  <a:gd name="connsiteY0" fmla="*/ 69135 h 197801"/>
                  <a:gd name="connsiteX1" fmla="*/ 205295 w 477219"/>
                  <a:gd name="connsiteY1" fmla="*/ 68337 h 197801"/>
                  <a:gd name="connsiteX2" fmla="*/ 210368 w 477219"/>
                  <a:gd name="connsiteY2" fmla="*/ 61896 h 197801"/>
                  <a:gd name="connsiteX3" fmla="*/ 218917 w 477219"/>
                  <a:gd name="connsiteY3" fmla="*/ 60015 h 197801"/>
                  <a:gd name="connsiteX4" fmla="*/ 226440 w 477219"/>
                  <a:gd name="connsiteY4" fmla="*/ 56254 h 197801"/>
                  <a:gd name="connsiteX5" fmla="*/ 227523 w 477219"/>
                  <a:gd name="connsiteY5" fmla="*/ 51637 h 197801"/>
                  <a:gd name="connsiteX6" fmla="*/ 235274 w 477219"/>
                  <a:gd name="connsiteY6" fmla="*/ 47135 h 197801"/>
                  <a:gd name="connsiteX7" fmla="*/ 235901 w 477219"/>
                  <a:gd name="connsiteY7" fmla="*/ 43715 h 197801"/>
                  <a:gd name="connsiteX8" fmla="*/ 239948 w 477219"/>
                  <a:gd name="connsiteY8" fmla="*/ 41036 h 197801"/>
                  <a:gd name="connsiteX9" fmla="*/ 249865 w 477219"/>
                  <a:gd name="connsiteY9" fmla="*/ 46280 h 197801"/>
                  <a:gd name="connsiteX10" fmla="*/ 246217 w 477219"/>
                  <a:gd name="connsiteY10" fmla="*/ 56539 h 197801"/>
                  <a:gd name="connsiteX11" fmla="*/ 239435 w 477219"/>
                  <a:gd name="connsiteY11" fmla="*/ 59274 h 197801"/>
                  <a:gd name="connsiteX12" fmla="*/ 236927 w 477219"/>
                  <a:gd name="connsiteY12" fmla="*/ 72725 h 197801"/>
                  <a:gd name="connsiteX13" fmla="*/ 227238 w 477219"/>
                  <a:gd name="connsiteY13" fmla="*/ 75461 h 197801"/>
                  <a:gd name="connsiteX14" fmla="*/ 212989 w 477219"/>
                  <a:gd name="connsiteY14" fmla="*/ 85435 h 197801"/>
                  <a:gd name="connsiteX15" fmla="*/ 185290 w 477219"/>
                  <a:gd name="connsiteY15" fmla="*/ 86119 h 197801"/>
                  <a:gd name="connsiteX16" fmla="*/ 178907 w 477219"/>
                  <a:gd name="connsiteY16" fmla="*/ 82357 h 197801"/>
                  <a:gd name="connsiteX17" fmla="*/ 175829 w 477219"/>
                  <a:gd name="connsiteY17" fmla="*/ 77627 h 197801"/>
                  <a:gd name="connsiteX18" fmla="*/ 170129 w 477219"/>
                  <a:gd name="connsiteY18" fmla="*/ 75632 h 197801"/>
                  <a:gd name="connsiteX19" fmla="*/ 161979 w 477219"/>
                  <a:gd name="connsiteY19" fmla="*/ 61326 h 197801"/>
                  <a:gd name="connsiteX20" fmla="*/ 180103 w 477219"/>
                  <a:gd name="connsiteY20" fmla="*/ 63492 h 197801"/>
                  <a:gd name="connsiteX21" fmla="*/ 183979 w 477219"/>
                  <a:gd name="connsiteY21" fmla="*/ 66570 h 197801"/>
                  <a:gd name="connsiteX22" fmla="*/ 201819 w 477219"/>
                  <a:gd name="connsiteY22" fmla="*/ 69135 h 197801"/>
                  <a:gd name="connsiteX23" fmla="*/ 268445 w 477219"/>
                  <a:gd name="connsiteY23" fmla="*/ 32088 h 197801"/>
                  <a:gd name="connsiteX24" fmla="*/ 259953 w 477219"/>
                  <a:gd name="connsiteY24" fmla="*/ 27358 h 197801"/>
                  <a:gd name="connsiteX25" fmla="*/ 259440 w 477219"/>
                  <a:gd name="connsiteY25" fmla="*/ 20746 h 197801"/>
                  <a:gd name="connsiteX26" fmla="*/ 254539 w 477219"/>
                  <a:gd name="connsiteY26" fmla="*/ 18010 h 197801"/>
                  <a:gd name="connsiteX27" fmla="*/ 248839 w 477219"/>
                  <a:gd name="connsiteY27" fmla="*/ 20176 h 197801"/>
                  <a:gd name="connsiteX28" fmla="*/ 250549 w 477219"/>
                  <a:gd name="connsiteY28" fmla="*/ 28839 h 197801"/>
                  <a:gd name="connsiteX29" fmla="*/ 254994 w 477219"/>
                  <a:gd name="connsiteY29" fmla="*/ 32829 h 197801"/>
                  <a:gd name="connsiteX30" fmla="*/ 260694 w 477219"/>
                  <a:gd name="connsiteY30" fmla="*/ 44228 h 197801"/>
                  <a:gd name="connsiteX31" fmla="*/ 262005 w 477219"/>
                  <a:gd name="connsiteY31" fmla="*/ 47762 h 197801"/>
                  <a:gd name="connsiteX32" fmla="*/ 269129 w 477219"/>
                  <a:gd name="connsiteY32" fmla="*/ 48742 h 197801"/>
                  <a:gd name="connsiteX33" fmla="*/ 269528 w 477219"/>
                  <a:gd name="connsiteY33" fmla="*/ 48389 h 197801"/>
                  <a:gd name="connsiteX34" fmla="*/ 270953 w 477219"/>
                  <a:gd name="connsiteY34" fmla="*/ 40865 h 197801"/>
                  <a:gd name="connsiteX35" fmla="*/ 268616 w 477219"/>
                  <a:gd name="connsiteY35" fmla="*/ 32088 h 197801"/>
                  <a:gd name="connsiteX36" fmla="*/ 325440 w 477219"/>
                  <a:gd name="connsiteY36" fmla="*/ 75803 h 197801"/>
                  <a:gd name="connsiteX37" fmla="*/ 325440 w 477219"/>
                  <a:gd name="connsiteY37" fmla="*/ 74207 h 197801"/>
                  <a:gd name="connsiteX38" fmla="*/ 320083 w 477219"/>
                  <a:gd name="connsiteY38" fmla="*/ 71585 h 197801"/>
                  <a:gd name="connsiteX39" fmla="*/ 314383 w 477219"/>
                  <a:gd name="connsiteY39" fmla="*/ 69648 h 197801"/>
                  <a:gd name="connsiteX40" fmla="*/ 313528 w 477219"/>
                  <a:gd name="connsiteY40" fmla="*/ 66513 h 197801"/>
                  <a:gd name="connsiteX41" fmla="*/ 307259 w 477219"/>
                  <a:gd name="connsiteY41" fmla="*/ 63264 h 197801"/>
                  <a:gd name="connsiteX42" fmla="*/ 303440 w 477219"/>
                  <a:gd name="connsiteY42" fmla="*/ 67653 h 197801"/>
                  <a:gd name="connsiteX43" fmla="*/ 302756 w 477219"/>
                  <a:gd name="connsiteY43" fmla="*/ 73637 h 197801"/>
                  <a:gd name="connsiteX44" fmla="*/ 302756 w 477219"/>
                  <a:gd name="connsiteY44" fmla="*/ 77171 h 197801"/>
                  <a:gd name="connsiteX45" fmla="*/ 302756 w 477219"/>
                  <a:gd name="connsiteY45" fmla="*/ 79394 h 197801"/>
                  <a:gd name="connsiteX46" fmla="*/ 311077 w 477219"/>
                  <a:gd name="connsiteY46" fmla="*/ 83839 h 197801"/>
                  <a:gd name="connsiteX47" fmla="*/ 311875 w 477219"/>
                  <a:gd name="connsiteY47" fmla="*/ 90052 h 197801"/>
                  <a:gd name="connsiteX48" fmla="*/ 317575 w 477219"/>
                  <a:gd name="connsiteY48" fmla="*/ 92389 h 197801"/>
                  <a:gd name="connsiteX49" fmla="*/ 319228 w 477219"/>
                  <a:gd name="connsiteY49" fmla="*/ 92389 h 197801"/>
                  <a:gd name="connsiteX50" fmla="*/ 319569 w 477219"/>
                  <a:gd name="connsiteY50" fmla="*/ 94212 h 197801"/>
                  <a:gd name="connsiteX51" fmla="*/ 326466 w 477219"/>
                  <a:gd name="connsiteY51" fmla="*/ 103389 h 197801"/>
                  <a:gd name="connsiteX52" fmla="*/ 329316 w 477219"/>
                  <a:gd name="connsiteY52" fmla="*/ 103389 h 197801"/>
                  <a:gd name="connsiteX53" fmla="*/ 332621 w 477219"/>
                  <a:gd name="connsiteY53" fmla="*/ 99627 h 197801"/>
                  <a:gd name="connsiteX54" fmla="*/ 332621 w 477219"/>
                  <a:gd name="connsiteY54" fmla="*/ 94383 h 197801"/>
                  <a:gd name="connsiteX55" fmla="*/ 332280 w 477219"/>
                  <a:gd name="connsiteY55" fmla="*/ 87886 h 197801"/>
                  <a:gd name="connsiteX56" fmla="*/ 328632 w 477219"/>
                  <a:gd name="connsiteY56" fmla="*/ 78311 h 197801"/>
                  <a:gd name="connsiteX57" fmla="*/ 325611 w 477219"/>
                  <a:gd name="connsiteY57" fmla="*/ 75803 h 197801"/>
                  <a:gd name="connsiteX58" fmla="*/ 350232 w 477219"/>
                  <a:gd name="connsiteY58" fmla="*/ 93300 h 197801"/>
                  <a:gd name="connsiteX59" fmla="*/ 343736 w 477219"/>
                  <a:gd name="connsiteY59" fmla="*/ 97005 h 197801"/>
                  <a:gd name="connsiteX60" fmla="*/ 343165 w 477219"/>
                  <a:gd name="connsiteY60" fmla="*/ 97860 h 197801"/>
                  <a:gd name="connsiteX61" fmla="*/ 341570 w 477219"/>
                  <a:gd name="connsiteY61" fmla="*/ 98487 h 197801"/>
                  <a:gd name="connsiteX62" fmla="*/ 340715 w 477219"/>
                  <a:gd name="connsiteY62" fmla="*/ 101964 h 197801"/>
                  <a:gd name="connsiteX63" fmla="*/ 350062 w 477219"/>
                  <a:gd name="connsiteY63" fmla="*/ 106466 h 197801"/>
                  <a:gd name="connsiteX64" fmla="*/ 350916 w 477219"/>
                  <a:gd name="connsiteY64" fmla="*/ 106466 h 197801"/>
                  <a:gd name="connsiteX65" fmla="*/ 351430 w 477219"/>
                  <a:gd name="connsiteY65" fmla="*/ 107150 h 197801"/>
                  <a:gd name="connsiteX66" fmla="*/ 356502 w 477219"/>
                  <a:gd name="connsiteY66" fmla="*/ 111539 h 197801"/>
                  <a:gd name="connsiteX67" fmla="*/ 362202 w 477219"/>
                  <a:gd name="connsiteY67" fmla="*/ 108803 h 197801"/>
                  <a:gd name="connsiteX68" fmla="*/ 362886 w 477219"/>
                  <a:gd name="connsiteY68" fmla="*/ 105782 h 197801"/>
                  <a:gd name="connsiteX69" fmla="*/ 362886 w 477219"/>
                  <a:gd name="connsiteY69" fmla="*/ 96891 h 197801"/>
                  <a:gd name="connsiteX70" fmla="*/ 350289 w 477219"/>
                  <a:gd name="connsiteY70" fmla="*/ 93300 h 197801"/>
                  <a:gd name="connsiteX71" fmla="*/ 402725 w 477219"/>
                  <a:gd name="connsiteY71" fmla="*/ 137357 h 197801"/>
                  <a:gd name="connsiteX72" fmla="*/ 410021 w 477219"/>
                  <a:gd name="connsiteY72" fmla="*/ 139637 h 197801"/>
                  <a:gd name="connsiteX73" fmla="*/ 413440 w 477219"/>
                  <a:gd name="connsiteY73" fmla="*/ 134622 h 197801"/>
                  <a:gd name="connsiteX74" fmla="*/ 413098 w 477219"/>
                  <a:gd name="connsiteY74" fmla="*/ 128409 h 197801"/>
                  <a:gd name="connsiteX75" fmla="*/ 406486 w 477219"/>
                  <a:gd name="connsiteY75" fmla="*/ 120715 h 197801"/>
                  <a:gd name="connsiteX76" fmla="*/ 399305 w 477219"/>
                  <a:gd name="connsiteY76" fmla="*/ 119803 h 197801"/>
                  <a:gd name="connsiteX77" fmla="*/ 395658 w 477219"/>
                  <a:gd name="connsiteY77" fmla="*/ 117010 h 197801"/>
                  <a:gd name="connsiteX78" fmla="*/ 389958 w 477219"/>
                  <a:gd name="connsiteY78" fmla="*/ 112337 h 197801"/>
                  <a:gd name="connsiteX79" fmla="*/ 382891 w 477219"/>
                  <a:gd name="connsiteY79" fmla="*/ 111824 h 197801"/>
                  <a:gd name="connsiteX80" fmla="*/ 384031 w 477219"/>
                  <a:gd name="connsiteY80" fmla="*/ 125730 h 197801"/>
                  <a:gd name="connsiteX81" fmla="*/ 390984 w 477219"/>
                  <a:gd name="connsiteY81" fmla="*/ 130119 h 197801"/>
                  <a:gd name="connsiteX82" fmla="*/ 399419 w 477219"/>
                  <a:gd name="connsiteY82" fmla="*/ 129834 h 197801"/>
                  <a:gd name="connsiteX83" fmla="*/ 402782 w 477219"/>
                  <a:gd name="connsiteY83" fmla="*/ 137357 h 197801"/>
                  <a:gd name="connsiteX84" fmla="*/ 448834 w 477219"/>
                  <a:gd name="connsiteY84" fmla="*/ 154912 h 197801"/>
                  <a:gd name="connsiteX85" fmla="*/ 449575 w 477219"/>
                  <a:gd name="connsiteY85" fmla="*/ 150067 h 197801"/>
                  <a:gd name="connsiteX86" fmla="*/ 447807 w 477219"/>
                  <a:gd name="connsiteY86" fmla="*/ 144026 h 197801"/>
                  <a:gd name="connsiteX87" fmla="*/ 443248 w 477219"/>
                  <a:gd name="connsiteY87" fmla="*/ 142259 h 197801"/>
                  <a:gd name="connsiteX88" fmla="*/ 441538 w 477219"/>
                  <a:gd name="connsiteY88" fmla="*/ 140150 h 197801"/>
                  <a:gd name="connsiteX89" fmla="*/ 440398 w 477219"/>
                  <a:gd name="connsiteY89" fmla="*/ 137699 h 197801"/>
                  <a:gd name="connsiteX90" fmla="*/ 439031 w 477219"/>
                  <a:gd name="connsiteY90" fmla="*/ 137357 h 197801"/>
                  <a:gd name="connsiteX91" fmla="*/ 433331 w 477219"/>
                  <a:gd name="connsiteY91" fmla="*/ 137357 h 197801"/>
                  <a:gd name="connsiteX92" fmla="*/ 431678 w 477219"/>
                  <a:gd name="connsiteY92" fmla="*/ 141803 h 197801"/>
                  <a:gd name="connsiteX93" fmla="*/ 431678 w 477219"/>
                  <a:gd name="connsiteY93" fmla="*/ 144197 h 197801"/>
                  <a:gd name="connsiteX94" fmla="*/ 432704 w 477219"/>
                  <a:gd name="connsiteY94" fmla="*/ 146705 h 197801"/>
                  <a:gd name="connsiteX95" fmla="*/ 439145 w 477219"/>
                  <a:gd name="connsiteY95" fmla="*/ 160098 h 197801"/>
                  <a:gd name="connsiteX96" fmla="*/ 443932 w 477219"/>
                  <a:gd name="connsiteY96" fmla="*/ 158958 h 197801"/>
                  <a:gd name="connsiteX97" fmla="*/ 448891 w 477219"/>
                  <a:gd name="connsiteY97" fmla="*/ 154912 h 197801"/>
                  <a:gd name="connsiteX98" fmla="*/ 426378 w 477219"/>
                  <a:gd name="connsiteY98" fmla="*/ 175943 h 197801"/>
                  <a:gd name="connsiteX99" fmla="*/ 433445 w 477219"/>
                  <a:gd name="connsiteY99" fmla="*/ 177026 h 197801"/>
                  <a:gd name="connsiteX100" fmla="*/ 432362 w 477219"/>
                  <a:gd name="connsiteY100" fmla="*/ 167906 h 197801"/>
                  <a:gd name="connsiteX101" fmla="*/ 430880 w 477219"/>
                  <a:gd name="connsiteY101" fmla="*/ 165000 h 197801"/>
                  <a:gd name="connsiteX102" fmla="*/ 429512 w 477219"/>
                  <a:gd name="connsiteY102" fmla="*/ 157704 h 197801"/>
                  <a:gd name="connsiteX103" fmla="*/ 423813 w 477219"/>
                  <a:gd name="connsiteY103" fmla="*/ 157704 h 197801"/>
                  <a:gd name="connsiteX104" fmla="*/ 419197 w 477219"/>
                  <a:gd name="connsiteY104" fmla="*/ 159300 h 197801"/>
                  <a:gd name="connsiteX105" fmla="*/ 417829 w 477219"/>
                  <a:gd name="connsiteY105" fmla="*/ 159300 h 197801"/>
                  <a:gd name="connsiteX106" fmla="*/ 415776 w 477219"/>
                  <a:gd name="connsiteY106" fmla="*/ 155482 h 197801"/>
                  <a:gd name="connsiteX107" fmla="*/ 414067 w 477219"/>
                  <a:gd name="connsiteY107" fmla="*/ 155026 h 197801"/>
                  <a:gd name="connsiteX108" fmla="*/ 407114 w 477219"/>
                  <a:gd name="connsiteY108" fmla="*/ 155881 h 197801"/>
                  <a:gd name="connsiteX109" fmla="*/ 404434 w 477219"/>
                  <a:gd name="connsiteY109" fmla="*/ 164749 h 197801"/>
                  <a:gd name="connsiteX110" fmla="*/ 408025 w 477219"/>
                  <a:gd name="connsiteY110" fmla="*/ 167849 h 197801"/>
                  <a:gd name="connsiteX111" fmla="*/ 421305 w 477219"/>
                  <a:gd name="connsiteY111" fmla="*/ 169958 h 197801"/>
                  <a:gd name="connsiteX112" fmla="*/ 422502 w 477219"/>
                  <a:gd name="connsiteY112" fmla="*/ 169958 h 197801"/>
                  <a:gd name="connsiteX113" fmla="*/ 423072 w 477219"/>
                  <a:gd name="connsiteY113" fmla="*/ 171269 h 197801"/>
                  <a:gd name="connsiteX114" fmla="*/ 426434 w 477219"/>
                  <a:gd name="connsiteY114" fmla="*/ 175943 h 197801"/>
                  <a:gd name="connsiteX115" fmla="*/ 463025 w 477219"/>
                  <a:gd name="connsiteY115" fmla="*/ 177425 h 197801"/>
                  <a:gd name="connsiteX116" fmla="*/ 461429 w 477219"/>
                  <a:gd name="connsiteY116" fmla="*/ 177026 h 197801"/>
                  <a:gd name="connsiteX117" fmla="*/ 453222 w 477219"/>
                  <a:gd name="connsiteY117" fmla="*/ 178165 h 197801"/>
                  <a:gd name="connsiteX118" fmla="*/ 450828 w 477219"/>
                  <a:gd name="connsiteY118" fmla="*/ 186715 h 197801"/>
                  <a:gd name="connsiteX119" fmla="*/ 451512 w 477219"/>
                  <a:gd name="connsiteY119" fmla="*/ 190704 h 197801"/>
                  <a:gd name="connsiteX120" fmla="*/ 456756 w 477219"/>
                  <a:gd name="connsiteY120" fmla="*/ 194580 h 197801"/>
                  <a:gd name="connsiteX121" fmla="*/ 465248 w 477219"/>
                  <a:gd name="connsiteY121" fmla="*/ 197202 h 197801"/>
                  <a:gd name="connsiteX122" fmla="*/ 474367 w 477219"/>
                  <a:gd name="connsiteY122" fmla="*/ 196518 h 197801"/>
                  <a:gd name="connsiteX123" fmla="*/ 477217 w 477219"/>
                  <a:gd name="connsiteY123" fmla="*/ 190818 h 197801"/>
                  <a:gd name="connsiteX124" fmla="*/ 473512 w 477219"/>
                  <a:gd name="connsiteY124" fmla="*/ 185518 h 197801"/>
                  <a:gd name="connsiteX125" fmla="*/ 464621 w 477219"/>
                  <a:gd name="connsiteY125" fmla="*/ 184378 h 197801"/>
                  <a:gd name="connsiteX126" fmla="*/ 463082 w 477219"/>
                  <a:gd name="connsiteY126" fmla="*/ 177425 h 197801"/>
                  <a:gd name="connsiteX127" fmla="*/ 200108 w 477219"/>
                  <a:gd name="connsiteY127" fmla="*/ 172124 h 197801"/>
                  <a:gd name="connsiteX128" fmla="*/ 196632 w 477219"/>
                  <a:gd name="connsiteY128" fmla="*/ 166710 h 197801"/>
                  <a:gd name="connsiteX129" fmla="*/ 178337 w 477219"/>
                  <a:gd name="connsiteY129" fmla="*/ 156394 h 197801"/>
                  <a:gd name="connsiteX130" fmla="*/ 166938 w 477219"/>
                  <a:gd name="connsiteY130" fmla="*/ 140606 h 197801"/>
                  <a:gd name="connsiteX131" fmla="*/ 152005 w 477219"/>
                  <a:gd name="connsiteY131" fmla="*/ 133083 h 197801"/>
                  <a:gd name="connsiteX132" fmla="*/ 144824 w 477219"/>
                  <a:gd name="connsiteY132" fmla="*/ 115984 h 197801"/>
                  <a:gd name="connsiteX133" fmla="*/ 139523 w 477219"/>
                  <a:gd name="connsiteY133" fmla="*/ 107663 h 197801"/>
                  <a:gd name="connsiteX134" fmla="*/ 129834 w 477219"/>
                  <a:gd name="connsiteY134" fmla="*/ 103160 h 197801"/>
                  <a:gd name="connsiteX135" fmla="*/ 128751 w 477219"/>
                  <a:gd name="connsiteY135" fmla="*/ 93984 h 197801"/>
                  <a:gd name="connsiteX136" fmla="*/ 135305 w 477219"/>
                  <a:gd name="connsiteY136" fmla="*/ 93300 h 197801"/>
                  <a:gd name="connsiteX137" fmla="*/ 148756 w 477219"/>
                  <a:gd name="connsiteY137" fmla="*/ 86176 h 197801"/>
                  <a:gd name="connsiteX138" fmla="*/ 137357 w 477219"/>
                  <a:gd name="connsiteY138" fmla="*/ 77285 h 197801"/>
                  <a:gd name="connsiteX139" fmla="*/ 104414 w 477219"/>
                  <a:gd name="connsiteY139" fmla="*/ 60813 h 197801"/>
                  <a:gd name="connsiteX140" fmla="*/ 100254 w 477219"/>
                  <a:gd name="connsiteY140" fmla="*/ 53176 h 197801"/>
                  <a:gd name="connsiteX141" fmla="*/ 94896 w 477219"/>
                  <a:gd name="connsiteY141" fmla="*/ 47477 h 197801"/>
                  <a:gd name="connsiteX142" fmla="*/ 69363 w 477219"/>
                  <a:gd name="connsiteY142" fmla="*/ 29181 h 197801"/>
                  <a:gd name="connsiteX143" fmla="*/ 58875 w 477219"/>
                  <a:gd name="connsiteY143" fmla="*/ 24907 h 197801"/>
                  <a:gd name="connsiteX144" fmla="*/ 50326 w 477219"/>
                  <a:gd name="connsiteY144" fmla="*/ 16130 h 197801"/>
                  <a:gd name="connsiteX145" fmla="*/ 24793 w 477219"/>
                  <a:gd name="connsiteY145" fmla="*/ 10772 h 197801"/>
                  <a:gd name="connsiteX146" fmla="*/ 13394 w 477219"/>
                  <a:gd name="connsiteY146" fmla="*/ 3534 h 197801"/>
                  <a:gd name="connsiteX147" fmla="*/ 1254 w 477219"/>
                  <a:gd name="connsiteY147" fmla="*/ 0 h 197801"/>
                  <a:gd name="connsiteX148" fmla="*/ 0 w 477219"/>
                  <a:gd name="connsiteY148" fmla="*/ 0 h 197801"/>
                  <a:gd name="connsiteX149" fmla="*/ 0 w 477219"/>
                  <a:gd name="connsiteY149" fmla="*/ 143057 h 197801"/>
                  <a:gd name="connsiteX150" fmla="*/ 2622 w 477219"/>
                  <a:gd name="connsiteY150" fmla="*/ 142487 h 197801"/>
                  <a:gd name="connsiteX151" fmla="*/ 16243 w 477219"/>
                  <a:gd name="connsiteY151" fmla="*/ 155083 h 197801"/>
                  <a:gd name="connsiteX152" fmla="*/ 37161 w 477219"/>
                  <a:gd name="connsiteY152" fmla="*/ 154684 h 197801"/>
                  <a:gd name="connsiteX153" fmla="*/ 47819 w 477219"/>
                  <a:gd name="connsiteY153" fmla="*/ 142316 h 197801"/>
                  <a:gd name="connsiteX154" fmla="*/ 51979 w 477219"/>
                  <a:gd name="connsiteY154" fmla="*/ 127725 h 197801"/>
                  <a:gd name="connsiteX155" fmla="*/ 61612 w 477219"/>
                  <a:gd name="connsiteY155" fmla="*/ 122653 h 197801"/>
                  <a:gd name="connsiteX156" fmla="*/ 68736 w 477219"/>
                  <a:gd name="connsiteY156" fmla="*/ 113534 h 197801"/>
                  <a:gd name="connsiteX157" fmla="*/ 83839 w 477219"/>
                  <a:gd name="connsiteY157" fmla="*/ 116554 h 197801"/>
                  <a:gd name="connsiteX158" fmla="*/ 97632 w 477219"/>
                  <a:gd name="connsiteY158" fmla="*/ 125046 h 197801"/>
                  <a:gd name="connsiteX159" fmla="*/ 103331 w 477219"/>
                  <a:gd name="connsiteY159" fmla="*/ 126870 h 197801"/>
                  <a:gd name="connsiteX160" fmla="*/ 106295 w 477219"/>
                  <a:gd name="connsiteY160" fmla="*/ 132570 h 197801"/>
                  <a:gd name="connsiteX161" fmla="*/ 115414 w 477219"/>
                  <a:gd name="connsiteY161" fmla="*/ 137927 h 197801"/>
                  <a:gd name="connsiteX162" fmla="*/ 119062 w 477219"/>
                  <a:gd name="connsiteY162" fmla="*/ 146420 h 197801"/>
                  <a:gd name="connsiteX163" fmla="*/ 125787 w 477219"/>
                  <a:gd name="connsiteY163" fmla="*/ 164373 h 197801"/>
                  <a:gd name="connsiteX164" fmla="*/ 140948 w 477219"/>
                  <a:gd name="connsiteY164" fmla="*/ 172295 h 197801"/>
                  <a:gd name="connsiteX165" fmla="*/ 141860 w 477219"/>
                  <a:gd name="connsiteY165" fmla="*/ 176513 h 197801"/>
                  <a:gd name="connsiteX166" fmla="*/ 146876 w 477219"/>
                  <a:gd name="connsiteY166" fmla="*/ 178850 h 197801"/>
                  <a:gd name="connsiteX167" fmla="*/ 181072 w 477219"/>
                  <a:gd name="connsiteY167" fmla="*/ 180160 h 197801"/>
                  <a:gd name="connsiteX168" fmla="*/ 194295 w 477219"/>
                  <a:gd name="connsiteY168" fmla="*/ 187570 h 197801"/>
                  <a:gd name="connsiteX169" fmla="*/ 208886 w 477219"/>
                  <a:gd name="connsiteY169" fmla="*/ 188482 h 197801"/>
                  <a:gd name="connsiteX170" fmla="*/ 208886 w 477219"/>
                  <a:gd name="connsiteY170" fmla="*/ 177539 h 197801"/>
                  <a:gd name="connsiteX171" fmla="*/ 200223 w 477219"/>
                  <a:gd name="connsiteY171" fmla="*/ 172124 h 19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77219" h="197801">
                    <a:moveTo>
                      <a:pt x="201819" y="69135"/>
                    </a:moveTo>
                    <a:cubicBezTo>
                      <a:pt x="203015" y="69157"/>
                      <a:pt x="204212" y="68884"/>
                      <a:pt x="205295" y="68337"/>
                    </a:cubicBezTo>
                    <a:cubicBezTo>
                      <a:pt x="207689" y="67026"/>
                      <a:pt x="208316" y="63720"/>
                      <a:pt x="210368" y="61896"/>
                    </a:cubicBezTo>
                    <a:cubicBezTo>
                      <a:pt x="212932" y="60340"/>
                      <a:pt x="215953" y="59673"/>
                      <a:pt x="218917" y="60015"/>
                    </a:cubicBezTo>
                    <a:cubicBezTo>
                      <a:pt x="221938" y="60015"/>
                      <a:pt x="225414" y="59047"/>
                      <a:pt x="226440" y="56254"/>
                    </a:cubicBezTo>
                    <a:cubicBezTo>
                      <a:pt x="226953" y="54715"/>
                      <a:pt x="226440" y="52948"/>
                      <a:pt x="227523" y="51637"/>
                    </a:cubicBezTo>
                    <a:cubicBezTo>
                      <a:pt x="229176" y="49016"/>
                      <a:pt x="234021" y="49927"/>
                      <a:pt x="235274" y="47135"/>
                    </a:cubicBezTo>
                    <a:cubicBezTo>
                      <a:pt x="235730" y="46052"/>
                      <a:pt x="235274" y="44798"/>
                      <a:pt x="235901" y="43715"/>
                    </a:cubicBezTo>
                    <a:cubicBezTo>
                      <a:pt x="236699" y="42205"/>
                      <a:pt x="238238" y="41202"/>
                      <a:pt x="239948" y="41036"/>
                    </a:cubicBezTo>
                    <a:cubicBezTo>
                      <a:pt x="244051" y="40426"/>
                      <a:pt x="248041" y="42547"/>
                      <a:pt x="249865" y="46280"/>
                    </a:cubicBezTo>
                    <a:cubicBezTo>
                      <a:pt x="251518" y="50127"/>
                      <a:pt x="249922" y="54590"/>
                      <a:pt x="246217" y="56539"/>
                    </a:cubicBezTo>
                    <a:cubicBezTo>
                      <a:pt x="243995" y="57565"/>
                      <a:pt x="241145" y="57508"/>
                      <a:pt x="239435" y="59274"/>
                    </a:cubicBezTo>
                    <a:cubicBezTo>
                      <a:pt x="236187" y="62637"/>
                      <a:pt x="239891" y="69078"/>
                      <a:pt x="236927" y="72725"/>
                    </a:cubicBezTo>
                    <a:cubicBezTo>
                      <a:pt x="234762" y="75404"/>
                      <a:pt x="230600" y="74720"/>
                      <a:pt x="227238" y="75461"/>
                    </a:cubicBezTo>
                    <a:cubicBezTo>
                      <a:pt x="221539" y="76715"/>
                      <a:pt x="217891" y="82244"/>
                      <a:pt x="212989" y="85435"/>
                    </a:cubicBezTo>
                    <a:cubicBezTo>
                      <a:pt x="204953" y="90622"/>
                      <a:pt x="194352" y="89026"/>
                      <a:pt x="185290" y="86119"/>
                    </a:cubicBezTo>
                    <a:cubicBezTo>
                      <a:pt x="182839" y="85538"/>
                      <a:pt x="180617" y="84227"/>
                      <a:pt x="178907" y="82357"/>
                    </a:cubicBezTo>
                    <a:cubicBezTo>
                      <a:pt x="177767" y="80876"/>
                      <a:pt x="177253" y="78824"/>
                      <a:pt x="175829" y="77627"/>
                    </a:cubicBezTo>
                    <a:cubicBezTo>
                      <a:pt x="174119" y="76527"/>
                      <a:pt x="172181" y="75843"/>
                      <a:pt x="170129" y="75632"/>
                    </a:cubicBezTo>
                    <a:cubicBezTo>
                      <a:pt x="164145" y="73671"/>
                      <a:pt x="160611" y="67482"/>
                      <a:pt x="161979" y="61326"/>
                    </a:cubicBezTo>
                    <a:cubicBezTo>
                      <a:pt x="168077" y="59822"/>
                      <a:pt x="174518" y="60591"/>
                      <a:pt x="180103" y="63492"/>
                    </a:cubicBezTo>
                    <a:cubicBezTo>
                      <a:pt x="181471" y="64461"/>
                      <a:pt x="182611" y="65601"/>
                      <a:pt x="183979" y="66570"/>
                    </a:cubicBezTo>
                    <a:cubicBezTo>
                      <a:pt x="189450" y="69494"/>
                      <a:pt x="195777" y="70400"/>
                      <a:pt x="201819" y="69135"/>
                    </a:cubicBezTo>
                    <a:close/>
                    <a:moveTo>
                      <a:pt x="268445" y="32088"/>
                    </a:moveTo>
                    <a:cubicBezTo>
                      <a:pt x="266507" y="29267"/>
                      <a:pt x="263372" y="27511"/>
                      <a:pt x="259953" y="27358"/>
                    </a:cubicBezTo>
                    <a:cubicBezTo>
                      <a:pt x="258699" y="25534"/>
                      <a:pt x="259953" y="22855"/>
                      <a:pt x="259440" y="20746"/>
                    </a:cubicBezTo>
                    <a:cubicBezTo>
                      <a:pt x="258585" y="18848"/>
                      <a:pt x="256590" y="17731"/>
                      <a:pt x="254539" y="18010"/>
                    </a:cubicBezTo>
                    <a:cubicBezTo>
                      <a:pt x="252487" y="18272"/>
                      <a:pt x="250549" y="19013"/>
                      <a:pt x="248839" y="20176"/>
                    </a:cubicBezTo>
                    <a:cubicBezTo>
                      <a:pt x="248839" y="23146"/>
                      <a:pt x="249409" y="26092"/>
                      <a:pt x="250549" y="28839"/>
                    </a:cubicBezTo>
                    <a:cubicBezTo>
                      <a:pt x="251347" y="30777"/>
                      <a:pt x="252829" y="32886"/>
                      <a:pt x="254994" y="32829"/>
                    </a:cubicBezTo>
                    <a:cubicBezTo>
                      <a:pt x="257673" y="36197"/>
                      <a:pt x="259611" y="40079"/>
                      <a:pt x="260694" y="44228"/>
                    </a:cubicBezTo>
                    <a:cubicBezTo>
                      <a:pt x="260979" y="45465"/>
                      <a:pt x="261378" y="46656"/>
                      <a:pt x="262005" y="47762"/>
                    </a:cubicBezTo>
                    <a:cubicBezTo>
                      <a:pt x="263715" y="49996"/>
                      <a:pt x="266906" y="50435"/>
                      <a:pt x="269129" y="48742"/>
                    </a:cubicBezTo>
                    <a:cubicBezTo>
                      <a:pt x="269243" y="48634"/>
                      <a:pt x="269414" y="48514"/>
                      <a:pt x="269528" y="48389"/>
                    </a:cubicBezTo>
                    <a:cubicBezTo>
                      <a:pt x="271010" y="46189"/>
                      <a:pt x="271580" y="43464"/>
                      <a:pt x="270953" y="40865"/>
                    </a:cubicBezTo>
                    <a:cubicBezTo>
                      <a:pt x="270896" y="37793"/>
                      <a:pt x="270098" y="34784"/>
                      <a:pt x="268616" y="32088"/>
                    </a:cubicBezTo>
                    <a:close/>
                    <a:moveTo>
                      <a:pt x="325440" y="75803"/>
                    </a:moveTo>
                    <a:cubicBezTo>
                      <a:pt x="325440" y="75290"/>
                      <a:pt x="325440" y="74720"/>
                      <a:pt x="325440" y="74207"/>
                    </a:cubicBezTo>
                    <a:cubicBezTo>
                      <a:pt x="324927" y="72155"/>
                      <a:pt x="322248" y="71585"/>
                      <a:pt x="320083" y="71585"/>
                    </a:cubicBezTo>
                    <a:cubicBezTo>
                      <a:pt x="317917" y="71585"/>
                      <a:pt x="315352" y="71585"/>
                      <a:pt x="314383" y="69648"/>
                    </a:cubicBezTo>
                    <a:cubicBezTo>
                      <a:pt x="313984" y="68639"/>
                      <a:pt x="313699" y="67584"/>
                      <a:pt x="313528" y="66513"/>
                    </a:cubicBezTo>
                    <a:cubicBezTo>
                      <a:pt x="312673" y="63891"/>
                      <a:pt x="309880" y="62443"/>
                      <a:pt x="307259" y="63264"/>
                    </a:cubicBezTo>
                    <a:cubicBezTo>
                      <a:pt x="305378" y="64051"/>
                      <a:pt x="303953" y="65675"/>
                      <a:pt x="303440" y="67653"/>
                    </a:cubicBezTo>
                    <a:cubicBezTo>
                      <a:pt x="302870" y="69596"/>
                      <a:pt x="302642" y="71620"/>
                      <a:pt x="302756" y="73637"/>
                    </a:cubicBezTo>
                    <a:lnTo>
                      <a:pt x="302756" y="77171"/>
                    </a:lnTo>
                    <a:cubicBezTo>
                      <a:pt x="302585" y="77906"/>
                      <a:pt x="302585" y="78658"/>
                      <a:pt x="302756" y="79394"/>
                    </a:cubicBezTo>
                    <a:cubicBezTo>
                      <a:pt x="303896" y="82415"/>
                      <a:pt x="308455" y="81674"/>
                      <a:pt x="311077" y="83839"/>
                    </a:cubicBezTo>
                    <a:cubicBezTo>
                      <a:pt x="310052" y="85885"/>
                      <a:pt x="310393" y="88325"/>
                      <a:pt x="311875" y="90052"/>
                    </a:cubicBezTo>
                    <a:cubicBezTo>
                      <a:pt x="313300" y="91704"/>
                      <a:pt x="315409" y="92577"/>
                      <a:pt x="317575" y="92389"/>
                    </a:cubicBezTo>
                    <a:cubicBezTo>
                      <a:pt x="318144" y="92389"/>
                      <a:pt x="318829" y="92389"/>
                      <a:pt x="319228" y="92389"/>
                    </a:cubicBezTo>
                    <a:cubicBezTo>
                      <a:pt x="319626" y="92919"/>
                      <a:pt x="319740" y="93585"/>
                      <a:pt x="319569" y="94212"/>
                    </a:cubicBezTo>
                    <a:cubicBezTo>
                      <a:pt x="319342" y="98532"/>
                      <a:pt x="322248" y="102380"/>
                      <a:pt x="326466" y="103389"/>
                    </a:cubicBezTo>
                    <a:cubicBezTo>
                      <a:pt x="327378" y="103673"/>
                      <a:pt x="328404" y="103673"/>
                      <a:pt x="329316" y="103389"/>
                    </a:cubicBezTo>
                    <a:cubicBezTo>
                      <a:pt x="330912" y="102710"/>
                      <a:pt x="332165" y="101325"/>
                      <a:pt x="332621" y="99627"/>
                    </a:cubicBezTo>
                    <a:cubicBezTo>
                      <a:pt x="332906" y="97889"/>
                      <a:pt x="332906" y="96122"/>
                      <a:pt x="332621" y="94383"/>
                    </a:cubicBezTo>
                    <a:lnTo>
                      <a:pt x="332280" y="87886"/>
                    </a:lnTo>
                    <a:cubicBezTo>
                      <a:pt x="332564" y="84307"/>
                      <a:pt x="331253" y="80779"/>
                      <a:pt x="328632" y="78311"/>
                    </a:cubicBezTo>
                    <a:cubicBezTo>
                      <a:pt x="327720" y="77741"/>
                      <a:pt x="326010" y="77171"/>
                      <a:pt x="325611" y="75803"/>
                    </a:cubicBezTo>
                    <a:close/>
                    <a:moveTo>
                      <a:pt x="350232" y="93300"/>
                    </a:moveTo>
                    <a:cubicBezTo>
                      <a:pt x="347554" y="93181"/>
                      <a:pt x="344989" y="94623"/>
                      <a:pt x="343736" y="97005"/>
                    </a:cubicBezTo>
                    <a:cubicBezTo>
                      <a:pt x="343564" y="97313"/>
                      <a:pt x="343393" y="97598"/>
                      <a:pt x="343165" y="97860"/>
                    </a:cubicBezTo>
                    <a:cubicBezTo>
                      <a:pt x="342652" y="98128"/>
                      <a:pt x="342140" y="98339"/>
                      <a:pt x="341570" y="98487"/>
                    </a:cubicBezTo>
                    <a:cubicBezTo>
                      <a:pt x="340429" y="99057"/>
                      <a:pt x="340315" y="100710"/>
                      <a:pt x="340715" y="101964"/>
                    </a:cubicBezTo>
                    <a:cubicBezTo>
                      <a:pt x="342140" y="105714"/>
                      <a:pt x="346243" y="107697"/>
                      <a:pt x="350062" y="106466"/>
                    </a:cubicBezTo>
                    <a:cubicBezTo>
                      <a:pt x="350346" y="106358"/>
                      <a:pt x="350632" y="106358"/>
                      <a:pt x="350916" y="106466"/>
                    </a:cubicBezTo>
                    <a:cubicBezTo>
                      <a:pt x="351202" y="106614"/>
                      <a:pt x="351373" y="106860"/>
                      <a:pt x="351430" y="107150"/>
                    </a:cubicBezTo>
                    <a:cubicBezTo>
                      <a:pt x="352285" y="109356"/>
                      <a:pt x="354222" y="110997"/>
                      <a:pt x="356502" y="111539"/>
                    </a:cubicBezTo>
                    <a:cubicBezTo>
                      <a:pt x="358782" y="111983"/>
                      <a:pt x="361119" y="110872"/>
                      <a:pt x="362202" y="108803"/>
                    </a:cubicBezTo>
                    <a:cubicBezTo>
                      <a:pt x="362600" y="107845"/>
                      <a:pt x="362829" y="106820"/>
                      <a:pt x="362886" y="105782"/>
                    </a:cubicBezTo>
                    <a:cubicBezTo>
                      <a:pt x="363113" y="102824"/>
                      <a:pt x="363113" y="99849"/>
                      <a:pt x="362886" y="96891"/>
                    </a:cubicBezTo>
                    <a:cubicBezTo>
                      <a:pt x="358782" y="98202"/>
                      <a:pt x="354792" y="93642"/>
                      <a:pt x="350289" y="93300"/>
                    </a:cubicBezTo>
                    <a:close/>
                    <a:moveTo>
                      <a:pt x="402725" y="137357"/>
                    </a:moveTo>
                    <a:cubicBezTo>
                      <a:pt x="404434" y="139603"/>
                      <a:pt x="407341" y="140520"/>
                      <a:pt x="410021" y="139637"/>
                    </a:cubicBezTo>
                    <a:cubicBezTo>
                      <a:pt x="411901" y="138640"/>
                      <a:pt x="413212" y="136759"/>
                      <a:pt x="413440" y="134622"/>
                    </a:cubicBezTo>
                    <a:cubicBezTo>
                      <a:pt x="413668" y="132547"/>
                      <a:pt x="413554" y="130450"/>
                      <a:pt x="413098" y="128409"/>
                    </a:cubicBezTo>
                    <a:cubicBezTo>
                      <a:pt x="409849" y="126979"/>
                      <a:pt x="407398" y="124146"/>
                      <a:pt x="406486" y="120715"/>
                    </a:cubicBezTo>
                    <a:lnTo>
                      <a:pt x="399305" y="119803"/>
                    </a:lnTo>
                    <a:cubicBezTo>
                      <a:pt x="397595" y="119803"/>
                      <a:pt x="395315" y="118720"/>
                      <a:pt x="395658" y="117010"/>
                    </a:cubicBezTo>
                    <a:cubicBezTo>
                      <a:pt x="394005" y="115158"/>
                      <a:pt x="392067" y="113579"/>
                      <a:pt x="389958" y="112337"/>
                    </a:cubicBezTo>
                    <a:cubicBezTo>
                      <a:pt x="387792" y="111071"/>
                      <a:pt x="385170" y="110883"/>
                      <a:pt x="382891" y="111824"/>
                    </a:cubicBezTo>
                    <a:cubicBezTo>
                      <a:pt x="383859" y="116440"/>
                      <a:pt x="381694" y="121627"/>
                      <a:pt x="384031" y="125730"/>
                    </a:cubicBezTo>
                    <a:cubicBezTo>
                      <a:pt x="385627" y="128136"/>
                      <a:pt x="388134" y="129737"/>
                      <a:pt x="390984" y="130119"/>
                    </a:cubicBezTo>
                    <a:cubicBezTo>
                      <a:pt x="393776" y="130450"/>
                      <a:pt x="396626" y="130353"/>
                      <a:pt x="399419" y="129834"/>
                    </a:cubicBezTo>
                    <a:cubicBezTo>
                      <a:pt x="399989" y="132564"/>
                      <a:pt x="401129" y="135135"/>
                      <a:pt x="402782" y="137357"/>
                    </a:cubicBezTo>
                    <a:close/>
                    <a:moveTo>
                      <a:pt x="448834" y="154912"/>
                    </a:moveTo>
                    <a:cubicBezTo>
                      <a:pt x="449403" y="153361"/>
                      <a:pt x="449632" y="151714"/>
                      <a:pt x="449575" y="150067"/>
                    </a:cubicBezTo>
                    <a:cubicBezTo>
                      <a:pt x="450030" y="147884"/>
                      <a:pt x="449346" y="145633"/>
                      <a:pt x="447807" y="144026"/>
                    </a:cubicBezTo>
                    <a:cubicBezTo>
                      <a:pt x="446497" y="143057"/>
                      <a:pt x="444673" y="143114"/>
                      <a:pt x="443248" y="142259"/>
                    </a:cubicBezTo>
                    <a:cubicBezTo>
                      <a:pt x="442450" y="141786"/>
                      <a:pt x="441823" y="141033"/>
                      <a:pt x="441538" y="140150"/>
                    </a:cubicBezTo>
                    <a:cubicBezTo>
                      <a:pt x="441538" y="139238"/>
                      <a:pt x="441196" y="138155"/>
                      <a:pt x="440398" y="137699"/>
                    </a:cubicBezTo>
                    <a:cubicBezTo>
                      <a:pt x="439999" y="137471"/>
                      <a:pt x="439486" y="137357"/>
                      <a:pt x="439031" y="137357"/>
                    </a:cubicBezTo>
                    <a:lnTo>
                      <a:pt x="433331" y="137357"/>
                    </a:lnTo>
                    <a:cubicBezTo>
                      <a:pt x="432419" y="138680"/>
                      <a:pt x="431849" y="140207"/>
                      <a:pt x="431678" y="141803"/>
                    </a:cubicBezTo>
                    <a:cubicBezTo>
                      <a:pt x="431564" y="142595"/>
                      <a:pt x="431564" y="143405"/>
                      <a:pt x="431678" y="144197"/>
                    </a:cubicBezTo>
                    <a:cubicBezTo>
                      <a:pt x="431906" y="145069"/>
                      <a:pt x="432248" y="145907"/>
                      <a:pt x="432704" y="146705"/>
                    </a:cubicBezTo>
                    <a:cubicBezTo>
                      <a:pt x="434813" y="151150"/>
                      <a:pt x="436979" y="155596"/>
                      <a:pt x="439145" y="160098"/>
                    </a:cubicBezTo>
                    <a:cubicBezTo>
                      <a:pt x="440398" y="159015"/>
                      <a:pt x="442279" y="159300"/>
                      <a:pt x="443932" y="158958"/>
                    </a:cubicBezTo>
                    <a:cubicBezTo>
                      <a:pt x="446155" y="158571"/>
                      <a:pt x="448036" y="157038"/>
                      <a:pt x="448891" y="154912"/>
                    </a:cubicBezTo>
                    <a:close/>
                    <a:moveTo>
                      <a:pt x="426378" y="175943"/>
                    </a:moveTo>
                    <a:lnTo>
                      <a:pt x="433445" y="177026"/>
                    </a:lnTo>
                    <a:cubicBezTo>
                      <a:pt x="434243" y="173959"/>
                      <a:pt x="433901" y="170699"/>
                      <a:pt x="432362" y="167906"/>
                    </a:cubicBezTo>
                    <a:cubicBezTo>
                      <a:pt x="431792" y="166995"/>
                      <a:pt x="431279" y="166020"/>
                      <a:pt x="430880" y="165000"/>
                    </a:cubicBezTo>
                    <a:cubicBezTo>
                      <a:pt x="430196" y="162549"/>
                      <a:pt x="431394" y="159300"/>
                      <a:pt x="429512" y="157704"/>
                    </a:cubicBezTo>
                    <a:cubicBezTo>
                      <a:pt x="427632" y="156108"/>
                      <a:pt x="425807" y="156964"/>
                      <a:pt x="423813" y="157704"/>
                    </a:cubicBezTo>
                    <a:lnTo>
                      <a:pt x="419197" y="159300"/>
                    </a:lnTo>
                    <a:cubicBezTo>
                      <a:pt x="418740" y="159409"/>
                      <a:pt x="418284" y="159409"/>
                      <a:pt x="417829" y="159300"/>
                    </a:cubicBezTo>
                    <a:cubicBezTo>
                      <a:pt x="416404" y="158902"/>
                      <a:pt x="416974" y="156450"/>
                      <a:pt x="415776" y="155482"/>
                    </a:cubicBezTo>
                    <a:cubicBezTo>
                      <a:pt x="415264" y="155134"/>
                      <a:pt x="414694" y="154974"/>
                      <a:pt x="414067" y="155026"/>
                    </a:cubicBezTo>
                    <a:cubicBezTo>
                      <a:pt x="411730" y="154701"/>
                      <a:pt x="409336" y="154991"/>
                      <a:pt x="407114" y="155881"/>
                    </a:cubicBezTo>
                    <a:cubicBezTo>
                      <a:pt x="403922" y="157585"/>
                      <a:pt x="402725" y="161552"/>
                      <a:pt x="404434" y="164749"/>
                    </a:cubicBezTo>
                    <a:cubicBezTo>
                      <a:pt x="405175" y="166197"/>
                      <a:pt x="406486" y="167308"/>
                      <a:pt x="408025" y="167849"/>
                    </a:cubicBezTo>
                    <a:cubicBezTo>
                      <a:pt x="412186" y="169764"/>
                      <a:pt x="416745" y="170494"/>
                      <a:pt x="421305" y="169958"/>
                    </a:cubicBezTo>
                    <a:cubicBezTo>
                      <a:pt x="421704" y="169844"/>
                      <a:pt x="422103" y="169844"/>
                      <a:pt x="422502" y="169958"/>
                    </a:cubicBezTo>
                    <a:cubicBezTo>
                      <a:pt x="422901" y="169958"/>
                      <a:pt x="422958" y="170756"/>
                      <a:pt x="423072" y="171269"/>
                    </a:cubicBezTo>
                    <a:cubicBezTo>
                      <a:pt x="423414" y="173264"/>
                      <a:pt x="424668" y="174985"/>
                      <a:pt x="426434" y="175943"/>
                    </a:cubicBezTo>
                    <a:close/>
                    <a:moveTo>
                      <a:pt x="463025" y="177425"/>
                    </a:moveTo>
                    <a:cubicBezTo>
                      <a:pt x="462512" y="177174"/>
                      <a:pt x="462000" y="177037"/>
                      <a:pt x="461429" y="177026"/>
                    </a:cubicBezTo>
                    <a:cubicBezTo>
                      <a:pt x="458636" y="176262"/>
                      <a:pt x="455673" y="176672"/>
                      <a:pt x="453222" y="178165"/>
                    </a:cubicBezTo>
                    <a:cubicBezTo>
                      <a:pt x="451228" y="180531"/>
                      <a:pt x="450315" y="183654"/>
                      <a:pt x="450828" y="186715"/>
                    </a:cubicBezTo>
                    <a:cubicBezTo>
                      <a:pt x="450771" y="188077"/>
                      <a:pt x="450999" y="189439"/>
                      <a:pt x="451512" y="190704"/>
                    </a:cubicBezTo>
                    <a:cubicBezTo>
                      <a:pt x="452710" y="192608"/>
                      <a:pt x="454590" y="193993"/>
                      <a:pt x="456756" y="194580"/>
                    </a:cubicBezTo>
                    <a:cubicBezTo>
                      <a:pt x="459492" y="195657"/>
                      <a:pt x="462341" y="196535"/>
                      <a:pt x="465248" y="197202"/>
                    </a:cubicBezTo>
                    <a:cubicBezTo>
                      <a:pt x="468269" y="198194"/>
                      <a:pt x="471517" y="197948"/>
                      <a:pt x="474367" y="196518"/>
                    </a:cubicBezTo>
                    <a:cubicBezTo>
                      <a:pt x="476248" y="195224"/>
                      <a:pt x="477274" y="193081"/>
                      <a:pt x="477217" y="190818"/>
                    </a:cubicBezTo>
                    <a:cubicBezTo>
                      <a:pt x="476989" y="188527"/>
                      <a:pt x="475564" y="186521"/>
                      <a:pt x="473512" y="185518"/>
                    </a:cubicBezTo>
                    <a:cubicBezTo>
                      <a:pt x="470605" y="184794"/>
                      <a:pt x="467642" y="184412"/>
                      <a:pt x="464621" y="184378"/>
                    </a:cubicBezTo>
                    <a:cubicBezTo>
                      <a:pt x="463709" y="181984"/>
                      <a:pt x="465191" y="178679"/>
                      <a:pt x="463082" y="177425"/>
                    </a:cubicBezTo>
                    <a:close/>
                    <a:moveTo>
                      <a:pt x="200108" y="172124"/>
                    </a:moveTo>
                    <a:cubicBezTo>
                      <a:pt x="198798" y="170414"/>
                      <a:pt x="197886" y="168420"/>
                      <a:pt x="196632" y="166710"/>
                    </a:cubicBezTo>
                    <a:cubicBezTo>
                      <a:pt x="192471" y="161010"/>
                      <a:pt x="184834" y="159243"/>
                      <a:pt x="178337" y="156394"/>
                    </a:cubicBezTo>
                    <a:cubicBezTo>
                      <a:pt x="171839" y="153544"/>
                      <a:pt x="165228" y="147503"/>
                      <a:pt x="166938" y="140606"/>
                    </a:cubicBezTo>
                    <a:cubicBezTo>
                      <a:pt x="161637" y="144140"/>
                      <a:pt x="154456" y="139010"/>
                      <a:pt x="152005" y="133083"/>
                    </a:cubicBezTo>
                    <a:cubicBezTo>
                      <a:pt x="150067" y="127201"/>
                      <a:pt x="147674" y="121479"/>
                      <a:pt x="144824" y="115984"/>
                    </a:cubicBezTo>
                    <a:cubicBezTo>
                      <a:pt x="145792" y="112508"/>
                      <a:pt x="142772" y="109202"/>
                      <a:pt x="139523" y="107663"/>
                    </a:cubicBezTo>
                    <a:cubicBezTo>
                      <a:pt x="136161" y="106523"/>
                      <a:pt x="132911" y="105013"/>
                      <a:pt x="129834" y="103160"/>
                    </a:cubicBezTo>
                    <a:cubicBezTo>
                      <a:pt x="127041" y="100938"/>
                      <a:pt x="125844" y="96093"/>
                      <a:pt x="128751" y="93984"/>
                    </a:cubicBezTo>
                    <a:cubicBezTo>
                      <a:pt x="130746" y="92924"/>
                      <a:pt x="133140" y="92679"/>
                      <a:pt x="135305" y="93300"/>
                    </a:cubicBezTo>
                    <a:cubicBezTo>
                      <a:pt x="141005" y="94041"/>
                      <a:pt x="148699" y="91933"/>
                      <a:pt x="148756" y="86176"/>
                    </a:cubicBezTo>
                    <a:cubicBezTo>
                      <a:pt x="148813" y="80420"/>
                      <a:pt x="142373" y="78311"/>
                      <a:pt x="137357" y="77285"/>
                    </a:cubicBezTo>
                    <a:cubicBezTo>
                      <a:pt x="124933" y="74834"/>
                      <a:pt x="111083" y="71585"/>
                      <a:pt x="104414" y="60813"/>
                    </a:cubicBezTo>
                    <a:cubicBezTo>
                      <a:pt x="102933" y="58363"/>
                      <a:pt x="101850" y="55570"/>
                      <a:pt x="100254" y="53176"/>
                    </a:cubicBezTo>
                    <a:cubicBezTo>
                      <a:pt x="98658" y="51096"/>
                      <a:pt x="96891" y="49181"/>
                      <a:pt x="94896" y="47477"/>
                    </a:cubicBezTo>
                    <a:cubicBezTo>
                      <a:pt x="87772" y="39623"/>
                      <a:pt x="79109" y="33388"/>
                      <a:pt x="69363" y="29181"/>
                    </a:cubicBezTo>
                    <a:cubicBezTo>
                      <a:pt x="65658" y="28304"/>
                      <a:pt x="62124" y="26862"/>
                      <a:pt x="58875" y="24907"/>
                    </a:cubicBezTo>
                    <a:cubicBezTo>
                      <a:pt x="55570" y="22513"/>
                      <a:pt x="53632" y="18580"/>
                      <a:pt x="50326" y="16130"/>
                    </a:cubicBezTo>
                    <a:cubicBezTo>
                      <a:pt x="43259" y="10829"/>
                      <a:pt x="32943" y="14135"/>
                      <a:pt x="24793" y="10772"/>
                    </a:cubicBezTo>
                    <a:cubicBezTo>
                      <a:pt x="20575" y="9062"/>
                      <a:pt x="17270" y="5643"/>
                      <a:pt x="13394" y="3534"/>
                    </a:cubicBezTo>
                    <a:cubicBezTo>
                      <a:pt x="9518" y="1773"/>
                      <a:pt x="5471" y="587"/>
                      <a:pt x="1254" y="0"/>
                    </a:cubicBezTo>
                    <a:lnTo>
                      <a:pt x="0" y="0"/>
                    </a:lnTo>
                    <a:lnTo>
                      <a:pt x="0" y="143057"/>
                    </a:lnTo>
                    <a:cubicBezTo>
                      <a:pt x="912" y="142948"/>
                      <a:pt x="1767" y="142760"/>
                      <a:pt x="2622" y="142487"/>
                    </a:cubicBezTo>
                    <a:cubicBezTo>
                      <a:pt x="1197" y="149383"/>
                      <a:pt x="9233" y="154684"/>
                      <a:pt x="16243" y="155083"/>
                    </a:cubicBezTo>
                    <a:cubicBezTo>
                      <a:pt x="23254" y="155482"/>
                      <a:pt x="30378" y="153088"/>
                      <a:pt x="37161" y="154684"/>
                    </a:cubicBezTo>
                    <a:cubicBezTo>
                      <a:pt x="38814" y="149440"/>
                      <a:pt x="43829" y="146134"/>
                      <a:pt x="47819" y="142316"/>
                    </a:cubicBezTo>
                    <a:cubicBezTo>
                      <a:pt x="51808" y="138497"/>
                      <a:pt x="54943" y="132342"/>
                      <a:pt x="51979" y="127725"/>
                    </a:cubicBezTo>
                    <a:cubicBezTo>
                      <a:pt x="55684" y="129036"/>
                      <a:pt x="59503" y="125958"/>
                      <a:pt x="61612" y="122653"/>
                    </a:cubicBezTo>
                    <a:cubicBezTo>
                      <a:pt x="63207" y="119091"/>
                      <a:pt x="65658" y="115962"/>
                      <a:pt x="68736" y="113534"/>
                    </a:cubicBezTo>
                    <a:cubicBezTo>
                      <a:pt x="73922" y="111573"/>
                      <a:pt x="79793" y="112741"/>
                      <a:pt x="83839" y="116554"/>
                    </a:cubicBezTo>
                    <a:cubicBezTo>
                      <a:pt x="87772" y="120356"/>
                      <a:pt x="92445" y="123251"/>
                      <a:pt x="97632" y="125046"/>
                    </a:cubicBezTo>
                    <a:cubicBezTo>
                      <a:pt x="99684" y="125138"/>
                      <a:pt x="101621" y="125765"/>
                      <a:pt x="103331" y="126870"/>
                    </a:cubicBezTo>
                    <a:cubicBezTo>
                      <a:pt x="104870" y="128238"/>
                      <a:pt x="105155" y="130575"/>
                      <a:pt x="106295" y="132570"/>
                    </a:cubicBezTo>
                    <a:cubicBezTo>
                      <a:pt x="108233" y="135591"/>
                      <a:pt x="111995" y="136331"/>
                      <a:pt x="115414" y="137927"/>
                    </a:cubicBezTo>
                    <a:cubicBezTo>
                      <a:pt x="118834" y="139523"/>
                      <a:pt x="121456" y="143627"/>
                      <a:pt x="119062" y="146420"/>
                    </a:cubicBezTo>
                    <a:cubicBezTo>
                      <a:pt x="125445" y="149919"/>
                      <a:pt x="128295" y="157551"/>
                      <a:pt x="125787" y="164373"/>
                    </a:cubicBezTo>
                    <a:cubicBezTo>
                      <a:pt x="131943" y="164658"/>
                      <a:pt x="139751" y="166197"/>
                      <a:pt x="140948" y="172295"/>
                    </a:cubicBezTo>
                    <a:cubicBezTo>
                      <a:pt x="141005" y="173743"/>
                      <a:pt x="141347" y="175167"/>
                      <a:pt x="141860" y="176513"/>
                    </a:cubicBezTo>
                    <a:cubicBezTo>
                      <a:pt x="143114" y="178012"/>
                      <a:pt x="144938" y="178872"/>
                      <a:pt x="146876" y="178850"/>
                    </a:cubicBezTo>
                    <a:cubicBezTo>
                      <a:pt x="158274" y="179876"/>
                      <a:pt x="170243" y="176000"/>
                      <a:pt x="181072" y="180160"/>
                    </a:cubicBezTo>
                    <a:cubicBezTo>
                      <a:pt x="185575" y="182406"/>
                      <a:pt x="190020" y="184880"/>
                      <a:pt x="194295" y="187570"/>
                    </a:cubicBezTo>
                    <a:cubicBezTo>
                      <a:pt x="198684" y="190260"/>
                      <a:pt x="204155" y="190602"/>
                      <a:pt x="208886" y="188482"/>
                    </a:cubicBezTo>
                    <a:cubicBezTo>
                      <a:pt x="208886" y="184834"/>
                      <a:pt x="208886" y="181186"/>
                      <a:pt x="208886" y="177539"/>
                    </a:cubicBezTo>
                    <a:cubicBezTo>
                      <a:pt x="205352" y="177026"/>
                      <a:pt x="202217" y="175059"/>
                      <a:pt x="200223" y="1721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0" name="Freihandform: Form 724">
                <a:extLst>
                  <a:ext uri="{FF2B5EF4-FFF2-40B4-BE49-F238E27FC236}">
                    <a16:creationId xmlns:a16="http://schemas.microsoft.com/office/drawing/2014/main" id="{9C2EDE49-55BF-733C-3C7E-B34B3BA4CC01}"/>
                  </a:ext>
                </a:extLst>
              </p:cNvPr>
              <p:cNvSpPr/>
              <p:nvPr/>
            </p:nvSpPr>
            <p:spPr>
              <a:xfrm>
                <a:off x="5818894" y="4130837"/>
                <a:ext cx="1002353" cy="377990"/>
              </a:xfrm>
              <a:custGeom>
                <a:avLst/>
                <a:gdLst>
                  <a:gd name="connsiteX0" fmla="*/ 673038 w 1002353"/>
                  <a:gd name="connsiteY0" fmla="*/ 212191 h 377990"/>
                  <a:gd name="connsiteX1" fmla="*/ 671442 w 1002353"/>
                  <a:gd name="connsiteY1" fmla="*/ 204782 h 377990"/>
                  <a:gd name="connsiteX2" fmla="*/ 673665 w 1002353"/>
                  <a:gd name="connsiteY2" fmla="*/ 196461 h 377990"/>
                  <a:gd name="connsiteX3" fmla="*/ 677655 w 1002353"/>
                  <a:gd name="connsiteY3" fmla="*/ 195948 h 377990"/>
                  <a:gd name="connsiteX4" fmla="*/ 683354 w 1002353"/>
                  <a:gd name="connsiteY4" fmla="*/ 197373 h 377990"/>
                  <a:gd name="connsiteX5" fmla="*/ 686774 w 1002353"/>
                  <a:gd name="connsiteY5" fmla="*/ 202103 h 377990"/>
                  <a:gd name="connsiteX6" fmla="*/ 687457 w 1002353"/>
                  <a:gd name="connsiteY6" fmla="*/ 205751 h 377990"/>
                  <a:gd name="connsiteX7" fmla="*/ 690022 w 1002353"/>
                  <a:gd name="connsiteY7" fmla="*/ 206720 h 377990"/>
                  <a:gd name="connsiteX8" fmla="*/ 697830 w 1002353"/>
                  <a:gd name="connsiteY8" fmla="*/ 210425 h 377990"/>
                  <a:gd name="connsiteX9" fmla="*/ 698287 w 1002353"/>
                  <a:gd name="connsiteY9" fmla="*/ 222906 h 377990"/>
                  <a:gd name="connsiteX10" fmla="*/ 696064 w 1002353"/>
                  <a:gd name="connsiteY10" fmla="*/ 225579 h 377990"/>
                  <a:gd name="connsiteX11" fmla="*/ 695664 w 1002353"/>
                  <a:gd name="connsiteY11" fmla="*/ 225585 h 377990"/>
                  <a:gd name="connsiteX12" fmla="*/ 685519 w 1002353"/>
                  <a:gd name="connsiteY12" fmla="*/ 224217 h 377990"/>
                  <a:gd name="connsiteX13" fmla="*/ 683012 w 1002353"/>
                  <a:gd name="connsiteY13" fmla="*/ 220228 h 377990"/>
                  <a:gd name="connsiteX14" fmla="*/ 680447 w 1002353"/>
                  <a:gd name="connsiteY14" fmla="*/ 214528 h 377990"/>
                  <a:gd name="connsiteX15" fmla="*/ 676059 w 1002353"/>
                  <a:gd name="connsiteY15" fmla="*/ 213502 h 377990"/>
                  <a:gd name="connsiteX16" fmla="*/ 673038 w 1002353"/>
                  <a:gd name="connsiteY16" fmla="*/ 212191 h 377990"/>
                  <a:gd name="connsiteX17" fmla="*/ 591820 w 1002353"/>
                  <a:gd name="connsiteY17" fmla="*/ 118207 h 377990"/>
                  <a:gd name="connsiteX18" fmla="*/ 605556 w 1002353"/>
                  <a:gd name="connsiteY18" fmla="*/ 120031 h 377990"/>
                  <a:gd name="connsiteX19" fmla="*/ 624706 w 1002353"/>
                  <a:gd name="connsiteY19" fmla="*/ 126870 h 377990"/>
                  <a:gd name="connsiteX20" fmla="*/ 638043 w 1002353"/>
                  <a:gd name="connsiteY20" fmla="*/ 113591 h 377990"/>
                  <a:gd name="connsiteX21" fmla="*/ 643742 w 1002353"/>
                  <a:gd name="connsiteY21" fmla="*/ 109715 h 377990"/>
                  <a:gd name="connsiteX22" fmla="*/ 650695 w 1002353"/>
                  <a:gd name="connsiteY22" fmla="*/ 95808 h 377990"/>
                  <a:gd name="connsiteX23" fmla="*/ 638328 w 1002353"/>
                  <a:gd name="connsiteY23" fmla="*/ 97689 h 377990"/>
                  <a:gd name="connsiteX24" fmla="*/ 636903 w 1002353"/>
                  <a:gd name="connsiteY24" fmla="*/ 99684 h 377990"/>
                  <a:gd name="connsiteX25" fmla="*/ 634680 w 1002353"/>
                  <a:gd name="connsiteY25" fmla="*/ 100368 h 377990"/>
                  <a:gd name="connsiteX26" fmla="*/ 627613 w 1002353"/>
                  <a:gd name="connsiteY26" fmla="*/ 101337 h 377990"/>
                  <a:gd name="connsiteX27" fmla="*/ 625504 w 1002353"/>
                  <a:gd name="connsiteY27" fmla="*/ 109122 h 377990"/>
                  <a:gd name="connsiteX28" fmla="*/ 625390 w 1002353"/>
                  <a:gd name="connsiteY28" fmla="*/ 109202 h 377990"/>
                  <a:gd name="connsiteX29" fmla="*/ 616157 w 1002353"/>
                  <a:gd name="connsiteY29" fmla="*/ 110000 h 377990"/>
                  <a:gd name="connsiteX30" fmla="*/ 594556 w 1002353"/>
                  <a:gd name="connsiteY30" fmla="*/ 107549 h 377990"/>
                  <a:gd name="connsiteX31" fmla="*/ 588856 w 1002353"/>
                  <a:gd name="connsiteY31" fmla="*/ 105041 h 377990"/>
                  <a:gd name="connsiteX32" fmla="*/ 587374 w 1002353"/>
                  <a:gd name="connsiteY32" fmla="*/ 101337 h 377990"/>
                  <a:gd name="connsiteX33" fmla="*/ 583670 w 1002353"/>
                  <a:gd name="connsiteY33" fmla="*/ 100311 h 377990"/>
                  <a:gd name="connsiteX34" fmla="*/ 559162 w 1002353"/>
                  <a:gd name="connsiteY34" fmla="*/ 101679 h 377990"/>
                  <a:gd name="connsiteX35" fmla="*/ 555572 w 1002353"/>
                  <a:gd name="connsiteY35" fmla="*/ 102761 h 377990"/>
                  <a:gd name="connsiteX36" fmla="*/ 551696 w 1002353"/>
                  <a:gd name="connsiteY36" fmla="*/ 112736 h 377990"/>
                  <a:gd name="connsiteX37" fmla="*/ 545369 w 1002353"/>
                  <a:gd name="connsiteY37" fmla="*/ 113192 h 377990"/>
                  <a:gd name="connsiteX38" fmla="*/ 539670 w 1002353"/>
                  <a:gd name="connsiteY38" fmla="*/ 115528 h 377990"/>
                  <a:gd name="connsiteX39" fmla="*/ 539670 w 1002353"/>
                  <a:gd name="connsiteY39" fmla="*/ 117808 h 377990"/>
                  <a:gd name="connsiteX40" fmla="*/ 530779 w 1002353"/>
                  <a:gd name="connsiteY40" fmla="*/ 132570 h 377990"/>
                  <a:gd name="connsiteX41" fmla="*/ 549986 w 1002353"/>
                  <a:gd name="connsiteY41" fmla="*/ 130062 h 377990"/>
                  <a:gd name="connsiteX42" fmla="*/ 554375 w 1002353"/>
                  <a:gd name="connsiteY42" fmla="*/ 128295 h 377990"/>
                  <a:gd name="connsiteX43" fmla="*/ 556654 w 1002353"/>
                  <a:gd name="connsiteY43" fmla="*/ 118378 h 377990"/>
                  <a:gd name="connsiteX44" fmla="*/ 559732 w 1002353"/>
                  <a:gd name="connsiteY44" fmla="*/ 117808 h 377990"/>
                  <a:gd name="connsiteX45" fmla="*/ 585038 w 1002353"/>
                  <a:gd name="connsiteY45" fmla="*/ 118150 h 377990"/>
                  <a:gd name="connsiteX46" fmla="*/ 592276 w 1002353"/>
                  <a:gd name="connsiteY46" fmla="*/ 163803 h 377990"/>
                  <a:gd name="connsiteX47" fmla="*/ 601167 w 1002353"/>
                  <a:gd name="connsiteY47" fmla="*/ 160098 h 377990"/>
                  <a:gd name="connsiteX48" fmla="*/ 611199 w 1002353"/>
                  <a:gd name="connsiteY48" fmla="*/ 154741 h 377990"/>
                  <a:gd name="connsiteX49" fmla="*/ 610515 w 1002353"/>
                  <a:gd name="connsiteY49" fmla="*/ 144140 h 377990"/>
                  <a:gd name="connsiteX50" fmla="*/ 599971 w 1002353"/>
                  <a:gd name="connsiteY50" fmla="*/ 143513 h 377990"/>
                  <a:gd name="connsiteX51" fmla="*/ 589256 w 1002353"/>
                  <a:gd name="connsiteY51" fmla="*/ 145508 h 377990"/>
                  <a:gd name="connsiteX52" fmla="*/ 582872 w 1002353"/>
                  <a:gd name="connsiteY52" fmla="*/ 145508 h 377990"/>
                  <a:gd name="connsiteX53" fmla="*/ 581276 w 1002353"/>
                  <a:gd name="connsiteY53" fmla="*/ 148357 h 377990"/>
                  <a:gd name="connsiteX54" fmla="*/ 575577 w 1002353"/>
                  <a:gd name="connsiteY54" fmla="*/ 153316 h 377990"/>
                  <a:gd name="connsiteX55" fmla="*/ 564178 w 1002353"/>
                  <a:gd name="connsiteY55" fmla="*/ 161694 h 377990"/>
                  <a:gd name="connsiteX56" fmla="*/ 550898 w 1002353"/>
                  <a:gd name="connsiteY56" fmla="*/ 163461 h 377990"/>
                  <a:gd name="connsiteX57" fmla="*/ 547877 w 1002353"/>
                  <a:gd name="connsiteY57" fmla="*/ 157762 h 377990"/>
                  <a:gd name="connsiteX58" fmla="*/ 540924 w 1002353"/>
                  <a:gd name="connsiteY58" fmla="*/ 157305 h 377990"/>
                  <a:gd name="connsiteX59" fmla="*/ 540924 w 1002353"/>
                  <a:gd name="connsiteY59" fmla="*/ 147331 h 377990"/>
                  <a:gd name="connsiteX60" fmla="*/ 531349 w 1002353"/>
                  <a:gd name="connsiteY60" fmla="*/ 144938 h 377990"/>
                  <a:gd name="connsiteX61" fmla="*/ 526732 w 1002353"/>
                  <a:gd name="connsiteY61" fmla="*/ 146989 h 377990"/>
                  <a:gd name="connsiteX62" fmla="*/ 521032 w 1002353"/>
                  <a:gd name="connsiteY62" fmla="*/ 170813 h 377990"/>
                  <a:gd name="connsiteX63" fmla="*/ 517043 w 1002353"/>
                  <a:gd name="connsiteY63" fmla="*/ 174632 h 377990"/>
                  <a:gd name="connsiteX64" fmla="*/ 519380 w 1002353"/>
                  <a:gd name="connsiteY64" fmla="*/ 180331 h 377990"/>
                  <a:gd name="connsiteX65" fmla="*/ 514991 w 1002353"/>
                  <a:gd name="connsiteY65" fmla="*/ 191730 h 377990"/>
                  <a:gd name="connsiteX66" fmla="*/ 506556 w 1002353"/>
                  <a:gd name="connsiteY66" fmla="*/ 201533 h 377990"/>
                  <a:gd name="connsiteX67" fmla="*/ 515675 w 1002353"/>
                  <a:gd name="connsiteY67" fmla="*/ 214984 h 377990"/>
                  <a:gd name="connsiteX68" fmla="*/ 533229 w 1002353"/>
                  <a:gd name="connsiteY68" fmla="*/ 217948 h 377990"/>
                  <a:gd name="connsiteX69" fmla="*/ 533229 w 1002353"/>
                  <a:gd name="connsiteY69" fmla="*/ 236870 h 377990"/>
                  <a:gd name="connsiteX70" fmla="*/ 534370 w 1002353"/>
                  <a:gd name="connsiteY70" fmla="*/ 245248 h 377990"/>
                  <a:gd name="connsiteX71" fmla="*/ 532033 w 1002353"/>
                  <a:gd name="connsiteY71" fmla="*/ 249067 h 377990"/>
                  <a:gd name="connsiteX72" fmla="*/ 533344 w 1002353"/>
                  <a:gd name="connsiteY72" fmla="*/ 274031 h 377990"/>
                  <a:gd name="connsiteX73" fmla="*/ 541950 w 1002353"/>
                  <a:gd name="connsiteY73" fmla="*/ 269186 h 377990"/>
                  <a:gd name="connsiteX74" fmla="*/ 544514 w 1002353"/>
                  <a:gd name="connsiteY74" fmla="*/ 259668 h 377990"/>
                  <a:gd name="connsiteX75" fmla="*/ 551525 w 1002353"/>
                  <a:gd name="connsiteY75" fmla="*/ 254311 h 377990"/>
                  <a:gd name="connsiteX76" fmla="*/ 549074 w 1002353"/>
                  <a:gd name="connsiteY76" fmla="*/ 245077 h 377990"/>
                  <a:gd name="connsiteX77" fmla="*/ 543773 w 1002353"/>
                  <a:gd name="connsiteY77" fmla="*/ 241202 h 377990"/>
                  <a:gd name="connsiteX78" fmla="*/ 539271 w 1002353"/>
                  <a:gd name="connsiteY78" fmla="*/ 227181 h 377990"/>
                  <a:gd name="connsiteX79" fmla="*/ 542348 w 1002353"/>
                  <a:gd name="connsiteY79" fmla="*/ 218518 h 377990"/>
                  <a:gd name="connsiteX80" fmla="*/ 540924 w 1002353"/>
                  <a:gd name="connsiteY80" fmla="*/ 211337 h 377990"/>
                  <a:gd name="connsiteX81" fmla="*/ 540924 w 1002353"/>
                  <a:gd name="connsiteY81" fmla="*/ 201704 h 377990"/>
                  <a:gd name="connsiteX82" fmla="*/ 548048 w 1002353"/>
                  <a:gd name="connsiteY82" fmla="*/ 195720 h 377990"/>
                  <a:gd name="connsiteX83" fmla="*/ 556996 w 1002353"/>
                  <a:gd name="connsiteY83" fmla="*/ 200679 h 377990"/>
                  <a:gd name="connsiteX84" fmla="*/ 559048 w 1002353"/>
                  <a:gd name="connsiteY84" fmla="*/ 211222 h 377990"/>
                  <a:gd name="connsiteX85" fmla="*/ 558650 w 1002353"/>
                  <a:gd name="connsiteY85" fmla="*/ 221881 h 377990"/>
                  <a:gd name="connsiteX86" fmla="*/ 565260 w 1002353"/>
                  <a:gd name="connsiteY86" fmla="*/ 229347 h 377990"/>
                  <a:gd name="connsiteX87" fmla="*/ 570960 w 1002353"/>
                  <a:gd name="connsiteY87" fmla="*/ 229803 h 377990"/>
                  <a:gd name="connsiteX88" fmla="*/ 573354 w 1002353"/>
                  <a:gd name="connsiteY88" fmla="*/ 235502 h 377990"/>
                  <a:gd name="connsiteX89" fmla="*/ 573354 w 1002353"/>
                  <a:gd name="connsiteY89" fmla="*/ 242114 h 377990"/>
                  <a:gd name="connsiteX90" fmla="*/ 578198 w 1002353"/>
                  <a:gd name="connsiteY90" fmla="*/ 245191 h 377990"/>
                  <a:gd name="connsiteX91" fmla="*/ 588572 w 1002353"/>
                  <a:gd name="connsiteY91" fmla="*/ 239948 h 377990"/>
                  <a:gd name="connsiteX92" fmla="*/ 594271 w 1002353"/>
                  <a:gd name="connsiteY92" fmla="*/ 240290 h 377990"/>
                  <a:gd name="connsiteX93" fmla="*/ 600768 w 1002353"/>
                  <a:gd name="connsiteY93" fmla="*/ 232026 h 377990"/>
                  <a:gd name="connsiteX94" fmla="*/ 594271 w 1002353"/>
                  <a:gd name="connsiteY94" fmla="*/ 223135 h 377990"/>
                  <a:gd name="connsiteX95" fmla="*/ 591649 w 1002353"/>
                  <a:gd name="connsiteY95" fmla="*/ 221596 h 377990"/>
                  <a:gd name="connsiteX96" fmla="*/ 590509 w 1002353"/>
                  <a:gd name="connsiteY96" fmla="*/ 218575 h 377990"/>
                  <a:gd name="connsiteX97" fmla="*/ 587317 w 1002353"/>
                  <a:gd name="connsiteY97" fmla="*/ 195264 h 377990"/>
                  <a:gd name="connsiteX98" fmla="*/ 585494 w 1002353"/>
                  <a:gd name="connsiteY98" fmla="*/ 192756 h 377990"/>
                  <a:gd name="connsiteX99" fmla="*/ 585892 w 1002353"/>
                  <a:gd name="connsiteY99" fmla="*/ 185746 h 377990"/>
                  <a:gd name="connsiteX100" fmla="*/ 577970 w 1002353"/>
                  <a:gd name="connsiteY100" fmla="*/ 182953 h 377990"/>
                  <a:gd name="connsiteX101" fmla="*/ 572271 w 1002353"/>
                  <a:gd name="connsiteY101" fmla="*/ 174575 h 377990"/>
                  <a:gd name="connsiteX102" fmla="*/ 583328 w 1002353"/>
                  <a:gd name="connsiteY102" fmla="*/ 174575 h 377990"/>
                  <a:gd name="connsiteX103" fmla="*/ 591592 w 1002353"/>
                  <a:gd name="connsiteY103" fmla="*/ 167907 h 377990"/>
                  <a:gd name="connsiteX104" fmla="*/ 592333 w 1002353"/>
                  <a:gd name="connsiteY104" fmla="*/ 164145 h 377990"/>
                  <a:gd name="connsiteX105" fmla="*/ 713846 w 1002353"/>
                  <a:gd name="connsiteY105" fmla="*/ 84979 h 377990"/>
                  <a:gd name="connsiteX106" fmla="*/ 706779 w 1002353"/>
                  <a:gd name="connsiteY106" fmla="*/ 84979 h 377990"/>
                  <a:gd name="connsiteX107" fmla="*/ 704727 w 1002353"/>
                  <a:gd name="connsiteY107" fmla="*/ 84979 h 377990"/>
                  <a:gd name="connsiteX108" fmla="*/ 703074 w 1002353"/>
                  <a:gd name="connsiteY108" fmla="*/ 88798 h 377990"/>
                  <a:gd name="connsiteX109" fmla="*/ 703701 w 1002353"/>
                  <a:gd name="connsiteY109" fmla="*/ 93186 h 377990"/>
                  <a:gd name="connsiteX110" fmla="*/ 698001 w 1002353"/>
                  <a:gd name="connsiteY110" fmla="*/ 104585 h 377990"/>
                  <a:gd name="connsiteX111" fmla="*/ 704271 w 1002353"/>
                  <a:gd name="connsiteY111" fmla="*/ 117808 h 377990"/>
                  <a:gd name="connsiteX112" fmla="*/ 706436 w 1002353"/>
                  <a:gd name="connsiteY112" fmla="*/ 129207 h 377990"/>
                  <a:gd name="connsiteX113" fmla="*/ 709002 w 1002353"/>
                  <a:gd name="connsiteY113" fmla="*/ 133767 h 377990"/>
                  <a:gd name="connsiteX114" fmla="*/ 710540 w 1002353"/>
                  <a:gd name="connsiteY114" fmla="*/ 133083 h 377990"/>
                  <a:gd name="connsiteX115" fmla="*/ 720229 w 1002353"/>
                  <a:gd name="connsiteY115" fmla="*/ 128979 h 377990"/>
                  <a:gd name="connsiteX116" fmla="*/ 725131 w 1002353"/>
                  <a:gd name="connsiteY116" fmla="*/ 116212 h 377990"/>
                  <a:gd name="connsiteX117" fmla="*/ 731685 w 1002353"/>
                  <a:gd name="connsiteY117" fmla="*/ 115015 h 377990"/>
                  <a:gd name="connsiteX118" fmla="*/ 733509 w 1002353"/>
                  <a:gd name="connsiteY118" fmla="*/ 105839 h 377990"/>
                  <a:gd name="connsiteX119" fmla="*/ 717323 w 1002353"/>
                  <a:gd name="connsiteY119" fmla="*/ 95295 h 377990"/>
                  <a:gd name="connsiteX120" fmla="*/ 716182 w 1002353"/>
                  <a:gd name="connsiteY120" fmla="*/ 94611 h 377990"/>
                  <a:gd name="connsiteX121" fmla="*/ 716182 w 1002353"/>
                  <a:gd name="connsiteY121" fmla="*/ 93129 h 377990"/>
                  <a:gd name="connsiteX122" fmla="*/ 716182 w 1002353"/>
                  <a:gd name="connsiteY122" fmla="*/ 86746 h 377990"/>
                  <a:gd name="connsiteX123" fmla="*/ 716182 w 1002353"/>
                  <a:gd name="connsiteY123" fmla="*/ 85150 h 377990"/>
                  <a:gd name="connsiteX124" fmla="*/ 713903 w 1002353"/>
                  <a:gd name="connsiteY124" fmla="*/ 85321 h 377990"/>
                  <a:gd name="connsiteX125" fmla="*/ 749411 w 1002353"/>
                  <a:gd name="connsiteY125" fmla="*/ 215041 h 377990"/>
                  <a:gd name="connsiteX126" fmla="*/ 761665 w 1002353"/>
                  <a:gd name="connsiteY126" fmla="*/ 216124 h 377990"/>
                  <a:gd name="connsiteX127" fmla="*/ 765825 w 1002353"/>
                  <a:gd name="connsiteY127" fmla="*/ 219943 h 377990"/>
                  <a:gd name="connsiteX128" fmla="*/ 777566 w 1002353"/>
                  <a:gd name="connsiteY128" fmla="*/ 223305 h 377990"/>
                  <a:gd name="connsiteX129" fmla="*/ 780473 w 1002353"/>
                  <a:gd name="connsiteY129" fmla="*/ 214255 h 377990"/>
                  <a:gd name="connsiteX130" fmla="*/ 776027 w 1002353"/>
                  <a:gd name="connsiteY130" fmla="*/ 210767 h 377990"/>
                  <a:gd name="connsiteX131" fmla="*/ 773576 w 1002353"/>
                  <a:gd name="connsiteY131" fmla="*/ 210140 h 377990"/>
                  <a:gd name="connsiteX132" fmla="*/ 769245 w 1002353"/>
                  <a:gd name="connsiteY132" fmla="*/ 205580 h 377990"/>
                  <a:gd name="connsiteX133" fmla="*/ 764685 w 1002353"/>
                  <a:gd name="connsiteY133" fmla="*/ 205580 h 377990"/>
                  <a:gd name="connsiteX134" fmla="*/ 763374 w 1002353"/>
                  <a:gd name="connsiteY134" fmla="*/ 201419 h 377990"/>
                  <a:gd name="connsiteX135" fmla="*/ 757675 w 1002353"/>
                  <a:gd name="connsiteY135" fmla="*/ 199140 h 377990"/>
                  <a:gd name="connsiteX136" fmla="*/ 728095 w 1002353"/>
                  <a:gd name="connsiteY136" fmla="*/ 199482 h 377990"/>
                  <a:gd name="connsiteX137" fmla="*/ 719431 w 1002353"/>
                  <a:gd name="connsiteY137" fmla="*/ 202388 h 377990"/>
                  <a:gd name="connsiteX138" fmla="*/ 718348 w 1002353"/>
                  <a:gd name="connsiteY138" fmla="*/ 211109 h 377990"/>
                  <a:gd name="connsiteX139" fmla="*/ 718348 w 1002353"/>
                  <a:gd name="connsiteY139" fmla="*/ 214129 h 377990"/>
                  <a:gd name="connsiteX140" fmla="*/ 721141 w 1002353"/>
                  <a:gd name="connsiteY140" fmla="*/ 215554 h 377990"/>
                  <a:gd name="connsiteX141" fmla="*/ 739551 w 1002353"/>
                  <a:gd name="connsiteY141" fmla="*/ 213160 h 377990"/>
                  <a:gd name="connsiteX142" fmla="*/ 749468 w 1002353"/>
                  <a:gd name="connsiteY142" fmla="*/ 215383 h 377990"/>
                  <a:gd name="connsiteX143" fmla="*/ 573297 w 1002353"/>
                  <a:gd name="connsiteY143" fmla="*/ 332108 h 377990"/>
                  <a:gd name="connsiteX144" fmla="*/ 569877 w 1002353"/>
                  <a:gd name="connsiteY144" fmla="*/ 325383 h 377990"/>
                  <a:gd name="connsiteX145" fmla="*/ 562126 w 1002353"/>
                  <a:gd name="connsiteY145" fmla="*/ 323502 h 377990"/>
                  <a:gd name="connsiteX146" fmla="*/ 540297 w 1002353"/>
                  <a:gd name="connsiteY146" fmla="*/ 326580 h 377990"/>
                  <a:gd name="connsiteX147" fmla="*/ 527530 w 1002353"/>
                  <a:gd name="connsiteY147" fmla="*/ 340544 h 377990"/>
                  <a:gd name="connsiteX148" fmla="*/ 592105 w 1002353"/>
                  <a:gd name="connsiteY148" fmla="*/ 341741 h 377990"/>
                  <a:gd name="connsiteX149" fmla="*/ 607095 w 1002353"/>
                  <a:gd name="connsiteY149" fmla="*/ 334388 h 377990"/>
                  <a:gd name="connsiteX150" fmla="*/ 624193 w 1002353"/>
                  <a:gd name="connsiteY150" fmla="*/ 331139 h 377990"/>
                  <a:gd name="connsiteX151" fmla="*/ 625561 w 1002353"/>
                  <a:gd name="connsiteY151" fmla="*/ 326865 h 377990"/>
                  <a:gd name="connsiteX152" fmla="*/ 619862 w 1002353"/>
                  <a:gd name="connsiteY152" fmla="*/ 324129 h 377990"/>
                  <a:gd name="connsiteX153" fmla="*/ 584582 w 1002353"/>
                  <a:gd name="connsiteY153" fmla="*/ 328404 h 377990"/>
                  <a:gd name="connsiteX154" fmla="*/ 573354 w 1002353"/>
                  <a:gd name="connsiteY154" fmla="*/ 332450 h 377990"/>
                  <a:gd name="connsiteX155" fmla="*/ 560188 w 1002353"/>
                  <a:gd name="connsiteY155" fmla="*/ 367958 h 377990"/>
                  <a:gd name="connsiteX156" fmla="*/ 548447 w 1002353"/>
                  <a:gd name="connsiteY156" fmla="*/ 362658 h 377990"/>
                  <a:gd name="connsiteX157" fmla="*/ 545085 w 1002353"/>
                  <a:gd name="connsiteY157" fmla="*/ 357699 h 377990"/>
                  <a:gd name="connsiteX158" fmla="*/ 538929 w 1002353"/>
                  <a:gd name="connsiteY158" fmla="*/ 356502 h 377990"/>
                  <a:gd name="connsiteX159" fmla="*/ 517100 w 1002353"/>
                  <a:gd name="connsiteY159" fmla="*/ 355134 h 377990"/>
                  <a:gd name="connsiteX160" fmla="*/ 519437 w 1002353"/>
                  <a:gd name="connsiteY160" fmla="*/ 364139 h 377990"/>
                  <a:gd name="connsiteX161" fmla="*/ 529525 w 1002353"/>
                  <a:gd name="connsiteY161" fmla="*/ 366419 h 377990"/>
                  <a:gd name="connsiteX162" fmla="*/ 539613 w 1002353"/>
                  <a:gd name="connsiteY162" fmla="*/ 368756 h 377990"/>
                  <a:gd name="connsiteX163" fmla="*/ 546737 w 1002353"/>
                  <a:gd name="connsiteY163" fmla="*/ 375823 h 377990"/>
                  <a:gd name="connsiteX164" fmla="*/ 560473 w 1002353"/>
                  <a:gd name="connsiteY164" fmla="*/ 377362 h 377990"/>
                  <a:gd name="connsiteX165" fmla="*/ 560245 w 1002353"/>
                  <a:gd name="connsiteY165" fmla="*/ 368300 h 377990"/>
                  <a:gd name="connsiteX166" fmla="*/ 454919 w 1002353"/>
                  <a:gd name="connsiteY166" fmla="*/ 338549 h 377990"/>
                  <a:gd name="connsiteX167" fmla="*/ 455888 w 1002353"/>
                  <a:gd name="connsiteY167" fmla="*/ 344248 h 377990"/>
                  <a:gd name="connsiteX168" fmla="*/ 462442 w 1002353"/>
                  <a:gd name="connsiteY168" fmla="*/ 351886 h 377990"/>
                  <a:gd name="connsiteX169" fmla="*/ 479541 w 1002353"/>
                  <a:gd name="connsiteY169" fmla="*/ 351372 h 377990"/>
                  <a:gd name="connsiteX170" fmla="*/ 482162 w 1002353"/>
                  <a:gd name="connsiteY170" fmla="*/ 350005 h 377990"/>
                  <a:gd name="connsiteX171" fmla="*/ 484043 w 1002353"/>
                  <a:gd name="connsiteY171" fmla="*/ 347668 h 377990"/>
                  <a:gd name="connsiteX172" fmla="*/ 488375 w 1002353"/>
                  <a:gd name="connsiteY172" fmla="*/ 340885 h 377990"/>
                  <a:gd name="connsiteX173" fmla="*/ 510774 w 1002353"/>
                  <a:gd name="connsiteY173" fmla="*/ 338036 h 377990"/>
                  <a:gd name="connsiteX174" fmla="*/ 511287 w 1002353"/>
                  <a:gd name="connsiteY174" fmla="*/ 327036 h 377990"/>
                  <a:gd name="connsiteX175" fmla="*/ 482391 w 1002353"/>
                  <a:gd name="connsiteY175" fmla="*/ 330114 h 377990"/>
                  <a:gd name="connsiteX176" fmla="*/ 476691 w 1002353"/>
                  <a:gd name="connsiteY176" fmla="*/ 334445 h 377990"/>
                  <a:gd name="connsiteX177" fmla="*/ 470194 w 1002353"/>
                  <a:gd name="connsiteY177" fmla="*/ 334160 h 377990"/>
                  <a:gd name="connsiteX178" fmla="*/ 468312 w 1002353"/>
                  <a:gd name="connsiteY178" fmla="*/ 330911 h 377990"/>
                  <a:gd name="connsiteX179" fmla="*/ 465406 w 1002353"/>
                  <a:gd name="connsiteY179" fmla="*/ 323502 h 377990"/>
                  <a:gd name="connsiteX180" fmla="*/ 453551 w 1002353"/>
                  <a:gd name="connsiteY180" fmla="*/ 322704 h 377990"/>
                  <a:gd name="connsiteX181" fmla="*/ 454976 w 1002353"/>
                  <a:gd name="connsiteY181" fmla="*/ 338891 h 377990"/>
                  <a:gd name="connsiteX182" fmla="*/ 429100 w 1002353"/>
                  <a:gd name="connsiteY182" fmla="*/ 332849 h 377990"/>
                  <a:gd name="connsiteX183" fmla="*/ 437193 w 1002353"/>
                  <a:gd name="connsiteY183" fmla="*/ 336440 h 377990"/>
                  <a:gd name="connsiteX184" fmla="*/ 446996 w 1002353"/>
                  <a:gd name="connsiteY184" fmla="*/ 331082 h 377990"/>
                  <a:gd name="connsiteX185" fmla="*/ 440955 w 1002353"/>
                  <a:gd name="connsiteY185" fmla="*/ 324243 h 377990"/>
                  <a:gd name="connsiteX186" fmla="*/ 431836 w 1002353"/>
                  <a:gd name="connsiteY186" fmla="*/ 324756 h 377990"/>
                  <a:gd name="connsiteX187" fmla="*/ 429157 w 1002353"/>
                  <a:gd name="connsiteY187" fmla="*/ 333305 h 377990"/>
                  <a:gd name="connsiteX188" fmla="*/ 383504 w 1002353"/>
                  <a:gd name="connsiteY188" fmla="*/ 302870 h 377990"/>
                  <a:gd name="connsiteX189" fmla="*/ 390515 w 1002353"/>
                  <a:gd name="connsiteY189" fmla="*/ 302300 h 377990"/>
                  <a:gd name="connsiteX190" fmla="*/ 401572 w 1002353"/>
                  <a:gd name="connsiteY190" fmla="*/ 291813 h 377990"/>
                  <a:gd name="connsiteX191" fmla="*/ 348623 w 1002353"/>
                  <a:gd name="connsiteY191" fmla="*/ 294492 h 377990"/>
                  <a:gd name="connsiteX192" fmla="*/ 338763 w 1002353"/>
                  <a:gd name="connsiteY192" fmla="*/ 286057 h 377990"/>
                  <a:gd name="connsiteX193" fmla="*/ 324059 w 1002353"/>
                  <a:gd name="connsiteY193" fmla="*/ 291756 h 377990"/>
                  <a:gd name="connsiteX194" fmla="*/ 301261 w 1002353"/>
                  <a:gd name="connsiteY194" fmla="*/ 288108 h 377990"/>
                  <a:gd name="connsiteX195" fmla="*/ 293282 w 1002353"/>
                  <a:gd name="connsiteY195" fmla="*/ 286228 h 377990"/>
                  <a:gd name="connsiteX196" fmla="*/ 291914 w 1002353"/>
                  <a:gd name="connsiteY196" fmla="*/ 279274 h 377990"/>
                  <a:gd name="connsiteX197" fmla="*/ 277038 w 1002353"/>
                  <a:gd name="connsiteY197" fmla="*/ 275228 h 377990"/>
                  <a:gd name="connsiteX198" fmla="*/ 275898 w 1002353"/>
                  <a:gd name="connsiteY198" fmla="*/ 271466 h 377990"/>
                  <a:gd name="connsiteX199" fmla="*/ 270199 w 1002353"/>
                  <a:gd name="connsiteY199" fmla="*/ 269585 h 377990"/>
                  <a:gd name="connsiteX200" fmla="*/ 236458 w 1002353"/>
                  <a:gd name="connsiteY200" fmla="*/ 271295 h 377990"/>
                  <a:gd name="connsiteX201" fmla="*/ 219360 w 1002353"/>
                  <a:gd name="connsiteY201" fmla="*/ 286684 h 377990"/>
                  <a:gd name="connsiteX202" fmla="*/ 227111 w 1002353"/>
                  <a:gd name="connsiteY202" fmla="*/ 295176 h 377990"/>
                  <a:gd name="connsiteX203" fmla="*/ 239935 w 1002353"/>
                  <a:gd name="connsiteY203" fmla="*/ 295176 h 377990"/>
                  <a:gd name="connsiteX204" fmla="*/ 249453 w 1002353"/>
                  <a:gd name="connsiteY204" fmla="*/ 302129 h 377990"/>
                  <a:gd name="connsiteX205" fmla="*/ 249453 w 1002353"/>
                  <a:gd name="connsiteY205" fmla="*/ 305435 h 377990"/>
                  <a:gd name="connsiteX206" fmla="*/ 260852 w 1002353"/>
                  <a:gd name="connsiteY206" fmla="*/ 308798 h 377990"/>
                  <a:gd name="connsiteX207" fmla="*/ 266552 w 1002353"/>
                  <a:gd name="connsiteY207" fmla="*/ 313243 h 377990"/>
                  <a:gd name="connsiteX208" fmla="*/ 289463 w 1002353"/>
                  <a:gd name="connsiteY208" fmla="*/ 310918 h 377990"/>
                  <a:gd name="connsiteX209" fmla="*/ 290147 w 1002353"/>
                  <a:gd name="connsiteY209" fmla="*/ 310051 h 377990"/>
                  <a:gd name="connsiteX210" fmla="*/ 296303 w 1002353"/>
                  <a:gd name="connsiteY210" fmla="*/ 302813 h 377990"/>
                  <a:gd name="connsiteX211" fmla="*/ 306504 w 1002353"/>
                  <a:gd name="connsiteY211" fmla="*/ 306746 h 377990"/>
                  <a:gd name="connsiteX212" fmla="*/ 315965 w 1002353"/>
                  <a:gd name="connsiteY212" fmla="*/ 311248 h 377990"/>
                  <a:gd name="connsiteX213" fmla="*/ 318531 w 1002353"/>
                  <a:gd name="connsiteY213" fmla="*/ 316207 h 377990"/>
                  <a:gd name="connsiteX214" fmla="*/ 338820 w 1002353"/>
                  <a:gd name="connsiteY214" fmla="*/ 318487 h 377990"/>
                  <a:gd name="connsiteX215" fmla="*/ 374214 w 1002353"/>
                  <a:gd name="connsiteY215" fmla="*/ 314440 h 377990"/>
                  <a:gd name="connsiteX216" fmla="*/ 378318 w 1002353"/>
                  <a:gd name="connsiteY216" fmla="*/ 313927 h 377990"/>
                  <a:gd name="connsiteX217" fmla="*/ 383675 w 1002353"/>
                  <a:gd name="connsiteY217" fmla="*/ 303383 h 377990"/>
                  <a:gd name="connsiteX218" fmla="*/ 227567 w 1002353"/>
                  <a:gd name="connsiteY218" fmla="*/ 181243 h 377990"/>
                  <a:gd name="connsiteX219" fmla="*/ 233266 w 1002353"/>
                  <a:gd name="connsiteY219" fmla="*/ 193440 h 377990"/>
                  <a:gd name="connsiteX220" fmla="*/ 221126 w 1002353"/>
                  <a:gd name="connsiteY220" fmla="*/ 193440 h 377990"/>
                  <a:gd name="connsiteX221" fmla="*/ 204028 w 1002353"/>
                  <a:gd name="connsiteY221" fmla="*/ 174005 h 377990"/>
                  <a:gd name="connsiteX222" fmla="*/ 200267 w 1002353"/>
                  <a:gd name="connsiteY222" fmla="*/ 167109 h 377990"/>
                  <a:gd name="connsiteX223" fmla="*/ 191717 w 1002353"/>
                  <a:gd name="connsiteY223" fmla="*/ 163347 h 377990"/>
                  <a:gd name="connsiteX224" fmla="*/ 189209 w 1002353"/>
                  <a:gd name="connsiteY224" fmla="*/ 152803 h 377990"/>
                  <a:gd name="connsiteX225" fmla="*/ 176214 w 1002353"/>
                  <a:gd name="connsiteY225" fmla="*/ 152062 h 377990"/>
                  <a:gd name="connsiteX226" fmla="*/ 171997 w 1002353"/>
                  <a:gd name="connsiteY226" fmla="*/ 141330 h 377990"/>
                  <a:gd name="connsiteX227" fmla="*/ 172111 w 1002353"/>
                  <a:gd name="connsiteY227" fmla="*/ 141119 h 377990"/>
                  <a:gd name="connsiteX228" fmla="*/ 181401 w 1002353"/>
                  <a:gd name="connsiteY228" fmla="*/ 135249 h 377990"/>
                  <a:gd name="connsiteX229" fmla="*/ 175530 w 1002353"/>
                  <a:gd name="connsiteY229" fmla="*/ 125958 h 377990"/>
                  <a:gd name="connsiteX230" fmla="*/ 167381 w 1002353"/>
                  <a:gd name="connsiteY230" fmla="*/ 117147 h 377990"/>
                  <a:gd name="connsiteX231" fmla="*/ 165442 w 1002353"/>
                  <a:gd name="connsiteY231" fmla="*/ 117295 h 377990"/>
                  <a:gd name="connsiteX232" fmla="*/ 157178 w 1002353"/>
                  <a:gd name="connsiteY232" fmla="*/ 104357 h 377990"/>
                  <a:gd name="connsiteX233" fmla="*/ 144354 w 1002353"/>
                  <a:gd name="connsiteY233" fmla="*/ 94668 h 377990"/>
                  <a:gd name="connsiteX234" fmla="*/ 143671 w 1002353"/>
                  <a:gd name="connsiteY234" fmla="*/ 88513 h 377990"/>
                  <a:gd name="connsiteX235" fmla="*/ 114832 w 1002353"/>
                  <a:gd name="connsiteY235" fmla="*/ 78653 h 377990"/>
                  <a:gd name="connsiteX236" fmla="*/ 110784 w 1002353"/>
                  <a:gd name="connsiteY236" fmla="*/ 76715 h 377990"/>
                  <a:gd name="connsiteX237" fmla="*/ 109759 w 1002353"/>
                  <a:gd name="connsiteY237" fmla="*/ 73238 h 377990"/>
                  <a:gd name="connsiteX238" fmla="*/ 101780 w 1002353"/>
                  <a:gd name="connsiteY238" fmla="*/ 65373 h 377990"/>
                  <a:gd name="connsiteX239" fmla="*/ 99956 w 1002353"/>
                  <a:gd name="connsiteY239" fmla="*/ 57736 h 377990"/>
                  <a:gd name="connsiteX240" fmla="*/ 89355 w 1002353"/>
                  <a:gd name="connsiteY240" fmla="*/ 52036 h 377990"/>
                  <a:gd name="connsiteX241" fmla="*/ 83028 w 1002353"/>
                  <a:gd name="connsiteY241" fmla="*/ 42461 h 377990"/>
                  <a:gd name="connsiteX242" fmla="*/ 69407 w 1002353"/>
                  <a:gd name="connsiteY242" fmla="*/ 35451 h 377990"/>
                  <a:gd name="connsiteX243" fmla="*/ 66500 w 1002353"/>
                  <a:gd name="connsiteY243" fmla="*/ 28440 h 377990"/>
                  <a:gd name="connsiteX244" fmla="*/ 59375 w 1002353"/>
                  <a:gd name="connsiteY244" fmla="*/ 23653 h 377990"/>
                  <a:gd name="connsiteX245" fmla="*/ 59375 w 1002353"/>
                  <a:gd name="connsiteY245" fmla="*/ 13508 h 377990"/>
                  <a:gd name="connsiteX246" fmla="*/ 45981 w 1002353"/>
                  <a:gd name="connsiteY246" fmla="*/ 5016 h 377990"/>
                  <a:gd name="connsiteX247" fmla="*/ 386 w 1002353"/>
                  <a:gd name="connsiteY247" fmla="*/ 0 h 377990"/>
                  <a:gd name="connsiteX248" fmla="*/ 6085 w 1002353"/>
                  <a:gd name="connsiteY248" fmla="*/ 11399 h 377990"/>
                  <a:gd name="connsiteX249" fmla="*/ 10474 w 1002353"/>
                  <a:gd name="connsiteY249" fmla="*/ 23083 h 377990"/>
                  <a:gd name="connsiteX250" fmla="*/ 17427 w 1002353"/>
                  <a:gd name="connsiteY250" fmla="*/ 25249 h 377990"/>
                  <a:gd name="connsiteX251" fmla="*/ 20277 w 1002353"/>
                  <a:gd name="connsiteY251" fmla="*/ 33000 h 377990"/>
                  <a:gd name="connsiteX252" fmla="*/ 33785 w 1002353"/>
                  <a:gd name="connsiteY252" fmla="*/ 41093 h 377990"/>
                  <a:gd name="connsiteX253" fmla="*/ 47293 w 1002353"/>
                  <a:gd name="connsiteY253" fmla="*/ 63207 h 377990"/>
                  <a:gd name="connsiteX254" fmla="*/ 66785 w 1002353"/>
                  <a:gd name="connsiteY254" fmla="*/ 81787 h 377990"/>
                  <a:gd name="connsiteX255" fmla="*/ 72484 w 1002353"/>
                  <a:gd name="connsiteY255" fmla="*/ 84637 h 377990"/>
                  <a:gd name="connsiteX256" fmla="*/ 75904 w 1002353"/>
                  <a:gd name="connsiteY256" fmla="*/ 102876 h 377990"/>
                  <a:gd name="connsiteX257" fmla="*/ 81033 w 1002353"/>
                  <a:gd name="connsiteY257" fmla="*/ 106922 h 377990"/>
                  <a:gd name="connsiteX258" fmla="*/ 81033 w 1002353"/>
                  <a:gd name="connsiteY258" fmla="*/ 115528 h 377990"/>
                  <a:gd name="connsiteX259" fmla="*/ 88670 w 1002353"/>
                  <a:gd name="connsiteY259" fmla="*/ 126015 h 377990"/>
                  <a:gd name="connsiteX260" fmla="*/ 102121 w 1002353"/>
                  <a:gd name="connsiteY260" fmla="*/ 128352 h 377990"/>
                  <a:gd name="connsiteX261" fmla="*/ 109531 w 1002353"/>
                  <a:gd name="connsiteY261" fmla="*/ 143627 h 377990"/>
                  <a:gd name="connsiteX262" fmla="*/ 126230 w 1002353"/>
                  <a:gd name="connsiteY262" fmla="*/ 161637 h 377990"/>
                  <a:gd name="connsiteX263" fmla="*/ 131245 w 1002353"/>
                  <a:gd name="connsiteY263" fmla="*/ 175886 h 377990"/>
                  <a:gd name="connsiteX264" fmla="*/ 138541 w 1002353"/>
                  <a:gd name="connsiteY264" fmla="*/ 180274 h 377990"/>
                  <a:gd name="connsiteX265" fmla="*/ 142588 w 1002353"/>
                  <a:gd name="connsiteY265" fmla="*/ 194067 h 377990"/>
                  <a:gd name="connsiteX266" fmla="*/ 152163 w 1002353"/>
                  <a:gd name="connsiteY266" fmla="*/ 202445 h 377990"/>
                  <a:gd name="connsiteX267" fmla="*/ 156551 w 1002353"/>
                  <a:gd name="connsiteY267" fmla="*/ 219544 h 377990"/>
                  <a:gd name="connsiteX268" fmla="*/ 166981 w 1002353"/>
                  <a:gd name="connsiteY268" fmla="*/ 226725 h 377990"/>
                  <a:gd name="connsiteX269" fmla="*/ 167836 w 1002353"/>
                  <a:gd name="connsiteY269" fmla="*/ 233393 h 377990"/>
                  <a:gd name="connsiteX270" fmla="*/ 182769 w 1002353"/>
                  <a:gd name="connsiteY270" fmla="*/ 242741 h 377990"/>
                  <a:gd name="connsiteX271" fmla="*/ 192971 w 1002353"/>
                  <a:gd name="connsiteY271" fmla="*/ 259041 h 377990"/>
                  <a:gd name="connsiteX272" fmla="*/ 208929 w 1002353"/>
                  <a:gd name="connsiteY272" fmla="*/ 267191 h 377990"/>
                  <a:gd name="connsiteX273" fmla="*/ 218219 w 1002353"/>
                  <a:gd name="connsiteY273" fmla="*/ 267191 h 377990"/>
                  <a:gd name="connsiteX274" fmla="*/ 224603 w 1002353"/>
                  <a:gd name="connsiteY274" fmla="*/ 255108 h 377990"/>
                  <a:gd name="connsiteX275" fmla="*/ 228650 w 1002353"/>
                  <a:gd name="connsiteY275" fmla="*/ 217777 h 377990"/>
                  <a:gd name="connsiteX276" fmla="*/ 236800 w 1002353"/>
                  <a:gd name="connsiteY276" fmla="*/ 202559 h 377990"/>
                  <a:gd name="connsiteX277" fmla="*/ 243183 w 1002353"/>
                  <a:gd name="connsiteY277" fmla="*/ 201191 h 377990"/>
                  <a:gd name="connsiteX278" fmla="*/ 244665 w 1002353"/>
                  <a:gd name="connsiteY278" fmla="*/ 195948 h 377990"/>
                  <a:gd name="connsiteX279" fmla="*/ 239308 w 1002353"/>
                  <a:gd name="connsiteY279" fmla="*/ 177197 h 377990"/>
                  <a:gd name="connsiteX280" fmla="*/ 222608 w 1002353"/>
                  <a:gd name="connsiteY280" fmla="*/ 168533 h 377990"/>
                  <a:gd name="connsiteX281" fmla="*/ 227738 w 1002353"/>
                  <a:gd name="connsiteY281" fmla="*/ 181699 h 377990"/>
                  <a:gd name="connsiteX282" fmla="*/ 483302 w 1002353"/>
                  <a:gd name="connsiteY282" fmla="*/ 30036 h 377990"/>
                  <a:gd name="connsiteX283" fmla="*/ 493789 w 1002353"/>
                  <a:gd name="connsiteY283" fmla="*/ 26275 h 377990"/>
                  <a:gd name="connsiteX284" fmla="*/ 468085 w 1002353"/>
                  <a:gd name="connsiteY284" fmla="*/ 25876 h 377990"/>
                  <a:gd name="connsiteX285" fmla="*/ 445287 w 1002353"/>
                  <a:gd name="connsiteY285" fmla="*/ 47648 h 377990"/>
                  <a:gd name="connsiteX286" fmla="*/ 442608 w 1002353"/>
                  <a:gd name="connsiteY286" fmla="*/ 59332 h 377990"/>
                  <a:gd name="connsiteX287" fmla="*/ 427903 w 1002353"/>
                  <a:gd name="connsiteY287" fmla="*/ 67653 h 377990"/>
                  <a:gd name="connsiteX288" fmla="*/ 427448 w 1002353"/>
                  <a:gd name="connsiteY288" fmla="*/ 80933 h 377990"/>
                  <a:gd name="connsiteX289" fmla="*/ 413712 w 1002353"/>
                  <a:gd name="connsiteY289" fmla="*/ 93129 h 377990"/>
                  <a:gd name="connsiteX290" fmla="*/ 401914 w 1002353"/>
                  <a:gd name="connsiteY290" fmla="*/ 96777 h 377990"/>
                  <a:gd name="connsiteX291" fmla="*/ 390515 w 1002353"/>
                  <a:gd name="connsiteY291" fmla="*/ 96777 h 377990"/>
                  <a:gd name="connsiteX292" fmla="*/ 355463 w 1002353"/>
                  <a:gd name="connsiteY292" fmla="*/ 107435 h 377990"/>
                  <a:gd name="connsiteX293" fmla="*/ 344064 w 1002353"/>
                  <a:gd name="connsiteY293" fmla="*/ 113818 h 377990"/>
                  <a:gd name="connsiteX294" fmla="*/ 323033 w 1002353"/>
                  <a:gd name="connsiteY294" fmla="*/ 104357 h 377990"/>
                  <a:gd name="connsiteX295" fmla="*/ 311007 w 1002353"/>
                  <a:gd name="connsiteY295" fmla="*/ 86404 h 377990"/>
                  <a:gd name="connsiteX296" fmla="*/ 299608 w 1002353"/>
                  <a:gd name="connsiteY296" fmla="*/ 94668 h 377990"/>
                  <a:gd name="connsiteX297" fmla="*/ 289634 w 1002353"/>
                  <a:gd name="connsiteY297" fmla="*/ 104979 h 377990"/>
                  <a:gd name="connsiteX298" fmla="*/ 290831 w 1002353"/>
                  <a:gd name="connsiteY298" fmla="*/ 109601 h 377990"/>
                  <a:gd name="connsiteX299" fmla="*/ 298525 w 1002353"/>
                  <a:gd name="connsiteY299" fmla="*/ 117637 h 377990"/>
                  <a:gd name="connsiteX300" fmla="*/ 301774 w 1002353"/>
                  <a:gd name="connsiteY300" fmla="*/ 144710 h 377990"/>
                  <a:gd name="connsiteX301" fmla="*/ 313800 w 1002353"/>
                  <a:gd name="connsiteY301" fmla="*/ 152404 h 377990"/>
                  <a:gd name="connsiteX302" fmla="*/ 314199 w 1002353"/>
                  <a:gd name="connsiteY302" fmla="*/ 158103 h 377990"/>
                  <a:gd name="connsiteX303" fmla="*/ 326566 w 1002353"/>
                  <a:gd name="connsiteY303" fmla="*/ 170186 h 377990"/>
                  <a:gd name="connsiteX304" fmla="*/ 330727 w 1002353"/>
                  <a:gd name="connsiteY304" fmla="*/ 184150 h 377990"/>
                  <a:gd name="connsiteX305" fmla="*/ 332266 w 1002353"/>
                  <a:gd name="connsiteY305" fmla="*/ 198969 h 377990"/>
                  <a:gd name="connsiteX306" fmla="*/ 343665 w 1002353"/>
                  <a:gd name="connsiteY306" fmla="*/ 206606 h 377990"/>
                  <a:gd name="connsiteX307" fmla="*/ 357287 w 1002353"/>
                  <a:gd name="connsiteY307" fmla="*/ 197088 h 377990"/>
                  <a:gd name="connsiteX308" fmla="*/ 365950 w 1002353"/>
                  <a:gd name="connsiteY308" fmla="*/ 214528 h 377990"/>
                  <a:gd name="connsiteX309" fmla="*/ 378147 w 1002353"/>
                  <a:gd name="connsiteY309" fmla="*/ 210938 h 377990"/>
                  <a:gd name="connsiteX310" fmla="*/ 399520 w 1002353"/>
                  <a:gd name="connsiteY310" fmla="*/ 207233 h 377990"/>
                  <a:gd name="connsiteX311" fmla="*/ 414738 w 1002353"/>
                  <a:gd name="connsiteY311" fmla="*/ 218632 h 377990"/>
                  <a:gd name="connsiteX312" fmla="*/ 428530 w 1002353"/>
                  <a:gd name="connsiteY312" fmla="*/ 221539 h 377990"/>
                  <a:gd name="connsiteX313" fmla="*/ 442209 w 1002353"/>
                  <a:gd name="connsiteY313" fmla="*/ 223590 h 377990"/>
                  <a:gd name="connsiteX314" fmla="*/ 445743 w 1002353"/>
                  <a:gd name="connsiteY314" fmla="*/ 216523 h 377990"/>
                  <a:gd name="connsiteX315" fmla="*/ 450986 w 1002353"/>
                  <a:gd name="connsiteY315" fmla="*/ 216523 h 377990"/>
                  <a:gd name="connsiteX316" fmla="*/ 459307 w 1002353"/>
                  <a:gd name="connsiteY316" fmla="*/ 204041 h 377990"/>
                  <a:gd name="connsiteX317" fmla="*/ 462499 w 1002353"/>
                  <a:gd name="connsiteY317" fmla="*/ 172010 h 377990"/>
                  <a:gd name="connsiteX318" fmla="*/ 467514 w 1002353"/>
                  <a:gd name="connsiteY318" fmla="*/ 162435 h 377990"/>
                  <a:gd name="connsiteX319" fmla="*/ 471846 w 1002353"/>
                  <a:gd name="connsiteY319" fmla="*/ 161865 h 377990"/>
                  <a:gd name="connsiteX320" fmla="*/ 480509 w 1002353"/>
                  <a:gd name="connsiteY320" fmla="*/ 147673 h 377990"/>
                  <a:gd name="connsiteX321" fmla="*/ 479711 w 1002353"/>
                  <a:gd name="connsiteY321" fmla="*/ 126984 h 377990"/>
                  <a:gd name="connsiteX322" fmla="*/ 479313 w 1002353"/>
                  <a:gd name="connsiteY322" fmla="*/ 120829 h 377990"/>
                  <a:gd name="connsiteX323" fmla="*/ 496411 w 1002353"/>
                  <a:gd name="connsiteY323" fmla="*/ 110912 h 377990"/>
                  <a:gd name="connsiteX324" fmla="*/ 515846 w 1002353"/>
                  <a:gd name="connsiteY324" fmla="*/ 104357 h 377990"/>
                  <a:gd name="connsiteX325" fmla="*/ 506271 w 1002353"/>
                  <a:gd name="connsiteY325" fmla="*/ 95010 h 377990"/>
                  <a:gd name="connsiteX326" fmla="*/ 498292 w 1002353"/>
                  <a:gd name="connsiteY326" fmla="*/ 94155 h 377990"/>
                  <a:gd name="connsiteX327" fmla="*/ 487748 w 1002353"/>
                  <a:gd name="connsiteY327" fmla="*/ 68394 h 377990"/>
                  <a:gd name="connsiteX328" fmla="*/ 477033 w 1002353"/>
                  <a:gd name="connsiteY328" fmla="*/ 62694 h 377990"/>
                  <a:gd name="connsiteX329" fmla="*/ 482391 w 1002353"/>
                  <a:gd name="connsiteY329" fmla="*/ 54829 h 377990"/>
                  <a:gd name="connsiteX330" fmla="*/ 481307 w 1002353"/>
                  <a:gd name="connsiteY330" fmla="*/ 34140 h 377990"/>
                  <a:gd name="connsiteX331" fmla="*/ 483473 w 1002353"/>
                  <a:gd name="connsiteY331" fmla="*/ 30492 h 377990"/>
                  <a:gd name="connsiteX332" fmla="*/ 964224 w 1002353"/>
                  <a:gd name="connsiteY332" fmla="*/ 189622 h 377990"/>
                  <a:gd name="connsiteX333" fmla="*/ 958809 w 1002353"/>
                  <a:gd name="connsiteY333" fmla="*/ 187342 h 377990"/>
                  <a:gd name="connsiteX334" fmla="*/ 956929 w 1002353"/>
                  <a:gd name="connsiteY334" fmla="*/ 183922 h 377990"/>
                  <a:gd name="connsiteX335" fmla="*/ 941995 w 1002353"/>
                  <a:gd name="connsiteY335" fmla="*/ 177368 h 377990"/>
                  <a:gd name="connsiteX336" fmla="*/ 937949 w 1002353"/>
                  <a:gd name="connsiteY336" fmla="*/ 165114 h 377990"/>
                  <a:gd name="connsiteX337" fmla="*/ 918514 w 1002353"/>
                  <a:gd name="connsiteY337" fmla="*/ 173948 h 377990"/>
                  <a:gd name="connsiteX338" fmla="*/ 908882 w 1002353"/>
                  <a:gd name="connsiteY338" fmla="*/ 184891 h 377990"/>
                  <a:gd name="connsiteX339" fmla="*/ 903524 w 1002353"/>
                  <a:gd name="connsiteY339" fmla="*/ 189166 h 377990"/>
                  <a:gd name="connsiteX340" fmla="*/ 894291 w 1002353"/>
                  <a:gd name="connsiteY340" fmla="*/ 190932 h 377990"/>
                  <a:gd name="connsiteX341" fmla="*/ 888591 w 1002353"/>
                  <a:gd name="connsiteY341" fmla="*/ 200337 h 377990"/>
                  <a:gd name="connsiteX342" fmla="*/ 879644 w 1002353"/>
                  <a:gd name="connsiteY342" fmla="*/ 202160 h 377990"/>
                  <a:gd name="connsiteX343" fmla="*/ 875084 w 1002353"/>
                  <a:gd name="connsiteY343" fmla="*/ 206777 h 377990"/>
                  <a:gd name="connsiteX344" fmla="*/ 862944 w 1002353"/>
                  <a:gd name="connsiteY344" fmla="*/ 205352 h 377990"/>
                  <a:gd name="connsiteX345" fmla="*/ 859012 w 1002353"/>
                  <a:gd name="connsiteY345" fmla="*/ 192756 h 377990"/>
                  <a:gd name="connsiteX346" fmla="*/ 857644 w 1002353"/>
                  <a:gd name="connsiteY346" fmla="*/ 180730 h 377990"/>
                  <a:gd name="connsiteX347" fmla="*/ 853939 w 1002353"/>
                  <a:gd name="connsiteY347" fmla="*/ 176342 h 377990"/>
                  <a:gd name="connsiteX348" fmla="*/ 853312 w 1002353"/>
                  <a:gd name="connsiteY348" fmla="*/ 167850 h 377990"/>
                  <a:gd name="connsiteX349" fmla="*/ 835587 w 1002353"/>
                  <a:gd name="connsiteY349" fmla="*/ 143741 h 377990"/>
                  <a:gd name="connsiteX350" fmla="*/ 804297 w 1002353"/>
                  <a:gd name="connsiteY350" fmla="*/ 143741 h 377990"/>
                  <a:gd name="connsiteX351" fmla="*/ 797001 w 1002353"/>
                  <a:gd name="connsiteY351" fmla="*/ 147388 h 377990"/>
                  <a:gd name="connsiteX352" fmla="*/ 793639 w 1002353"/>
                  <a:gd name="connsiteY352" fmla="*/ 153088 h 377990"/>
                  <a:gd name="connsiteX353" fmla="*/ 781042 w 1002353"/>
                  <a:gd name="connsiteY353" fmla="*/ 158787 h 377990"/>
                  <a:gd name="connsiteX354" fmla="*/ 792955 w 1002353"/>
                  <a:gd name="connsiteY354" fmla="*/ 169046 h 377990"/>
                  <a:gd name="connsiteX355" fmla="*/ 804752 w 1002353"/>
                  <a:gd name="connsiteY355" fmla="*/ 179477 h 377990"/>
                  <a:gd name="connsiteX356" fmla="*/ 843395 w 1002353"/>
                  <a:gd name="connsiteY356" fmla="*/ 181528 h 377990"/>
                  <a:gd name="connsiteX357" fmla="*/ 844193 w 1002353"/>
                  <a:gd name="connsiteY357" fmla="*/ 189280 h 377990"/>
                  <a:gd name="connsiteX358" fmla="*/ 835416 w 1002353"/>
                  <a:gd name="connsiteY358" fmla="*/ 192129 h 377990"/>
                  <a:gd name="connsiteX359" fmla="*/ 817235 w 1002353"/>
                  <a:gd name="connsiteY359" fmla="*/ 194067 h 377990"/>
                  <a:gd name="connsiteX360" fmla="*/ 811535 w 1002353"/>
                  <a:gd name="connsiteY360" fmla="*/ 195777 h 377990"/>
                  <a:gd name="connsiteX361" fmla="*/ 810965 w 1002353"/>
                  <a:gd name="connsiteY361" fmla="*/ 205637 h 377990"/>
                  <a:gd name="connsiteX362" fmla="*/ 820084 w 1002353"/>
                  <a:gd name="connsiteY362" fmla="*/ 211337 h 377990"/>
                  <a:gd name="connsiteX363" fmla="*/ 816208 w 1002353"/>
                  <a:gd name="connsiteY363" fmla="*/ 225300 h 377990"/>
                  <a:gd name="connsiteX364" fmla="*/ 829716 w 1002353"/>
                  <a:gd name="connsiteY364" fmla="*/ 227905 h 377990"/>
                  <a:gd name="connsiteX365" fmla="*/ 830343 w 1002353"/>
                  <a:gd name="connsiteY365" fmla="*/ 227466 h 377990"/>
                  <a:gd name="connsiteX366" fmla="*/ 836555 w 1002353"/>
                  <a:gd name="connsiteY366" fmla="*/ 217150 h 377990"/>
                  <a:gd name="connsiteX367" fmla="*/ 846700 w 1002353"/>
                  <a:gd name="connsiteY367" fmla="*/ 215098 h 377990"/>
                  <a:gd name="connsiteX368" fmla="*/ 848296 w 1002353"/>
                  <a:gd name="connsiteY368" fmla="*/ 221140 h 377990"/>
                  <a:gd name="connsiteX369" fmla="*/ 864597 w 1002353"/>
                  <a:gd name="connsiteY369" fmla="*/ 225642 h 377990"/>
                  <a:gd name="connsiteX370" fmla="*/ 865851 w 1002353"/>
                  <a:gd name="connsiteY370" fmla="*/ 237383 h 377990"/>
                  <a:gd name="connsiteX371" fmla="*/ 892467 w 1002353"/>
                  <a:gd name="connsiteY371" fmla="*/ 238751 h 377990"/>
                  <a:gd name="connsiteX372" fmla="*/ 899934 w 1002353"/>
                  <a:gd name="connsiteY372" fmla="*/ 240290 h 377990"/>
                  <a:gd name="connsiteX373" fmla="*/ 907457 w 1002353"/>
                  <a:gd name="connsiteY373" fmla="*/ 245989 h 377990"/>
                  <a:gd name="connsiteX374" fmla="*/ 919711 w 1002353"/>
                  <a:gd name="connsiteY374" fmla="*/ 247015 h 377990"/>
                  <a:gd name="connsiteX375" fmla="*/ 925011 w 1002353"/>
                  <a:gd name="connsiteY375" fmla="*/ 255450 h 377990"/>
                  <a:gd name="connsiteX376" fmla="*/ 947582 w 1002353"/>
                  <a:gd name="connsiteY376" fmla="*/ 277342 h 377990"/>
                  <a:gd name="connsiteX377" fmla="*/ 947353 w 1002353"/>
                  <a:gd name="connsiteY377" fmla="*/ 280813 h 377990"/>
                  <a:gd name="connsiteX378" fmla="*/ 946898 w 1002353"/>
                  <a:gd name="connsiteY378" fmla="*/ 286513 h 377990"/>
                  <a:gd name="connsiteX379" fmla="*/ 959322 w 1002353"/>
                  <a:gd name="connsiteY379" fmla="*/ 297912 h 377990"/>
                  <a:gd name="connsiteX380" fmla="*/ 954022 w 1002353"/>
                  <a:gd name="connsiteY380" fmla="*/ 303611 h 377990"/>
                  <a:gd name="connsiteX381" fmla="*/ 945700 w 1002353"/>
                  <a:gd name="connsiteY381" fmla="*/ 302129 h 377990"/>
                  <a:gd name="connsiteX382" fmla="*/ 942281 w 1002353"/>
                  <a:gd name="connsiteY382" fmla="*/ 307829 h 377990"/>
                  <a:gd name="connsiteX383" fmla="*/ 935783 w 1002353"/>
                  <a:gd name="connsiteY383" fmla="*/ 311419 h 377990"/>
                  <a:gd name="connsiteX384" fmla="*/ 933560 w 1002353"/>
                  <a:gd name="connsiteY384" fmla="*/ 316264 h 377990"/>
                  <a:gd name="connsiteX385" fmla="*/ 922561 w 1002353"/>
                  <a:gd name="connsiteY385" fmla="*/ 319740 h 377990"/>
                  <a:gd name="connsiteX386" fmla="*/ 918628 w 1002353"/>
                  <a:gd name="connsiteY386" fmla="*/ 327948 h 377990"/>
                  <a:gd name="connsiteX387" fmla="*/ 975623 w 1002353"/>
                  <a:gd name="connsiteY387" fmla="*/ 322533 h 377990"/>
                  <a:gd name="connsiteX388" fmla="*/ 984913 w 1002353"/>
                  <a:gd name="connsiteY388" fmla="*/ 325155 h 377990"/>
                  <a:gd name="connsiteX389" fmla="*/ 986851 w 1002353"/>
                  <a:gd name="connsiteY389" fmla="*/ 330171 h 377990"/>
                  <a:gd name="connsiteX390" fmla="*/ 1002353 w 1002353"/>
                  <a:gd name="connsiteY390" fmla="*/ 339917 h 377990"/>
                  <a:gd name="connsiteX391" fmla="*/ 1002353 w 1002353"/>
                  <a:gd name="connsiteY391" fmla="*/ 196860 h 377990"/>
                  <a:gd name="connsiteX392" fmla="*/ 648074 w 1002353"/>
                  <a:gd name="connsiteY392" fmla="*/ 340088 h 377990"/>
                  <a:gd name="connsiteX393" fmla="*/ 638784 w 1002353"/>
                  <a:gd name="connsiteY393" fmla="*/ 346300 h 377990"/>
                  <a:gd name="connsiteX394" fmla="*/ 630747 w 1002353"/>
                  <a:gd name="connsiteY394" fmla="*/ 352000 h 377990"/>
                  <a:gd name="connsiteX395" fmla="*/ 626131 w 1002353"/>
                  <a:gd name="connsiteY395" fmla="*/ 357072 h 377990"/>
                  <a:gd name="connsiteX396" fmla="*/ 614048 w 1002353"/>
                  <a:gd name="connsiteY396" fmla="*/ 359352 h 377990"/>
                  <a:gd name="connsiteX397" fmla="*/ 618152 w 1002353"/>
                  <a:gd name="connsiteY397" fmla="*/ 374512 h 377990"/>
                  <a:gd name="connsiteX398" fmla="*/ 634909 w 1002353"/>
                  <a:gd name="connsiteY398" fmla="*/ 375994 h 377990"/>
                  <a:gd name="connsiteX399" fmla="*/ 644426 w 1002353"/>
                  <a:gd name="connsiteY399" fmla="*/ 365564 h 377990"/>
                  <a:gd name="connsiteX400" fmla="*/ 644426 w 1002353"/>
                  <a:gd name="connsiteY400" fmla="*/ 360948 h 377990"/>
                  <a:gd name="connsiteX401" fmla="*/ 652520 w 1002353"/>
                  <a:gd name="connsiteY401" fmla="*/ 356559 h 377990"/>
                  <a:gd name="connsiteX402" fmla="*/ 659587 w 1002353"/>
                  <a:gd name="connsiteY402" fmla="*/ 346015 h 377990"/>
                  <a:gd name="connsiteX403" fmla="*/ 659587 w 1002353"/>
                  <a:gd name="connsiteY403" fmla="*/ 346015 h 377990"/>
                  <a:gd name="connsiteX404" fmla="*/ 651950 w 1002353"/>
                  <a:gd name="connsiteY404" fmla="*/ 341626 h 377990"/>
                  <a:gd name="connsiteX405" fmla="*/ 648245 w 1002353"/>
                  <a:gd name="connsiteY405" fmla="*/ 340601 h 37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1002353" h="377990">
                    <a:moveTo>
                      <a:pt x="673038" y="212191"/>
                    </a:moveTo>
                    <a:cubicBezTo>
                      <a:pt x="671043" y="210482"/>
                      <a:pt x="671442" y="207404"/>
                      <a:pt x="671442" y="204782"/>
                    </a:cubicBezTo>
                    <a:cubicBezTo>
                      <a:pt x="671442" y="202160"/>
                      <a:pt x="671043" y="198000"/>
                      <a:pt x="673665" y="196461"/>
                    </a:cubicBezTo>
                    <a:cubicBezTo>
                      <a:pt x="674918" y="195891"/>
                      <a:pt x="676286" y="195714"/>
                      <a:pt x="677655" y="195948"/>
                    </a:cubicBezTo>
                    <a:cubicBezTo>
                      <a:pt x="679649" y="196068"/>
                      <a:pt x="681530" y="196552"/>
                      <a:pt x="683354" y="197373"/>
                    </a:cubicBezTo>
                    <a:cubicBezTo>
                      <a:pt x="685178" y="198290"/>
                      <a:pt x="686488" y="200057"/>
                      <a:pt x="686774" y="202103"/>
                    </a:cubicBezTo>
                    <a:cubicBezTo>
                      <a:pt x="686774" y="203357"/>
                      <a:pt x="686774" y="204839"/>
                      <a:pt x="687457" y="205751"/>
                    </a:cubicBezTo>
                    <a:cubicBezTo>
                      <a:pt x="688141" y="206384"/>
                      <a:pt x="689054" y="206731"/>
                      <a:pt x="690022" y="206720"/>
                    </a:cubicBezTo>
                    <a:cubicBezTo>
                      <a:pt x="692929" y="207182"/>
                      <a:pt x="695664" y="208464"/>
                      <a:pt x="697830" y="210425"/>
                    </a:cubicBezTo>
                    <a:cubicBezTo>
                      <a:pt x="698571" y="214540"/>
                      <a:pt x="698742" y="218746"/>
                      <a:pt x="698287" y="222906"/>
                    </a:cubicBezTo>
                    <a:cubicBezTo>
                      <a:pt x="698400" y="224252"/>
                      <a:pt x="697432" y="225448"/>
                      <a:pt x="696064" y="225579"/>
                    </a:cubicBezTo>
                    <a:cubicBezTo>
                      <a:pt x="695950" y="225597"/>
                      <a:pt x="695779" y="225597"/>
                      <a:pt x="695664" y="225585"/>
                    </a:cubicBezTo>
                    <a:cubicBezTo>
                      <a:pt x="692245" y="226662"/>
                      <a:pt x="688540" y="226161"/>
                      <a:pt x="685519" y="224217"/>
                    </a:cubicBezTo>
                    <a:cubicBezTo>
                      <a:pt x="684437" y="223049"/>
                      <a:pt x="683582" y="221698"/>
                      <a:pt x="683012" y="220228"/>
                    </a:cubicBezTo>
                    <a:lnTo>
                      <a:pt x="680447" y="214528"/>
                    </a:lnTo>
                    <a:lnTo>
                      <a:pt x="676059" y="213502"/>
                    </a:lnTo>
                    <a:cubicBezTo>
                      <a:pt x="674975" y="213280"/>
                      <a:pt x="673950" y="212836"/>
                      <a:pt x="673038" y="212191"/>
                    </a:cubicBezTo>
                    <a:close/>
                    <a:moveTo>
                      <a:pt x="591820" y="118207"/>
                    </a:moveTo>
                    <a:cubicBezTo>
                      <a:pt x="596493" y="118008"/>
                      <a:pt x="601110" y="118629"/>
                      <a:pt x="605556" y="120031"/>
                    </a:cubicBezTo>
                    <a:cubicBezTo>
                      <a:pt x="611997" y="122596"/>
                      <a:pt x="617981" y="128751"/>
                      <a:pt x="624706" y="126870"/>
                    </a:cubicBezTo>
                    <a:cubicBezTo>
                      <a:pt x="631431" y="124990"/>
                      <a:pt x="633141" y="117637"/>
                      <a:pt x="638043" y="113591"/>
                    </a:cubicBezTo>
                    <a:cubicBezTo>
                      <a:pt x="639867" y="112109"/>
                      <a:pt x="642033" y="111140"/>
                      <a:pt x="643742" y="109715"/>
                    </a:cubicBezTo>
                    <a:cubicBezTo>
                      <a:pt x="648131" y="106426"/>
                      <a:pt x="650695" y="101280"/>
                      <a:pt x="650695" y="95808"/>
                    </a:cubicBezTo>
                    <a:cubicBezTo>
                      <a:pt x="646364" y="94668"/>
                      <a:pt x="640835" y="93984"/>
                      <a:pt x="638328" y="97689"/>
                    </a:cubicBezTo>
                    <a:cubicBezTo>
                      <a:pt x="637986" y="98430"/>
                      <a:pt x="637473" y="99108"/>
                      <a:pt x="636903" y="99684"/>
                    </a:cubicBezTo>
                    <a:cubicBezTo>
                      <a:pt x="636219" y="100088"/>
                      <a:pt x="635478" y="100322"/>
                      <a:pt x="634680" y="100368"/>
                    </a:cubicBezTo>
                    <a:lnTo>
                      <a:pt x="627613" y="101337"/>
                    </a:lnTo>
                    <a:cubicBezTo>
                      <a:pt x="629209" y="104061"/>
                      <a:pt x="628240" y="107549"/>
                      <a:pt x="625504" y="109122"/>
                    </a:cubicBezTo>
                    <a:cubicBezTo>
                      <a:pt x="625504" y="109151"/>
                      <a:pt x="625447" y="109179"/>
                      <a:pt x="625390" y="109202"/>
                    </a:cubicBezTo>
                    <a:cubicBezTo>
                      <a:pt x="622483" y="110416"/>
                      <a:pt x="619235" y="110695"/>
                      <a:pt x="616157" y="110000"/>
                    </a:cubicBezTo>
                    <a:lnTo>
                      <a:pt x="594556" y="107549"/>
                    </a:lnTo>
                    <a:cubicBezTo>
                      <a:pt x="592447" y="107549"/>
                      <a:pt x="590053" y="106865"/>
                      <a:pt x="588856" y="105041"/>
                    </a:cubicBezTo>
                    <a:cubicBezTo>
                      <a:pt x="587660" y="103218"/>
                      <a:pt x="588287" y="102363"/>
                      <a:pt x="587374" y="101337"/>
                    </a:cubicBezTo>
                    <a:cubicBezTo>
                      <a:pt x="586349" y="100499"/>
                      <a:pt x="584981" y="100128"/>
                      <a:pt x="583670" y="100311"/>
                    </a:cubicBezTo>
                    <a:cubicBezTo>
                      <a:pt x="575463" y="100311"/>
                      <a:pt x="567312" y="100824"/>
                      <a:pt x="559162" y="101679"/>
                    </a:cubicBezTo>
                    <a:cubicBezTo>
                      <a:pt x="557909" y="101690"/>
                      <a:pt x="556654" y="102066"/>
                      <a:pt x="555572" y="102761"/>
                    </a:cubicBezTo>
                    <a:cubicBezTo>
                      <a:pt x="552665" y="104984"/>
                      <a:pt x="554602" y="110456"/>
                      <a:pt x="551696" y="112736"/>
                    </a:cubicBezTo>
                    <a:cubicBezTo>
                      <a:pt x="549986" y="114047"/>
                      <a:pt x="547535" y="113477"/>
                      <a:pt x="545369" y="113192"/>
                    </a:cubicBezTo>
                    <a:cubicBezTo>
                      <a:pt x="543203" y="112907"/>
                      <a:pt x="540354" y="113192"/>
                      <a:pt x="539670" y="115528"/>
                    </a:cubicBezTo>
                    <a:cubicBezTo>
                      <a:pt x="539556" y="116286"/>
                      <a:pt x="539556" y="117050"/>
                      <a:pt x="539670" y="117808"/>
                    </a:cubicBezTo>
                    <a:cubicBezTo>
                      <a:pt x="540297" y="123508"/>
                      <a:pt x="535338" y="128694"/>
                      <a:pt x="530779" y="132570"/>
                    </a:cubicBezTo>
                    <a:lnTo>
                      <a:pt x="549986" y="130062"/>
                    </a:lnTo>
                    <a:cubicBezTo>
                      <a:pt x="551639" y="130085"/>
                      <a:pt x="553235" y="129452"/>
                      <a:pt x="554375" y="128295"/>
                    </a:cubicBezTo>
                    <a:cubicBezTo>
                      <a:pt x="556597" y="125559"/>
                      <a:pt x="553691" y="120316"/>
                      <a:pt x="556654" y="118378"/>
                    </a:cubicBezTo>
                    <a:cubicBezTo>
                      <a:pt x="557623" y="117905"/>
                      <a:pt x="558650" y="117706"/>
                      <a:pt x="559732" y="117808"/>
                    </a:cubicBezTo>
                    <a:lnTo>
                      <a:pt x="585038" y="118150"/>
                    </a:lnTo>
                    <a:close/>
                    <a:moveTo>
                      <a:pt x="592276" y="163803"/>
                    </a:moveTo>
                    <a:cubicBezTo>
                      <a:pt x="593872" y="160839"/>
                      <a:pt x="597975" y="160611"/>
                      <a:pt x="601167" y="160098"/>
                    </a:cubicBezTo>
                    <a:cubicBezTo>
                      <a:pt x="605100" y="159677"/>
                      <a:pt x="608690" y="157756"/>
                      <a:pt x="611199" y="154741"/>
                    </a:cubicBezTo>
                    <a:cubicBezTo>
                      <a:pt x="613649" y="151538"/>
                      <a:pt x="613364" y="146995"/>
                      <a:pt x="610515" y="144140"/>
                    </a:cubicBezTo>
                    <a:cubicBezTo>
                      <a:pt x="607323" y="142219"/>
                      <a:pt x="603390" y="141980"/>
                      <a:pt x="599971" y="143513"/>
                    </a:cubicBezTo>
                    <a:cubicBezTo>
                      <a:pt x="596608" y="145086"/>
                      <a:pt x="592960" y="145770"/>
                      <a:pt x="589256" y="145508"/>
                    </a:cubicBezTo>
                    <a:cubicBezTo>
                      <a:pt x="587090" y="145052"/>
                      <a:pt x="584525" y="143912"/>
                      <a:pt x="582872" y="145508"/>
                    </a:cubicBezTo>
                    <a:cubicBezTo>
                      <a:pt x="582188" y="146351"/>
                      <a:pt x="581618" y="147314"/>
                      <a:pt x="581276" y="148357"/>
                    </a:cubicBezTo>
                    <a:cubicBezTo>
                      <a:pt x="579851" y="150495"/>
                      <a:pt x="577914" y="152210"/>
                      <a:pt x="575577" y="153316"/>
                    </a:cubicBezTo>
                    <a:cubicBezTo>
                      <a:pt x="571587" y="155824"/>
                      <a:pt x="568281" y="159015"/>
                      <a:pt x="564178" y="161694"/>
                    </a:cubicBezTo>
                    <a:cubicBezTo>
                      <a:pt x="560302" y="164475"/>
                      <a:pt x="555343" y="165142"/>
                      <a:pt x="550898" y="163461"/>
                    </a:cubicBezTo>
                    <a:cubicBezTo>
                      <a:pt x="551468" y="161067"/>
                      <a:pt x="550214" y="158616"/>
                      <a:pt x="547877" y="157762"/>
                    </a:cubicBezTo>
                    <a:cubicBezTo>
                      <a:pt x="545655" y="157038"/>
                      <a:pt x="543261" y="156884"/>
                      <a:pt x="540924" y="157305"/>
                    </a:cubicBezTo>
                    <a:cubicBezTo>
                      <a:pt x="539214" y="154342"/>
                      <a:pt x="542121" y="150466"/>
                      <a:pt x="540924" y="147331"/>
                    </a:cubicBezTo>
                    <a:cubicBezTo>
                      <a:pt x="539727" y="144197"/>
                      <a:pt x="534825" y="144083"/>
                      <a:pt x="531349" y="144938"/>
                    </a:cubicBezTo>
                    <a:cubicBezTo>
                      <a:pt x="529696" y="145291"/>
                      <a:pt x="528100" y="145986"/>
                      <a:pt x="526732" y="146989"/>
                    </a:cubicBezTo>
                    <a:cubicBezTo>
                      <a:pt x="520121" y="152347"/>
                      <a:pt x="527815" y="165399"/>
                      <a:pt x="521032" y="170813"/>
                    </a:cubicBezTo>
                    <a:cubicBezTo>
                      <a:pt x="519608" y="172010"/>
                      <a:pt x="517442" y="172808"/>
                      <a:pt x="517043" y="174632"/>
                    </a:cubicBezTo>
                    <a:cubicBezTo>
                      <a:pt x="516644" y="176456"/>
                      <a:pt x="518468" y="178280"/>
                      <a:pt x="519380" y="180331"/>
                    </a:cubicBezTo>
                    <a:cubicBezTo>
                      <a:pt x="521261" y="184264"/>
                      <a:pt x="518240" y="188824"/>
                      <a:pt x="514991" y="191730"/>
                    </a:cubicBezTo>
                    <a:cubicBezTo>
                      <a:pt x="511742" y="194637"/>
                      <a:pt x="507639" y="197430"/>
                      <a:pt x="506556" y="201533"/>
                    </a:cubicBezTo>
                    <a:cubicBezTo>
                      <a:pt x="505929" y="207632"/>
                      <a:pt x="509805" y="213303"/>
                      <a:pt x="515675" y="214984"/>
                    </a:cubicBezTo>
                    <a:cubicBezTo>
                      <a:pt x="521432" y="216460"/>
                      <a:pt x="527302" y="217452"/>
                      <a:pt x="533229" y="217948"/>
                    </a:cubicBezTo>
                    <a:cubicBezTo>
                      <a:pt x="531463" y="224132"/>
                      <a:pt x="531463" y="230686"/>
                      <a:pt x="533229" y="236870"/>
                    </a:cubicBezTo>
                    <a:cubicBezTo>
                      <a:pt x="534483" y="239469"/>
                      <a:pt x="534882" y="242404"/>
                      <a:pt x="534370" y="245248"/>
                    </a:cubicBezTo>
                    <a:cubicBezTo>
                      <a:pt x="533743" y="246605"/>
                      <a:pt x="532945" y="247887"/>
                      <a:pt x="532033" y="249067"/>
                    </a:cubicBezTo>
                    <a:cubicBezTo>
                      <a:pt x="527245" y="256305"/>
                      <a:pt x="530209" y="266165"/>
                      <a:pt x="533344" y="274031"/>
                    </a:cubicBezTo>
                    <a:cubicBezTo>
                      <a:pt x="536934" y="274230"/>
                      <a:pt x="540297" y="272338"/>
                      <a:pt x="541950" y="269186"/>
                    </a:cubicBezTo>
                    <a:cubicBezTo>
                      <a:pt x="543375" y="266194"/>
                      <a:pt x="544230" y="262968"/>
                      <a:pt x="544514" y="259668"/>
                    </a:cubicBezTo>
                    <a:cubicBezTo>
                      <a:pt x="547877" y="260016"/>
                      <a:pt x="550955" y="257668"/>
                      <a:pt x="551525" y="254311"/>
                    </a:cubicBezTo>
                    <a:cubicBezTo>
                      <a:pt x="551924" y="251033"/>
                      <a:pt x="551069" y="247728"/>
                      <a:pt x="549074" y="245077"/>
                    </a:cubicBezTo>
                    <a:cubicBezTo>
                      <a:pt x="548048" y="242986"/>
                      <a:pt x="546053" y="241532"/>
                      <a:pt x="543773" y="241202"/>
                    </a:cubicBezTo>
                    <a:cubicBezTo>
                      <a:pt x="546396" y="236813"/>
                      <a:pt x="539214" y="232311"/>
                      <a:pt x="539271" y="227181"/>
                    </a:cubicBezTo>
                    <a:cubicBezTo>
                      <a:pt x="539271" y="224103"/>
                      <a:pt x="541950" y="221482"/>
                      <a:pt x="542348" y="218518"/>
                    </a:cubicBezTo>
                    <a:cubicBezTo>
                      <a:pt x="542405" y="216050"/>
                      <a:pt x="541950" y="213594"/>
                      <a:pt x="540924" y="211337"/>
                    </a:cubicBezTo>
                    <a:cubicBezTo>
                      <a:pt x="539841" y="208213"/>
                      <a:pt x="539841" y="204828"/>
                      <a:pt x="540924" y="201704"/>
                    </a:cubicBezTo>
                    <a:cubicBezTo>
                      <a:pt x="542064" y="198570"/>
                      <a:pt x="544742" y="196284"/>
                      <a:pt x="548048" y="195720"/>
                    </a:cubicBezTo>
                    <a:cubicBezTo>
                      <a:pt x="551753" y="195538"/>
                      <a:pt x="555172" y="197458"/>
                      <a:pt x="556996" y="200679"/>
                    </a:cubicBezTo>
                    <a:cubicBezTo>
                      <a:pt x="558650" y="203922"/>
                      <a:pt x="559390" y="207586"/>
                      <a:pt x="559048" y="211222"/>
                    </a:cubicBezTo>
                    <a:cubicBezTo>
                      <a:pt x="558535" y="214751"/>
                      <a:pt x="558364" y="218324"/>
                      <a:pt x="558650" y="221881"/>
                    </a:cubicBezTo>
                    <a:cubicBezTo>
                      <a:pt x="559048" y="225522"/>
                      <a:pt x="561670" y="228520"/>
                      <a:pt x="565260" y="229347"/>
                    </a:cubicBezTo>
                    <a:cubicBezTo>
                      <a:pt x="567142" y="229632"/>
                      <a:pt x="569250" y="228891"/>
                      <a:pt x="570960" y="229803"/>
                    </a:cubicBezTo>
                    <a:cubicBezTo>
                      <a:pt x="572784" y="231068"/>
                      <a:pt x="573753" y="233297"/>
                      <a:pt x="573354" y="235502"/>
                    </a:cubicBezTo>
                    <a:cubicBezTo>
                      <a:pt x="573069" y="237697"/>
                      <a:pt x="573069" y="239919"/>
                      <a:pt x="573354" y="242114"/>
                    </a:cubicBezTo>
                    <a:cubicBezTo>
                      <a:pt x="573924" y="244222"/>
                      <a:pt x="576261" y="246160"/>
                      <a:pt x="578198" y="245191"/>
                    </a:cubicBezTo>
                    <a:cubicBezTo>
                      <a:pt x="580991" y="242324"/>
                      <a:pt x="584639" y="240478"/>
                      <a:pt x="588572" y="239948"/>
                    </a:cubicBezTo>
                    <a:cubicBezTo>
                      <a:pt x="590395" y="239948"/>
                      <a:pt x="592219" y="240461"/>
                      <a:pt x="594271" y="240290"/>
                    </a:cubicBezTo>
                    <a:cubicBezTo>
                      <a:pt x="598204" y="239577"/>
                      <a:pt x="600996" y="236027"/>
                      <a:pt x="600768" y="232026"/>
                    </a:cubicBezTo>
                    <a:cubicBezTo>
                      <a:pt x="600369" y="228104"/>
                      <a:pt x="597862" y="224702"/>
                      <a:pt x="594271" y="223135"/>
                    </a:cubicBezTo>
                    <a:cubicBezTo>
                      <a:pt x="593302" y="222781"/>
                      <a:pt x="592447" y="222262"/>
                      <a:pt x="591649" y="221596"/>
                    </a:cubicBezTo>
                    <a:cubicBezTo>
                      <a:pt x="590965" y="220735"/>
                      <a:pt x="590566" y="219675"/>
                      <a:pt x="590509" y="218575"/>
                    </a:cubicBezTo>
                    <a:cubicBezTo>
                      <a:pt x="589426" y="210653"/>
                      <a:pt x="592447" y="201476"/>
                      <a:pt x="587317" y="195264"/>
                    </a:cubicBezTo>
                    <a:cubicBezTo>
                      <a:pt x="586576" y="194546"/>
                      <a:pt x="585950" y="193697"/>
                      <a:pt x="585494" y="192756"/>
                    </a:cubicBezTo>
                    <a:cubicBezTo>
                      <a:pt x="584753" y="190476"/>
                      <a:pt x="586805" y="187969"/>
                      <a:pt x="585892" y="185746"/>
                    </a:cubicBezTo>
                    <a:cubicBezTo>
                      <a:pt x="584981" y="183523"/>
                      <a:pt x="580820" y="183637"/>
                      <a:pt x="577970" y="182953"/>
                    </a:cubicBezTo>
                    <a:cubicBezTo>
                      <a:pt x="574152" y="182075"/>
                      <a:pt x="571701" y="178428"/>
                      <a:pt x="572271" y="174575"/>
                    </a:cubicBezTo>
                    <a:cubicBezTo>
                      <a:pt x="575918" y="175230"/>
                      <a:pt x="579680" y="175230"/>
                      <a:pt x="583328" y="174575"/>
                    </a:cubicBezTo>
                    <a:cubicBezTo>
                      <a:pt x="587033" y="173908"/>
                      <a:pt x="590167" y="171395"/>
                      <a:pt x="591592" y="167907"/>
                    </a:cubicBezTo>
                    <a:cubicBezTo>
                      <a:pt x="591706" y="166630"/>
                      <a:pt x="591991" y="165370"/>
                      <a:pt x="592333" y="164145"/>
                    </a:cubicBezTo>
                    <a:close/>
                    <a:moveTo>
                      <a:pt x="713846" y="84979"/>
                    </a:moveTo>
                    <a:lnTo>
                      <a:pt x="706779" y="84979"/>
                    </a:lnTo>
                    <a:cubicBezTo>
                      <a:pt x="706095" y="84837"/>
                      <a:pt x="705411" y="84837"/>
                      <a:pt x="704727" y="84979"/>
                    </a:cubicBezTo>
                    <a:cubicBezTo>
                      <a:pt x="703473" y="85806"/>
                      <a:pt x="702789" y="87310"/>
                      <a:pt x="703074" y="88798"/>
                    </a:cubicBezTo>
                    <a:cubicBezTo>
                      <a:pt x="703074" y="90280"/>
                      <a:pt x="703701" y="91762"/>
                      <a:pt x="703701" y="93186"/>
                    </a:cubicBezTo>
                    <a:cubicBezTo>
                      <a:pt x="703701" y="97575"/>
                      <a:pt x="698799" y="100539"/>
                      <a:pt x="698001" y="104585"/>
                    </a:cubicBezTo>
                    <a:cubicBezTo>
                      <a:pt x="697203" y="108632"/>
                      <a:pt x="701934" y="113420"/>
                      <a:pt x="704271" y="117808"/>
                    </a:cubicBezTo>
                    <a:cubicBezTo>
                      <a:pt x="705981" y="121359"/>
                      <a:pt x="706722" y="125286"/>
                      <a:pt x="706436" y="129207"/>
                    </a:cubicBezTo>
                    <a:cubicBezTo>
                      <a:pt x="706436" y="131202"/>
                      <a:pt x="707006" y="133995"/>
                      <a:pt x="709002" y="133767"/>
                    </a:cubicBezTo>
                    <a:cubicBezTo>
                      <a:pt x="709571" y="133647"/>
                      <a:pt x="710084" y="133413"/>
                      <a:pt x="710540" y="133083"/>
                    </a:cubicBezTo>
                    <a:cubicBezTo>
                      <a:pt x="713618" y="131316"/>
                      <a:pt x="717892" y="131715"/>
                      <a:pt x="720229" y="128979"/>
                    </a:cubicBezTo>
                    <a:cubicBezTo>
                      <a:pt x="723250" y="125388"/>
                      <a:pt x="720856" y="118264"/>
                      <a:pt x="725131" y="116212"/>
                    </a:cubicBezTo>
                    <a:cubicBezTo>
                      <a:pt x="727126" y="115186"/>
                      <a:pt x="729690" y="116212"/>
                      <a:pt x="731685" y="115015"/>
                    </a:cubicBezTo>
                    <a:cubicBezTo>
                      <a:pt x="734706" y="113420"/>
                      <a:pt x="734364" y="109316"/>
                      <a:pt x="733509" y="105839"/>
                    </a:cubicBezTo>
                    <a:cubicBezTo>
                      <a:pt x="729006" y="101086"/>
                      <a:pt x="723478" y="97467"/>
                      <a:pt x="717323" y="95295"/>
                    </a:cubicBezTo>
                    <a:cubicBezTo>
                      <a:pt x="716866" y="95158"/>
                      <a:pt x="716525" y="94925"/>
                      <a:pt x="716182" y="94611"/>
                    </a:cubicBezTo>
                    <a:cubicBezTo>
                      <a:pt x="716012" y="94127"/>
                      <a:pt x="716012" y="93614"/>
                      <a:pt x="716182" y="93129"/>
                    </a:cubicBezTo>
                    <a:lnTo>
                      <a:pt x="716182" y="86746"/>
                    </a:lnTo>
                    <a:cubicBezTo>
                      <a:pt x="716354" y="86222"/>
                      <a:pt x="716354" y="85675"/>
                      <a:pt x="716182" y="85150"/>
                    </a:cubicBezTo>
                    <a:cubicBezTo>
                      <a:pt x="715441" y="84894"/>
                      <a:pt x="714587" y="84956"/>
                      <a:pt x="713903" y="85321"/>
                    </a:cubicBezTo>
                    <a:close/>
                    <a:moveTo>
                      <a:pt x="749411" y="215041"/>
                    </a:moveTo>
                    <a:cubicBezTo>
                      <a:pt x="753571" y="215440"/>
                      <a:pt x="758074" y="214072"/>
                      <a:pt x="761665" y="216124"/>
                    </a:cubicBezTo>
                    <a:cubicBezTo>
                      <a:pt x="763203" y="217196"/>
                      <a:pt x="764628" y="218484"/>
                      <a:pt x="765825" y="219943"/>
                    </a:cubicBezTo>
                    <a:cubicBezTo>
                      <a:pt x="768675" y="223391"/>
                      <a:pt x="773348" y="224725"/>
                      <a:pt x="777566" y="223305"/>
                    </a:cubicBezTo>
                    <a:cubicBezTo>
                      <a:pt x="780872" y="221613"/>
                      <a:pt x="782183" y="217560"/>
                      <a:pt x="780473" y="214255"/>
                    </a:cubicBezTo>
                    <a:cubicBezTo>
                      <a:pt x="779618" y="212494"/>
                      <a:pt x="777965" y="211217"/>
                      <a:pt x="776027" y="210767"/>
                    </a:cubicBezTo>
                    <a:cubicBezTo>
                      <a:pt x="775172" y="210681"/>
                      <a:pt x="774374" y="210470"/>
                      <a:pt x="773576" y="210140"/>
                    </a:cubicBezTo>
                    <a:cubicBezTo>
                      <a:pt x="771696" y="209114"/>
                      <a:pt x="771297" y="206150"/>
                      <a:pt x="769245" y="205580"/>
                    </a:cubicBezTo>
                    <a:cubicBezTo>
                      <a:pt x="767193" y="205010"/>
                      <a:pt x="765939" y="206264"/>
                      <a:pt x="764685" y="205580"/>
                    </a:cubicBezTo>
                    <a:cubicBezTo>
                      <a:pt x="763431" y="204896"/>
                      <a:pt x="763944" y="202787"/>
                      <a:pt x="763374" y="201419"/>
                    </a:cubicBezTo>
                    <a:cubicBezTo>
                      <a:pt x="762804" y="200052"/>
                      <a:pt x="759898" y="199140"/>
                      <a:pt x="757675" y="199140"/>
                    </a:cubicBezTo>
                    <a:lnTo>
                      <a:pt x="728095" y="199482"/>
                    </a:lnTo>
                    <a:cubicBezTo>
                      <a:pt x="724903" y="199003"/>
                      <a:pt x="721711" y="200086"/>
                      <a:pt x="719431" y="202388"/>
                    </a:cubicBezTo>
                    <a:cubicBezTo>
                      <a:pt x="717721" y="204896"/>
                      <a:pt x="718576" y="208088"/>
                      <a:pt x="718348" y="211109"/>
                    </a:cubicBezTo>
                    <a:cubicBezTo>
                      <a:pt x="718064" y="212095"/>
                      <a:pt x="718064" y="213143"/>
                      <a:pt x="718348" y="214129"/>
                    </a:cubicBezTo>
                    <a:cubicBezTo>
                      <a:pt x="719032" y="214984"/>
                      <a:pt x="720058" y="215503"/>
                      <a:pt x="721141" y="215554"/>
                    </a:cubicBezTo>
                    <a:cubicBezTo>
                      <a:pt x="727297" y="216409"/>
                      <a:pt x="733338" y="212590"/>
                      <a:pt x="739551" y="213160"/>
                    </a:cubicBezTo>
                    <a:cubicBezTo>
                      <a:pt x="743199" y="213559"/>
                      <a:pt x="746219" y="215041"/>
                      <a:pt x="749468" y="215383"/>
                    </a:cubicBezTo>
                    <a:close/>
                    <a:moveTo>
                      <a:pt x="573297" y="332108"/>
                    </a:moveTo>
                    <a:cubicBezTo>
                      <a:pt x="573639" y="329373"/>
                      <a:pt x="572271" y="326705"/>
                      <a:pt x="569877" y="325383"/>
                    </a:cubicBezTo>
                    <a:cubicBezTo>
                      <a:pt x="567483" y="324101"/>
                      <a:pt x="564805" y="323451"/>
                      <a:pt x="562126" y="323502"/>
                    </a:cubicBezTo>
                    <a:cubicBezTo>
                      <a:pt x="554717" y="323120"/>
                      <a:pt x="547307" y="324169"/>
                      <a:pt x="540297" y="326580"/>
                    </a:cubicBezTo>
                    <a:cubicBezTo>
                      <a:pt x="533856" y="328803"/>
                      <a:pt x="526903" y="333761"/>
                      <a:pt x="527530" y="340544"/>
                    </a:cubicBezTo>
                    <a:cubicBezTo>
                      <a:pt x="548903" y="344134"/>
                      <a:pt x="570618" y="344533"/>
                      <a:pt x="592105" y="341741"/>
                    </a:cubicBezTo>
                    <a:cubicBezTo>
                      <a:pt x="593473" y="336041"/>
                      <a:pt x="601053" y="334103"/>
                      <a:pt x="607095" y="334388"/>
                    </a:cubicBezTo>
                    <a:cubicBezTo>
                      <a:pt x="613136" y="334673"/>
                      <a:pt x="620146" y="335471"/>
                      <a:pt x="624193" y="331139"/>
                    </a:cubicBezTo>
                    <a:cubicBezTo>
                      <a:pt x="625390" y="330079"/>
                      <a:pt x="625960" y="328432"/>
                      <a:pt x="625561" y="326865"/>
                    </a:cubicBezTo>
                    <a:cubicBezTo>
                      <a:pt x="624877" y="324813"/>
                      <a:pt x="622312" y="324300"/>
                      <a:pt x="619862" y="324129"/>
                    </a:cubicBezTo>
                    <a:cubicBezTo>
                      <a:pt x="607836" y="323160"/>
                      <a:pt x="595012" y="322305"/>
                      <a:pt x="584582" y="328404"/>
                    </a:cubicBezTo>
                    <a:cubicBezTo>
                      <a:pt x="581447" y="330911"/>
                      <a:pt x="577343" y="333989"/>
                      <a:pt x="573354" y="332450"/>
                    </a:cubicBezTo>
                    <a:close/>
                    <a:moveTo>
                      <a:pt x="560188" y="367958"/>
                    </a:moveTo>
                    <a:lnTo>
                      <a:pt x="548447" y="362658"/>
                    </a:lnTo>
                    <a:cubicBezTo>
                      <a:pt x="548333" y="360503"/>
                      <a:pt x="547079" y="358582"/>
                      <a:pt x="545085" y="357699"/>
                    </a:cubicBezTo>
                    <a:cubicBezTo>
                      <a:pt x="543146" y="356901"/>
                      <a:pt x="541038" y="356491"/>
                      <a:pt x="538929" y="356502"/>
                    </a:cubicBezTo>
                    <a:lnTo>
                      <a:pt x="517100" y="355134"/>
                    </a:lnTo>
                    <a:cubicBezTo>
                      <a:pt x="515276" y="358269"/>
                      <a:pt x="516302" y="362287"/>
                      <a:pt x="519437" y="364139"/>
                    </a:cubicBezTo>
                    <a:cubicBezTo>
                      <a:pt x="522514" y="365786"/>
                      <a:pt x="525991" y="366579"/>
                      <a:pt x="529525" y="366419"/>
                    </a:cubicBezTo>
                    <a:cubicBezTo>
                      <a:pt x="533058" y="366277"/>
                      <a:pt x="536536" y="367086"/>
                      <a:pt x="539613" y="368756"/>
                    </a:cubicBezTo>
                    <a:cubicBezTo>
                      <a:pt x="542405" y="370694"/>
                      <a:pt x="544001" y="373943"/>
                      <a:pt x="546737" y="375823"/>
                    </a:cubicBezTo>
                    <a:cubicBezTo>
                      <a:pt x="550955" y="378023"/>
                      <a:pt x="555856" y="378571"/>
                      <a:pt x="560473" y="377362"/>
                    </a:cubicBezTo>
                    <a:cubicBezTo>
                      <a:pt x="560416" y="374569"/>
                      <a:pt x="560359" y="371435"/>
                      <a:pt x="560245" y="368300"/>
                    </a:cubicBezTo>
                    <a:close/>
                    <a:moveTo>
                      <a:pt x="454919" y="338549"/>
                    </a:moveTo>
                    <a:cubicBezTo>
                      <a:pt x="455033" y="340481"/>
                      <a:pt x="455375" y="342390"/>
                      <a:pt x="455888" y="344248"/>
                    </a:cubicBezTo>
                    <a:cubicBezTo>
                      <a:pt x="456970" y="347559"/>
                      <a:pt x="459307" y="350307"/>
                      <a:pt x="462442" y="351886"/>
                    </a:cubicBezTo>
                    <a:cubicBezTo>
                      <a:pt x="467971" y="354126"/>
                      <a:pt x="474183" y="353937"/>
                      <a:pt x="479541" y="351372"/>
                    </a:cubicBezTo>
                    <a:cubicBezTo>
                      <a:pt x="480509" y="351065"/>
                      <a:pt x="481364" y="350603"/>
                      <a:pt x="482162" y="350005"/>
                    </a:cubicBezTo>
                    <a:cubicBezTo>
                      <a:pt x="482903" y="349315"/>
                      <a:pt x="483530" y="348529"/>
                      <a:pt x="484043" y="347668"/>
                    </a:cubicBezTo>
                    <a:lnTo>
                      <a:pt x="488375" y="340885"/>
                    </a:lnTo>
                    <a:cubicBezTo>
                      <a:pt x="495556" y="338463"/>
                      <a:pt x="503193" y="337494"/>
                      <a:pt x="510774" y="338036"/>
                    </a:cubicBezTo>
                    <a:lnTo>
                      <a:pt x="511287" y="327036"/>
                    </a:lnTo>
                    <a:cubicBezTo>
                      <a:pt x="501882" y="322186"/>
                      <a:pt x="490540" y="323400"/>
                      <a:pt x="482391" y="330114"/>
                    </a:cubicBezTo>
                    <a:cubicBezTo>
                      <a:pt x="480680" y="331761"/>
                      <a:pt x="478743" y="333214"/>
                      <a:pt x="476691" y="334445"/>
                    </a:cubicBezTo>
                    <a:cubicBezTo>
                      <a:pt x="474696" y="335716"/>
                      <a:pt x="472074" y="335602"/>
                      <a:pt x="470194" y="334160"/>
                    </a:cubicBezTo>
                    <a:cubicBezTo>
                      <a:pt x="469339" y="333248"/>
                      <a:pt x="468655" y="332131"/>
                      <a:pt x="468312" y="330911"/>
                    </a:cubicBezTo>
                    <a:lnTo>
                      <a:pt x="465406" y="323502"/>
                    </a:lnTo>
                    <a:cubicBezTo>
                      <a:pt x="461473" y="322755"/>
                      <a:pt x="457540" y="322488"/>
                      <a:pt x="453551" y="322704"/>
                    </a:cubicBezTo>
                    <a:cubicBezTo>
                      <a:pt x="454121" y="328518"/>
                      <a:pt x="454577" y="333704"/>
                      <a:pt x="454976" y="338891"/>
                    </a:cubicBezTo>
                    <a:close/>
                    <a:moveTo>
                      <a:pt x="429100" y="332849"/>
                    </a:moveTo>
                    <a:cubicBezTo>
                      <a:pt x="430981" y="335357"/>
                      <a:pt x="434058" y="336708"/>
                      <a:pt x="437193" y="336440"/>
                    </a:cubicBezTo>
                    <a:cubicBezTo>
                      <a:pt x="441297" y="336440"/>
                      <a:pt x="446541" y="335186"/>
                      <a:pt x="446996" y="331082"/>
                    </a:cubicBezTo>
                    <a:cubicBezTo>
                      <a:pt x="447339" y="327834"/>
                      <a:pt x="444090" y="325383"/>
                      <a:pt x="440955" y="324243"/>
                    </a:cubicBezTo>
                    <a:cubicBezTo>
                      <a:pt x="437991" y="323137"/>
                      <a:pt x="434686" y="323320"/>
                      <a:pt x="431836" y="324756"/>
                    </a:cubicBezTo>
                    <a:cubicBezTo>
                      <a:pt x="428758" y="326414"/>
                      <a:pt x="427618" y="330199"/>
                      <a:pt x="429157" y="333305"/>
                    </a:cubicBezTo>
                    <a:close/>
                    <a:moveTo>
                      <a:pt x="383504" y="302870"/>
                    </a:moveTo>
                    <a:cubicBezTo>
                      <a:pt x="385499" y="301559"/>
                      <a:pt x="388121" y="302300"/>
                      <a:pt x="390515" y="302300"/>
                    </a:cubicBezTo>
                    <a:cubicBezTo>
                      <a:pt x="396328" y="302146"/>
                      <a:pt x="401116" y="297621"/>
                      <a:pt x="401572" y="291813"/>
                    </a:cubicBezTo>
                    <a:lnTo>
                      <a:pt x="348623" y="294492"/>
                    </a:lnTo>
                    <a:cubicBezTo>
                      <a:pt x="350562" y="289590"/>
                      <a:pt x="343950" y="285202"/>
                      <a:pt x="338763" y="286057"/>
                    </a:cubicBezTo>
                    <a:cubicBezTo>
                      <a:pt x="333577" y="286911"/>
                      <a:pt x="329189" y="290559"/>
                      <a:pt x="324059" y="291756"/>
                    </a:cubicBezTo>
                    <a:cubicBezTo>
                      <a:pt x="316365" y="293352"/>
                      <a:pt x="308727" y="289134"/>
                      <a:pt x="301261" y="288108"/>
                    </a:cubicBezTo>
                    <a:cubicBezTo>
                      <a:pt x="298525" y="288046"/>
                      <a:pt x="295790" y="287407"/>
                      <a:pt x="293282" y="286228"/>
                    </a:cubicBezTo>
                    <a:cubicBezTo>
                      <a:pt x="291002" y="284746"/>
                      <a:pt x="289805" y="281098"/>
                      <a:pt x="291914" y="279274"/>
                    </a:cubicBezTo>
                    <a:cubicBezTo>
                      <a:pt x="286955" y="277109"/>
                      <a:pt x="279147" y="280186"/>
                      <a:pt x="277038" y="275228"/>
                    </a:cubicBezTo>
                    <a:cubicBezTo>
                      <a:pt x="276753" y="273945"/>
                      <a:pt x="276354" y="272691"/>
                      <a:pt x="275898" y="271466"/>
                    </a:cubicBezTo>
                    <a:cubicBezTo>
                      <a:pt x="274758" y="269585"/>
                      <a:pt x="272080" y="269471"/>
                      <a:pt x="270199" y="269585"/>
                    </a:cubicBezTo>
                    <a:lnTo>
                      <a:pt x="236458" y="271295"/>
                    </a:lnTo>
                    <a:cubicBezTo>
                      <a:pt x="235204" y="279884"/>
                      <a:pt x="228023" y="286359"/>
                      <a:pt x="219360" y="286684"/>
                    </a:cubicBezTo>
                    <a:cubicBezTo>
                      <a:pt x="218562" y="290901"/>
                      <a:pt x="222893" y="294492"/>
                      <a:pt x="227111" y="295176"/>
                    </a:cubicBezTo>
                    <a:cubicBezTo>
                      <a:pt x="231385" y="295404"/>
                      <a:pt x="235660" y="295404"/>
                      <a:pt x="239935" y="295176"/>
                    </a:cubicBezTo>
                    <a:cubicBezTo>
                      <a:pt x="244152" y="295176"/>
                      <a:pt x="248940" y="297912"/>
                      <a:pt x="249453" y="302129"/>
                    </a:cubicBezTo>
                    <a:cubicBezTo>
                      <a:pt x="249339" y="303229"/>
                      <a:pt x="249339" y="304335"/>
                      <a:pt x="249453" y="305435"/>
                    </a:cubicBezTo>
                    <a:cubicBezTo>
                      <a:pt x="250878" y="309367"/>
                      <a:pt x="256976" y="307316"/>
                      <a:pt x="260852" y="308798"/>
                    </a:cubicBezTo>
                    <a:cubicBezTo>
                      <a:pt x="263018" y="309903"/>
                      <a:pt x="264955" y="311414"/>
                      <a:pt x="266552" y="313243"/>
                    </a:cubicBezTo>
                    <a:cubicBezTo>
                      <a:pt x="273505" y="318937"/>
                      <a:pt x="283820" y="317894"/>
                      <a:pt x="289463" y="310918"/>
                    </a:cubicBezTo>
                    <a:cubicBezTo>
                      <a:pt x="289691" y="310638"/>
                      <a:pt x="289919" y="310348"/>
                      <a:pt x="290147" y="310051"/>
                    </a:cubicBezTo>
                    <a:cubicBezTo>
                      <a:pt x="291914" y="307316"/>
                      <a:pt x="293168" y="303725"/>
                      <a:pt x="296303" y="302813"/>
                    </a:cubicBezTo>
                    <a:cubicBezTo>
                      <a:pt x="299437" y="301901"/>
                      <a:pt x="303085" y="305150"/>
                      <a:pt x="306504" y="306746"/>
                    </a:cubicBezTo>
                    <a:cubicBezTo>
                      <a:pt x="309924" y="308342"/>
                      <a:pt x="313743" y="308456"/>
                      <a:pt x="315965" y="311248"/>
                    </a:cubicBezTo>
                    <a:cubicBezTo>
                      <a:pt x="316935" y="312844"/>
                      <a:pt x="317790" y="314503"/>
                      <a:pt x="318531" y="316207"/>
                    </a:cubicBezTo>
                    <a:cubicBezTo>
                      <a:pt x="322406" y="322419"/>
                      <a:pt x="331753" y="320481"/>
                      <a:pt x="338820" y="318487"/>
                    </a:cubicBezTo>
                    <a:cubicBezTo>
                      <a:pt x="350333" y="315238"/>
                      <a:pt x="362302" y="313870"/>
                      <a:pt x="374214" y="314440"/>
                    </a:cubicBezTo>
                    <a:cubicBezTo>
                      <a:pt x="375582" y="314645"/>
                      <a:pt x="377007" y="314469"/>
                      <a:pt x="378318" y="313927"/>
                    </a:cubicBezTo>
                    <a:cubicBezTo>
                      <a:pt x="381852" y="312103"/>
                      <a:pt x="380199" y="305663"/>
                      <a:pt x="383675" y="303383"/>
                    </a:cubicBezTo>
                    <a:close/>
                    <a:moveTo>
                      <a:pt x="227567" y="181243"/>
                    </a:moveTo>
                    <a:cubicBezTo>
                      <a:pt x="231214" y="184435"/>
                      <a:pt x="235261" y="189052"/>
                      <a:pt x="233266" y="193440"/>
                    </a:cubicBezTo>
                    <a:lnTo>
                      <a:pt x="221126" y="193440"/>
                    </a:lnTo>
                    <a:cubicBezTo>
                      <a:pt x="217878" y="185159"/>
                      <a:pt x="211836" y="178285"/>
                      <a:pt x="204028" y="174005"/>
                    </a:cubicBezTo>
                    <a:cubicBezTo>
                      <a:pt x="206365" y="171839"/>
                      <a:pt x="203344" y="167963"/>
                      <a:pt x="200267" y="167109"/>
                    </a:cubicBezTo>
                    <a:cubicBezTo>
                      <a:pt x="197189" y="166254"/>
                      <a:pt x="193370" y="166140"/>
                      <a:pt x="191717" y="163347"/>
                    </a:cubicBezTo>
                    <a:cubicBezTo>
                      <a:pt x="190064" y="160554"/>
                      <a:pt x="192230" y="154969"/>
                      <a:pt x="189209" y="152803"/>
                    </a:cubicBezTo>
                    <a:cubicBezTo>
                      <a:pt x="184878" y="153852"/>
                      <a:pt x="180375" y="153595"/>
                      <a:pt x="176214" y="152062"/>
                    </a:cubicBezTo>
                    <a:cubicBezTo>
                      <a:pt x="172111" y="150255"/>
                      <a:pt x="170230" y="145451"/>
                      <a:pt x="171997" y="141330"/>
                    </a:cubicBezTo>
                    <a:cubicBezTo>
                      <a:pt x="172054" y="141256"/>
                      <a:pt x="172054" y="141187"/>
                      <a:pt x="172111" y="141119"/>
                    </a:cubicBezTo>
                    <a:cubicBezTo>
                      <a:pt x="176271" y="142065"/>
                      <a:pt x="180432" y="139432"/>
                      <a:pt x="181401" y="135249"/>
                    </a:cubicBezTo>
                    <a:cubicBezTo>
                      <a:pt x="182370" y="131060"/>
                      <a:pt x="179691" y="126905"/>
                      <a:pt x="175530" y="125958"/>
                    </a:cubicBezTo>
                    <a:cubicBezTo>
                      <a:pt x="175702" y="121273"/>
                      <a:pt x="172054" y="117329"/>
                      <a:pt x="167381" y="117147"/>
                    </a:cubicBezTo>
                    <a:cubicBezTo>
                      <a:pt x="166697" y="117124"/>
                      <a:pt x="166070" y="117176"/>
                      <a:pt x="165442" y="117295"/>
                    </a:cubicBezTo>
                    <a:cubicBezTo>
                      <a:pt x="166240" y="111938"/>
                      <a:pt x="161510" y="107606"/>
                      <a:pt x="157178" y="104357"/>
                    </a:cubicBezTo>
                    <a:lnTo>
                      <a:pt x="144354" y="94668"/>
                    </a:lnTo>
                    <a:lnTo>
                      <a:pt x="143671" y="88513"/>
                    </a:lnTo>
                    <a:cubicBezTo>
                      <a:pt x="134609" y="83794"/>
                      <a:pt x="124862" y="80471"/>
                      <a:pt x="114832" y="78653"/>
                    </a:cubicBezTo>
                    <a:cubicBezTo>
                      <a:pt x="113293" y="78584"/>
                      <a:pt x="111811" y="77889"/>
                      <a:pt x="110784" y="76715"/>
                    </a:cubicBezTo>
                    <a:cubicBezTo>
                      <a:pt x="110272" y="75609"/>
                      <a:pt x="109929" y="74435"/>
                      <a:pt x="109759" y="73238"/>
                    </a:cubicBezTo>
                    <a:cubicBezTo>
                      <a:pt x="108505" y="69648"/>
                      <a:pt x="103546" y="68736"/>
                      <a:pt x="101780" y="65373"/>
                    </a:cubicBezTo>
                    <a:cubicBezTo>
                      <a:pt x="100583" y="63036"/>
                      <a:pt x="101266" y="60015"/>
                      <a:pt x="99956" y="57736"/>
                    </a:cubicBezTo>
                    <a:cubicBezTo>
                      <a:pt x="97904" y="54259"/>
                      <a:pt x="92717" y="54544"/>
                      <a:pt x="89355" y="52036"/>
                    </a:cubicBezTo>
                    <a:cubicBezTo>
                      <a:pt x="85992" y="49528"/>
                      <a:pt x="85137" y="45710"/>
                      <a:pt x="83028" y="42461"/>
                    </a:cubicBezTo>
                    <a:cubicBezTo>
                      <a:pt x="80007" y="37947"/>
                      <a:pt x="74821" y="35303"/>
                      <a:pt x="69407" y="35451"/>
                    </a:cubicBezTo>
                    <a:cubicBezTo>
                      <a:pt x="71287" y="33228"/>
                      <a:pt x="69065" y="29751"/>
                      <a:pt x="66500" y="28440"/>
                    </a:cubicBezTo>
                    <a:cubicBezTo>
                      <a:pt x="63935" y="27130"/>
                      <a:pt x="60800" y="26275"/>
                      <a:pt x="59375" y="23653"/>
                    </a:cubicBezTo>
                    <a:cubicBezTo>
                      <a:pt x="57951" y="21031"/>
                      <a:pt x="59375" y="16927"/>
                      <a:pt x="59375" y="13508"/>
                    </a:cubicBezTo>
                    <a:cubicBezTo>
                      <a:pt x="58350" y="7808"/>
                      <a:pt x="51567" y="5870"/>
                      <a:pt x="45981" y="5016"/>
                    </a:cubicBezTo>
                    <a:cubicBezTo>
                      <a:pt x="30821" y="2736"/>
                      <a:pt x="15546" y="1026"/>
                      <a:pt x="386" y="0"/>
                    </a:cubicBezTo>
                    <a:cubicBezTo>
                      <a:pt x="-1267" y="4275"/>
                      <a:pt x="2723" y="8435"/>
                      <a:pt x="6085" y="11399"/>
                    </a:cubicBezTo>
                    <a:cubicBezTo>
                      <a:pt x="9448" y="14363"/>
                      <a:pt x="13039" y="19264"/>
                      <a:pt x="10474" y="23083"/>
                    </a:cubicBezTo>
                    <a:cubicBezTo>
                      <a:pt x="12583" y="21316"/>
                      <a:pt x="16173" y="23083"/>
                      <a:pt x="17427" y="25249"/>
                    </a:cubicBezTo>
                    <a:cubicBezTo>
                      <a:pt x="18567" y="27751"/>
                      <a:pt x="19536" y="30344"/>
                      <a:pt x="20277" y="33000"/>
                    </a:cubicBezTo>
                    <a:cubicBezTo>
                      <a:pt x="22671" y="38232"/>
                      <a:pt x="28028" y="41452"/>
                      <a:pt x="33785" y="41093"/>
                    </a:cubicBezTo>
                    <a:cubicBezTo>
                      <a:pt x="38002" y="48691"/>
                      <a:pt x="42505" y="56066"/>
                      <a:pt x="47293" y="63207"/>
                    </a:cubicBezTo>
                    <a:cubicBezTo>
                      <a:pt x="51738" y="71255"/>
                      <a:pt x="58520" y="77747"/>
                      <a:pt x="66785" y="81787"/>
                    </a:cubicBezTo>
                    <a:cubicBezTo>
                      <a:pt x="68893" y="82323"/>
                      <a:pt x="70831" y="83292"/>
                      <a:pt x="72484" y="84637"/>
                    </a:cubicBezTo>
                    <a:cubicBezTo>
                      <a:pt x="76930" y="89254"/>
                      <a:pt x="71458" y="98316"/>
                      <a:pt x="75904" y="102876"/>
                    </a:cubicBezTo>
                    <a:cubicBezTo>
                      <a:pt x="77443" y="104471"/>
                      <a:pt x="79836" y="105041"/>
                      <a:pt x="81033" y="106922"/>
                    </a:cubicBezTo>
                    <a:cubicBezTo>
                      <a:pt x="82230" y="108803"/>
                      <a:pt x="81033" y="112622"/>
                      <a:pt x="81033" y="115528"/>
                    </a:cubicBezTo>
                    <a:cubicBezTo>
                      <a:pt x="81318" y="120208"/>
                      <a:pt x="84339" y="124288"/>
                      <a:pt x="88670" y="126015"/>
                    </a:cubicBezTo>
                    <a:cubicBezTo>
                      <a:pt x="92945" y="127680"/>
                      <a:pt x="97505" y="128472"/>
                      <a:pt x="102121" y="128352"/>
                    </a:cubicBezTo>
                    <a:lnTo>
                      <a:pt x="109531" y="143627"/>
                    </a:lnTo>
                    <a:cubicBezTo>
                      <a:pt x="113236" y="151321"/>
                      <a:pt x="117966" y="159813"/>
                      <a:pt x="126230" y="161637"/>
                    </a:cubicBezTo>
                    <a:cubicBezTo>
                      <a:pt x="124749" y="166972"/>
                      <a:pt x="126743" y="172671"/>
                      <a:pt x="131245" y="175886"/>
                    </a:cubicBezTo>
                    <a:cubicBezTo>
                      <a:pt x="133811" y="177134"/>
                      <a:pt x="136261" y="178604"/>
                      <a:pt x="138541" y="180274"/>
                    </a:cubicBezTo>
                    <a:cubicBezTo>
                      <a:pt x="142017" y="183694"/>
                      <a:pt x="141676" y="189280"/>
                      <a:pt x="142588" y="194067"/>
                    </a:cubicBezTo>
                    <a:cubicBezTo>
                      <a:pt x="143499" y="198855"/>
                      <a:pt x="147660" y="204212"/>
                      <a:pt x="152163" y="202445"/>
                    </a:cubicBezTo>
                    <a:cubicBezTo>
                      <a:pt x="149028" y="208430"/>
                      <a:pt x="150966" y="215799"/>
                      <a:pt x="156551" y="219544"/>
                    </a:cubicBezTo>
                    <a:cubicBezTo>
                      <a:pt x="160256" y="221824"/>
                      <a:pt x="165499" y="222621"/>
                      <a:pt x="166981" y="226725"/>
                    </a:cubicBezTo>
                    <a:cubicBezTo>
                      <a:pt x="167779" y="228834"/>
                      <a:pt x="166981" y="231228"/>
                      <a:pt x="167836" y="233393"/>
                    </a:cubicBezTo>
                    <a:cubicBezTo>
                      <a:pt x="169546" y="239093"/>
                      <a:pt x="177867" y="239093"/>
                      <a:pt x="182769" y="242741"/>
                    </a:cubicBezTo>
                    <a:cubicBezTo>
                      <a:pt x="187670" y="246388"/>
                      <a:pt x="188868" y="254139"/>
                      <a:pt x="192971" y="259041"/>
                    </a:cubicBezTo>
                    <a:cubicBezTo>
                      <a:pt x="197303" y="263401"/>
                      <a:pt x="202888" y="266262"/>
                      <a:pt x="208929" y="267191"/>
                    </a:cubicBezTo>
                    <a:cubicBezTo>
                      <a:pt x="211950" y="268240"/>
                      <a:pt x="215199" y="268240"/>
                      <a:pt x="218219" y="267191"/>
                    </a:cubicBezTo>
                    <a:cubicBezTo>
                      <a:pt x="222551" y="265254"/>
                      <a:pt x="223919" y="259839"/>
                      <a:pt x="224603" y="255108"/>
                    </a:cubicBezTo>
                    <a:cubicBezTo>
                      <a:pt x="226484" y="242741"/>
                      <a:pt x="227852" y="230259"/>
                      <a:pt x="228650" y="217777"/>
                    </a:cubicBezTo>
                    <a:cubicBezTo>
                      <a:pt x="229049" y="211565"/>
                      <a:pt x="230702" y="203699"/>
                      <a:pt x="236800" y="202559"/>
                    </a:cubicBezTo>
                    <a:cubicBezTo>
                      <a:pt x="238966" y="202103"/>
                      <a:pt x="241531" y="202559"/>
                      <a:pt x="243183" y="201191"/>
                    </a:cubicBezTo>
                    <a:cubicBezTo>
                      <a:pt x="244438" y="199744"/>
                      <a:pt x="244950" y="197829"/>
                      <a:pt x="244665" y="195948"/>
                    </a:cubicBezTo>
                    <a:cubicBezTo>
                      <a:pt x="244665" y="189319"/>
                      <a:pt x="242784" y="182828"/>
                      <a:pt x="239308" y="177197"/>
                    </a:cubicBezTo>
                    <a:cubicBezTo>
                      <a:pt x="235660" y="171548"/>
                      <a:pt x="229334" y="168254"/>
                      <a:pt x="222608" y="168533"/>
                    </a:cubicBezTo>
                    <a:cubicBezTo>
                      <a:pt x="220272" y="173606"/>
                      <a:pt x="224147" y="178508"/>
                      <a:pt x="227738" y="181699"/>
                    </a:cubicBezTo>
                    <a:close/>
                    <a:moveTo>
                      <a:pt x="483302" y="30036"/>
                    </a:moveTo>
                    <a:cubicBezTo>
                      <a:pt x="485867" y="27243"/>
                      <a:pt x="490997" y="28782"/>
                      <a:pt x="493789" y="26275"/>
                    </a:cubicBezTo>
                    <a:cubicBezTo>
                      <a:pt x="485297" y="24548"/>
                      <a:pt x="476577" y="24417"/>
                      <a:pt x="468085" y="25876"/>
                    </a:cubicBezTo>
                    <a:cubicBezTo>
                      <a:pt x="457085" y="28270"/>
                      <a:pt x="446484" y="36477"/>
                      <a:pt x="445287" y="47648"/>
                    </a:cubicBezTo>
                    <a:cubicBezTo>
                      <a:pt x="444716" y="51694"/>
                      <a:pt x="445287" y="56254"/>
                      <a:pt x="442608" y="59332"/>
                    </a:cubicBezTo>
                    <a:cubicBezTo>
                      <a:pt x="438846" y="63720"/>
                      <a:pt x="430753" y="62694"/>
                      <a:pt x="427903" y="67653"/>
                    </a:cubicBezTo>
                    <a:cubicBezTo>
                      <a:pt x="425623" y="71528"/>
                      <a:pt x="427903" y="76487"/>
                      <a:pt x="427448" y="80933"/>
                    </a:cubicBezTo>
                    <a:cubicBezTo>
                      <a:pt x="426478" y="87316"/>
                      <a:pt x="419696" y="90736"/>
                      <a:pt x="413712" y="93129"/>
                    </a:cubicBezTo>
                    <a:cubicBezTo>
                      <a:pt x="409950" y="94822"/>
                      <a:pt x="405960" y="96048"/>
                      <a:pt x="401914" y="96777"/>
                    </a:cubicBezTo>
                    <a:cubicBezTo>
                      <a:pt x="398095" y="97016"/>
                      <a:pt x="394333" y="97016"/>
                      <a:pt x="390515" y="96777"/>
                    </a:cubicBezTo>
                    <a:cubicBezTo>
                      <a:pt x="378033" y="96674"/>
                      <a:pt x="365779" y="100396"/>
                      <a:pt x="355463" y="107435"/>
                    </a:cubicBezTo>
                    <a:cubicBezTo>
                      <a:pt x="352044" y="110211"/>
                      <a:pt x="348225" y="112377"/>
                      <a:pt x="344064" y="113818"/>
                    </a:cubicBezTo>
                    <a:cubicBezTo>
                      <a:pt x="335800" y="114913"/>
                      <a:pt x="327707" y="111248"/>
                      <a:pt x="323033" y="104357"/>
                    </a:cubicBezTo>
                    <a:cubicBezTo>
                      <a:pt x="318531" y="98658"/>
                      <a:pt x="315339" y="92161"/>
                      <a:pt x="311007" y="86404"/>
                    </a:cubicBezTo>
                    <a:cubicBezTo>
                      <a:pt x="305308" y="87259"/>
                      <a:pt x="299950" y="89539"/>
                      <a:pt x="299608" y="94668"/>
                    </a:cubicBezTo>
                    <a:cubicBezTo>
                      <a:pt x="294023" y="94759"/>
                      <a:pt x="289520" y="99376"/>
                      <a:pt x="289634" y="104979"/>
                    </a:cubicBezTo>
                    <a:cubicBezTo>
                      <a:pt x="289634" y="106592"/>
                      <a:pt x="290090" y="108176"/>
                      <a:pt x="290831" y="109601"/>
                    </a:cubicBezTo>
                    <a:cubicBezTo>
                      <a:pt x="292883" y="112736"/>
                      <a:pt x="296530" y="114446"/>
                      <a:pt x="298525" y="117637"/>
                    </a:cubicBezTo>
                    <a:cubicBezTo>
                      <a:pt x="303427" y="125673"/>
                      <a:pt x="294707" y="138440"/>
                      <a:pt x="301774" y="144710"/>
                    </a:cubicBezTo>
                    <a:cubicBezTo>
                      <a:pt x="305479" y="147958"/>
                      <a:pt x="312204" y="147787"/>
                      <a:pt x="313800" y="152404"/>
                    </a:cubicBezTo>
                    <a:cubicBezTo>
                      <a:pt x="314085" y="154291"/>
                      <a:pt x="314199" y="156194"/>
                      <a:pt x="314199" y="158103"/>
                    </a:cubicBezTo>
                    <a:cubicBezTo>
                      <a:pt x="315167" y="163803"/>
                      <a:pt x="322634" y="165798"/>
                      <a:pt x="326566" y="170186"/>
                    </a:cubicBezTo>
                    <a:cubicBezTo>
                      <a:pt x="329587" y="174182"/>
                      <a:pt x="331069" y="179146"/>
                      <a:pt x="330727" y="184150"/>
                    </a:cubicBezTo>
                    <a:cubicBezTo>
                      <a:pt x="330385" y="189143"/>
                      <a:pt x="330898" y="194153"/>
                      <a:pt x="332266" y="198969"/>
                    </a:cubicBezTo>
                    <a:cubicBezTo>
                      <a:pt x="333805" y="203876"/>
                      <a:pt x="338536" y="207056"/>
                      <a:pt x="343665" y="206606"/>
                    </a:cubicBezTo>
                    <a:cubicBezTo>
                      <a:pt x="349364" y="205466"/>
                      <a:pt x="351987" y="198798"/>
                      <a:pt x="357287" y="197088"/>
                    </a:cubicBezTo>
                    <a:cubicBezTo>
                      <a:pt x="362131" y="201704"/>
                      <a:pt x="365209" y="207877"/>
                      <a:pt x="365950" y="214528"/>
                    </a:cubicBezTo>
                    <a:lnTo>
                      <a:pt x="378147" y="210938"/>
                    </a:lnTo>
                    <a:cubicBezTo>
                      <a:pt x="384986" y="208470"/>
                      <a:pt x="392224" y="207216"/>
                      <a:pt x="399520" y="207233"/>
                    </a:cubicBezTo>
                    <a:cubicBezTo>
                      <a:pt x="406359" y="207632"/>
                      <a:pt x="414054" y="211565"/>
                      <a:pt x="414738" y="218632"/>
                    </a:cubicBezTo>
                    <a:cubicBezTo>
                      <a:pt x="418043" y="214528"/>
                      <a:pt x="424541" y="218062"/>
                      <a:pt x="428530" y="221539"/>
                    </a:cubicBezTo>
                    <a:cubicBezTo>
                      <a:pt x="432520" y="225015"/>
                      <a:pt x="439359" y="228036"/>
                      <a:pt x="442209" y="223590"/>
                    </a:cubicBezTo>
                    <a:cubicBezTo>
                      <a:pt x="443634" y="221311"/>
                      <a:pt x="443292" y="217891"/>
                      <a:pt x="445743" y="216523"/>
                    </a:cubicBezTo>
                    <a:cubicBezTo>
                      <a:pt x="447339" y="215782"/>
                      <a:pt x="449219" y="216523"/>
                      <a:pt x="450986" y="216523"/>
                    </a:cubicBezTo>
                    <a:cubicBezTo>
                      <a:pt x="456686" y="216523"/>
                      <a:pt x="458795" y="209570"/>
                      <a:pt x="459307" y="204041"/>
                    </a:cubicBezTo>
                    <a:cubicBezTo>
                      <a:pt x="460390" y="193383"/>
                      <a:pt x="461473" y="182668"/>
                      <a:pt x="462499" y="172010"/>
                    </a:cubicBezTo>
                    <a:cubicBezTo>
                      <a:pt x="462898" y="168192"/>
                      <a:pt x="463867" y="163632"/>
                      <a:pt x="467514" y="162435"/>
                    </a:cubicBezTo>
                    <a:cubicBezTo>
                      <a:pt x="468939" y="162127"/>
                      <a:pt x="470364" y="161939"/>
                      <a:pt x="471846" y="161865"/>
                    </a:cubicBezTo>
                    <a:cubicBezTo>
                      <a:pt x="477545" y="160839"/>
                      <a:pt x="479997" y="153658"/>
                      <a:pt x="480509" y="147673"/>
                    </a:cubicBezTo>
                    <a:cubicBezTo>
                      <a:pt x="481023" y="140771"/>
                      <a:pt x="480737" y="133829"/>
                      <a:pt x="479711" y="126984"/>
                    </a:cubicBezTo>
                    <a:cubicBezTo>
                      <a:pt x="479256" y="124967"/>
                      <a:pt x="479084" y="122886"/>
                      <a:pt x="479313" y="120829"/>
                    </a:cubicBezTo>
                    <a:cubicBezTo>
                      <a:pt x="480566" y="113762"/>
                      <a:pt x="489287" y="111254"/>
                      <a:pt x="496411" y="110912"/>
                    </a:cubicBezTo>
                    <a:cubicBezTo>
                      <a:pt x="503535" y="110570"/>
                      <a:pt x="512028" y="110342"/>
                      <a:pt x="515846" y="104357"/>
                    </a:cubicBezTo>
                    <a:cubicBezTo>
                      <a:pt x="514877" y="99558"/>
                      <a:pt x="511115" y="95842"/>
                      <a:pt x="506271" y="95010"/>
                    </a:cubicBezTo>
                    <a:cubicBezTo>
                      <a:pt x="503592" y="95045"/>
                      <a:pt x="500914" y="94759"/>
                      <a:pt x="498292" y="94155"/>
                    </a:cubicBezTo>
                    <a:cubicBezTo>
                      <a:pt x="489287" y="90394"/>
                      <a:pt x="496012" y="73580"/>
                      <a:pt x="487748" y="68394"/>
                    </a:cubicBezTo>
                    <a:cubicBezTo>
                      <a:pt x="484157" y="66171"/>
                      <a:pt x="478229" y="66513"/>
                      <a:pt x="477033" y="62694"/>
                    </a:cubicBezTo>
                    <a:cubicBezTo>
                      <a:pt x="475836" y="58876"/>
                      <a:pt x="479484" y="56596"/>
                      <a:pt x="482391" y="54829"/>
                    </a:cubicBezTo>
                    <a:cubicBezTo>
                      <a:pt x="478458" y="49130"/>
                      <a:pt x="479768" y="41093"/>
                      <a:pt x="481307" y="34140"/>
                    </a:cubicBezTo>
                    <a:cubicBezTo>
                      <a:pt x="481707" y="32755"/>
                      <a:pt x="482448" y="31495"/>
                      <a:pt x="483473" y="30492"/>
                    </a:cubicBezTo>
                    <a:close/>
                    <a:moveTo>
                      <a:pt x="964224" y="189622"/>
                    </a:moveTo>
                    <a:cubicBezTo>
                      <a:pt x="962229" y="189468"/>
                      <a:pt x="960348" y="188670"/>
                      <a:pt x="958809" y="187342"/>
                    </a:cubicBezTo>
                    <a:cubicBezTo>
                      <a:pt x="958011" y="186293"/>
                      <a:pt x="957384" y="185142"/>
                      <a:pt x="956929" y="183922"/>
                    </a:cubicBezTo>
                    <a:cubicBezTo>
                      <a:pt x="954022" y="178576"/>
                      <a:pt x="947866" y="175880"/>
                      <a:pt x="941995" y="177368"/>
                    </a:cubicBezTo>
                    <a:cubicBezTo>
                      <a:pt x="944161" y="172859"/>
                      <a:pt x="942395" y="167445"/>
                      <a:pt x="937949" y="165114"/>
                    </a:cubicBezTo>
                    <a:cubicBezTo>
                      <a:pt x="930996" y="161865"/>
                      <a:pt x="923586" y="168192"/>
                      <a:pt x="918514" y="173948"/>
                    </a:cubicBezTo>
                    <a:lnTo>
                      <a:pt x="908882" y="184891"/>
                    </a:lnTo>
                    <a:cubicBezTo>
                      <a:pt x="907514" y="186755"/>
                      <a:pt x="905634" y="188225"/>
                      <a:pt x="903524" y="189166"/>
                    </a:cubicBezTo>
                    <a:cubicBezTo>
                      <a:pt x="900561" y="190192"/>
                      <a:pt x="896856" y="189166"/>
                      <a:pt x="894291" y="190932"/>
                    </a:cubicBezTo>
                    <a:cubicBezTo>
                      <a:pt x="891726" y="192699"/>
                      <a:pt x="891612" y="198342"/>
                      <a:pt x="888591" y="200337"/>
                    </a:cubicBezTo>
                    <a:cubicBezTo>
                      <a:pt x="885571" y="202331"/>
                      <a:pt x="882379" y="200679"/>
                      <a:pt x="879644" y="202160"/>
                    </a:cubicBezTo>
                    <a:cubicBezTo>
                      <a:pt x="877763" y="203186"/>
                      <a:pt x="876737" y="205352"/>
                      <a:pt x="875084" y="206777"/>
                    </a:cubicBezTo>
                    <a:cubicBezTo>
                      <a:pt x="871266" y="209484"/>
                      <a:pt x="866022" y="208869"/>
                      <a:pt x="862944" y="205352"/>
                    </a:cubicBezTo>
                    <a:cubicBezTo>
                      <a:pt x="859981" y="201847"/>
                      <a:pt x="858556" y="197310"/>
                      <a:pt x="859012" y="192756"/>
                    </a:cubicBezTo>
                    <a:cubicBezTo>
                      <a:pt x="859867" y="188704"/>
                      <a:pt x="859353" y="184492"/>
                      <a:pt x="857644" y="180730"/>
                    </a:cubicBezTo>
                    <a:cubicBezTo>
                      <a:pt x="856560" y="179135"/>
                      <a:pt x="854851" y="177995"/>
                      <a:pt x="853939" y="176342"/>
                    </a:cubicBezTo>
                    <a:cubicBezTo>
                      <a:pt x="852970" y="173617"/>
                      <a:pt x="852742" y="170688"/>
                      <a:pt x="853312" y="167850"/>
                    </a:cubicBezTo>
                    <a:cubicBezTo>
                      <a:pt x="852913" y="156941"/>
                      <a:pt x="845902" y="147383"/>
                      <a:pt x="835587" y="143741"/>
                    </a:cubicBezTo>
                    <a:cubicBezTo>
                      <a:pt x="825442" y="140429"/>
                      <a:pt x="814442" y="140429"/>
                      <a:pt x="804297" y="143741"/>
                    </a:cubicBezTo>
                    <a:cubicBezTo>
                      <a:pt x="801561" y="144214"/>
                      <a:pt x="798996" y="145485"/>
                      <a:pt x="797001" y="147388"/>
                    </a:cubicBezTo>
                    <a:cubicBezTo>
                      <a:pt x="795747" y="149190"/>
                      <a:pt x="794607" y="151093"/>
                      <a:pt x="793639" y="153088"/>
                    </a:cubicBezTo>
                    <a:cubicBezTo>
                      <a:pt x="790789" y="157163"/>
                      <a:pt x="785945" y="159357"/>
                      <a:pt x="781042" y="158787"/>
                    </a:cubicBezTo>
                    <a:cubicBezTo>
                      <a:pt x="780358" y="164487"/>
                      <a:pt x="787369" y="167679"/>
                      <a:pt x="792955" y="169046"/>
                    </a:cubicBezTo>
                    <a:cubicBezTo>
                      <a:pt x="798540" y="170414"/>
                      <a:pt x="805550" y="173777"/>
                      <a:pt x="804752" y="179477"/>
                    </a:cubicBezTo>
                    <a:cubicBezTo>
                      <a:pt x="817690" y="179078"/>
                      <a:pt x="830571" y="179761"/>
                      <a:pt x="843395" y="181528"/>
                    </a:cubicBezTo>
                    <a:cubicBezTo>
                      <a:pt x="846473" y="181927"/>
                      <a:pt x="846529" y="187228"/>
                      <a:pt x="844193" y="189280"/>
                    </a:cubicBezTo>
                    <a:cubicBezTo>
                      <a:pt x="841628" y="191103"/>
                      <a:pt x="838551" y="192101"/>
                      <a:pt x="835416" y="192129"/>
                    </a:cubicBezTo>
                    <a:lnTo>
                      <a:pt x="817235" y="194067"/>
                    </a:lnTo>
                    <a:cubicBezTo>
                      <a:pt x="815182" y="194084"/>
                      <a:pt x="813245" y="194677"/>
                      <a:pt x="811535" y="195777"/>
                    </a:cubicBezTo>
                    <a:cubicBezTo>
                      <a:pt x="808856" y="198427"/>
                      <a:pt x="808571" y="202690"/>
                      <a:pt x="810965" y="205637"/>
                    </a:cubicBezTo>
                    <a:cubicBezTo>
                      <a:pt x="813359" y="208441"/>
                      <a:pt x="816551" y="210436"/>
                      <a:pt x="820084" y="211337"/>
                    </a:cubicBezTo>
                    <a:cubicBezTo>
                      <a:pt x="815182" y="214129"/>
                      <a:pt x="813416" y="220376"/>
                      <a:pt x="816208" y="225300"/>
                    </a:cubicBezTo>
                    <a:cubicBezTo>
                      <a:pt x="819229" y="229757"/>
                      <a:pt x="825270" y="230926"/>
                      <a:pt x="829716" y="227905"/>
                    </a:cubicBezTo>
                    <a:cubicBezTo>
                      <a:pt x="829944" y="227768"/>
                      <a:pt x="830172" y="227620"/>
                      <a:pt x="830343" y="227466"/>
                    </a:cubicBezTo>
                    <a:cubicBezTo>
                      <a:pt x="833364" y="224787"/>
                      <a:pt x="834276" y="220456"/>
                      <a:pt x="836555" y="217150"/>
                    </a:cubicBezTo>
                    <a:cubicBezTo>
                      <a:pt x="838835" y="213844"/>
                      <a:pt x="844307" y="211792"/>
                      <a:pt x="846700" y="215098"/>
                    </a:cubicBezTo>
                    <a:cubicBezTo>
                      <a:pt x="847898" y="216808"/>
                      <a:pt x="847613" y="219145"/>
                      <a:pt x="848296" y="221140"/>
                    </a:cubicBezTo>
                    <a:cubicBezTo>
                      <a:pt x="850291" y="226839"/>
                      <a:pt x="858556" y="226839"/>
                      <a:pt x="864597" y="225642"/>
                    </a:cubicBezTo>
                    <a:cubicBezTo>
                      <a:pt x="864996" y="229575"/>
                      <a:pt x="865452" y="233507"/>
                      <a:pt x="865851" y="237383"/>
                    </a:cubicBezTo>
                    <a:lnTo>
                      <a:pt x="892467" y="238751"/>
                    </a:lnTo>
                    <a:cubicBezTo>
                      <a:pt x="895032" y="238694"/>
                      <a:pt x="897597" y="239224"/>
                      <a:pt x="899934" y="240290"/>
                    </a:cubicBezTo>
                    <a:cubicBezTo>
                      <a:pt x="902727" y="241772"/>
                      <a:pt x="904607" y="244792"/>
                      <a:pt x="907457" y="245989"/>
                    </a:cubicBezTo>
                    <a:cubicBezTo>
                      <a:pt x="911219" y="247813"/>
                      <a:pt x="915608" y="246445"/>
                      <a:pt x="919711" y="247015"/>
                    </a:cubicBezTo>
                    <a:cubicBezTo>
                      <a:pt x="923814" y="247585"/>
                      <a:pt x="927918" y="252715"/>
                      <a:pt x="925011" y="255450"/>
                    </a:cubicBezTo>
                    <a:cubicBezTo>
                      <a:pt x="937265" y="255262"/>
                      <a:pt x="947410" y="265065"/>
                      <a:pt x="947582" y="277342"/>
                    </a:cubicBezTo>
                    <a:cubicBezTo>
                      <a:pt x="947582" y="278499"/>
                      <a:pt x="947525" y="279662"/>
                      <a:pt x="947353" y="280813"/>
                    </a:cubicBezTo>
                    <a:cubicBezTo>
                      <a:pt x="946784" y="282654"/>
                      <a:pt x="946612" y="284603"/>
                      <a:pt x="946898" y="286513"/>
                    </a:cubicBezTo>
                    <a:cubicBezTo>
                      <a:pt x="948436" y="292212"/>
                      <a:pt x="958866" y="292212"/>
                      <a:pt x="959322" y="297912"/>
                    </a:cubicBezTo>
                    <a:cubicBezTo>
                      <a:pt x="959322" y="300909"/>
                      <a:pt x="956985" y="303400"/>
                      <a:pt x="954022" y="303611"/>
                    </a:cubicBezTo>
                    <a:cubicBezTo>
                      <a:pt x="951172" y="303822"/>
                      <a:pt x="948323" y="303309"/>
                      <a:pt x="945700" y="302129"/>
                    </a:cubicBezTo>
                    <a:cubicBezTo>
                      <a:pt x="946784" y="304352"/>
                      <a:pt x="944561" y="306917"/>
                      <a:pt x="942281" y="307829"/>
                    </a:cubicBezTo>
                    <a:cubicBezTo>
                      <a:pt x="940001" y="308741"/>
                      <a:pt x="937265" y="309367"/>
                      <a:pt x="935783" y="311419"/>
                    </a:cubicBezTo>
                    <a:cubicBezTo>
                      <a:pt x="934301" y="313471"/>
                      <a:pt x="934530" y="314782"/>
                      <a:pt x="933560" y="316264"/>
                    </a:cubicBezTo>
                    <a:cubicBezTo>
                      <a:pt x="931281" y="319512"/>
                      <a:pt x="926436" y="319000"/>
                      <a:pt x="922561" y="319740"/>
                    </a:cubicBezTo>
                    <a:cubicBezTo>
                      <a:pt x="918685" y="320481"/>
                      <a:pt x="915094" y="326067"/>
                      <a:pt x="918628" y="327948"/>
                    </a:cubicBezTo>
                    <a:cubicBezTo>
                      <a:pt x="937607" y="325252"/>
                      <a:pt x="956644" y="323445"/>
                      <a:pt x="975623" y="322533"/>
                    </a:cubicBezTo>
                    <a:cubicBezTo>
                      <a:pt x="978986" y="321866"/>
                      <a:pt x="982405" y="322841"/>
                      <a:pt x="984913" y="325155"/>
                    </a:cubicBezTo>
                    <a:cubicBezTo>
                      <a:pt x="985825" y="326711"/>
                      <a:pt x="986452" y="328404"/>
                      <a:pt x="986851" y="330171"/>
                    </a:cubicBezTo>
                    <a:cubicBezTo>
                      <a:pt x="989244" y="336525"/>
                      <a:pt x="995571" y="340509"/>
                      <a:pt x="1002353" y="339917"/>
                    </a:cubicBezTo>
                    <a:lnTo>
                      <a:pt x="1002353" y="196860"/>
                    </a:lnTo>
                    <a:close/>
                    <a:moveTo>
                      <a:pt x="648074" y="340088"/>
                    </a:moveTo>
                    <a:cubicBezTo>
                      <a:pt x="645110" y="342328"/>
                      <a:pt x="641976" y="344402"/>
                      <a:pt x="638784" y="346300"/>
                    </a:cubicBezTo>
                    <a:cubicBezTo>
                      <a:pt x="635820" y="347719"/>
                      <a:pt x="633084" y="349646"/>
                      <a:pt x="630747" y="352000"/>
                    </a:cubicBezTo>
                    <a:cubicBezTo>
                      <a:pt x="629265" y="353767"/>
                      <a:pt x="628183" y="356046"/>
                      <a:pt x="626131" y="357072"/>
                    </a:cubicBezTo>
                    <a:cubicBezTo>
                      <a:pt x="622312" y="358953"/>
                      <a:pt x="616385" y="355818"/>
                      <a:pt x="614048" y="359352"/>
                    </a:cubicBezTo>
                    <a:cubicBezTo>
                      <a:pt x="611313" y="364709"/>
                      <a:pt x="613079" y="371252"/>
                      <a:pt x="618152" y="374512"/>
                    </a:cubicBezTo>
                    <a:cubicBezTo>
                      <a:pt x="623224" y="377499"/>
                      <a:pt x="629380" y="378040"/>
                      <a:pt x="634909" y="375994"/>
                    </a:cubicBezTo>
                    <a:cubicBezTo>
                      <a:pt x="639753" y="374455"/>
                      <a:pt x="644768" y="370637"/>
                      <a:pt x="644426" y="365564"/>
                    </a:cubicBezTo>
                    <a:cubicBezTo>
                      <a:pt x="644198" y="364037"/>
                      <a:pt x="644198" y="362475"/>
                      <a:pt x="644426" y="360948"/>
                    </a:cubicBezTo>
                    <a:cubicBezTo>
                      <a:pt x="645338" y="357870"/>
                      <a:pt x="649499" y="357642"/>
                      <a:pt x="652520" y="356559"/>
                    </a:cubicBezTo>
                    <a:cubicBezTo>
                      <a:pt x="656908" y="354924"/>
                      <a:pt x="659758" y="350683"/>
                      <a:pt x="659587" y="346015"/>
                    </a:cubicBezTo>
                    <a:lnTo>
                      <a:pt x="659587" y="346015"/>
                    </a:lnTo>
                    <a:cubicBezTo>
                      <a:pt x="657079" y="344476"/>
                      <a:pt x="654571" y="342937"/>
                      <a:pt x="651950" y="341626"/>
                    </a:cubicBezTo>
                    <a:cubicBezTo>
                      <a:pt x="650753" y="341205"/>
                      <a:pt x="649499" y="340863"/>
                      <a:pt x="648245" y="340601"/>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31" name="Freihandform: Form 725">
                <a:extLst>
                  <a:ext uri="{FF2B5EF4-FFF2-40B4-BE49-F238E27FC236}">
                    <a16:creationId xmlns:a16="http://schemas.microsoft.com/office/drawing/2014/main" id="{99F07119-831D-35B3-AE2E-B7C0B0FF678C}"/>
                  </a:ext>
                </a:extLst>
              </p:cNvPr>
              <p:cNvSpPr/>
              <p:nvPr/>
            </p:nvSpPr>
            <p:spPr>
              <a:xfrm>
                <a:off x="6467139" y="4456039"/>
                <a:ext cx="50953" cy="21446"/>
              </a:xfrm>
              <a:custGeom>
                <a:avLst/>
                <a:gdLst>
                  <a:gd name="connsiteX0" fmla="*/ 49186 w 50953"/>
                  <a:gd name="connsiteY0" fmla="*/ 10441 h 21446"/>
                  <a:gd name="connsiteX1" fmla="*/ 31119 w 50953"/>
                  <a:gd name="connsiteY1" fmla="*/ 15000 h 21446"/>
                  <a:gd name="connsiteX2" fmla="*/ 26503 w 50953"/>
                  <a:gd name="connsiteY2" fmla="*/ 17565 h 21446"/>
                  <a:gd name="connsiteX3" fmla="*/ 11342 w 50953"/>
                  <a:gd name="connsiteY3" fmla="*/ 21441 h 21446"/>
                  <a:gd name="connsiteX4" fmla="*/ 3705 w 50953"/>
                  <a:gd name="connsiteY4" fmla="*/ 17052 h 21446"/>
                  <a:gd name="connsiteX5" fmla="*/ 0 w 50953"/>
                  <a:gd name="connsiteY5" fmla="*/ 15399 h 21446"/>
                  <a:gd name="connsiteX6" fmla="*/ 7580 w 50953"/>
                  <a:gd name="connsiteY6" fmla="*/ 9016 h 21446"/>
                  <a:gd name="connsiteX7" fmla="*/ 17440 w 50953"/>
                  <a:gd name="connsiteY7" fmla="*/ 1379 h 21446"/>
                  <a:gd name="connsiteX8" fmla="*/ 31518 w 50953"/>
                  <a:gd name="connsiteY8" fmla="*/ 467 h 21446"/>
                  <a:gd name="connsiteX9" fmla="*/ 44171 w 50953"/>
                  <a:gd name="connsiteY9" fmla="*/ 1721 h 21446"/>
                  <a:gd name="connsiteX10" fmla="*/ 50668 w 50953"/>
                  <a:gd name="connsiteY10" fmla="*/ 4855 h 21446"/>
                  <a:gd name="connsiteX11" fmla="*/ 49186 w 50953"/>
                  <a:gd name="connsiteY11" fmla="*/ 10441 h 2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953" h="21446">
                    <a:moveTo>
                      <a:pt x="49186" y="10441"/>
                    </a:moveTo>
                    <a:cubicBezTo>
                      <a:pt x="44684" y="14886"/>
                      <a:pt x="36990" y="12607"/>
                      <a:pt x="31119" y="15000"/>
                    </a:cubicBezTo>
                    <a:cubicBezTo>
                      <a:pt x="29523" y="15741"/>
                      <a:pt x="27985" y="16602"/>
                      <a:pt x="26503" y="17565"/>
                    </a:cubicBezTo>
                    <a:cubicBezTo>
                      <a:pt x="21886" y="20204"/>
                      <a:pt x="16642" y="21543"/>
                      <a:pt x="11342" y="21441"/>
                    </a:cubicBezTo>
                    <a:cubicBezTo>
                      <a:pt x="8834" y="19902"/>
                      <a:pt x="6326" y="18363"/>
                      <a:pt x="3705" y="17052"/>
                    </a:cubicBezTo>
                    <a:cubicBezTo>
                      <a:pt x="2507" y="16420"/>
                      <a:pt x="1254" y="15867"/>
                      <a:pt x="0" y="15399"/>
                    </a:cubicBezTo>
                    <a:cubicBezTo>
                      <a:pt x="2622" y="13410"/>
                      <a:pt x="5187" y="11284"/>
                      <a:pt x="7580" y="9016"/>
                    </a:cubicBezTo>
                    <a:cubicBezTo>
                      <a:pt x="10373" y="5875"/>
                      <a:pt x="13679" y="3282"/>
                      <a:pt x="17440" y="1379"/>
                    </a:cubicBezTo>
                    <a:cubicBezTo>
                      <a:pt x="22000" y="-69"/>
                      <a:pt x="26844" y="-383"/>
                      <a:pt x="31518" y="467"/>
                    </a:cubicBezTo>
                    <a:lnTo>
                      <a:pt x="44171" y="1721"/>
                    </a:lnTo>
                    <a:cubicBezTo>
                      <a:pt x="46678" y="2005"/>
                      <a:pt x="49585" y="2518"/>
                      <a:pt x="50668" y="4855"/>
                    </a:cubicBezTo>
                    <a:cubicBezTo>
                      <a:pt x="51352" y="6844"/>
                      <a:pt x="50783" y="9050"/>
                      <a:pt x="49186" y="104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2" name="Freihandform: Form 726">
                <a:extLst>
                  <a:ext uri="{FF2B5EF4-FFF2-40B4-BE49-F238E27FC236}">
                    <a16:creationId xmlns:a16="http://schemas.microsoft.com/office/drawing/2014/main" id="{38D62663-66ED-1367-5DF5-17E8EDD88ECD}"/>
                  </a:ext>
                </a:extLst>
              </p:cNvPr>
              <p:cNvSpPr/>
              <p:nvPr/>
            </p:nvSpPr>
            <p:spPr>
              <a:xfrm>
                <a:off x="5675083" y="2894679"/>
                <a:ext cx="687953" cy="321381"/>
              </a:xfrm>
              <a:custGeom>
                <a:avLst/>
                <a:gdLst>
                  <a:gd name="connsiteX0" fmla="*/ 619134 w 687953"/>
                  <a:gd name="connsiteY0" fmla="*/ 80876 h 321381"/>
                  <a:gd name="connsiteX1" fmla="*/ 618735 w 687953"/>
                  <a:gd name="connsiteY1" fmla="*/ 80876 h 321381"/>
                  <a:gd name="connsiteX2" fmla="*/ 600383 w 687953"/>
                  <a:gd name="connsiteY2" fmla="*/ 103673 h 321381"/>
                  <a:gd name="connsiteX3" fmla="*/ 593885 w 687953"/>
                  <a:gd name="connsiteY3" fmla="*/ 121456 h 321381"/>
                  <a:gd name="connsiteX4" fmla="*/ 592973 w 687953"/>
                  <a:gd name="connsiteY4" fmla="*/ 124989 h 321381"/>
                  <a:gd name="connsiteX5" fmla="*/ 605740 w 687953"/>
                  <a:gd name="connsiteY5" fmla="*/ 134735 h 321381"/>
                  <a:gd name="connsiteX6" fmla="*/ 629336 w 687953"/>
                  <a:gd name="connsiteY6" fmla="*/ 134735 h 321381"/>
                  <a:gd name="connsiteX7" fmla="*/ 647061 w 687953"/>
                  <a:gd name="connsiteY7" fmla="*/ 128523 h 321381"/>
                  <a:gd name="connsiteX8" fmla="*/ 664159 w 687953"/>
                  <a:gd name="connsiteY8" fmla="*/ 144938 h 321381"/>
                  <a:gd name="connsiteX9" fmla="*/ 679947 w 687953"/>
                  <a:gd name="connsiteY9" fmla="*/ 156337 h 321381"/>
                  <a:gd name="connsiteX10" fmla="*/ 687812 w 687953"/>
                  <a:gd name="connsiteY10" fmla="*/ 172979 h 321381"/>
                  <a:gd name="connsiteX11" fmla="*/ 661994 w 687953"/>
                  <a:gd name="connsiteY11" fmla="*/ 169445 h 321381"/>
                  <a:gd name="connsiteX12" fmla="*/ 646605 w 687953"/>
                  <a:gd name="connsiteY12" fmla="*/ 174404 h 321381"/>
                  <a:gd name="connsiteX13" fmla="*/ 637030 w 687953"/>
                  <a:gd name="connsiteY13" fmla="*/ 173606 h 321381"/>
                  <a:gd name="connsiteX14" fmla="*/ 610813 w 687953"/>
                  <a:gd name="connsiteY14" fmla="*/ 186316 h 321381"/>
                  <a:gd name="connsiteX15" fmla="*/ 605968 w 687953"/>
                  <a:gd name="connsiteY15" fmla="*/ 191274 h 321381"/>
                  <a:gd name="connsiteX16" fmla="*/ 601351 w 687953"/>
                  <a:gd name="connsiteY16" fmla="*/ 202673 h 321381"/>
                  <a:gd name="connsiteX17" fmla="*/ 577869 w 687953"/>
                  <a:gd name="connsiteY17" fmla="*/ 210880 h 321381"/>
                  <a:gd name="connsiteX18" fmla="*/ 550797 w 687953"/>
                  <a:gd name="connsiteY18" fmla="*/ 219031 h 321381"/>
                  <a:gd name="connsiteX19" fmla="*/ 542989 w 687953"/>
                  <a:gd name="connsiteY19" fmla="*/ 224730 h 321381"/>
                  <a:gd name="connsiteX20" fmla="*/ 532958 w 687953"/>
                  <a:gd name="connsiteY20" fmla="*/ 222108 h 321381"/>
                  <a:gd name="connsiteX21" fmla="*/ 514948 w 687953"/>
                  <a:gd name="connsiteY21" fmla="*/ 217435 h 321381"/>
                  <a:gd name="connsiteX22" fmla="*/ 500528 w 687953"/>
                  <a:gd name="connsiteY22" fmla="*/ 227466 h 321381"/>
                  <a:gd name="connsiteX23" fmla="*/ 507595 w 687953"/>
                  <a:gd name="connsiteY23" fmla="*/ 254652 h 321381"/>
                  <a:gd name="connsiteX24" fmla="*/ 491693 w 687953"/>
                  <a:gd name="connsiteY24" fmla="*/ 271751 h 321381"/>
                  <a:gd name="connsiteX25" fmla="*/ 472373 w 687953"/>
                  <a:gd name="connsiteY25" fmla="*/ 286113 h 321381"/>
                  <a:gd name="connsiteX26" fmla="*/ 468440 w 687953"/>
                  <a:gd name="connsiteY26" fmla="*/ 293352 h 321381"/>
                  <a:gd name="connsiteX27" fmla="*/ 459833 w 687953"/>
                  <a:gd name="connsiteY27" fmla="*/ 294834 h 321381"/>
                  <a:gd name="connsiteX28" fmla="*/ 438005 w 687953"/>
                  <a:gd name="connsiteY28" fmla="*/ 293979 h 321381"/>
                  <a:gd name="connsiteX29" fmla="*/ 379984 w 687953"/>
                  <a:gd name="connsiteY29" fmla="*/ 304010 h 321381"/>
                  <a:gd name="connsiteX30" fmla="*/ 366192 w 687953"/>
                  <a:gd name="connsiteY30" fmla="*/ 320595 h 321381"/>
                  <a:gd name="connsiteX31" fmla="*/ 353197 w 687953"/>
                  <a:gd name="connsiteY31" fmla="*/ 315466 h 321381"/>
                  <a:gd name="connsiteX32" fmla="*/ 332336 w 687953"/>
                  <a:gd name="connsiteY32" fmla="*/ 313756 h 321381"/>
                  <a:gd name="connsiteX33" fmla="*/ 321450 w 687953"/>
                  <a:gd name="connsiteY33" fmla="*/ 308056 h 321381"/>
                  <a:gd name="connsiteX34" fmla="*/ 312388 w 687953"/>
                  <a:gd name="connsiteY34" fmla="*/ 307145 h 321381"/>
                  <a:gd name="connsiteX35" fmla="*/ 300020 w 687953"/>
                  <a:gd name="connsiteY35" fmla="*/ 300191 h 321381"/>
                  <a:gd name="connsiteX36" fmla="*/ 292269 w 687953"/>
                  <a:gd name="connsiteY36" fmla="*/ 298481 h 321381"/>
                  <a:gd name="connsiteX37" fmla="*/ 276083 w 687953"/>
                  <a:gd name="connsiteY37" fmla="*/ 288450 h 321381"/>
                  <a:gd name="connsiteX38" fmla="*/ 186316 w 687953"/>
                  <a:gd name="connsiteY38" fmla="*/ 287766 h 321381"/>
                  <a:gd name="connsiteX39" fmla="*/ 174176 w 687953"/>
                  <a:gd name="connsiteY39" fmla="*/ 283093 h 321381"/>
                  <a:gd name="connsiteX40" fmla="*/ 164430 w 687953"/>
                  <a:gd name="connsiteY40" fmla="*/ 263829 h 321381"/>
                  <a:gd name="connsiteX41" fmla="*/ 163005 w 687953"/>
                  <a:gd name="connsiteY41" fmla="*/ 258927 h 321381"/>
                  <a:gd name="connsiteX42" fmla="*/ 154741 w 687953"/>
                  <a:gd name="connsiteY42" fmla="*/ 254481 h 321381"/>
                  <a:gd name="connsiteX43" fmla="*/ 151663 w 687953"/>
                  <a:gd name="connsiteY43" fmla="*/ 248098 h 321381"/>
                  <a:gd name="connsiteX44" fmla="*/ 125902 w 687953"/>
                  <a:gd name="connsiteY44" fmla="*/ 232653 h 321381"/>
                  <a:gd name="connsiteX45" fmla="*/ 125331 w 687953"/>
                  <a:gd name="connsiteY45" fmla="*/ 220684 h 321381"/>
                  <a:gd name="connsiteX46" fmla="*/ 77627 w 687953"/>
                  <a:gd name="connsiteY46" fmla="*/ 217264 h 321381"/>
                  <a:gd name="connsiteX47" fmla="*/ 74378 w 687953"/>
                  <a:gd name="connsiteY47" fmla="*/ 216238 h 321381"/>
                  <a:gd name="connsiteX48" fmla="*/ 72725 w 687953"/>
                  <a:gd name="connsiteY48" fmla="*/ 212362 h 321381"/>
                  <a:gd name="connsiteX49" fmla="*/ 61326 w 687953"/>
                  <a:gd name="connsiteY49" fmla="*/ 206663 h 321381"/>
                  <a:gd name="connsiteX50" fmla="*/ 61611 w 687953"/>
                  <a:gd name="connsiteY50" fmla="*/ 197088 h 321381"/>
                  <a:gd name="connsiteX51" fmla="*/ 74948 w 687953"/>
                  <a:gd name="connsiteY51" fmla="*/ 164487 h 321381"/>
                  <a:gd name="connsiteX52" fmla="*/ 59445 w 687953"/>
                  <a:gd name="connsiteY52" fmla="*/ 140891 h 321381"/>
                  <a:gd name="connsiteX53" fmla="*/ 41948 w 687953"/>
                  <a:gd name="connsiteY53" fmla="*/ 125502 h 321381"/>
                  <a:gd name="connsiteX54" fmla="*/ 22855 w 687953"/>
                  <a:gd name="connsiteY54" fmla="*/ 123394 h 321381"/>
                  <a:gd name="connsiteX55" fmla="*/ 13679 w 687953"/>
                  <a:gd name="connsiteY55" fmla="*/ 112793 h 321381"/>
                  <a:gd name="connsiteX56" fmla="*/ 4901 w 687953"/>
                  <a:gd name="connsiteY56" fmla="*/ 105839 h 321381"/>
                  <a:gd name="connsiteX57" fmla="*/ 0 w 687953"/>
                  <a:gd name="connsiteY57" fmla="*/ 95694 h 321381"/>
                  <a:gd name="connsiteX58" fmla="*/ 741 w 687953"/>
                  <a:gd name="connsiteY58" fmla="*/ 92787 h 321381"/>
                  <a:gd name="connsiteX59" fmla="*/ 41492 w 687953"/>
                  <a:gd name="connsiteY59" fmla="*/ 74777 h 321381"/>
                  <a:gd name="connsiteX60" fmla="*/ 50098 w 687953"/>
                  <a:gd name="connsiteY60" fmla="*/ 64974 h 321381"/>
                  <a:gd name="connsiteX61" fmla="*/ 50783 w 687953"/>
                  <a:gd name="connsiteY61" fmla="*/ 60015 h 321381"/>
                  <a:gd name="connsiteX62" fmla="*/ 60243 w 687953"/>
                  <a:gd name="connsiteY62" fmla="*/ 60015 h 321381"/>
                  <a:gd name="connsiteX63" fmla="*/ 82186 w 687953"/>
                  <a:gd name="connsiteY63" fmla="*/ 47534 h 321381"/>
                  <a:gd name="connsiteX64" fmla="*/ 129093 w 687953"/>
                  <a:gd name="connsiteY64" fmla="*/ 47534 h 321381"/>
                  <a:gd name="connsiteX65" fmla="*/ 134109 w 687953"/>
                  <a:gd name="connsiteY65" fmla="*/ 64632 h 321381"/>
                  <a:gd name="connsiteX66" fmla="*/ 154285 w 687953"/>
                  <a:gd name="connsiteY66" fmla="*/ 71585 h 321381"/>
                  <a:gd name="connsiteX67" fmla="*/ 164430 w 687953"/>
                  <a:gd name="connsiteY67" fmla="*/ 71585 h 321381"/>
                  <a:gd name="connsiteX68" fmla="*/ 195321 w 687953"/>
                  <a:gd name="connsiteY68" fmla="*/ 73124 h 321381"/>
                  <a:gd name="connsiteX69" fmla="*/ 206720 w 687953"/>
                  <a:gd name="connsiteY69" fmla="*/ 50668 h 321381"/>
                  <a:gd name="connsiteX70" fmla="*/ 200223 w 687953"/>
                  <a:gd name="connsiteY70" fmla="*/ 44969 h 321381"/>
                  <a:gd name="connsiteX71" fmla="*/ 199425 w 687953"/>
                  <a:gd name="connsiteY71" fmla="*/ 38243 h 321381"/>
                  <a:gd name="connsiteX72" fmla="*/ 227922 w 687953"/>
                  <a:gd name="connsiteY72" fmla="*/ 0 h 321381"/>
                  <a:gd name="connsiteX73" fmla="*/ 296316 w 687953"/>
                  <a:gd name="connsiteY73" fmla="*/ 23596 h 321381"/>
                  <a:gd name="connsiteX74" fmla="*/ 300134 w 687953"/>
                  <a:gd name="connsiteY74" fmla="*/ 50269 h 321381"/>
                  <a:gd name="connsiteX75" fmla="*/ 308569 w 687953"/>
                  <a:gd name="connsiteY75" fmla="*/ 56071 h 321381"/>
                  <a:gd name="connsiteX76" fmla="*/ 308683 w 687953"/>
                  <a:gd name="connsiteY76" fmla="*/ 57679 h 321381"/>
                  <a:gd name="connsiteX77" fmla="*/ 323616 w 687953"/>
                  <a:gd name="connsiteY77" fmla="*/ 64575 h 321381"/>
                  <a:gd name="connsiteX78" fmla="*/ 339005 w 687953"/>
                  <a:gd name="connsiteY78" fmla="*/ 65601 h 321381"/>
                  <a:gd name="connsiteX79" fmla="*/ 341969 w 687953"/>
                  <a:gd name="connsiteY79" fmla="*/ 60642 h 321381"/>
                  <a:gd name="connsiteX80" fmla="*/ 357072 w 687953"/>
                  <a:gd name="connsiteY80" fmla="*/ 54202 h 321381"/>
                  <a:gd name="connsiteX81" fmla="*/ 429284 w 687953"/>
                  <a:gd name="connsiteY81" fmla="*/ 80477 h 321381"/>
                  <a:gd name="connsiteX82" fmla="*/ 437834 w 687953"/>
                  <a:gd name="connsiteY82" fmla="*/ 86632 h 321381"/>
                  <a:gd name="connsiteX83" fmla="*/ 451113 w 687953"/>
                  <a:gd name="connsiteY83" fmla="*/ 86347 h 321381"/>
                  <a:gd name="connsiteX84" fmla="*/ 484797 w 687953"/>
                  <a:gd name="connsiteY84" fmla="*/ 94212 h 321381"/>
                  <a:gd name="connsiteX85" fmla="*/ 494885 w 687953"/>
                  <a:gd name="connsiteY85" fmla="*/ 87943 h 321381"/>
                  <a:gd name="connsiteX86" fmla="*/ 509077 w 687953"/>
                  <a:gd name="connsiteY86" fmla="*/ 86176 h 321381"/>
                  <a:gd name="connsiteX87" fmla="*/ 548973 w 687953"/>
                  <a:gd name="connsiteY87" fmla="*/ 69876 h 321381"/>
                  <a:gd name="connsiteX88" fmla="*/ 590523 w 687953"/>
                  <a:gd name="connsiteY88" fmla="*/ 66342 h 321381"/>
                  <a:gd name="connsiteX89" fmla="*/ 598901 w 687953"/>
                  <a:gd name="connsiteY89" fmla="*/ 71414 h 321381"/>
                  <a:gd name="connsiteX90" fmla="*/ 611269 w 687953"/>
                  <a:gd name="connsiteY90" fmla="*/ 72839 h 321381"/>
                  <a:gd name="connsiteX91" fmla="*/ 619134 w 687953"/>
                  <a:gd name="connsiteY91" fmla="*/ 80876 h 32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687953" h="321381">
                    <a:moveTo>
                      <a:pt x="619134" y="80876"/>
                    </a:moveTo>
                    <a:lnTo>
                      <a:pt x="618735" y="80876"/>
                    </a:lnTo>
                    <a:cubicBezTo>
                      <a:pt x="608818" y="83383"/>
                      <a:pt x="603916" y="94326"/>
                      <a:pt x="600383" y="103673"/>
                    </a:cubicBezTo>
                    <a:lnTo>
                      <a:pt x="593885" y="121456"/>
                    </a:lnTo>
                    <a:cubicBezTo>
                      <a:pt x="593430" y="122584"/>
                      <a:pt x="593087" y="123775"/>
                      <a:pt x="592973" y="124989"/>
                    </a:cubicBezTo>
                    <a:cubicBezTo>
                      <a:pt x="592973" y="130689"/>
                      <a:pt x="599983" y="133710"/>
                      <a:pt x="605740" y="134735"/>
                    </a:cubicBezTo>
                    <a:cubicBezTo>
                      <a:pt x="613491" y="136844"/>
                      <a:pt x="621585" y="136844"/>
                      <a:pt x="629336" y="134735"/>
                    </a:cubicBezTo>
                    <a:cubicBezTo>
                      <a:pt x="635035" y="132513"/>
                      <a:pt x="640735" y="127668"/>
                      <a:pt x="647061" y="128523"/>
                    </a:cubicBezTo>
                    <a:cubicBezTo>
                      <a:pt x="655212" y="129606"/>
                      <a:pt x="658802" y="139010"/>
                      <a:pt x="664159" y="144938"/>
                    </a:cubicBezTo>
                    <a:cubicBezTo>
                      <a:pt x="669175" y="149104"/>
                      <a:pt x="674419" y="152911"/>
                      <a:pt x="679947" y="156337"/>
                    </a:cubicBezTo>
                    <a:cubicBezTo>
                      <a:pt x="685590" y="159882"/>
                      <a:pt x="688668" y="166373"/>
                      <a:pt x="687812" y="172979"/>
                    </a:cubicBezTo>
                    <a:cubicBezTo>
                      <a:pt x="680347" y="177994"/>
                      <a:pt x="670714" y="168818"/>
                      <a:pt x="661994" y="169445"/>
                    </a:cubicBezTo>
                    <a:cubicBezTo>
                      <a:pt x="656636" y="169844"/>
                      <a:pt x="652020" y="173891"/>
                      <a:pt x="646605" y="174404"/>
                    </a:cubicBezTo>
                    <a:cubicBezTo>
                      <a:pt x="643413" y="174364"/>
                      <a:pt x="640222" y="174096"/>
                      <a:pt x="637030" y="173606"/>
                    </a:cubicBezTo>
                    <a:cubicBezTo>
                      <a:pt x="627113" y="173036"/>
                      <a:pt x="618393" y="179875"/>
                      <a:pt x="610813" y="186316"/>
                    </a:cubicBezTo>
                    <a:cubicBezTo>
                      <a:pt x="608989" y="187718"/>
                      <a:pt x="607336" y="189393"/>
                      <a:pt x="605968" y="191274"/>
                    </a:cubicBezTo>
                    <a:cubicBezTo>
                      <a:pt x="603745" y="194694"/>
                      <a:pt x="603461" y="199025"/>
                      <a:pt x="601351" y="202673"/>
                    </a:cubicBezTo>
                    <a:cubicBezTo>
                      <a:pt x="596906" y="210197"/>
                      <a:pt x="586590" y="211051"/>
                      <a:pt x="577869" y="210880"/>
                    </a:cubicBezTo>
                    <a:cubicBezTo>
                      <a:pt x="569150" y="210710"/>
                      <a:pt x="552621" y="210481"/>
                      <a:pt x="550797" y="219031"/>
                    </a:cubicBezTo>
                    <a:cubicBezTo>
                      <a:pt x="549714" y="222445"/>
                      <a:pt x="546579" y="224764"/>
                      <a:pt x="542989" y="224730"/>
                    </a:cubicBezTo>
                    <a:cubicBezTo>
                      <a:pt x="539512" y="224588"/>
                      <a:pt x="536092" y="223693"/>
                      <a:pt x="532958" y="222108"/>
                    </a:cubicBezTo>
                    <a:cubicBezTo>
                      <a:pt x="527372" y="219276"/>
                      <a:pt x="521217" y="217686"/>
                      <a:pt x="514948" y="217435"/>
                    </a:cubicBezTo>
                    <a:cubicBezTo>
                      <a:pt x="508507" y="217355"/>
                      <a:pt x="502694" y="221385"/>
                      <a:pt x="500528" y="227466"/>
                    </a:cubicBezTo>
                    <a:cubicBezTo>
                      <a:pt x="498248" y="236699"/>
                      <a:pt x="508222" y="245134"/>
                      <a:pt x="507595" y="254652"/>
                    </a:cubicBezTo>
                    <a:cubicBezTo>
                      <a:pt x="507082" y="262803"/>
                      <a:pt x="499103" y="268331"/>
                      <a:pt x="491693" y="271751"/>
                    </a:cubicBezTo>
                    <a:cubicBezTo>
                      <a:pt x="484284" y="275171"/>
                      <a:pt x="475849" y="278647"/>
                      <a:pt x="472373" y="286113"/>
                    </a:cubicBezTo>
                    <a:cubicBezTo>
                      <a:pt x="471632" y="288792"/>
                      <a:pt x="470263" y="291271"/>
                      <a:pt x="468440" y="293352"/>
                    </a:cubicBezTo>
                    <a:cubicBezTo>
                      <a:pt x="465875" y="294908"/>
                      <a:pt x="462797" y="295438"/>
                      <a:pt x="459833" y="294834"/>
                    </a:cubicBezTo>
                    <a:cubicBezTo>
                      <a:pt x="452538" y="294264"/>
                      <a:pt x="445300" y="293979"/>
                      <a:pt x="438005" y="293979"/>
                    </a:cubicBezTo>
                    <a:cubicBezTo>
                      <a:pt x="418171" y="293301"/>
                      <a:pt x="398450" y="296715"/>
                      <a:pt x="379984" y="304010"/>
                    </a:cubicBezTo>
                    <a:cubicBezTo>
                      <a:pt x="372917" y="307088"/>
                      <a:pt x="365222" y="312901"/>
                      <a:pt x="366192" y="320595"/>
                    </a:cubicBezTo>
                    <a:cubicBezTo>
                      <a:pt x="362087" y="323445"/>
                      <a:pt x="357585" y="317803"/>
                      <a:pt x="353197" y="315466"/>
                    </a:cubicBezTo>
                    <a:cubicBezTo>
                      <a:pt x="346927" y="312217"/>
                      <a:pt x="339005" y="316093"/>
                      <a:pt x="332336" y="313756"/>
                    </a:cubicBezTo>
                    <a:cubicBezTo>
                      <a:pt x="328461" y="312388"/>
                      <a:pt x="325440" y="309025"/>
                      <a:pt x="321450" y="308056"/>
                    </a:cubicBezTo>
                    <a:cubicBezTo>
                      <a:pt x="318487" y="307259"/>
                      <a:pt x="315352" y="308056"/>
                      <a:pt x="312388" y="307145"/>
                    </a:cubicBezTo>
                    <a:cubicBezTo>
                      <a:pt x="307772" y="306005"/>
                      <a:pt x="304466" y="301958"/>
                      <a:pt x="300020" y="300191"/>
                    </a:cubicBezTo>
                    <a:cubicBezTo>
                      <a:pt x="297513" y="299388"/>
                      <a:pt x="294891" y="298812"/>
                      <a:pt x="292269" y="298481"/>
                    </a:cubicBezTo>
                    <a:cubicBezTo>
                      <a:pt x="285885" y="297062"/>
                      <a:pt x="280186" y="293529"/>
                      <a:pt x="276083" y="288450"/>
                    </a:cubicBezTo>
                    <a:lnTo>
                      <a:pt x="186316" y="287766"/>
                    </a:lnTo>
                    <a:cubicBezTo>
                      <a:pt x="181756" y="288365"/>
                      <a:pt x="177197" y="286609"/>
                      <a:pt x="174176" y="283093"/>
                    </a:cubicBezTo>
                    <a:cubicBezTo>
                      <a:pt x="168990" y="277872"/>
                      <a:pt x="165570" y="271124"/>
                      <a:pt x="164430" y="263829"/>
                    </a:cubicBezTo>
                    <a:cubicBezTo>
                      <a:pt x="164373" y="262102"/>
                      <a:pt x="163860" y="260415"/>
                      <a:pt x="163005" y="258927"/>
                    </a:cubicBezTo>
                    <a:cubicBezTo>
                      <a:pt x="161067" y="256419"/>
                      <a:pt x="157306" y="256590"/>
                      <a:pt x="154741" y="254481"/>
                    </a:cubicBezTo>
                    <a:cubicBezTo>
                      <a:pt x="153259" y="252612"/>
                      <a:pt x="152176" y="250429"/>
                      <a:pt x="151663" y="248098"/>
                    </a:cubicBezTo>
                    <a:cubicBezTo>
                      <a:pt x="147844" y="238352"/>
                      <a:pt x="136103" y="234875"/>
                      <a:pt x="125902" y="232653"/>
                    </a:cubicBezTo>
                    <a:cubicBezTo>
                      <a:pt x="125902" y="228663"/>
                      <a:pt x="125560" y="224673"/>
                      <a:pt x="125331" y="220684"/>
                    </a:cubicBezTo>
                    <a:lnTo>
                      <a:pt x="77627" y="217264"/>
                    </a:lnTo>
                    <a:cubicBezTo>
                      <a:pt x="76458" y="217287"/>
                      <a:pt x="75319" y="216922"/>
                      <a:pt x="74378" y="216238"/>
                    </a:cubicBezTo>
                    <a:cubicBezTo>
                      <a:pt x="73409" y="215212"/>
                      <a:pt x="73409" y="213616"/>
                      <a:pt x="72725" y="212362"/>
                    </a:cubicBezTo>
                    <a:cubicBezTo>
                      <a:pt x="70731" y="208430"/>
                      <a:pt x="64062" y="210026"/>
                      <a:pt x="61326" y="206663"/>
                    </a:cubicBezTo>
                    <a:cubicBezTo>
                      <a:pt x="58591" y="203300"/>
                      <a:pt x="60358" y="200223"/>
                      <a:pt x="61611" y="197088"/>
                    </a:cubicBezTo>
                    <a:lnTo>
                      <a:pt x="74948" y="164487"/>
                    </a:lnTo>
                    <a:cubicBezTo>
                      <a:pt x="64415" y="161871"/>
                      <a:pt x="57667" y="151595"/>
                      <a:pt x="59445" y="140891"/>
                    </a:cubicBezTo>
                    <a:cubicBezTo>
                      <a:pt x="51409" y="140891"/>
                      <a:pt x="49244" y="128865"/>
                      <a:pt x="41948" y="125502"/>
                    </a:cubicBezTo>
                    <a:cubicBezTo>
                      <a:pt x="36249" y="122767"/>
                      <a:pt x="28554" y="126528"/>
                      <a:pt x="22855" y="123394"/>
                    </a:cubicBezTo>
                    <a:cubicBezTo>
                      <a:pt x="18694" y="121114"/>
                      <a:pt x="17155" y="116041"/>
                      <a:pt x="13679" y="112793"/>
                    </a:cubicBezTo>
                    <a:cubicBezTo>
                      <a:pt x="10202" y="109544"/>
                      <a:pt x="7181" y="108803"/>
                      <a:pt x="4901" y="105839"/>
                    </a:cubicBezTo>
                    <a:cubicBezTo>
                      <a:pt x="3003" y="102591"/>
                      <a:pt x="1368" y="99199"/>
                      <a:pt x="0" y="95694"/>
                    </a:cubicBezTo>
                    <a:cubicBezTo>
                      <a:pt x="0" y="94725"/>
                      <a:pt x="456" y="93756"/>
                      <a:pt x="741" y="92787"/>
                    </a:cubicBezTo>
                    <a:cubicBezTo>
                      <a:pt x="15320" y="89351"/>
                      <a:pt x="29136" y="83246"/>
                      <a:pt x="41492" y="74777"/>
                    </a:cubicBezTo>
                    <a:cubicBezTo>
                      <a:pt x="45368" y="72497"/>
                      <a:pt x="49700" y="69477"/>
                      <a:pt x="50098" y="64974"/>
                    </a:cubicBezTo>
                    <a:cubicBezTo>
                      <a:pt x="50098" y="63321"/>
                      <a:pt x="49813" y="61383"/>
                      <a:pt x="50783" y="60015"/>
                    </a:cubicBezTo>
                    <a:cubicBezTo>
                      <a:pt x="52720" y="57223"/>
                      <a:pt x="56938" y="59445"/>
                      <a:pt x="60243" y="60015"/>
                    </a:cubicBezTo>
                    <a:cubicBezTo>
                      <a:pt x="68793" y="61725"/>
                      <a:pt x="74435" y="51466"/>
                      <a:pt x="82186" y="47534"/>
                    </a:cubicBezTo>
                    <a:cubicBezTo>
                      <a:pt x="96492" y="40295"/>
                      <a:pt x="115357" y="56026"/>
                      <a:pt x="129093" y="47534"/>
                    </a:cubicBezTo>
                    <a:cubicBezTo>
                      <a:pt x="130803" y="53233"/>
                      <a:pt x="132456" y="58933"/>
                      <a:pt x="134109" y="64632"/>
                    </a:cubicBezTo>
                    <a:cubicBezTo>
                      <a:pt x="140264" y="60300"/>
                      <a:pt x="147046" y="69477"/>
                      <a:pt x="154285" y="71585"/>
                    </a:cubicBezTo>
                    <a:cubicBezTo>
                      <a:pt x="157648" y="72127"/>
                      <a:pt x="161067" y="72127"/>
                      <a:pt x="164430" y="71585"/>
                    </a:cubicBezTo>
                    <a:cubicBezTo>
                      <a:pt x="174803" y="71186"/>
                      <a:pt x="185176" y="75119"/>
                      <a:pt x="195321" y="73124"/>
                    </a:cubicBezTo>
                    <a:cubicBezTo>
                      <a:pt x="205466" y="71129"/>
                      <a:pt x="214243" y="58021"/>
                      <a:pt x="206720" y="50668"/>
                    </a:cubicBezTo>
                    <a:cubicBezTo>
                      <a:pt x="204668" y="48559"/>
                      <a:pt x="201704" y="47420"/>
                      <a:pt x="200223" y="44969"/>
                    </a:cubicBezTo>
                    <a:cubicBezTo>
                      <a:pt x="199254" y="42871"/>
                      <a:pt x="198969" y="40512"/>
                      <a:pt x="199425" y="38243"/>
                    </a:cubicBezTo>
                    <a:cubicBezTo>
                      <a:pt x="201704" y="22057"/>
                      <a:pt x="215383" y="10202"/>
                      <a:pt x="227922" y="0"/>
                    </a:cubicBezTo>
                    <a:cubicBezTo>
                      <a:pt x="249409" y="11399"/>
                      <a:pt x="271979" y="23197"/>
                      <a:pt x="296316" y="23596"/>
                    </a:cubicBezTo>
                    <a:cubicBezTo>
                      <a:pt x="297570" y="32487"/>
                      <a:pt x="298880" y="41378"/>
                      <a:pt x="300134" y="50269"/>
                    </a:cubicBezTo>
                    <a:cubicBezTo>
                      <a:pt x="304067" y="49540"/>
                      <a:pt x="307828" y="52139"/>
                      <a:pt x="308569" y="56071"/>
                    </a:cubicBezTo>
                    <a:cubicBezTo>
                      <a:pt x="308683" y="56601"/>
                      <a:pt x="308683" y="57137"/>
                      <a:pt x="308683" y="57679"/>
                    </a:cubicBezTo>
                    <a:cubicBezTo>
                      <a:pt x="314383" y="57223"/>
                      <a:pt x="319000" y="61440"/>
                      <a:pt x="323616" y="64575"/>
                    </a:cubicBezTo>
                    <a:cubicBezTo>
                      <a:pt x="328233" y="67710"/>
                      <a:pt x="335015" y="69761"/>
                      <a:pt x="339005" y="65601"/>
                    </a:cubicBezTo>
                    <a:cubicBezTo>
                      <a:pt x="340145" y="64039"/>
                      <a:pt x="341114" y="62375"/>
                      <a:pt x="341969" y="60642"/>
                    </a:cubicBezTo>
                    <a:cubicBezTo>
                      <a:pt x="345787" y="56351"/>
                      <a:pt x="351315" y="53991"/>
                      <a:pt x="357072" y="54202"/>
                    </a:cubicBezTo>
                    <a:cubicBezTo>
                      <a:pt x="383746" y="52464"/>
                      <a:pt x="409963" y="61993"/>
                      <a:pt x="429284" y="80477"/>
                    </a:cubicBezTo>
                    <a:cubicBezTo>
                      <a:pt x="431621" y="83161"/>
                      <a:pt x="434528" y="85264"/>
                      <a:pt x="437834" y="86632"/>
                    </a:cubicBezTo>
                    <a:cubicBezTo>
                      <a:pt x="442279" y="87134"/>
                      <a:pt x="446725" y="87037"/>
                      <a:pt x="451113" y="86347"/>
                    </a:cubicBezTo>
                    <a:cubicBezTo>
                      <a:pt x="462911" y="86632"/>
                      <a:pt x="473911" y="98658"/>
                      <a:pt x="484797" y="94212"/>
                    </a:cubicBezTo>
                    <a:cubicBezTo>
                      <a:pt x="488502" y="92673"/>
                      <a:pt x="491238" y="89482"/>
                      <a:pt x="494885" y="87943"/>
                    </a:cubicBezTo>
                    <a:cubicBezTo>
                      <a:pt x="499445" y="86495"/>
                      <a:pt x="504290" y="85897"/>
                      <a:pt x="509077" y="86176"/>
                    </a:cubicBezTo>
                    <a:cubicBezTo>
                      <a:pt x="523668" y="85606"/>
                      <a:pt x="536321" y="76658"/>
                      <a:pt x="548973" y="69876"/>
                    </a:cubicBezTo>
                    <a:cubicBezTo>
                      <a:pt x="561626" y="63093"/>
                      <a:pt x="578212" y="58477"/>
                      <a:pt x="590523" y="66342"/>
                    </a:cubicBezTo>
                    <a:cubicBezTo>
                      <a:pt x="593087" y="68405"/>
                      <a:pt x="595880" y="70109"/>
                      <a:pt x="598901" y="71414"/>
                    </a:cubicBezTo>
                    <a:cubicBezTo>
                      <a:pt x="602890" y="72611"/>
                      <a:pt x="607336" y="71414"/>
                      <a:pt x="611269" y="72839"/>
                    </a:cubicBezTo>
                    <a:cubicBezTo>
                      <a:pt x="614746" y="74486"/>
                      <a:pt x="617538" y="77336"/>
                      <a:pt x="619134" y="80876"/>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33" name="Freihandform: Form 727">
                <a:extLst>
                  <a:ext uri="{FF2B5EF4-FFF2-40B4-BE49-F238E27FC236}">
                    <a16:creationId xmlns:a16="http://schemas.microsoft.com/office/drawing/2014/main" id="{CD77337A-CCA9-77E5-1912-F997E392D110}"/>
                  </a:ext>
                </a:extLst>
              </p:cNvPr>
              <p:cNvSpPr/>
              <p:nvPr/>
            </p:nvSpPr>
            <p:spPr>
              <a:xfrm>
                <a:off x="5309713" y="3162196"/>
                <a:ext cx="206810" cy="109737"/>
              </a:xfrm>
              <a:custGeom>
                <a:avLst/>
                <a:gdLst>
                  <a:gd name="connsiteX0" fmla="*/ 204132 w 206810"/>
                  <a:gd name="connsiteY0" fmla="*/ 29539 h 109737"/>
                  <a:gd name="connsiteX1" fmla="*/ 206811 w 206810"/>
                  <a:gd name="connsiteY1" fmla="*/ 33928 h 109737"/>
                  <a:gd name="connsiteX2" fmla="*/ 204759 w 206810"/>
                  <a:gd name="connsiteY2" fmla="*/ 35752 h 109737"/>
                  <a:gd name="connsiteX3" fmla="*/ 199801 w 206810"/>
                  <a:gd name="connsiteY3" fmla="*/ 36721 h 109737"/>
                  <a:gd name="connsiteX4" fmla="*/ 190226 w 206810"/>
                  <a:gd name="connsiteY4" fmla="*/ 45612 h 109737"/>
                  <a:gd name="connsiteX5" fmla="*/ 180764 w 206810"/>
                  <a:gd name="connsiteY5" fmla="*/ 49202 h 109737"/>
                  <a:gd name="connsiteX6" fmla="*/ 159961 w 206810"/>
                  <a:gd name="connsiteY6" fmla="*/ 68011 h 109737"/>
                  <a:gd name="connsiteX7" fmla="*/ 140127 w 206810"/>
                  <a:gd name="connsiteY7" fmla="*/ 69322 h 109737"/>
                  <a:gd name="connsiteX8" fmla="*/ 137619 w 206810"/>
                  <a:gd name="connsiteY8" fmla="*/ 73539 h 109737"/>
                  <a:gd name="connsiteX9" fmla="*/ 125822 w 206810"/>
                  <a:gd name="connsiteY9" fmla="*/ 77187 h 109737"/>
                  <a:gd name="connsiteX10" fmla="*/ 126107 w 206810"/>
                  <a:gd name="connsiteY10" fmla="*/ 88586 h 109737"/>
                  <a:gd name="connsiteX11" fmla="*/ 115506 w 206810"/>
                  <a:gd name="connsiteY11" fmla="*/ 89555 h 109737"/>
                  <a:gd name="connsiteX12" fmla="*/ 112770 w 206810"/>
                  <a:gd name="connsiteY12" fmla="*/ 81404 h 109737"/>
                  <a:gd name="connsiteX13" fmla="*/ 96640 w 206810"/>
                  <a:gd name="connsiteY13" fmla="*/ 80606 h 109737"/>
                  <a:gd name="connsiteX14" fmla="*/ 82221 w 206810"/>
                  <a:gd name="connsiteY14" fmla="*/ 92233 h 109737"/>
                  <a:gd name="connsiteX15" fmla="*/ 74013 w 206810"/>
                  <a:gd name="connsiteY15" fmla="*/ 94399 h 109737"/>
                  <a:gd name="connsiteX16" fmla="*/ 70822 w 206810"/>
                  <a:gd name="connsiteY16" fmla="*/ 103632 h 109737"/>
                  <a:gd name="connsiteX17" fmla="*/ 70822 w 206810"/>
                  <a:gd name="connsiteY17" fmla="*/ 104373 h 109737"/>
                  <a:gd name="connsiteX18" fmla="*/ 62956 w 206810"/>
                  <a:gd name="connsiteY18" fmla="*/ 103518 h 109737"/>
                  <a:gd name="connsiteX19" fmla="*/ 32008 w 206810"/>
                  <a:gd name="connsiteY19" fmla="*/ 109617 h 109737"/>
                  <a:gd name="connsiteX20" fmla="*/ 7671 w 206810"/>
                  <a:gd name="connsiteY20" fmla="*/ 103518 h 109737"/>
                  <a:gd name="connsiteX21" fmla="*/ 1573 w 206810"/>
                  <a:gd name="connsiteY21" fmla="*/ 95482 h 109737"/>
                  <a:gd name="connsiteX22" fmla="*/ 8640 w 206810"/>
                  <a:gd name="connsiteY22" fmla="*/ 86306 h 109737"/>
                  <a:gd name="connsiteX23" fmla="*/ 21065 w 206810"/>
                  <a:gd name="connsiteY23" fmla="*/ 85565 h 109737"/>
                  <a:gd name="connsiteX24" fmla="*/ 54065 w 206810"/>
                  <a:gd name="connsiteY24" fmla="*/ 73197 h 109737"/>
                  <a:gd name="connsiteX25" fmla="*/ 54635 w 206810"/>
                  <a:gd name="connsiteY25" fmla="*/ 71772 h 109737"/>
                  <a:gd name="connsiteX26" fmla="*/ 52697 w 206810"/>
                  <a:gd name="connsiteY26" fmla="*/ 68980 h 109737"/>
                  <a:gd name="connsiteX27" fmla="*/ 48138 w 206810"/>
                  <a:gd name="connsiteY27" fmla="*/ 57068 h 109737"/>
                  <a:gd name="connsiteX28" fmla="*/ 37423 w 206810"/>
                  <a:gd name="connsiteY28" fmla="*/ 55244 h 109737"/>
                  <a:gd name="connsiteX29" fmla="*/ 27848 w 206810"/>
                  <a:gd name="connsiteY29" fmla="*/ 49259 h 109737"/>
                  <a:gd name="connsiteX30" fmla="*/ 10749 w 206810"/>
                  <a:gd name="connsiteY30" fmla="*/ 48062 h 109737"/>
                  <a:gd name="connsiteX31" fmla="*/ 205 w 206810"/>
                  <a:gd name="connsiteY31" fmla="*/ 37290 h 109737"/>
                  <a:gd name="connsiteX32" fmla="*/ 4138 w 206810"/>
                  <a:gd name="connsiteY32" fmla="*/ 31591 h 109737"/>
                  <a:gd name="connsiteX33" fmla="*/ 16562 w 206810"/>
                  <a:gd name="connsiteY33" fmla="*/ 19451 h 109737"/>
                  <a:gd name="connsiteX34" fmla="*/ 24599 w 206810"/>
                  <a:gd name="connsiteY34" fmla="*/ 13752 h 109737"/>
                  <a:gd name="connsiteX35" fmla="*/ 46371 w 206810"/>
                  <a:gd name="connsiteY35" fmla="*/ 20591 h 109737"/>
                  <a:gd name="connsiteX36" fmla="*/ 66490 w 206810"/>
                  <a:gd name="connsiteY36" fmla="*/ 11472 h 109737"/>
                  <a:gd name="connsiteX37" fmla="*/ 85811 w 206810"/>
                  <a:gd name="connsiteY37" fmla="*/ 73 h 109737"/>
                  <a:gd name="connsiteX38" fmla="*/ 94475 w 206810"/>
                  <a:gd name="connsiteY38" fmla="*/ 4005 h 109737"/>
                  <a:gd name="connsiteX39" fmla="*/ 95899 w 206810"/>
                  <a:gd name="connsiteY39" fmla="*/ 7482 h 109737"/>
                  <a:gd name="connsiteX40" fmla="*/ 105702 w 206810"/>
                  <a:gd name="connsiteY40" fmla="*/ 10503 h 109737"/>
                  <a:gd name="connsiteX41" fmla="*/ 178143 w 206810"/>
                  <a:gd name="connsiteY41" fmla="*/ 15690 h 109737"/>
                  <a:gd name="connsiteX42" fmla="*/ 204132 w 206810"/>
                  <a:gd name="connsiteY42" fmla="*/ 29539 h 10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6810" h="109737">
                    <a:moveTo>
                      <a:pt x="204132" y="29539"/>
                    </a:moveTo>
                    <a:cubicBezTo>
                      <a:pt x="205147" y="30924"/>
                      <a:pt x="206041" y="32395"/>
                      <a:pt x="206811" y="33928"/>
                    </a:cubicBezTo>
                    <a:cubicBezTo>
                      <a:pt x="206304" y="34709"/>
                      <a:pt x="205591" y="35336"/>
                      <a:pt x="204759" y="35752"/>
                    </a:cubicBezTo>
                    <a:cubicBezTo>
                      <a:pt x="203141" y="36219"/>
                      <a:pt x="201476" y="36544"/>
                      <a:pt x="199801" y="36721"/>
                    </a:cubicBezTo>
                    <a:cubicBezTo>
                      <a:pt x="195526" y="37917"/>
                      <a:pt x="194101" y="43047"/>
                      <a:pt x="190226" y="45612"/>
                    </a:cubicBezTo>
                    <a:cubicBezTo>
                      <a:pt x="187182" y="47076"/>
                      <a:pt x="184013" y="48279"/>
                      <a:pt x="180764" y="49202"/>
                    </a:cubicBezTo>
                    <a:cubicBezTo>
                      <a:pt x="172158" y="53363"/>
                      <a:pt x="169365" y="66301"/>
                      <a:pt x="159961" y="68011"/>
                    </a:cubicBezTo>
                    <a:cubicBezTo>
                      <a:pt x="153122" y="69094"/>
                      <a:pt x="144231" y="63736"/>
                      <a:pt x="140127" y="69322"/>
                    </a:cubicBezTo>
                    <a:cubicBezTo>
                      <a:pt x="139380" y="70781"/>
                      <a:pt x="138543" y="72188"/>
                      <a:pt x="137619" y="73539"/>
                    </a:cubicBezTo>
                    <a:cubicBezTo>
                      <a:pt x="134599" y="76503"/>
                      <a:pt x="128614" y="73995"/>
                      <a:pt x="125822" y="77187"/>
                    </a:cubicBezTo>
                    <a:cubicBezTo>
                      <a:pt x="127867" y="80686"/>
                      <a:pt x="127976" y="84989"/>
                      <a:pt x="126107" y="88586"/>
                    </a:cubicBezTo>
                    <a:cubicBezTo>
                      <a:pt x="122687" y="87332"/>
                      <a:pt x="118583" y="91492"/>
                      <a:pt x="115506" y="89555"/>
                    </a:cubicBezTo>
                    <a:cubicBezTo>
                      <a:pt x="112428" y="87617"/>
                      <a:pt x="113795" y="84140"/>
                      <a:pt x="112770" y="81404"/>
                    </a:cubicBezTo>
                    <a:cubicBezTo>
                      <a:pt x="110604" y="75420"/>
                      <a:pt x="101371" y="76503"/>
                      <a:pt x="96640" y="80606"/>
                    </a:cubicBezTo>
                    <a:cubicBezTo>
                      <a:pt x="91910" y="84710"/>
                      <a:pt x="87920" y="90980"/>
                      <a:pt x="82221" y="92233"/>
                    </a:cubicBezTo>
                    <a:cubicBezTo>
                      <a:pt x="79365" y="92376"/>
                      <a:pt x="76567" y="93117"/>
                      <a:pt x="74013" y="94399"/>
                    </a:cubicBezTo>
                    <a:cubicBezTo>
                      <a:pt x="71557" y="96804"/>
                      <a:pt x="70377" y="100224"/>
                      <a:pt x="70822" y="103632"/>
                    </a:cubicBezTo>
                    <a:lnTo>
                      <a:pt x="70822" y="104373"/>
                    </a:lnTo>
                    <a:cubicBezTo>
                      <a:pt x="68234" y="103832"/>
                      <a:pt x="65601" y="103547"/>
                      <a:pt x="62956" y="103518"/>
                    </a:cubicBezTo>
                    <a:cubicBezTo>
                      <a:pt x="52412" y="103518"/>
                      <a:pt x="42495" y="108648"/>
                      <a:pt x="32008" y="109617"/>
                    </a:cubicBezTo>
                    <a:cubicBezTo>
                      <a:pt x="23447" y="110289"/>
                      <a:pt x="14904" y="108146"/>
                      <a:pt x="7671" y="103518"/>
                    </a:cubicBezTo>
                    <a:cubicBezTo>
                      <a:pt x="4542" y="101883"/>
                      <a:pt x="2308" y="98936"/>
                      <a:pt x="1573" y="95482"/>
                    </a:cubicBezTo>
                    <a:cubicBezTo>
                      <a:pt x="1618" y="91190"/>
                      <a:pt x="4503" y="87446"/>
                      <a:pt x="8640" y="86306"/>
                    </a:cubicBezTo>
                    <a:cubicBezTo>
                      <a:pt x="12704" y="85320"/>
                      <a:pt x="16910" y="85063"/>
                      <a:pt x="21065" y="85565"/>
                    </a:cubicBezTo>
                    <a:cubicBezTo>
                      <a:pt x="33376" y="86135"/>
                      <a:pt x="47397" y="83513"/>
                      <a:pt x="54065" y="73197"/>
                    </a:cubicBezTo>
                    <a:cubicBezTo>
                      <a:pt x="54384" y="72787"/>
                      <a:pt x="54584" y="72291"/>
                      <a:pt x="54635" y="71772"/>
                    </a:cubicBezTo>
                    <a:cubicBezTo>
                      <a:pt x="54635" y="70575"/>
                      <a:pt x="53552" y="69777"/>
                      <a:pt x="52697" y="68980"/>
                    </a:cubicBezTo>
                    <a:cubicBezTo>
                      <a:pt x="49813" y="65674"/>
                      <a:pt x="48195" y="61456"/>
                      <a:pt x="48138" y="57068"/>
                    </a:cubicBezTo>
                    <a:cubicBezTo>
                      <a:pt x="44490" y="58310"/>
                      <a:pt x="40455" y="57626"/>
                      <a:pt x="37423" y="55244"/>
                    </a:cubicBezTo>
                    <a:cubicBezTo>
                      <a:pt x="34442" y="52930"/>
                      <a:pt x="31233" y="50924"/>
                      <a:pt x="27848" y="49259"/>
                    </a:cubicBezTo>
                    <a:cubicBezTo>
                      <a:pt x="22216" y="48159"/>
                      <a:pt x="16477" y="47760"/>
                      <a:pt x="10749" y="48062"/>
                    </a:cubicBezTo>
                    <a:cubicBezTo>
                      <a:pt x="5050" y="47436"/>
                      <a:pt x="-1220" y="42819"/>
                      <a:pt x="205" y="37290"/>
                    </a:cubicBezTo>
                    <a:cubicBezTo>
                      <a:pt x="997" y="35079"/>
                      <a:pt x="2354" y="33118"/>
                      <a:pt x="4138" y="31591"/>
                    </a:cubicBezTo>
                    <a:lnTo>
                      <a:pt x="16562" y="19451"/>
                    </a:lnTo>
                    <a:cubicBezTo>
                      <a:pt x="18689" y="16869"/>
                      <a:pt x="21458" y="14903"/>
                      <a:pt x="24599" y="13752"/>
                    </a:cubicBezTo>
                    <a:cubicBezTo>
                      <a:pt x="32122" y="11871"/>
                      <a:pt x="38676" y="19451"/>
                      <a:pt x="46371" y="20591"/>
                    </a:cubicBezTo>
                    <a:cubicBezTo>
                      <a:pt x="54065" y="21731"/>
                      <a:pt x="60847" y="16601"/>
                      <a:pt x="66490" y="11472"/>
                    </a:cubicBezTo>
                    <a:cubicBezTo>
                      <a:pt x="72132" y="6342"/>
                      <a:pt x="78231" y="643"/>
                      <a:pt x="85811" y="73"/>
                    </a:cubicBezTo>
                    <a:cubicBezTo>
                      <a:pt x="89208" y="-360"/>
                      <a:pt x="92565" y="1162"/>
                      <a:pt x="94475" y="4005"/>
                    </a:cubicBezTo>
                    <a:cubicBezTo>
                      <a:pt x="95044" y="5145"/>
                      <a:pt x="95272" y="6399"/>
                      <a:pt x="95899" y="7482"/>
                    </a:cubicBezTo>
                    <a:cubicBezTo>
                      <a:pt x="97780" y="10560"/>
                      <a:pt x="102112" y="10674"/>
                      <a:pt x="105702" y="10503"/>
                    </a:cubicBezTo>
                    <a:cubicBezTo>
                      <a:pt x="129971" y="8998"/>
                      <a:pt x="154336" y="10742"/>
                      <a:pt x="178143" y="15690"/>
                    </a:cubicBezTo>
                    <a:cubicBezTo>
                      <a:pt x="188003" y="18596"/>
                      <a:pt x="198205" y="21845"/>
                      <a:pt x="204132" y="2953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4" name="Freihandform: Form 728">
                <a:extLst>
                  <a:ext uri="{FF2B5EF4-FFF2-40B4-BE49-F238E27FC236}">
                    <a16:creationId xmlns:a16="http://schemas.microsoft.com/office/drawing/2014/main" id="{3750E4EC-43F0-5DDC-27A7-9F65601635C0}"/>
                  </a:ext>
                </a:extLst>
              </p:cNvPr>
              <p:cNvSpPr/>
              <p:nvPr/>
            </p:nvSpPr>
            <p:spPr>
              <a:xfrm>
                <a:off x="5241011" y="3234865"/>
                <a:ext cx="169349" cy="118678"/>
              </a:xfrm>
              <a:custGeom>
                <a:avLst/>
                <a:gdLst>
                  <a:gd name="connsiteX0" fmla="*/ 77513 w 169349"/>
                  <a:gd name="connsiteY0" fmla="*/ 4974 h 118678"/>
                  <a:gd name="connsiteX1" fmla="*/ 106523 w 169349"/>
                  <a:gd name="connsiteY1" fmla="*/ 11528 h 118678"/>
                  <a:gd name="connsiteX2" fmla="*/ 89880 w 169349"/>
                  <a:gd name="connsiteY2" fmla="*/ 13124 h 118678"/>
                  <a:gd name="connsiteX3" fmla="*/ 77456 w 169349"/>
                  <a:gd name="connsiteY3" fmla="*/ 13865 h 118678"/>
                  <a:gd name="connsiteX4" fmla="*/ 70388 w 169349"/>
                  <a:gd name="connsiteY4" fmla="*/ 23041 h 118678"/>
                  <a:gd name="connsiteX5" fmla="*/ 76487 w 169349"/>
                  <a:gd name="connsiteY5" fmla="*/ 31078 h 118678"/>
                  <a:gd name="connsiteX6" fmla="*/ 100824 w 169349"/>
                  <a:gd name="connsiteY6" fmla="*/ 37176 h 118678"/>
                  <a:gd name="connsiteX7" fmla="*/ 131772 w 169349"/>
                  <a:gd name="connsiteY7" fmla="*/ 31078 h 118678"/>
                  <a:gd name="connsiteX8" fmla="*/ 139637 w 169349"/>
                  <a:gd name="connsiteY8" fmla="*/ 31933 h 118678"/>
                  <a:gd name="connsiteX9" fmla="*/ 139637 w 169349"/>
                  <a:gd name="connsiteY9" fmla="*/ 45554 h 118678"/>
                  <a:gd name="connsiteX10" fmla="*/ 142829 w 169349"/>
                  <a:gd name="connsiteY10" fmla="*/ 56953 h 118678"/>
                  <a:gd name="connsiteX11" fmla="*/ 151378 w 169349"/>
                  <a:gd name="connsiteY11" fmla="*/ 61057 h 118678"/>
                  <a:gd name="connsiteX12" fmla="*/ 166368 w 169349"/>
                  <a:gd name="connsiteY12" fmla="*/ 77243 h 118678"/>
                  <a:gd name="connsiteX13" fmla="*/ 169331 w 169349"/>
                  <a:gd name="connsiteY13" fmla="*/ 84140 h 118678"/>
                  <a:gd name="connsiteX14" fmla="*/ 168134 w 169349"/>
                  <a:gd name="connsiteY14" fmla="*/ 91891 h 118678"/>
                  <a:gd name="connsiteX15" fmla="*/ 165912 w 169349"/>
                  <a:gd name="connsiteY15" fmla="*/ 102264 h 118678"/>
                  <a:gd name="connsiteX16" fmla="*/ 165456 w 169349"/>
                  <a:gd name="connsiteY16" fmla="*/ 102264 h 118678"/>
                  <a:gd name="connsiteX17" fmla="*/ 150352 w 169349"/>
                  <a:gd name="connsiteY17" fmla="*/ 101580 h 118678"/>
                  <a:gd name="connsiteX18" fmla="*/ 141233 w 169349"/>
                  <a:gd name="connsiteY18" fmla="*/ 91663 h 118678"/>
                  <a:gd name="connsiteX19" fmla="*/ 124134 w 169349"/>
                  <a:gd name="connsiteY19" fmla="*/ 106083 h 118678"/>
                  <a:gd name="connsiteX20" fmla="*/ 100140 w 169349"/>
                  <a:gd name="connsiteY20" fmla="*/ 115829 h 118678"/>
                  <a:gd name="connsiteX21" fmla="*/ 97005 w 169349"/>
                  <a:gd name="connsiteY21" fmla="*/ 118679 h 118678"/>
                  <a:gd name="connsiteX22" fmla="*/ 94668 w 169349"/>
                  <a:gd name="connsiteY22" fmla="*/ 105627 h 118678"/>
                  <a:gd name="connsiteX23" fmla="*/ 91305 w 169349"/>
                  <a:gd name="connsiteY23" fmla="*/ 83684 h 118678"/>
                  <a:gd name="connsiteX24" fmla="*/ 84922 w 169349"/>
                  <a:gd name="connsiteY24" fmla="*/ 82031 h 118678"/>
                  <a:gd name="connsiteX25" fmla="*/ 84523 w 169349"/>
                  <a:gd name="connsiteY25" fmla="*/ 74109 h 118678"/>
                  <a:gd name="connsiteX26" fmla="*/ 81046 w 169349"/>
                  <a:gd name="connsiteY26" fmla="*/ 67497 h 118678"/>
                  <a:gd name="connsiteX27" fmla="*/ 75347 w 169349"/>
                  <a:gd name="connsiteY27" fmla="*/ 70518 h 118678"/>
                  <a:gd name="connsiteX28" fmla="*/ 74321 w 169349"/>
                  <a:gd name="connsiteY28" fmla="*/ 77471 h 118678"/>
                  <a:gd name="connsiteX29" fmla="*/ 66627 w 169349"/>
                  <a:gd name="connsiteY29" fmla="*/ 79466 h 118678"/>
                  <a:gd name="connsiteX30" fmla="*/ 60927 w 169349"/>
                  <a:gd name="connsiteY30" fmla="*/ 86021 h 118678"/>
                  <a:gd name="connsiteX31" fmla="*/ 51694 w 169349"/>
                  <a:gd name="connsiteY31" fmla="*/ 90523 h 118678"/>
                  <a:gd name="connsiteX32" fmla="*/ 50440 w 169349"/>
                  <a:gd name="connsiteY32" fmla="*/ 94000 h 118678"/>
                  <a:gd name="connsiteX33" fmla="*/ 45083 w 169349"/>
                  <a:gd name="connsiteY33" fmla="*/ 98445 h 118678"/>
                  <a:gd name="connsiteX34" fmla="*/ 16585 w 169349"/>
                  <a:gd name="connsiteY34" fmla="*/ 110129 h 118678"/>
                  <a:gd name="connsiteX35" fmla="*/ 9347 w 169349"/>
                  <a:gd name="connsiteY35" fmla="*/ 98331 h 118678"/>
                  <a:gd name="connsiteX36" fmla="*/ 1368 w 169349"/>
                  <a:gd name="connsiteY36" fmla="*/ 99300 h 118678"/>
                  <a:gd name="connsiteX37" fmla="*/ 0 w 169349"/>
                  <a:gd name="connsiteY37" fmla="*/ 98388 h 118678"/>
                  <a:gd name="connsiteX38" fmla="*/ 11399 w 169349"/>
                  <a:gd name="connsiteY38" fmla="*/ 87274 h 118678"/>
                  <a:gd name="connsiteX39" fmla="*/ 18352 w 169349"/>
                  <a:gd name="connsiteY39" fmla="*/ 73767 h 118678"/>
                  <a:gd name="connsiteX40" fmla="*/ 14419 w 169349"/>
                  <a:gd name="connsiteY40" fmla="*/ 67212 h 118678"/>
                  <a:gd name="connsiteX41" fmla="*/ 10373 w 169349"/>
                  <a:gd name="connsiteY41" fmla="*/ 40995 h 118678"/>
                  <a:gd name="connsiteX42" fmla="*/ 33171 w 169349"/>
                  <a:gd name="connsiteY42" fmla="*/ 15119 h 118678"/>
                  <a:gd name="connsiteX43" fmla="*/ 45938 w 169349"/>
                  <a:gd name="connsiteY43" fmla="*/ 5373 h 118678"/>
                  <a:gd name="connsiteX44" fmla="*/ 52435 w 169349"/>
                  <a:gd name="connsiteY44" fmla="*/ 1269 h 118678"/>
                  <a:gd name="connsiteX45" fmla="*/ 77513 w 169349"/>
                  <a:gd name="connsiteY45" fmla="*/ 4974 h 11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9349" h="118678">
                    <a:moveTo>
                      <a:pt x="77513" y="4974"/>
                    </a:moveTo>
                    <a:cubicBezTo>
                      <a:pt x="86854" y="8422"/>
                      <a:pt x="96606" y="10628"/>
                      <a:pt x="106523" y="11528"/>
                    </a:cubicBezTo>
                    <a:cubicBezTo>
                      <a:pt x="101086" y="12879"/>
                      <a:pt x="95477" y="13421"/>
                      <a:pt x="89880" y="13124"/>
                    </a:cubicBezTo>
                    <a:cubicBezTo>
                      <a:pt x="85726" y="12628"/>
                      <a:pt x="81519" y="12879"/>
                      <a:pt x="77456" y="13865"/>
                    </a:cubicBezTo>
                    <a:cubicBezTo>
                      <a:pt x="73318" y="15005"/>
                      <a:pt x="70440" y="18750"/>
                      <a:pt x="70388" y="23041"/>
                    </a:cubicBezTo>
                    <a:cubicBezTo>
                      <a:pt x="71124" y="26495"/>
                      <a:pt x="73358" y="29442"/>
                      <a:pt x="76487" y="31078"/>
                    </a:cubicBezTo>
                    <a:cubicBezTo>
                      <a:pt x="83719" y="35706"/>
                      <a:pt x="92263" y="37849"/>
                      <a:pt x="100824" y="37176"/>
                    </a:cubicBezTo>
                    <a:cubicBezTo>
                      <a:pt x="111311" y="36207"/>
                      <a:pt x="121228" y="31021"/>
                      <a:pt x="131772" y="31078"/>
                    </a:cubicBezTo>
                    <a:cubicBezTo>
                      <a:pt x="134416" y="31106"/>
                      <a:pt x="137049" y="31391"/>
                      <a:pt x="139637" y="31933"/>
                    </a:cubicBezTo>
                    <a:lnTo>
                      <a:pt x="139637" y="45554"/>
                    </a:lnTo>
                    <a:cubicBezTo>
                      <a:pt x="139227" y="49618"/>
                      <a:pt x="140367" y="53687"/>
                      <a:pt x="142829" y="56953"/>
                    </a:cubicBezTo>
                    <a:cubicBezTo>
                      <a:pt x="145433" y="58783"/>
                      <a:pt x="148323" y="60168"/>
                      <a:pt x="151378" y="61057"/>
                    </a:cubicBezTo>
                    <a:cubicBezTo>
                      <a:pt x="157910" y="64796"/>
                      <a:pt x="163142" y="70444"/>
                      <a:pt x="166368" y="77243"/>
                    </a:cubicBezTo>
                    <a:cubicBezTo>
                      <a:pt x="167838" y="79301"/>
                      <a:pt x="168852" y="81655"/>
                      <a:pt x="169331" y="84140"/>
                    </a:cubicBezTo>
                    <a:cubicBezTo>
                      <a:pt x="169445" y="86779"/>
                      <a:pt x="169041" y="89412"/>
                      <a:pt x="168134" y="91891"/>
                    </a:cubicBezTo>
                    <a:cubicBezTo>
                      <a:pt x="167200" y="95305"/>
                      <a:pt x="166453" y="98765"/>
                      <a:pt x="165912" y="102264"/>
                    </a:cubicBezTo>
                    <a:lnTo>
                      <a:pt x="165456" y="102264"/>
                    </a:lnTo>
                    <a:cubicBezTo>
                      <a:pt x="160554" y="101067"/>
                      <a:pt x="155368" y="102264"/>
                      <a:pt x="150352" y="101580"/>
                    </a:cubicBezTo>
                    <a:cubicBezTo>
                      <a:pt x="145337" y="100896"/>
                      <a:pt x="139979" y="96565"/>
                      <a:pt x="141233" y="91663"/>
                    </a:cubicBezTo>
                    <a:cubicBezTo>
                      <a:pt x="133539" y="89212"/>
                      <a:pt x="129834" y="100611"/>
                      <a:pt x="124134" y="106083"/>
                    </a:cubicBezTo>
                    <a:cubicBezTo>
                      <a:pt x="118435" y="111554"/>
                      <a:pt x="107378" y="110927"/>
                      <a:pt x="100140" y="115829"/>
                    </a:cubicBezTo>
                    <a:cubicBezTo>
                      <a:pt x="98988" y="116655"/>
                      <a:pt x="97940" y="117613"/>
                      <a:pt x="97005" y="118679"/>
                    </a:cubicBezTo>
                    <a:cubicBezTo>
                      <a:pt x="95688" y="114444"/>
                      <a:pt x="94908" y="110055"/>
                      <a:pt x="94668" y="105627"/>
                    </a:cubicBezTo>
                    <a:cubicBezTo>
                      <a:pt x="94326" y="98103"/>
                      <a:pt x="95352" y="90010"/>
                      <a:pt x="91305" y="83684"/>
                    </a:cubicBezTo>
                    <a:cubicBezTo>
                      <a:pt x="89767" y="85907"/>
                      <a:pt x="86005" y="84482"/>
                      <a:pt x="84922" y="82031"/>
                    </a:cubicBezTo>
                    <a:cubicBezTo>
                      <a:pt x="84215" y="79449"/>
                      <a:pt x="84078" y="76747"/>
                      <a:pt x="84523" y="74109"/>
                    </a:cubicBezTo>
                    <a:cubicBezTo>
                      <a:pt x="84523" y="71430"/>
                      <a:pt x="83611" y="68409"/>
                      <a:pt x="81046" y="67497"/>
                    </a:cubicBezTo>
                    <a:cubicBezTo>
                      <a:pt x="78675" y="67058"/>
                      <a:pt x="76316" y="68307"/>
                      <a:pt x="75347" y="70518"/>
                    </a:cubicBezTo>
                    <a:cubicBezTo>
                      <a:pt x="74486" y="72729"/>
                      <a:pt x="74139" y="75106"/>
                      <a:pt x="74321" y="77471"/>
                    </a:cubicBezTo>
                    <a:cubicBezTo>
                      <a:pt x="71984" y="75648"/>
                      <a:pt x="68622" y="77471"/>
                      <a:pt x="66627" y="79466"/>
                    </a:cubicBezTo>
                    <a:cubicBezTo>
                      <a:pt x="64632" y="81461"/>
                      <a:pt x="63378" y="84539"/>
                      <a:pt x="60927" y="86021"/>
                    </a:cubicBezTo>
                    <a:cubicBezTo>
                      <a:pt x="58477" y="87503"/>
                      <a:pt x="53461" y="87445"/>
                      <a:pt x="51694" y="90523"/>
                    </a:cubicBezTo>
                    <a:cubicBezTo>
                      <a:pt x="51210" y="91657"/>
                      <a:pt x="50788" y="92820"/>
                      <a:pt x="50440" y="94000"/>
                    </a:cubicBezTo>
                    <a:cubicBezTo>
                      <a:pt x="49192" y="96029"/>
                      <a:pt x="47306" y="97591"/>
                      <a:pt x="45083" y="98445"/>
                    </a:cubicBezTo>
                    <a:cubicBezTo>
                      <a:pt x="36072" y="103438"/>
                      <a:pt x="26508" y="107359"/>
                      <a:pt x="16585" y="110129"/>
                    </a:cubicBezTo>
                    <a:cubicBezTo>
                      <a:pt x="16243" y="105057"/>
                      <a:pt x="14477" y="98445"/>
                      <a:pt x="9347" y="98331"/>
                    </a:cubicBezTo>
                    <a:cubicBezTo>
                      <a:pt x="6668" y="98331"/>
                      <a:pt x="3933" y="100269"/>
                      <a:pt x="1368" y="99300"/>
                    </a:cubicBezTo>
                    <a:cubicBezTo>
                      <a:pt x="872" y="99067"/>
                      <a:pt x="410" y="98759"/>
                      <a:pt x="0" y="98388"/>
                    </a:cubicBezTo>
                    <a:cubicBezTo>
                      <a:pt x="2690" y="93698"/>
                      <a:pt x="6640" y="89845"/>
                      <a:pt x="11399" y="87274"/>
                    </a:cubicBezTo>
                    <a:cubicBezTo>
                      <a:pt x="15674" y="83969"/>
                      <a:pt x="19777" y="78953"/>
                      <a:pt x="18352" y="73767"/>
                    </a:cubicBezTo>
                    <a:cubicBezTo>
                      <a:pt x="17457" y="71362"/>
                      <a:pt x="16124" y="69139"/>
                      <a:pt x="14419" y="67212"/>
                    </a:cubicBezTo>
                    <a:cubicBezTo>
                      <a:pt x="9005" y="59603"/>
                      <a:pt x="7506" y="49880"/>
                      <a:pt x="10373" y="40995"/>
                    </a:cubicBezTo>
                    <a:cubicBezTo>
                      <a:pt x="14020" y="29938"/>
                      <a:pt x="23824" y="22186"/>
                      <a:pt x="33171" y="15119"/>
                    </a:cubicBezTo>
                    <a:lnTo>
                      <a:pt x="45938" y="5373"/>
                    </a:lnTo>
                    <a:cubicBezTo>
                      <a:pt x="47932" y="3749"/>
                      <a:pt x="50110" y="2369"/>
                      <a:pt x="52435" y="1269"/>
                    </a:cubicBezTo>
                    <a:cubicBezTo>
                      <a:pt x="60243" y="-2093"/>
                      <a:pt x="69305" y="1953"/>
                      <a:pt x="77513" y="49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5" name="Freihandform: Form 729">
                <a:extLst>
                  <a:ext uri="{FF2B5EF4-FFF2-40B4-BE49-F238E27FC236}">
                    <a16:creationId xmlns:a16="http://schemas.microsoft.com/office/drawing/2014/main" id="{AD4D56DC-0B1B-17FB-2AC3-D80B12B5B320}"/>
                  </a:ext>
                </a:extLst>
              </p:cNvPr>
              <p:cNvSpPr/>
              <p:nvPr/>
            </p:nvSpPr>
            <p:spPr>
              <a:xfrm>
                <a:off x="4986680" y="3100658"/>
                <a:ext cx="377903" cy="232595"/>
              </a:xfrm>
              <a:custGeom>
                <a:avLst/>
                <a:gdLst>
                  <a:gd name="connsiteX0" fmla="*/ 323466 w 377903"/>
                  <a:gd name="connsiteY0" fmla="*/ 101793 h 232595"/>
                  <a:gd name="connsiteX1" fmla="*/ 334010 w 377903"/>
                  <a:gd name="connsiteY1" fmla="*/ 109829 h 232595"/>
                  <a:gd name="connsiteX2" fmla="*/ 351109 w 377903"/>
                  <a:gd name="connsiteY2" fmla="*/ 111026 h 232595"/>
                  <a:gd name="connsiteX3" fmla="*/ 360684 w 377903"/>
                  <a:gd name="connsiteY3" fmla="*/ 117010 h 232595"/>
                  <a:gd name="connsiteX4" fmla="*/ 371399 w 377903"/>
                  <a:gd name="connsiteY4" fmla="*/ 118834 h 232595"/>
                  <a:gd name="connsiteX5" fmla="*/ 375958 w 377903"/>
                  <a:gd name="connsiteY5" fmla="*/ 130746 h 232595"/>
                  <a:gd name="connsiteX6" fmla="*/ 377896 w 377903"/>
                  <a:gd name="connsiteY6" fmla="*/ 133539 h 232595"/>
                  <a:gd name="connsiteX7" fmla="*/ 377326 w 377903"/>
                  <a:gd name="connsiteY7" fmla="*/ 134964 h 232595"/>
                  <a:gd name="connsiteX8" fmla="*/ 360968 w 377903"/>
                  <a:gd name="connsiteY8" fmla="*/ 145736 h 232595"/>
                  <a:gd name="connsiteX9" fmla="*/ 331958 w 377903"/>
                  <a:gd name="connsiteY9" fmla="*/ 139181 h 232595"/>
                  <a:gd name="connsiteX10" fmla="*/ 306596 w 377903"/>
                  <a:gd name="connsiteY10" fmla="*/ 135477 h 232595"/>
                  <a:gd name="connsiteX11" fmla="*/ 300098 w 377903"/>
                  <a:gd name="connsiteY11" fmla="*/ 139580 h 232595"/>
                  <a:gd name="connsiteX12" fmla="*/ 287331 w 377903"/>
                  <a:gd name="connsiteY12" fmla="*/ 149326 h 232595"/>
                  <a:gd name="connsiteX13" fmla="*/ 264533 w 377903"/>
                  <a:gd name="connsiteY13" fmla="*/ 175202 h 232595"/>
                  <a:gd name="connsiteX14" fmla="*/ 268580 w 377903"/>
                  <a:gd name="connsiteY14" fmla="*/ 201419 h 232595"/>
                  <a:gd name="connsiteX15" fmla="*/ 272513 w 377903"/>
                  <a:gd name="connsiteY15" fmla="*/ 207974 h 232595"/>
                  <a:gd name="connsiteX16" fmla="*/ 265559 w 377903"/>
                  <a:gd name="connsiteY16" fmla="*/ 221482 h 232595"/>
                  <a:gd name="connsiteX17" fmla="*/ 254160 w 377903"/>
                  <a:gd name="connsiteY17" fmla="*/ 232595 h 232595"/>
                  <a:gd name="connsiteX18" fmla="*/ 251482 w 377903"/>
                  <a:gd name="connsiteY18" fmla="*/ 228378 h 232595"/>
                  <a:gd name="connsiteX19" fmla="*/ 238772 w 377903"/>
                  <a:gd name="connsiteY19" fmla="*/ 221767 h 232595"/>
                  <a:gd name="connsiteX20" fmla="*/ 234212 w 377903"/>
                  <a:gd name="connsiteY20" fmla="*/ 221767 h 232595"/>
                  <a:gd name="connsiteX21" fmla="*/ 234212 w 377903"/>
                  <a:gd name="connsiteY21" fmla="*/ 220798 h 232595"/>
                  <a:gd name="connsiteX22" fmla="*/ 212896 w 377903"/>
                  <a:gd name="connsiteY22" fmla="*/ 199311 h 232595"/>
                  <a:gd name="connsiteX23" fmla="*/ 184399 w 377903"/>
                  <a:gd name="connsiteY23" fmla="*/ 185974 h 232595"/>
                  <a:gd name="connsiteX24" fmla="*/ 167300 w 377903"/>
                  <a:gd name="connsiteY24" fmla="*/ 170357 h 232595"/>
                  <a:gd name="connsiteX25" fmla="*/ 145301 w 377903"/>
                  <a:gd name="connsiteY25" fmla="*/ 153772 h 232595"/>
                  <a:gd name="connsiteX26" fmla="*/ 140855 w 377903"/>
                  <a:gd name="connsiteY26" fmla="*/ 141518 h 232595"/>
                  <a:gd name="connsiteX27" fmla="*/ 132705 w 377903"/>
                  <a:gd name="connsiteY27" fmla="*/ 135819 h 232595"/>
                  <a:gd name="connsiteX28" fmla="*/ 123699 w 377903"/>
                  <a:gd name="connsiteY28" fmla="*/ 120772 h 232595"/>
                  <a:gd name="connsiteX29" fmla="*/ 97539 w 377903"/>
                  <a:gd name="connsiteY29" fmla="*/ 117352 h 232595"/>
                  <a:gd name="connsiteX30" fmla="*/ 86824 w 377903"/>
                  <a:gd name="connsiteY30" fmla="*/ 91534 h 232595"/>
                  <a:gd name="connsiteX31" fmla="*/ 61404 w 377903"/>
                  <a:gd name="connsiteY31" fmla="*/ 78938 h 232595"/>
                  <a:gd name="connsiteX32" fmla="*/ 43907 w 377903"/>
                  <a:gd name="connsiteY32" fmla="*/ 84124 h 232595"/>
                  <a:gd name="connsiteX33" fmla="*/ 16207 w 377903"/>
                  <a:gd name="connsiteY33" fmla="*/ 109373 h 232595"/>
                  <a:gd name="connsiteX34" fmla="*/ 6689 w 377903"/>
                  <a:gd name="connsiteY34" fmla="*/ 116212 h 232595"/>
                  <a:gd name="connsiteX35" fmla="*/ 21 w 377903"/>
                  <a:gd name="connsiteY35" fmla="*/ 108444 h 232595"/>
                  <a:gd name="connsiteX36" fmla="*/ 1332 w 377903"/>
                  <a:gd name="connsiteY36" fmla="*/ 104813 h 232595"/>
                  <a:gd name="connsiteX37" fmla="*/ 1674 w 377903"/>
                  <a:gd name="connsiteY37" fmla="*/ 15845 h 232595"/>
                  <a:gd name="connsiteX38" fmla="*/ 1674 w 377903"/>
                  <a:gd name="connsiteY38" fmla="*/ 13508 h 232595"/>
                  <a:gd name="connsiteX39" fmla="*/ 24472 w 377903"/>
                  <a:gd name="connsiteY39" fmla="*/ 570 h 232595"/>
                  <a:gd name="connsiteX40" fmla="*/ 27037 w 377903"/>
                  <a:gd name="connsiteY40" fmla="*/ 0 h 232595"/>
                  <a:gd name="connsiteX41" fmla="*/ 27891 w 377903"/>
                  <a:gd name="connsiteY41" fmla="*/ 3135 h 232595"/>
                  <a:gd name="connsiteX42" fmla="*/ 44192 w 377903"/>
                  <a:gd name="connsiteY42" fmla="*/ 6555 h 232595"/>
                  <a:gd name="connsiteX43" fmla="*/ 49036 w 377903"/>
                  <a:gd name="connsiteY43" fmla="*/ 16529 h 232595"/>
                  <a:gd name="connsiteX44" fmla="*/ 50917 w 377903"/>
                  <a:gd name="connsiteY44" fmla="*/ 28554 h 232595"/>
                  <a:gd name="connsiteX45" fmla="*/ 54850 w 377903"/>
                  <a:gd name="connsiteY45" fmla="*/ 17155 h 232595"/>
                  <a:gd name="connsiteX46" fmla="*/ 58042 w 377903"/>
                  <a:gd name="connsiteY46" fmla="*/ 5187 h 232595"/>
                  <a:gd name="connsiteX47" fmla="*/ 68010 w 377903"/>
                  <a:gd name="connsiteY47" fmla="*/ 3249 h 232595"/>
                  <a:gd name="connsiteX48" fmla="*/ 68813 w 377903"/>
                  <a:gd name="connsiteY48" fmla="*/ 3876 h 232595"/>
                  <a:gd name="connsiteX49" fmla="*/ 67674 w 377903"/>
                  <a:gd name="connsiteY49" fmla="*/ 23596 h 232595"/>
                  <a:gd name="connsiteX50" fmla="*/ 70409 w 377903"/>
                  <a:gd name="connsiteY50" fmla="*/ 42518 h 232595"/>
                  <a:gd name="connsiteX51" fmla="*/ 85382 w 377903"/>
                  <a:gd name="connsiteY51" fmla="*/ 40774 h 232595"/>
                  <a:gd name="connsiteX52" fmla="*/ 85855 w 377903"/>
                  <a:gd name="connsiteY52" fmla="*/ 40124 h 232595"/>
                  <a:gd name="connsiteX53" fmla="*/ 88420 w 377903"/>
                  <a:gd name="connsiteY53" fmla="*/ 36078 h 232595"/>
                  <a:gd name="connsiteX54" fmla="*/ 96228 w 377903"/>
                  <a:gd name="connsiteY54" fmla="*/ 34197 h 232595"/>
                  <a:gd name="connsiteX55" fmla="*/ 101928 w 377903"/>
                  <a:gd name="connsiteY55" fmla="*/ 28497 h 232595"/>
                  <a:gd name="connsiteX56" fmla="*/ 103010 w 377903"/>
                  <a:gd name="connsiteY56" fmla="*/ 26731 h 232595"/>
                  <a:gd name="connsiteX57" fmla="*/ 132192 w 377903"/>
                  <a:gd name="connsiteY57" fmla="*/ 49528 h 232595"/>
                  <a:gd name="connsiteX58" fmla="*/ 181264 w 377903"/>
                  <a:gd name="connsiteY58" fmla="*/ 51238 h 232595"/>
                  <a:gd name="connsiteX59" fmla="*/ 210388 w 377903"/>
                  <a:gd name="connsiteY59" fmla="*/ 59218 h 232595"/>
                  <a:gd name="connsiteX60" fmla="*/ 217912 w 377903"/>
                  <a:gd name="connsiteY60" fmla="*/ 74606 h 232595"/>
                  <a:gd name="connsiteX61" fmla="*/ 237347 w 377903"/>
                  <a:gd name="connsiteY61" fmla="*/ 110285 h 232595"/>
                  <a:gd name="connsiteX62" fmla="*/ 247036 w 377903"/>
                  <a:gd name="connsiteY62" fmla="*/ 120544 h 232595"/>
                  <a:gd name="connsiteX63" fmla="*/ 264134 w 377903"/>
                  <a:gd name="connsiteY63" fmla="*/ 125787 h 232595"/>
                  <a:gd name="connsiteX64" fmla="*/ 268751 w 377903"/>
                  <a:gd name="connsiteY64" fmla="*/ 130860 h 232595"/>
                  <a:gd name="connsiteX65" fmla="*/ 283684 w 377903"/>
                  <a:gd name="connsiteY65" fmla="*/ 124078 h 232595"/>
                  <a:gd name="connsiteX66" fmla="*/ 323466 w 377903"/>
                  <a:gd name="connsiteY66" fmla="*/ 101793 h 23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77903" h="232595">
                    <a:moveTo>
                      <a:pt x="323466" y="101793"/>
                    </a:moveTo>
                    <a:cubicBezTo>
                      <a:pt x="325056" y="106341"/>
                      <a:pt x="329205" y="109504"/>
                      <a:pt x="334010" y="109829"/>
                    </a:cubicBezTo>
                    <a:cubicBezTo>
                      <a:pt x="339738" y="109527"/>
                      <a:pt x="345478" y="109926"/>
                      <a:pt x="351109" y="111026"/>
                    </a:cubicBezTo>
                    <a:cubicBezTo>
                      <a:pt x="354494" y="112690"/>
                      <a:pt x="357703" y="114696"/>
                      <a:pt x="360684" y="117010"/>
                    </a:cubicBezTo>
                    <a:cubicBezTo>
                      <a:pt x="363716" y="119393"/>
                      <a:pt x="367751" y="120077"/>
                      <a:pt x="371399" y="118834"/>
                    </a:cubicBezTo>
                    <a:cubicBezTo>
                      <a:pt x="371456" y="123223"/>
                      <a:pt x="373074" y="127440"/>
                      <a:pt x="375958" y="130746"/>
                    </a:cubicBezTo>
                    <a:cubicBezTo>
                      <a:pt x="376813" y="131544"/>
                      <a:pt x="378010" y="132342"/>
                      <a:pt x="377896" y="133539"/>
                    </a:cubicBezTo>
                    <a:cubicBezTo>
                      <a:pt x="377845" y="134057"/>
                      <a:pt x="377645" y="134553"/>
                      <a:pt x="377326" y="134964"/>
                    </a:cubicBezTo>
                    <a:cubicBezTo>
                      <a:pt x="373439" y="140498"/>
                      <a:pt x="367592" y="144351"/>
                      <a:pt x="360968" y="145736"/>
                    </a:cubicBezTo>
                    <a:cubicBezTo>
                      <a:pt x="351051" y="144835"/>
                      <a:pt x="341300" y="142629"/>
                      <a:pt x="331958" y="139181"/>
                    </a:cubicBezTo>
                    <a:cubicBezTo>
                      <a:pt x="323751" y="136160"/>
                      <a:pt x="314860" y="132114"/>
                      <a:pt x="306596" y="135477"/>
                    </a:cubicBezTo>
                    <a:cubicBezTo>
                      <a:pt x="304270" y="136577"/>
                      <a:pt x="302093" y="137956"/>
                      <a:pt x="300098" y="139580"/>
                    </a:cubicBezTo>
                    <a:lnTo>
                      <a:pt x="287331" y="149326"/>
                    </a:lnTo>
                    <a:cubicBezTo>
                      <a:pt x="278041" y="156394"/>
                      <a:pt x="268238" y="164145"/>
                      <a:pt x="264533" y="175202"/>
                    </a:cubicBezTo>
                    <a:cubicBezTo>
                      <a:pt x="261667" y="184087"/>
                      <a:pt x="263166" y="193811"/>
                      <a:pt x="268580" y="201419"/>
                    </a:cubicBezTo>
                    <a:cubicBezTo>
                      <a:pt x="270284" y="203346"/>
                      <a:pt x="271618" y="205569"/>
                      <a:pt x="272513" y="207974"/>
                    </a:cubicBezTo>
                    <a:cubicBezTo>
                      <a:pt x="273938" y="213160"/>
                      <a:pt x="269834" y="218176"/>
                      <a:pt x="265559" y="221482"/>
                    </a:cubicBezTo>
                    <a:cubicBezTo>
                      <a:pt x="260801" y="224052"/>
                      <a:pt x="256850" y="227905"/>
                      <a:pt x="254160" y="232595"/>
                    </a:cubicBezTo>
                    <a:cubicBezTo>
                      <a:pt x="253106" y="231302"/>
                      <a:pt x="252205" y="229883"/>
                      <a:pt x="251482" y="228378"/>
                    </a:cubicBezTo>
                    <a:cubicBezTo>
                      <a:pt x="248541" y="224274"/>
                      <a:pt x="243822" y="221818"/>
                      <a:pt x="238772" y="221767"/>
                    </a:cubicBezTo>
                    <a:cubicBezTo>
                      <a:pt x="237256" y="221653"/>
                      <a:pt x="235728" y="221653"/>
                      <a:pt x="234212" y="221767"/>
                    </a:cubicBezTo>
                    <a:cubicBezTo>
                      <a:pt x="234212" y="221425"/>
                      <a:pt x="234212" y="221083"/>
                      <a:pt x="234212" y="220798"/>
                    </a:cubicBezTo>
                    <a:cubicBezTo>
                      <a:pt x="232103" y="210539"/>
                      <a:pt x="222813" y="203699"/>
                      <a:pt x="212896" y="199311"/>
                    </a:cubicBezTo>
                    <a:cubicBezTo>
                      <a:pt x="202979" y="194922"/>
                      <a:pt x="192777" y="192414"/>
                      <a:pt x="184399" y="185974"/>
                    </a:cubicBezTo>
                    <a:cubicBezTo>
                      <a:pt x="178300" y="181243"/>
                      <a:pt x="173741" y="174575"/>
                      <a:pt x="167300" y="170357"/>
                    </a:cubicBezTo>
                    <a:cubicBezTo>
                      <a:pt x="159606" y="165000"/>
                      <a:pt x="148891" y="162435"/>
                      <a:pt x="145301" y="153772"/>
                    </a:cubicBezTo>
                    <a:cubicBezTo>
                      <a:pt x="143591" y="149725"/>
                      <a:pt x="143762" y="144824"/>
                      <a:pt x="140855" y="141518"/>
                    </a:cubicBezTo>
                    <a:cubicBezTo>
                      <a:pt x="137948" y="138212"/>
                      <a:pt x="135155" y="138098"/>
                      <a:pt x="132705" y="135819"/>
                    </a:cubicBezTo>
                    <a:cubicBezTo>
                      <a:pt x="128373" y="131829"/>
                      <a:pt x="128202" y="124420"/>
                      <a:pt x="123699" y="120772"/>
                    </a:cubicBezTo>
                    <a:cubicBezTo>
                      <a:pt x="116860" y="115072"/>
                      <a:pt x="105746" y="120772"/>
                      <a:pt x="97539" y="117352"/>
                    </a:cubicBezTo>
                    <a:cubicBezTo>
                      <a:pt x="94005" y="108763"/>
                      <a:pt x="90432" y="100157"/>
                      <a:pt x="86824" y="91534"/>
                    </a:cubicBezTo>
                    <a:cubicBezTo>
                      <a:pt x="77591" y="95010"/>
                      <a:pt x="70923" y="81446"/>
                      <a:pt x="61404" y="78938"/>
                    </a:cubicBezTo>
                    <a:cubicBezTo>
                      <a:pt x="55101" y="78106"/>
                      <a:pt x="48740" y="79992"/>
                      <a:pt x="43907" y="84124"/>
                    </a:cubicBezTo>
                    <a:cubicBezTo>
                      <a:pt x="33460" y="91106"/>
                      <a:pt x="24124" y="99615"/>
                      <a:pt x="16207" y="109373"/>
                    </a:cubicBezTo>
                    <a:cubicBezTo>
                      <a:pt x="13643" y="112508"/>
                      <a:pt x="10508" y="116041"/>
                      <a:pt x="6689" y="116212"/>
                    </a:cubicBezTo>
                    <a:cubicBezTo>
                      <a:pt x="2705" y="115910"/>
                      <a:pt x="-281" y="112428"/>
                      <a:pt x="21" y="108444"/>
                    </a:cubicBezTo>
                    <a:cubicBezTo>
                      <a:pt x="124" y="107139"/>
                      <a:pt x="574" y="105885"/>
                      <a:pt x="1332" y="104813"/>
                    </a:cubicBezTo>
                    <a:lnTo>
                      <a:pt x="1674" y="15845"/>
                    </a:lnTo>
                    <a:lnTo>
                      <a:pt x="1674" y="13508"/>
                    </a:lnTo>
                    <a:cubicBezTo>
                      <a:pt x="8040" y="7318"/>
                      <a:pt x="15888" y="2861"/>
                      <a:pt x="24472" y="570"/>
                    </a:cubicBezTo>
                    <a:lnTo>
                      <a:pt x="27037" y="0"/>
                    </a:lnTo>
                    <a:cubicBezTo>
                      <a:pt x="26968" y="1111"/>
                      <a:pt x="27264" y="2211"/>
                      <a:pt x="27891" y="3135"/>
                    </a:cubicBezTo>
                    <a:cubicBezTo>
                      <a:pt x="31254" y="7751"/>
                      <a:pt x="39290" y="3705"/>
                      <a:pt x="44192" y="6555"/>
                    </a:cubicBezTo>
                    <a:cubicBezTo>
                      <a:pt x="47213" y="8988"/>
                      <a:pt x="48991" y="12647"/>
                      <a:pt x="49036" y="16529"/>
                    </a:cubicBezTo>
                    <a:lnTo>
                      <a:pt x="50917" y="28554"/>
                    </a:lnTo>
                    <a:cubicBezTo>
                      <a:pt x="53493" y="25317"/>
                      <a:pt x="54884" y="21293"/>
                      <a:pt x="54850" y="17155"/>
                    </a:cubicBezTo>
                    <a:cubicBezTo>
                      <a:pt x="54810" y="12949"/>
                      <a:pt x="55910" y="8812"/>
                      <a:pt x="58042" y="5187"/>
                    </a:cubicBezTo>
                    <a:cubicBezTo>
                      <a:pt x="60259" y="1898"/>
                      <a:pt x="64721" y="1032"/>
                      <a:pt x="68010" y="3249"/>
                    </a:cubicBezTo>
                    <a:cubicBezTo>
                      <a:pt x="68295" y="3437"/>
                      <a:pt x="68563" y="3648"/>
                      <a:pt x="68813" y="3876"/>
                    </a:cubicBezTo>
                    <a:cubicBezTo>
                      <a:pt x="71663" y="9974"/>
                      <a:pt x="69327" y="17042"/>
                      <a:pt x="67674" y="23596"/>
                    </a:cubicBezTo>
                    <a:cubicBezTo>
                      <a:pt x="66021" y="30150"/>
                      <a:pt x="65394" y="38016"/>
                      <a:pt x="70409" y="42518"/>
                    </a:cubicBezTo>
                    <a:cubicBezTo>
                      <a:pt x="75026" y="46172"/>
                      <a:pt x="81729" y="45391"/>
                      <a:pt x="85382" y="40774"/>
                    </a:cubicBezTo>
                    <a:cubicBezTo>
                      <a:pt x="85547" y="40563"/>
                      <a:pt x="85707" y="40347"/>
                      <a:pt x="85855" y="40124"/>
                    </a:cubicBezTo>
                    <a:cubicBezTo>
                      <a:pt x="86465" y="38631"/>
                      <a:pt x="87331" y="37263"/>
                      <a:pt x="88420" y="36078"/>
                    </a:cubicBezTo>
                    <a:cubicBezTo>
                      <a:pt x="90472" y="34368"/>
                      <a:pt x="93663" y="35052"/>
                      <a:pt x="96228" y="34197"/>
                    </a:cubicBezTo>
                    <a:cubicBezTo>
                      <a:pt x="98685" y="32954"/>
                      <a:pt x="100685" y="30954"/>
                      <a:pt x="101928" y="28497"/>
                    </a:cubicBezTo>
                    <a:cubicBezTo>
                      <a:pt x="102326" y="27928"/>
                      <a:pt x="102668" y="27301"/>
                      <a:pt x="103010" y="26731"/>
                    </a:cubicBezTo>
                    <a:cubicBezTo>
                      <a:pt x="110442" y="36881"/>
                      <a:pt x="120542" y="44775"/>
                      <a:pt x="132192" y="49528"/>
                    </a:cubicBezTo>
                    <a:cubicBezTo>
                      <a:pt x="147694" y="55228"/>
                      <a:pt x="164793" y="52207"/>
                      <a:pt x="181264" y="51238"/>
                    </a:cubicBezTo>
                    <a:cubicBezTo>
                      <a:pt x="191637" y="50668"/>
                      <a:pt x="203435" y="51238"/>
                      <a:pt x="210388" y="59218"/>
                    </a:cubicBezTo>
                    <a:cubicBezTo>
                      <a:pt x="213802" y="63851"/>
                      <a:pt x="216350" y="69066"/>
                      <a:pt x="217912" y="74606"/>
                    </a:cubicBezTo>
                    <a:cubicBezTo>
                      <a:pt x="223133" y="87145"/>
                      <a:pt x="229641" y="99102"/>
                      <a:pt x="237347" y="110285"/>
                    </a:cubicBezTo>
                    <a:cubicBezTo>
                      <a:pt x="239530" y="114559"/>
                      <a:pt x="242893" y="118122"/>
                      <a:pt x="247036" y="120544"/>
                    </a:cubicBezTo>
                    <a:cubicBezTo>
                      <a:pt x="252736" y="123052"/>
                      <a:pt x="259689" y="121627"/>
                      <a:pt x="264134" y="125787"/>
                    </a:cubicBezTo>
                    <a:cubicBezTo>
                      <a:pt x="265788" y="127383"/>
                      <a:pt x="266813" y="129606"/>
                      <a:pt x="268751" y="130860"/>
                    </a:cubicBezTo>
                    <a:cubicBezTo>
                      <a:pt x="273824" y="134109"/>
                      <a:pt x="279694" y="128580"/>
                      <a:pt x="283684" y="124078"/>
                    </a:cubicBezTo>
                    <a:cubicBezTo>
                      <a:pt x="294074" y="112405"/>
                      <a:pt x="308083" y="104557"/>
                      <a:pt x="323466" y="10179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6" name="Freihandform: Form 730">
                <a:extLst>
                  <a:ext uri="{FF2B5EF4-FFF2-40B4-BE49-F238E27FC236}">
                    <a16:creationId xmlns:a16="http://schemas.microsoft.com/office/drawing/2014/main" id="{E83B0AC4-A8E4-F209-9683-69D48FE29515}"/>
                  </a:ext>
                </a:extLst>
              </p:cNvPr>
              <p:cNvSpPr/>
              <p:nvPr/>
            </p:nvSpPr>
            <p:spPr>
              <a:xfrm>
                <a:off x="4904343" y="3179631"/>
                <a:ext cx="316776" cy="211224"/>
              </a:xfrm>
              <a:custGeom>
                <a:avLst/>
                <a:gdLst>
                  <a:gd name="connsiteX0" fmla="*/ 81674 w 316776"/>
                  <a:gd name="connsiteY0" fmla="*/ 35187 h 211224"/>
                  <a:gd name="connsiteX1" fmla="*/ 84067 w 316776"/>
                  <a:gd name="connsiteY1" fmla="*/ 34732 h 211224"/>
                  <a:gd name="connsiteX2" fmla="*/ 89254 w 316776"/>
                  <a:gd name="connsiteY2" fmla="*/ 37467 h 211224"/>
                  <a:gd name="connsiteX3" fmla="*/ 98772 w 316776"/>
                  <a:gd name="connsiteY3" fmla="*/ 30628 h 211224"/>
                  <a:gd name="connsiteX4" fmla="*/ 126471 w 316776"/>
                  <a:gd name="connsiteY4" fmla="*/ 5379 h 211224"/>
                  <a:gd name="connsiteX5" fmla="*/ 143969 w 316776"/>
                  <a:gd name="connsiteY5" fmla="*/ 193 h 211224"/>
                  <a:gd name="connsiteX6" fmla="*/ 169388 w 316776"/>
                  <a:gd name="connsiteY6" fmla="*/ 12789 h 211224"/>
                  <a:gd name="connsiteX7" fmla="*/ 180103 w 316776"/>
                  <a:gd name="connsiteY7" fmla="*/ 38607 h 211224"/>
                  <a:gd name="connsiteX8" fmla="*/ 206264 w 316776"/>
                  <a:gd name="connsiteY8" fmla="*/ 42027 h 211224"/>
                  <a:gd name="connsiteX9" fmla="*/ 215269 w 316776"/>
                  <a:gd name="connsiteY9" fmla="*/ 57074 h 211224"/>
                  <a:gd name="connsiteX10" fmla="*/ 223419 w 316776"/>
                  <a:gd name="connsiteY10" fmla="*/ 62773 h 211224"/>
                  <a:gd name="connsiteX11" fmla="*/ 227865 w 316776"/>
                  <a:gd name="connsiteY11" fmla="*/ 75027 h 211224"/>
                  <a:gd name="connsiteX12" fmla="*/ 249865 w 316776"/>
                  <a:gd name="connsiteY12" fmla="*/ 91612 h 211224"/>
                  <a:gd name="connsiteX13" fmla="*/ 266963 w 316776"/>
                  <a:gd name="connsiteY13" fmla="*/ 107229 h 211224"/>
                  <a:gd name="connsiteX14" fmla="*/ 295461 w 316776"/>
                  <a:gd name="connsiteY14" fmla="*/ 120566 h 211224"/>
                  <a:gd name="connsiteX15" fmla="*/ 316777 w 316776"/>
                  <a:gd name="connsiteY15" fmla="*/ 142053 h 211224"/>
                  <a:gd name="connsiteX16" fmla="*/ 316777 w 316776"/>
                  <a:gd name="connsiteY16" fmla="*/ 143022 h 211224"/>
                  <a:gd name="connsiteX17" fmla="*/ 306689 w 316776"/>
                  <a:gd name="connsiteY17" fmla="*/ 145187 h 211224"/>
                  <a:gd name="connsiteX18" fmla="*/ 290616 w 316776"/>
                  <a:gd name="connsiteY18" fmla="*/ 149633 h 211224"/>
                  <a:gd name="connsiteX19" fmla="*/ 285202 w 316776"/>
                  <a:gd name="connsiteY19" fmla="*/ 152369 h 211224"/>
                  <a:gd name="connsiteX20" fmla="*/ 282352 w 316776"/>
                  <a:gd name="connsiteY20" fmla="*/ 158695 h 211224"/>
                  <a:gd name="connsiteX21" fmla="*/ 270269 w 316776"/>
                  <a:gd name="connsiteY21" fmla="*/ 167130 h 211224"/>
                  <a:gd name="connsiteX22" fmla="*/ 270269 w 316776"/>
                  <a:gd name="connsiteY22" fmla="*/ 172317 h 211224"/>
                  <a:gd name="connsiteX23" fmla="*/ 260876 w 316776"/>
                  <a:gd name="connsiteY23" fmla="*/ 181151 h 211224"/>
                  <a:gd name="connsiteX24" fmla="*/ 257673 w 316776"/>
                  <a:gd name="connsiteY24" fmla="*/ 180467 h 211224"/>
                  <a:gd name="connsiteX25" fmla="*/ 246787 w 316776"/>
                  <a:gd name="connsiteY25" fmla="*/ 189985 h 211224"/>
                  <a:gd name="connsiteX26" fmla="*/ 234248 w 316776"/>
                  <a:gd name="connsiteY26" fmla="*/ 198078 h 211224"/>
                  <a:gd name="connsiteX27" fmla="*/ 234248 w 316776"/>
                  <a:gd name="connsiteY27" fmla="*/ 205431 h 211224"/>
                  <a:gd name="connsiteX28" fmla="*/ 230829 w 316776"/>
                  <a:gd name="connsiteY28" fmla="*/ 211130 h 211224"/>
                  <a:gd name="connsiteX29" fmla="*/ 221025 w 316776"/>
                  <a:gd name="connsiteY29" fmla="*/ 205830 h 211224"/>
                  <a:gd name="connsiteX30" fmla="*/ 214357 w 316776"/>
                  <a:gd name="connsiteY30" fmla="*/ 205830 h 211224"/>
                  <a:gd name="connsiteX31" fmla="*/ 204326 w 316776"/>
                  <a:gd name="connsiteY31" fmla="*/ 197167 h 211224"/>
                  <a:gd name="connsiteX32" fmla="*/ 195492 w 316776"/>
                  <a:gd name="connsiteY32" fmla="*/ 197850 h 211224"/>
                  <a:gd name="connsiteX33" fmla="*/ 197829 w 316776"/>
                  <a:gd name="connsiteY33" fmla="*/ 174198 h 211224"/>
                  <a:gd name="connsiteX34" fmla="*/ 189621 w 316776"/>
                  <a:gd name="connsiteY34" fmla="*/ 173628 h 211224"/>
                  <a:gd name="connsiteX35" fmla="*/ 171839 w 316776"/>
                  <a:gd name="connsiteY35" fmla="*/ 158011 h 211224"/>
                  <a:gd name="connsiteX36" fmla="*/ 154171 w 316776"/>
                  <a:gd name="connsiteY36" fmla="*/ 146897 h 211224"/>
                  <a:gd name="connsiteX37" fmla="*/ 114730 w 316776"/>
                  <a:gd name="connsiteY37" fmla="*/ 130711 h 211224"/>
                  <a:gd name="connsiteX38" fmla="*/ 105839 w 316776"/>
                  <a:gd name="connsiteY38" fmla="*/ 124099 h 211224"/>
                  <a:gd name="connsiteX39" fmla="*/ 90279 w 316776"/>
                  <a:gd name="connsiteY39" fmla="*/ 127576 h 211224"/>
                  <a:gd name="connsiteX40" fmla="*/ 76829 w 316776"/>
                  <a:gd name="connsiteY40" fmla="*/ 128830 h 211224"/>
                  <a:gd name="connsiteX41" fmla="*/ 49471 w 316776"/>
                  <a:gd name="connsiteY41" fmla="*/ 145358 h 211224"/>
                  <a:gd name="connsiteX42" fmla="*/ 34026 w 316776"/>
                  <a:gd name="connsiteY42" fmla="*/ 149405 h 211224"/>
                  <a:gd name="connsiteX43" fmla="*/ 34425 w 316776"/>
                  <a:gd name="connsiteY43" fmla="*/ 145187 h 211224"/>
                  <a:gd name="connsiteX44" fmla="*/ 34425 w 316776"/>
                  <a:gd name="connsiteY44" fmla="*/ 144389 h 211224"/>
                  <a:gd name="connsiteX45" fmla="*/ 34425 w 316776"/>
                  <a:gd name="connsiteY45" fmla="*/ 140343 h 211224"/>
                  <a:gd name="connsiteX46" fmla="*/ 33570 w 316776"/>
                  <a:gd name="connsiteY46" fmla="*/ 110193 h 211224"/>
                  <a:gd name="connsiteX47" fmla="*/ 26788 w 316776"/>
                  <a:gd name="connsiteY47" fmla="*/ 96343 h 211224"/>
                  <a:gd name="connsiteX48" fmla="*/ 18580 w 316776"/>
                  <a:gd name="connsiteY48" fmla="*/ 96343 h 211224"/>
                  <a:gd name="connsiteX49" fmla="*/ 12989 w 316776"/>
                  <a:gd name="connsiteY49" fmla="*/ 87389 h 211224"/>
                  <a:gd name="connsiteX50" fmla="*/ 13394 w 316776"/>
                  <a:gd name="connsiteY50" fmla="*/ 86141 h 211224"/>
                  <a:gd name="connsiteX51" fmla="*/ 19720 w 316776"/>
                  <a:gd name="connsiteY51" fmla="*/ 79358 h 211224"/>
                  <a:gd name="connsiteX52" fmla="*/ 0 w 316776"/>
                  <a:gd name="connsiteY52" fmla="*/ 66820 h 211224"/>
                  <a:gd name="connsiteX53" fmla="*/ 14419 w 316776"/>
                  <a:gd name="connsiteY53" fmla="*/ 57871 h 211224"/>
                  <a:gd name="connsiteX54" fmla="*/ 22000 w 316776"/>
                  <a:gd name="connsiteY54" fmla="*/ 54224 h 211224"/>
                  <a:gd name="connsiteX55" fmla="*/ 28155 w 316776"/>
                  <a:gd name="connsiteY55" fmla="*/ 53939 h 211224"/>
                  <a:gd name="connsiteX56" fmla="*/ 54031 w 316776"/>
                  <a:gd name="connsiteY56" fmla="*/ 54680 h 211224"/>
                  <a:gd name="connsiteX57" fmla="*/ 46223 w 316776"/>
                  <a:gd name="connsiteY57" fmla="*/ 36441 h 211224"/>
                  <a:gd name="connsiteX58" fmla="*/ 31632 w 316776"/>
                  <a:gd name="connsiteY58" fmla="*/ 21110 h 211224"/>
                  <a:gd name="connsiteX59" fmla="*/ 30891 w 316776"/>
                  <a:gd name="connsiteY59" fmla="*/ 13814 h 211224"/>
                  <a:gd name="connsiteX60" fmla="*/ 33741 w 316776"/>
                  <a:gd name="connsiteY60" fmla="*/ 9084 h 211224"/>
                  <a:gd name="connsiteX61" fmla="*/ 36533 w 316776"/>
                  <a:gd name="connsiteY61" fmla="*/ 5607 h 211224"/>
                  <a:gd name="connsiteX62" fmla="*/ 43943 w 316776"/>
                  <a:gd name="connsiteY62" fmla="*/ 5607 h 211224"/>
                  <a:gd name="connsiteX63" fmla="*/ 49642 w 316776"/>
                  <a:gd name="connsiteY63" fmla="*/ 10566 h 211224"/>
                  <a:gd name="connsiteX64" fmla="*/ 63150 w 316776"/>
                  <a:gd name="connsiteY64" fmla="*/ 24815 h 211224"/>
                  <a:gd name="connsiteX65" fmla="*/ 81674 w 316776"/>
                  <a:gd name="connsiteY65" fmla="*/ 35187 h 21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16776" h="211224">
                    <a:moveTo>
                      <a:pt x="81674" y="35187"/>
                    </a:moveTo>
                    <a:cubicBezTo>
                      <a:pt x="82483" y="35119"/>
                      <a:pt x="83286" y="34965"/>
                      <a:pt x="84067" y="34732"/>
                    </a:cubicBezTo>
                    <a:cubicBezTo>
                      <a:pt x="85213" y="36470"/>
                      <a:pt x="87173" y="37501"/>
                      <a:pt x="89254" y="37467"/>
                    </a:cubicBezTo>
                    <a:cubicBezTo>
                      <a:pt x="93300" y="37467"/>
                      <a:pt x="96207" y="33763"/>
                      <a:pt x="98772" y="30628"/>
                    </a:cubicBezTo>
                    <a:cubicBezTo>
                      <a:pt x="106688" y="20870"/>
                      <a:pt x="116024" y="12361"/>
                      <a:pt x="126471" y="5379"/>
                    </a:cubicBezTo>
                    <a:cubicBezTo>
                      <a:pt x="131304" y="1247"/>
                      <a:pt x="137665" y="-639"/>
                      <a:pt x="143969" y="193"/>
                    </a:cubicBezTo>
                    <a:cubicBezTo>
                      <a:pt x="153487" y="2701"/>
                      <a:pt x="160155" y="16265"/>
                      <a:pt x="169388" y="12789"/>
                    </a:cubicBezTo>
                    <a:cubicBezTo>
                      <a:pt x="172996" y="21378"/>
                      <a:pt x="176570" y="29984"/>
                      <a:pt x="180103" y="38607"/>
                    </a:cubicBezTo>
                    <a:cubicBezTo>
                      <a:pt x="188310" y="42255"/>
                      <a:pt x="199425" y="36213"/>
                      <a:pt x="206264" y="42027"/>
                    </a:cubicBezTo>
                    <a:cubicBezTo>
                      <a:pt x="210766" y="45902"/>
                      <a:pt x="210938" y="53084"/>
                      <a:pt x="215269" y="57074"/>
                    </a:cubicBezTo>
                    <a:cubicBezTo>
                      <a:pt x="217720" y="59353"/>
                      <a:pt x="220968" y="60265"/>
                      <a:pt x="223419" y="62773"/>
                    </a:cubicBezTo>
                    <a:cubicBezTo>
                      <a:pt x="225870" y="65281"/>
                      <a:pt x="226155" y="70980"/>
                      <a:pt x="227865" y="75027"/>
                    </a:cubicBezTo>
                    <a:cubicBezTo>
                      <a:pt x="231456" y="83690"/>
                      <a:pt x="242171" y="86426"/>
                      <a:pt x="249865" y="91612"/>
                    </a:cubicBezTo>
                    <a:cubicBezTo>
                      <a:pt x="256248" y="95944"/>
                      <a:pt x="260808" y="102498"/>
                      <a:pt x="266963" y="107229"/>
                    </a:cubicBezTo>
                    <a:cubicBezTo>
                      <a:pt x="275227" y="113669"/>
                      <a:pt x="285772" y="116291"/>
                      <a:pt x="295461" y="120566"/>
                    </a:cubicBezTo>
                    <a:cubicBezTo>
                      <a:pt x="305150" y="124840"/>
                      <a:pt x="314668" y="131965"/>
                      <a:pt x="316777" y="142053"/>
                    </a:cubicBezTo>
                    <a:cubicBezTo>
                      <a:pt x="316777" y="142338"/>
                      <a:pt x="316777" y="142680"/>
                      <a:pt x="316777" y="143022"/>
                    </a:cubicBezTo>
                    <a:cubicBezTo>
                      <a:pt x="313363" y="143483"/>
                      <a:pt x="309989" y="144207"/>
                      <a:pt x="306689" y="145187"/>
                    </a:cubicBezTo>
                    <a:lnTo>
                      <a:pt x="290616" y="149633"/>
                    </a:lnTo>
                    <a:cubicBezTo>
                      <a:pt x="288581" y="150003"/>
                      <a:pt x="286701" y="150949"/>
                      <a:pt x="285202" y="152369"/>
                    </a:cubicBezTo>
                    <a:cubicBezTo>
                      <a:pt x="283777" y="154192"/>
                      <a:pt x="283720" y="156814"/>
                      <a:pt x="282352" y="158695"/>
                    </a:cubicBezTo>
                    <a:cubicBezTo>
                      <a:pt x="279388" y="162856"/>
                      <a:pt x="271523" y="162172"/>
                      <a:pt x="270269" y="167130"/>
                    </a:cubicBezTo>
                    <a:cubicBezTo>
                      <a:pt x="269990" y="168846"/>
                      <a:pt x="269990" y="170601"/>
                      <a:pt x="270269" y="172317"/>
                    </a:cubicBezTo>
                    <a:cubicBezTo>
                      <a:pt x="270115" y="177350"/>
                      <a:pt x="265909" y="181305"/>
                      <a:pt x="260876" y="181151"/>
                    </a:cubicBezTo>
                    <a:cubicBezTo>
                      <a:pt x="259776" y="181122"/>
                      <a:pt x="258693" y="180889"/>
                      <a:pt x="257673" y="180467"/>
                    </a:cubicBezTo>
                    <a:cubicBezTo>
                      <a:pt x="257673" y="185711"/>
                      <a:pt x="251974" y="188731"/>
                      <a:pt x="246787" y="189985"/>
                    </a:cubicBezTo>
                    <a:cubicBezTo>
                      <a:pt x="241601" y="191239"/>
                      <a:pt x="235388" y="193006"/>
                      <a:pt x="234248" y="198078"/>
                    </a:cubicBezTo>
                    <a:cubicBezTo>
                      <a:pt x="233935" y="200518"/>
                      <a:pt x="233935" y="202991"/>
                      <a:pt x="234248" y="205431"/>
                    </a:cubicBezTo>
                    <a:cubicBezTo>
                      <a:pt x="234248" y="207882"/>
                      <a:pt x="233222" y="210788"/>
                      <a:pt x="230829" y="211130"/>
                    </a:cubicBezTo>
                    <a:cubicBezTo>
                      <a:pt x="227067" y="211985"/>
                      <a:pt x="224787" y="206742"/>
                      <a:pt x="221025" y="205830"/>
                    </a:cubicBezTo>
                    <a:cubicBezTo>
                      <a:pt x="218860" y="205317"/>
                      <a:pt x="216580" y="206343"/>
                      <a:pt x="214357" y="205830"/>
                    </a:cubicBezTo>
                    <a:cubicBezTo>
                      <a:pt x="209968" y="205089"/>
                      <a:pt x="208316" y="199275"/>
                      <a:pt x="204326" y="197167"/>
                    </a:cubicBezTo>
                    <a:cubicBezTo>
                      <a:pt x="201459" y="195873"/>
                      <a:pt x="198125" y="196135"/>
                      <a:pt x="195492" y="197850"/>
                    </a:cubicBezTo>
                    <a:cubicBezTo>
                      <a:pt x="196290" y="189985"/>
                      <a:pt x="197031" y="182120"/>
                      <a:pt x="197829" y="174198"/>
                    </a:cubicBezTo>
                    <a:lnTo>
                      <a:pt x="189621" y="173628"/>
                    </a:lnTo>
                    <a:lnTo>
                      <a:pt x="171839" y="158011"/>
                    </a:lnTo>
                    <a:cubicBezTo>
                      <a:pt x="165171" y="161659"/>
                      <a:pt x="159528" y="152312"/>
                      <a:pt x="154171" y="146897"/>
                    </a:cubicBezTo>
                    <a:cubicBezTo>
                      <a:pt x="143969" y="136695"/>
                      <a:pt x="125673" y="139887"/>
                      <a:pt x="114730" y="130711"/>
                    </a:cubicBezTo>
                    <a:cubicBezTo>
                      <a:pt x="112245" y="127924"/>
                      <a:pt x="109219" y="125678"/>
                      <a:pt x="105839" y="124099"/>
                    </a:cubicBezTo>
                    <a:cubicBezTo>
                      <a:pt x="100653" y="122617"/>
                      <a:pt x="95523" y="126265"/>
                      <a:pt x="90279" y="127576"/>
                    </a:cubicBezTo>
                    <a:cubicBezTo>
                      <a:pt x="85036" y="128887"/>
                      <a:pt x="81275" y="128032"/>
                      <a:pt x="76829" y="128830"/>
                    </a:cubicBezTo>
                    <a:cubicBezTo>
                      <a:pt x="66285" y="130825"/>
                      <a:pt x="58989" y="140229"/>
                      <a:pt x="49471" y="145358"/>
                    </a:cubicBezTo>
                    <a:cubicBezTo>
                      <a:pt x="44673" y="147798"/>
                      <a:pt x="39406" y="149177"/>
                      <a:pt x="34026" y="149405"/>
                    </a:cubicBezTo>
                    <a:cubicBezTo>
                      <a:pt x="34026" y="147980"/>
                      <a:pt x="34026" y="146612"/>
                      <a:pt x="34425" y="145187"/>
                    </a:cubicBezTo>
                    <a:lnTo>
                      <a:pt x="34425" y="144389"/>
                    </a:lnTo>
                    <a:cubicBezTo>
                      <a:pt x="34425" y="143022"/>
                      <a:pt x="34425" y="141654"/>
                      <a:pt x="34425" y="140343"/>
                    </a:cubicBezTo>
                    <a:lnTo>
                      <a:pt x="33570" y="110193"/>
                    </a:lnTo>
                    <a:cubicBezTo>
                      <a:pt x="33570" y="104493"/>
                      <a:pt x="32202" y="97654"/>
                      <a:pt x="26788" y="96343"/>
                    </a:cubicBezTo>
                    <a:cubicBezTo>
                      <a:pt x="24109" y="95716"/>
                      <a:pt x="21088" y="96856"/>
                      <a:pt x="18580" y="96343"/>
                    </a:cubicBezTo>
                    <a:cubicBezTo>
                      <a:pt x="14562" y="95414"/>
                      <a:pt x="12060" y="91401"/>
                      <a:pt x="12989" y="87389"/>
                    </a:cubicBezTo>
                    <a:cubicBezTo>
                      <a:pt x="13086" y="86962"/>
                      <a:pt x="13223" y="86545"/>
                      <a:pt x="13394" y="86141"/>
                    </a:cubicBezTo>
                    <a:cubicBezTo>
                      <a:pt x="16802" y="85582"/>
                      <a:pt x="19401" y="82795"/>
                      <a:pt x="19720" y="79358"/>
                    </a:cubicBezTo>
                    <a:cubicBezTo>
                      <a:pt x="12191" y="76919"/>
                      <a:pt x="5403" y="72604"/>
                      <a:pt x="0" y="66820"/>
                    </a:cubicBezTo>
                    <a:lnTo>
                      <a:pt x="14419" y="57871"/>
                    </a:lnTo>
                    <a:cubicBezTo>
                      <a:pt x="16728" y="56253"/>
                      <a:pt x="19293" y="55016"/>
                      <a:pt x="22000" y="54224"/>
                    </a:cubicBezTo>
                    <a:cubicBezTo>
                      <a:pt x="24035" y="53899"/>
                      <a:pt x="26098" y="53808"/>
                      <a:pt x="28155" y="53939"/>
                    </a:cubicBezTo>
                    <a:lnTo>
                      <a:pt x="54031" y="54680"/>
                    </a:lnTo>
                    <a:cubicBezTo>
                      <a:pt x="57565" y="48353"/>
                      <a:pt x="52093" y="40716"/>
                      <a:pt x="46223" y="36441"/>
                    </a:cubicBezTo>
                    <a:cubicBezTo>
                      <a:pt x="40352" y="32167"/>
                      <a:pt x="33114" y="28177"/>
                      <a:pt x="31632" y="21110"/>
                    </a:cubicBezTo>
                    <a:cubicBezTo>
                      <a:pt x="31119" y="18716"/>
                      <a:pt x="31632" y="16208"/>
                      <a:pt x="30891" y="13814"/>
                    </a:cubicBezTo>
                    <a:cubicBezTo>
                      <a:pt x="31803" y="12219"/>
                      <a:pt x="32772" y="10623"/>
                      <a:pt x="33741" y="9084"/>
                    </a:cubicBezTo>
                    <a:cubicBezTo>
                      <a:pt x="34391" y="7727"/>
                      <a:pt x="35348" y="6536"/>
                      <a:pt x="36533" y="5607"/>
                    </a:cubicBezTo>
                    <a:cubicBezTo>
                      <a:pt x="38830" y="4296"/>
                      <a:pt x="41646" y="4296"/>
                      <a:pt x="43943" y="5607"/>
                    </a:cubicBezTo>
                    <a:cubicBezTo>
                      <a:pt x="46120" y="6912"/>
                      <a:pt x="48052" y="8588"/>
                      <a:pt x="49642" y="10566"/>
                    </a:cubicBezTo>
                    <a:lnTo>
                      <a:pt x="63150" y="24815"/>
                    </a:lnTo>
                    <a:cubicBezTo>
                      <a:pt x="68622" y="30172"/>
                      <a:pt x="74549" y="35757"/>
                      <a:pt x="81674" y="3518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7" name="Freihandform: Form 731">
                <a:extLst>
                  <a:ext uri="{FF2B5EF4-FFF2-40B4-BE49-F238E27FC236}">
                    <a16:creationId xmlns:a16="http://schemas.microsoft.com/office/drawing/2014/main" id="{810FB7E4-675C-4305-89CB-B719E1775614}"/>
                  </a:ext>
                </a:extLst>
              </p:cNvPr>
              <p:cNvSpPr/>
              <p:nvPr/>
            </p:nvSpPr>
            <p:spPr>
              <a:xfrm>
                <a:off x="4774509" y="2787650"/>
                <a:ext cx="893905" cy="444387"/>
              </a:xfrm>
              <a:custGeom>
                <a:avLst/>
                <a:gdLst>
                  <a:gd name="connsiteX0" fmla="*/ 879600 w 893905"/>
                  <a:gd name="connsiteY0" fmla="*/ 187505 h 444387"/>
                  <a:gd name="connsiteX1" fmla="*/ 850134 w 893905"/>
                  <a:gd name="connsiteY1" fmla="*/ 181350 h 444387"/>
                  <a:gd name="connsiteX2" fmla="*/ 845460 w 893905"/>
                  <a:gd name="connsiteY2" fmla="*/ 172174 h 444387"/>
                  <a:gd name="connsiteX3" fmla="*/ 835315 w 893905"/>
                  <a:gd name="connsiteY3" fmla="*/ 166474 h 444387"/>
                  <a:gd name="connsiteX4" fmla="*/ 819186 w 893905"/>
                  <a:gd name="connsiteY4" fmla="*/ 144531 h 444387"/>
                  <a:gd name="connsiteX5" fmla="*/ 797527 w 893905"/>
                  <a:gd name="connsiteY5" fmla="*/ 146982 h 444387"/>
                  <a:gd name="connsiteX6" fmla="*/ 777921 w 893905"/>
                  <a:gd name="connsiteY6" fmla="*/ 149775 h 444387"/>
                  <a:gd name="connsiteX7" fmla="*/ 767776 w 893905"/>
                  <a:gd name="connsiteY7" fmla="*/ 134842 h 444387"/>
                  <a:gd name="connsiteX8" fmla="*/ 756377 w 893905"/>
                  <a:gd name="connsiteY8" fmla="*/ 137635 h 444387"/>
                  <a:gd name="connsiteX9" fmla="*/ 747144 w 893905"/>
                  <a:gd name="connsiteY9" fmla="*/ 147780 h 444387"/>
                  <a:gd name="connsiteX10" fmla="*/ 734833 w 893905"/>
                  <a:gd name="connsiteY10" fmla="*/ 139003 h 444387"/>
                  <a:gd name="connsiteX11" fmla="*/ 714087 w 893905"/>
                  <a:gd name="connsiteY11" fmla="*/ 104806 h 444387"/>
                  <a:gd name="connsiteX12" fmla="*/ 709300 w 893905"/>
                  <a:gd name="connsiteY12" fmla="*/ 94490 h 444387"/>
                  <a:gd name="connsiteX13" fmla="*/ 707476 w 893905"/>
                  <a:gd name="connsiteY13" fmla="*/ 87252 h 444387"/>
                  <a:gd name="connsiteX14" fmla="*/ 698015 w 893905"/>
                  <a:gd name="connsiteY14" fmla="*/ 79386 h 444387"/>
                  <a:gd name="connsiteX15" fmla="*/ 692315 w 893905"/>
                  <a:gd name="connsiteY15" fmla="*/ 64169 h 444387"/>
                  <a:gd name="connsiteX16" fmla="*/ 673963 w 893905"/>
                  <a:gd name="connsiteY16" fmla="*/ 54594 h 444387"/>
                  <a:gd name="connsiteX17" fmla="*/ 670543 w 893905"/>
                  <a:gd name="connsiteY17" fmla="*/ 37495 h 444387"/>
                  <a:gd name="connsiteX18" fmla="*/ 658004 w 893905"/>
                  <a:gd name="connsiteY18" fmla="*/ 40573 h 444387"/>
                  <a:gd name="connsiteX19" fmla="*/ 609103 w 893905"/>
                  <a:gd name="connsiteY19" fmla="*/ 63371 h 444387"/>
                  <a:gd name="connsiteX20" fmla="*/ 605227 w 893905"/>
                  <a:gd name="connsiteY20" fmla="*/ 51630 h 444387"/>
                  <a:gd name="connsiteX21" fmla="*/ 583455 w 893905"/>
                  <a:gd name="connsiteY21" fmla="*/ 42454 h 444387"/>
                  <a:gd name="connsiteX22" fmla="*/ 559973 w 893905"/>
                  <a:gd name="connsiteY22" fmla="*/ 46329 h 444387"/>
                  <a:gd name="connsiteX23" fmla="*/ 556326 w 893905"/>
                  <a:gd name="connsiteY23" fmla="*/ 25811 h 444387"/>
                  <a:gd name="connsiteX24" fmla="*/ 542077 w 893905"/>
                  <a:gd name="connsiteY24" fmla="*/ 6205 h 444387"/>
                  <a:gd name="connsiteX25" fmla="*/ 517455 w 893905"/>
                  <a:gd name="connsiteY25" fmla="*/ 506 h 444387"/>
                  <a:gd name="connsiteX26" fmla="*/ 503777 w 893905"/>
                  <a:gd name="connsiteY26" fmla="*/ 1475 h 444387"/>
                  <a:gd name="connsiteX27" fmla="*/ 492720 w 893905"/>
                  <a:gd name="connsiteY27" fmla="*/ 11734 h 444387"/>
                  <a:gd name="connsiteX28" fmla="*/ 462056 w 893905"/>
                  <a:gd name="connsiteY28" fmla="*/ 22563 h 444387"/>
                  <a:gd name="connsiteX29" fmla="*/ 407113 w 893905"/>
                  <a:gd name="connsiteY29" fmla="*/ 32993 h 444387"/>
                  <a:gd name="connsiteX30" fmla="*/ 375880 w 893905"/>
                  <a:gd name="connsiteY30" fmla="*/ 43822 h 444387"/>
                  <a:gd name="connsiteX31" fmla="*/ 353082 w 893905"/>
                  <a:gd name="connsiteY31" fmla="*/ 45702 h 444387"/>
                  <a:gd name="connsiteX32" fmla="*/ 330798 w 893905"/>
                  <a:gd name="connsiteY32" fmla="*/ 49008 h 444387"/>
                  <a:gd name="connsiteX33" fmla="*/ 337865 w 893905"/>
                  <a:gd name="connsiteY33" fmla="*/ 64226 h 444387"/>
                  <a:gd name="connsiteX34" fmla="*/ 346585 w 893905"/>
                  <a:gd name="connsiteY34" fmla="*/ 78987 h 444387"/>
                  <a:gd name="connsiteX35" fmla="*/ 333875 w 893905"/>
                  <a:gd name="connsiteY35" fmla="*/ 75967 h 444387"/>
                  <a:gd name="connsiteX36" fmla="*/ 324471 w 893905"/>
                  <a:gd name="connsiteY36" fmla="*/ 83718 h 444387"/>
                  <a:gd name="connsiteX37" fmla="*/ 324471 w 893905"/>
                  <a:gd name="connsiteY37" fmla="*/ 90044 h 444387"/>
                  <a:gd name="connsiteX38" fmla="*/ 320824 w 893905"/>
                  <a:gd name="connsiteY38" fmla="*/ 95744 h 444387"/>
                  <a:gd name="connsiteX39" fmla="*/ 321051 w 893905"/>
                  <a:gd name="connsiteY39" fmla="*/ 107713 h 444387"/>
                  <a:gd name="connsiteX40" fmla="*/ 308455 w 893905"/>
                  <a:gd name="connsiteY40" fmla="*/ 113412 h 444387"/>
                  <a:gd name="connsiteX41" fmla="*/ 308455 w 893905"/>
                  <a:gd name="connsiteY41" fmla="*/ 121961 h 444387"/>
                  <a:gd name="connsiteX42" fmla="*/ 331253 w 893905"/>
                  <a:gd name="connsiteY42" fmla="*/ 133360 h 444387"/>
                  <a:gd name="connsiteX43" fmla="*/ 330604 w 893905"/>
                  <a:gd name="connsiteY43" fmla="*/ 155759 h 444387"/>
                  <a:gd name="connsiteX44" fmla="*/ 326979 w 893905"/>
                  <a:gd name="connsiteY44" fmla="*/ 158324 h 444387"/>
                  <a:gd name="connsiteX45" fmla="*/ 317119 w 893905"/>
                  <a:gd name="connsiteY45" fmla="*/ 149490 h 444387"/>
                  <a:gd name="connsiteX46" fmla="*/ 290958 w 893905"/>
                  <a:gd name="connsiteY46" fmla="*/ 158267 h 444387"/>
                  <a:gd name="connsiteX47" fmla="*/ 286456 w 893905"/>
                  <a:gd name="connsiteY47" fmla="*/ 146241 h 444387"/>
                  <a:gd name="connsiteX48" fmla="*/ 267305 w 893905"/>
                  <a:gd name="connsiteY48" fmla="*/ 138604 h 444387"/>
                  <a:gd name="connsiteX49" fmla="*/ 242342 w 893905"/>
                  <a:gd name="connsiteY49" fmla="*/ 145899 h 444387"/>
                  <a:gd name="connsiteX50" fmla="*/ 240005 w 893905"/>
                  <a:gd name="connsiteY50" fmla="*/ 139288 h 444387"/>
                  <a:gd name="connsiteX51" fmla="*/ 214300 w 893905"/>
                  <a:gd name="connsiteY51" fmla="*/ 147438 h 444387"/>
                  <a:gd name="connsiteX52" fmla="*/ 205523 w 893905"/>
                  <a:gd name="connsiteY52" fmla="*/ 155075 h 444387"/>
                  <a:gd name="connsiteX53" fmla="*/ 195891 w 893905"/>
                  <a:gd name="connsiteY53" fmla="*/ 151827 h 444387"/>
                  <a:gd name="connsiteX54" fmla="*/ 185119 w 893905"/>
                  <a:gd name="connsiteY54" fmla="*/ 153365 h 444387"/>
                  <a:gd name="connsiteX55" fmla="*/ 185119 w 893905"/>
                  <a:gd name="connsiteY55" fmla="*/ 141966 h 444387"/>
                  <a:gd name="connsiteX56" fmla="*/ 165285 w 893905"/>
                  <a:gd name="connsiteY56" fmla="*/ 133132 h 444387"/>
                  <a:gd name="connsiteX57" fmla="*/ 115244 w 893905"/>
                  <a:gd name="connsiteY57" fmla="*/ 123956 h 444387"/>
                  <a:gd name="connsiteX58" fmla="*/ 100710 w 893905"/>
                  <a:gd name="connsiteY58" fmla="*/ 129371 h 444387"/>
                  <a:gd name="connsiteX59" fmla="*/ 86404 w 893905"/>
                  <a:gd name="connsiteY59" fmla="*/ 130739 h 444387"/>
                  <a:gd name="connsiteX60" fmla="*/ 74720 w 893905"/>
                  <a:gd name="connsiteY60" fmla="*/ 145101 h 444387"/>
                  <a:gd name="connsiteX61" fmla="*/ 58648 w 893905"/>
                  <a:gd name="connsiteY61" fmla="*/ 147153 h 444387"/>
                  <a:gd name="connsiteX62" fmla="*/ 54259 w 893905"/>
                  <a:gd name="connsiteY62" fmla="*/ 158552 h 444387"/>
                  <a:gd name="connsiteX63" fmla="*/ 53746 w 893905"/>
                  <a:gd name="connsiteY63" fmla="*/ 171091 h 444387"/>
                  <a:gd name="connsiteX64" fmla="*/ 43772 w 893905"/>
                  <a:gd name="connsiteY64" fmla="*/ 175479 h 444387"/>
                  <a:gd name="connsiteX65" fmla="*/ 39783 w 893905"/>
                  <a:gd name="connsiteY65" fmla="*/ 165049 h 444387"/>
                  <a:gd name="connsiteX66" fmla="*/ 25363 w 893905"/>
                  <a:gd name="connsiteY66" fmla="*/ 159350 h 444387"/>
                  <a:gd name="connsiteX67" fmla="*/ 11456 w 893905"/>
                  <a:gd name="connsiteY67" fmla="*/ 168697 h 444387"/>
                  <a:gd name="connsiteX68" fmla="*/ 11456 w 893905"/>
                  <a:gd name="connsiteY68" fmla="*/ 186479 h 444387"/>
                  <a:gd name="connsiteX69" fmla="*/ 5300 w 893905"/>
                  <a:gd name="connsiteY69" fmla="*/ 194687 h 444387"/>
                  <a:gd name="connsiteX70" fmla="*/ 10259 w 893905"/>
                  <a:gd name="connsiteY70" fmla="*/ 204889 h 444387"/>
                  <a:gd name="connsiteX71" fmla="*/ 0 w 893905"/>
                  <a:gd name="connsiteY71" fmla="*/ 214179 h 444387"/>
                  <a:gd name="connsiteX72" fmla="*/ 13451 w 893905"/>
                  <a:gd name="connsiteY72" fmla="*/ 225578 h 444387"/>
                  <a:gd name="connsiteX73" fmla="*/ 24850 w 893905"/>
                  <a:gd name="connsiteY73" fmla="*/ 239997 h 444387"/>
                  <a:gd name="connsiteX74" fmla="*/ 33114 w 893905"/>
                  <a:gd name="connsiteY74" fmla="*/ 240567 h 444387"/>
                  <a:gd name="connsiteX75" fmla="*/ 42404 w 893905"/>
                  <a:gd name="connsiteY75" fmla="*/ 253220 h 444387"/>
                  <a:gd name="connsiteX76" fmla="*/ 53803 w 893905"/>
                  <a:gd name="connsiteY76" fmla="*/ 262339 h 444387"/>
                  <a:gd name="connsiteX77" fmla="*/ 51637 w 893905"/>
                  <a:gd name="connsiteY77" fmla="*/ 285878 h 444387"/>
                  <a:gd name="connsiteX78" fmla="*/ 54373 w 893905"/>
                  <a:gd name="connsiteY78" fmla="*/ 284909 h 444387"/>
                  <a:gd name="connsiteX79" fmla="*/ 65088 w 893905"/>
                  <a:gd name="connsiteY79" fmla="*/ 282173 h 444387"/>
                  <a:gd name="connsiteX80" fmla="*/ 85663 w 893905"/>
                  <a:gd name="connsiteY80" fmla="*/ 265816 h 444387"/>
                  <a:gd name="connsiteX81" fmla="*/ 91363 w 893905"/>
                  <a:gd name="connsiteY81" fmla="*/ 260857 h 444387"/>
                  <a:gd name="connsiteX82" fmla="*/ 99513 w 893905"/>
                  <a:gd name="connsiteY82" fmla="*/ 261541 h 444387"/>
                  <a:gd name="connsiteX83" fmla="*/ 137415 w 893905"/>
                  <a:gd name="connsiteY83" fmla="*/ 263536 h 444387"/>
                  <a:gd name="connsiteX84" fmla="*/ 141575 w 893905"/>
                  <a:gd name="connsiteY84" fmla="*/ 263992 h 444387"/>
                  <a:gd name="connsiteX85" fmla="*/ 143114 w 893905"/>
                  <a:gd name="connsiteY85" fmla="*/ 267070 h 444387"/>
                  <a:gd name="connsiteX86" fmla="*/ 153658 w 893905"/>
                  <a:gd name="connsiteY86" fmla="*/ 280008 h 444387"/>
                  <a:gd name="connsiteX87" fmla="*/ 157135 w 893905"/>
                  <a:gd name="connsiteY87" fmla="*/ 295168 h 444387"/>
                  <a:gd name="connsiteX88" fmla="*/ 148016 w 893905"/>
                  <a:gd name="connsiteY88" fmla="*/ 303661 h 444387"/>
                  <a:gd name="connsiteX89" fmla="*/ 146704 w 893905"/>
                  <a:gd name="connsiteY89" fmla="*/ 312837 h 444387"/>
                  <a:gd name="connsiteX90" fmla="*/ 133881 w 893905"/>
                  <a:gd name="connsiteY90" fmla="*/ 320018 h 444387"/>
                  <a:gd name="connsiteX91" fmla="*/ 104187 w 893905"/>
                  <a:gd name="connsiteY91" fmla="*/ 324635 h 444387"/>
                  <a:gd name="connsiteX92" fmla="*/ 102021 w 893905"/>
                  <a:gd name="connsiteY92" fmla="*/ 340764 h 444387"/>
                  <a:gd name="connsiteX93" fmla="*/ 83497 w 893905"/>
                  <a:gd name="connsiteY93" fmla="*/ 339054 h 444387"/>
                  <a:gd name="connsiteX94" fmla="*/ 92274 w 893905"/>
                  <a:gd name="connsiteY94" fmla="*/ 352961 h 444387"/>
                  <a:gd name="connsiteX95" fmla="*/ 104357 w 893905"/>
                  <a:gd name="connsiteY95" fmla="*/ 365158 h 444387"/>
                  <a:gd name="connsiteX96" fmla="*/ 106694 w 893905"/>
                  <a:gd name="connsiteY96" fmla="*/ 375759 h 444387"/>
                  <a:gd name="connsiteX97" fmla="*/ 115072 w 893905"/>
                  <a:gd name="connsiteY97" fmla="*/ 376443 h 444387"/>
                  <a:gd name="connsiteX98" fmla="*/ 115813 w 893905"/>
                  <a:gd name="connsiteY98" fmla="*/ 385733 h 444387"/>
                  <a:gd name="connsiteX99" fmla="*/ 137358 w 893905"/>
                  <a:gd name="connsiteY99" fmla="*/ 388184 h 444387"/>
                  <a:gd name="connsiteX100" fmla="*/ 140492 w 893905"/>
                  <a:gd name="connsiteY100" fmla="*/ 390121 h 444387"/>
                  <a:gd name="connsiteX101" fmla="*/ 140492 w 893905"/>
                  <a:gd name="connsiteY101" fmla="*/ 396220 h 444387"/>
                  <a:gd name="connsiteX102" fmla="*/ 133254 w 893905"/>
                  <a:gd name="connsiteY102" fmla="*/ 409101 h 444387"/>
                  <a:gd name="connsiteX103" fmla="*/ 140036 w 893905"/>
                  <a:gd name="connsiteY103" fmla="*/ 419132 h 444387"/>
                  <a:gd name="connsiteX104" fmla="*/ 144995 w 893905"/>
                  <a:gd name="connsiteY104" fmla="*/ 410355 h 444387"/>
                  <a:gd name="connsiteX105" fmla="*/ 146648 w 893905"/>
                  <a:gd name="connsiteY105" fmla="*/ 397588 h 444387"/>
                  <a:gd name="connsiteX106" fmla="*/ 149668 w 893905"/>
                  <a:gd name="connsiteY106" fmla="*/ 393427 h 444387"/>
                  <a:gd name="connsiteX107" fmla="*/ 151663 w 893905"/>
                  <a:gd name="connsiteY107" fmla="*/ 394396 h 444387"/>
                  <a:gd name="connsiteX108" fmla="*/ 160440 w 893905"/>
                  <a:gd name="connsiteY108" fmla="*/ 404997 h 444387"/>
                  <a:gd name="connsiteX109" fmla="*/ 160440 w 893905"/>
                  <a:gd name="connsiteY109" fmla="*/ 405738 h 444387"/>
                  <a:gd name="connsiteX110" fmla="*/ 163290 w 893905"/>
                  <a:gd name="connsiteY110" fmla="*/ 401008 h 444387"/>
                  <a:gd name="connsiteX111" fmla="*/ 166083 w 893905"/>
                  <a:gd name="connsiteY111" fmla="*/ 397531 h 444387"/>
                  <a:gd name="connsiteX112" fmla="*/ 173492 w 893905"/>
                  <a:gd name="connsiteY112" fmla="*/ 397531 h 444387"/>
                  <a:gd name="connsiteX113" fmla="*/ 179191 w 893905"/>
                  <a:gd name="connsiteY113" fmla="*/ 402489 h 444387"/>
                  <a:gd name="connsiteX114" fmla="*/ 192699 w 893905"/>
                  <a:gd name="connsiteY114" fmla="*/ 416738 h 444387"/>
                  <a:gd name="connsiteX115" fmla="*/ 210653 w 893905"/>
                  <a:gd name="connsiteY115" fmla="*/ 426940 h 444387"/>
                  <a:gd name="connsiteX116" fmla="*/ 213046 w 893905"/>
                  <a:gd name="connsiteY116" fmla="*/ 426484 h 444387"/>
                  <a:gd name="connsiteX117" fmla="*/ 213046 w 893905"/>
                  <a:gd name="connsiteY117" fmla="*/ 417764 h 444387"/>
                  <a:gd name="connsiteX118" fmla="*/ 213388 w 893905"/>
                  <a:gd name="connsiteY118" fmla="*/ 328795 h 444387"/>
                  <a:gd name="connsiteX119" fmla="*/ 213388 w 893905"/>
                  <a:gd name="connsiteY119" fmla="*/ 326458 h 444387"/>
                  <a:gd name="connsiteX120" fmla="*/ 236186 w 893905"/>
                  <a:gd name="connsiteY120" fmla="*/ 313521 h 444387"/>
                  <a:gd name="connsiteX121" fmla="*/ 238751 w 893905"/>
                  <a:gd name="connsiteY121" fmla="*/ 312951 h 444387"/>
                  <a:gd name="connsiteX122" fmla="*/ 240860 w 893905"/>
                  <a:gd name="connsiteY122" fmla="*/ 307878 h 444387"/>
                  <a:gd name="connsiteX123" fmla="*/ 248953 w 893905"/>
                  <a:gd name="connsiteY123" fmla="*/ 304003 h 444387"/>
                  <a:gd name="connsiteX124" fmla="*/ 266051 w 893905"/>
                  <a:gd name="connsiteY124" fmla="*/ 301153 h 444387"/>
                  <a:gd name="connsiteX125" fmla="*/ 273290 w 893905"/>
                  <a:gd name="connsiteY125" fmla="*/ 299614 h 444387"/>
                  <a:gd name="connsiteX126" fmla="*/ 278134 w 893905"/>
                  <a:gd name="connsiteY126" fmla="*/ 296023 h 444387"/>
                  <a:gd name="connsiteX127" fmla="*/ 290787 w 893905"/>
                  <a:gd name="connsiteY127" fmla="*/ 294769 h 444387"/>
                  <a:gd name="connsiteX128" fmla="*/ 299507 w 893905"/>
                  <a:gd name="connsiteY128" fmla="*/ 287474 h 444387"/>
                  <a:gd name="connsiteX129" fmla="*/ 297684 w 893905"/>
                  <a:gd name="connsiteY129" fmla="*/ 282687 h 444387"/>
                  <a:gd name="connsiteX130" fmla="*/ 309425 w 893905"/>
                  <a:gd name="connsiteY130" fmla="*/ 272883 h 444387"/>
                  <a:gd name="connsiteX131" fmla="*/ 335357 w 893905"/>
                  <a:gd name="connsiteY131" fmla="*/ 285308 h 444387"/>
                  <a:gd name="connsiteX132" fmla="*/ 317062 w 893905"/>
                  <a:gd name="connsiteY132" fmla="*/ 289982 h 444387"/>
                  <a:gd name="connsiteX133" fmla="*/ 307544 w 893905"/>
                  <a:gd name="connsiteY133" fmla="*/ 295111 h 444387"/>
                  <a:gd name="connsiteX134" fmla="*/ 304295 w 893905"/>
                  <a:gd name="connsiteY134" fmla="*/ 304971 h 444387"/>
                  <a:gd name="connsiteX135" fmla="*/ 317803 w 893905"/>
                  <a:gd name="connsiteY135" fmla="*/ 317624 h 444387"/>
                  <a:gd name="connsiteX136" fmla="*/ 315124 w 893905"/>
                  <a:gd name="connsiteY136" fmla="*/ 339282 h 444387"/>
                  <a:gd name="connsiteX137" fmla="*/ 344305 w 893905"/>
                  <a:gd name="connsiteY137" fmla="*/ 362080 h 444387"/>
                  <a:gd name="connsiteX138" fmla="*/ 393378 w 893905"/>
                  <a:gd name="connsiteY138" fmla="*/ 363790 h 444387"/>
                  <a:gd name="connsiteX139" fmla="*/ 422502 w 893905"/>
                  <a:gd name="connsiteY139" fmla="*/ 371769 h 444387"/>
                  <a:gd name="connsiteX140" fmla="*/ 430025 w 893905"/>
                  <a:gd name="connsiteY140" fmla="*/ 387158 h 444387"/>
                  <a:gd name="connsiteX141" fmla="*/ 449461 w 893905"/>
                  <a:gd name="connsiteY141" fmla="*/ 422837 h 444387"/>
                  <a:gd name="connsiteX142" fmla="*/ 459150 w 893905"/>
                  <a:gd name="connsiteY142" fmla="*/ 433096 h 444387"/>
                  <a:gd name="connsiteX143" fmla="*/ 476248 w 893905"/>
                  <a:gd name="connsiteY143" fmla="*/ 438339 h 444387"/>
                  <a:gd name="connsiteX144" fmla="*/ 480865 w 893905"/>
                  <a:gd name="connsiteY144" fmla="*/ 443412 h 444387"/>
                  <a:gd name="connsiteX145" fmla="*/ 495797 w 893905"/>
                  <a:gd name="connsiteY145" fmla="*/ 436629 h 444387"/>
                  <a:gd name="connsiteX146" fmla="*/ 534953 w 893905"/>
                  <a:gd name="connsiteY146" fmla="*/ 414800 h 444387"/>
                  <a:gd name="connsiteX147" fmla="*/ 534953 w 893905"/>
                  <a:gd name="connsiteY147" fmla="*/ 412065 h 444387"/>
                  <a:gd name="connsiteX148" fmla="*/ 538885 w 893905"/>
                  <a:gd name="connsiteY148" fmla="*/ 406365 h 444387"/>
                  <a:gd name="connsiteX149" fmla="*/ 551310 w 893905"/>
                  <a:gd name="connsiteY149" fmla="*/ 394225 h 444387"/>
                  <a:gd name="connsiteX150" fmla="*/ 559346 w 893905"/>
                  <a:gd name="connsiteY150" fmla="*/ 388526 h 444387"/>
                  <a:gd name="connsiteX151" fmla="*/ 581118 w 893905"/>
                  <a:gd name="connsiteY151" fmla="*/ 395365 h 444387"/>
                  <a:gd name="connsiteX152" fmla="*/ 601237 w 893905"/>
                  <a:gd name="connsiteY152" fmla="*/ 386246 h 444387"/>
                  <a:gd name="connsiteX153" fmla="*/ 620559 w 893905"/>
                  <a:gd name="connsiteY153" fmla="*/ 374847 h 444387"/>
                  <a:gd name="connsiteX154" fmla="*/ 629222 w 893905"/>
                  <a:gd name="connsiteY154" fmla="*/ 378780 h 444387"/>
                  <a:gd name="connsiteX155" fmla="*/ 630647 w 893905"/>
                  <a:gd name="connsiteY155" fmla="*/ 382256 h 444387"/>
                  <a:gd name="connsiteX156" fmla="*/ 640450 w 893905"/>
                  <a:gd name="connsiteY156" fmla="*/ 385277 h 444387"/>
                  <a:gd name="connsiteX157" fmla="*/ 712890 w 893905"/>
                  <a:gd name="connsiteY157" fmla="*/ 390463 h 444387"/>
                  <a:gd name="connsiteX158" fmla="*/ 738652 w 893905"/>
                  <a:gd name="connsiteY158" fmla="*/ 403800 h 444387"/>
                  <a:gd name="connsiteX159" fmla="*/ 741331 w 893905"/>
                  <a:gd name="connsiteY159" fmla="*/ 408189 h 444387"/>
                  <a:gd name="connsiteX160" fmla="*/ 742927 w 893905"/>
                  <a:gd name="connsiteY160" fmla="*/ 405453 h 444387"/>
                  <a:gd name="connsiteX161" fmla="*/ 754326 w 893905"/>
                  <a:gd name="connsiteY161" fmla="*/ 382199 h 444387"/>
                  <a:gd name="connsiteX162" fmla="*/ 759575 w 893905"/>
                  <a:gd name="connsiteY162" fmla="*/ 371399 h 444387"/>
                  <a:gd name="connsiteX163" fmla="*/ 759341 w 893905"/>
                  <a:gd name="connsiteY163" fmla="*/ 370800 h 444387"/>
                  <a:gd name="connsiteX164" fmla="*/ 751590 w 893905"/>
                  <a:gd name="connsiteY164" fmla="*/ 363049 h 444387"/>
                  <a:gd name="connsiteX165" fmla="*/ 748398 w 893905"/>
                  <a:gd name="connsiteY165" fmla="*/ 335977 h 444387"/>
                  <a:gd name="connsiteX166" fmla="*/ 747144 w 893905"/>
                  <a:gd name="connsiteY166" fmla="*/ 329878 h 444387"/>
                  <a:gd name="connsiteX167" fmla="*/ 752217 w 893905"/>
                  <a:gd name="connsiteY167" fmla="*/ 324179 h 444387"/>
                  <a:gd name="connsiteX168" fmla="*/ 780714 w 893905"/>
                  <a:gd name="connsiteY168" fmla="*/ 316199 h 444387"/>
                  <a:gd name="connsiteX169" fmla="*/ 796843 w 893905"/>
                  <a:gd name="connsiteY169" fmla="*/ 321158 h 444387"/>
                  <a:gd name="connsiteX170" fmla="*/ 798268 w 893905"/>
                  <a:gd name="connsiteY170" fmla="*/ 304060 h 444387"/>
                  <a:gd name="connsiteX171" fmla="*/ 799693 w 893905"/>
                  <a:gd name="connsiteY171" fmla="*/ 279894 h 444387"/>
                  <a:gd name="connsiteX172" fmla="*/ 808983 w 893905"/>
                  <a:gd name="connsiteY172" fmla="*/ 274194 h 444387"/>
                  <a:gd name="connsiteX173" fmla="*/ 811548 w 893905"/>
                  <a:gd name="connsiteY173" fmla="*/ 265075 h 444387"/>
                  <a:gd name="connsiteX174" fmla="*/ 822320 w 893905"/>
                  <a:gd name="connsiteY174" fmla="*/ 266500 h 444387"/>
                  <a:gd name="connsiteX175" fmla="*/ 845118 w 893905"/>
                  <a:gd name="connsiteY175" fmla="*/ 268780 h 444387"/>
                  <a:gd name="connsiteX176" fmla="*/ 856118 w 893905"/>
                  <a:gd name="connsiteY176" fmla="*/ 263935 h 444387"/>
                  <a:gd name="connsiteX177" fmla="*/ 857543 w 893905"/>
                  <a:gd name="connsiteY177" fmla="*/ 255557 h 444387"/>
                  <a:gd name="connsiteX178" fmla="*/ 861077 w 893905"/>
                  <a:gd name="connsiteY178" fmla="*/ 251453 h 444387"/>
                  <a:gd name="connsiteX179" fmla="*/ 862102 w 893905"/>
                  <a:gd name="connsiteY179" fmla="*/ 242163 h 444387"/>
                  <a:gd name="connsiteX180" fmla="*/ 877149 w 893905"/>
                  <a:gd name="connsiteY180" fmla="*/ 217428 h 444387"/>
                  <a:gd name="connsiteX181" fmla="*/ 882849 w 893905"/>
                  <a:gd name="connsiteY181" fmla="*/ 214350 h 444387"/>
                  <a:gd name="connsiteX182" fmla="*/ 887351 w 893905"/>
                  <a:gd name="connsiteY182" fmla="*/ 205174 h 444387"/>
                  <a:gd name="connsiteX183" fmla="*/ 893906 w 893905"/>
                  <a:gd name="connsiteY183" fmla="*/ 198733 h 444387"/>
                  <a:gd name="connsiteX184" fmla="*/ 879600 w 893905"/>
                  <a:gd name="connsiteY184" fmla="*/ 187505 h 444387"/>
                  <a:gd name="connsiteX185" fmla="*/ 714315 w 893905"/>
                  <a:gd name="connsiteY185" fmla="*/ 283484 h 444387"/>
                  <a:gd name="connsiteX186" fmla="*/ 712263 w 893905"/>
                  <a:gd name="connsiteY186" fmla="*/ 292547 h 444387"/>
                  <a:gd name="connsiteX187" fmla="*/ 686388 w 893905"/>
                  <a:gd name="connsiteY187" fmla="*/ 290780 h 444387"/>
                  <a:gd name="connsiteX188" fmla="*/ 662735 w 893905"/>
                  <a:gd name="connsiteY188" fmla="*/ 290039 h 444387"/>
                  <a:gd name="connsiteX189" fmla="*/ 627227 w 893905"/>
                  <a:gd name="connsiteY189" fmla="*/ 292205 h 444387"/>
                  <a:gd name="connsiteX190" fmla="*/ 625973 w 893905"/>
                  <a:gd name="connsiteY190" fmla="*/ 302863 h 444387"/>
                  <a:gd name="connsiteX191" fmla="*/ 622212 w 893905"/>
                  <a:gd name="connsiteY191" fmla="*/ 306909 h 444387"/>
                  <a:gd name="connsiteX192" fmla="*/ 619419 w 893905"/>
                  <a:gd name="connsiteY192" fmla="*/ 329707 h 444387"/>
                  <a:gd name="connsiteX193" fmla="*/ 604874 w 893905"/>
                  <a:gd name="connsiteY193" fmla="*/ 321050 h 444387"/>
                  <a:gd name="connsiteX194" fmla="*/ 604600 w 893905"/>
                  <a:gd name="connsiteY194" fmla="*/ 319619 h 444387"/>
                  <a:gd name="connsiteX195" fmla="*/ 606766 w 893905"/>
                  <a:gd name="connsiteY195" fmla="*/ 300298 h 444387"/>
                  <a:gd name="connsiteX196" fmla="*/ 600440 w 893905"/>
                  <a:gd name="connsiteY196" fmla="*/ 286961 h 444387"/>
                  <a:gd name="connsiteX197" fmla="*/ 612409 w 893905"/>
                  <a:gd name="connsiteY197" fmla="*/ 283541 h 444387"/>
                  <a:gd name="connsiteX198" fmla="*/ 622610 w 893905"/>
                  <a:gd name="connsiteY198" fmla="*/ 275619 h 444387"/>
                  <a:gd name="connsiteX199" fmla="*/ 634408 w 893905"/>
                  <a:gd name="connsiteY199" fmla="*/ 273852 h 444387"/>
                  <a:gd name="connsiteX200" fmla="*/ 699667 w 893905"/>
                  <a:gd name="connsiteY200" fmla="*/ 273225 h 444387"/>
                  <a:gd name="connsiteX201" fmla="*/ 723036 w 893905"/>
                  <a:gd name="connsiteY201" fmla="*/ 276816 h 444387"/>
                  <a:gd name="connsiteX202" fmla="*/ 714315 w 893905"/>
                  <a:gd name="connsiteY202" fmla="*/ 283712 h 44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893905" h="444387">
                    <a:moveTo>
                      <a:pt x="879600" y="187505"/>
                    </a:moveTo>
                    <a:cubicBezTo>
                      <a:pt x="869341" y="185738"/>
                      <a:pt x="856004" y="190013"/>
                      <a:pt x="850134" y="181350"/>
                    </a:cubicBezTo>
                    <a:cubicBezTo>
                      <a:pt x="848794" y="178187"/>
                      <a:pt x="847232" y="175120"/>
                      <a:pt x="845460" y="172174"/>
                    </a:cubicBezTo>
                    <a:cubicBezTo>
                      <a:pt x="842838" y="169267"/>
                      <a:pt x="838564" y="168583"/>
                      <a:pt x="835315" y="166474"/>
                    </a:cubicBezTo>
                    <a:cubicBezTo>
                      <a:pt x="827678" y="161345"/>
                      <a:pt x="827279" y="149034"/>
                      <a:pt x="819186" y="144531"/>
                    </a:cubicBezTo>
                    <a:cubicBezTo>
                      <a:pt x="812631" y="140827"/>
                      <a:pt x="804538" y="144531"/>
                      <a:pt x="797527" y="146982"/>
                    </a:cubicBezTo>
                    <a:cubicBezTo>
                      <a:pt x="791457" y="149974"/>
                      <a:pt x="784590" y="150955"/>
                      <a:pt x="777921" y="149775"/>
                    </a:cubicBezTo>
                    <a:cubicBezTo>
                      <a:pt x="771122" y="148264"/>
                      <a:pt x="766676" y="141721"/>
                      <a:pt x="767776" y="134842"/>
                    </a:cubicBezTo>
                    <a:cubicBezTo>
                      <a:pt x="765268" y="130796"/>
                      <a:pt x="758828" y="133702"/>
                      <a:pt x="756377" y="137635"/>
                    </a:cubicBezTo>
                    <a:cubicBezTo>
                      <a:pt x="753927" y="141568"/>
                      <a:pt x="751761" y="146811"/>
                      <a:pt x="747144" y="147780"/>
                    </a:cubicBezTo>
                    <a:cubicBezTo>
                      <a:pt x="742528" y="148749"/>
                      <a:pt x="737626" y="143619"/>
                      <a:pt x="734833" y="139003"/>
                    </a:cubicBezTo>
                    <a:lnTo>
                      <a:pt x="714087" y="104806"/>
                    </a:lnTo>
                    <a:cubicBezTo>
                      <a:pt x="711927" y="101660"/>
                      <a:pt x="710308" y="98172"/>
                      <a:pt x="709300" y="94490"/>
                    </a:cubicBezTo>
                    <a:cubicBezTo>
                      <a:pt x="709077" y="91994"/>
                      <a:pt x="708462" y="89554"/>
                      <a:pt x="707476" y="87252"/>
                    </a:cubicBezTo>
                    <a:cubicBezTo>
                      <a:pt x="705367" y="83718"/>
                      <a:pt x="700580" y="82635"/>
                      <a:pt x="698015" y="79386"/>
                    </a:cubicBezTo>
                    <a:cubicBezTo>
                      <a:pt x="694595" y="75112"/>
                      <a:pt x="695906" y="68329"/>
                      <a:pt x="692315" y="64169"/>
                    </a:cubicBezTo>
                    <a:cubicBezTo>
                      <a:pt x="687699" y="58811"/>
                      <a:pt x="677383" y="60806"/>
                      <a:pt x="673963" y="54594"/>
                    </a:cubicBezTo>
                    <a:cubicBezTo>
                      <a:pt x="671113" y="49350"/>
                      <a:pt x="675331" y="41143"/>
                      <a:pt x="670543" y="37495"/>
                    </a:cubicBezTo>
                    <a:cubicBezTo>
                      <a:pt x="666838" y="34702"/>
                      <a:pt x="661709" y="37780"/>
                      <a:pt x="658004" y="40573"/>
                    </a:cubicBezTo>
                    <a:cubicBezTo>
                      <a:pt x="643459" y="51482"/>
                      <a:pt x="626805" y="59244"/>
                      <a:pt x="609103" y="63371"/>
                    </a:cubicBezTo>
                    <a:cubicBezTo>
                      <a:pt x="607792" y="59438"/>
                      <a:pt x="606481" y="55563"/>
                      <a:pt x="605227" y="51630"/>
                    </a:cubicBezTo>
                    <a:cubicBezTo>
                      <a:pt x="596712" y="54126"/>
                      <a:pt x="587616" y="50291"/>
                      <a:pt x="583455" y="42454"/>
                    </a:cubicBezTo>
                    <a:cubicBezTo>
                      <a:pt x="576217" y="38521"/>
                      <a:pt x="567383" y="49977"/>
                      <a:pt x="559973" y="46329"/>
                    </a:cubicBezTo>
                    <a:cubicBezTo>
                      <a:pt x="552564" y="42682"/>
                      <a:pt x="556554" y="33221"/>
                      <a:pt x="556326" y="25811"/>
                    </a:cubicBezTo>
                    <a:cubicBezTo>
                      <a:pt x="555402" y="17205"/>
                      <a:pt x="549977" y="9744"/>
                      <a:pt x="542077" y="6205"/>
                    </a:cubicBezTo>
                    <a:cubicBezTo>
                      <a:pt x="534280" y="2842"/>
                      <a:pt x="525936" y="916"/>
                      <a:pt x="517455" y="506"/>
                    </a:cubicBezTo>
                    <a:cubicBezTo>
                      <a:pt x="512890" y="-412"/>
                      <a:pt x="508165" y="-76"/>
                      <a:pt x="503777" y="1475"/>
                    </a:cubicBezTo>
                    <a:cubicBezTo>
                      <a:pt x="499588" y="4307"/>
                      <a:pt x="495860" y="7767"/>
                      <a:pt x="492720" y="11734"/>
                    </a:cubicBezTo>
                    <a:cubicBezTo>
                      <a:pt x="484683" y="19257"/>
                      <a:pt x="472943" y="20910"/>
                      <a:pt x="462056" y="22563"/>
                    </a:cubicBezTo>
                    <a:cubicBezTo>
                      <a:pt x="443647" y="25355"/>
                      <a:pt x="425352" y="29174"/>
                      <a:pt x="407113" y="32993"/>
                    </a:cubicBezTo>
                    <a:cubicBezTo>
                      <a:pt x="397026" y="35101"/>
                      <a:pt x="385911" y="41713"/>
                      <a:pt x="375880" y="43822"/>
                    </a:cubicBezTo>
                    <a:cubicBezTo>
                      <a:pt x="370922" y="50262"/>
                      <a:pt x="360834" y="48210"/>
                      <a:pt x="353082" y="45702"/>
                    </a:cubicBezTo>
                    <a:cubicBezTo>
                      <a:pt x="345331" y="43195"/>
                      <a:pt x="334844" y="41884"/>
                      <a:pt x="330798" y="49008"/>
                    </a:cubicBezTo>
                    <a:cubicBezTo>
                      <a:pt x="327948" y="54366"/>
                      <a:pt x="333077" y="60407"/>
                      <a:pt x="337865" y="64226"/>
                    </a:cubicBezTo>
                    <a:cubicBezTo>
                      <a:pt x="342652" y="68044"/>
                      <a:pt x="348295" y="73117"/>
                      <a:pt x="346585" y="78987"/>
                    </a:cubicBezTo>
                    <a:cubicBezTo>
                      <a:pt x="342635" y="77021"/>
                      <a:pt x="338287" y="75989"/>
                      <a:pt x="333875" y="75967"/>
                    </a:cubicBezTo>
                    <a:cubicBezTo>
                      <a:pt x="329327" y="76069"/>
                      <a:pt x="325440" y="79272"/>
                      <a:pt x="324471" y="83718"/>
                    </a:cubicBezTo>
                    <a:cubicBezTo>
                      <a:pt x="324614" y="85827"/>
                      <a:pt x="324614" y="87936"/>
                      <a:pt x="324471" y="90044"/>
                    </a:cubicBezTo>
                    <a:cubicBezTo>
                      <a:pt x="323525" y="92102"/>
                      <a:pt x="322300" y="94023"/>
                      <a:pt x="320824" y="95744"/>
                    </a:cubicBezTo>
                    <a:cubicBezTo>
                      <a:pt x="318504" y="99420"/>
                      <a:pt x="318589" y="104128"/>
                      <a:pt x="321051" y="107713"/>
                    </a:cubicBezTo>
                    <a:lnTo>
                      <a:pt x="308455" y="113412"/>
                    </a:lnTo>
                    <a:lnTo>
                      <a:pt x="308455" y="121961"/>
                    </a:lnTo>
                    <a:cubicBezTo>
                      <a:pt x="314554" y="127946"/>
                      <a:pt x="324756" y="127661"/>
                      <a:pt x="331253" y="133360"/>
                    </a:cubicBezTo>
                    <a:cubicBezTo>
                      <a:pt x="337261" y="139727"/>
                      <a:pt x="336970" y="149752"/>
                      <a:pt x="330604" y="155759"/>
                    </a:cubicBezTo>
                    <a:cubicBezTo>
                      <a:pt x="329521" y="156779"/>
                      <a:pt x="328301" y="157646"/>
                      <a:pt x="326979" y="158324"/>
                    </a:cubicBezTo>
                    <a:cubicBezTo>
                      <a:pt x="321878" y="158432"/>
                      <a:pt x="317569" y="154574"/>
                      <a:pt x="317119" y="149490"/>
                    </a:cubicBezTo>
                    <a:lnTo>
                      <a:pt x="290958" y="158267"/>
                    </a:lnTo>
                    <a:cubicBezTo>
                      <a:pt x="288564" y="154654"/>
                      <a:pt x="287020" y="150539"/>
                      <a:pt x="286456" y="146241"/>
                    </a:cubicBezTo>
                    <a:cubicBezTo>
                      <a:pt x="279058" y="149382"/>
                      <a:pt x="270514" y="145973"/>
                      <a:pt x="267305" y="138604"/>
                    </a:cubicBezTo>
                    <a:lnTo>
                      <a:pt x="242342" y="145899"/>
                    </a:lnTo>
                    <a:cubicBezTo>
                      <a:pt x="241601" y="143733"/>
                      <a:pt x="240803" y="141511"/>
                      <a:pt x="240005" y="139288"/>
                    </a:cubicBezTo>
                    <a:cubicBezTo>
                      <a:pt x="230641" y="137897"/>
                      <a:pt x="221157" y="140906"/>
                      <a:pt x="214300" y="147438"/>
                    </a:cubicBezTo>
                    <a:cubicBezTo>
                      <a:pt x="211810" y="150447"/>
                      <a:pt x="208846" y="153023"/>
                      <a:pt x="205523" y="155075"/>
                    </a:cubicBezTo>
                    <a:cubicBezTo>
                      <a:pt x="201989" y="156728"/>
                      <a:pt x="196746" y="155588"/>
                      <a:pt x="195891" y="151827"/>
                    </a:cubicBezTo>
                    <a:cubicBezTo>
                      <a:pt x="192551" y="153468"/>
                      <a:pt x="188784" y="154004"/>
                      <a:pt x="185119" y="153365"/>
                    </a:cubicBezTo>
                    <a:lnTo>
                      <a:pt x="185119" y="141966"/>
                    </a:lnTo>
                    <a:cubicBezTo>
                      <a:pt x="177767" y="141966"/>
                      <a:pt x="171440" y="137179"/>
                      <a:pt x="165285" y="133132"/>
                    </a:cubicBezTo>
                    <a:cubicBezTo>
                      <a:pt x="150580" y="123386"/>
                      <a:pt x="131658" y="117459"/>
                      <a:pt x="115244" y="123956"/>
                    </a:cubicBezTo>
                    <a:cubicBezTo>
                      <a:pt x="110661" y="126401"/>
                      <a:pt x="105777" y="128219"/>
                      <a:pt x="100710" y="129371"/>
                    </a:cubicBezTo>
                    <a:cubicBezTo>
                      <a:pt x="95865" y="129884"/>
                      <a:pt x="90565" y="128288"/>
                      <a:pt x="86404" y="130739"/>
                    </a:cubicBezTo>
                    <a:cubicBezTo>
                      <a:pt x="80705" y="133987"/>
                      <a:pt x="80363" y="142137"/>
                      <a:pt x="74720" y="145101"/>
                    </a:cubicBezTo>
                    <a:cubicBezTo>
                      <a:pt x="69078" y="148065"/>
                      <a:pt x="63321" y="144303"/>
                      <a:pt x="58648" y="147153"/>
                    </a:cubicBezTo>
                    <a:cubicBezTo>
                      <a:pt x="55222" y="149872"/>
                      <a:pt x="53541" y="154237"/>
                      <a:pt x="54259" y="158552"/>
                    </a:cubicBezTo>
                    <a:cubicBezTo>
                      <a:pt x="54920" y="162724"/>
                      <a:pt x="54749" y="166987"/>
                      <a:pt x="53746" y="171091"/>
                    </a:cubicBezTo>
                    <a:cubicBezTo>
                      <a:pt x="52264" y="175023"/>
                      <a:pt x="47135" y="177987"/>
                      <a:pt x="43772" y="175479"/>
                    </a:cubicBezTo>
                    <a:cubicBezTo>
                      <a:pt x="40409" y="172972"/>
                      <a:pt x="41321" y="168526"/>
                      <a:pt x="39783" y="165049"/>
                    </a:cubicBezTo>
                    <a:cubicBezTo>
                      <a:pt x="36972" y="159926"/>
                      <a:pt x="30914" y="157532"/>
                      <a:pt x="25363" y="159350"/>
                    </a:cubicBezTo>
                    <a:cubicBezTo>
                      <a:pt x="20051" y="161316"/>
                      <a:pt x="15280" y="164519"/>
                      <a:pt x="11456" y="168697"/>
                    </a:cubicBezTo>
                    <a:cubicBezTo>
                      <a:pt x="11456" y="174397"/>
                      <a:pt x="11456" y="180552"/>
                      <a:pt x="11456" y="186479"/>
                    </a:cubicBezTo>
                    <a:cubicBezTo>
                      <a:pt x="7501" y="187066"/>
                      <a:pt x="4759" y="190726"/>
                      <a:pt x="5300" y="194687"/>
                    </a:cubicBezTo>
                    <a:cubicBezTo>
                      <a:pt x="5996" y="198477"/>
                      <a:pt x="7706" y="202005"/>
                      <a:pt x="10259" y="204889"/>
                    </a:cubicBezTo>
                    <a:cubicBezTo>
                      <a:pt x="5893" y="206747"/>
                      <a:pt x="2280" y="210018"/>
                      <a:pt x="0" y="214179"/>
                    </a:cubicBezTo>
                    <a:cubicBezTo>
                      <a:pt x="6270" y="212868"/>
                      <a:pt x="11399" y="219878"/>
                      <a:pt x="13451" y="225578"/>
                    </a:cubicBezTo>
                    <a:cubicBezTo>
                      <a:pt x="15503" y="231277"/>
                      <a:pt x="18580" y="238687"/>
                      <a:pt x="24850" y="239997"/>
                    </a:cubicBezTo>
                    <a:cubicBezTo>
                      <a:pt x="27586" y="240567"/>
                      <a:pt x="30549" y="239997"/>
                      <a:pt x="33114" y="240567"/>
                    </a:cubicBezTo>
                    <a:cubicBezTo>
                      <a:pt x="38358" y="242049"/>
                      <a:pt x="40409" y="248148"/>
                      <a:pt x="42404" y="253220"/>
                    </a:cubicBezTo>
                    <a:cubicBezTo>
                      <a:pt x="44399" y="258293"/>
                      <a:pt x="48845" y="263821"/>
                      <a:pt x="53803" y="262339"/>
                    </a:cubicBezTo>
                    <a:cubicBezTo>
                      <a:pt x="52088" y="270062"/>
                      <a:pt x="51358" y="277973"/>
                      <a:pt x="51637" y="285878"/>
                    </a:cubicBezTo>
                    <a:lnTo>
                      <a:pt x="54373" y="284909"/>
                    </a:lnTo>
                    <a:cubicBezTo>
                      <a:pt x="57964" y="283997"/>
                      <a:pt x="61611" y="283427"/>
                      <a:pt x="65088" y="282173"/>
                    </a:cubicBezTo>
                    <a:cubicBezTo>
                      <a:pt x="73295" y="278674"/>
                      <a:pt x="80402" y="273020"/>
                      <a:pt x="85663" y="265816"/>
                    </a:cubicBezTo>
                    <a:cubicBezTo>
                      <a:pt x="87082" y="263679"/>
                      <a:pt x="89049" y="261963"/>
                      <a:pt x="91363" y="260857"/>
                    </a:cubicBezTo>
                    <a:cubicBezTo>
                      <a:pt x="94087" y="260293"/>
                      <a:pt x="96920" y="260527"/>
                      <a:pt x="99513" y="261541"/>
                    </a:cubicBezTo>
                    <a:cubicBezTo>
                      <a:pt x="111875" y="264790"/>
                      <a:pt x="124779" y="265468"/>
                      <a:pt x="137415" y="263536"/>
                    </a:cubicBezTo>
                    <a:cubicBezTo>
                      <a:pt x="138805" y="263103"/>
                      <a:pt x="140310" y="263268"/>
                      <a:pt x="141575" y="263992"/>
                    </a:cubicBezTo>
                    <a:cubicBezTo>
                      <a:pt x="142350" y="264864"/>
                      <a:pt x="142886" y="265924"/>
                      <a:pt x="143114" y="267070"/>
                    </a:cubicBezTo>
                    <a:cubicBezTo>
                      <a:pt x="145679" y="272080"/>
                      <a:pt x="149269" y="276485"/>
                      <a:pt x="153658" y="280008"/>
                    </a:cubicBezTo>
                    <a:cubicBezTo>
                      <a:pt x="157476" y="284111"/>
                      <a:pt x="160326" y="290552"/>
                      <a:pt x="157135" y="295168"/>
                    </a:cubicBezTo>
                    <a:cubicBezTo>
                      <a:pt x="154798" y="298645"/>
                      <a:pt x="149725" y="299842"/>
                      <a:pt x="148016" y="303661"/>
                    </a:cubicBezTo>
                    <a:cubicBezTo>
                      <a:pt x="146704" y="306510"/>
                      <a:pt x="147674" y="309873"/>
                      <a:pt x="146704" y="312837"/>
                    </a:cubicBezTo>
                    <a:cubicBezTo>
                      <a:pt x="144995" y="317681"/>
                      <a:pt x="138953" y="319220"/>
                      <a:pt x="133881" y="320018"/>
                    </a:cubicBezTo>
                    <a:lnTo>
                      <a:pt x="104187" y="324635"/>
                    </a:lnTo>
                    <a:cubicBezTo>
                      <a:pt x="103503" y="329992"/>
                      <a:pt x="102762" y="335407"/>
                      <a:pt x="102021" y="340764"/>
                    </a:cubicBezTo>
                    <a:cubicBezTo>
                      <a:pt x="96242" y="338017"/>
                      <a:pt x="89681" y="337413"/>
                      <a:pt x="83497" y="339054"/>
                    </a:cubicBezTo>
                    <a:cubicBezTo>
                      <a:pt x="82130" y="344754"/>
                      <a:pt x="87316" y="349826"/>
                      <a:pt x="92274" y="352961"/>
                    </a:cubicBezTo>
                    <a:cubicBezTo>
                      <a:pt x="97233" y="356096"/>
                      <a:pt x="103161" y="359401"/>
                      <a:pt x="104357" y="365158"/>
                    </a:cubicBezTo>
                    <a:cubicBezTo>
                      <a:pt x="105098" y="368806"/>
                      <a:pt x="103902" y="373251"/>
                      <a:pt x="106694" y="375759"/>
                    </a:cubicBezTo>
                    <a:lnTo>
                      <a:pt x="115072" y="376443"/>
                    </a:lnTo>
                    <a:lnTo>
                      <a:pt x="115813" y="385733"/>
                    </a:lnTo>
                    <a:cubicBezTo>
                      <a:pt x="123086" y="384827"/>
                      <a:pt x="130473" y="385670"/>
                      <a:pt x="137358" y="388184"/>
                    </a:cubicBezTo>
                    <a:cubicBezTo>
                      <a:pt x="138554" y="388543"/>
                      <a:pt x="139637" y="389210"/>
                      <a:pt x="140492" y="390121"/>
                    </a:cubicBezTo>
                    <a:cubicBezTo>
                      <a:pt x="141581" y="392008"/>
                      <a:pt x="141581" y="394333"/>
                      <a:pt x="140492" y="396220"/>
                    </a:cubicBezTo>
                    <a:cubicBezTo>
                      <a:pt x="138668" y="400780"/>
                      <a:pt x="134793" y="404370"/>
                      <a:pt x="133254" y="409101"/>
                    </a:cubicBezTo>
                    <a:cubicBezTo>
                      <a:pt x="131715" y="413831"/>
                      <a:pt x="135249" y="420500"/>
                      <a:pt x="140036" y="419132"/>
                    </a:cubicBezTo>
                    <a:cubicBezTo>
                      <a:pt x="143456" y="418163"/>
                      <a:pt x="144482" y="413888"/>
                      <a:pt x="144995" y="410355"/>
                    </a:cubicBezTo>
                    <a:cubicBezTo>
                      <a:pt x="145508" y="406821"/>
                      <a:pt x="146078" y="401862"/>
                      <a:pt x="146648" y="397588"/>
                    </a:cubicBezTo>
                    <a:cubicBezTo>
                      <a:pt x="146648" y="395707"/>
                      <a:pt x="147787" y="393256"/>
                      <a:pt x="149668" y="393427"/>
                    </a:cubicBezTo>
                    <a:cubicBezTo>
                      <a:pt x="150415" y="393547"/>
                      <a:pt x="151105" y="393883"/>
                      <a:pt x="151663" y="394396"/>
                    </a:cubicBezTo>
                    <a:cubicBezTo>
                      <a:pt x="155676" y="396870"/>
                      <a:pt x="158759" y="400597"/>
                      <a:pt x="160440" y="404997"/>
                    </a:cubicBezTo>
                    <a:cubicBezTo>
                      <a:pt x="160440" y="404997"/>
                      <a:pt x="160440" y="405510"/>
                      <a:pt x="160440" y="405738"/>
                    </a:cubicBezTo>
                    <a:cubicBezTo>
                      <a:pt x="161352" y="404142"/>
                      <a:pt x="162321" y="402546"/>
                      <a:pt x="163290" y="401008"/>
                    </a:cubicBezTo>
                    <a:cubicBezTo>
                      <a:pt x="163940" y="399651"/>
                      <a:pt x="164897" y="398460"/>
                      <a:pt x="166083" y="397531"/>
                    </a:cubicBezTo>
                    <a:cubicBezTo>
                      <a:pt x="168380" y="396220"/>
                      <a:pt x="171195" y="396220"/>
                      <a:pt x="173492" y="397531"/>
                    </a:cubicBezTo>
                    <a:cubicBezTo>
                      <a:pt x="175669" y="398836"/>
                      <a:pt x="177601" y="400512"/>
                      <a:pt x="179191" y="402489"/>
                    </a:cubicBezTo>
                    <a:lnTo>
                      <a:pt x="192699" y="416738"/>
                    </a:lnTo>
                    <a:cubicBezTo>
                      <a:pt x="197601" y="421925"/>
                      <a:pt x="203528" y="427510"/>
                      <a:pt x="210653" y="426940"/>
                    </a:cubicBezTo>
                    <a:cubicBezTo>
                      <a:pt x="211462" y="426872"/>
                      <a:pt x="212266" y="426718"/>
                      <a:pt x="213046" y="426484"/>
                    </a:cubicBezTo>
                    <a:cubicBezTo>
                      <a:pt x="211017" y="423931"/>
                      <a:pt x="211017" y="420317"/>
                      <a:pt x="213046" y="417764"/>
                    </a:cubicBezTo>
                    <a:lnTo>
                      <a:pt x="213388" y="328795"/>
                    </a:lnTo>
                    <a:lnTo>
                      <a:pt x="213388" y="326458"/>
                    </a:lnTo>
                    <a:cubicBezTo>
                      <a:pt x="219755" y="320269"/>
                      <a:pt x="227603" y="315812"/>
                      <a:pt x="236186" y="313521"/>
                    </a:cubicBezTo>
                    <a:lnTo>
                      <a:pt x="238751" y="312951"/>
                    </a:lnTo>
                    <a:cubicBezTo>
                      <a:pt x="238808" y="311059"/>
                      <a:pt x="239555" y="309252"/>
                      <a:pt x="240860" y="307878"/>
                    </a:cubicBezTo>
                    <a:cubicBezTo>
                      <a:pt x="243174" y="305906"/>
                      <a:pt x="245967" y="304573"/>
                      <a:pt x="248953" y="304003"/>
                    </a:cubicBezTo>
                    <a:cubicBezTo>
                      <a:pt x="254561" y="302566"/>
                      <a:pt x="260284" y="301614"/>
                      <a:pt x="266051" y="301153"/>
                    </a:cubicBezTo>
                    <a:cubicBezTo>
                      <a:pt x="268548" y="301176"/>
                      <a:pt x="271016" y="300651"/>
                      <a:pt x="273290" y="299614"/>
                    </a:cubicBezTo>
                    <a:cubicBezTo>
                      <a:pt x="275057" y="298645"/>
                      <a:pt x="276367" y="297049"/>
                      <a:pt x="278134" y="296023"/>
                    </a:cubicBezTo>
                    <a:cubicBezTo>
                      <a:pt x="282198" y="294621"/>
                      <a:pt x="286530" y="294194"/>
                      <a:pt x="290787" y="294769"/>
                    </a:cubicBezTo>
                    <a:cubicBezTo>
                      <a:pt x="295062" y="294769"/>
                      <a:pt x="300192" y="291692"/>
                      <a:pt x="299507" y="287474"/>
                    </a:cubicBezTo>
                    <a:cubicBezTo>
                      <a:pt x="298983" y="285850"/>
                      <a:pt x="298373" y="284248"/>
                      <a:pt x="297684" y="282687"/>
                    </a:cubicBezTo>
                    <a:cubicBezTo>
                      <a:pt x="296145" y="276987"/>
                      <a:pt x="303383" y="272940"/>
                      <a:pt x="309425" y="272883"/>
                    </a:cubicBezTo>
                    <a:cubicBezTo>
                      <a:pt x="319524" y="272792"/>
                      <a:pt x="329099" y="277380"/>
                      <a:pt x="335357" y="285308"/>
                    </a:cubicBezTo>
                    <a:cubicBezTo>
                      <a:pt x="329133" y="286323"/>
                      <a:pt x="323012" y="287884"/>
                      <a:pt x="317062" y="289982"/>
                    </a:cubicBezTo>
                    <a:cubicBezTo>
                      <a:pt x="313562" y="290996"/>
                      <a:pt x="310319" y="292746"/>
                      <a:pt x="307544" y="295111"/>
                    </a:cubicBezTo>
                    <a:cubicBezTo>
                      <a:pt x="304757" y="297568"/>
                      <a:pt x="303514" y="301341"/>
                      <a:pt x="304295" y="304971"/>
                    </a:cubicBezTo>
                    <a:cubicBezTo>
                      <a:pt x="306062" y="311013"/>
                      <a:pt x="314041" y="312609"/>
                      <a:pt x="317803" y="317624"/>
                    </a:cubicBezTo>
                    <a:cubicBezTo>
                      <a:pt x="322476" y="323837"/>
                      <a:pt x="319228" y="332443"/>
                      <a:pt x="315124" y="339282"/>
                    </a:cubicBezTo>
                    <a:cubicBezTo>
                      <a:pt x="322556" y="349433"/>
                      <a:pt x="332656" y="357327"/>
                      <a:pt x="344305" y="362080"/>
                    </a:cubicBezTo>
                    <a:cubicBezTo>
                      <a:pt x="359808" y="367780"/>
                      <a:pt x="376906" y="364759"/>
                      <a:pt x="393378" y="363790"/>
                    </a:cubicBezTo>
                    <a:cubicBezTo>
                      <a:pt x="403751" y="363220"/>
                      <a:pt x="415549" y="363790"/>
                      <a:pt x="422502" y="371769"/>
                    </a:cubicBezTo>
                    <a:cubicBezTo>
                      <a:pt x="425916" y="376403"/>
                      <a:pt x="428464" y="381618"/>
                      <a:pt x="430025" y="387158"/>
                    </a:cubicBezTo>
                    <a:cubicBezTo>
                      <a:pt x="435246" y="399697"/>
                      <a:pt x="441755" y="411654"/>
                      <a:pt x="449461" y="422837"/>
                    </a:cubicBezTo>
                    <a:cubicBezTo>
                      <a:pt x="451644" y="427111"/>
                      <a:pt x="455006" y="430673"/>
                      <a:pt x="459150" y="433096"/>
                    </a:cubicBezTo>
                    <a:cubicBezTo>
                      <a:pt x="464849" y="435603"/>
                      <a:pt x="471803" y="434178"/>
                      <a:pt x="476248" y="438339"/>
                    </a:cubicBezTo>
                    <a:cubicBezTo>
                      <a:pt x="477901" y="439935"/>
                      <a:pt x="478927" y="442158"/>
                      <a:pt x="480865" y="443412"/>
                    </a:cubicBezTo>
                    <a:cubicBezTo>
                      <a:pt x="485937" y="446660"/>
                      <a:pt x="491808" y="441132"/>
                      <a:pt x="495797" y="436629"/>
                    </a:cubicBezTo>
                    <a:cubicBezTo>
                      <a:pt x="506096" y="425247"/>
                      <a:pt x="519855" y="417576"/>
                      <a:pt x="534953" y="414800"/>
                    </a:cubicBezTo>
                    <a:cubicBezTo>
                      <a:pt x="534753" y="413900"/>
                      <a:pt x="534753" y="412965"/>
                      <a:pt x="534953" y="412065"/>
                    </a:cubicBezTo>
                    <a:cubicBezTo>
                      <a:pt x="535745" y="409853"/>
                      <a:pt x="537101" y="407893"/>
                      <a:pt x="538885" y="406365"/>
                    </a:cubicBezTo>
                    <a:lnTo>
                      <a:pt x="551310" y="394225"/>
                    </a:lnTo>
                    <a:cubicBezTo>
                      <a:pt x="553436" y="391643"/>
                      <a:pt x="556212" y="389677"/>
                      <a:pt x="559346" y="388526"/>
                    </a:cubicBezTo>
                    <a:cubicBezTo>
                      <a:pt x="566870" y="386645"/>
                      <a:pt x="573424" y="394225"/>
                      <a:pt x="581118" y="395365"/>
                    </a:cubicBezTo>
                    <a:cubicBezTo>
                      <a:pt x="588813" y="396505"/>
                      <a:pt x="595595" y="391375"/>
                      <a:pt x="601237" y="386246"/>
                    </a:cubicBezTo>
                    <a:cubicBezTo>
                      <a:pt x="606880" y="381116"/>
                      <a:pt x="612978" y="375417"/>
                      <a:pt x="620559" y="374847"/>
                    </a:cubicBezTo>
                    <a:cubicBezTo>
                      <a:pt x="623956" y="374414"/>
                      <a:pt x="627307" y="375936"/>
                      <a:pt x="629222" y="378780"/>
                    </a:cubicBezTo>
                    <a:cubicBezTo>
                      <a:pt x="629792" y="379920"/>
                      <a:pt x="630020" y="381173"/>
                      <a:pt x="630647" y="382256"/>
                    </a:cubicBezTo>
                    <a:cubicBezTo>
                      <a:pt x="632528" y="385334"/>
                      <a:pt x="636859" y="385448"/>
                      <a:pt x="640450" y="385277"/>
                    </a:cubicBezTo>
                    <a:cubicBezTo>
                      <a:pt x="664718" y="383772"/>
                      <a:pt x="689084" y="385516"/>
                      <a:pt x="712890" y="390463"/>
                    </a:cubicBezTo>
                    <a:cubicBezTo>
                      <a:pt x="722522" y="392629"/>
                      <a:pt x="732724" y="395878"/>
                      <a:pt x="738652" y="403800"/>
                    </a:cubicBezTo>
                    <a:cubicBezTo>
                      <a:pt x="739666" y="405185"/>
                      <a:pt x="740561" y="406656"/>
                      <a:pt x="741331" y="408189"/>
                    </a:cubicBezTo>
                    <a:cubicBezTo>
                      <a:pt x="741963" y="407340"/>
                      <a:pt x="742499" y="406422"/>
                      <a:pt x="742927" y="405453"/>
                    </a:cubicBezTo>
                    <a:lnTo>
                      <a:pt x="754326" y="382199"/>
                    </a:lnTo>
                    <a:cubicBezTo>
                      <a:pt x="758759" y="380666"/>
                      <a:pt x="761108" y="375827"/>
                      <a:pt x="759575" y="371399"/>
                    </a:cubicBezTo>
                    <a:cubicBezTo>
                      <a:pt x="759500" y="371194"/>
                      <a:pt x="759426" y="370994"/>
                      <a:pt x="759341" y="370800"/>
                    </a:cubicBezTo>
                    <a:cubicBezTo>
                      <a:pt x="757631" y="367609"/>
                      <a:pt x="753642" y="365899"/>
                      <a:pt x="751590" y="363049"/>
                    </a:cubicBezTo>
                    <a:cubicBezTo>
                      <a:pt x="745890" y="355811"/>
                      <a:pt x="751020" y="344868"/>
                      <a:pt x="748398" y="335977"/>
                    </a:cubicBezTo>
                    <a:cubicBezTo>
                      <a:pt x="747537" y="334061"/>
                      <a:pt x="747110" y="331981"/>
                      <a:pt x="747144" y="329878"/>
                    </a:cubicBezTo>
                    <a:cubicBezTo>
                      <a:pt x="747988" y="327370"/>
                      <a:pt x="749823" y="325307"/>
                      <a:pt x="752217" y="324179"/>
                    </a:cubicBezTo>
                    <a:cubicBezTo>
                      <a:pt x="760766" y="318479"/>
                      <a:pt x="770911" y="312780"/>
                      <a:pt x="780714" y="316199"/>
                    </a:cubicBezTo>
                    <a:cubicBezTo>
                      <a:pt x="786414" y="317966"/>
                      <a:pt x="791315" y="322526"/>
                      <a:pt x="796843" y="321158"/>
                    </a:cubicBezTo>
                    <a:cubicBezTo>
                      <a:pt x="798137" y="315555"/>
                      <a:pt x="798616" y="309799"/>
                      <a:pt x="798268" y="304060"/>
                    </a:cubicBezTo>
                    <a:cubicBezTo>
                      <a:pt x="797813" y="296992"/>
                      <a:pt x="799693" y="286961"/>
                      <a:pt x="799693" y="279894"/>
                    </a:cubicBezTo>
                    <a:lnTo>
                      <a:pt x="808983" y="274194"/>
                    </a:lnTo>
                    <a:cubicBezTo>
                      <a:pt x="808014" y="270911"/>
                      <a:pt x="809012" y="267366"/>
                      <a:pt x="811548" y="265075"/>
                    </a:cubicBezTo>
                    <a:cubicBezTo>
                      <a:pt x="814740" y="263023"/>
                      <a:pt x="818787" y="265075"/>
                      <a:pt x="822320" y="266500"/>
                    </a:cubicBezTo>
                    <a:cubicBezTo>
                      <a:pt x="829684" y="268814"/>
                      <a:pt x="837441" y="269589"/>
                      <a:pt x="845118" y="268780"/>
                    </a:cubicBezTo>
                    <a:cubicBezTo>
                      <a:pt x="849336" y="268780"/>
                      <a:pt x="854465" y="267868"/>
                      <a:pt x="856118" y="263935"/>
                    </a:cubicBezTo>
                    <a:cubicBezTo>
                      <a:pt x="857201" y="261314"/>
                      <a:pt x="856118" y="258236"/>
                      <a:pt x="857543" y="255557"/>
                    </a:cubicBezTo>
                    <a:cubicBezTo>
                      <a:pt x="858455" y="253961"/>
                      <a:pt x="860108" y="252992"/>
                      <a:pt x="861077" y="251453"/>
                    </a:cubicBezTo>
                    <a:cubicBezTo>
                      <a:pt x="862370" y="248535"/>
                      <a:pt x="862729" y="245292"/>
                      <a:pt x="862102" y="242163"/>
                    </a:cubicBezTo>
                    <a:cubicBezTo>
                      <a:pt x="861789" y="231670"/>
                      <a:pt x="867688" y="221976"/>
                      <a:pt x="877149" y="217428"/>
                    </a:cubicBezTo>
                    <a:cubicBezTo>
                      <a:pt x="879178" y="216664"/>
                      <a:pt x="881093" y="215627"/>
                      <a:pt x="882849" y="214350"/>
                    </a:cubicBezTo>
                    <a:cubicBezTo>
                      <a:pt x="885049" y="211688"/>
                      <a:pt x="886593" y="208542"/>
                      <a:pt x="887351" y="205174"/>
                    </a:cubicBezTo>
                    <a:cubicBezTo>
                      <a:pt x="888491" y="202153"/>
                      <a:pt x="890771" y="199018"/>
                      <a:pt x="893906" y="198733"/>
                    </a:cubicBezTo>
                    <a:cubicBezTo>
                      <a:pt x="890959" y="193119"/>
                      <a:pt x="885749" y="189038"/>
                      <a:pt x="879600" y="187505"/>
                    </a:cubicBezTo>
                    <a:close/>
                    <a:moveTo>
                      <a:pt x="714315" y="283484"/>
                    </a:moveTo>
                    <a:cubicBezTo>
                      <a:pt x="711009" y="285422"/>
                      <a:pt x="708616" y="290951"/>
                      <a:pt x="712263" y="292547"/>
                    </a:cubicBezTo>
                    <a:lnTo>
                      <a:pt x="686388" y="290780"/>
                    </a:lnTo>
                    <a:cubicBezTo>
                      <a:pt x="678522" y="290079"/>
                      <a:pt x="670629" y="289828"/>
                      <a:pt x="662735" y="290039"/>
                    </a:cubicBezTo>
                    <a:cubicBezTo>
                      <a:pt x="650960" y="291526"/>
                      <a:pt x="639099" y="292250"/>
                      <a:pt x="627227" y="292205"/>
                    </a:cubicBezTo>
                    <a:cubicBezTo>
                      <a:pt x="628122" y="295790"/>
                      <a:pt x="627678" y="299580"/>
                      <a:pt x="625973" y="302863"/>
                    </a:cubicBezTo>
                    <a:cubicBezTo>
                      <a:pt x="624890" y="304345"/>
                      <a:pt x="623295" y="305427"/>
                      <a:pt x="622212" y="306909"/>
                    </a:cubicBezTo>
                    <a:cubicBezTo>
                      <a:pt x="617424" y="313008"/>
                      <a:pt x="622212" y="322355"/>
                      <a:pt x="619419" y="329707"/>
                    </a:cubicBezTo>
                    <a:cubicBezTo>
                      <a:pt x="613013" y="331331"/>
                      <a:pt x="606498" y="327462"/>
                      <a:pt x="604874" y="321050"/>
                    </a:cubicBezTo>
                    <a:cubicBezTo>
                      <a:pt x="604754" y="320582"/>
                      <a:pt x="604663" y="320104"/>
                      <a:pt x="604600" y="319619"/>
                    </a:cubicBezTo>
                    <a:cubicBezTo>
                      <a:pt x="604087" y="313065"/>
                      <a:pt x="609160" y="306453"/>
                      <a:pt x="606766" y="300298"/>
                    </a:cubicBezTo>
                    <a:cubicBezTo>
                      <a:pt x="604885" y="295567"/>
                      <a:pt x="598787" y="291806"/>
                      <a:pt x="600440" y="286961"/>
                    </a:cubicBezTo>
                    <a:cubicBezTo>
                      <a:pt x="604754" y="287976"/>
                      <a:pt x="609285" y="286682"/>
                      <a:pt x="612409" y="283541"/>
                    </a:cubicBezTo>
                    <a:cubicBezTo>
                      <a:pt x="615429" y="280447"/>
                      <a:pt x="618860" y="277779"/>
                      <a:pt x="622610" y="275619"/>
                    </a:cubicBezTo>
                    <a:cubicBezTo>
                      <a:pt x="626372" y="274206"/>
                      <a:pt x="630396" y="273601"/>
                      <a:pt x="634408" y="273852"/>
                    </a:cubicBezTo>
                    <a:lnTo>
                      <a:pt x="699667" y="273225"/>
                    </a:lnTo>
                    <a:cubicBezTo>
                      <a:pt x="707630" y="272530"/>
                      <a:pt x="715649" y="273761"/>
                      <a:pt x="723036" y="276816"/>
                    </a:cubicBezTo>
                    <a:cubicBezTo>
                      <a:pt x="721838" y="280578"/>
                      <a:pt x="717393" y="281832"/>
                      <a:pt x="714315" y="28371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38" name="Freihandform: Form 732">
                <a:extLst>
                  <a:ext uri="{FF2B5EF4-FFF2-40B4-BE49-F238E27FC236}">
                    <a16:creationId xmlns:a16="http://schemas.microsoft.com/office/drawing/2014/main" id="{D7D518EB-7AB1-C9CF-E6CF-A8100632BEB2}"/>
                  </a:ext>
                </a:extLst>
              </p:cNvPr>
              <p:cNvSpPr/>
              <p:nvPr/>
            </p:nvSpPr>
            <p:spPr>
              <a:xfrm>
                <a:off x="4249985" y="2880582"/>
                <a:ext cx="385577" cy="243598"/>
              </a:xfrm>
              <a:custGeom>
                <a:avLst/>
                <a:gdLst>
                  <a:gd name="connsiteX0" fmla="*/ 381069 w 385577"/>
                  <a:gd name="connsiteY0" fmla="*/ 87620 h 243598"/>
                  <a:gd name="connsiteX1" fmla="*/ 358271 w 385577"/>
                  <a:gd name="connsiteY1" fmla="*/ 83858 h 243598"/>
                  <a:gd name="connsiteX2" fmla="*/ 355478 w 385577"/>
                  <a:gd name="connsiteY2" fmla="*/ 79184 h 243598"/>
                  <a:gd name="connsiteX3" fmla="*/ 345390 w 385577"/>
                  <a:gd name="connsiteY3" fmla="*/ 75366 h 243598"/>
                  <a:gd name="connsiteX4" fmla="*/ 334390 w 385577"/>
                  <a:gd name="connsiteY4" fmla="*/ 73827 h 243598"/>
                  <a:gd name="connsiteX5" fmla="*/ 331369 w 385577"/>
                  <a:gd name="connsiteY5" fmla="*/ 64594 h 243598"/>
                  <a:gd name="connsiteX6" fmla="*/ 309084 w 385577"/>
                  <a:gd name="connsiteY6" fmla="*/ 66418 h 243598"/>
                  <a:gd name="connsiteX7" fmla="*/ 289136 w 385577"/>
                  <a:gd name="connsiteY7" fmla="*/ 59179 h 243598"/>
                  <a:gd name="connsiteX8" fmla="*/ 286571 w 385577"/>
                  <a:gd name="connsiteY8" fmla="*/ 53480 h 243598"/>
                  <a:gd name="connsiteX9" fmla="*/ 257390 w 385577"/>
                  <a:gd name="connsiteY9" fmla="*/ 34387 h 243598"/>
                  <a:gd name="connsiteX10" fmla="*/ 247074 w 385577"/>
                  <a:gd name="connsiteY10" fmla="*/ 3096 h 243598"/>
                  <a:gd name="connsiteX11" fmla="*/ 221256 w 385577"/>
                  <a:gd name="connsiteY11" fmla="*/ 1957 h 243598"/>
                  <a:gd name="connsiteX12" fmla="*/ 174178 w 385577"/>
                  <a:gd name="connsiteY12" fmla="*/ 27661 h 243598"/>
                  <a:gd name="connsiteX13" fmla="*/ 170758 w 385577"/>
                  <a:gd name="connsiteY13" fmla="*/ 32563 h 243598"/>
                  <a:gd name="connsiteX14" fmla="*/ 161981 w 385577"/>
                  <a:gd name="connsiteY14" fmla="*/ 33703 h 243598"/>
                  <a:gd name="connsiteX15" fmla="*/ 102250 w 385577"/>
                  <a:gd name="connsiteY15" fmla="*/ 22931 h 243598"/>
                  <a:gd name="connsiteX16" fmla="*/ 70903 w 385577"/>
                  <a:gd name="connsiteY16" fmla="*/ 16547 h 243598"/>
                  <a:gd name="connsiteX17" fmla="*/ 40639 w 385577"/>
                  <a:gd name="connsiteY17" fmla="*/ 18257 h 243598"/>
                  <a:gd name="connsiteX18" fmla="*/ 29240 w 385577"/>
                  <a:gd name="connsiteY18" fmla="*/ 33247 h 243598"/>
                  <a:gd name="connsiteX19" fmla="*/ 28157 w 385577"/>
                  <a:gd name="connsiteY19" fmla="*/ 36609 h 243598"/>
                  <a:gd name="connsiteX20" fmla="*/ 40753 w 385577"/>
                  <a:gd name="connsiteY20" fmla="*/ 51770 h 243598"/>
                  <a:gd name="connsiteX21" fmla="*/ 32147 w 385577"/>
                  <a:gd name="connsiteY21" fmla="*/ 61630 h 243598"/>
                  <a:gd name="connsiteX22" fmla="*/ 18696 w 385577"/>
                  <a:gd name="connsiteY22" fmla="*/ 75822 h 243598"/>
                  <a:gd name="connsiteX23" fmla="*/ 5245 w 385577"/>
                  <a:gd name="connsiteY23" fmla="*/ 88418 h 243598"/>
                  <a:gd name="connsiteX24" fmla="*/ 3992 w 385577"/>
                  <a:gd name="connsiteY24" fmla="*/ 110133 h 243598"/>
                  <a:gd name="connsiteX25" fmla="*/ 59 w 385577"/>
                  <a:gd name="connsiteY25" fmla="*/ 118454 h 243598"/>
                  <a:gd name="connsiteX26" fmla="*/ 1427 w 385577"/>
                  <a:gd name="connsiteY26" fmla="*/ 121133 h 243598"/>
                  <a:gd name="connsiteX27" fmla="*/ 19266 w 385577"/>
                  <a:gd name="connsiteY27" fmla="*/ 133272 h 243598"/>
                  <a:gd name="connsiteX28" fmla="*/ 29924 w 385577"/>
                  <a:gd name="connsiteY28" fmla="*/ 135552 h 243598"/>
                  <a:gd name="connsiteX29" fmla="*/ 47023 w 385577"/>
                  <a:gd name="connsiteY29" fmla="*/ 143474 h 243598"/>
                  <a:gd name="connsiteX30" fmla="*/ 64748 w 385577"/>
                  <a:gd name="connsiteY30" fmla="*/ 140169 h 243598"/>
                  <a:gd name="connsiteX31" fmla="*/ 86292 w 385577"/>
                  <a:gd name="connsiteY31" fmla="*/ 130309 h 243598"/>
                  <a:gd name="connsiteX32" fmla="*/ 94100 w 385577"/>
                  <a:gd name="connsiteY32" fmla="*/ 125179 h 243598"/>
                  <a:gd name="connsiteX33" fmla="*/ 135592 w 385577"/>
                  <a:gd name="connsiteY33" fmla="*/ 130195 h 243598"/>
                  <a:gd name="connsiteX34" fmla="*/ 153603 w 385577"/>
                  <a:gd name="connsiteY34" fmla="*/ 149231 h 243598"/>
                  <a:gd name="connsiteX35" fmla="*/ 161411 w 385577"/>
                  <a:gd name="connsiteY35" fmla="*/ 154930 h 243598"/>
                  <a:gd name="connsiteX36" fmla="*/ 164888 w 385577"/>
                  <a:gd name="connsiteY36" fmla="*/ 164163 h 243598"/>
                  <a:gd name="connsiteX37" fmla="*/ 168421 w 385577"/>
                  <a:gd name="connsiteY37" fmla="*/ 169065 h 243598"/>
                  <a:gd name="connsiteX38" fmla="*/ 168421 w 385577"/>
                  <a:gd name="connsiteY38" fmla="*/ 169065 h 243598"/>
                  <a:gd name="connsiteX39" fmla="*/ 165914 w 385577"/>
                  <a:gd name="connsiteY39" fmla="*/ 176303 h 243598"/>
                  <a:gd name="connsiteX40" fmla="*/ 164774 w 385577"/>
                  <a:gd name="connsiteY40" fmla="*/ 182459 h 243598"/>
                  <a:gd name="connsiteX41" fmla="*/ 152748 w 385577"/>
                  <a:gd name="connsiteY41" fmla="*/ 189982 h 243598"/>
                  <a:gd name="connsiteX42" fmla="*/ 150126 w 385577"/>
                  <a:gd name="connsiteY42" fmla="*/ 193231 h 243598"/>
                  <a:gd name="connsiteX43" fmla="*/ 144426 w 385577"/>
                  <a:gd name="connsiteY43" fmla="*/ 196423 h 243598"/>
                  <a:gd name="connsiteX44" fmla="*/ 135478 w 385577"/>
                  <a:gd name="connsiteY44" fmla="*/ 204288 h 243598"/>
                  <a:gd name="connsiteX45" fmla="*/ 135478 w 385577"/>
                  <a:gd name="connsiteY45" fmla="*/ 212552 h 243598"/>
                  <a:gd name="connsiteX46" fmla="*/ 138556 w 385577"/>
                  <a:gd name="connsiteY46" fmla="*/ 213863 h 243598"/>
                  <a:gd name="connsiteX47" fmla="*/ 147960 w 385577"/>
                  <a:gd name="connsiteY47" fmla="*/ 216086 h 243598"/>
                  <a:gd name="connsiteX48" fmla="*/ 148359 w 385577"/>
                  <a:gd name="connsiteY48" fmla="*/ 213179 h 243598"/>
                  <a:gd name="connsiteX49" fmla="*/ 160220 w 385577"/>
                  <a:gd name="connsiteY49" fmla="*/ 206984 h 243598"/>
                  <a:gd name="connsiteX50" fmla="*/ 160556 w 385577"/>
                  <a:gd name="connsiteY50" fmla="*/ 205485 h 243598"/>
                  <a:gd name="connsiteX51" fmla="*/ 178623 w 385577"/>
                  <a:gd name="connsiteY51" fmla="*/ 187075 h 243598"/>
                  <a:gd name="connsiteX52" fmla="*/ 190478 w 385577"/>
                  <a:gd name="connsiteY52" fmla="*/ 173511 h 243598"/>
                  <a:gd name="connsiteX53" fmla="*/ 208545 w 385577"/>
                  <a:gd name="connsiteY53" fmla="*/ 174537 h 243598"/>
                  <a:gd name="connsiteX54" fmla="*/ 214245 w 385577"/>
                  <a:gd name="connsiteY54" fmla="*/ 178412 h 243598"/>
                  <a:gd name="connsiteX55" fmla="*/ 214872 w 385577"/>
                  <a:gd name="connsiteY55" fmla="*/ 184796 h 243598"/>
                  <a:gd name="connsiteX56" fmla="*/ 221084 w 385577"/>
                  <a:gd name="connsiteY56" fmla="*/ 189127 h 243598"/>
                  <a:gd name="connsiteX57" fmla="*/ 247701 w 385577"/>
                  <a:gd name="connsiteY57" fmla="*/ 189127 h 243598"/>
                  <a:gd name="connsiteX58" fmla="*/ 252716 w 385577"/>
                  <a:gd name="connsiteY58" fmla="*/ 200184 h 243598"/>
                  <a:gd name="connsiteX59" fmla="*/ 227354 w 385577"/>
                  <a:gd name="connsiteY59" fmla="*/ 208562 h 243598"/>
                  <a:gd name="connsiteX60" fmla="*/ 224219 w 385577"/>
                  <a:gd name="connsiteY60" fmla="*/ 212666 h 243598"/>
                  <a:gd name="connsiteX61" fmla="*/ 229064 w 385577"/>
                  <a:gd name="connsiteY61" fmla="*/ 219904 h 243598"/>
                  <a:gd name="connsiteX62" fmla="*/ 238525 w 385577"/>
                  <a:gd name="connsiteY62" fmla="*/ 219904 h 243598"/>
                  <a:gd name="connsiteX63" fmla="*/ 240576 w 385577"/>
                  <a:gd name="connsiteY63" fmla="*/ 242702 h 243598"/>
                  <a:gd name="connsiteX64" fmla="*/ 272722 w 385577"/>
                  <a:gd name="connsiteY64" fmla="*/ 231303 h 243598"/>
                  <a:gd name="connsiteX65" fmla="*/ 281670 w 385577"/>
                  <a:gd name="connsiteY65" fmla="*/ 226174 h 243598"/>
                  <a:gd name="connsiteX66" fmla="*/ 292328 w 385577"/>
                  <a:gd name="connsiteY66" fmla="*/ 228625 h 243598"/>
                  <a:gd name="connsiteX67" fmla="*/ 305152 w 385577"/>
                  <a:gd name="connsiteY67" fmla="*/ 225889 h 243598"/>
                  <a:gd name="connsiteX68" fmla="*/ 305152 w 385577"/>
                  <a:gd name="connsiteY68" fmla="*/ 213635 h 243598"/>
                  <a:gd name="connsiteX69" fmla="*/ 289706 w 385577"/>
                  <a:gd name="connsiteY69" fmla="*/ 214661 h 243598"/>
                  <a:gd name="connsiteX70" fmla="*/ 280302 w 385577"/>
                  <a:gd name="connsiteY70" fmla="*/ 203775 h 243598"/>
                  <a:gd name="connsiteX71" fmla="*/ 266965 w 385577"/>
                  <a:gd name="connsiteY71" fmla="*/ 197334 h 243598"/>
                  <a:gd name="connsiteX72" fmla="*/ 290105 w 385577"/>
                  <a:gd name="connsiteY72" fmla="*/ 178013 h 243598"/>
                  <a:gd name="connsiteX73" fmla="*/ 297742 w 385577"/>
                  <a:gd name="connsiteY73" fmla="*/ 178697 h 243598"/>
                  <a:gd name="connsiteX74" fmla="*/ 343338 w 385577"/>
                  <a:gd name="connsiteY74" fmla="*/ 156640 h 243598"/>
                  <a:gd name="connsiteX75" fmla="*/ 349949 w 385577"/>
                  <a:gd name="connsiteY75" fmla="*/ 149630 h 243598"/>
                  <a:gd name="connsiteX76" fmla="*/ 354680 w 385577"/>
                  <a:gd name="connsiteY76" fmla="*/ 147635 h 243598"/>
                  <a:gd name="connsiteX77" fmla="*/ 356390 w 385577"/>
                  <a:gd name="connsiteY77" fmla="*/ 143247 h 243598"/>
                  <a:gd name="connsiteX78" fmla="*/ 367162 w 385577"/>
                  <a:gd name="connsiteY78" fmla="*/ 140340 h 243598"/>
                  <a:gd name="connsiteX79" fmla="*/ 378561 w 385577"/>
                  <a:gd name="connsiteY79" fmla="*/ 136521 h 243598"/>
                  <a:gd name="connsiteX80" fmla="*/ 380841 w 385577"/>
                  <a:gd name="connsiteY80" fmla="*/ 125122 h 243598"/>
                  <a:gd name="connsiteX81" fmla="*/ 377592 w 385577"/>
                  <a:gd name="connsiteY81" fmla="*/ 120392 h 243598"/>
                  <a:gd name="connsiteX82" fmla="*/ 383292 w 385577"/>
                  <a:gd name="connsiteY82" fmla="*/ 105231 h 243598"/>
                  <a:gd name="connsiteX83" fmla="*/ 381069 w 385577"/>
                  <a:gd name="connsiteY83" fmla="*/ 87620 h 243598"/>
                  <a:gd name="connsiteX84" fmla="*/ 171727 w 385577"/>
                  <a:gd name="connsiteY84" fmla="*/ 172371 h 243598"/>
                  <a:gd name="connsiteX85" fmla="*/ 174235 w 385577"/>
                  <a:gd name="connsiteY85" fmla="*/ 175677 h 243598"/>
                  <a:gd name="connsiteX86" fmla="*/ 171727 w 385577"/>
                  <a:gd name="connsiteY86" fmla="*/ 172371 h 24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85577" h="243598">
                    <a:moveTo>
                      <a:pt x="381069" y="87620"/>
                    </a:moveTo>
                    <a:cubicBezTo>
                      <a:pt x="374172" y="83687"/>
                      <a:pt x="363400" y="90013"/>
                      <a:pt x="358271" y="83858"/>
                    </a:cubicBezTo>
                    <a:cubicBezTo>
                      <a:pt x="357131" y="82490"/>
                      <a:pt x="356561" y="80609"/>
                      <a:pt x="355478" y="79184"/>
                    </a:cubicBezTo>
                    <a:cubicBezTo>
                      <a:pt x="352839" y="76489"/>
                      <a:pt x="349152" y="75092"/>
                      <a:pt x="345390" y="75366"/>
                    </a:cubicBezTo>
                    <a:cubicBezTo>
                      <a:pt x="341657" y="75674"/>
                      <a:pt x="337895" y="75149"/>
                      <a:pt x="334390" y="73827"/>
                    </a:cubicBezTo>
                    <a:cubicBezTo>
                      <a:pt x="331084" y="72117"/>
                      <a:pt x="328690" y="67444"/>
                      <a:pt x="331369" y="64594"/>
                    </a:cubicBezTo>
                    <a:cubicBezTo>
                      <a:pt x="323892" y="64183"/>
                      <a:pt x="316397" y="64799"/>
                      <a:pt x="309084" y="66418"/>
                    </a:cubicBezTo>
                    <a:cubicBezTo>
                      <a:pt x="301618" y="67215"/>
                      <a:pt x="292898" y="65620"/>
                      <a:pt x="289136" y="59179"/>
                    </a:cubicBezTo>
                    <a:cubicBezTo>
                      <a:pt x="288053" y="57298"/>
                      <a:pt x="287483" y="55190"/>
                      <a:pt x="286571" y="53480"/>
                    </a:cubicBezTo>
                    <a:cubicBezTo>
                      <a:pt x="281727" y="42480"/>
                      <a:pt x="268903" y="37863"/>
                      <a:pt x="257390" y="34387"/>
                    </a:cubicBezTo>
                    <a:cubicBezTo>
                      <a:pt x="257390" y="22988"/>
                      <a:pt x="256763" y="9309"/>
                      <a:pt x="247074" y="3096"/>
                    </a:cubicBezTo>
                    <a:cubicBezTo>
                      <a:pt x="239608" y="-1691"/>
                      <a:pt x="229976" y="19"/>
                      <a:pt x="221256" y="1957"/>
                    </a:cubicBezTo>
                    <a:cubicBezTo>
                      <a:pt x="203188" y="5946"/>
                      <a:pt x="183012" y="11418"/>
                      <a:pt x="174178" y="27661"/>
                    </a:cubicBezTo>
                    <a:cubicBezTo>
                      <a:pt x="173397" y="29519"/>
                      <a:pt x="172228" y="31189"/>
                      <a:pt x="170758" y="32563"/>
                    </a:cubicBezTo>
                    <a:cubicBezTo>
                      <a:pt x="168091" y="34062"/>
                      <a:pt x="164945" y="34472"/>
                      <a:pt x="161981" y="33703"/>
                    </a:cubicBezTo>
                    <a:cubicBezTo>
                      <a:pt x="141919" y="30967"/>
                      <a:pt x="122085" y="26920"/>
                      <a:pt x="102250" y="22931"/>
                    </a:cubicBezTo>
                    <a:lnTo>
                      <a:pt x="70903" y="16547"/>
                    </a:lnTo>
                    <a:cubicBezTo>
                      <a:pt x="60758" y="14438"/>
                      <a:pt x="49359" y="12615"/>
                      <a:pt x="40639" y="18257"/>
                    </a:cubicBezTo>
                    <a:cubicBezTo>
                      <a:pt x="35550" y="22127"/>
                      <a:pt x="31605" y="27308"/>
                      <a:pt x="29240" y="33247"/>
                    </a:cubicBezTo>
                    <a:cubicBezTo>
                      <a:pt x="28659" y="34284"/>
                      <a:pt x="28294" y="35430"/>
                      <a:pt x="28157" y="36609"/>
                    </a:cubicBezTo>
                    <a:cubicBezTo>
                      <a:pt x="27644" y="43506"/>
                      <a:pt x="39556" y="44931"/>
                      <a:pt x="40753" y="51770"/>
                    </a:cubicBezTo>
                    <a:cubicBezTo>
                      <a:pt x="41380" y="56387"/>
                      <a:pt x="36422" y="59635"/>
                      <a:pt x="32147" y="61630"/>
                    </a:cubicBezTo>
                    <a:cubicBezTo>
                      <a:pt x="25592" y="64651"/>
                      <a:pt x="23655" y="70521"/>
                      <a:pt x="18696" y="75822"/>
                    </a:cubicBezTo>
                    <a:cubicBezTo>
                      <a:pt x="13737" y="81122"/>
                      <a:pt x="7639" y="82661"/>
                      <a:pt x="5245" y="88418"/>
                    </a:cubicBezTo>
                    <a:cubicBezTo>
                      <a:pt x="2453" y="95257"/>
                      <a:pt x="7468" y="103635"/>
                      <a:pt x="3992" y="110133"/>
                    </a:cubicBezTo>
                    <a:cubicBezTo>
                      <a:pt x="2510" y="112925"/>
                      <a:pt x="-454" y="115376"/>
                      <a:pt x="59" y="118454"/>
                    </a:cubicBezTo>
                    <a:cubicBezTo>
                      <a:pt x="315" y="119434"/>
                      <a:pt x="783" y="120346"/>
                      <a:pt x="1427" y="121133"/>
                    </a:cubicBezTo>
                    <a:cubicBezTo>
                      <a:pt x="5701" y="127214"/>
                      <a:pt x="12039" y="131528"/>
                      <a:pt x="19266" y="133272"/>
                    </a:cubicBezTo>
                    <a:cubicBezTo>
                      <a:pt x="22800" y="134127"/>
                      <a:pt x="26504" y="134355"/>
                      <a:pt x="29924" y="135552"/>
                    </a:cubicBezTo>
                    <a:cubicBezTo>
                      <a:pt x="35624" y="137547"/>
                      <a:pt x="40753" y="142220"/>
                      <a:pt x="47023" y="143474"/>
                    </a:cubicBezTo>
                    <a:cubicBezTo>
                      <a:pt x="53127" y="144056"/>
                      <a:pt x="59265" y="142910"/>
                      <a:pt x="64748" y="140169"/>
                    </a:cubicBezTo>
                    <a:cubicBezTo>
                      <a:pt x="72243" y="137621"/>
                      <a:pt x="79464" y="134315"/>
                      <a:pt x="86292" y="130309"/>
                    </a:cubicBezTo>
                    <a:cubicBezTo>
                      <a:pt x="88914" y="128656"/>
                      <a:pt x="91421" y="126718"/>
                      <a:pt x="94100" y="125179"/>
                    </a:cubicBezTo>
                    <a:cubicBezTo>
                      <a:pt x="107608" y="117941"/>
                      <a:pt x="124199" y="119947"/>
                      <a:pt x="135592" y="130195"/>
                    </a:cubicBezTo>
                    <a:cubicBezTo>
                      <a:pt x="141976" y="136179"/>
                      <a:pt x="146137" y="144557"/>
                      <a:pt x="153603" y="149231"/>
                    </a:cubicBezTo>
                    <a:cubicBezTo>
                      <a:pt x="156538" y="150627"/>
                      <a:pt x="159188" y="152559"/>
                      <a:pt x="161411" y="154930"/>
                    </a:cubicBezTo>
                    <a:cubicBezTo>
                      <a:pt x="162876" y="157883"/>
                      <a:pt x="164038" y="160978"/>
                      <a:pt x="164888" y="164163"/>
                    </a:cubicBezTo>
                    <a:cubicBezTo>
                      <a:pt x="165811" y="165970"/>
                      <a:pt x="167002" y="167623"/>
                      <a:pt x="168421" y="169065"/>
                    </a:cubicBezTo>
                    <a:lnTo>
                      <a:pt x="168421" y="169065"/>
                    </a:lnTo>
                    <a:cubicBezTo>
                      <a:pt x="167173" y="171316"/>
                      <a:pt x="166324" y="173767"/>
                      <a:pt x="165914" y="176303"/>
                    </a:cubicBezTo>
                    <a:cubicBezTo>
                      <a:pt x="165885" y="178407"/>
                      <a:pt x="165497" y="180487"/>
                      <a:pt x="164774" y="182459"/>
                    </a:cubicBezTo>
                    <a:cubicBezTo>
                      <a:pt x="162494" y="186676"/>
                      <a:pt x="156111" y="186563"/>
                      <a:pt x="152748" y="189982"/>
                    </a:cubicBezTo>
                    <a:cubicBezTo>
                      <a:pt x="151779" y="191008"/>
                      <a:pt x="151095" y="192262"/>
                      <a:pt x="150126" y="193231"/>
                    </a:cubicBezTo>
                    <a:cubicBezTo>
                      <a:pt x="148411" y="194593"/>
                      <a:pt x="146484" y="195670"/>
                      <a:pt x="144426" y="196423"/>
                    </a:cubicBezTo>
                    <a:cubicBezTo>
                      <a:pt x="140802" y="198207"/>
                      <a:pt x="137713" y="200919"/>
                      <a:pt x="135478" y="204288"/>
                    </a:cubicBezTo>
                    <a:cubicBezTo>
                      <a:pt x="133825" y="206796"/>
                      <a:pt x="132914" y="210557"/>
                      <a:pt x="135478" y="212552"/>
                    </a:cubicBezTo>
                    <a:cubicBezTo>
                      <a:pt x="136390" y="213219"/>
                      <a:pt x="137445" y="213669"/>
                      <a:pt x="138556" y="213863"/>
                    </a:cubicBezTo>
                    <a:lnTo>
                      <a:pt x="147960" y="216086"/>
                    </a:lnTo>
                    <a:cubicBezTo>
                      <a:pt x="147573" y="215117"/>
                      <a:pt x="147721" y="214011"/>
                      <a:pt x="148359" y="213179"/>
                    </a:cubicBezTo>
                    <a:cubicBezTo>
                      <a:pt x="153346" y="214741"/>
                      <a:pt x="158652" y="211965"/>
                      <a:pt x="160220" y="206984"/>
                    </a:cubicBezTo>
                    <a:cubicBezTo>
                      <a:pt x="160368" y="206493"/>
                      <a:pt x="160482" y="205992"/>
                      <a:pt x="160556" y="205485"/>
                    </a:cubicBezTo>
                    <a:cubicBezTo>
                      <a:pt x="166825" y="199785"/>
                      <a:pt x="172810" y="193459"/>
                      <a:pt x="178623" y="187075"/>
                    </a:cubicBezTo>
                    <a:cubicBezTo>
                      <a:pt x="182670" y="182630"/>
                      <a:pt x="186660" y="178184"/>
                      <a:pt x="190478" y="173511"/>
                    </a:cubicBezTo>
                    <a:cubicBezTo>
                      <a:pt x="196508" y="172593"/>
                      <a:pt x="202658" y="172946"/>
                      <a:pt x="208545" y="174537"/>
                    </a:cubicBezTo>
                    <a:cubicBezTo>
                      <a:pt x="210945" y="174867"/>
                      <a:pt x="213054" y="176298"/>
                      <a:pt x="214245" y="178412"/>
                    </a:cubicBezTo>
                    <a:cubicBezTo>
                      <a:pt x="215043" y="180407"/>
                      <a:pt x="214245" y="182744"/>
                      <a:pt x="214872" y="184796"/>
                    </a:cubicBezTo>
                    <a:cubicBezTo>
                      <a:pt x="216114" y="187167"/>
                      <a:pt x="218434" y="188780"/>
                      <a:pt x="221084" y="189127"/>
                    </a:cubicBezTo>
                    <a:cubicBezTo>
                      <a:pt x="229816" y="191378"/>
                      <a:pt x="238969" y="191378"/>
                      <a:pt x="247701" y="189127"/>
                    </a:cubicBezTo>
                    <a:cubicBezTo>
                      <a:pt x="249354" y="192775"/>
                      <a:pt x="251064" y="196480"/>
                      <a:pt x="252716" y="200184"/>
                    </a:cubicBezTo>
                    <a:cubicBezTo>
                      <a:pt x="243512" y="199717"/>
                      <a:pt x="234467" y="202703"/>
                      <a:pt x="227354" y="208562"/>
                    </a:cubicBezTo>
                    <a:cubicBezTo>
                      <a:pt x="225923" y="209583"/>
                      <a:pt x="224829" y="211013"/>
                      <a:pt x="224219" y="212666"/>
                    </a:cubicBezTo>
                    <a:cubicBezTo>
                      <a:pt x="223763" y="215960"/>
                      <a:pt x="225849" y="219066"/>
                      <a:pt x="229064" y="219904"/>
                    </a:cubicBezTo>
                    <a:cubicBezTo>
                      <a:pt x="232164" y="220702"/>
                      <a:pt x="235419" y="220702"/>
                      <a:pt x="238525" y="219904"/>
                    </a:cubicBezTo>
                    <a:cubicBezTo>
                      <a:pt x="243370" y="226539"/>
                      <a:pt x="244156" y="235310"/>
                      <a:pt x="240576" y="242702"/>
                    </a:cubicBezTo>
                    <a:cubicBezTo>
                      <a:pt x="251975" y="246179"/>
                      <a:pt x="263716" y="238941"/>
                      <a:pt x="272722" y="231303"/>
                    </a:cubicBezTo>
                    <a:cubicBezTo>
                      <a:pt x="275133" y="228750"/>
                      <a:pt x="278244" y="226966"/>
                      <a:pt x="281670" y="226174"/>
                    </a:cubicBezTo>
                    <a:cubicBezTo>
                      <a:pt x="285340" y="226328"/>
                      <a:pt x="288954" y="227160"/>
                      <a:pt x="292328" y="228625"/>
                    </a:cubicBezTo>
                    <a:cubicBezTo>
                      <a:pt x="296791" y="229964"/>
                      <a:pt x="301624" y="228932"/>
                      <a:pt x="305152" y="225889"/>
                    </a:cubicBezTo>
                    <a:cubicBezTo>
                      <a:pt x="308503" y="222492"/>
                      <a:pt x="308503" y="217032"/>
                      <a:pt x="305152" y="213635"/>
                    </a:cubicBezTo>
                    <a:cubicBezTo>
                      <a:pt x="300148" y="215151"/>
                      <a:pt x="294864" y="215504"/>
                      <a:pt x="289706" y="214661"/>
                    </a:cubicBezTo>
                    <a:cubicBezTo>
                      <a:pt x="284445" y="213624"/>
                      <a:pt x="280564" y="209132"/>
                      <a:pt x="280302" y="203775"/>
                    </a:cubicBezTo>
                    <a:cubicBezTo>
                      <a:pt x="275241" y="203256"/>
                      <a:pt x="270516" y="200976"/>
                      <a:pt x="266965" y="197334"/>
                    </a:cubicBezTo>
                    <a:cubicBezTo>
                      <a:pt x="272380" y="188329"/>
                      <a:pt x="279618" y="178241"/>
                      <a:pt x="290105" y="178013"/>
                    </a:cubicBezTo>
                    <a:cubicBezTo>
                      <a:pt x="292670" y="178013"/>
                      <a:pt x="295178" y="178583"/>
                      <a:pt x="297742" y="178697"/>
                    </a:cubicBezTo>
                    <a:cubicBezTo>
                      <a:pt x="314841" y="179609"/>
                      <a:pt x="327323" y="161941"/>
                      <a:pt x="343338" y="156640"/>
                    </a:cubicBezTo>
                    <a:cubicBezTo>
                      <a:pt x="344324" y="153397"/>
                      <a:pt x="346769" y="150804"/>
                      <a:pt x="349949" y="149630"/>
                    </a:cubicBezTo>
                    <a:cubicBezTo>
                      <a:pt x="351602" y="149060"/>
                      <a:pt x="353540" y="148946"/>
                      <a:pt x="354680" y="147635"/>
                    </a:cubicBezTo>
                    <a:cubicBezTo>
                      <a:pt x="355820" y="146324"/>
                      <a:pt x="355649" y="144614"/>
                      <a:pt x="356390" y="143247"/>
                    </a:cubicBezTo>
                    <a:cubicBezTo>
                      <a:pt x="358157" y="139713"/>
                      <a:pt x="363172" y="140226"/>
                      <a:pt x="367162" y="140340"/>
                    </a:cubicBezTo>
                    <a:cubicBezTo>
                      <a:pt x="371311" y="140591"/>
                      <a:pt x="375398" y="139223"/>
                      <a:pt x="378561" y="136521"/>
                    </a:cubicBezTo>
                    <a:cubicBezTo>
                      <a:pt x="381753" y="133643"/>
                      <a:pt x="382676" y="129009"/>
                      <a:pt x="380841" y="125122"/>
                    </a:cubicBezTo>
                    <a:cubicBezTo>
                      <a:pt x="379929" y="123469"/>
                      <a:pt x="378390" y="122158"/>
                      <a:pt x="377592" y="120392"/>
                    </a:cubicBezTo>
                    <a:cubicBezTo>
                      <a:pt x="375312" y="115262"/>
                      <a:pt x="380214" y="110019"/>
                      <a:pt x="383292" y="105231"/>
                    </a:cubicBezTo>
                    <a:cubicBezTo>
                      <a:pt x="386540" y="99645"/>
                      <a:pt x="386768" y="90925"/>
                      <a:pt x="381069" y="87620"/>
                    </a:cubicBezTo>
                    <a:close/>
                    <a:moveTo>
                      <a:pt x="171727" y="172371"/>
                    </a:moveTo>
                    <a:cubicBezTo>
                      <a:pt x="172656" y="173397"/>
                      <a:pt x="173494" y="174502"/>
                      <a:pt x="174235" y="175677"/>
                    </a:cubicBezTo>
                    <a:cubicBezTo>
                      <a:pt x="173494" y="174502"/>
                      <a:pt x="172656" y="173397"/>
                      <a:pt x="171727" y="172371"/>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39" name="Freihandform: Form 733">
                <a:extLst>
                  <a:ext uri="{FF2B5EF4-FFF2-40B4-BE49-F238E27FC236}">
                    <a16:creationId xmlns:a16="http://schemas.microsoft.com/office/drawing/2014/main" id="{E46D6BB9-5602-5F9D-952C-BE6D4EA34BB3}"/>
                  </a:ext>
                </a:extLst>
              </p:cNvPr>
              <p:cNvSpPr/>
              <p:nvPr/>
            </p:nvSpPr>
            <p:spPr>
              <a:xfrm>
                <a:off x="4343344" y="3001392"/>
                <a:ext cx="75119" cy="87834"/>
              </a:xfrm>
              <a:custGeom>
                <a:avLst/>
                <a:gdLst>
                  <a:gd name="connsiteX0" fmla="*/ 2337 w 75119"/>
                  <a:gd name="connsiteY0" fmla="*/ 6251 h 87834"/>
                  <a:gd name="connsiteX1" fmla="*/ 0 w 75119"/>
                  <a:gd name="connsiteY1" fmla="*/ 4883 h 87834"/>
                  <a:gd name="connsiteX2" fmla="*/ 798 w 75119"/>
                  <a:gd name="connsiteY2" fmla="*/ 4313 h 87834"/>
                  <a:gd name="connsiteX3" fmla="*/ 42290 w 75119"/>
                  <a:gd name="connsiteY3" fmla="*/ 9328 h 87834"/>
                  <a:gd name="connsiteX4" fmla="*/ 60300 w 75119"/>
                  <a:gd name="connsiteY4" fmla="*/ 28365 h 87834"/>
                  <a:gd name="connsiteX5" fmla="*/ 68108 w 75119"/>
                  <a:gd name="connsiteY5" fmla="*/ 34064 h 87834"/>
                  <a:gd name="connsiteX6" fmla="*/ 71585 w 75119"/>
                  <a:gd name="connsiteY6" fmla="*/ 43297 h 87834"/>
                  <a:gd name="connsiteX7" fmla="*/ 75119 w 75119"/>
                  <a:gd name="connsiteY7" fmla="*/ 48199 h 87834"/>
                  <a:gd name="connsiteX8" fmla="*/ 72611 w 75119"/>
                  <a:gd name="connsiteY8" fmla="*/ 55437 h 87834"/>
                  <a:gd name="connsiteX9" fmla="*/ 71471 w 75119"/>
                  <a:gd name="connsiteY9" fmla="*/ 61593 h 87834"/>
                  <a:gd name="connsiteX10" fmla="*/ 59445 w 75119"/>
                  <a:gd name="connsiteY10" fmla="*/ 69116 h 87834"/>
                  <a:gd name="connsiteX11" fmla="*/ 56824 w 75119"/>
                  <a:gd name="connsiteY11" fmla="*/ 72364 h 87834"/>
                  <a:gd name="connsiteX12" fmla="*/ 51124 w 75119"/>
                  <a:gd name="connsiteY12" fmla="*/ 75556 h 87834"/>
                  <a:gd name="connsiteX13" fmla="*/ 42176 w 75119"/>
                  <a:gd name="connsiteY13" fmla="*/ 83421 h 87834"/>
                  <a:gd name="connsiteX14" fmla="*/ 40580 w 75119"/>
                  <a:gd name="connsiteY14" fmla="*/ 87753 h 87834"/>
                  <a:gd name="connsiteX15" fmla="*/ 40580 w 75119"/>
                  <a:gd name="connsiteY15" fmla="*/ 87753 h 87834"/>
                  <a:gd name="connsiteX16" fmla="*/ 33798 w 75119"/>
                  <a:gd name="connsiteY16" fmla="*/ 86556 h 87834"/>
                  <a:gd name="connsiteX17" fmla="*/ 29922 w 75119"/>
                  <a:gd name="connsiteY17" fmla="*/ 75499 h 87834"/>
                  <a:gd name="connsiteX18" fmla="*/ 29922 w 75119"/>
                  <a:gd name="connsiteY18" fmla="*/ 50649 h 87834"/>
                  <a:gd name="connsiteX19" fmla="*/ 29238 w 75119"/>
                  <a:gd name="connsiteY19" fmla="*/ 45463 h 87834"/>
                  <a:gd name="connsiteX20" fmla="*/ 26673 w 75119"/>
                  <a:gd name="connsiteY20" fmla="*/ 41587 h 87834"/>
                  <a:gd name="connsiteX21" fmla="*/ 17155 w 75119"/>
                  <a:gd name="connsiteY21" fmla="*/ 30188 h 87834"/>
                  <a:gd name="connsiteX22" fmla="*/ 14704 w 75119"/>
                  <a:gd name="connsiteY22" fmla="*/ 26085 h 87834"/>
                  <a:gd name="connsiteX23" fmla="*/ 14704 w 75119"/>
                  <a:gd name="connsiteY23" fmla="*/ 21297 h 87834"/>
                  <a:gd name="connsiteX24" fmla="*/ 2337 w 75119"/>
                  <a:gd name="connsiteY24" fmla="*/ 6251 h 8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119" h="87834">
                    <a:moveTo>
                      <a:pt x="2337" y="6251"/>
                    </a:moveTo>
                    <a:lnTo>
                      <a:pt x="0" y="4883"/>
                    </a:lnTo>
                    <a:lnTo>
                      <a:pt x="798" y="4313"/>
                    </a:lnTo>
                    <a:cubicBezTo>
                      <a:pt x="14306" y="-2926"/>
                      <a:pt x="30897" y="-919"/>
                      <a:pt x="42290" y="9328"/>
                    </a:cubicBezTo>
                    <a:cubicBezTo>
                      <a:pt x="48673" y="15313"/>
                      <a:pt x="52834" y="23691"/>
                      <a:pt x="60300" y="28365"/>
                    </a:cubicBezTo>
                    <a:cubicBezTo>
                      <a:pt x="63235" y="29761"/>
                      <a:pt x="65886" y="31693"/>
                      <a:pt x="68108" y="34064"/>
                    </a:cubicBezTo>
                    <a:cubicBezTo>
                      <a:pt x="69573" y="37016"/>
                      <a:pt x="70736" y="40111"/>
                      <a:pt x="71585" y="43297"/>
                    </a:cubicBezTo>
                    <a:cubicBezTo>
                      <a:pt x="72509" y="45104"/>
                      <a:pt x="73700" y="46757"/>
                      <a:pt x="75119" y="48199"/>
                    </a:cubicBezTo>
                    <a:cubicBezTo>
                      <a:pt x="73871" y="50450"/>
                      <a:pt x="73021" y="52895"/>
                      <a:pt x="72611" y="55437"/>
                    </a:cubicBezTo>
                    <a:cubicBezTo>
                      <a:pt x="72577" y="57540"/>
                      <a:pt x="72195" y="59620"/>
                      <a:pt x="71471" y="61593"/>
                    </a:cubicBezTo>
                    <a:cubicBezTo>
                      <a:pt x="69191" y="65810"/>
                      <a:pt x="62808" y="65696"/>
                      <a:pt x="59445" y="69116"/>
                    </a:cubicBezTo>
                    <a:cubicBezTo>
                      <a:pt x="58477" y="70142"/>
                      <a:pt x="57792" y="71396"/>
                      <a:pt x="56824" y="72364"/>
                    </a:cubicBezTo>
                    <a:cubicBezTo>
                      <a:pt x="55108" y="73727"/>
                      <a:pt x="53182" y="74804"/>
                      <a:pt x="51124" y="75556"/>
                    </a:cubicBezTo>
                    <a:cubicBezTo>
                      <a:pt x="47499" y="77340"/>
                      <a:pt x="44410" y="80053"/>
                      <a:pt x="42176" y="83421"/>
                    </a:cubicBezTo>
                    <a:cubicBezTo>
                      <a:pt x="41310" y="84721"/>
                      <a:pt x="40768" y="86203"/>
                      <a:pt x="40580" y="87753"/>
                    </a:cubicBezTo>
                    <a:lnTo>
                      <a:pt x="40580" y="87753"/>
                    </a:lnTo>
                    <a:cubicBezTo>
                      <a:pt x="38249" y="88027"/>
                      <a:pt x="35895" y="87611"/>
                      <a:pt x="33798" y="86556"/>
                    </a:cubicBezTo>
                    <a:cubicBezTo>
                      <a:pt x="30321" y="84390"/>
                      <a:pt x="29922" y="79603"/>
                      <a:pt x="29922" y="75499"/>
                    </a:cubicBezTo>
                    <a:lnTo>
                      <a:pt x="29922" y="50649"/>
                    </a:lnTo>
                    <a:cubicBezTo>
                      <a:pt x="30042" y="48894"/>
                      <a:pt x="29808" y="47127"/>
                      <a:pt x="29238" y="45463"/>
                    </a:cubicBezTo>
                    <a:cubicBezTo>
                      <a:pt x="28594" y="44044"/>
                      <a:pt x="27728" y="42733"/>
                      <a:pt x="26673" y="41587"/>
                    </a:cubicBezTo>
                    <a:lnTo>
                      <a:pt x="17155" y="30188"/>
                    </a:lnTo>
                    <a:cubicBezTo>
                      <a:pt x="16021" y="29037"/>
                      <a:pt x="15183" y="27629"/>
                      <a:pt x="14704" y="26085"/>
                    </a:cubicBezTo>
                    <a:cubicBezTo>
                      <a:pt x="14539" y="24495"/>
                      <a:pt x="14539" y="22887"/>
                      <a:pt x="14704" y="21297"/>
                    </a:cubicBezTo>
                    <a:cubicBezTo>
                      <a:pt x="14990" y="14458"/>
                      <a:pt x="8264" y="9670"/>
                      <a:pt x="2337" y="625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0" name="Freihandform: Form 734">
                <a:extLst>
                  <a:ext uri="{FF2B5EF4-FFF2-40B4-BE49-F238E27FC236}">
                    <a16:creationId xmlns:a16="http://schemas.microsoft.com/office/drawing/2014/main" id="{6AA97CB6-7938-77BB-F6FC-5EE54C72D67F}"/>
                  </a:ext>
                </a:extLst>
              </p:cNvPr>
              <p:cNvSpPr/>
              <p:nvPr/>
            </p:nvSpPr>
            <p:spPr>
              <a:xfrm>
                <a:off x="4216345" y="3006331"/>
                <a:ext cx="190284" cy="138434"/>
              </a:xfrm>
              <a:custGeom>
                <a:avLst/>
                <a:gdLst>
                  <a:gd name="connsiteX0" fmla="*/ 47606 w 190284"/>
                  <a:gd name="connsiteY0" fmla="*/ 5414 h 138434"/>
                  <a:gd name="connsiteX1" fmla="*/ 53020 w 190284"/>
                  <a:gd name="connsiteY1" fmla="*/ 7238 h 138434"/>
                  <a:gd name="connsiteX2" fmla="*/ 63678 w 190284"/>
                  <a:gd name="connsiteY2" fmla="*/ 9518 h 138434"/>
                  <a:gd name="connsiteX3" fmla="*/ 80776 w 190284"/>
                  <a:gd name="connsiteY3" fmla="*/ 17440 h 138434"/>
                  <a:gd name="connsiteX4" fmla="*/ 98388 w 190284"/>
                  <a:gd name="connsiteY4" fmla="*/ 14420 h 138434"/>
                  <a:gd name="connsiteX5" fmla="*/ 119932 w 190284"/>
                  <a:gd name="connsiteY5" fmla="*/ 4560 h 138434"/>
                  <a:gd name="connsiteX6" fmla="*/ 126942 w 190284"/>
                  <a:gd name="connsiteY6" fmla="*/ 0 h 138434"/>
                  <a:gd name="connsiteX7" fmla="*/ 129279 w 190284"/>
                  <a:gd name="connsiteY7" fmla="*/ 1368 h 138434"/>
                  <a:gd name="connsiteX8" fmla="*/ 141704 w 190284"/>
                  <a:gd name="connsiteY8" fmla="*/ 16415 h 138434"/>
                  <a:gd name="connsiteX9" fmla="*/ 141704 w 190284"/>
                  <a:gd name="connsiteY9" fmla="*/ 21202 h 138434"/>
                  <a:gd name="connsiteX10" fmla="*/ 144155 w 190284"/>
                  <a:gd name="connsiteY10" fmla="*/ 25306 h 138434"/>
                  <a:gd name="connsiteX11" fmla="*/ 153673 w 190284"/>
                  <a:gd name="connsiteY11" fmla="*/ 36705 h 138434"/>
                  <a:gd name="connsiteX12" fmla="*/ 156238 w 190284"/>
                  <a:gd name="connsiteY12" fmla="*/ 40580 h 138434"/>
                  <a:gd name="connsiteX13" fmla="*/ 156922 w 190284"/>
                  <a:gd name="connsiteY13" fmla="*/ 45767 h 138434"/>
                  <a:gd name="connsiteX14" fmla="*/ 156922 w 190284"/>
                  <a:gd name="connsiteY14" fmla="*/ 70616 h 138434"/>
                  <a:gd name="connsiteX15" fmla="*/ 160797 w 190284"/>
                  <a:gd name="connsiteY15" fmla="*/ 81673 h 138434"/>
                  <a:gd name="connsiteX16" fmla="*/ 167580 w 190284"/>
                  <a:gd name="connsiteY16" fmla="*/ 82870 h 138434"/>
                  <a:gd name="connsiteX17" fmla="*/ 167580 w 190284"/>
                  <a:gd name="connsiteY17" fmla="*/ 82870 h 138434"/>
                  <a:gd name="connsiteX18" fmla="*/ 168890 w 190284"/>
                  <a:gd name="connsiteY18" fmla="*/ 86803 h 138434"/>
                  <a:gd name="connsiteX19" fmla="*/ 171968 w 190284"/>
                  <a:gd name="connsiteY19" fmla="*/ 88114 h 138434"/>
                  <a:gd name="connsiteX20" fmla="*/ 181372 w 190284"/>
                  <a:gd name="connsiteY20" fmla="*/ 90337 h 138434"/>
                  <a:gd name="connsiteX21" fmla="*/ 184279 w 190284"/>
                  <a:gd name="connsiteY21" fmla="*/ 93756 h 138434"/>
                  <a:gd name="connsiteX22" fmla="*/ 189978 w 190284"/>
                  <a:gd name="connsiteY22" fmla="*/ 98487 h 138434"/>
                  <a:gd name="connsiteX23" fmla="*/ 183937 w 190284"/>
                  <a:gd name="connsiteY23" fmla="*/ 106751 h 138434"/>
                  <a:gd name="connsiteX24" fmla="*/ 173450 w 190284"/>
                  <a:gd name="connsiteY24" fmla="*/ 111026 h 138434"/>
                  <a:gd name="connsiteX25" fmla="*/ 170429 w 190284"/>
                  <a:gd name="connsiteY25" fmla="*/ 119575 h 138434"/>
                  <a:gd name="connsiteX26" fmla="*/ 165585 w 190284"/>
                  <a:gd name="connsiteY26" fmla="*/ 135305 h 138434"/>
                  <a:gd name="connsiteX27" fmla="*/ 144952 w 190284"/>
                  <a:gd name="connsiteY27" fmla="*/ 125787 h 138434"/>
                  <a:gd name="connsiteX28" fmla="*/ 138569 w 190284"/>
                  <a:gd name="connsiteY28" fmla="*/ 125103 h 138434"/>
                  <a:gd name="connsiteX29" fmla="*/ 136460 w 190284"/>
                  <a:gd name="connsiteY29" fmla="*/ 126756 h 138434"/>
                  <a:gd name="connsiteX30" fmla="*/ 132927 w 190284"/>
                  <a:gd name="connsiteY30" fmla="*/ 127326 h 138434"/>
                  <a:gd name="connsiteX31" fmla="*/ 122838 w 190284"/>
                  <a:gd name="connsiteY31" fmla="*/ 127326 h 138434"/>
                  <a:gd name="connsiteX32" fmla="*/ 118279 w 190284"/>
                  <a:gd name="connsiteY32" fmla="*/ 127782 h 138434"/>
                  <a:gd name="connsiteX33" fmla="*/ 112579 w 190284"/>
                  <a:gd name="connsiteY33" fmla="*/ 132456 h 138434"/>
                  <a:gd name="connsiteX34" fmla="*/ 92916 w 190284"/>
                  <a:gd name="connsiteY34" fmla="*/ 137585 h 138434"/>
                  <a:gd name="connsiteX35" fmla="*/ 67440 w 190284"/>
                  <a:gd name="connsiteY35" fmla="*/ 138326 h 138434"/>
                  <a:gd name="connsiteX36" fmla="*/ 57067 w 190284"/>
                  <a:gd name="connsiteY36" fmla="*/ 137072 h 138434"/>
                  <a:gd name="connsiteX37" fmla="*/ 51367 w 190284"/>
                  <a:gd name="connsiteY37" fmla="*/ 133767 h 138434"/>
                  <a:gd name="connsiteX38" fmla="*/ 42761 w 190284"/>
                  <a:gd name="connsiteY38" fmla="*/ 129720 h 138434"/>
                  <a:gd name="connsiteX39" fmla="*/ 37688 w 190284"/>
                  <a:gd name="connsiteY39" fmla="*/ 116440 h 138434"/>
                  <a:gd name="connsiteX40" fmla="*/ 15518 w 190284"/>
                  <a:gd name="connsiteY40" fmla="*/ 102420 h 138434"/>
                  <a:gd name="connsiteX41" fmla="*/ 13067 w 190284"/>
                  <a:gd name="connsiteY41" fmla="*/ 100254 h 138434"/>
                  <a:gd name="connsiteX42" fmla="*/ 13067 w 190284"/>
                  <a:gd name="connsiteY42" fmla="*/ 92844 h 138434"/>
                  <a:gd name="connsiteX43" fmla="*/ 8393 w 190284"/>
                  <a:gd name="connsiteY43" fmla="*/ 85606 h 138434"/>
                  <a:gd name="connsiteX44" fmla="*/ 984 w 190284"/>
                  <a:gd name="connsiteY44" fmla="*/ 75518 h 138434"/>
                  <a:gd name="connsiteX45" fmla="*/ 2580 w 190284"/>
                  <a:gd name="connsiteY45" fmla="*/ 63663 h 138434"/>
                  <a:gd name="connsiteX46" fmla="*/ 9077 w 190284"/>
                  <a:gd name="connsiteY46" fmla="*/ 58420 h 138434"/>
                  <a:gd name="connsiteX47" fmla="*/ 14777 w 190284"/>
                  <a:gd name="connsiteY47" fmla="*/ 45824 h 138434"/>
                  <a:gd name="connsiteX48" fmla="*/ 22414 w 190284"/>
                  <a:gd name="connsiteY48" fmla="*/ 39611 h 138434"/>
                  <a:gd name="connsiteX49" fmla="*/ 26233 w 190284"/>
                  <a:gd name="connsiteY49" fmla="*/ 32373 h 138434"/>
                  <a:gd name="connsiteX50" fmla="*/ 47606 w 190284"/>
                  <a:gd name="connsiteY50" fmla="*/ 5414 h 138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0284" h="138434">
                    <a:moveTo>
                      <a:pt x="47606" y="5414"/>
                    </a:moveTo>
                    <a:cubicBezTo>
                      <a:pt x="49350" y="6190"/>
                      <a:pt x="51162" y="6805"/>
                      <a:pt x="53020" y="7238"/>
                    </a:cubicBezTo>
                    <a:cubicBezTo>
                      <a:pt x="56554" y="8093"/>
                      <a:pt x="60258" y="8321"/>
                      <a:pt x="63678" y="9518"/>
                    </a:cubicBezTo>
                    <a:cubicBezTo>
                      <a:pt x="69377" y="11513"/>
                      <a:pt x="74507" y="16186"/>
                      <a:pt x="80776" y="17440"/>
                    </a:cubicBezTo>
                    <a:cubicBezTo>
                      <a:pt x="86812" y="18090"/>
                      <a:pt x="92911" y="17041"/>
                      <a:pt x="98388" y="14420"/>
                    </a:cubicBezTo>
                    <a:cubicBezTo>
                      <a:pt x="105883" y="11872"/>
                      <a:pt x="113104" y="8566"/>
                      <a:pt x="119932" y="4560"/>
                    </a:cubicBezTo>
                    <a:cubicBezTo>
                      <a:pt x="122269" y="3078"/>
                      <a:pt x="124549" y="1425"/>
                      <a:pt x="126942" y="0"/>
                    </a:cubicBezTo>
                    <a:lnTo>
                      <a:pt x="129279" y="1368"/>
                    </a:lnTo>
                    <a:cubicBezTo>
                      <a:pt x="134978" y="4788"/>
                      <a:pt x="141932" y="9575"/>
                      <a:pt x="141704" y="16415"/>
                    </a:cubicBezTo>
                    <a:cubicBezTo>
                      <a:pt x="141533" y="18005"/>
                      <a:pt x="141533" y="19612"/>
                      <a:pt x="141704" y="21202"/>
                    </a:cubicBezTo>
                    <a:cubicBezTo>
                      <a:pt x="142183" y="22747"/>
                      <a:pt x="143020" y="24154"/>
                      <a:pt x="144155" y="25306"/>
                    </a:cubicBezTo>
                    <a:lnTo>
                      <a:pt x="153673" y="36705"/>
                    </a:lnTo>
                    <a:cubicBezTo>
                      <a:pt x="154727" y="37850"/>
                      <a:pt x="155593" y="39161"/>
                      <a:pt x="156238" y="40580"/>
                    </a:cubicBezTo>
                    <a:cubicBezTo>
                      <a:pt x="156807" y="42244"/>
                      <a:pt x="157041" y="44011"/>
                      <a:pt x="156922" y="45767"/>
                    </a:cubicBezTo>
                    <a:lnTo>
                      <a:pt x="156922" y="70616"/>
                    </a:lnTo>
                    <a:cubicBezTo>
                      <a:pt x="156922" y="74720"/>
                      <a:pt x="157321" y="79508"/>
                      <a:pt x="160797" y="81673"/>
                    </a:cubicBezTo>
                    <a:cubicBezTo>
                      <a:pt x="162894" y="82728"/>
                      <a:pt x="165248" y="83144"/>
                      <a:pt x="167580" y="82870"/>
                    </a:cubicBezTo>
                    <a:lnTo>
                      <a:pt x="167580" y="82870"/>
                    </a:lnTo>
                    <a:cubicBezTo>
                      <a:pt x="167317" y="84318"/>
                      <a:pt x="167813" y="85800"/>
                      <a:pt x="168890" y="86803"/>
                    </a:cubicBezTo>
                    <a:cubicBezTo>
                      <a:pt x="169802" y="87470"/>
                      <a:pt x="170857" y="87920"/>
                      <a:pt x="171968" y="88114"/>
                    </a:cubicBezTo>
                    <a:lnTo>
                      <a:pt x="181372" y="90337"/>
                    </a:lnTo>
                    <a:cubicBezTo>
                      <a:pt x="181976" y="91744"/>
                      <a:pt x="182991" y="92936"/>
                      <a:pt x="184279" y="93756"/>
                    </a:cubicBezTo>
                    <a:cubicBezTo>
                      <a:pt x="186502" y="95067"/>
                      <a:pt x="189295" y="96093"/>
                      <a:pt x="189978" y="98487"/>
                    </a:cubicBezTo>
                    <a:cubicBezTo>
                      <a:pt x="191403" y="102078"/>
                      <a:pt x="187585" y="105554"/>
                      <a:pt x="183937" y="106751"/>
                    </a:cubicBezTo>
                    <a:cubicBezTo>
                      <a:pt x="180141" y="107293"/>
                      <a:pt x="176539" y="108757"/>
                      <a:pt x="173450" y="111026"/>
                    </a:cubicBezTo>
                    <a:cubicBezTo>
                      <a:pt x="171660" y="113539"/>
                      <a:pt x="170617" y="116497"/>
                      <a:pt x="170429" y="119575"/>
                    </a:cubicBezTo>
                    <a:cubicBezTo>
                      <a:pt x="169449" y="124995"/>
                      <a:pt x="167824" y="130273"/>
                      <a:pt x="165585" y="135305"/>
                    </a:cubicBezTo>
                    <a:lnTo>
                      <a:pt x="144952" y="125787"/>
                    </a:lnTo>
                    <a:cubicBezTo>
                      <a:pt x="143054" y="124562"/>
                      <a:pt x="140684" y="124305"/>
                      <a:pt x="138569" y="125103"/>
                    </a:cubicBezTo>
                    <a:cubicBezTo>
                      <a:pt x="137828" y="125559"/>
                      <a:pt x="137258" y="126300"/>
                      <a:pt x="136460" y="126756"/>
                    </a:cubicBezTo>
                    <a:cubicBezTo>
                      <a:pt x="135366" y="127286"/>
                      <a:pt x="134135" y="127486"/>
                      <a:pt x="132927" y="127326"/>
                    </a:cubicBezTo>
                    <a:lnTo>
                      <a:pt x="122838" y="127326"/>
                    </a:lnTo>
                    <a:cubicBezTo>
                      <a:pt x="121305" y="127189"/>
                      <a:pt x="119755" y="127343"/>
                      <a:pt x="118279" y="127782"/>
                    </a:cubicBezTo>
                    <a:cubicBezTo>
                      <a:pt x="116119" y="128996"/>
                      <a:pt x="114193" y="130575"/>
                      <a:pt x="112579" y="132456"/>
                    </a:cubicBezTo>
                    <a:cubicBezTo>
                      <a:pt x="106812" y="136383"/>
                      <a:pt x="99864" y="138195"/>
                      <a:pt x="92916" y="137585"/>
                    </a:cubicBezTo>
                    <a:lnTo>
                      <a:pt x="67440" y="138326"/>
                    </a:lnTo>
                    <a:cubicBezTo>
                      <a:pt x="63935" y="138657"/>
                      <a:pt x="60395" y="138229"/>
                      <a:pt x="57067" y="137072"/>
                    </a:cubicBezTo>
                    <a:cubicBezTo>
                      <a:pt x="55015" y="136217"/>
                      <a:pt x="53248" y="134793"/>
                      <a:pt x="51367" y="133767"/>
                    </a:cubicBezTo>
                    <a:cubicBezTo>
                      <a:pt x="48364" y="132729"/>
                      <a:pt x="45474" y="131373"/>
                      <a:pt x="42761" y="129720"/>
                    </a:cubicBezTo>
                    <a:cubicBezTo>
                      <a:pt x="39421" y="126112"/>
                      <a:pt x="37603" y="121353"/>
                      <a:pt x="37688" y="116440"/>
                    </a:cubicBezTo>
                    <a:lnTo>
                      <a:pt x="15518" y="102420"/>
                    </a:lnTo>
                    <a:cubicBezTo>
                      <a:pt x="14526" y="101918"/>
                      <a:pt x="13682" y="101177"/>
                      <a:pt x="13067" y="100254"/>
                    </a:cubicBezTo>
                    <a:cubicBezTo>
                      <a:pt x="11813" y="98088"/>
                      <a:pt x="13067" y="95352"/>
                      <a:pt x="13067" y="92844"/>
                    </a:cubicBezTo>
                    <a:cubicBezTo>
                      <a:pt x="12434" y="89949"/>
                      <a:pt x="10770" y="87379"/>
                      <a:pt x="8393" y="85606"/>
                    </a:cubicBezTo>
                    <a:cubicBezTo>
                      <a:pt x="5207" y="82836"/>
                      <a:pt x="2676" y="79388"/>
                      <a:pt x="984" y="75518"/>
                    </a:cubicBezTo>
                    <a:cubicBezTo>
                      <a:pt x="-766" y="71580"/>
                      <a:pt x="-150" y="66997"/>
                      <a:pt x="2580" y="63663"/>
                    </a:cubicBezTo>
                    <a:cubicBezTo>
                      <a:pt x="4461" y="61611"/>
                      <a:pt x="7196" y="60528"/>
                      <a:pt x="9077" y="58420"/>
                    </a:cubicBezTo>
                    <a:cubicBezTo>
                      <a:pt x="12155" y="54886"/>
                      <a:pt x="11984" y="49415"/>
                      <a:pt x="14777" y="45824"/>
                    </a:cubicBezTo>
                    <a:cubicBezTo>
                      <a:pt x="16885" y="43316"/>
                      <a:pt x="20476" y="42062"/>
                      <a:pt x="22414" y="39611"/>
                    </a:cubicBezTo>
                    <a:cubicBezTo>
                      <a:pt x="24095" y="37434"/>
                      <a:pt x="25389" y="34989"/>
                      <a:pt x="26233" y="32373"/>
                    </a:cubicBezTo>
                    <a:cubicBezTo>
                      <a:pt x="31362" y="21972"/>
                      <a:pt x="38646" y="12778"/>
                      <a:pt x="47606" y="541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1" name="Freihandform: Form 735">
                <a:extLst>
                  <a:ext uri="{FF2B5EF4-FFF2-40B4-BE49-F238E27FC236}">
                    <a16:creationId xmlns:a16="http://schemas.microsoft.com/office/drawing/2014/main" id="{ECCB1523-6D59-088E-0366-D05A2F12D6F2}"/>
                  </a:ext>
                </a:extLst>
              </p:cNvPr>
              <p:cNvSpPr/>
              <p:nvPr/>
            </p:nvSpPr>
            <p:spPr>
              <a:xfrm>
                <a:off x="4140614" y="2971381"/>
                <a:ext cx="114733" cy="49220"/>
              </a:xfrm>
              <a:custGeom>
                <a:avLst/>
                <a:gdLst>
                  <a:gd name="connsiteX0" fmla="*/ 101508 w 114733"/>
                  <a:gd name="connsiteY0" fmla="*/ 9474 h 49220"/>
                  <a:gd name="connsiteX1" fmla="*/ 114730 w 114733"/>
                  <a:gd name="connsiteY1" fmla="*/ 13805 h 49220"/>
                  <a:gd name="connsiteX2" fmla="*/ 113476 w 114733"/>
                  <a:gd name="connsiteY2" fmla="*/ 19505 h 49220"/>
                  <a:gd name="connsiteX3" fmla="*/ 109544 w 114733"/>
                  <a:gd name="connsiteY3" fmla="*/ 27826 h 49220"/>
                  <a:gd name="connsiteX4" fmla="*/ 110171 w 114733"/>
                  <a:gd name="connsiteY4" fmla="*/ 29365 h 49220"/>
                  <a:gd name="connsiteX5" fmla="*/ 95067 w 114733"/>
                  <a:gd name="connsiteY5" fmla="*/ 27256 h 49220"/>
                  <a:gd name="connsiteX6" fmla="*/ 69248 w 114733"/>
                  <a:gd name="connsiteY6" fmla="*/ 30505 h 49220"/>
                  <a:gd name="connsiteX7" fmla="*/ 57565 w 114733"/>
                  <a:gd name="connsiteY7" fmla="*/ 38313 h 49220"/>
                  <a:gd name="connsiteX8" fmla="*/ 52948 w 114733"/>
                  <a:gd name="connsiteY8" fmla="*/ 38313 h 49220"/>
                  <a:gd name="connsiteX9" fmla="*/ 42290 w 114733"/>
                  <a:gd name="connsiteY9" fmla="*/ 42816 h 49220"/>
                  <a:gd name="connsiteX10" fmla="*/ 29808 w 114733"/>
                  <a:gd name="connsiteY10" fmla="*/ 47888 h 49220"/>
                  <a:gd name="connsiteX11" fmla="*/ 12710 w 114733"/>
                  <a:gd name="connsiteY11" fmla="*/ 47546 h 49220"/>
                  <a:gd name="connsiteX12" fmla="*/ 1824 w 114733"/>
                  <a:gd name="connsiteY12" fmla="*/ 36831 h 49220"/>
                  <a:gd name="connsiteX13" fmla="*/ 0 w 114733"/>
                  <a:gd name="connsiteY13" fmla="*/ 32101 h 49220"/>
                  <a:gd name="connsiteX14" fmla="*/ 627 w 114733"/>
                  <a:gd name="connsiteY14" fmla="*/ 30220 h 49220"/>
                  <a:gd name="connsiteX15" fmla="*/ 9176 w 114733"/>
                  <a:gd name="connsiteY15" fmla="*/ 17567 h 49220"/>
                  <a:gd name="connsiteX16" fmla="*/ 17098 w 114733"/>
                  <a:gd name="connsiteY16" fmla="*/ 13634 h 49220"/>
                  <a:gd name="connsiteX17" fmla="*/ 32601 w 114733"/>
                  <a:gd name="connsiteY17" fmla="*/ 3945 h 49220"/>
                  <a:gd name="connsiteX18" fmla="*/ 58420 w 114733"/>
                  <a:gd name="connsiteY18" fmla="*/ 525 h 49220"/>
                  <a:gd name="connsiteX19" fmla="*/ 84637 w 114733"/>
                  <a:gd name="connsiteY19" fmla="*/ 4059 h 49220"/>
                  <a:gd name="connsiteX20" fmla="*/ 101508 w 114733"/>
                  <a:gd name="connsiteY20" fmla="*/ 9474 h 4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733" h="49220">
                    <a:moveTo>
                      <a:pt x="101508" y="9474"/>
                    </a:moveTo>
                    <a:cubicBezTo>
                      <a:pt x="106084" y="10346"/>
                      <a:pt x="110524" y="11805"/>
                      <a:pt x="114730" y="13805"/>
                    </a:cubicBezTo>
                    <a:cubicBezTo>
                      <a:pt x="114776" y="15777"/>
                      <a:pt x="114348" y="17732"/>
                      <a:pt x="113476" y="19505"/>
                    </a:cubicBezTo>
                    <a:cubicBezTo>
                      <a:pt x="111994" y="22297"/>
                      <a:pt x="109031" y="24748"/>
                      <a:pt x="109544" y="27826"/>
                    </a:cubicBezTo>
                    <a:cubicBezTo>
                      <a:pt x="109675" y="28367"/>
                      <a:pt x="109886" y="28886"/>
                      <a:pt x="110171" y="29365"/>
                    </a:cubicBezTo>
                    <a:cubicBezTo>
                      <a:pt x="105155" y="29023"/>
                      <a:pt x="100083" y="28054"/>
                      <a:pt x="95067" y="27256"/>
                    </a:cubicBezTo>
                    <a:cubicBezTo>
                      <a:pt x="86364" y="24976"/>
                      <a:pt x="77114" y="26139"/>
                      <a:pt x="69248" y="30505"/>
                    </a:cubicBezTo>
                    <a:cubicBezTo>
                      <a:pt x="65373" y="33240"/>
                      <a:pt x="62238" y="37572"/>
                      <a:pt x="57565" y="38313"/>
                    </a:cubicBezTo>
                    <a:cubicBezTo>
                      <a:pt x="56026" y="38313"/>
                      <a:pt x="54487" y="38313"/>
                      <a:pt x="52948" y="38313"/>
                    </a:cubicBezTo>
                    <a:cubicBezTo>
                      <a:pt x="49129" y="39088"/>
                      <a:pt x="45505" y="40621"/>
                      <a:pt x="42290" y="42816"/>
                    </a:cubicBezTo>
                    <a:cubicBezTo>
                      <a:pt x="38340" y="44987"/>
                      <a:pt x="34151" y="46685"/>
                      <a:pt x="29808" y="47888"/>
                    </a:cubicBezTo>
                    <a:cubicBezTo>
                      <a:pt x="24245" y="49775"/>
                      <a:pt x="18193" y="49655"/>
                      <a:pt x="12710" y="47546"/>
                    </a:cubicBezTo>
                    <a:cubicBezTo>
                      <a:pt x="8270" y="44902"/>
                      <a:pt x="4537" y="41225"/>
                      <a:pt x="1824" y="36831"/>
                    </a:cubicBezTo>
                    <a:cubicBezTo>
                      <a:pt x="667" y="35526"/>
                      <a:pt x="17" y="33845"/>
                      <a:pt x="0" y="32101"/>
                    </a:cubicBezTo>
                    <a:cubicBezTo>
                      <a:pt x="103" y="31445"/>
                      <a:pt x="319" y="30807"/>
                      <a:pt x="627" y="30220"/>
                    </a:cubicBezTo>
                    <a:cubicBezTo>
                      <a:pt x="2274" y="25301"/>
                      <a:pt x="5226" y="20930"/>
                      <a:pt x="9176" y="17567"/>
                    </a:cubicBezTo>
                    <a:cubicBezTo>
                      <a:pt x="11712" y="16051"/>
                      <a:pt x="14357" y="14740"/>
                      <a:pt x="17098" y="13634"/>
                    </a:cubicBezTo>
                    <a:cubicBezTo>
                      <a:pt x="22798" y="10955"/>
                      <a:pt x="27130" y="6624"/>
                      <a:pt x="32601" y="3945"/>
                    </a:cubicBezTo>
                    <a:cubicBezTo>
                      <a:pt x="40711" y="389"/>
                      <a:pt x="49665" y="-797"/>
                      <a:pt x="58420" y="525"/>
                    </a:cubicBezTo>
                    <a:cubicBezTo>
                      <a:pt x="67197" y="1380"/>
                      <a:pt x="75803" y="3489"/>
                      <a:pt x="84637" y="4059"/>
                    </a:cubicBezTo>
                    <a:cubicBezTo>
                      <a:pt x="90565" y="4230"/>
                      <a:pt x="97632" y="4344"/>
                      <a:pt x="101508" y="94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2" name="Freihandform: Form 736">
                <a:extLst>
                  <a:ext uri="{FF2B5EF4-FFF2-40B4-BE49-F238E27FC236}">
                    <a16:creationId xmlns:a16="http://schemas.microsoft.com/office/drawing/2014/main" id="{E47F9D33-340D-1B95-137C-BE474CC12558}"/>
                  </a:ext>
                </a:extLst>
              </p:cNvPr>
              <p:cNvSpPr/>
              <p:nvPr/>
            </p:nvSpPr>
            <p:spPr>
              <a:xfrm>
                <a:off x="4126368" y="2997211"/>
                <a:ext cx="137354" cy="87050"/>
              </a:xfrm>
              <a:custGeom>
                <a:avLst/>
                <a:gdLst>
                  <a:gd name="connsiteX0" fmla="*/ 6324 w 137354"/>
                  <a:gd name="connsiteY0" fmla="*/ 32032 h 87050"/>
                  <a:gd name="connsiteX1" fmla="*/ 24220 w 137354"/>
                  <a:gd name="connsiteY1" fmla="*/ 19835 h 87050"/>
                  <a:gd name="connsiteX2" fmla="*/ 26728 w 137354"/>
                  <a:gd name="connsiteY2" fmla="*/ 21431 h 87050"/>
                  <a:gd name="connsiteX3" fmla="*/ 43826 w 137354"/>
                  <a:gd name="connsiteY3" fmla="*/ 21773 h 87050"/>
                  <a:gd name="connsiteX4" fmla="*/ 56308 w 137354"/>
                  <a:gd name="connsiteY4" fmla="*/ 16701 h 87050"/>
                  <a:gd name="connsiteX5" fmla="*/ 66966 w 137354"/>
                  <a:gd name="connsiteY5" fmla="*/ 12198 h 87050"/>
                  <a:gd name="connsiteX6" fmla="*/ 71583 w 137354"/>
                  <a:gd name="connsiteY6" fmla="*/ 12198 h 87050"/>
                  <a:gd name="connsiteX7" fmla="*/ 83267 w 137354"/>
                  <a:gd name="connsiteY7" fmla="*/ 4390 h 87050"/>
                  <a:gd name="connsiteX8" fmla="*/ 109085 w 137354"/>
                  <a:gd name="connsiteY8" fmla="*/ 1141 h 87050"/>
                  <a:gd name="connsiteX9" fmla="*/ 124189 w 137354"/>
                  <a:gd name="connsiteY9" fmla="*/ 3250 h 87050"/>
                  <a:gd name="connsiteX10" fmla="*/ 124930 w 137354"/>
                  <a:gd name="connsiteY10" fmla="*/ 4390 h 87050"/>
                  <a:gd name="connsiteX11" fmla="*/ 137355 w 137354"/>
                  <a:gd name="connsiteY11" fmla="*/ 14706 h 87050"/>
                  <a:gd name="connsiteX12" fmla="*/ 116266 w 137354"/>
                  <a:gd name="connsiteY12" fmla="*/ 41209 h 87050"/>
                  <a:gd name="connsiteX13" fmla="*/ 112448 w 137354"/>
                  <a:gd name="connsiteY13" fmla="*/ 48447 h 87050"/>
                  <a:gd name="connsiteX14" fmla="*/ 104811 w 137354"/>
                  <a:gd name="connsiteY14" fmla="*/ 54659 h 87050"/>
                  <a:gd name="connsiteX15" fmla="*/ 99111 w 137354"/>
                  <a:gd name="connsiteY15" fmla="*/ 67255 h 87050"/>
                  <a:gd name="connsiteX16" fmla="*/ 93013 w 137354"/>
                  <a:gd name="connsiteY16" fmla="*/ 72157 h 87050"/>
                  <a:gd name="connsiteX17" fmla="*/ 75287 w 137354"/>
                  <a:gd name="connsiteY17" fmla="*/ 72157 h 87050"/>
                  <a:gd name="connsiteX18" fmla="*/ 63261 w 137354"/>
                  <a:gd name="connsiteY18" fmla="*/ 74265 h 87050"/>
                  <a:gd name="connsiteX19" fmla="*/ 61210 w 137354"/>
                  <a:gd name="connsiteY19" fmla="*/ 76488 h 87050"/>
                  <a:gd name="connsiteX20" fmla="*/ 48044 w 137354"/>
                  <a:gd name="connsiteY20" fmla="*/ 79167 h 87050"/>
                  <a:gd name="connsiteX21" fmla="*/ 45422 w 137354"/>
                  <a:gd name="connsiteY21" fmla="*/ 80193 h 87050"/>
                  <a:gd name="connsiteX22" fmla="*/ 43598 w 137354"/>
                  <a:gd name="connsiteY22" fmla="*/ 82644 h 87050"/>
                  <a:gd name="connsiteX23" fmla="*/ 30319 w 137354"/>
                  <a:gd name="connsiteY23" fmla="*/ 86348 h 87050"/>
                  <a:gd name="connsiteX24" fmla="*/ 18920 w 137354"/>
                  <a:gd name="connsiteY24" fmla="*/ 77685 h 87050"/>
                  <a:gd name="connsiteX25" fmla="*/ 8888 w 137354"/>
                  <a:gd name="connsiteY25" fmla="*/ 66913 h 87050"/>
                  <a:gd name="connsiteX26" fmla="*/ 3702 w 137354"/>
                  <a:gd name="connsiteY26" fmla="*/ 61613 h 87050"/>
                  <a:gd name="connsiteX27" fmla="*/ 3189 w 137354"/>
                  <a:gd name="connsiteY27" fmla="*/ 55343 h 87050"/>
                  <a:gd name="connsiteX28" fmla="*/ 1479 w 137354"/>
                  <a:gd name="connsiteY28" fmla="*/ 36364 h 87050"/>
                  <a:gd name="connsiteX29" fmla="*/ 6324 w 137354"/>
                  <a:gd name="connsiteY29" fmla="*/ 32032 h 8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7354" h="87050">
                    <a:moveTo>
                      <a:pt x="6324" y="32032"/>
                    </a:moveTo>
                    <a:cubicBezTo>
                      <a:pt x="12565" y="28390"/>
                      <a:pt x="18549" y="24315"/>
                      <a:pt x="24220" y="19835"/>
                    </a:cubicBezTo>
                    <a:cubicBezTo>
                      <a:pt x="25001" y="20445"/>
                      <a:pt x="25844" y="20981"/>
                      <a:pt x="26728" y="21431"/>
                    </a:cubicBezTo>
                    <a:cubicBezTo>
                      <a:pt x="32211" y="23540"/>
                      <a:pt x="38264" y="23660"/>
                      <a:pt x="43826" y="21773"/>
                    </a:cubicBezTo>
                    <a:cubicBezTo>
                      <a:pt x="48169" y="20571"/>
                      <a:pt x="52358" y="18872"/>
                      <a:pt x="56308" y="16701"/>
                    </a:cubicBezTo>
                    <a:cubicBezTo>
                      <a:pt x="59528" y="14506"/>
                      <a:pt x="63148" y="12973"/>
                      <a:pt x="66966" y="12198"/>
                    </a:cubicBezTo>
                    <a:cubicBezTo>
                      <a:pt x="68505" y="12198"/>
                      <a:pt x="70044" y="12198"/>
                      <a:pt x="71583" y="12198"/>
                    </a:cubicBezTo>
                    <a:cubicBezTo>
                      <a:pt x="76256" y="11457"/>
                      <a:pt x="79391" y="7126"/>
                      <a:pt x="83267" y="4390"/>
                    </a:cubicBezTo>
                    <a:cubicBezTo>
                      <a:pt x="91132" y="24"/>
                      <a:pt x="100382" y="-1139"/>
                      <a:pt x="109085" y="1141"/>
                    </a:cubicBezTo>
                    <a:cubicBezTo>
                      <a:pt x="114101" y="1939"/>
                      <a:pt x="119173" y="2908"/>
                      <a:pt x="124189" y="3250"/>
                    </a:cubicBezTo>
                    <a:cubicBezTo>
                      <a:pt x="124400" y="3649"/>
                      <a:pt x="124650" y="4031"/>
                      <a:pt x="124930" y="4390"/>
                    </a:cubicBezTo>
                    <a:cubicBezTo>
                      <a:pt x="128081" y="8875"/>
                      <a:pt x="132367" y="12432"/>
                      <a:pt x="137355" y="14706"/>
                    </a:cubicBezTo>
                    <a:cubicBezTo>
                      <a:pt x="128549" y="21967"/>
                      <a:pt x="121368" y="30995"/>
                      <a:pt x="116266" y="41209"/>
                    </a:cubicBezTo>
                    <a:cubicBezTo>
                      <a:pt x="115423" y="43824"/>
                      <a:pt x="114129" y="46270"/>
                      <a:pt x="112448" y="48447"/>
                    </a:cubicBezTo>
                    <a:cubicBezTo>
                      <a:pt x="110225" y="50898"/>
                      <a:pt x="106748" y="52151"/>
                      <a:pt x="104811" y="54659"/>
                    </a:cubicBezTo>
                    <a:cubicBezTo>
                      <a:pt x="101847" y="58250"/>
                      <a:pt x="102018" y="63721"/>
                      <a:pt x="99111" y="67255"/>
                    </a:cubicBezTo>
                    <a:cubicBezTo>
                      <a:pt x="97344" y="69193"/>
                      <a:pt x="94837" y="70333"/>
                      <a:pt x="93013" y="72157"/>
                    </a:cubicBezTo>
                    <a:cubicBezTo>
                      <a:pt x="87114" y="72584"/>
                      <a:pt x="81186" y="72584"/>
                      <a:pt x="75287" y="72157"/>
                    </a:cubicBezTo>
                    <a:cubicBezTo>
                      <a:pt x="71161" y="71148"/>
                      <a:pt x="66801" y="71917"/>
                      <a:pt x="63261" y="74265"/>
                    </a:cubicBezTo>
                    <a:cubicBezTo>
                      <a:pt x="62520" y="74949"/>
                      <a:pt x="61951" y="75804"/>
                      <a:pt x="61210" y="76488"/>
                    </a:cubicBezTo>
                    <a:cubicBezTo>
                      <a:pt x="57847" y="79566"/>
                      <a:pt x="52546" y="78369"/>
                      <a:pt x="48044" y="79167"/>
                    </a:cubicBezTo>
                    <a:cubicBezTo>
                      <a:pt x="47092" y="79252"/>
                      <a:pt x="46180" y="79606"/>
                      <a:pt x="45422" y="80193"/>
                    </a:cubicBezTo>
                    <a:cubicBezTo>
                      <a:pt x="44692" y="80911"/>
                      <a:pt x="44077" y="81737"/>
                      <a:pt x="43598" y="82644"/>
                    </a:cubicBezTo>
                    <a:cubicBezTo>
                      <a:pt x="40406" y="86576"/>
                      <a:pt x="35083" y="88058"/>
                      <a:pt x="30319" y="86348"/>
                    </a:cubicBezTo>
                    <a:cubicBezTo>
                      <a:pt x="25816" y="84530"/>
                      <a:pt x="21878" y="81538"/>
                      <a:pt x="18920" y="77685"/>
                    </a:cubicBezTo>
                    <a:cubicBezTo>
                      <a:pt x="15905" y="73798"/>
                      <a:pt x="12547" y="70196"/>
                      <a:pt x="8888" y="66913"/>
                    </a:cubicBezTo>
                    <a:cubicBezTo>
                      <a:pt x="6717" y="65642"/>
                      <a:pt x="4922" y="63813"/>
                      <a:pt x="3702" y="61613"/>
                    </a:cubicBezTo>
                    <a:cubicBezTo>
                      <a:pt x="3183" y="59567"/>
                      <a:pt x="3012" y="57446"/>
                      <a:pt x="3189" y="55343"/>
                    </a:cubicBezTo>
                    <a:cubicBezTo>
                      <a:pt x="2790" y="48789"/>
                      <a:pt x="-2510" y="41779"/>
                      <a:pt x="1479" y="36364"/>
                    </a:cubicBezTo>
                    <a:cubicBezTo>
                      <a:pt x="2733" y="34563"/>
                      <a:pt x="4392" y="33081"/>
                      <a:pt x="6324" y="3203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3" name="Freihandform: Form 737">
                <a:extLst>
                  <a:ext uri="{FF2B5EF4-FFF2-40B4-BE49-F238E27FC236}">
                    <a16:creationId xmlns:a16="http://schemas.microsoft.com/office/drawing/2014/main" id="{D5D791AB-19C1-1D03-97AB-F5D31DE71A57}"/>
                  </a:ext>
                </a:extLst>
              </p:cNvPr>
              <p:cNvSpPr/>
              <p:nvPr/>
            </p:nvSpPr>
            <p:spPr>
              <a:xfrm>
                <a:off x="4045825" y="2926676"/>
                <a:ext cx="129213" cy="72879"/>
              </a:xfrm>
              <a:custGeom>
                <a:avLst/>
                <a:gdLst>
                  <a:gd name="connsiteX0" fmla="*/ 129213 w 129213"/>
                  <a:gd name="connsiteY0" fmla="*/ 47453 h 72879"/>
                  <a:gd name="connsiteX1" fmla="*/ 127162 w 129213"/>
                  <a:gd name="connsiteY1" fmla="*/ 48365 h 72879"/>
                  <a:gd name="connsiteX2" fmla="*/ 111659 w 129213"/>
                  <a:gd name="connsiteY2" fmla="*/ 58054 h 72879"/>
                  <a:gd name="connsiteX3" fmla="*/ 103737 w 129213"/>
                  <a:gd name="connsiteY3" fmla="*/ 61987 h 72879"/>
                  <a:gd name="connsiteX4" fmla="*/ 96156 w 129213"/>
                  <a:gd name="connsiteY4" fmla="*/ 72417 h 72879"/>
                  <a:gd name="connsiteX5" fmla="*/ 68913 w 129213"/>
                  <a:gd name="connsiteY5" fmla="*/ 67800 h 72879"/>
                  <a:gd name="connsiteX6" fmla="*/ 62473 w 129213"/>
                  <a:gd name="connsiteY6" fmla="*/ 62557 h 72879"/>
                  <a:gd name="connsiteX7" fmla="*/ 54607 w 129213"/>
                  <a:gd name="connsiteY7" fmla="*/ 61588 h 72879"/>
                  <a:gd name="connsiteX8" fmla="*/ 50903 w 129213"/>
                  <a:gd name="connsiteY8" fmla="*/ 65407 h 72879"/>
                  <a:gd name="connsiteX9" fmla="*/ 24970 w 129213"/>
                  <a:gd name="connsiteY9" fmla="*/ 70650 h 72879"/>
                  <a:gd name="connsiteX10" fmla="*/ 12716 w 129213"/>
                  <a:gd name="connsiteY10" fmla="*/ 59251 h 72879"/>
                  <a:gd name="connsiteX11" fmla="*/ 9182 w 129213"/>
                  <a:gd name="connsiteY11" fmla="*/ 52982 h 72879"/>
                  <a:gd name="connsiteX12" fmla="*/ 9182 w 129213"/>
                  <a:gd name="connsiteY12" fmla="*/ 46826 h 72879"/>
                  <a:gd name="connsiteX13" fmla="*/ 1659 w 129213"/>
                  <a:gd name="connsiteY13" fmla="*/ 30868 h 72879"/>
                  <a:gd name="connsiteX14" fmla="*/ 6 w 129213"/>
                  <a:gd name="connsiteY14" fmla="*/ 25168 h 72879"/>
                  <a:gd name="connsiteX15" fmla="*/ 4395 w 129213"/>
                  <a:gd name="connsiteY15" fmla="*/ 19469 h 72879"/>
                  <a:gd name="connsiteX16" fmla="*/ 20353 w 129213"/>
                  <a:gd name="connsiteY16" fmla="*/ 10293 h 72879"/>
                  <a:gd name="connsiteX17" fmla="*/ 29245 w 129213"/>
                  <a:gd name="connsiteY17" fmla="*/ 9267 h 72879"/>
                  <a:gd name="connsiteX18" fmla="*/ 41726 w 129213"/>
                  <a:gd name="connsiteY18" fmla="*/ 4422 h 72879"/>
                  <a:gd name="connsiteX19" fmla="*/ 48281 w 129213"/>
                  <a:gd name="connsiteY19" fmla="*/ 376 h 72879"/>
                  <a:gd name="connsiteX20" fmla="*/ 63042 w 129213"/>
                  <a:gd name="connsiteY20" fmla="*/ 4023 h 72879"/>
                  <a:gd name="connsiteX21" fmla="*/ 88063 w 129213"/>
                  <a:gd name="connsiteY21" fmla="*/ 18785 h 72879"/>
                  <a:gd name="connsiteX22" fmla="*/ 94789 w 129213"/>
                  <a:gd name="connsiteY22" fmla="*/ 21008 h 72879"/>
                  <a:gd name="connsiteX23" fmla="*/ 97752 w 129213"/>
                  <a:gd name="connsiteY23" fmla="*/ 24655 h 72879"/>
                  <a:gd name="connsiteX24" fmla="*/ 120550 w 129213"/>
                  <a:gd name="connsiteY24" fmla="*/ 34458 h 72879"/>
                  <a:gd name="connsiteX25" fmla="*/ 129213 w 129213"/>
                  <a:gd name="connsiteY25" fmla="*/ 47453 h 7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9213" h="72879">
                    <a:moveTo>
                      <a:pt x="129213" y="47453"/>
                    </a:moveTo>
                    <a:lnTo>
                      <a:pt x="127162" y="48365"/>
                    </a:lnTo>
                    <a:cubicBezTo>
                      <a:pt x="121462" y="51044"/>
                      <a:pt x="117130" y="55376"/>
                      <a:pt x="111659" y="58054"/>
                    </a:cubicBezTo>
                    <a:cubicBezTo>
                      <a:pt x="108918" y="59160"/>
                      <a:pt x="106273" y="60471"/>
                      <a:pt x="103737" y="61987"/>
                    </a:cubicBezTo>
                    <a:cubicBezTo>
                      <a:pt x="100340" y="64740"/>
                      <a:pt x="97729" y="68336"/>
                      <a:pt x="96156" y="72417"/>
                    </a:cubicBezTo>
                    <a:cubicBezTo>
                      <a:pt x="86638" y="72018"/>
                      <a:pt x="76493" y="73215"/>
                      <a:pt x="68913" y="67800"/>
                    </a:cubicBezTo>
                    <a:cubicBezTo>
                      <a:pt x="66633" y="66205"/>
                      <a:pt x="64809" y="64039"/>
                      <a:pt x="62473" y="62557"/>
                    </a:cubicBezTo>
                    <a:cubicBezTo>
                      <a:pt x="60204" y="60876"/>
                      <a:pt x="57217" y="60505"/>
                      <a:pt x="54607" y="61588"/>
                    </a:cubicBezTo>
                    <a:cubicBezTo>
                      <a:pt x="53137" y="62608"/>
                      <a:pt x="51883" y="63908"/>
                      <a:pt x="50903" y="65407"/>
                    </a:cubicBezTo>
                    <a:cubicBezTo>
                      <a:pt x="44457" y="72844"/>
                      <a:pt x="33804" y="74999"/>
                      <a:pt x="24970" y="70650"/>
                    </a:cubicBezTo>
                    <a:cubicBezTo>
                      <a:pt x="20154" y="67726"/>
                      <a:pt x="15982" y="63845"/>
                      <a:pt x="12716" y="59251"/>
                    </a:cubicBezTo>
                    <a:cubicBezTo>
                      <a:pt x="11075" y="57456"/>
                      <a:pt x="9866" y="55313"/>
                      <a:pt x="9182" y="52982"/>
                    </a:cubicBezTo>
                    <a:cubicBezTo>
                      <a:pt x="9040" y="50930"/>
                      <a:pt x="9040" y="48878"/>
                      <a:pt x="9182" y="46826"/>
                    </a:cubicBezTo>
                    <a:cubicBezTo>
                      <a:pt x="8008" y="40973"/>
                      <a:pt x="5426" y="35496"/>
                      <a:pt x="1659" y="30868"/>
                    </a:cubicBezTo>
                    <a:cubicBezTo>
                      <a:pt x="513" y="29192"/>
                      <a:pt x="-68" y="27197"/>
                      <a:pt x="6" y="25168"/>
                    </a:cubicBezTo>
                    <a:cubicBezTo>
                      <a:pt x="753" y="22809"/>
                      <a:pt x="2303" y="20791"/>
                      <a:pt x="4395" y="19469"/>
                    </a:cubicBezTo>
                    <a:cubicBezTo>
                      <a:pt x="8972" y="15268"/>
                      <a:pt x="14420" y="12134"/>
                      <a:pt x="20353" y="10293"/>
                    </a:cubicBezTo>
                    <a:cubicBezTo>
                      <a:pt x="23260" y="9666"/>
                      <a:pt x="26053" y="9666"/>
                      <a:pt x="29245" y="9267"/>
                    </a:cubicBezTo>
                    <a:cubicBezTo>
                      <a:pt x="33713" y="8589"/>
                      <a:pt x="37971" y="6936"/>
                      <a:pt x="41726" y="4422"/>
                    </a:cubicBezTo>
                    <a:cubicBezTo>
                      <a:pt x="43716" y="2775"/>
                      <a:pt x="45921" y="1413"/>
                      <a:pt x="48281" y="376"/>
                    </a:cubicBezTo>
                    <a:cubicBezTo>
                      <a:pt x="53501" y="-724"/>
                      <a:pt x="58933" y="621"/>
                      <a:pt x="63042" y="4023"/>
                    </a:cubicBezTo>
                    <a:cubicBezTo>
                      <a:pt x="71193" y="9723"/>
                      <a:pt x="78545" y="16676"/>
                      <a:pt x="88063" y="18785"/>
                    </a:cubicBezTo>
                    <a:cubicBezTo>
                      <a:pt x="90445" y="19002"/>
                      <a:pt x="92748" y="19765"/>
                      <a:pt x="94789" y="21008"/>
                    </a:cubicBezTo>
                    <a:cubicBezTo>
                      <a:pt x="95866" y="22148"/>
                      <a:pt x="96857" y="23367"/>
                      <a:pt x="97752" y="24655"/>
                    </a:cubicBezTo>
                    <a:cubicBezTo>
                      <a:pt x="103110" y="31153"/>
                      <a:pt x="113825" y="29500"/>
                      <a:pt x="120550" y="34458"/>
                    </a:cubicBezTo>
                    <a:cubicBezTo>
                      <a:pt x="124363" y="38095"/>
                      <a:pt x="127321" y="42535"/>
                      <a:pt x="129213" y="4745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4" name="Freihandform: Form 738">
                <a:extLst>
                  <a:ext uri="{FF2B5EF4-FFF2-40B4-BE49-F238E27FC236}">
                    <a16:creationId xmlns:a16="http://schemas.microsoft.com/office/drawing/2014/main" id="{236EDF34-6D9C-65D0-56C6-1D20C3D94522}"/>
                  </a:ext>
                </a:extLst>
              </p:cNvPr>
              <p:cNvSpPr/>
              <p:nvPr/>
            </p:nvSpPr>
            <p:spPr>
              <a:xfrm>
                <a:off x="4081545" y="2798836"/>
                <a:ext cx="209360" cy="185951"/>
              </a:xfrm>
              <a:custGeom>
                <a:avLst/>
                <a:gdLst>
                  <a:gd name="connsiteX0" fmla="*/ 200929 w 209360"/>
                  <a:gd name="connsiteY0" fmla="*/ 108895 h 185951"/>
                  <a:gd name="connsiteX1" fmla="*/ 197794 w 209360"/>
                  <a:gd name="connsiteY1" fmla="*/ 114594 h 185951"/>
                  <a:gd name="connsiteX2" fmla="*/ 196711 w 209360"/>
                  <a:gd name="connsiteY2" fmla="*/ 117957 h 185951"/>
                  <a:gd name="connsiteX3" fmla="*/ 209307 w 209360"/>
                  <a:gd name="connsiteY3" fmla="*/ 133117 h 185951"/>
                  <a:gd name="connsiteX4" fmla="*/ 200701 w 209360"/>
                  <a:gd name="connsiteY4" fmla="*/ 142977 h 185951"/>
                  <a:gd name="connsiteX5" fmla="*/ 187250 w 209360"/>
                  <a:gd name="connsiteY5" fmla="*/ 157169 h 185951"/>
                  <a:gd name="connsiteX6" fmla="*/ 173799 w 209360"/>
                  <a:gd name="connsiteY6" fmla="*/ 169765 h 185951"/>
                  <a:gd name="connsiteX7" fmla="*/ 173799 w 209360"/>
                  <a:gd name="connsiteY7" fmla="*/ 185952 h 185951"/>
                  <a:gd name="connsiteX8" fmla="*/ 160576 w 209360"/>
                  <a:gd name="connsiteY8" fmla="*/ 181620 h 185951"/>
                  <a:gd name="connsiteX9" fmla="*/ 143478 w 209360"/>
                  <a:gd name="connsiteY9" fmla="*/ 176205 h 185951"/>
                  <a:gd name="connsiteX10" fmla="*/ 117260 w 209360"/>
                  <a:gd name="connsiteY10" fmla="*/ 172672 h 185951"/>
                  <a:gd name="connsiteX11" fmla="*/ 93494 w 209360"/>
                  <a:gd name="connsiteY11" fmla="*/ 175180 h 185951"/>
                  <a:gd name="connsiteX12" fmla="*/ 84716 w 209360"/>
                  <a:gd name="connsiteY12" fmla="*/ 161786 h 185951"/>
                  <a:gd name="connsiteX13" fmla="*/ 61919 w 209360"/>
                  <a:gd name="connsiteY13" fmla="*/ 151983 h 185951"/>
                  <a:gd name="connsiteX14" fmla="*/ 58955 w 209360"/>
                  <a:gd name="connsiteY14" fmla="*/ 148335 h 185951"/>
                  <a:gd name="connsiteX15" fmla="*/ 52229 w 209360"/>
                  <a:gd name="connsiteY15" fmla="*/ 146112 h 185951"/>
                  <a:gd name="connsiteX16" fmla="*/ 27209 w 209360"/>
                  <a:gd name="connsiteY16" fmla="*/ 131351 h 185951"/>
                  <a:gd name="connsiteX17" fmla="*/ 14955 w 209360"/>
                  <a:gd name="connsiteY17" fmla="*/ 127190 h 185951"/>
                  <a:gd name="connsiteX18" fmla="*/ 13530 w 209360"/>
                  <a:gd name="connsiteY18" fmla="*/ 119325 h 185951"/>
                  <a:gd name="connsiteX19" fmla="*/ 9540 w 209360"/>
                  <a:gd name="connsiteY19" fmla="*/ 92309 h 185951"/>
                  <a:gd name="connsiteX20" fmla="*/ 6406 w 209360"/>
                  <a:gd name="connsiteY20" fmla="*/ 80112 h 185951"/>
                  <a:gd name="connsiteX21" fmla="*/ 1276 w 209360"/>
                  <a:gd name="connsiteY21" fmla="*/ 66491 h 185951"/>
                  <a:gd name="connsiteX22" fmla="*/ 2986 w 209360"/>
                  <a:gd name="connsiteY22" fmla="*/ 61475 h 185951"/>
                  <a:gd name="connsiteX23" fmla="*/ 649 w 209360"/>
                  <a:gd name="connsiteY23" fmla="*/ 52869 h 185951"/>
                  <a:gd name="connsiteX24" fmla="*/ 1732 w 209360"/>
                  <a:gd name="connsiteY24" fmla="*/ 38221 h 185951"/>
                  <a:gd name="connsiteX25" fmla="*/ 6520 w 209360"/>
                  <a:gd name="connsiteY25" fmla="*/ 37537 h 185951"/>
                  <a:gd name="connsiteX26" fmla="*/ 9027 w 209360"/>
                  <a:gd name="connsiteY26" fmla="*/ 29615 h 185951"/>
                  <a:gd name="connsiteX27" fmla="*/ 35644 w 209360"/>
                  <a:gd name="connsiteY27" fmla="*/ 25796 h 185951"/>
                  <a:gd name="connsiteX28" fmla="*/ 39406 w 209360"/>
                  <a:gd name="connsiteY28" fmla="*/ 20610 h 185951"/>
                  <a:gd name="connsiteX29" fmla="*/ 60665 w 209360"/>
                  <a:gd name="connsiteY29" fmla="*/ 8527 h 185951"/>
                  <a:gd name="connsiteX30" fmla="*/ 75597 w 209360"/>
                  <a:gd name="connsiteY30" fmla="*/ 7957 h 185951"/>
                  <a:gd name="connsiteX31" fmla="*/ 88193 w 209360"/>
                  <a:gd name="connsiteY31" fmla="*/ 5449 h 185951"/>
                  <a:gd name="connsiteX32" fmla="*/ 93437 w 209360"/>
                  <a:gd name="connsiteY32" fmla="*/ 13371 h 185951"/>
                  <a:gd name="connsiteX33" fmla="*/ 96628 w 209360"/>
                  <a:gd name="connsiteY33" fmla="*/ 22605 h 185951"/>
                  <a:gd name="connsiteX34" fmla="*/ 105121 w 209360"/>
                  <a:gd name="connsiteY34" fmla="*/ 23517 h 185951"/>
                  <a:gd name="connsiteX35" fmla="*/ 111276 w 209360"/>
                  <a:gd name="connsiteY35" fmla="*/ 5449 h 185951"/>
                  <a:gd name="connsiteX36" fmla="*/ 114240 w 209360"/>
                  <a:gd name="connsiteY36" fmla="*/ 1118 h 185951"/>
                  <a:gd name="connsiteX37" fmla="*/ 126208 w 209360"/>
                  <a:gd name="connsiteY37" fmla="*/ 3226 h 185951"/>
                  <a:gd name="connsiteX38" fmla="*/ 136183 w 209360"/>
                  <a:gd name="connsiteY38" fmla="*/ 11776 h 185951"/>
                  <a:gd name="connsiteX39" fmla="*/ 138063 w 209360"/>
                  <a:gd name="connsiteY39" fmla="*/ 12175 h 185951"/>
                  <a:gd name="connsiteX40" fmla="*/ 138348 w 209360"/>
                  <a:gd name="connsiteY40" fmla="*/ 12175 h 185951"/>
                  <a:gd name="connsiteX41" fmla="*/ 140343 w 209360"/>
                  <a:gd name="connsiteY41" fmla="*/ 14682 h 185951"/>
                  <a:gd name="connsiteX42" fmla="*/ 143193 w 209360"/>
                  <a:gd name="connsiteY42" fmla="*/ 17133 h 185951"/>
                  <a:gd name="connsiteX43" fmla="*/ 148437 w 209360"/>
                  <a:gd name="connsiteY43" fmla="*/ 18045 h 185951"/>
                  <a:gd name="connsiteX44" fmla="*/ 161545 w 209360"/>
                  <a:gd name="connsiteY44" fmla="*/ 18387 h 185951"/>
                  <a:gd name="connsiteX45" fmla="*/ 179727 w 209360"/>
                  <a:gd name="connsiteY45" fmla="*/ 22719 h 185951"/>
                  <a:gd name="connsiteX46" fmla="*/ 185996 w 209360"/>
                  <a:gd name="connsiteY46" fmla="*/ 27335 h 185951"/>
                  <a:gd name="connsiteX47" fmla="*/ 191695 w 209360"/>
                  <a:gd name="connsiteY47" fmla="*/ 28646 h 185951"/>
                  <a:gd name="connsiteX48" fmla="*/ 194488 w 209360"/>
                  <a:gd name="connsiteY48" fmla="*/ 40843 h 185951"/>
                  <a:gd name="connsiteX49" fmla="*/ 194488 w 209360"/>
                  <a:gd name="connsiteY49" fmla="*/ 43750 h 185951"/>
                  <a:gd name="connsiteX50" fmla="*/ 200188 w 209360"/>
                  <a:gd name="connsiteY50" fmla="*/ 49449 h 185951"/>
                  <a:gd name="connsiteX51" fmla="*/ 200188 w 209360"/>
                  <a:gd name="connsiteY51" fmla="*/ 60848 h 185951"/>
                  <a:gd name="connsiteX52" fmla="*/ 193120 w 209360"/>
                  <a:gd name="connsiteY52" fmla="*/ 67630 h 185951"/>
                  <a:gd name="connsiteX53" fmla="*/ 195742 w 209360"/>
                  <a:gd name="connsiteY53" fmla="*/ 73672 h 185951"/>
                  <a:gd name="connsiteX54" fmla="*/ 191809 w 209360"/>
                  <a:gd name="connsiteY54" fmla="*/ 93449 h 185951"/>
                  <a:gd name="connsiteX55" fmla="*/ 200929 w 209360"/>
                  <a:gd name="connsiteY55" fmla="*/ 108895 h 18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09360" h="185951">
                    <a:moveTo>
                      <a:pt x="200929" y="108895"/>
                    </a:moveTo>
                    <a:cubicBezTo>
                      <a:pt x="199777" y="110736"/>
                      <a:pt x="198729" y="112634"/>
                      <a:pt x="197794" y="114594"/>
                    </a:cubicBezTo>
                    <a:cubicBezTo>
                      <a:pt x="197213" y="115631"/>
                      <a:pt x="196848" y="116777"/>
                      <a:pt x="196711" y="117957"/>
                    </a:cubicBezTo>
                    <a:cubicBezTo>
                      <a:pt x="196198" y="124853"/>
                      <a:pt x="208110" y="126278"/>
                      <a:pt x="209307" y="133117"/>
                    </a:cubicBezTo>
                    <a:cubicBezTo>
                      <a:pt x="209934" y="137734"/>
                      <a:pt x="204975" y="140983"/>
                      <a:pt x="200701" y="142977"/>
                    </a:cubicBezTo>
                    <a:cubicBezTo>
                      <a:pt x="194146" y="145998"/>
                      <a:pt x="192208" y="151869"/>
                      <a:pt x="187250" y="157169"/>
                    </a:cubicBezTo>
                    <a:cubicBezTo>
                      <a:pt x="182291" y="162470"/>
                      <a:pt x="176193" y="164009"/>
                      <a:pt x="173799" y="169765"/>
                    </a:cubicBezTo>
                    <a:cubicBezTo>
                      <a:pt x="171405" y="175521"/>
                      <a:pt x="173799" y="180651"/>
                      <a:pt x="173799" y="185952"/>
                    </a:cubicBezTo>
                    <a:cubicBezTo>
                      <a:pt x="169593" y="183951"/>
                      <a:pt x="165153" y="182492"/>
                      <a:pt x="160576" y="181620"/>
                    </a:cubicBezTo>
                    <a:cubicBezTo>
                      <a:pt x="156701" y="176775"/>
                      <a:pt x="149634" y="176661"/>
                      <a:pt x="143478" y="176205"/>
                    </a:cubicBezTo>
                    <a:cubicBezTo>
                      <a:pt x="134644" y="175635"/>
                      <a:pt x="126038" y="173527"/>
                      <a:pt x="117260" y="172672"/>
                    </a:cubicBezTo>
                    <a:cubicBezTo>
                      <a:pt x="109253" y="171549"/>
                      <a:pt x="101091" y="172410"/>
                      <a:pt x="93494" y="175180"/>
                    </a:cubicBezTo>
                    <a:cubicBezTo>
                      <a:pt x="91624" y="170107"/>
                      <a:pt x="88621" y="165525"/>
                      <a:pt x="84716" y="161786"/>
                    </a:cubicBezTo>
                    <a:cubicBezTo>
                      <a:pt x="77991" y="156827"/>
                      <a:pt x="67276" y="158480"/>
                      <a:pt x="61919" y="151983"/>
                    </a:cubicBezTo>
                    <a:cubicBezTo>
                      <a:pt x="61024" y="150695"/>
                      <a:pt x="60032" y="149475"/>
                      <a:pt x="58955" y="148335"/>
                    </a:cubicBezTo>
                    <a:cubicBezTo>
                      <a:pt x="56915" y="147092"/>
                      <a:pt x="54612" y="146329"/>
                      <a:pt x="52229" y="146112"/>
                    </a:cubicBezTo>
                    <a:cubicBezTo>
                      <a:pt x="42711" y="144003"/>
                      <a:pt x="35131" y="136765"/>
                      <a:pt x="27209" y="131351"/>
                    </a:cubicBezTo>
                    <a:cubicBezTo>
                      <a:pt x="23675" y="128683"/>
                      <a:pt x="19378" y="127224"/>
                      <a:pt x="14955" y="127190"/>
                    </a:cubicBezTo>
                    <a:cubicBezTo>
                      <a:pt x="14385" y="124568"/>
                      <a:pt x="13929" y="121946"/>
                      <a:pt x="13530" y="119325"/>
                    </a:cubicBezTo>
                    <a:cubicBezTo>
                      <a:pt x="12219" y="110319"/>
                      <a:pt x="10908" y="101314"/>
                      <a:pt x="9540" y="92309"/>
                    </a:cubicBezTo>
                    <a:cubicBezTo>
                      <a:pt x="9136" y="88103"/>
                      <a:pt x="8081" y="83988"/>
                      <a:pt x="6406" y="80112"/>
                    </a:cubicBezTo>
                    <a:cubicBezTo>
                      <a:pt x="4183" y="75667"/>
                      <a:pt x="136" y="71335"/>
                      <a:pt x="1276" y="66491"/>
                    </a:cubicBezTo>
                    <a:cubicBezTo>
                      <a:pt x="1675" y="64781"/>
                      <a:pt x="2701" y="63242"/>
                      <a:pt x="2986" y="61475"/>
                    </a:cubicBezTo>
                    <a:cubicBezTo>
                      <a:pt x="2895" y="58460"/>
                      <a:pt x="2097" y="55513"/>
                      <a:pt x="649" y="52869"/>
                    </a:cubicBezTo>
                    <a:cubicBezTo>
                      <a:pt x="-496" y="47990"/>
                      <a:pt x="-120" y="42878"/>
                      <a:pt x="1732" y="38221"/>
                    </a:cubicBezTo>
                    <a:cubicBezTo>
                      <a:pt x="3356" y="38603"/>
                      <a:pt x="5066" y="38358"/>
                      <a:pt x="6520" y="37537"/>
                    </a:cubicBezTo>
                    <a:cubicBezTo>
                      <a:pt x="9136" y="35833"/>
                      <a:pt x="10184" y="32516"/>
                      <a:pt x="9027" y="29615"/>
                    </a:cubicBezTo>
                    <a:cubicBezTo>
                      <a:pt x="17748" y="26651"/>
                      <a:pt x="29033" y="32123"/>
                      <a:pt x="35644" y="25796"/>
                    </a:cubicBezTo>
                    <a:cubicBezTo>
                      <a:pt x="37075" y="24200"/>
                      <a:pt x="38334" y="22462"/>
                      <a:pt x="39406" y="20610"/>
                    </a:cubicBezTo>
                    <a:cubicBezTo>
                      <a:pt x="44261" y="13537"/>
                      <a:pt x="52098" y="9080"/>
                      <a:pt x="60665" y="8527"/>
                    </a:cubicBezTo>
                    <a:cubicBezTo>
                      <a:pt x="65646" y="8880"/>
                      <a:pt x="70656" y="8692"/>
                      <a:pt x="75597" y="7957"/>
                    </a:cubicBezTo>
                    <a:cubicBezTo>
                      <a:pt x="79815" y="6760"/>
                      <a:pt x="84146" y="3739"/>
                      <a:pt x="88193" y="5449"/>
                    </a:cubicBezTo>
                    <a:cubicBezTo>
                      <a:pt x="91111" y="7096"/>
                      <a:pt x="93060" y="10043"/>
                      <a:pt x="93437" y="13371"/>
                    </a:cubicBezTo>
                    <a:cubicBezTo>
                      <a:pt x="93807" y="16649"/>
                      <a:pt x="94896" y="19800"/>
                      <a:pt x="96628" y="22605"/>
                    </a:cubicBezTo>
                    <a:cubicBezTo>
                      <a:pt x="98680" y="25169"/>
                      <a:pt x="103183" y="26138"/>
                      <a:pt x="105121" y="23517"/>
                    </a:cubicBezTo>
                    <a:cubicBezTo>
                      <a:pt x="106546" y="17298"/>
                      <a:pt x="108609" y="11246"/>
                      <a:pt x="111276" y="5449"/>
                    </a:cubicBezTo>
                    <a:cubicBezTo>
                      <a:pt x="111914" y="3796"/>
                      <a:pt x="112929" y="2309"/>
                      <a:pt x="114240" y="1118"/>
                    </a:cubicBezTo>
                    <a:cubicBezTo>
                      <a:pt x="118252" y="-951"/>
                      <a:pt x="123148" y="-91"/>
                      <a:pt x="126208" y="3226"/>
                    </a:cubicBezTo>
                    <a:cubicBezTo>
                      <a:pt x="129075" y="6572"/>
                      <a:pt x="132438" y="9456"/>
                      <a:pt x="136183" y="11776"/>
                    </a:cubicBezTo>
                    <a:cubicBezTo>
                      <a:pt x="136753" y="12106"/>
                      <a:pt x="137408" y="12249"/>
                      <a:pt x="138063" y="12175"/>
                    </a:cubicBezTo>
                    <a:cubicBezTo>
                      <a:pt x="138063" y="12175"/>
                      <a:pt x="138063" y="12175"/>
                      <a:pt x="138348" y="12175"/>
                    </a:cubicBezTo>
                    <a:cubicBezTo>
                      <a:pt x="139032" y="13030"/>
                      <a:pt x="139602" y="13884"/>
                      <a:pt x="140343" y="14682"/>
                    </a:cubicBezTo>
                    <a:cubicBezTo>
                      <a:pt x="141158" y="15646"/>
                      <a:pt x="142116" y="16472"/>
                      <a:pt x="143193" y="17133"/>
                    </a:cubicBezTo>
                    <a:cubicBezTo>
                      <a:pt x="144857" y="17811"/>
                      <a:pt x="146641" y="18125"/>
                      <a:pt x="148437" y="18045"/>
                    </a:cubicBezTo>
                    <a:lnTo>
                      <a:pt x="161545" y="18387"/>
                    </a:lnTo>
                    <a:cubicBezTo>
                      <a:pt x="167912" y="17863"/>
                      <a:pt x="174278" y="19384"/>
                      <a:pt x="179727" y="22719"/>
                    </a:cubicBezTo>
                    <a:cubicBezTo>
                      <a:pt x="181545" y="24594"/>
                      <a:pt x="183665" y="26155"/>
                      <a:pt x="185996" y="27335"/>
                    </a:cubicBezTo>
                    <a:cubicBezTo>
                      <a:pt x="187922" y="27649"/>
                      <a:pt x="189826" y="28082"/>
                      <a:pt x="191695" y="28646"/>
                    </a:cubicBezTo>
                    <a:cubicBezTo>
                      <a:pt x="195742" y="30698"/>
                      <a:pt x="195286" y="36397"/>
                      <a:pt x="194488" y="40843"/>
                    </a:cubicBezTo>
                    <a:cubicBezTo>
                      <a:pt x="194289" y="41800"/>
                      <a:pt x="194289" y="42792"/>
                      <a:pt x="194488" y="43750"/>
                    </a:cubicBezTo>
                    <a:cubicBezTo>
                      <a:pt x="195115" y="46371"/>
                      <a:pt x="198250" y="47340"/>
                      <a:pt x="200188" y="49449"/>
                    </a:cubicBezTo>
                    <a:cubicBezTo>
                      <a:pt x="203317" y="52607"/>
                      <a:pt x="203317" y="57691"/>
                      <a:pt x="200188" y="60848"/>
                    </a:cubicBezTo>
                    <a:cubicBezTo>
                      <a:pt x="197680" y="63128"/>
                      <a:pt x="193348" y="64268"/>
                      <a:pt x="193120" y="67630"/>
                    </a:cubicBezTo>
                    <a:cubicBezTo>
                      <a:pt x="193120" y="69853"/>
                      <a:pt x="194830" y="71677"/>
                      <a:pt x="195742" y="73672"/>
                    </a:cubicBezTo>
                    <a:cubicBezTo>
                      <a:pt x="198592" y="79941"/>
                      <a:pt x="192266" y="86610"/>
                      <a:pt x="191809" y="93449"/>
                    </a:cubicBezTo>
                    <a:cubicBezTo>
                      <a:pt x="192157" y="99776"/>
                      <a:pt x="195560" y="105532"/>
                      <a:pt x="200929" y="1088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5" name="Freihandform: Form 739">
                <a:extLst>
                  <a:ext uri="{FF2B5EF4-FFF2-40B4-BE49-F238E27FC236}">
                    <a16:creationId xmlns:a16="http://schemas.microsoft.com/office/drawing/2014/main" id="{9FB1A969-3B7C-1AE7-D99D-6BE3B940EB4E}"/>
                  </a:ext>
                </a:extLst>
              </p:cNvPr>
              <p:cNvSpPr/>
              <p:nvPr/>
            </p:nvSpPr>
            <p:spPr>
              <a:xfrm>
                <a:off x="4273240" y="2756808"/>
                <a:ext cx="200948" cy="157571"/>
              </a:xfrm>
              <a:custGeom>
                <a:avLst/>
                <a:gdLst>
                  <a:gd name="connsiteX0" fmla="*/ 176456 w 200948"/>
                  <a:gd name="connsiteY0" fmla="*/ 115073 h 157571"/>
                  <a:gd name="connsiteX1" fmla="*/ 178109 w 200948"/>
                  <a:gd name="connsiteY1" fmla="*/ 130861 h 157571"/>
                  <a:gd name="connsiteX2" fmla="*/ 151036 w 200948"/>
                  <a:gd name="connsiteY2" fmla="*/ 151151 h 157571"/>
                  <a:gd name="connsiteX3" fmla="*/ 147617 w 200948"/>
                  <a:gd name="connsiteY3" fmla="*/ 156052 h 157571"/>
                  <a:gd name="connsiteX4" fmla="*/ 138839 w 200948"/>
                  <a:gd name="connsiteY4" fmla="*/ 157192 h 157571"/>
                  <a:gd name="connsiteX5" fmla="*/ 79109 w 200948"/>
                  <a:gd name="connsiteY5" fmla="*/ 146420 h 157571"/>
                  <a:gd name="connsiteX6" fmla="*/ 47762 w 200948"/>
                  <a:gd name="connsiteY6" fmla="*/ 140037 h 157571"/>
                  <a:gd name="connsiteX7" fmla="*/ 17497 w 200948"/>
                  <a:gd name="connsiteY7" fmla="*/ 141747 h 157571"/>
                  <a:gd name="connsiteX8" fmla="*/ 9233 w 200948"/>
                  <a:gd name="connsiteY8" fmla="*/ 150923 h 157571"/>
                  <a:gd name="connsiteX9" fmla="*/ 0 w 200948"/>
                  <a:gd name="connsiteY9" fmla="*/ 135249 h 157571"/>
                  <a:gd name="connsiteX10" fmla="*/ 3933 w 200948"/>
                  <a:gd name="connsiteY10" fmla="*/ 115472 h 157571"/>
                  <a:gd name="connsiteX11" fmla="*/ 1311 w 200948"/>
                  <a:gd name="connsiteY11" fmla="*/ 109431 h 157571"/>
                  <a:gd name="connsiteX12" fmla="*/ 8378 w 200948"/>
                  <a:gd name="connsiteY12" fmla="*/ 102648 h 157571"/>
                  <a:gd name="connsiteX13" fmla="*/ 8378 w 200948"/>
                  <a:gd name="connsiteY13" fmla="*/ 91249 h 157571"/>
                  <a:gd name="connsiteX14" fmla="*/ 2679 w 200948"/>
                  <a:gd name="connsiteY14" fmla="*/ 85550 h 157571"/>
                  <a:gd name="connsiteX15" fmla="*/ 2679 w 200948"/>
                  <a:gd name="connsiteY15" fmla="*/ 82643 h 157571"/>
                  <a:gd name="connsiteX16" fmla="*/ 3078 w 200948"/>
                  <a:gd name="connsiteY16" fmla="*/ 75918 h 157571"/>
                  <a:gd name="connsiteX17" fmla="*/ 13337 w 200948"/>
                  <a:gd name="connsiteY17" fmla="*/ 75006 h 157571"/>
                  <a:gd name="connsiteX18" fmla="*/ 24736 w 200948"/>
                  <a:gd name="connsiteY18" fmla="*/ 76887 h 157571"/>
                  <a:gd name="connsiteX19" fmla="*/ 31119 w 200948"/>
                  <a:gd name="connsiteY19" fmla="*/ 67825 h 157571"/>
                  <a:gd name="connsiteX20" fmla="*/ 41606 w 200948"/>
                  <a:gd name="connsiteY20" fmla="*/ 65887 h 157571"/>
                  <a:gd name="connsiteX21" fmla="*/ 42233 w 200948"/>
                  <a:gd name="connsiteY21" fmla="*/ 60871 h 157571"/>
                  <a:gd name="connsiteX22" fmla="*/ 47933 w 200948"/>
                  <a:gd name="connsiteY22" fmla="*/ 57622 h 157571"/>
                  <a:gd name="connsiteX23" fmla="*/ 49984 w 200948"/>
                  <a:gd name="connsiteY23" fmla="*/ 49187 h 157571"/>
                  <a:gd name="connsiteX24" fmla="*/ 69135 w 200948"/>
                  <a:gd name="connsiteY24" fmla="*/ 31405 h 157571"/>
                  <a:gd name="connsiteX25" fmla="*/ 69534 w 200948"/>
                  <a:gd name="connsiteY25" fmla="*/ 17384 h 157571"/>
                  <a:gd name="connsiteX26" fmla="*/ 80021 w 200948"/>
                  <a:gd name="connsiteY26" fmla="*/ 9576 h 157571"/>
                  <a:gd name="connsiteX27" fmla="*/ 93414 w 200948"/>
                  <a:gd name="connsiteY27" fmla="*/ 7011 h 157571"/>
                  <a:gd name="connsiteX28" fmla="*/ 96663 w 200948"/>
                  <a:gd name="connsiteY28" fmla="*/ 5130 h 157571"/>
                  <a:gd name="connsiteX29" fmla="*/ 100881 w 200948"/>
                  <a:gd name="connsiteY29" fmla="*/ 571 h 157571"/>
                  <a:gd name="connsiteX30" fmla="*/ 111881 w 200948"/>
                  <a:gd name="connsiteY30" fmla="*/ 3022 h 157571"/>
                  <a:gd name="connsiteX31" fmla="*/ 127498 w 200948"/>
                  <a:gd name="connsiteY31" fmla="*/ 6840 h 157571"/>
                  <a:gd name="connsiteX32" fmla="*/ 131658 w 200948"/>
                  <a:gd name="connsiteY32" fmla="*/ 12540 h 157571"/>
                  <a:gd name="connsiteX33" fmla="*/ 142259 w 200948"/>
                  <a:gd name="connsiteY33" fmla="*/ 12540 h 157571"/>
                  <a:gd name="connsiteX34" fmla="*/ 152860 w 200948"/>
                  <a:gd name="connsiteY34" fmla="*/ 9120 h 157571"/>
                  <a:gd name="connsiteX35" fmla="*/ 164886 w 200948"/>
                  <a:gd name="connsiteY35" fmla="*/ 22856 h 157571"/>
                  <a:gd name="connsiteX36" fmla="*/ 164886 w 200948"/>
                  <a:gd name="connsiteY36" fmla="*/ 42747 h 157571"/>
                  <a:gd name="connsiteX37" fmla="*/ 179648 w 200948"/>
                  <a:gd name="connsiteY37" fmla="*/ 67084 h 157571"/>
                  <a:gd name="connsiteX38" fmla="*/ 192186 w 200948"/>
                  <a:gd name="connsiteY38" fmla="*/ 75234 h 157571"/>
                  <a:gd name="connsiteX39" fmla="*/ 200679 w 200948"/>
                  <a:gd name="connsiteY39" fmla="*/ 87032 h 157571"/>
                  <a:gd name="connsiteX40" fmla="*/ 194466 w 200948"/>
                  <a:gd name="connsiteY40" fmla="*/ 99172 h 157571"/>
                  <a:gd name="connsiteX41" fmla="*/ 179648 w 200948"/>
                  <a:gd name="connsiteY41" fmla="*/ 100369 h 157571"/>
                  <a:gd name="connsiteX42" fmla="*/ 176456 w 200948"/>
                  <a:gd name="connsiteY42" fmla="*/ 115073 h 157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00948" h="157571">
                    <a:moveTo>
                      <a:pt x="176456" y="115073"/>
                    </a:moveTo>
                    <a:cubicBezTo>
                      <a:pt x="177254" y="120317"/>
                      <a:pt x="177767" y="125617"/>
                      <a:pt x="178109" y="130861"/>
                    </a:cubicBezTo>
                    <a:cubicBezTo>
                      <a:pt x="166881" y="134030"/>
                      <a:pt x="157232" y="141262"/>
                      <a:pt x="151036" y="151151"/>
                    </a:cubicBezTo>
                    <a:cubicBezTo>
                      <a:pt x="150255" y="153009"/>
                      <a:pt x="149087" y="154679"/>
                      <a:pt x="147617" y="156052"/>
                    </a:cubicBezTo>
                    <a:cubicBezTo>
                      <a:pt x="144949" y="157551"/>
                      <a:pt x="141803" y="157962"/>
                      <a:pt x="138839" y="157192"/>
                    </a:cubicBezTo>
                    <a:cubicBezTo>
                      <a:pt x="118777" y="154456"/>
                      <a:pt x="98943" y="150410"/>
                      <a:pt x="79109" y="146420"/>
                    </a:cubicBezTo>
                    <a:lnTo>
                      <a:pt x="47762" y="140037"/>
                    </a:lnTo>
                    <a:cubicBezTo>
                      <a:pt x="37617" y="137928"/>
                      <a:pt x="26218" y="136104"/>
                      <a:pt x="17497" y="141747"/>
                    </a:cubicBezTo>
                    <a:cubicBezTo>
                      <a:pt x="14089" y="144146"/>
                      <a:pt x="11268" y="147281"/>
                      <a:pt x="9233" y="150923"/>
                    </a:cubicBezTo>
                    <a:cubicBezTo>
                      <a:pt x="3756" y="147543"/>
                      <a:pt x="302" y="141678"/>
                      <a:pt x="0" y="135249"/>
                    </a:cubicBezTo>
                    <a:cubicBezTo>
                      <a:pt x="456" y="128410"/>
                      <a:pt x="6782" y="121742"/>
                      <a:pt x="3933" y="115472"/>
                    </a:cubicBezTo>
                    <a:cubicBezTo>
                      <a:pt x="3021" y="113477"/>
                      <a:pt x="1197" y="111653"/>
                      <a:pt x="1311" y="109431"/>
                    </a:cubicBezTo>
                    <a:cubicBezTo>
                      <a:pt x="1311" y="106068"/>
                      <a:pt x="5871" y="104928"/>
                      <a:pt x="8378" y="102648"/>
                    </a:cubicBezTo>
                    <a:cubicBezTo>
                      <a:pt x="11507" y="99491"/>
                      <a:pt x="11507" y="94407"/>
                      <a:pt x="8378" y="91249"/>
                    </a:cubicBezTo>
                    <a:cubicBezTo>
                      <a:pt x="6327" y="89426"/>
                      <a:pt x="3192" y="88457"/>
                      <a:pt x="2679" y="85550"/>
                    </a:cubicBezTo>
                    <a:cubicBezTo>
                      <a:pt x="2480" y="84592"/>
                      <a:pt x="2480" y="83601"/>
                      <a:pt x="2679" y="82643"/>
                    </a:cubicBezTo>
                    <a:cubicBezTo>
                      <a:pt x="3152" y="80437"/>
                      <a:pt x="3289" y="78169"/>
                      <a:pt x="3078" y="75918"/>
                    </a:cubicBezTo>
                    <a:cubicBezTo>
                      <a:pt x="6281" y="74402"/>
                      <a:pt x="9917" y="74077"/>
                      <a:pt x="13337" y="75006"/>
                    </a:cubicBezTo>
                    <a:cubicBezTo>
                      <a:pt x="17155" y="76146"/>
                      <a:pt x="21373" y="79110"/>
                      <a:pt x="24736" y="76887"/>
                    </a:cubicBezTo>
                    <a:cubicBezTo>
                      <a:pt x="28099" y="74664"/>
                      <a:pt x="27643" y="69363"/>
                      <a:pt x="31119" y="67825"/>
                    </a:cubicBezTo>
                    <a:cubicBezTo>
                      <a:pt x="34596" y="66286"/>
                      <a:pt x="40067" y="69363"/>
                      <a:pt x="41606" y="65887"/>
                    </a:cubicBezTo>
                    <a:cubicBezTo>
                      <a:pt x="42347" y="64348"/>
                      <a:pt x="41606" y="62410"/>
                      <a:pt x="42233" y="60871"/>
                    </a:cubicBezTo>
                    <a:cubicBezTo>
                      <a:pt x="42860" y="59332"/>
                      <a:pt x="46052" y="59047"/>
                      <a:pt x="47933" y="57622"/>
                    </a:cubicBezTo>
                    <a:cubicBezTo>
                      <a:pt x="49814" y="56198"/>
                      <a:pt x="49358" y="51923"/>
                      <a:pt x="49984" y="49187"/>
                    </a:cubicBezTo>
                    <a:cubicBezTo>
                      <a:pt x="51865" y="40410"/>
                      <a:pt x="66342" y="39954"/>
                      <a:pt x="69135" y="31405"/>
                    </a:cubicBezTo>
                    <a:cubicBezTo>
                      <a:pt x="70617" y="26902"/>
                      <a:pt x="68109" y="21887"/>
                      <a:pt x="69534" y="17384"/>
                    </a:cubicBezTo>
                    <a:cubicBezTo>
                      <a:pt x="71455" y="13149"/>
                      <a:pt x="75416" y="10203"/>
                      <a:pt x="80021" y="9576"/>
                    </a:cubicBezTo>
                    <a:cubicBezTo>
                      <a:pt x="84540" y="9040"/>
                      <a:pt x="89015" y="8185"/>
                      <a:pt x="93414" y="7011"/>
                    </a:cubicBezTo>
                    <a:cubicBezTo>
                      <a:pt x="94606" y="6589"/>
                      <a:pt x="95706" y="5951"/>
                      <a:pt x="96663" y="5130"/>
                    </a:cubicBezTo>
                    <a:cubicBezTo>
                      <a:pt x="98202" y="3762"/>
                      <a:pt x="99057" y="1597"/>
                      <a:pt x="100881" y="571"/>
                    </a:cubicBezTo>
                    <a:cubicBezTo>
                      <a:pt x="104301" y="-1253"/>
                      <a:pt x="108176" y="1768"/>
                      <a:pt x="111881" y="3022"/>
                    </a:cubicBezTo>
                    <a:cubicBezTo>
                      <a:pt x="117067" y="4731"/>
                      <a:pt x="123622" y="3022"/>
                      <a:pt x="127498" y="6840"/>
                    </a:cubicBezTo>
                    <a:cubicBezTo>
                      <a:pt x="129093" y="8436"/>
                      <a:pt x="129891" y="10830"/>
                      <a:pt x="131658" y="12540"/>
                    </a:cubicBezTo>
                    <a:cubicBezTo>
                      <a:pt x="134924" y="14483"/>
                      <a:pt x="138993" y="14483"/>
                      <a:pt x="142259" y="12540"/>
                    </a:cubicBezTo>
                    <a:cubicBezTo>
                      <a:pt x="145525" y="10699"/>
                      <a:pt x="149133" y="9536"/>
                      <a:pt x="152860" y="9120"/>
                    </a:cubicBezTo>
                    <a:cubicBezTo>
                      <a:pt x="159472" y="9120"/>
                      <a:pt x="164259" y="16301"/>
                      <a:pt x="164886" y="22856"/>
                    </a:cubicBezTo>
                    <a:cubicBezTo>
                      <a:pt x="165513" y="29410"/>
                      <a:pt x="164316" y="36135"/>
                      <a:pt x="164886" y="42747"/>
                    </a:cubicBezTo>
                    <a:cubicBezTo>
                      <a:pt x="166214" y="52556"/>
                      <a:pt x="171560" y="61373"/>
                      <a:pt x="179648" y="67084"/>
                    </a:cubicBezTo>
                    <a:cubicBezTo>
                      <a:pt x="183694" y="69990"/>
                      <a:pt x="188197" y="72213"/>
                      <a:pt x="192186" y="75234"/>
                    </a:cubicBezTo>
                    <a:cubicBezTo>
                      <a:pt x="196364" y="77998"/>
                      <a:pt x="199385" y="82193"/>
                      <a:pt x="200679" y="87032"/>
                    </a:cubicBezTo>
                    <a:cubicBezTo>
                      <a:pt x="201830" y="92047"/>
                      <a:pt x="199208" y="97171"/>
                      <a:pt x="194466" y="99172"/>
                    </a:cubicBezTo>
                    <a:cubicBezTo>
                      <a:pt x="189679" y="100710"/>
                      <a:pt x="183922" y="97747"/>
                      <a:pt x="179648" y="100369"/>
                    </a:cubicBezTo>
                    <a:cubicBezTo>
                      <a:pt x="175373" y="102990"/>
                      <a:pt x="175601" y="110058"/>
                      <a:pt x="176456" y="115073"/>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46" name="Freihandform: Form 740">
                <a:extLst>
                  <a:ext uri="{FF2B5EF4-FFF2-40B4-BE49-F238E27FC236}">
                    <a16:creationId xmlns:a16="http://schemas.microsoft.com/office/drawing/2014/main" id="{37975635-8AD8-F026-6D18-8C73FD5EF8FA}"/>
                  </a:ext>
                </a:extLst>
              </p:cNvPr>
              <p:cNvSpPr/>
              <p:nvPr/>
            </p:nvSpPr>
            <p:spPr>
              <a:xfrm>
                <a:off x="4218233" y="2748658"/>
                <a:ext cx="124341" cy="85939"/>
              </a:xfrm>
              <a:custGeom>
                <a:avLst/>
                <a:gdLst>
                  <a:gd name="connsiteX0" fmla="*/ 123914 w 124341"/>
                  <a:gd name="connsiteY0" fmla="*/ 30093 h 85939"/>
                  <a:gd name="connsiteX1" fmla="*/ 123914 w 124341"/>
                  <a:gd name="connsiteY1" fmla="*/ 39725 h 85939"/>
                  <a:gd name="connsiteX2" fmla="*/ 104764 w 124341"/>
                  <a:gd name="connsiteY2" fmla="*/ 57508 h 85939"/>
                  <a:gd name="connsiteX3" fmla="*/ 102712 w 124341"/>
                  <a:gd name="connsiteY3" fmla="*/ 65943 h 85939"/>
                  <a:gd name="connsiteX4" fmla="*/ 97012 w 124341"/>
                  <a:gd name="connsiteY4" fmla="*/ 69192 h 85939"/>
                  <a:gd name="connsiteX5" fmla="*/ 96385 w 124341"/>
                  <a:gd name="connsiteY5" fmla="*/ 74207 h 85939"/>
                  <a:gd name="connsiteX6" fmla="*/ 85898 w 124341"/>
                  <a:gd name="connsiteY6" fmla="*/ 76145 h 85939"/>
                  <a:gd name="connsiteX7" fmla="*/ 79515 w 124341"/>
                  <a:gd name="connsiteY7" fmla="*/ 85207 h 85939"/>
                  <a:gd name="connsiteX8" fmla="*/ 68116 w 124341"/>
                  <a:gd name="connsiteY8" fmla="*/ 83326 h 85939"/>
                  <a:gd name="connsiteX9" fmla="*/ 57857 w 124341"/>
                  <a:gd name="connsiteY9" fmla="*/ 84238 h 85939"/>
                  <a:gd name="connsiteX10" fmla="*/ 54665 w 124341"/>
                  <a:gd name="connsiteY10" fmla="*/ 78539 h 85939"/>
                  <a:gd name="connsiteX11" fmla="*/ 48966 w 124341"/>
                  <a:gd name="connsiteY11" fmla="*/ 77228 h 85939"/>
                  <a:gd name="connsiteX12" fmla="*/ 48966 w 124341"/>
                  <a:gd name="connsiteY12" fmla="*/ 77228 h 85939"/>
                  <a:gd name="connsiteX13" fmla="*/ 48168 w 124341"/>
                  <a:gd name="connsiteY13" fmla="*/ 71984 h 85939"/>
                  <a:gd name="connsiteX14" fmla="*/ 48168 w 124341"/>
                  <a:gd name="connsiteY14" fmla="*/ 64917 h 85939"/>
                  <a:gd name="connsiteX15" fmla="*/ 46629 w 124341"/>
                  <a:gd name="connsiteY15" fmla="*/ 58591 h 85939"/>
                  <a:gd name="connsiteX16" fmla="*/ 39619 w 124341"/>
                  <a:gd name="connsiteY16" fmla="*/ 46109 h 85939"/>
                  <a:gd name="connsiteX17" fmla="*/ 17618 w 124341"/>
                  <a:gd name="connsiteY17" fmla="*/ 37844 h 85939"/>
                  <a:gd name="connsiteX18" fmla="*/ 13002 w 124341"/>
                  <a:gd name="connsiteY18" fmla="*/ 30663 h 85939"/>
                  <a:gd name="connsiteX19" fmla="*/ 7873 w 124341"/>
                  <a:gd name="connsiteY19" fmla="*/ 27472 h 85939"/>
                  <a:gd name="connsiteX20" fmla="*/ 9013 w 124341"/>
                  <a:gd name="connsiteY20" fmla="*/ 25021 h 85939"/>
                  <a:gd name="connsiteX21" fmla="*/ 7359 w 124341"/>
                  <a:gd name="connsiteY21" fmla="*/ 11855 h 85939"/>
                  <a:gd name="connsiteX22" fmla="*/ 235 w 124341"/>
                  <a:gd name="connsiteY22" fmla="*/ 4446 h 85939"/>
                  <a:gd name="connsiteX23" fmla="*/ 577 w 124341"/>
                  <a:gd name="connsiteY23" fmla="*/ 0 h 85939"/>
                  <a:gd name="connsiteX24" fmla="*/ 32323 w 124341"/>
                  <a:gd name="connsiteY24" fmla="*/ 2451 h 85939"/>
                  <a:gd name="connsiteX25" fmla="*/ 53240 w 124341"/>
                  <a:gd name="connsiteY25" fmla="*/ 342 h 85939"/>
                  <a:gd name="connsiteX26" fmla="*/ 92339 w 124341"/>
                  <a:gd name="connsiteY26" fmla="*/ 3648 h 85939"/>
                  <a:gd name="connsiteX27" fmla="*/ 101515 w 124341"/>
                  <a:gd name="connsiteY27" fmla="*/ 9632 h 85939"/>
                  <a:gd name="connsiteX28" fmla="*/ 112914 w 124341"/>
                  <a:gd name="connsiteY28" fmla="*/ 11855 h 85939"/>
                  <a:gd name="connsiteX29" fmla="*/ 116732 w 124341"/>
                  <a:gd name="connsiteY29" fmla="*/ 20518 h 85939"/>
                  <a:gd name="connsiteX30" fmla="*/ 123914 w 124341"/>
                  <a:gd name="connsiteY30" fmla="*/ 30093 h 8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4341" h="85939">
                    <a:moveTo>
                      <a:pt x="123914" y="30093"/>
                    </a:moveTo>
                    <a:cubicBezTo>
                      <a:pt x="124484" y="33279"/>
                      <a:pt x="124484" y="36539"/>
                      <a:pt x="123914" y="39725"/>
                    </a:cubicBezTo>
                    <a:cubicBezTo>
                      <a:pt x="121121" y="48275"/>
                      <a:pt x="106815" y="48731"/>
                      <a:pt x="104764" y="57508"/>
                    </a:cubicBezTo>
                    <a:cubicBezTo>
                      <a:pt x="104137" y="60414"/>
                      <a:pt x="104764" y="64005"/>
                      <a:pt x="102712" y="65943"/>
                    </a:cubicBezTo>
                    <a:cubicBezTo>
                      <a:pt x="100660" y="67881"/>
                      <a:pt x="98209" y="67254"/>
                      <a:pt x="97012" y="69192"/>
                    </a:cubicBezTo>
                    <a:cubicBezTo>
                      <a:pt x="95815" y="71129"/>
                      <a:pt x="97012" y="72668"/>
                      <a:pt x="96385" y="74207"/>
                    </a:cubicBezTo>
                    <a:cubicBezTo>
                      <a:pt x="94847" y="77684"/>
                      <a:pt x="89318" y="74606"/>
                      <a:pt x="85898" y="76145"/>
                    </a:cubicBezTo>
                    <a:cubicBezTo>
                      <a:pt x="82479" y="77684"/>
                      <a:pt x="82650" y="83155"/>
                      <a:pt x="79515" y="85207"/>
                    </a:cubicBezTo>
                    <a:cubicBezTo>
                      <a:pt x="76380" y="87259"/>
                      <a:pt x="71935" y="84466"/>
                      <a:pt x="68116" y="83326"/>
                    </a:cubicBezTo>
                    <a:cubicBezTo>
                      <a:pt x="64696" y="82397"/>
                      <a:pt x="61060" y="82722"/>
                      <a:pt x="57857" y="84238"/>
                    </a:cubicBezTo>
                    <a:cubicBezTo>
                      <a:pt x="57931" y="81896"/>
                      <a:pt x="56706" y="79701"/>
                      <a:pt x="54665" y="78539"/>
                    </a:cubicBezTo>
                    <a:cubicBezTo>
                      <a:pt x="52796" y="77974"/>
                      <a:pt x="50892" y="77541"/>
                      <a:pt x="48966" y="77228"/>
                    </a:cubicBezTo>
                    <a:lnTo>
                      <a:pt x="48966" y="77228"/>
                    </a:lnTo>
                    <a:cubicBezTo>
                      <a:pt x="48504" y="75518"/>
                      <a:pt x="48236" y="73757"/>
                      <a:pt x="48168" y="71984"/>
                    </a:cubicBezTo>
                    <a:cubicBezTo>
                      <a:pt x="48168" y="69591"/>
                      <a:pt x="48168" y="67254"/>
                      <a:pt x="48168" y="64917"/>
                    </a:cubicBezTo>
                    <a:cubicBezTo>
                      <a:pt x="47860" y="62763"/>
                      <a:pt x="47341" y="60648"/>
                      <a:pt x="46629" y="58591"/>
                    </a:cubicBezTo>
                    <a:cubicBezTo>
                      <a:pt x="45694" y="53786"/>
                      <a:pt x="43232" y="49409"/>
                      <a:pt x="39619" y="46109"/>
                    </a:cubicBezTo>
                    <a:cubicBezTo>
                      <a:pt x="33235" y="41378"/>
                      <a:pt x="22862" y="43829"/>
                      <a:pt x="17618" y="37844"/>
                    </a:cubicBezTo>
                    <a:cubicBezTo>
                      <a:pt x="15738" y="35679"/>
                      <a:pt x="14883" y="32829"/>
                      <a:pt x="13002" y="30663"/>
                    </a:cubicBezTo>
                    <a:cubicBezTo>
                      <a:pt x="11623" y="29141"/>
                      <a:pt x="9845" y="28041"/>
                      <a:pt x="7873" y="27472"/>
                    </a:cubicBezTo>
                    <a:cubicBezTo>
                      <a:pt x="8272" y="26674"/>
                      <a:pt x="8671" y="25876"/>
                      <a:pt x="9013" y="25021"/>
                    </a:cubicBezTo>
                    <a:cubicBezTo>
                      <a:pt x="10865" y="20655"/>
                      <a:pt x="10232" y="15628"/>
                      <a:pt x="7359" y="11855"/>
                    </a:cubicBezTo>
                    <a:cubicBezTo>
                      <a:pt x="5080" y="9233"/>
                      <a:pt x="1318" y="7694"/>
                      <a:pt x="235" y="4446"/>
                    </a:cubicBezTo>
                    <a:cubicBezTo>
                      <a:pt x="-169" y="2969"/>
                      <a:pt x="-50" y="1396"/>
                      <a:pt x="577" y="0"/>
                    </a:cubicBezTo>
                    <a:cubicBezTo>
                      <a:pt x="10990" y="2325"/>
                      <a:pt x="21677" y="3152"/>
                      <a:pt x="32323" y="2451"/>
                    </a:cubicBezTo>
                    <a:cubicBezTo>
                      <a:pt x="39333" y="1995"/>
                      <a:pt x="46230" y="855"/>
                      <a:pt x="53240" y="342"/>
                    </a:cubicBezTo>
                    <a:cubicBezTo>
                      <a:pt x="66366" y="-616"/>
                      <a:pt x="79561" y="502"/>
                      <a:pt x="92339" y="3648"/>
                    </a:cubicBezTo>
                    <a:cubicBezTo>
                      <a:pt x="92339" y="7694"/>
                      <a:pt x="97468" y="9632"/>
                      <a:pt x="101515" y="9632"/>
                    </a:cubicBezTo>
                    <a:cubicBezTo>
                      <a:pt x="105562" y="9632"/>
                      <a:pt x="110235" y="9119"/>
                      <a:pt x="112914" y="11855"/>
                    </a:cubicBezTo>
                    <a:cubicBezTo>
                      <a:pt x="114874" y="14385"/>
                      <a:pt x="116185" y="17361"/>
                      <a:pt x="116732" y="20518"/>
                    </a:cubicBezTo>
                    <a:cubicBezTo>
                      <a:pt x="118118" y="24354"/>
                      <a:pt x="120619" y="27688"/>
                      <a:pt x="123914" y="30093"/>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47" name="Freihandform: Form 741">
                <a:extLst>
                  <a:ext uri="{FF2B5EF4-FFF2-40B4-BE49-F238E27FC236}">
                    <a16:creationId xmlns:a16="http://schemas.microsoft.com/office/drawing/2014/main" id="{63E509E8-C54B-EF0D-0F27-8C7CC5A2B670}"/>
                  </a:ext>
                </a:extLst>
              </p:cNvPr>
              <p:cNvSpPr/>
              <p:nvPr/>
            </p:nvSpPr>
            <p:spPr>
              <a:xfrm>
                <a:off x="4219039" y="2696088"/>
                <a:ext cx="159630" cy="82549"/>
              </a:xfrm>
              <a:custGeom>
                <a:avLst/>
                <a:gdLst>
                  <a:gd name="connsiteX0" fmla="*/ 159585 w 159630"/>
                  <a:gd name="connsiteY0" fmla="*/ 61347 h 82549"/>
                  <a:gd name="connsiteX1" fmla="*/ 154855 w 159630"/>
                  <a:gd name="connsiteY1" fmla="*/ 61347 h 82549"/>
                  <a:gd name="connsiteX2" fmla="*/ 150637 w 159630"/>
                  <a:gd name="connsiteY2" fmla="*/ 65907 h 82549"/>
                  <a:gd name="connsiteX3" fmla="*/ 147388 w 159630"/>
                  <a:gd name="connsiteY3" fmla="*/ 67787 h 82549"/>
                  <a:gd name="connsiteX4" fmla="*/ 133994 w 159630"/>
                  <a:gd name="connsiteY4" fmla="*/ 70352 h 82549"/>
                  <a:gd name="connsiteX5" fmla="*/ 123507 w 159630"/>
                  <a:gd name="connsiteY5" fmla="*/ 78160 h 82549"/>
                  <a:gd name="connsiteX6" fmla="*/ 123108 w 159630"/>
                  <a:gd name="connsiteY6" fmla="*/ 82549 h 82549"/>
                  <a:gd name="connsiteX7" fmla="*/ 116155 w 159630"/>
                  <a:gd name="connsiteY7" fmla="*/ 73088 h 82549"/>
                  <a:gd name="connsiteX8" fmla="*/ 112336 w 159630"/>
                  <a:gd name="connsiteY8" fmla="*/ 64425 h 82549"/>
                  <a:gd name="connsiteX9" fmla="*/ 100937 w 159630"/>
                  <a:gd name="connsiteY9" fmla="*/ 62202 h 82549"/>
                  <a:gd name="connsiteX10" fmla="*/ 91761 w 159630"/>
                  <a:gd name="connsiteY10" fmla="*/ 56217 h 82549"/>
                  <a:gd name="connsiteX11" fmla="*/ 52663 w 159630"/>
                  <a:gd name="connsiteY11" fmla="*/ 52912 h 82549"/>
                  <a:gd name="connsiteX12" fmla="*/ 31746 w 159630"/>
                  <a:gd name="connsiteY12" fmla="*/ 55021 h 82549"/>
                  <a:gd name="connsiteX13" fmla="*/ 0 w 159630"/>
                  <a:gd name="connsiteY13" fmla="*/ 52570 h 82549"/>
                  <a:gd name="connsiteX14" fmla="*/ 6041 w 159630"/>
                  <a:gd name="connsiteY14" fmla="*/ 40886 h 82549"/>
                  <a:gd name="connsiteX15" fmla="*/ 6440 w 159630"/>
                  <a:gd name="connsiteY15" fmla="*/ 31824 h 82549"/>
                  <a:gd name="connsiteX16" fmla="*/ 14362 w 159630"/>
                  <a:gd name="connsiteY16" fmla="*/ 26523 h 82549"/>
                  <a:gd name="connsiteX17" fmla="*/ 17782 w 159630"/>
                  <a:gd name="connsiteY17" fmla="*/ 16264 h 82549"/>
                  <a:gd name="connsiteX18" fmla="*/ 31917 w 159630"/>
                  <a:gd name="connsiteY18" fmla="*/ 9197 h 82549"/>
                  <a:gd name="connsiteX19" fmla="*/ 47363 w 159630"/>
                  <a:gd name="connsiteY19" fmla="*/ 16093 h 82549"/>
                  <a:gd name="connsiteX20" fmla="*/ 52549 w 159630"/>
                  <a:gd name="connsiteY20" fmla="*/ 29487 h 82549"/>
                  <a:gd name="connsiteX21" fmla="*/ 65943 w 159630"/>
                  <a:gd name="connsiteY21" fmla="*/ 30912 h 82549"/>
                  <a:gd name="connsiteX22" fmla="*/ 78026 w 159630"/>
                  <a:gd name="connsiteY22" fmla="*/ 19969 h 82549"/>
                  <a:gd name="connsiteX23" fmla="*/ 75176 w 159630"/>
                  <a:gd name="connsiteY23" fmla="*/ 14269 h 82549"/>
                  <a:gd name="connsiteX24" fmla="*/ 77114 w 159630"/>
                  <a:gd name="connsiteY24" fmla="*/ 1673 h 82549"/>
                  <a:gd name="connsiteX25" fmla="*/ 92388 w 159630"/>
                  <a:gd name="connsiteY25" fmla="*/ 78 h 82549"/>
                  <a:gd name="connsiteX26" fmla="*/ 98088 w 159630"/>
                  <a:gd name="connsiteY26" fmla="*/ 933 h 82549"/>
                  <a:gd name="connsiteX27" fmla="*/ 105155 w 159630"/>
                  <a:gd name="connsiteY27" fmla="*/ 6290 h 82549"/>
                  <a:gd name="connsiteX28" fmla="*/ 112166 w 159630"/>
                  <a:gd name="connsiteY28" fmla="*/ 6917 h 82549"/>
                  <a:gd name="connsiteX29" fmla="*/ 115870 w 159630"/>
                  <a:gd name="connsiteY29" fmla="*/ 10793 h 82549"/>
                  <a:gd name="connsiteX30" fmla="*/ 147730 w 159630"/>
                  <a:gd name="connsiteY30" fmla="*/ 18772 h 82549"/>
                  <a:gd name="connsiteX31" fmla="*/ 150466 w 159630"/>
                  <a:gd name="connsiteY31" fmla="*/ 43679 h 82549"/>
                  <a:gd name="connsiteX32" fmla="*/ 159414 w 159630"/>
                  <a:gd name="connsiteY32" fmla="*/ 55419 h 82549"/>
                  <a:gd name="connsiteX33" fmla="*/ 159585 w 159630"/>
                  <a:gd name="connsiteY33" fmla="*/ 61347 h 8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9630" h="82549">
                    <a:moveTo>
                      <a:pt x="159585" y="61347"/>
                    </a:moveTo>
                    <a:cubicBezTo>
                      <a:pt x="158080" y="60663"/>
                      <a:pt x="156359" y="60663"/>
                      <a:pt x="154855" y="61347"/>
                    </a:cubicBezTo>
                    <a:cubicBezTo>
                      <a:pt x="153031" y="62373"/>
                      <a:pt x="152176" y="64539"/>
                      <a:pt x="150637" y="65907"/>
                    </a:cubicBezTo>
                    <a:cubicBezTo>
                      <a:pt x="149679" y="66727"/>
                      <a:pt x="148579" y="67366"/>
                      <a:pt x="147388" y="67787"/>
                    </a:cubicBezTo>
                    <a:cubicBezTo>
                      <a:pt x="142988" y="68961"/>
                      <a:pt x="138514" y="69816"/>
                      <a:pt x="133994" y="70352"/>
                    </a:cubicBezTo>
                    <a:cubicBezTo>
                      <a:pt x="129389" y="70979"/>
                      <a:pt x="125428" y="73926"/>
                      <a:pt x="123507" y="78160"/>
                    </a:cubicBezTo>
                    <a:cubicBezTo>
                      <a:pt x="123091" y="79585"/>
                      <a:pt x="122955" y="81073"/>
                      <a:pt x="123108" y="82549"/>
                    </a:cubicBezTo>
                    <a:cubicBezTo>
                      <a:pt x="119917" y="80144"/>
                      <a:pt x="117500" y="76855"/>
                      <a:pt x="116155" y="73088"/>
                    </a:cubicBezTo>
                    <a:cubicBezTo>
                      <a:pt x="115608" y="69930"/>
                      <a:pt x="114297" y="66955"/>
                      <a:pt x="112336" y="64425"/>
                    </a:cubicBezTo>
                    <a:cubicBezTo>
                      <a:pt x="109373" y="61689"/>
                      <a:pt x="104756" y="62259"/>
                      <a:pt x="100937" y="62202"/>
                    </a:cubicBezTo>
                    <a:cubicBezTo>
                      <a:pt x="97119" y="62145"/>
                      <a:pt x="91875" y="60264"/>
                      <a:pt x="91761" y="56217"/>
                    </a:cubicBezTo>
                    <a:cubicBezTo>
                      <a:pt x="78983" y="53071"/>
                      <a:pt x="65789" y="51954"/>
                      <a:pt x="52663" y="52912"/>
                    </a:cubicBezTo>
                    <a:cubicBezTo>
                      <a:pt x="45652" y="53425"/>
                      <a:pt x="38756" y="54565"/>
                      <a:pt x="31746" y="55021"/>
                    </a:cubicBezTo>
                    <a:cubicBezTo>
                      <a:pt x="21099" y="55722"/>
                      <a:pt x="10413" y="54895"/>
                      <a:pt x="0" y="52570"/>
                    </a:cubicBezTo>
                    <a:cubicBezTo>
                      <a:pt x="1482" y="48808"/>
                      <a:pt x="5699" y="45217"/>
                      <a:pt x="6041" y="40886"/>
                    </a:cubicBezTo>
                    <a:cubicBezTo>
                      <a:pt x="6383" y="37865"/>
                      <a:pt x="4844" y="34445"/>
                      <a:pt x="6440" y="31824"/>
                    </a:cubicBezTo>
                    <a:cubicBezTo>
                      <a:pt x="8036" y="29202"/>
                      <a:pt x="12140" y="28803"/>
                      <a:pt x="14362" y="26523"/>
                    </a:cubicBezTo>
                    <a:cubicBezTo>
                      <a:pt x="16585" y="24243"/>
                      <a:pt x="16415" y="19627"/>
                      <a:pt x="17782" y="16264"/>
                    </a:cubicBezTo>
                    <a:cubicBezTo>
                      <a:pt x="20427" y="11055"/>
                      <a:pt x="26166" y="8188"/>
                      <a:pt x="31917" y="9197"/>
                    </a:cubicBezTo>
                    <a:cubicBezTo>
                      <a:pt x="37508" y="10337"/>
                      <a:pt x="42780" y="12691"/>
                      <a:pt x="47363" y="16093"/>
                    </a:cubicBezTo>
                    <a:cubicBezTo>
                      <a:pt x="47334" y="21052"/>
                      <a:pt x="49186" y="25839"/>
                      <a:pt x="52549" y="29487"/>
                    </a:cubicBezTo>
                    <a:cubicBezTo>
                      <a:pt x="56089" y="33123"/>
                      <a:pt x="61719" y="33722"/>
                      <a:pt x="65943" y="30912"/>
                    </a:cubicBezTo>
                    <a:cubicBezTo>
                      <a:pt x="65373" y="25212"/>
                      <a:pt x="77798" y="25839"/>
                      <a:pt x="78026" y="19969"/>
                    </a:cubicBezTo>
                    <a:cubicBezTo>
                      <a:pt x="78026" y="17860"/>
                      <a:pt x="76316" y="16207"/>
                      <a:pt x="75176" y="14269"/>
                    </a:cubicBezTo>
                    <a:cubicBezTo>
                      <a:pt x="72982" y="10103"/>
                      <a:pt x="73768" y="4991"/>
                      <a:pt x="77114" y="1673"/>
                    </a:cubicBezTo>
                    <a:cubicBezTo>
                      <a:pt x="82072" y="1673"/>
                      <a:pt x="87373" y="363"/>
                      <a:pt x="92388" y="78"/>
                    </a:cubicBezTo>
                    <a:cubicBezTo>
                      <a:pt x="94332" y="-156"/>
                      <a:pt x="96298" y="140"/>
                      <a:pt x="98088" y="933"/>
                    </a:cubicBezTo>
                    <a:cubicBezTo>
                      <a:pt x="100710" y="2300"/>
                      <a:pt x="102305" y="5492"/>
                      <a:pt x="105155" y="6290"/>
                    </a:cubicBezTo>
                    <a:cubicBezTo>
                      <a:pt x="108005" y="7088"/>
                      <a:pt x="110057" y="5891"/>
                      <a:pt x="112166" y="6917"/>
                    </a:cubicBezTo>
                    <a:cubicBezTo>
                      <a:pt x="114274" y="7943"/>
                      <a:pt x="114673" y="9425"/>
                      <a:pt x="115870" y="10793"/>
                    </a:cubicBezTo>
                    <a:cubicBezTo>
                      <a:pt x="123393" y="19285"/>
                      <a:pt x="140207" y="10280"/>
                      <a:pt x="147730" y="18772"/>
                    </a:cubicBezTo>
                    <a:cubicBezTo>
                      <a:pt x="153430" y="25155"/>
                      <a:pt x="148528" y="35357"/>
                      <a:pt x="150466" y="43679"/>
                    </a:cubicBezTo>
                    <a:cubicBezTo>
                      <a:pt x="155880" y="43679"/>
                      <a:pt x="158730" y="50062"/>
                      <a:pt x="159414" y="55419"/>
                    </a:cubicBezTo>
                    <a:cubicBezTo>
                      <a:pt x="159625" y="57386"/>
                      <a:pt x="159682" y="59369"/>
                      <a:pt x="159585" y="6134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8" name="Freihandform: Form 742">
                <a:extLst>
                  <a:ext uri="{FF2B5EF4-FFF2-40B4-BE49-F238E27FC236}">
                    <a16:creationId xmlns:a16="http://schemas.microsoft.com/office/drawing/2014/main" id="{2DFA10F5-6745-2887-CEC9-01BAECCCEFDF}"/>
                  </a:ext>
                </a:extLst>
              </p:cNvPr>
              <p:cNvSpPr/>
              <p:nvPr/>
            </p:nvSpPr>
            <p:spPr>
              <a:xfrm>
                <a:off x="4239840" y="2642078"/>
                <a:ext cx="136047" cy="69818"/>
              </a:xfrm>
              <a:custGeom>
                <a:avLst/>
                <a:gdLst>
                  <a:gd name="connsiteX0" fmla="*/ 17898 w 136047"/>
                  <a:gd name="connsiteY0" fmla="*/ 19606 h 69818"/>
                  <a:gd name="connsiteX1" fmla="*/ 21431 w 136047"/>
                  <a:gd name="connsiteY1" fmla="*/ 20233 h 69818"/>
                  <a:gd name="connsiteX2" fmla="*/ 24281 w 136047"/>
                  <a:gd name="connsiteY2" fmla="*/ 22798 h 69818"/>
                  <a:gd name="connsiteX3" fmla="*/ 26162 w 136047"/>
                  <a:gd name="connsiteY3" fmla="*/ 24964 h 69818"/>
                  <a:gd name="connsiteX4" fmla="*/ 26162 w 136047"/>
                  <a:gd name="connsiteY4" fmla="*/ 26788 h 69818"/>
                  <a:gd name="connsiteX5" fmla="*/ 27986 w 136047"/>
                  <a:gd name="connsiteY5" fmla="*/ 36534 h 69818"/>
                  <a:gd name="connsiteX6" fmla="*/ 28499 w 136047"/>
                  <a:gd name="connsiteY6" fmla="*/ 38129 h 69818"/>
                  <a:gd name="connsiteX7" fmla="*/ 23711 w 136047"/>
                  <a:gd name="connsiteY7" fmla="*/ 41777 h 69818"/>
                  <a:gd name="connsiteX8" fmla="*/ 22115 w 136047"/>
                  <a:gd name="connsiteY8" fmla="*/ 42347 h 69818"/>
                  <a:gd name="connsiteX9" fmla="*/ 21545 w 136047"/>
                  <a:gd name="connsiteY9" fmla="*/ 43544 h 69818"/>
                  <a:gd name="connsiteX10" fmla="*/ 19722 w 136047"/>
                  <a:gd name="connsiteY10" fmla="*/ 47819 h 69818"/>
                  <a:gd name="connsiteX11" fmla="*/ 14877 w 136047"/>
                  <a:gd name="connsiteY11" fmla="*/ 51694 h 69818"/>
                  <a:gd name="connsiteX12" fmla="*/ 5245 w 136047"/>
                  <a:gd name="connsiteY12" fmla="*/ 52093 h 69818"/>
                  <a:gd name="connsiteX13" fmla="*/ 970 w 136047"/>
                  <a:gd name="connsiteY13" fmla="*/ 49414 h 69818"/>
                  <a:gd name="connsiteX14" fmla="*/ 514 w 136047"/>
                  <a:gd name="connsiteY14" fmla="*/ 44570 h 69818"/>
                  <a:gd name="connsiteX15" fmla="*/ 8437 w 136047"/>
                  <a:gd name="connsiteY15" fmla="*/ 42347 h 69818"/>
                  <a:gd name="connsiteX16" fmla="*/ 11799 w 136047"/>
                  <a:gd name="connsiteY16" fmla="*/ 41378 h 69818"/>
                  <a:gd name="connsiteX17" fmla="*/ 13167 w 136047"/>
                  <a:gd name="connsiteY17" fmla="*/ 38244 h 69818"/>
                  <a:gd name="connsiteX18" fmla="*/ 11970 w 136047"/>
                  <a:gd name="connsiteY18" fmla="*/ 35964 h 69818"/>
                  <a:gd name="connsiteX19" fmla="*/ 11970 w 136047"/>
                  <a:gd name="connsiteY19" fmla="*/ 33513 h 69818"/>
                  <a:gd name="connsiteX20" fmla="*/ 13224 w 136047"/>
                  <a:gd name="connsiteY20" fmla="*/ 32886 h 69818"/>
                  <a:gd name="connsiteX21" fmla="*/ 16701 w 136047"/>
                  <a:gd name="connsiteY21" fmla="*/ 31974 h 69818"/>
                  <a:gd name="connsiteX22" fmla="*/ 19664 w 136047"/>
                  <a:gd name="connsiteY22" fmla="*/ 30378 h 69818"/>
                  <a:gd name="connsiteX23" fmla="*/ 18981 w 136047"/>
                  <a:gd name="connsiteY23" fmla="*/ 24679 h 69818"/>
                  <a:gd name="connsiteX24" fmla="*/ 17898 w 136047"/>
                  <a:gd name="connsiteY24" fmla="*/ 19606 h 69818"/>
                  <a:gd name="connsiteX25" fmla="*/ 127897 w 136047"/>
                  <a:gd name="connsiteY25" fmla="*/ 49129 h 69818"/>
                  <a:gd name="connsiteX26" fmla="*/ 122198 w 136047"/>
                  <a:gd name="connsiteY26" fmla="*/ 29865 h 69818"/>
                  <a:gd name="connsiteX27" fmla="*/ 130006 w 136047"/>
                  <a:gd name="connsiteY27" fmla="*/ 15959 h 69818"/>
                  <a:gd name="connsiteX28" fmla="*/ 136048 w 136047"/>
                  <a:gd name="connsiteY28" fmla="*/ 3762 h 69818"/>
                  <a:gd name="connsiteX29" fmla="*/ 128239 w 136047"/>
                  <a:gd name="connsiteY29" fmla="*/ 5244 h 69818"/>
                  <a:gd name="connsiteX30" fmla="*/ 104530 w 136047"/>
                  <a:gd name="connsiteY30" fmla="*/ 1767 h 69818"/>
                  <a:gd name="connsiteX31" fmla="*/ 94499 w 136047"/>
                  <a:gd name="connsiteY31" fmla="*/ 0 h 69818"/>
                  <a:gd name="connsiteX32" fmla="*/ 85151 w 136047"/>
                  <a:gd name="connsiteY32" fmla="*/ 1368 h 69818"/>
                  <a:gd name="connsiteX33" fmla="*/ 57680 w 136047"/>
                  <a:gd name="connsiteY33" fmla="*/ 2508 h 69818"/>
                  <a:gd name="connsiteX34" fmla="*/ 39727 w 136047"/>
                  <a:gd name="connsiteY34" fmla="*/ 7124 h 69818"/>
                  <a:gd name="connsiteX35" fmla="*/ 39727 w 136047"/>
                  <a:gd name="connsiteY35" fmla="*/ 15788 h 69818"/>
                  <a:gd name="connsiteX36" fmla="*/ 33731 w 136047"/>
                  <a:gd name="connsiteY36" fmla="*/ 25539 h 69818"/>
                  <a:gd name="connsiteX37" fmla="*/ 36478 w 136047"/>
                  <a:gd name="connsiteY37" fmla="*/ 29922 h 69818"/>
                  <a:gd name="connsiteX38" fmla="*/ 40297 w 136047"/>
                  <a:gd name="connsiteY38" fmla="*/ 32601 h 69818"/>
                  <a:gd name="connsiteX39" fmla="*/ 40753 w 136047"/>
                  <a:gd name="connsiteY39" fmla="*/ 37560 h 69818"/>
                  <a:gd name="connsiteX40" fmla="*/ 48447 w 136047"/>
                  <a:gd name="connsiteY40" fmla="*/ 43259 h 69818"/>
                  <a:gd name="connsiteX41" fmla="*/ 58649 w 136047"/>
                  <a:gd name="connsiteY41" fmla="*/ 44741 h 69818"/>
                  <a:gd name="connsiteX42" fmla="*/ 61727 w 136047"/>
                  <a:gd name="connsiteY42" fmla="*/ 53062 h 69818"/>
                  <a:gd name="connsiteX43" fmla="*/ 55628 w 136047"/>
                  <a:gd name="connsiteY43" fmla="*/ 56197 h 69818"/>
                  <a:gd name="connsiteX44" fmla="*/ 70903 w 136047"/>
                  <a:gd name="connsiteY44" fmla="*/ 54601 h 69818"/>
                  <a:gd name="connsiteX45" fmla="*/ 76602 w 136047"/>
                  <a:gd name="connsiteY45" fmla="*/ 55456 h 69818"/>
                  <a:gd name="connsiteX46" fmla="*/ 83669 w 136047"/>
                  <a:gd name="connsiteY46" fmla="*/ 60813 h 69818"/>
                  <a:gd name="connsiteX47" fmla="*/ 90680 w 136047"/>
                  <a:gd name="connsiteY47" fmla="*/ 61440 h 69818"/>
                  <a:gd name="connsiteX48" fmla="*/ 94384 w 136047"/>
                  <a:gd name="connsiteY48" fmla="*/ 65316 h 69818"/>
                  <a:gd name="connsiteX49" fmla="*/ 119804 w 136047"/>
                  <a:gd name="connsiteY49" fmla="*/ 69819 h 69818"/>
                  <a:gd name="connsiteX50" fmla="*/ 124763 w 136047"/>
                  <a:gd name="connsiteY50" fmla="*/ 60072 h 69818"/>
                  <a:gd name="connsiteX51" fmla="*/ 128012 w 136047"/>
                  <a:gd name="connsiteY51" fmla="*/ 48845 h 6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6047" h="69818">
                    <a:moveTo>
                      <a:pt x="17898" y="19606"/>
                    </a:moveTo>
                    <a:cubicBezTo>
                      <a:pt x="19106" y="19213"/>
                      <a:pt x="20434" y="19447"/>
                      <a:pt x="21431" y="20233"/>
                    </a:cubicBezTo>
                    <a:cubicBezTo>
                      <a:pt x="22435" y="21025"/>
                      <a:pt x="23386" y="21886"/>
                      <a:pt x="24281" y="22798"/>
                    </a:cubicBezTo>
                    <a:cubicBezTo>
                      <a:pt x="25096" y="23334"/>
                      <a:pt x="25746" y="24080"/>
                      <a:pt x="26162" y="24964"/>
                    </a:cubicBezTo>
                    <a:cubicBezTo>
                      <a:pt x="26276" y="25568"/>
                      <a:pt x="26276" y="26183"/>
                      <a:pt x="26162" y="26788"/>
                    </a:cubicBezTo>
                    <a:cubicBezTo>
                      <a:pt x="26048" y="30133"/>
                      <a:pt x="26669" y="33456"/>
                      <a:pt x="27986" y="36534"/>
                    </a:cubicBezTo>
                    <a:cubicBezTo>
                      <a:pt x="28242" y="37035"/>
                      <a:pt x="28413" y="37571"/>
                      <a:pt x="28499" y="38129"/>
                    </a:cubicBezTo>
                    <a:cubicBezTo>
                      <a:pt x="28499" y="40352"/>
                      <a:pt x="25877" y="41435"/>
                      <a:pt x="23711" y="41777"/>
                    </a:cubicBezTo>
                    <a:cubicBezTo>
                      <a:pt x="23130" y="41783"/>
                      <a:pt x="22565" y="41982"/>
                      <a:pt x="22115" y="42347"/>
                    </a:cubicBezTo>
                    <a:cubicBezTo>
                      <a:pt x="21870" y="42718"/>
                      <a:pt x="21677" y="43122"/>
                      <a:pt x="21545" y="43544"/>
                    </a:cubicBezTo>
                    <a:cubicBezTo>
                      <a:pt x="21163" y="45054"/>
                      <a:pt x="20548" y="46496"/>
                      <a:pt x="19722" y="47819"/>
                    </a:cubicBezTo>
                    <a:cubicBezTo>
                      <a:pt x="18496" y="49534"/>
                      <a:pt x="16820" y="50873"/>
                      <a:pt x="14877" y="51694"/>
                    </a:cubicBezTo>
                    <a:cubicBezTo>
                      <a:pt x="11811" y="52931"/>
                      <a:pt x="8408" y="53073"/>
                      <a:pt x="5245" y="52093"/>
                    </a:cubicBezTo>
                    <a:cubicBezTo>
                      <a:pt x="3580" y="51660"/>
                      <a:pt x="2087" y="50725"/>
                      <a:pt x="970" y="49414"/>
                    </a:cubicBezTo>
                    <a:cubicBezTo>
                      <a:pt x="-130" y="48035"/>
                      <a:pt x="-312" y="46132"/>
                      <a:pt x="514" y="44570"/>
                    </a:cubicBezTo>
                    <a:cubicBezTo>
                      <a:pt x="2053" y="42119"/>
                      <a:pt x="5587" y="42518"/>
                      <a:pt x="8437" y="42347"/>
                    </a:cubicBezTo>
                    <a:cubicBezTo>
                      <a:pt x="9628" y="42347"/>
                      <a:pt x="10790" y="42017"/>
                      <a:pt x="11799" y="41378"/>
                    </a:cubicBezTo>
                    <a:cubicBezTo>
                      <a:pt x="12825" y="40689"/>
                      <a:pt x="13355" y="39463"/>
                      <a:pt x="13167" y="38244"/>
                    </a:cubicBezTo>
                    <a:cubicBezTo>
                      <a:pt x="12882" y="37428"/>
                      <a:pt x="12478" y="36659"/>
                      <a:pt x="11970" y="35964"/>
                    </a:cubicBezTo>
                    <a:cubicBezTo>
                      <a:pt x="11429" y="35234"/>
                      <a:pt x="11429" y="34242"/>
                      <a:pt x="11970" y="33513"/>
                    </a:cubicBezTo>
                    <a:cubicBezTo>
                      <a:pt x="12335" y="33217"/>
                      <a:pt x="12768" y="33000"/>
                      <a:pt x="13224" y="32886"/>
                    </a:cubicBezTo>
                    <a:lnTo>
                      <a:pt x="16701" y="31974"/>
                    </a:lnTo>
                    <a:cubicBezTo>
                      <a:pt x="17835" y="31780"/>
                      <a:pt x="18878" y="31222"/>
                      <a:pt x="19664" y="30378"/>
                    </a:cubicBezTo>
                    <a:cubicBezTo>
                      <a:pt x="20804" y="28782"/>
                      <a:pt x="19664" y="26617"/>
                      <a:pt x="18981" y="24679"/>
                    </a:cubicBezTo>
                    <a:cubicBezTo>
                      <a:pt x="18297" y="22741"/>
                      <a:pt x="17100" y="21031"/>
                      <a:pt x="17898" y="19606"/>
                    </a:cubicBezTo>
                    <a:close/>
                    <a:moveTo>
                      <a:pt x="127897" y="49129"/>
                    </a:moveTo>
                    <a:cubicBezTo>
                      <a:pt x="127613" y="42404"/>
                      <a:pt x="122198" y="36591"/>
                      <a:pt x="122198" y="29865"/>
                    </a:cubicBezTo>
                    <a:cubicBezTo>
                      <a:pt x="123230" y="24508"/>
                      <a:pt x="125971" y="19629"/>
                      <a:pt x="130006" y="15959"/>
                    </a:cubicBezTo>
                    <a:cubicBezTo>
                      <a:pt x="133272" y="12641"/>
                      <a:pt x="135387" y="8367"/>
                      <a:pt x="136048" y="3762"/>
                    </a:cubicBezTo>
                    <a:cubicBezTo>
                      <a:pt x="133665" y="5073"/>
                      <a:pt x="130935" y="5591"/>
                      <a:pt x="128239" y="5244"/>
                    </a:cubicBezTo>
                    <a:cubicBezTo>
                      <a:pt x="120243" y="4827"/>
                      <a:pt x="112309" y="3665"/>
                      <a:pt x="104530" y="1767"/>
                    </a:cubicBezTo>
                    <a:cubicBezTo>
                      <a:pt x="101264" y="809"/>
                      <a:pt x="97896" y="217"/>
                      <a:pt x="94499" y="0"/>
                    </a:cubicBezTo>
                    <a:cubicBezTo>
                      <a:pt x="91347" y="143"/>
                      <a:pt x="88212" y="604"/>
                      <a:pt x="85151" y="1368"/>
                    </a:cubicBezTo>
                    <a:cubicBezTo>
                      <a:pt x="76146" y="3078"/>
                      <a:pt x="66514" y="228"/>
                      <a:pt x="57680" y="2508"/>
                    </a:cubicBezTo>
                    <a:lnTo>
                      <a:pt x="39727" y="7124"/>
                    </a:lnTo>
                    <a:lnTo>
                      <a:pt x="39727" y="15788"/>
                    </a:lnTo>
                    <a:cubicBezTo>
                      <a:pt x="35378" y="16825"/>
                      <a:pt x="32694" y="21191"/>
                      <a:pt x="33731" y="25539"/>
                    </a:cubicBezTo>
                    <a:cubicBezTo>
                      <a:pt x="34141" y="27261"/>
                      <a:pt x="35110" y="28799"/>
                      <a:pt x="36478" y="29922"/>
                    </a:cubicBezTo>
                    <a:cubicBezTo>
                      <a:pt x="37846" y="30777"/>
                      <a:pt x="39499" y="31233"/>
                      <a:pt x="40297" y="32601"/>
                    </a:cubicBezTo>
                    <a:cubicBezTo>
                      <a:pt x="41095" y="33969"/>
                      <a:pt x="40297" y="35907"/>
                      <a:pt x="40753" y="37560"/>
                    </a:cubicBezTo>
                    <a:cubicBezTo>
                      <a:pt x="41265" y="40979"/>
                      <a:pt x="45027" y="42860"/>
                      <a:pt x="48447" y="43259"/>
                    </a:cubicBezTo>
                    <a:cubicBezTo>
                      <a:pt x="51901" y="43253"/>
                      <a:pt x="55337" y="43749"/>
                      <a:pt x="58649" y="44741"/>
                    </a:cubicBezTo>
                    <a:cubicBezTo>
                      <a:pt x="61841" y="46166"/>
                      <a:pt x="64007" y="50440"/>
                      <a:pt x="61727" y="53062"/>
                    </a:cubicBezTo>
                    <a:cubicBezTo>
                      <a:pt x="59367" y="53284"/>
                      <a:pt x="57184" y="54407"/>
                      <a:pt x="55628" y="56197"/>
                    </a:cubicBezTo>
                    <a:cubicBezTo>
                      <a:pt x="60587" y="56197"/>
                      <a:pt x="65887" y="54886"/>
                      <a:pt x="70903" y="54601"/>
                    </a:cubicBezTo>
                    <a:cubicBezTo>
                      <a:pt x="72846" y="54367"/>
                      <a:pt x="74813" y="54664"/>
                      <a:pt x="76602" y="55456"/>
                    </a:cubicBezTo>
                    <a:cubicBezTo>
                      <a:pt x="79224" y="56824"/>
                      <a:pt x="80820" y="60015"/>
                      <a:pt x="83669" y="60813"/>
                    </a:cubicBezTo>
                    <a:cubicBezTo>
                      <a:pt x="86519" y="61611"/>
                      <a:pt x="88571" y="60414"/>
                      <a:pt x="90680" y="61440"/>
                    </a:cubicBezTo>
                    <a:cubicBezTo>
                      <a:pt x="92789" y="62466"/>
                      <a:pt x="93188" y="63948"/>
                      <a:pt x="94384" y="65316"/>
                    </a:cubicBezTo>
                    <a:cubicBezTo>
                      <a:pt x="100084" y="71870"/>
                      <a:pt x="111483" y="68052"/>
                      <a:pt x="119804" y="69819"/>
                    </a:cubicBezTo>
                    <a:cubicBezTo>
                      <a:pt x="121759" y="66735"/>
                      <a:pt x="123418" y="63469"/>
                      <a:pt x="124763" y="60072"/>
                    </a:cubicBezTo>
                    <a:cubicBezTo>
                      <a:pt x="126712" y="56636"/>
                      <a:pt x="127823" y="52789"/>
                      <a:pt x="128012" y="4884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49" name="Freihandform: Form 743">
                <a:extLst>
                  <a:ext uri="{FF2B5EF4-FFF2-40B4-BE49-F238E27FC236}">
                    <a16:creationId xmlns:a16="http://schemas.microsoft.com/office/drawing/2014/main" id="{0491851C-4559-90DF-32FF-91FC08788251}"/>
                  </a:ext>
                </a:extLst>
              </p:cNvPr>
              <p:cNvSpPr/>
              <p:nvPr/>
            </p:nvSpPr>
            <p:spPr>
              <a:xfrm>
                <a:off x="4221490" y="2237814"/>
                <a:ext cx="227832" cy="386976"/>
              </a:xfrm>
              <a:custGeom>
                <a:avLst/>
                <a:gdLst>
                  <a:gd name="connsiteX0" fmla="*/ 157362 w 227832"/>
                  <a:gd name="connsiteY0" fmla="*/ 359523 h 386976"/>
                  <a:gd name="connsiteX1" fmla="*/ 150466 w 227832"/>
                  <a:gd name="connsiteY1" fmla="*/ 361803 h 386976"/>
                  <a:gd name="connsiteX2" fmla="*/ 144539 w 227832"/>
                  <a:gd name="connsiteY2" fmla="*/ 366876 h 386976"/>
                  <a:gd name="connsiteX3" fmla="*/ 136559 w 227832"/>
                  <a:gd name="connsiteY3" fmla="*/ 368130 h 386976"/>
                  <a:gd name="connsiteX4" fmla="*/ 116554 w 227832"/>
                  <a:gd name="connsiteY4" fmla="*/ 368130 h 386976"/>
                  <a:gd name="connsiteX5" fmla="*/ 112850 w 227832"/>
                  <a:gd name="connsiteY5" fmla="*/ 368814 h 386976"/>
                  <a:gd name="connsiteX6" fmla="*/ 108974 w 227832"/>
                  <a:gd name="connsiteY6" fmla="*/ 374513 h 386976"/>
                  <a:gd name="connsiteX7" fmla="*/ 99057 w 227832"/>
                  <a:gd name="connsiteY7" fmla="*/ 376850 h 386976"/>
                  <a:gd name="connsiteX8" fmla="*/ 82699 w 227832"/>
                  <a:gd name="connsiteY8" fmla="*/ 379757 h 386976"/>
                  <a:gd name="connsiteX9" fmla="*/ 79621 w 227832"/>
                  <a:gd name="connsiteY9" fmla="*/ 381751 h 386976"/>
                  <a:gd name="connsiteX10" fmla="*/ 78140 w 227832"/>
                  <a:gd name="connsiteY10" fmla="*/ 384772 h 386976"/>
                  <a:gd name="connsiteX11" fmla="*/ 69477 w 227832"/>
                  <a:gd name="connsiteY11" fmla="*/ 386653 h 386976"/>
                  <a:gd name="connsiteX12" fmla="*/ 53803 w 227832"/>
                  <a:gd name="connsiteY12" fmla="*/ 383917 h 386976"/>
                  <a:gd name="connsiteX13" fmla="*/ 43202 w 227832"/>
                  <a:gd name="connsiteY13" fmla="*/ 376337 h 386976"/>
                  <a:gd name="connsiteX14" fmla="*/ 28155 w 227832"/>
                  <a:gd name="connsiteY14" fmla="*/ 367104 h 386976"/>
                  <a:gd name="connsiteX15" fmla="*/ 12482 w 227832"/>
                  <a:gd name="connsiteY15" fmla="*/ 364482 h 386976"/>
                  <a:gd name="connsiteX16" fmla="*/ 10350 w 227832"/>
                  <a:gd name="connsiteY16" fmla="*/ 350376 h 386976"/>
                  <a:gd name="connsiteX17" fmla="*/ 10544 w 227832"/>
                  <a:gd name="connsiteY17" fmla="*/ 350119 h 386976"/>
                  <a:gd name="connsiteX18" fmla="*/ 13679 w 227832"/>
                  <a:gd name="connsiteY18" fmla="*/ 347156 h 386976"/>
                  <a:gd name="connsiteX19" fmla="*/ 11741 w 227832"/>
                  <a:gd name="connsiteY19" fmla="*/ 336669 h 386976"/>
                  <a:gd name="connsiteX20" fmla="*/ 16642 w 227832"/>
                  <a:gd name="connsiteY20" fmla="*/ 314783 h 386976"/>
                  <a:gd name="connsiteX21" fmla="*/ 3648 w 227832"/>
                  <a:gd name="connsiteY21" fmla="*/ 298539 h 386976"/>
                  <a:gd name="connsiteX22" fmla="*/ 0 w 227832"/>
                  <a:gd name="connsiteY22" fmla="*/ 289192 h 386976"/>
                  <a:gd name="connsiteX23" fmla="*/ 11399 w 227832"/>
                  <a:gd name="connsiteY23" fmla="*/ 282353 h 386976"/>
                  <a:gd name="connsiteX24" fmla="*/ 15445 w 227832"/>
                  <a:gd name="connsiteY24" fmla="*/ 272607 h 386976"/>
                  <a:gd name="connsiteX25" fmla="*/ 24166 w 227832"/>
                  <a:gd name="connsiteY25" fmla="*/ 270384 h 386976"/>
                  <a:gd name="connsiteX26" fmla="*/ 30891 w 227832"/>
                  <a:gd name="connsiteY26" fmla="*/ 265311 h 386976"/>
                  <a:gd name="connsiteX27" fmla="*/ 29637 w 227832"/>
                  <a:gd name="connsiteY27" fmla="*/ 259156 h 386976"/>
                  <a:gd name="connsiteX28" fmla="*/ 38072 w 227832"/>
                  <a:gd name="connsiteY28" fmla="*/ 255508 h 386976"/>
                  <a:gd name="connsiteX29" fmla="*/ 45938 w 227832"/>
                  <a:gd name="connsiteY29" fmla="*/ 251176 h 386976"/>
                  <a:gd name="connsiteX30" fmla="*/ 50383 w 227832"/>
                  <a:gd name="connsiteY30" fmla="*/ 243140 h 386976"/>
                  <a:gd name="connsiteX31" fmla="*/ 59104 w 227832"/>
                  <a:gd name="connsiteY31" fmla="*/ 240290 h 386976"/>
                  <a:gd name="connsiteX32" fmla="*/ 63036 w 227832"/>
                  <a:gd name="connsiteY32" fmla="*/ 234933 h 386976"/>
                  <a:gd name="connsiteX33" fmla="*/ 77342 w 227832"/>
                  <a:gd name="connsiteY33" fmla="*/ 228607 h 386976"/>
                  <a:gd name="connsiteX34" fmla="*/ 76601 w 227832"/>
                  <a:gd name="connsiteY34" fmla="*/ 221254 h 386976"/>
                  <a:gd name="connsiteX35" fmla="*/ 81445 w 227832"/>
                  <a:gd name="connsiteY35" fmla="*/ 204156 h 386976"/>
                  <a:gd name="connsiteX36" fmla="*/ 95409 w 227832"/>
                  <a:gd name="connsiteY36" fmla="*/ 205638 h 386976"/>
                  <a:gd name="connsiteX37" fmla="*/ 98544 w 227832"/>
                  <a:gd name="connsiteY37" fmla="*/ 182213 h 386976"/>
                  <a:gd name="connsiteX38" fmla="*/ 85264 w 227832"/>
                  <a:gd name="connsiteY38" fmla="*/ 172524 h 386976"/>
                  <a:gd name="connsiteX39" fmla="*/ 68963 w 227832"/>
                  <a:gd name="connsiteY39" fmla="*/ 164145 h 386976"/>
                  <a:gd name="connsiteX40" fmla="*/ 65886 w 227832"/>
                  <a:gd name="connsiteY40" fmla="*/ 158446 h 386976"/>
                  <a:gd name="connsiteX41" fmla="*/ 64176 w 227832"/>
                  <a:gd name="connsiteY41" fmla="*/ 158446 h 386976"/>
                  <a:gd name="connsiteX42" fmla="*/ 64176 w 227832"/>
                  <a:gd name="connsiteY42" fmla="*/ 139068 h 386976"/>
                  <a:gd name="connsiteX43" fmla="*/ 64176 w 227832"/>
                  <a:gd name="connsiteY43" fmla="*/ 132855 h 386976"/>
                  <a:gd name="connsiteX44" fmla="*/ 64803 w 227832"/>
                  <a:gd name="connsiteY44" fmla="*/ 128182 h 386976"/>
                  <a:gd name="connsiteX45" fmla="*/ 54031 w 227832"/>
                  <a:gd name="connsiteY45" fmla="*/ 111710 h 386976"/>
                  <a:gd name="connsiteX46" fmla="*/ 58762 w 227832"/>
                  <a:gd name="connsiteY46" fmla="*/ 92389 h 386976"/>
                  <a:gd name="connsiteX47" fmla="*/ 54544 w 227832"/>
                  <a:gd name="connsiteY47" fmla="*/ 85607 h 386976"/>
                  <a:gd name="connsiteX48" fmla="*/ 30663 w 227832"/>
                  <a:gd name="connsiteY48" fmla="*/ 66172 h 386976"/>
                  <a:gd name="connsiteX49" fmla="*/ 26844 w 227832"/>
                  <a:gd name="connsiteY49" fmla="*/ 64120 h 386976"/>
                  <a:gd name="connsiteX50" fmla="*/ 22684 w 227832"/>
                  <a:gd name="connsiteY50" fmla="*/ 63493 h 386976"/>
                  <a:gd name="connsiteX51" fmla="*/ 19606 w 227832"/>
                  <a:gd name="connsiteY51" fmla="*/ 60415 h 386976"/>
                  <a:gd name="connsiteX52" fmla="*/ 1653 w 227832"/>
                  <a:gd name="connsiteY52" fmla="*/ 34539 h 386976"/>
                  <a:gd name="connsiteX53" fmla="*/ 24907 w 227832"/>
                  <a:gd name="connsiteY53" fmla="*/ 40809 h 386976"/>
                  <a:gd name="connsiteX54" fmla="*/ 40409 w 227832"/>
                  <a:gd name="connsiteY54" fmla="*/ 53063 h 386976"/>
                  <a:gd name="connsiteX55" fmla="*/ 59503 w 227832"/>
                  <a:gd name="connsiteY55" fmla="*/ 55514 h 386976"/>
                  <a:gd name="connsiteX56" fmla="*/ 80876 w 227832"/>
                  <a:gd name="connsiteY56" fmla="*/ 54830 h 386976"/>
                  <a:gd name="connsiteX57" fmla="*/ 95067 w 227832"/>
                  <a:gd name="connsiteY57" fmla="*/ 48788 h 386976"/>
                  <a:gd name="connsiteX58" fmla="*/ 96720 w 227832"/>
                  <a:gd name="connsiteY58" fmla="*/ 43659 h 386976"/>
                  <a:gd name="connsiteX59" fmla="*/ 102818 w 227832"/>
                  <a:gd name="connsiteY59" fmla="*/ 37959 h 386976"/>
                  <a:gd name="connsiteX60" fmla="*/ 110114 w 227832"/>
                  <a:gd name="connsiteY60" fmla="*/ 24394 h 386976"/>
                  <a:gd name="connsiteX61" fmla="*/ 110627 w 227832"/>
                  <a:gd name="connsiteY61" fmla="*/ 15617 h 386976"/>
                  <a:gd name="connsiteX62" fmla="*/ 120715 w 227832"/>
                  <a:gd name="connsiteY62" fmla="*/ 4218 h 386976"/>
                  <a:gd name="connsiteX63" fmla="*/ 135875 w 227832"/>
                  <a:gd name="connsiteY63" fmla="*/ 913 h 386976"/>
                  <a:gd name="connsiteX64" fmla="*/ 173150 w 227832"/>
                  <a:gd name="connsiteY64" fmla="*/ 7410 h 386976"/>
                  <a:gd name="connsiteX65" fmla="*/ 175658 w 227832"/>
                  <a:gd name="connsiteY65" fmla="*/ 37446 h 386976"/>
                  <a:gd name="connsiteX66" fmla="*/ 170528 w 227832"/>
                  <a:gd name="connsiteY66" fmla="*/ 52151 h 386976"/>
                  <a:gd name="connsiteX67" fmla="*/ 168020 w 227832"/>
                  <a:gd name="connsiteY67" fmla="*/ 54260 h 386976"/>
                  <a:gd name="connsiteX68" fmla="*/ 166083 w 227832"/>
                  <a:gd name="connsiteY68" fmla="*/ 67026 h 386976"/>
                  <a:gd name="connsiteX69" fmla="*/ 174689 w 227832"/>
                  <a:gd name="connsiteY69" fmla="*/ 77684 h 386976"/>
                  <a:gd name="connsiteX70" fmla="*/ 192357 w 227832"/>
                  <a:gd name="connsiteY70" fmla="*/ 94213 h 386976"/>
                  <a:gd name="connsiteX71" fmla="*/ 196575 w 227832"/>
                  <a:gd name="connsiteY71" fmla="*/ 103446 h 386976"/>
                  <a:gd name="connsiteX72" fmla="*/ 183238 w 227832"/>
                  <a:gd name="connsiteY72" fmla="*/ 113591 h 386976"/>
                  <a:gd name="connsiteX73" fmla="*/ 183865 w 227832"/>
                  <a:gd name="connsiteY73" fmla="*/ 118094 h 386976"/>
                  <a:gd name="connsiteX74" fmla="*/ 179191 w 227832"/>
                  <a:gd name="connsiteY74" fmla="*/ 127213 h 386976"/>
                  <a:gd name="connsiteX75" fmla="*/ 179191 w 227832"/>
                  <a:gd name="connsiteY75" fmla="*/ 134451 h 386976"/>
                  <a:gd name="connsiteX76" fmla="*/ 188824 w 227832"/>
                  <a:gd name="connsiteY76" fmla="*/ 150638 h 386976"/>
                  <a:gd name="connsiteX77" fmla="*/ 196632 w 227832"/>
                  <a:gd name="connsiteY77" fmla="*/ 158389 h 386976"/>
                  <a:gd name="connsiteX78" fmla="*/ 196632 w 227832"/>
                  <a:gd name="connsiteY78" fmla="*/ 168591 h 386976"/>
                  <a:gd name="connsiteX79" fmla="*/ 191559 w 227832"/>
                  <a:gd name="connsiteY79" fmla="*/ 173436 h 386976"/>
                  <a:gd name="connsiteX80" fmla="*/ 195435 w 227832"/>
                  <a:gd name="connsiteY80" fmla="*/ 184493 h 386976"/>
                  <a:gd name="connsiteX81" fmla="*/ 188824 w 227832"/>
                  <a:gd name="connsiteY81" fmla="*/ 198570 h 386976"/>
                  <a:gd name="connsiteX82" fmla="*/ 195264 w 227832"/>
                  <a:gd name="connsiteY82" fmla="*/ 203529 h 386976"/>
                  <a:gd name="connsiteX83" fmla="*/ 192984 w 227832"/>
                  <a:gd name="connsiteY83" fmla="*/ 222622 h 386976"/>
                  <a:gd name="connsiteX84" fmla="*/ 209057 w 227832"/>
                  <a:gd name="connsiteY84" fmla="*/ 237099 h 386976"/>
                  <a:gd name="connsiteX85" fmla="*/ 197658 w 227832"/>
                  <a:gd name="connsiteY85" fmla="*/ 244907 h 386976"/>
                  <a:gd name="connsiteX86" fmla="*/ 201134 w 227832"/>
                  <a:gd name="connsiteY86" fmla="*/ 252316 h 386976"/>
                  <a:gd name="connsiteX87" fmla="*/ 217492 w 227832"/>
                  <a:gd name="connsiteY87" fmla="*/ 268275 h 386976"/>
                  <a:gd name="connsiteX88" fmla="*/ 226725 w 227832"/>
                  <a:gd name="connsiteY88" fmla="*/ 280244 h 386976"/>
                  <a:gd name="connsiteX89" fmla="*/ 224103 w 227832"/>
                  <a:gd name="connsiteY89" fmla="*/ 294207 h 386976"/>
                  <a:gd name="connsiteX90" fmla="*/ 218974 w 227832"/>
                  <a:gd name="connsiteY90" fmla="*/ 297399 h 386976"/>
                  <a:gd name="connsiteX91" fmla="*/ 212476 w 227832"/>
                  <a:gd name="connsiteY91" fmla="*/ 307145 h 386976"/>
                  <a:gd name="connsiteX92" fmla="*/ 202502 w 227832"/>
                  <a:gd name="connsiteY92" fmla="*/ 310337 h 386976"/>
                  <a:gd name="connsiteX93" fmla="*/ 193041 w 227832"/>
                  <a:gd name="connsiteY93" fmla="*/ 324016 h 386976"/>
                  <a:gd name="connsiteX94" fmla="*/ 187342 w 227832"/>
                  <a:gd name="connsiteY94" fmla="*/ 326068 h 386976"/>
                  <a:gd name="connsiteX95" fmla="*/ 181642 w 227832"/>
                  <a:gd name="connsiteY95" fmla="*/ 337466 h 386976"/>
                  <a:gd name="connsiteX96" fmla="*/ 171839 w 227832"/>
                  <a:gd name="connsiteY96" fmla="*/ 342710 h 386976"/>
                  <a:gd name="connsiteX97" fmla="*/ 164886 w 227832"/>
                  <a:gd name="connsiteY97" fmla="*/ 350404 h 386976"/>
                  <a:gd name="connsiteX98" fmla="*/ 157362 w 227832"/>
                  <a:gd name="connsiteY98" fmla="*/ 359523 h 386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27832" h="386976">
                    <a:moveTo>
                      <a:pt x="157362" y="359523"/>
                    </a:moveTo>
                    <a:cubicBezTo>
                      <a:pt x="154826" y="359050"/>
                      <a:pt x="152222" y="359911"/>
                      <a:pt x="150466" y="361803"/>
                    </a:cubicBezTo>
                    <a:cubicBezTo>
                      <a:pt x="148711" y="363735"/>
                      <a:pt x="146721" y="365439"/>
                      <a:pt x="144539" y="366876"/>
                    </a:cubicBezTo>
                    <a:cubicBezTo>
                      <a:pt x="142019" y="367924"/>
                      <a:pt x="139284" y="368358"/>
                      <a:pt x="136559" y="368130"/>
                    </a:cubicBezTo>
                    <a:lnTo>
                      <a:pt x="116554" y="368130"/>
                    </a:lnTo>
                    <a:cubicBezTo>
                      <a:pt x="115278" y="368004"/>
                      <a:pt x="113995" y="368244"/>
                      <a:pt x="112850" y="368814"/>
                    </a:cubicBezTo>
                    <a:cubicBezTo>
                      <a:pt x="110855" y="369953"/>
                      <a:pt x="110456" y="372575"/>
                      <a:pt x="108974" y="374513"/>
                    </a:cubicBezTo>
                    <a:cubicBezTo>
                      <a:pt x="106694" y="377135"/>
                      <a:pt x="102591" y="376907"/>
                      <a:pt x="99057" y="376850"/>
                    </a:cubicBezTo>
                    <a:cubicBezTo>
                      <a:pt x="93466" y="376753"/>
                      <a:pt x="87914" y="377739"/>
                      <a:pt x="82699" y="379757"/>
                    </a:cubicBezTo>
                    <a:cubicBezTo>
                      <a:pt x="81514" y="380138"/>
                      <a:pt x="80454" y="380828"/>
                      <a:pt x="79621" y="381751"/>
                    </a:cubicBezTo>
                    <a:cubicBezTo>
                      <a:pt x="78995" y="382663"/>
                      <a:pt x="78767" y="383860"/>
                      <a:pt x="78140" y="384772"/>
                    </a:cubicBezTo>
                    <a:cubicBezTo>
                      <a:pt x="76430" y="387394"/>
                      <a:pt x="72440" y="387166"/>
                      <a:pt x="69477" y="386653"/>
                    </a:cubicBezTo>
                    <a:lnTo>
                      <a:pt x="53803" y="383917"/>
                    </a:lnTo>
                    <a:cubicBezTo>
                      <a:pt x="49129" y="383119"/>
                      <a:pt x="43316" y="381067"/>
                      <a:pt x="43202" y="376337"/>
                    </a:cubicBezTo>
                    <a:cubicBezTo>
                      <a:pt x="36556" y="377602"/>
                      <a:pt x="30036" y="373601"/>
                      <a:pt x="28155" y="367104"/>
                    </a:cubicBezTo>
                    <a:cubicBezTo>
                      <a:pt x="22798" y="368494"/>
                      <a:pt x="17098" y="367543"/>
                      <a:pt x="12482" y="364482"/>
                    </a:cubicBezTo>
                    <a:cubicBezTo>
                      <a:pt x="7996" y="361176"/>
                      <a:pt x="7044" y="354861"/>
                      <a:pt x="10350" y="350376"/>
                    </a:cubicBezTo>
                    <a:cubicBezTo>
                      <a:pt x="10413" y="350290"/>
                      <a:pt x="10476" y="350205"/>
                      <a:pt x="10544" y="350119"/>
                    </a:cubicBezTo>
                    <a:cubicBezTo>
                      <a:pt x="11712" y="349270"/>
                      <a:pt x="12761" y="348273"/>
                      <a:pt x="13679" y="347156"/>
                    </a:cubicBezTo>
                    <a:cubicBezTo>
                      <a:pt x="15617" y="343964"/>
                      <a:pt x="12710" y="340202"/>
                      <a:pt x="11741" y="336669"/>
                    </a:cubicBezTo>
                    <a:cubicBezTo>
                      <a:pt x="9803" y="329316"/>
                      <a:pt x="16472" y="322363"/>
                      <a:pt x="16642" y="314783"/>
                    </a:cubicBezTo>
                    <a:cubicBezTo>
                      <a:pt x="9746" y="312731"/>
                      <a:pt x="6269" y="305264"/>
                      <a:pt x="3648" y="298539"/>
                    </a:cubicBezTo>
                    <a:lnTo>
                      <a:pt x="0" y="289192"/>
                    </a:lnTo>
                    <a:cubicBezTo>
                      <a:pt x="4873" y="289591"/>
                      <a:pt x="9461" y="286844"/>
                      <a:pt x="11399" y="282353"/>
                    </a:cubicBezTo>
                    <a:cubicBezTo>
                      <a:pt x="12767" y="279047"/>
                      <a:pt x="12710" y="274943"/>
                      <a:pt x="15445" y="272607"/>
                    </a:cubicBezTo>
                    <a:cubicBezTo>
                      <a:pt x="18056" y="270988"/>
                      <a:pt x="21099" y="270213"/>
                      <a:pt x="24166" y="270384"/>
                    </a:cubicBezTo>
                    <a:cubicBezTo>
                      <a:pt x="27243" y="270042"/>
                      <a:pt x="30777" y="268389"/>
                      <a:pt x="30891" y="265311"/>
                    </a:cubicBezTo>
                    <a:cubicBezTo>
                      <a:pt x="30891" y="263202"/>
                      <a:pt x="29352" y="261265"/>
                      <a:pt x="29637" y="259156"/>
                    </a:cubicBezTo>
                    <a:cubicBezTo>
                      <a:pt x="30207" y="255850"/>
                      <a:pt x="34710" y="255337"/>
                      <a:pt x="38072" y="255508"/>
                    </a:cubicBezTo>
                    <a:cubicBezTo>
                      <a:pt x="41435" y="255679"/>
                      <a:pt x="46051" y="254539"/>
                      <a:pt x="45938" y="251176"/>
                    </a:cubicBezTo>
                    <a:cubicBezTo>
                      <a:pt x="43658" y="249125"/>
                      <a:pt x="47420" y="244109"/>
                      <a:pt x="50383" y="243140"/>
                    </a:cubicBezTo>
                    <a:cubicBezTo>
                      <a:pt x="53347" y="242171"/>
                      <a:pt x="56824" y="242399"/>
                      <a:pt x="59104" y="240290"/>
                    </a:cubicBezTo>
                    <a:cubicBezTo>
                      <a:pt x="61383" y="238182"/>
                      <a:pt x="61383" y="236415"/>
                      <a:pt x="63036" y="234933"/>
                    </a:cubicBezTo>
                    <a:cubicBezTo>
                      <a:pt x="66969" y="231228"/>
                      <a:pt x="75347" y="233622"/>
                      <a:pt x="77342" y="228607"/>
                    </a:cubicBezTo>
                    <a:cubicBezTo>
                      <a:pt x="77826" y="226139"/>
                      <a:pt x="77570" y="223580"/>
                      <a:pt x="76601" y="221254"/>
                    </a:cubicBezTo>
                    <a:cubicBezTo>
                      <a:pt x="76150" y="215161"/>
                      <a:pt x="77866" y="209109"/>
                      <a:pt x="81445" y="204156"/>
                    </a:cubicBezTo>
                    <a:lnTo>
                      <a:pt x="95409" y="205638"/>
                    </a:lnTo>
                    <a:cubicBezTo>
                      <a:pt x="96492" y="197829"/>
                      <a:pt x="97518" y="190021"/>
                      <a:pt x="98544" y="182213"/>
                    </a:cubicBezTo>
                    <a:cubicBezTo>
                      <a:pt x="92554" y="182008"/>
                      <a:pt x="87293" y="178166"/>
                      <a:pt x="85264" y="172524"/>
                    </a:cubicBezTo>
                    <a:cubicBezTo>
                      <a:pt x="78823" y="171840"/>
                      <a:pt x="71129" y="170244"/>
                      <a:pt x="68963" y="164145"/>
                    </a:cubicBezTo>
                    <a:cubicBezTo>
                      <a:pt x="68280" y="162037"/>
                      <a:pt x="67995" y="159244"/>
                      <a:pt x="65886" y="158446"/>
                    </a:cubicBezTo>
                    <a:cubicBezTo>
                      <a:pt x="65333" y="158247"/>
                      <a:pt x="64729" y="158247"/>
                      <a:pt x="64176" y="158446"/>
                    </a:cubicBezTo>
                    <a:cubicBezTo>
                      <a:pt x="64176" y="152006"/>
                      <a:pt x="64176" y="145508"/>
                      <a:pt x="64176" y="139068"/>
                    </a:cubicBezTo>
                    <a:cubicBezTo>
                      <a:pt x="63976" y="137005"/>
                      <a:pt x="63976" y="134919"/>
                      <a:pt x="64176" y="132855"/>
                    </a:cubicBezTo>
                    <a:cubicBezTo>
                      <a:pt x="64547" y="131322"/>
                      <a:pt x="64757" y="129755"/>
                      <a:pt x="64803" y="128182"/>
                    </a:cubicBezTo>
                    <a:cubicBezTo>
                      <a:pt x="64803" y="121456"/>
                      <a:pt x="55342" y="118265"/>
                      <a:pt x="54031" y="111710"/>
                    </a:cubicBezTo>
                    <a:cubicBezTo>
                      <a:pt x="52720" y="105156"/>
                      <a:pt x="60072" y="99001"/>
                      <a:pt x="58762" y="92389"/>
                    </a:cubicBezTo>
                    <a:cubicBezTo>
                      <a:pt x="58032" y="89773"/>
                      <a:pt x="56567" y="87419"/>
                      <a:pt x="54544" y="85607"/>
                    </a:cubicBezTo>
                    <a:cubicBezTo>
                      <a:pt x="47186" y="78420"/>
                      <a:pt x="39195" y="71917"/>
                      <a:pt x="30663" y="66172"/>
                    </a:cubicBezTo>
                    <a:cubicBezTo>
                      <a:pt x="29512" y="65277"/>
                      <a:pt x="28224" y="64587"/>
                      <a:pt x="26844" y="64120"/>
                    </a:cubicBezTo>
                    <a:cubicBezTo>
                      <a:pt x="25442" y="64029"/>
                      <a:pt x="24052" y="63818"/>
                      <a:pt x="22684" y="63493"/>
                    </a:cubicBezTo>
                    <a:cubicBezTo>
                      <a:pt x="21390" y="62775"/>
                      <a:pt x="20330" y="61709"/>
                      <a:pt x="19606" y="60415"/>
                    </a:cubicBezTo>
                    <a:lnTo>
                      <a:pt x="1653" y="34539"/>
                    </a:lnTo>
                    <a:cubicBezTo>
                      <a:pt x="9911" y="33707"/>
                      <a:pt x="18187" y="35942"/>
                      <a:pt x="24907" y="40809"/>
                    </a:cubicBezTo>
                    <a:cubicBezTo>
                      <a:pt x="29677" y="45368"/>
                      <a:pt x="34869" y="49472"/>
                      <a:pt x="40409" y="53063"/>
                    </a:cubicBezTo>
                    <a:cubicBezTo>
                      <a:pt x="46496" y="55365"/>
                      <a:pt x="53034" y="56203"/>
                      <a:pt x="59503" y="55514"/>
                    </a:cubicBezTo>
                    <a:lnTo>
                      <a:pt x="80876" y="54830"/>
                    </a:lnTo>
                    <a:cubicBezTo>
                      <a:pt x="86290" y="54830"/>
                      <a:pt x="92844" y="53804"/>
                      <a:pt x="95067" y="48788"/>
                    </a:cubicBezTo>
                    <a:cubicBezTo>
                      <a:pt x="95808" y="47135"/>
                      <a:pt x="95922" y="45254"/>
                      <a:pt x="96720" y="43659"/>
                    </a:cubicBezTo>
                    <a:cubicBezTo>
                      <a:pt x="98316" y="41339"/>
                      <a:pt x="100396" y="39395"/>
                      <a:pt x="102818" y="37959"/>
                    </a:cubicBezTo>
                    <a:cubicBezTo>
                      <a:pt x="107007" y="34631"/>
                      <a:pt x="109646" y="29723"/>
                      <a:pt x="110114" y="24394"/>
                    </a:cubicBezTo>
                    <a:cubicBezTo>
                      <a:pt x="110114" y="21459"/>
                      <a:pt x="110285" y="18530"/>
                      <a:pt x="110627" y="15617"/>
                    </a:cubicBezTo>
                    <a:cubicBezTo>
                      <a:pt x="112017" y="10448"/>
                      <a:pt x="115750" y="6230"/>
                      <a:pt x="120715" y="4218"/>
                    </a:cubicBezTo>
                    <a:cubicBezTo>
                      <a:pt x="125559" y="2320"/>
                      <a:pt x="130677" y="1203"/>
                      <a:pt x="135875" y="913"/>
                    </a:cubicBezTo>
                    <a:cubicBezTo>
                      <a:pt x="148870" y="-512"/>
                      <a:pt x="163575" y="-1424"/>
                      <a:pt x="173150" y="7410"/>
                    </a:cubicBezTo>
                    <a:cubicBezTo>
                      <a:pt x="181300" y="14933"/>
                      <a:pt x="186430" y="34881"/>
                      <a:pt x="175658" y="37446"/>
                    </a:cubicBezTo>
                    <a:cubicBezTo>
                      <a:pt x="170300" y="38700"/>
                      <a:pt x="174119" y="47933"/>
                      <a:pt x="170528" y="52151"/>
                    </a:cubicBezTo>
                    <a:cubicBezTo>
                      <a:pt x="169747" y="52915"/>
                      <a:pt x="168910" y="53621"/>
                      <a:pt x="168020" y="54260"/>
                    </a:cubicBezTo>
                    <a:cubicBezTo>
                      <a:pt x="164795" y="57702"/>
                      <a:pt x="164025" y="62780"/>
                      <a:pt x="166083" y="67026"/>
                    </a:cubicBezTo>
                    <a:cubicBezTo>
                      <a:pt x="168174" y="71141"/>
                      <a:pt x="171109" y="74772"/>
                      <a:pt x="174689" y="77684"/>
                    </a:cubicBezTo>
                    <a:lnTo>
                      <a:pt x="192357" y="94213"/>
                    </a:lnTo>
                    <a:cubicBezTo>
                      <a:pt x="194979" y="96721"/>
                      <a:pt x="198057" y="99912"/>
                      <a:pt x="196575" y="103446"/>
                    </a:cubicBezTo>
                    <a:cubicBezTo>
                      <a:pt x="194466" y="109146"/>
                      <a:pt x="183751" y="107721"/>
                      <a:pt x="183238" y="113591"/>
                    </a:cubicBezTo>
                    <a:cubicBezTo>
                      <a:pt x="183238" y="115130"/>
                      <a:pt x="183865" y="116555"/>
                      <a:pt x="183865" y="118094"/>
                    </a:cubicBezTo>
                    <a:cubicBezTo>
                      <a:pt x="183865" y="121570"/>
                      <a:pt x="180388" y="123793"/>
                      <a:pt x="179191" y="127213"/>
                    </a:cubicBezTo>
                    <a:cubicBezTo>
                      <a:pt x="178451" y="129567"/>
                      <a:pt x="178451" y="132097"/>
                      <a:pt x="179191" y="134451"/>
                    </a:cubicBezTo>
                    <a:cubicBezTo>
                      <a:pt x="180861" y="140629"/>
                      <a:pt x="184190" y="146226"/>
                      <a:pt x="188824" y="150638"/>
                    </a:cubicBezTo>
                    <a:cubicBezTo>
                      <a:pt x="191713" y="152912"/>
                      <a:pt x="194335" y="155511"/>
                      <a:pt x="196632" y="158389"/>
                    </a:cubicBezTo>
                    <a:cubicBezTo>
                      <a:pt x="198849" y="161427"/>
                      <a:pt x="198849" y="165553"/>
                      <a:pt x="196632" y="168591"/>
                    </a:cubicBezTo>
                    <a:cubicBezTo>
                      <a:pt x="195036" y="170358"/>
                      <a:pt x="192414" y="171213"/>
                      <a:pt x="191559" y="173436"/>
                    </a:cubicBezTo>
                    <a:cubicBezTo>
                      <a:pt x="190191" y="177197"/>
                      <a:pt x="195321" y="180446"/>
                      <a:pt x="195435" y="184493"/>
                    </a:cubicBezTo>
                    <a:cubicBezTo>
                      <a:pt x="195435" y="190192"/>
                      <a:pt x="186829" y="193498"/>
                      <a:pt x="188824" y="198570"/>
                    </a:cubicBezTo>
                    <a:cubicBezTo>
                      <a:pt x="189849" y="201135"/>
                      <a:pt x="193098" y="201819"/>
                      <a:pt x="195264" y="203529"/>
                    </a:cubicBezTo>
                    <a:cubicBezTo>
                      <a:pt x="200963" y="208031"/>
                      <a:pt x="197715" y="217208"/>
                      <a:pt x="192984" y="222622"/>
                    </a:cubicBezTo>
                    <a:cubicBezTo>
                      <a:pt x="198866" y="226834"/>
                      <a:pt x="204258" y="231690"/>
                      <a:pt x="209057" y="237099"/>
                    </a:cubicBezTo>
                    <a:cubicBezTo>
                      <a:pt x="206549" y="241202"/>
                      <a:pt x="198741" y="240233"/>
                      <a:pt x="197658" y="244907"/>
                    </a:cubicBezTo>
                    <a:cubicBezTo>
                      <a:pt x="196860" y="247643"/>
                      <a:pt x="199083" y="250607"/>
                      <a:pt x="201134" y="252316"/>
                    </a:cubicBezTo>
                    <a:cubicBezTo>
                      <a:pt x="206834" y="257617"/>
                      <a:pt x="212077" y="262917"/>
                      <a:pt x="217492" y="268275"/>
                    </a:cubicBezTo>
                    <a:cubicBezTo>
                      <a:pt x="221396" y="271552"/>
                      <a:pt x="224542" y="275639"/>
                      <a:pt x="226725" y="280244"/>
                    </a:cubicBezTo>
                    <a:cubicBezTo>
                      <a:pt x="228879" y="284986"/>
                      <a:pt x="227831" y="290571"/>
                      <a:pt x="224103" y="294207"/>
                    </a:cubicBezTo>
                    <a:cubicBezTo>
                      <a:pt x="222507" y="295461"/>
                      <a:pt x="220570" y="296145"/>
                      <a:pt x="218974" y="297399"/>
                    </a:cubicBezTo>
                    <a:cubicBezTo>
                      <a:pt x="216341" y="300312"/>
                      <a:pt x="214152" y="303595"/>
                      <a:pt x="212476" y="307145"/>
                    </a:cubicBezTo>
                    <a:cubicBezTo>
                      <a:pt x="210197" y="310394"/>
                      <a:pt x="205523" y="312845"/>
                      <a:pt x="202502" y="310337"/>
                    </a:cubicBezTo>
                    <a:cubicBezTo>
                      <a:pt x="202480" y="316413"/>
                      <a:pt x="198718" y="321850"/>
                      <a:pt x="193041" y="324016"/>
                    </a:cubicBezTo>
                    <a:cubicBezTo>
                      <a:pt x="191069" y="324477"/>
                      <a:pt x="189154" y="325167"/>
                      <a:pt x="187342" y="326068"/>
                    </a:cubicBezTo>
                    <a:cubicBezTo>
                      <a:pt x="183637" y="328461"/>
                      <a:pt x="183238" y="333534"/>
                      <a:pt x="181642" y="337466"/>
                    </a:cubicBezTo>
                    <a:cubicBezTo>
                      <a:pt x="180046" y="341399"/>
                      <a:pt x="175145" y="345617"/>
                      <a:pt x="171839" y="342710"/>
                    </a:cubicBezTo>
                    <a:cubicBezTo>
                      <a:pt x="170203" y="345822"/>
                      <a:pt x="167815" y="348466"/>
                      <a:pt x="164886" y="350404"/>
                    </a:cubicBezTo>
                    <a:cubicBezTo>
                      <a:pt x="162053" y="353157"/>
                      <a:pt x="159528" y="356218"/>
                      <a:pt x="157362" y="35952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0" name="Freihandform: Form 744">
                <a:extLst>
                  <a:ext uri="{FF2B5EF4-FFF2-40B4-BE49-F238E27FC236}">
                    <a16:creationId xmlns:a16="http://schemas.microsoft.com/office/drawing/2014/main" id="{E161EAD3-A948-5CDF-19E1-4459F08AB18F}"/>
                  </a:ext>
                </a:extLst>
              </p:cNvPr>
              <p:cNvSpPr/>
              <p:nvPr/>
            </p:nvSpPr>
            <p:spPr>
              <a:xfrm>
                <a:off x="4016650" y="2280845"/>
                <a:ext cx="268445" cy="505237"/>
              </a:xfrm>
              <a:custGeom>
                <a:avLst/>
                <a:gdLst>
                  <a:gd name="connsiteX0" fmla="*/ 142544 w 268445"/>
                  <a:gd name="connsiteY0" fmla="*/ 449232 h 505237"/>
                  <a:gd name="connsiteX1" fmla="*/ 142544 w 268445"/>
                  <a:gd name="connsiteY1" fmla="*/ 443932 h 505237"/>
                  <a:gd name="connsiteX2" fmla="*/ 146704 w 268445"/>
                  <a:gd name="connsiteY2" fmla="*/ 439999 h 505237"/>
                  <a:gd name="connsiteX3" fmla="*/ 148528 w 268445"/>
                  <a:gd name="connsiteY3" fmla="*/ 434927 h 505237"/>
                  <a:gd name="connsiteX4" fmla="*/ 147616 w 268445"/>
                  <a:gd name="connsiteY4" fmla="*/ 432761 h 505237"/>
                  <a:gd name="connsiteX5" fmla="*/ 148927 w 268445"/>
                  <a:gd name="connsiteY5" fmla="*/ 428771 h 505237"/>
                  <a:gd name="connsiteX6" fmla="*/ 154627 w 268445"/>
                  <a:gd name="connsiteY6" fmla="*/ 427005 h 505237"/>
                  <a:gd name="connsiteX7" fmla="*/ 156052 w 268445"/>
                  <a:gd name="connsiteY7" fmla="*/ 422103 h 505237"/>
                  <a:gd name="connsiteX8" fmla="*/ 162093 w 268445"/>
                  <a:gd name="connsiteY8" fmla="*/ 419139 h 505237"/>
                  <a:gd name="connsiteX9" fmla="*/ 163689 w 268445"/>
                  <a:gd name="connsiteY9" fmla="*/ 419139 h 505237"/>
                  <a:gd name="connsiteX10" fmla="*/ 165570 w 268445"/>
                  <a:gd name="connsiteY10" fmla="*/ 422160 h 505237"/>
                  <a:gd name="connsiteX11" fmla="*/ 166197 w 268445"/>
                  <a:gd name="connsiteY11" fmla="*/ 431678 h 505237"/>
                  <a:gd name="connsiteX12" fmla="*/ 160497 w 268445"/>
                  <a:gd name="connsiteY12" fmla="*/ 433502 h 505237"/>
                  <a:gd name="connsiteX13" fmla="*/ 159243 w 268445"/>
                  <a:gd name="connsiteY13" fmla="*/ 434129 h 505237"/>
                  <a:gd name="connsiteX14" fmla="*/ 158673 w 268445"/>
                  <a:gd name="connsiteY14" fmla="*/ 437890 h 505237"/>
                  <a:gd name="connsiteX15" fmla="*/ 158673 w 268445"/>
                  <a:gd name="connsiteY15" fmla="*/ 443590 h 505237"/>
                  <a:gd name="connsiteX16" fmla="*/ 154228 w 268445"/>
                  <a:gd name="connsiteY16" fmla="*/ 448207 h 505237"/>
                  <a:gd name="connsiteX17" fmla="*/ 147901 w 268445"/>
                  <a:gd name="connsiteY17" fmla="*/ 450030 h 505237"/>
                  <a:gd name="connsiteX18" fmla="*/ 142544 w 268445"/>
                  <a:gd name="connsiteY18" fmla="*/ 449232 h 505237"/>
                  <a:gd name="connsiteX19" fmla="*/ 187627 w 268445"/>
                  <a:gd name="connsiteY19" fmla="*/ 6668 h 505237"/>
                  <a:gd name="connsiteX20" fmla="*/ 187627 w 268445"/>
                  <a:gd name="connsiteY20" fmla="*/ 9461 h 505237"/>
                  <a:gd name="connsiteX21" fmla="*/ 190191 w 268445"/>
                  <a:gd name="connsiteY21" fmla="*/ 18295 h 505237"/>
                  <a:gd name="connsiteX22" fmla="*/ 189735 w 268445"/>
                  <a:gd name="connsiteY22" fmla="*/ 27244 h 505237"/>
                  <a:gd name="connsiteX23" fmla="*/ 181922 w 268445"/>
                  <a:gd name="connsiteY23" fmla="*/ 29210 h 505237"/>
                  <a:gd name="connsiteX24" fmla="*/ 181870 w 268445"/>
                  <a:gd name="connsiteY24" fmla="*/ 29181 h 505237"/>
                  <a:gd name="connsiteX25" fmla="*/ 176570 w 268445"/>
                  <a:gd name="connsiteY25" fmla="*/ 23824 h 505237"/>
                  <a:gd name="connsiteX26" fmla="*/ 169046 w 268445"/>
                  <a:gd name="connsiteY26" fmla="*/ 21202 h 505237"/>
                  <a:gd name="connsiteX27" fmla="*/ 164373 w 268445"/>
                  <a:gd name="connsiteY27" fmla="*/ 17155 h 505237"/>
                  <a:gd name="connsiteX28" fmla="*/ 152774 w 268445"/>
                  <a:gd name="connsiteY28" fmla="*/ 21578 h 505237"/>
                  <a:gd name="connsiteX29" fmla="*/ 152233 w 268445"/>
                  <a:gd name="connsiteY29" fmla="*/ 23197 h 505237"/>
                  <a:gd name="connsiteX30" fmla="*/ 150922 w 268445"/>
                  <a:gd name="connsiteY30" fmla="*/ 34026 h 505237"/>
                  <a:gd name="connsiteX31" fmla="*/ 140207 w 268445"/>
                  <a:gd name="connsiteY31" fmla="*/ 39725 h 505237"/>
                  <a:gd name="connsiteX32" fmla="*/ 127497 w 268445"/>
                  <a:gd name="connsiteY32" fmla="*/ 39725 h 505237"/>
                  <a:gd name="connsiteX33" fmla="*/ 119062 w 268445"/>
                  <a:gd name="connsiteY33" fmla="*/ 47933 h 505237"/>
                  <a:gd name="connsiteX34" fmla="*/ 119062 w 268445"/>
                  <a:gd name="connsiteY34" fmla="*/ 51865 h 505237"/>
                  <a:gd name="connsiteX35" fmla="*/ 114958 w 268445"/>
                  <a:gd name="connsiteY35" fmla="*/ 55969 h 505237"/>
                  <a:gd name="connsiteX36" fmla="*/ 111596 w 268445"/>
                  <a:gd name="connsiteY36" fmla="*/ 68736 h 505237"/>
                  <a:gd name="connsiteX37" fmla="*/ 102419 w 268445"/>
                  <a:gd name="connsiteY37" fmla="*/ 85834 h 505237"/>
                  <a:gd name="connsiteX38" fmla="*/ 91875 w 268445"/>
                  <a:gd name="connsiteY38" fmla="*/ 104642 h 505237"/>
                  <a:gd name="connsiteX39" fmla="*/ 86176 w 268445"/>
                  <a:gd name="connsiteY39" fmla="*/ 108746 h 505237"/>
                  <a:gd name="connsiteX40" fmla="*/ 84637 w 268445"/>
                  <a:gd name="connsiteY40" fmla="*/ 113818 h 505237"/>
                  <a:gd name="connsiteX41" fmla="*/ 68507 w 268445"/>
                  <a:gd name="connsiteY41" fmla="*/ 122482 h 505237"/>
                  <a:gd name="connsiteX42" fmla="*/ 66684 w 268445"/>
                  <a:gd name="connsiteY42" fmla="*/ 150238 h 505237"/>
                  <a:gd name="connsiteX43" fmla="*/ 65145 w 268445"/>
                  <a:gd name="connsiteY43" fmla="*/ 158103 h 505237"/>
                  <a:gd name="connsiteX44" fmla="*/ 57849 w 268445"/>
                  <a:gd name="connsiteY44" fmla="*/ 166482 h 505237"/>
                  <a:gd name="connsiteX45" fmla="*/ 55114 w 268445"/>
                  <a:gd name="connsiteY45" fmla="*/ 176570 h 505237"/>
                  <a:gd name="connsiteX46" fmla="*/ 61725 w 268445"/>
                  <a:gd name="connsiteY46" fmla="*/ 182269 h 505237"/>
                  <a:gd name="connsiteX47" fmla="*/ 64233 w 268445"/>
                  <a:gd name="connsiteY47" fmla="*/ 195606 h 505237"/>
                  <a:gd name="connsiteX48" fmla="*/ 58533 w 268445"/>
                  <a:gd name="connsiteY48" fmla="*/ 197259 h 505237"/>
                  <a:gd name="connsiteX49" fmla="*/ 54088 w 268445"/>
                  <a:gd name="connsiteY49" fmla="*/ 201647 h 505237"/>
                  <a:gd name="connsiteX50" fmla="*/ 42689 w 268445"/>
                  <a:gd name="connsiteY50" fmla="*/ 200963 h 505237"/>
                  <a:gd name="connsiteX51" fmla="*/ 31290 w 268445"/>
                  <a:gd name="connsiteY51" fmla="*/ 206663 h 505237"/>
                  <a:gd name="connsiteX52" fmla="*/ 25591 w 268445"/>
                  <a:gd name="connsiteY52" fmla="*/ 218518 h 505237"/>
                  <a:gd name="connsiteX53" fmla="*/ 23482 w 268445"/>
                  <a:gd name="connsiteY53" fmla="*/ 272834 h 505237"/>
                  <a:gd name="connsiteX54" fmla="*/ 25990 w 268445"/>
                  <a:gd name="connsiteY54" fmla="*/ 282922 h 505237"/>
                  <a:gd name="connsiteX55" fmla="*/ 36420 w 268445"/>
                  <a:gd name="connsiteY55" fmla="*/ 296259 h 505237"/>
                  <a:gd name="connsiteX56" fmla="*/ 28440 w 268445"/>
                  <a:gd name="connsiteY56" fmla="*/ 305948 h 505237"/>
                  <a:gd name="connsiteX57" fmla="*/ 25476 w 268445"/>
                  <a:gd name="connsiteY57" fmla="*/ 316891 h 505237"/>
                  <a:gd name="connsiteX58" fmla="*/ 29295 w 268445"/>
                  <a:gd name="connsiteY58" fmla="*/ 319113 h 505237"/>
                  <a:gd name="connsiteX59" fmla="*/ 32430 w 268445"/>
                  <a:gd name="connsiteY59" fmla="*/ 327264 h 505237"/>
                  <a:gd name="connsiteX60" fmla="*/ 28155 w 268445"/>
                  <a:gd name="connsiteY60" fmla="*/ 343279 h 505237"/>
                  <a:gd name="connsiteX61" fmla="*/ 18865 w 268445"/>
                  <a:gd name="connsiteY61" fmla="*/ 347839 h 505237"/>
                  <a:gd name="connsiteX62" fmla="*/ 16357 w 268445"/>
                  <a:gd name="connsiteY62" fmla="*/ 358725 h 505237"/>
                  <a:gd name="connsiteX63" fmla="*/ 14135 w 268445"/>
                  <a:gd name="connsiteY63" fmla="*/ 375823 h 505237"/>
                  <a:gd name="connsiteX64" fmla="*/ 13052 w 268445"/>
                  <a:gd name="connsiteY64" fmla="*/ 378445 h 505237"/>
                  <a:gd name="connsiteX65" fmla="*/ 10704 w 268445"/>
                  <a:gd name="connsiteY65" fmla="*/ 386156 h 505237"/>
                  <a:gd name="connsiteX66" fmla="*/ 10259 w 268445"/>
                  <a:gd name="connsiteY66" fmla="*/ 386367 h 505237"/>
                  <a:gd name="connsiteX67" fmla="*/ 0 w 268445"/>
                  <a:gd name="connsiteY67" fmla="*/ 385911 h 505237"/>
                  <a:gd name="connsiteX68" fmla="*/ 6383 w 268445"/>
                  <a:gd name="connsiteY68" fmla="*/ 405347 h 505237"/>
                  <a:gd name="connsiteX69" fmla="*/ 14419 w 268445"/>
                  <a:gd name="connsiteY69" fmla="*/ 413440 h 505237"/>
                  <a:gd name="connsiteX70" fmla="*/ 14876 w 268445"/>
                  <a:gd name="connsiteY70" fmla="*/ 418683 h 505237"/>
                  <a:gd name="connsiteX71" fmla="*/ 18865 w 268445"/>
                  <a:gd name="connsiteY71" fmla="*/ 423756 h 505237"/>
                  <a:gd name="connsiteX72" fmla="*/ 21373 w 268445"/>
                  <a:gd name="connsiteY72" fmla="*/ 439657 h 505237"/>
                  <a:gd name="connsiteX73" fmla="*/ 27585 w 268445"/>
                  <a:gd name="connsiteY73" fmla="*/ 443476 h 505237"/>
                  <a:gd name="connsiteX74" fmla="*/ 27585 w 268445"/>
                  <a:gd name="connsiteY74" fmla="*/ 454875 h 505237"/>
                  <a:gd name="connsiteX75" fmla="*/ 35508 w 268445"/>
                  <a:gd name="connsiteY75" fmla="*/ 461315 h 505237"/>
                  <a:gd name="connsiteX76" fmla="*/ 36875 w 268445"/>
                  <a:gd name="connsiteY76" fmla="*/ 478072 h 505237"/>
                  <a:gd name="connsiteX77" fmla="*/ 42575 w 268445"/>
                  <a:gd name="connsiteY77" fmla="*/ 482688 h 505237"/>
                  <a:gd name="connsiteX78" fmla="*/ 46964 w 268445"/>
                  <a:gd name="connsiteY78" fmla="*/ 502921 h 505237"/>
                  <a:gd name="connsiteX79" fmla="*/ 60625 w 268445"/>
                  <a:gd name="connsiteY79" fmla="*/ 501833 h 505237"/>
                  <a:gd name="connsiteX80" fmla="*/ 61383 w 268445"/>
                  <a:gd name="connsiteY80" fmla="*/ 500813 h 505237"/>
                  <a:gd name="connsiteX81" fmla="*/ 65031 w 268445"/>
                  <a:gd name="connsiteY81" fmla="*/ 484683 h 505237"/>
                  <a:gd name="connsiteX82" fmla="*/ 73694 w 268445"/>
                  <a:gd name="connsiteY82" fmla="*/ 481833 h 505237"/>
                  <a:gd name="connsiteX83" fmla="*/ 77627 w 268445"/>
                  <a:gd name="connsiteY83" fmla="*/ 472942 h 505237"/>
                  <a:gd name="connsiteX84" fmla="*/ 88513 w 268445"/>
                  <a:gd name="connsiteY84" fmla="*/ 478642 h 505237"/>
                  <a:gd name="connsiteX85" fmla="*/ 99114 w 268445"/>
                  <a:gd name="connsiteY85" fmla="*/ 474139 h 505237"/>
                  <a:gd name="connsiteX86" fmla="*/ 100710 w 268445"/>
                  <a:gd name="connsiteY86" fmla="*/ 469124 h 505237"/>
                  <a:gd name="connsiteX87" fmla="*/ 109943 w 268445"/>
                  <a:gd name="connsiteY87" fmla="*/ 463424 h 505237"/>
                  <a:gd name="connsiteX88" fmla="*/ 120430 w 268445"/>
                  <a:gd name="connsiteY88" fmla="*/ 459777 h 505237"/>
                  <a:gd name="connsiteX89" fmla="*/ 120943 w 268445"/>
                  <a:gd name="connsiteY89" fmla="*/ 450201 h 505237"/>
                  <a:gd name="connsiteX90" fmla="*/ 108746 w 268445"/>
                  <a:gd name="connsiteY90" fmla="*/ 446782 h 505237"/>
                  <a:gd name="connsiteX91" fmla="*/ 108746 w 268445"/>
                  <a:gd name="connsiteY91" fmla="*/ 444274 h 505237"/>
                  <a:gd name="connsiteX92" fmla="*/ 119233 w 268445"/>
                  <a:gd name="connsiteY92" fmla="*/ 394631 h 505237"/>
                  <a:gd name="connsiteX93" fmla="*/ 121513 w 268445"/>
                  <a:gd name="connsiteY93" fmla="*/ 389730 h 505237"/>
                  <a:gd name="connsiteX94" fmla="*/ 126585 w 268445"/>
                  <a:gd name="connsiteY94" fmla="*/ 388362 h 505237"/>
                  <a:gd name="connsiteX95" fmla="*/ 148186 w 268445"/>
                  <a:gd name="connsiteY95" fmla="*/ 364253 h 505237"/>
                  <a:gd name="connsiteX96" fmla="*/ 156507 w 268445"/>
                  <a:gd name="connsiteY96" fmla="*/ 354735 h 505237"/>
                  <a:gd name="connsiteX97" fmla="*/ 156507 w 268445"/>
                  <a:gd name="connsiteY97" fmla="*/ 341512 h 505237"/>
                  <a:gd name="connsiteX98" fmla="*/ 155424 w 268445"/>
                  <a:gd name="connsiteY98" fmla="*/ 337751 h 505237"/>
                  <a:gd name="connsiteX99" fmla="*/ 150523 w 268445"/>
                  <a:gd name="connsiteY99" fmla="*/ 334901 h 505237"/>
                  <a:gd name="connsiteX100" fmla="*/ 145564 w 268445"/>
                  <a:gd name="connsiteY100" fmla="*/ 323502 h 505237"/>
                  <a:gd name="connsiteX101" fmla="*/ 129093 w 268445"/>
                  <a:gd name="connsiteY101" fmla="*/ 321735 h 505237"/>
                  <a:gd name="connsiteX102" fmla="*/ 125160 w 268445"/>
                  <a:gd name="connsiteY102" fmla="*/ 320481 h 505237"/>
                  <a:gd name="connsiteX103" fmla="*/ 123622 w 268445"/>
                  <a:gd name="connsiteY103" fmla="*/ 315352 h 505237"/>
                  <a:gd name="connsiteX104" fmla="*/ 128238 w 268445"/>
                  <a:gd name="connsiteY104" fmla="*/ 259668 h 505237"/>
                  <a:gd name="connsiteX105" fmla="*/ 129150 w 268445"/>
                  <a:gd name="connsiteY105" fmla="*/ 250207 h 505237"/>
                  <a:gd name="connsiteX106" fmla="*/ 128409 w 268445"/>
                  <a:gd name="connsiteY106" fmla="*/ 248269 h 505237"/>
                  <a:gd name="connsiteX107" fmla="*/ 132342 w 268445"/>
                  <a:gd name="connsiteY107" fmla="*/ 243880 h 505237"/>
                  <a:gd name="connsiteX108" fmla="*/ 155767 w 268445"/>
                  <a:gd name="connsiteY108" fmla="*/ 226782 h 505237"/>
                  <a:gd name="connsiteX109" fmla="*/ 160440 w 268445"/>
                  <a:gd name="connsiteY109" fmla="*/ 223020 h 505237"/>
                  <a:gd name="connsiteX110" fmla="*/ 165114 w 268445"/>
                  <a:gd name="connsiteY110" fmla="*/ 222165 h 505237"/>
                  <a:gd name="connsiteX111" fmla="*/ 169958 w 268445"/>
                  <a:gd name="connsiteY111" fmla="*/ 212704 h 505237"/>
                  <a:gd name="connsiteX112" fmla="*/ 172637 w 268445"/>
                  <a:gd name="connsiteY112" fmla="*/ 202046 h 505237"/>
                  <a:gd name="connsiteX113" fmla="*/ 177538 w 268445"/>
                  <a:gd name="connsiteY113" fmla="*/ 199197 h 505237"/>
                  <a:gd name="connsiteX114" fmla="*/ 192357 w 268445"/>
                  <a:gd name="connsiteY114" fmla="*/ 193497 h 505237"/>
                  <a:gd name="connsiteX115" fmla="*/ 197145 w 268445"/>
                  <a:gd name="connsiteY115" fmla="*/ 189849 h 505237"/>
                  <a:gd name="connsiteX116" fmla="*/ 197658 w 268445"/>
                  <a:gd name="connsiteY116" fmla="*/ 186658 h 505237"/>
                  <a:gd name="connsiteX117" fmla="*/ 205409 w 268445"/>
                  <a:gd name="connsiteY117" fmla="*/ 175259 h 505237"/>
                  <a:gd name="connsiteX118" fmla="*/ 205751 w 268445"/>
                  <a:gd name="connsiteY118" fmla="*/ 167906 h 505237"/>
                  <a:gd name="connsiteX119" fmla="*/ 211051 w 268445"/>
                  <a:gd name="connsiteY119" fmla="*/ 165741 h 505237"/>
                  <a:gd name="connsiteX120" fmla="*/ 215098 w 268445"/>
                  <a:gd name="connsiteY120" fmla="*/ 161409 h 505237"/>
                  <a:gd name="connsiteX121" fmla="*/ 221938 w 268445"/>
                  <a:gd name="connsiteY121" fmla="*/ 137642 h 505237"/>
                  <a:gd name="connsiteX122" fmla="*/ 233336 w 268445"/>
                  <a:gd name="connsiteY122" fmla="*/ 132912 h 505237"/>
                  <a:gd name="connsiteX123" fmla="*/ 236243 w 268445"/>
                  <a:gd name="connsiteY123" fmla="*/ 124875 h 505237"/>
                  <a:gd name="connsiteX124" fmla="*/ 262974 w 268445"/>
                  <a:gd name="connsiteY124" fmla="*/ 119575 h 505237"/>
                  <a:gd name="connsiteX125" fmla="*/ 267818 w 268445"/>
                  <a:gd name="connsiteY125" fmla="*/ 115528 h 505237"/>
                  <a:gd name="connsiteX126" fmla="*/ 267818 w 268445"/>
                  <a:gd name="connsiteY126" fmla="*/ 96150 h 505237"/>
                  <a:gd name="connsiteX127" fmla="*/ 267818 w 268445"/>
                  <a:gd name="connsiteY127" fmla="*/ 89938 h 505237"/>
                  <a:gd name="connsiteX128" fmla="*/ 268445 w 268445"/>
                  <a:gd name="connsiteY128" fmla="*/ 85264 h 505237"/>
                  <a:gd name="connsiteX129" fmla="*/ 257673 w 268445"/>
                  <a:gd name="connsiteY129" fmla="*/ 68793 h 505237"/>
                  <a:gd name="connsiteX130" fmla="*/ 262404 w 268445"/>
                  <a:gd name="connsiteY130" fmla="*/ 49471 h 505237"/>
                  <a:gd name="connsiteX131" fmla="*/ 258186 w 268445"/>
                  <a:gd name="connsiteY131" fmla="*/ 42689 h 505237"/>
                  <a:gd name="connsiteX132" fmla="*/ 234305 w 268445"/>
                  <a:gd name="connsiteY132" fmla="*/ 23254 h 505237"/>
                  <a:gd name="connsiteX133" fmla="*/ 230487 w 268445"/>
                  <a:gd name="connsiteY133" fmla="*/ 21202 h 505237"/>
                  <a:gd name="connsiteX134" fmla="*/ 226326 w 268445"/>
                  <a:gd name="connsiteY134" fmla="*/ 20575 h 505237"/>
                  <a:gd name="connsiteX135" fmla="*/ 223248 w 268445"/>
                  <a:gd name="connsiteY135" fmla="*/ 17497 h 505237"/>
                  <a:gd name="connsiteX136" fmla="*/ 211108 w 268445"/>
                  <a:gd name="connsiteY136" fmla="*/ 0 h 505237"/>
                  <a:gd name="connsiteX137" fmla="*/ 191787 w 268445"/>
                  <a:gd name="connsiteY137" fmla="*/ 3648 h 505237"/>
                  <a:gd name="connsiteX138" fmla="*/ 187627 w 268445"/>
                  <a:gd name="connsiteY138" fmla="*/ 6554 h 50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68445" h="505237">
                    <a:moveTo>
                      <a:pt x="142544" y="449232"/>
                    </a:moveTo>
                    <a:cubicBezTo>
                      <a:pt x="141358" y="447665"/>
                      <a:pt x="141358" y="445499"/>
                      <a:pt x="142544" y="443932"/>
                    </a:cubicBezTo>
                    <a:cubicBezTo>
                      <a:pt x="143832" y="442519"/>
                      <a:pt x="145222" y="441208"/>
                      <a:pt x="146704" y="439999"/>
                    </a:cubicBezTo>
                    <a:cubicBezTo>
                      <a:pt x="148180" y="438762"/>
                      <a:pt x="148876" y="436825"/>
                      <a:pt x="148528" y="434927"/>
                    </a:cubicBezTo>
                    <a:cubicBezTo>
                      <a:pt x="148528" y="434129"/>
                      <a:pt x="147844" y="433502"/>
                      <a:pt x="147616" y="432761"/>
                    </a:cubicBezTo>
                    <a:cubicBezTo>
                      <a:pt x="147183" y="431291"/>
                      <a:pt x="147708" y="429700"/>
                      <a:pt x="148927" y="428771"/>
                    </a:cubicBezTo>
                    <a:cubicBezTo>
                      <a:pt x="150523" y="427688"/>
                      <a:pt x="152803" y="428030"/>
                      <a:pt x="154627" y="427005"/>
                    </a:cubicBezTo>
                    <a:cubicBezTo>
                      <a:pt x="156239" y="425944"/>
                      <a:pt x="156844" y="423864"/>
                      <a:pt x="156052" y="422103"/>
                    </a:cubicBezTo>
                    <a:cubicBezTo>
                      <a:pt x="157556" y="420302"/>
                      <a:pt x="159751" y="419225"/>
                      <a:pt x="162093" y="419139"/>
                    </a:cubicBezTo>
                    <a:cubicBezTo>
                      <a:pt x="162617" y="419025"/>
                      <a:pt x="163164" y="419025"/>
                      <a:pt x="163689" y="419139"/>
                    </a:cubicBezTo>
                    <a:cubicBezTo>
                      <a:pt x="164886" y="419481"/>
                      <a:pt x="165342" y="420906"/>
                      <a:pt x="165570" y="422160"/>
                    </a:cubicBezTo>
                    <a:cubicBezTo>
                      <a:pt x="166151" y="425295"/>
                      <a:pt x="166356" y="428492"/>
                      <a:pt x="166197" y="431678"/>
                    </a:cubicBezTo>
                    <a:lnTo>
                      <a:pt x="160497" y="433502"/>
                    </a:lnTo>
                    <a:cubicBezTo>
                      <a:pt x="160041" y="433616"/>
                      <a:pt x="159608" y="433832"/>
                      <a:pt x="159243" y="434129"/>
                    </a:cubicBezTo>
                    <a:cubicBezTo>
                      <a:pt x="158217" y="434984"/>
                      <a:pt x="158445" y="436580"/>
                      <a:pt x="158673" y="437890"/>
                    </a:cubicBezTo>
                    <a:cubicBezTo>
                      <a:pt x="159186" y="439754"/>
                      <a:pt x="159186" y="441726"/>
                      <a:pt x="158673" y="443590"/>
                    </a:cubicBezTo>
                    <a:cubicBezTo>
                      <a:pt x="157841" y="445642"/>
                      <a:pt x="156251" y="447295"/>
                      <a:pt x="154228" y="448207"/>
                    </a:cubicBezTo>
                    <a:cubicBezTo>
                      <a:pt x="152210" y="449096"/>
                      <a:pt x="150084" y="449711"/>
                      <a:pt x="147901" y="450030"/>
                    </a:cubicBezTo>
                    <a:cubicBezTo>
                      <a:pt x="146095" y="450686"/>
                      <a:pt x="144083" y="450384"/>
                      <a:pt x="142544" y="449232"/>
                    </a:cubicBezTo>
                    <a:close/>
                    <a:moveTo>
                      <a:pt x="187627" y="6668"/>
                    </a:moveTo>
                    <a:cubicBezTo>
                      <a:pt x="187370" y="7580"/>
                      <a:pt x="187370" y="8549"/>
                      <a:pt x="187627" y="9461"/>
                    </a:cubicBezTo>
                    <a:cubicBezTo>
                      <a:pt x="188265" y="12465"/>
                      <a:pt x="189120" y="15417"/>
                      <a:pt x="190191" y="18295"/>
                    </a:cubicBezTo>
                    <a:cubicBezTo>
                      <a:pt x="191223" y="21225"/>
                      <a:pt x="191058" y="24439"/>
                      <a:pt x="189735" y="27244"/>
                    </a:cubicBezTo>
                    <a:cubicBezTo>
                      <a:pt x="188122" y="29945"/>
                      <a:pt x="184623" y="30828"/>
                      <a:pt x="181922" y="29210"/>
                    </a:cubicBezTo>
                    <a:cubicBezTo>
                      <a:pt x="181904" y="29198"/>
                      <a:pt x="181887" y="29193"/>
                      <a:pt x="181870" y="29181"/>
                    </a:cubicBezTo>
                    <a:cubicBezTo>
                      <a:pt x="181870" y="26503"/>
                      <a:pt x="179134" y="24622"/>
                      <a:pt x="176570" y="23824"/>
                    </a:cubicBezTo>
                    <a:cubicBezTo>
                      <a:pt x="173954" y="23305"/>
                      <a:pt x="171417" y="22422"/>
                      <a:pt x="169046" y="21202"/>
                    </a:cubicBezTo>
                    <a:cubicBezTo>
                      <a:pt x="167336" y="20062"/>
                      <a:pt x="166139" y="18238"/>
                      <a:pt x="164373" y="17155"/>
                    </a:cubicBezTo>
                    <a:cubicBezTo>
                      <a:pt x="159950" y="15172"/>
                      <a:pt x="154758" y="17155"/>
                      <a:pt x="152774" y="21578"/>
                    </a:cubicBezTo>
                    <a:cubicBezTo>
                      <a:pt x="152541" y="22103"/>
                      <a:pt x="152358" y="22644"/>
                      <a:pt x="152233" y="23197"/>
                    </a:cubicBezTo>
                    <a:cubicBezTo>
                      <a:pt x="151435" y="26788"/>
                      <a:pt x="152233" y="30720"/>
                      <a:pt x="150922" y="34026"/>
                    </a:cubicBezTo>
                    <a:cubicBezTo>
                      <a:pt x="148665" y="37748"/>
                      <a:pt x="144556" y="39936"/>
                      <a:pt x="140207" y="39725"/>
                    </a:cubicBezTo>
                    <a:cubicBezTo>
                      <a:pt x="135978" y="39412"/>
                      <a:pt x="131726" y="39412"/>
                      <a:pt x="127497" y="39725"/>
                    </a:cubicBezTo>
                    <a:cubicBezTo>
                      <a:pt x="123137" y="40204"/>
                      <a:pt x="119660" y="43590"/>
                      <a:pt x="119062" y="47933"/>
                    </a:cubicBezTo>
                    <a:cubicBezTo>
                      <a:pt x="119261" y="49238"/>
                      <a:pt x="119261" y="50560"/>
                      <a:pt x="119062" y="51865"/>
                    </a:cubicBezTo>
                    <a:cubicBezTo>
                      <a:pt x="118435" y="53746"/>
                      <a:pt x="116383" y="54601"/>
                      <a:pt x="114958" y="55969"/>
                    </a:cubicBezTo>
                    <a:cubicBezTo>
                      <a:pt x="111767" y="59104"/>
                      <a:pt x="112508" y="64347"/>
                      <a:pt x="111596" y="68736"/>
                    </a:cubicBezTo>
                    <a:cubicBezTo>
                      <a:pt x="110285" y="75119"/>
                      <a:pt x="105326" y="80135"/>
                      <a:pt x="102419" y="85834"/>
                    </a:cubicBezTo>
                    <a:cubicBezTo>
                      <a:pt x="99513" y="91534"/>
                      <a:pt x="98088" y="100767"/>
                      <a:pt x="91875" y="104642"/>
                    </a:cubicBezTo>
                    <a:cubicBezTo>
                      <a:pt x="89880" y="105896"/>
                      <a:pt x="87430" y="106694"/>
                      <a:pt x="86176" y="108746"/>
                    </a:cubicBezTo>
                    <a:cubicBezTo>
                      <a:pt x="84922" y="110798"/>
                      <a:pt x="85492" y="112280"/>
                      <a:pt x="84637" y="113818"/>
                    </a:cubicBezTo>
                    <a:cubicBezTo>
                      <a:pt x="81901" y="118948"/>
                      <a:pt x="68850" y="116725"/>
                      <a:pt x="68507" y="122482"/>
                    </a:cubicBezTo>
                    <a:cubicBezTo>
                      <a:pt x="67881" y="131715"/>
                      <a:pt x="67254" y="141005"/>
                      <a:pt x="66684" y="150238"/>
                    </a:cubicBezTo>
                    <a:cubicBezTo>
                      <a:pt x="66638" y="152928"/>
                      <a:pt x="66120" y="155596"/>
                      <a:pt x="65145" y="158103"/>
                    </a:cubicBezTo>
                    <a:cubicBezTo>
                      <a:pt x="63139" y="161244"/>
                      <a:pt x="60682" y="164065"/>
                      <a:pt x="57849" y="166482"/>
                    </a:cubicBezTo>
                    <a:cubicBezTo>
                      <a:pt x="54994" y="168989"/>
                      <a:pt x="53917" y="172962"/>
                      <a:pt x="55114" y="176570"/>
                    </a:cubicBezTo>
                    <a:cubicBezTo>
                      <a:pt x="56425" y="179248"/>
                      <a:pt x="59503" y="180445"/>
                      <a:pt x="61725" y="182269"/>
                    </a:cubicBezTo>
                    <a:cubicBezTo>
                      <a:pt x="65407" y="185677"/>
                      <a:pt x="66422" y="191092"/>
                      <a:pt x="64233" y="195606"/>
                    </a:cubicBezTo>
                    <a:cubicBezTo>
                      <a:pt x="62181" y="194774"/>
                      <a:pt x="59822" y="195452"/>
                      <a:pt x="58533" y="197259"/>
                    </a:cubicBezTo>
                    <a:cubicBezTo>
                      <a:pt x="57052" y="198741"/>
                      <a:pt x="55969" y="200678"/>
                      <a:pt x="54088" y="201647"/>
                    </a:cubicBezTo>
                    <a:cubicBezTo>
                      <a:pt x="50668" y="203471"/>
                      <a:pt x="46622" y="201248"/>
                      <a:pt x="42689" y="200963"/>
                    </a:cubicBezTo>
                    <a:cubicBezTo>
                      <a:pt x="38204" y="200952"/>
                      <a:pt x="33975" y="203067"/>
                      <a:pt x="31290" y="206663"/>
                    </a:cubicBezTo>
                    <a:cubicBezTo>
                      <a:pt x="28566" y="210162"/>
                      <a:pt x="26622" y="214203"/>
                      <a:pt x="25591" y="218518"/>
                    </a:cubicBezTo>
                    <a:cubicBezTo>
                      <a:pt x="20803" y="236072"/>
                      <a:pt x="22114" y="254652"/>
                      <a:pt x="23482" y="272834"/>
                    </a:cubicBezTo>
                    <a:cubicBezTo>
                      <a:pt x="23487" y="276350"/>
                      <a:pt x="24348" y="279810"/>
                      <a:pt x="25990" y="282922"/>
                    </a:cubicBezTo>
                    <a:cubicBezTo>
                      <a:pt x="29238" y="287766"/>
                      <a:pt x="36591" y="290445"/>
                      <a:pt x="36420" y="296259"/>
                    </a:cubicBezTo>
                    <a:cubicBezTo>
                      <a:pt x="36420" y="300590"/>
                      <a:pt x="31860" y="303269"/>
                      <a:pt x="28440" y="305948"/>
                    </a:cubicBezTo>
                    <a:cubicBezTo>
                      <a:pt x="25021" y="308626"/>
                      <a:pt x="22285" y="314041"/>
                      <a:pt x="25476" y="316891"/>
                    </a:cubicBezTo>
                    <a:cubicBezTo>
                      <a:pt x="26708" y="317700"/>
                      <a:pt x="27984" y="318441"/>
                      <a:pt x="29295" y="319113"/>
                    </a:cubicBezTo>
                    <a:cubicBezTo>
                      <a:pt x="31427" y="321279"/>
                      <a:pt x="32561" y="324232"/>
                      <a:pt x="32430" y="327264"/>
                    </a:cubicBezTo>
                    <a:cubicBezTo>
                      <a:pt x="32886" y="332963"/>
                      <a:pt x="32886" y="339974"/>
                      <a:pt x="28155" y="343279"/>
                    </a:cubicBezTo>
                    <a:cubicBezTo>
                      <a:pt x="25306" y="345274"/>
                      <a:pt x="21373" y="345388"/>
                      <a:pt x="18865" y="347839"/>
                    </a:cubicBezTo>
                    <a:cubicBezTo>
                      <a:pt x="16631" y="350996"/>
                      <a:pt x="15731" y="354906"/>
                      <a:pt x="16357" y="358725"/>
                    </a:cubicBezTo>
                    <a:cubicBezTo>
                      <a:pt x="16352" y="364498"/>
                      <a:pt x="15605" y="370243"/>
                      <a:pt x="14135" y="375823"/>
                    </a:cubicBezTo>
                    <a:cubicBezTo>
                      <a:pt x="13918" y="376752"/>
                      <a:pt x="13553" y="377636"/>
                      <a:pt x="13052" y="378445"/>
                    </a:cubicBezTo>
                    <a:cubicBezTo>
                      <a:pt x="14534" y="381221"/>
                      <a:pt x="13479" y="384675"/>
                      <a:pt x="10704" y="386156"/>
                    </a:cubicBezTo>
                    <a:cubicBezTo>
                      <a:pt x="10555" y="386230"/>
                      <a:pt x="10407" y="386305"/>
                      <a:pt x="10259" y="386367"/>
                    </a:cubicBezTo>
                    <a:cubicBezTo>
                      <a:pt x="6885" y="387353"/>
                      <a:pt x="3277" y="387194"/>
                      <a:pt x="0" y="385911"/>
                    </a:cubicBezTo>
                    <a:cubicBezTo>
                      <a:pt x="399" y="392922"/>
                      <a:pt x="1140" y="400730"/>
                      <a:pt x="6383" y="405347"/>
                    </a:cubicBezTo>
                    <a:cubicBezTo>
                      <a:pt x="9290" y="407968"/>
                      <a:pt x="13622" y="409678"/>
                      <a:pt x="14419" y="413440"/>
                    </a:cubicBezTo>
                    <a:cubicBezTo>
                      <a:pt x="14454" y="415195"/>
                      <a:pt x="14608" y="416945"/>
                      <a:pt x="14876" y="418683"/>
                    </a:cubicBezTo>
                    <a:cubicBezTo>
                      <a:pt x="15617" y="420735"/>
                      <a:pt x="17782" y="421875"/>
                      <a:pt x="18865" y="423756"/>
                    </a:cubicBezTo>
                    <a:cubicBezTo>
                      <a:pt x="21772" y="428486"/>
                      <a:pt x="17269" y="435953"/>
                      <a:pt x="21373" y="439657"/>
                    </a:cubicBezTo>
                    <a:cubicBezTo>
                      <a:pt x="23197" y="441310"/>
                      <a:pt x="26160" y="441481"/>
                      <a:pt x="27585" y="443476"/>
                    </a:cubicBezTo>
                    <a:cubicBezTo>
                      <a:pt x="29808" y="446668"/>
                      <a:pt x="26104" y="451284"/>
                      <a:pt x="27585" y="454875"/>
                    </a:cubicBezTo>
                    <a:cubicBezTo>
                      <a:pt x="29067" y="458466"/>
                      <a:pt x="33285" y="458523"/>
                      <a:pt x="35508" y="461315"/>
                    </a:cubicBezTo>
                    <a:cubicBezTo>
                      <a:pt x="38928" y="465932"/>
                      <a:pt x="33513" y="473341"/>
                      <a:pt x="36875" y="478072"/>
                    </a:cubicBezTo>
                    <a:cubicBezTo>
                      <a:pt x="38357" y="480124"/>
                      <a:pt x="41036" y="480865"/>
                      <a:pt x="42575" y="482688"/>
                    </a:cubicBezTo>
                    <a:cubicBezTo>
                      <a:pt x="47477" y="487818"/>
                      <a:pt x="42575" y="497564"/>
                      <a:pt x="46964" y="502921"/>
                    </a:cubicBezTo>
                    <a:cubicBezTo>
                      <a:pt x="51033" y="506393"/>
                      <a:pt x="57148" y="505908"/>
                      <a:pt x="60625" y="501833"/>
                    </a:cubicBezTo>
                    <a:cubicBezTo>
                      <a:pt x="60899" y="501508"/>
                      <a:pt x="61150" y="501172"/>
                      <a:pt x="61383" y="500813"/>
                    </a:cubicBezTo>
                    <a:cubicBezTo>
                      <a:pt x="64199" y="495928"/>
                      <a:pt x="65470" y="490303"/>
                      <a:pt x="65031" y="484683"/>
                    </a:cubicBezTo>
                    <a:cubicBezTo>
                      <a:pt x="68228" y="485624"/>
                      <a:pt x="71677" y="484489"/>
                      <a:pt x="73694" y="481833"/>
                    </a:cubicBezTo>
                    <a:cubicBezTo>
                      <a:pt x="75609" y="479177"/>
                      <a:pt x="76948" y="476145"/>
                      <a:pt x="77627" y="472942"/>
                    </a:cubicBezTo>
                    <a:cubicBezTo>
                      <a:pt x="80790" y="475627"/>
                      <a:pt x="84506" y="477576"/>
                      <a:pt x="88513" y="478642"/>
                    </a:cubicBezTo>
                    <a:cubicBezTo>
                      <a:pt x="92656" y="479690"/>
                      <a:pt x="96994" y="477849"/>
                      <a:pt x="99114" y="474139"/>
                    </a:cubicBezTo>
                    <a:cubicBezTo>
                      <a:pt x="99855" y="472543"/>
                      <a:pt x="99969" y="470719"/>
                      <a:pt x="100710" y="469124"/>
                    </a:cubicBezTo>
                    <a:cubicBezTo>
                      <a:pt x="102756" y="465915"/>
                      <a:pt x="106158" y="463817"/>
                      <a:pt x="109943" y="463424"/>
                    </a:cubicBezTo>
                    <a:cubicBezTo>
                      <a:pt x="113687" y="463094"/>
                      <a:pt x="117289" y="461840"/>
                      <a:pt x="120430" y="459777"/>
                    </a:cubicBezTo>
                    <a:cubicBezTo>
                      <a:pt x="123337" y="457383"/>
                      <a:pt x="124134" y="452139"/>
                      <a:pt x="120943" y="450201"/>
                    </a:cubicBezTo>
                    <a:cubicBezTo>
                      <a:pt x="117751" y="448264"/>
                      <a:pt x="109544" y="451227"/>
                      <a:pt x="108746" y="446782"/>
                    </a:cubicBezTo>
                    <a:cubicBezTo>
                      <a:pt x="108546" y="445955"/>
                      <a:pt x="108546" y="445100"/>
                      <a:pt x="108746" y="444274"/>
                    </a:cubicBezTo>
                    <a:cubicBezTo>
                      <a:pt x="112223" y="427745"/>
                      <a:pt x="115699" y="411160"/>
                      <a:pt x="119233" y="394631"/>
                    </a:cubicBezTo>
                    <a:cubicBezTo>
                      <a:pt x="119393" y="392779"/>
                      <a:pt x="120202" y="391047"/>
                      <a:pt x="121513" y="389730"/>
                    </a:cubicBezTo>
                    <a:cubicBezTo>
                      <a:pt x="123057" y="388841"/>
                      <a:pt x="124801" y="388368"/>
                      <a:pt x="126585" y="388362"/>
                    </a:cubicBezTo>
                    <a:cubicBezTo>
                      <a:pt x="138851" y="386949"/>
                      <a:pt x="148124" y="376598"/>
                      <a:pt x="148186" y="364253"/>
                    </a:cubicBezTo>
                    <a:cubicBezTo>
                      <a:pt x="152449" y="362771"/>
                      <a:pt x="155613" y="359152"/>
                      <a:pt x="156507" y="354735"/>
                    </a:cubicBezTo>
                    <a:cubicBezTo>
                      <a:pt x="157305" y="350364"/>
                      <a:pt x="157305" y="345884"/>
                      <a:pt x="156507" y="341512"/>
                    </a:cubicBezTo>
                    <a:cubicBezTo>
                      <a:pt x="156502" y="340184"/>
                      <a:pt x="156126" y="338879"/>
                      <a:pt x="155424" y="337751"/>
                    </a:cubicBezTo>
                    <a:cubicBezTo>
                      <a:pt x="154034" y="336434"/>
                      <a:pt x="152358" y="335460"/>
                      <a:pt x="150523" y="334901"/>
                    </a:cubicBezTo>
                    <a:cubicBezTo>
                      <a:pt x="146448" y="332690"/>
                      <a:pt x="144402" y="327988"/>
                      <a:pt x="145564" y="323502"/>
                    </a:cubicBezTo>
                    <a:lnTo>
                      <a:pt x="129093" y="321735"/>
                    </a:lnTo>
                    <a:cubicBezTo>
                      <a:pt x="127685" y="321730"/>
                      <a:pt x="126312" y="321296"/>
                      <a:pt x="125160" y="320481"/>
                    </a:cubicBezTo>
                    <a:cubicBezTo>
                      <a:pt x="123947" y="319068"/>
                      <a:pt x="123388" y="317204"/>
                      <a:pt x="123622" y="315352"/>
                    </a:cubicBezTo>
                    <a:cubicBezTo>
                      <a:pt x="123051" y="296658"/>
                      <a:pt x="122596" y="277507"/>
                      <a:pt x="128238" y="259668"/>
                    </a:cubicBezTo>
                    <a:cubicBezTo>
                      <a:pt x="129600" y="256710"/>
                      <a:pt x="129925" y="253376"/>
                      <a:pt x="129150" y="250207"/>
                    </a:cubicBezTo>
                    <a:cubicBezTo>
                      <a:pt x="128796" y="249608"/>
                      <a:pt x="128546" y="248953"/>
                      <a:pt x="128409" y="248269"/>
                    </a:cubicBezTo>
                    <a:cubicBezTo>
                      <a:pt x="128124" y="246160"/>
                      <a:pt x="130461" y="244735"/>
                      <a:pt x="132342" y="243880"/>
                    </a:cubicBezTo>
                    <a:cubicBezTo>
                      <a:pt x="141193" y="239771"/>
                      <a:pt x="149155" y="233963"/>
                      <a:pt x="155767" y="226782"/>
                    </a:cubicBezTo>
                    <a:cubicBezTo>
                      <a:pt x="156992" y="225163"/>
                      <a:pt x="158599" y="223875"/>
                      <a:pt x="160440" y="223020"/>
                    </a:cubicBezTo>
                    <a:cubicBezTo>
                      <a:pt x="161922" y="222507"/>
                      <a:pt x="163632" y="222678"/>
                      <a:pt x="165114" y="222165"/>
                    </a:cubicBezTo>
                    <a:cubicBezTo>
                      <a:pt x="168647" y="220912"/>
                      <a:pt x="169787" y="216466"/>
                      <a:pt x="169958" y="212704"/>
                    </a:cubicBezTo>
                    <a:cubicBezTo>
                      <a:pt x="169542" y="208943"/>
                      <a:pt x="170494" y="205164"/>
                      <a:pt x="172637" y="202046"/>
                    </a:cubicBezTo>
                    <a:cubicBezTo>
                      <a:pt x="174062" y="200775"/>
                      <a:pt x="175726" y="199801"/>
                      <a:pt x="177538" y="199197"/>
                    </a:cubicBezTo>
                    <a:lnTo>
                      <a:pt x="192357" y="193497"/>
                    </a:lnTo>
                    <a:cubicBezTo>
                      <a:pt x="194392" y="193001"/>
                      <a:pt x="196125" y="191679"/>
                      <a:pt x="197145" y="189849"/>
                    </a:cubicBezTo>
                    <a:cubicBezTo>
                      <a:pt x="197378" y="188795"/>
                      <a:pt x="197550" y="187729"/>
                      <a:pt x="197658" y="186658"/>
                    </a:cubicBezTo>
                    <a:cubicBezTo>
                      <a:pt x="198684" y="182098"/>
                      <a:pt x="204953" y="179989"/>
                      <a:pt x="205409" y="175259"/>
                    </a:cubicBezTo>
                    <a:cubicBezTo>
                      <a:pt x="205409" y="172751"/>
                      <a:pt x="204155" y="169901"/>
                      <a:pt x="205751" y="167906"/>
                    </a:cubicBezTo>
                    <a:cubicBezTo>
                      <a:pt x="207347" y="165912"/>
                      <a:pt x="209227" y="166539"/>
                      <a:pt x="211051" y="165741"/>
                    </a:cubicBezTo>
                    <a:cubicBezTo>
                      <a:pt x="212824" y="164760"/>
                      <a:pt x="214237" y="163244"/>
                      <a:pt x="215098" y="161409"/>
                    </a:cubicBezTo>
                    <a:cubicBezTo>
                      <a:pt x="219282" y="154165"/>
                      <a:pt x="221630" y="146003"/>
                      <a:pt x="221938" y="137642"/>
                    </a:cubicBezTo>
                    <a:cubicBezTo>
                      <a:pt x="226383" y="139027"/>
                      <a:pt x="231176" y="137038"/>
                      <a:pt x="233336" y="132912"/>
                    </a:cubicBezTo>
                    <a:cubicBezTo>
                      <a:pt x="234089" y="130159"/>
                      <a:pt x="235063" y="127474"/>
                      <a:pt x="236243" y="124875"/>
                    </a:cubicBezTo>
                    <a:cubicBezTo>
                      <a:pt x="241601" y="117067"/>
                      <a:pt x="255849" y="125844"/>
                      <a:pt x="262974" y="119575"/>
                    </a:cubicBezTo>
                    <a:cubicBezTo>
                      <a:pt x="264569" y="118207"/>
                      <a:pt x="266051" y="116098"/>
                      <a:pt x="267818" y="115528"/>
                    </a:cubicBezTo>
                    <a:cubicBezTo>
                      <a:pt x="267818" y="109088"/>
                      <a:pt x="267818" y="102590"/>
                      <a:pt x="267818" y="96150"/>
                    </a:cubicBezTo>
                    <a:cubicBezTo>
                      <a:pt x="267619" y="94087"/>
                      <a:pt x="267619" y="92001"/>
                      <a:pt x="267818" y="89938"/>
                    </a:cubicBezTo>
                    <a:cubicBezTo>
                      <a:pt x="268189" y="88404"/>
                      <a:pt x="268400" y="86837"/>
                      <a:pt x="268445" y="85264"/>
                    </a:cubicBezTo>
                    <a:cubicBezTo>
                      <a:pt x="268445" y="78539"/>
                      <a:pt x="258984" y="75347"/>
                      <a:pt x="257673" y="68793"/>
                    </a:cubicBezTo>
                    <a:cubicBezTo>
                      <a:pt x="256362" y="62238"/>
                      <a:pt x="263714" y="56083"/>
                      <a:pt x="262404" y="49471"/>
                    </a:cubicBezTo>
                    <a:cubicBezTo>
                      <a:pt x="261674" y="46855"/>
                      <a:pt x="260209" y="44502"/>
                      <a:pt x="258186" y="42689"/>
                    </a:cubicBezTo>
                    <a:cubicBezTo>
                      <a:pt x="250828" y="35502"/>
                      <a:pt x="242837" y="28999"/>
                      <a:pt x="234305" y="23254"/>
                    </a:cubicBezTo>
                    <a:cubicBezTo>
                      <a:pt x="233154" y="22359"/>
                      <a:pt x="231866" y="21669"/>
                      <a:pt x="230487" y="21202"/>
                    </a:cubicBezTo>
                    <a:cubicBezTo>
                      <a:pt x="229084" y="21111"/>
                      <a:pt x="227694" y="20900"/>
                      <a:pt x="226326" y="20575"/>
                    </a:cubicBezTo>
                    <a:cubicBezTo>
                      <a:pt x="225032" y="19857"/>
                      <a:pt x="223972" y="18791"/>
                      <a:pt x="223248" y="17497"/>
                    </a:cubicBezTo>
                    <a:lnTo>
                      <a:pt x="211108" y="0"/>
                    </a:lnTo>
                    <a:lnTo>
                      <a:pt x="191787" y="3648"/>
                    </a:lnTo>
                    <a:cubicBezTo>
                      <a:pt x="190818" y="3990"/>
                      <a:pt x="188425" y="4674"/>
                      <a:pt x="187627" y="6554"/>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51" name="Freihandform: Form 745">
                <a:extLst>
                  <a:ext uri="{FF2B5EF4-FFF2-40B4-BE49-F238E27FC236}">
                    <a16:creationId xmlns:a16="http://schemas.microsoft.com/office/drawing/2014/main" id="{DD76EA81-0BCA-F14B-B2FE-5DDD0DD35F41}"/>
                  </a:ext>
                </a:extLst>
              </p:cNvPr>
              <p:cNvSpPr/>
              <p:nvPr/>
            </p:nvSpPr>
            <p:spPr>
              <a:xfrm>
                <a:off x="3880781" y="2188920"/>
                <a:ext cx="561106" cy="508288"/>
              </a:xfrm>
              <a:custGeom>
                <a:avLst/>
                <a:gdLst>
                  <a:gd name="connsiteX0" fmla="*/ 532781 w 561106"/>
                  <a:gd name="connsiteY0" fmla="*/ 78589 h 508288"/>
                  <a:gd name="connsiteX1" fmla="*/ 522408 w 561106"/>
                  <a:gd name="connsiteY1" fmla="*/ 77734 h 508288"/>
                  <a:gd name="connsiteX2" fmla="*/ 513744 w 561106"/>
                  <a:gd name="connsiteY2" fmla="*/ 56703 h 508288"/>
                  <a:gd name="connsiteX3" fmla="*/ 476470 w 561106"/>
                  <a:gd name="connsiteY3" fmla="*/ 50206 h 508288"/>
                  <a:gd name="connsiteX4" fmla="*/ 461309 w 561106"/>
                  <a:gd name="connsiteY4" fmla="*/ 53511 h 508288"/>
                  <a:gd name="connsiteX5" fmla="*/ 451221 w 561106"/>
                  <a:gd name="connsiteY5" fmla="*/ 64910 h 508288"/>
                  <a:gd name="connsiteX6" fmla="*/ 450708 w 561106"/>
                  <a:gd name="connsiteY6" fmla="*/ 73688 h 508288"/>
                  <a:gd name="connsiteX7" fmla="*/ 443413 w 561106"/>
                  <a:gd name="connsiteY7" fmla="*/ 87252 h 508288"/>
                  <a:gd name="connsiteX8" fmla="*/ 437315 w 561106"/>
                  <a:gd name="connsiteY8" fmla="*/ 92952 h 508288"/>
                  <a:gd name="connsiteX9" fmla="*/ 435661 w 561106"/>
                  <a:gd name="connsiteY9" fmla="*/ 98081 h 508288"/>
                  <a:gd name="connsiteX10" fmla="*/ 421470 w 561106"/>
                  <a:gd name="connsiteY10" fmla="*/ 104123 h 508288"/>
                  <a:gd name="connsiteX11" fmla="*/ 400097 w 561106"/>
                  <a:gd name="connsiteY11" fmla="*/ 104807 h 508288"/>
                  <a:gd name="connsiteX12" fmla="*/ 381004 w 561106"/>
                  <a:gd name="connsiteY12" fmla="*/ 102356 h 508288"/>
                  <a:gd name="connsiteX13" fmla="*/ 365558 w 561106"/>
                  <a:gd name="connsiteY13" fmla="*/ 89760 h 508288"/>
                  <a:gd name="connsiteX14" fmla="*/ 342304 w 561106"/>
                  <a:gd name="connsiteY14" fmla="*/ 83491 h 508288"/>
                  <a:gd name="connsiteX15" fmla="*/ 348004 w 561106"/>
                  <a:gd name="connsiteY15" fmla="*/ 91869 h 508288"/>
                  <a:gd name="connsiteX16" fmla="*/ 328683 w 561106"/>
                  <a:gd name="connsiteY16" fmla="*/ 95517 h 508288"/>
                  <a:gd name="connsiteX17" fmla="*/ 323382 w 561106"/>
                  <a:gd name="connsiteY17" fmla="*/ 98480 h 508288"/>
                  <a:gd name="connsiteX18" fmla="*/ 323382 w 561106"/>
                  <a:gd name="connsiteY18" fmla="*/ 101273 h 508288"/>
                  <a:gd name="connsiteX19" fmla="*/ 325947 w 561106"/>
                  <a:gd name="connsiteY19" fmla="*/ 110107 h 508288"/>
                  <a:gd name="connsiteX20" fmla="*/ 325491 w 561106"/>
                  <a:gd name="connsiteY20" fmla="*/ 119055 h 508288"/>
                  <a:gd name="connsiteX21" fmla="*/ 317677 w 561106"/>
                  <a:gd name="connsiteY21" fmla="*/ 121022 h 508288"/>
                  <a:gd name="connsiteX22" fmla="*/ 317626 w 561106"/>
                  <a:gd name="connsiteY22" fmla="*/ 120993 h 508288"/>
                  <a:gd name="connsiteX23" fmla="*/ 312325 w 561106"/>
                  <a:gd name="connsiteY23" fmla="*/ 115636 h 508288"/>
                  <a:gd name="connsiteX24" fmla="*/ 304802 w 561106"/>
                  <a:gd name="connsiteY24" fmla="*/ 113014 h 508288"/>
                  <a:gd name="connsiteX25" fmla="*/ 300128 w 561106"/>
                  <a:gd name="connsiteY25" fmla="*/ 108967 h 508288"/>
                  <a:gd name="connsiteX26" fmla="*/ 288530 w 561106"/>
                  <a:gd name="connsiteY26" fmla="*/ 113390 h 508288"/>
                  <a:gd name="connsiteX27" fmla="*/ 287988 w 561106"/>
                  <a:gd name="connsiteY27" fmla="*/ 115009 h 508288"/>
                  <a:gd name="connsiteX28" fmla="*/ 286677 w 561106"/>
                  <a:gd name="connsiteY28" fmla="*/ 125838 h 508288"/>
                  <a:gd name="connsiteX29" fmla="*/ 275962 w 561106"/>
                  <a:gd name="connsiteY29" fmla="*/ 131537 h 508288"/>
                  <a:gd name="connsiteX30" fmla="*/ 263252 w 561106"/>
                  <a:gd name="connsiteY30" fmla="*/ 131537 h 508288"/>
                  <a:gd name="connsiteX31" fmla="*/ 254817 w 561106"/>
                  <a:gd name="connsiteY31" fmla="*/ 139744 h 508288"/>
                  <a:gd name="connsiteX32" fmla="*/ 254817 w 561106"/>
                  <a:gd name="connsiteY32" fmla="*/ 143677 h 508288"/>
                  <a:gd name="connsiteX33" fmla="*/ 250713 w 561106"/>
                  <a:gd name="connsiteY33" fmla="*/ 147781 h 508288"/>
                  <a:gd name="connsiteX34" fmla="*/ 247351 w 561106"/>
                  <a:gd name="connsiteY34" fmla="*/ 160548 h 508288"/>
                  <a:gd name="connsiteX35" fmla="*/ 238175 w 561106"/>
                  <a:gd name="connsiteY35" fmla="*/ 177646 h 508288"/>
                  <a:gd name="connsiteX36" fmla="*/ 227631 w 561106"/>
                  <a:gd name="connsiteY36" fmla="*/ 196454 h 508288"/>
                  <a:gd name="connsiteX37" fmla="*/ 221931 w 561106"/>
                  <a:gd name="connsiteY37" fmla="*/ 200558 h 508288"/>
                  <a:gd name="connsiteX38" fmla="*/ 220393 w 561106"/>
                  <a:gd name="connsiteY38" fmla="*/ 205630 h 508288"/>
                  <a:gd name="connsiteX39" fmla="*/ 204263 w 561106"/>
                  <a:gd name="connsiteY39" fmla="*/ 214294 h 508288"/>
                  <a:gd name="connsiteX40" fmla="*/ 202439 w 561106"/>
                  <a:gd name="connsiteY40" fmla="*/ 242050 h 508288"/>
                  <a:gd name="connsiteX41" fmla="*/ 200900 w 561106"/>
                  <a:gd name="connsiteY41" fmla="*/ 249915 h 508288"/>
                  <a:gd name="connsiteX42" fmla="*/ 193605 w 561106"/>
                  <a:gd name="connsiteY42" fmla="*/ 258293 h 508288"/>
                  <a:gd name="connsiteX43" fmla="*/ 190869 w 561106"/>
                  <a:gd name="connsiteY43" fmla="*/ 268382 h 508288"/>
                  <a:gd name="connsiteX44" fmla="*/ 197481 w 561106"/>
                  <a:gd name="connsiteY44" fmla="*/ 274081 h 508288"/>
                  <a:gd name="connsiteX45" fmla="*/ 199988 w 561106"/>
                  <a:gd name="connsiteY45" fmla="*/ 287418 h 508288"/>
                  <a:gd name="connsiteX46" fmla="*/ 194289 w 561106"/>
                  <a:gd name="connsiteY46" fmla="*/ 289071 h 508288"/>
                  <a:gd name="connsiteX47" fmla="*/ 189843 w 561106"/>
                  <a:gd name="connsiteY47" fmla="*/ 293459 h 508288"/>
                  <a:gd name="connsiteX48" fmla="*/ 178444 w 561106"/>
                  <a:gd name="connsiteY48" fmla="*/ 292775 h 508288"/>
                  <a:gd name="connsiteX49" fmla="*/ 167045 w 561106"/>
                  <a:gd name="connsiteY49" fmla="*/ 298475 h 508288"/>
                  <a:gd name="connsiteX50" fmla="*/ 161346 w 561106"/>
                  <a:gd name="connsiteY50" fmla="*/ 310330 h 508288"/>
                  <a:gd name="connsiteX51" fmla="*/ 159237 w 561106"/>
                  <a:gd name="connsiteY51" fmla="*/ 364646 h 508288"/>
                  <a:gd name="connsiteX52" fmla="*/ 161745 w 561106"/>
                  <a:gd name="connsiteY52" fmla="*/ 374734 h 508288"/>
                  <a:gd name="connsiteX53" fmla="*/ 172175 w 561106"/>
                  <a:gd name="connsiteY53" fmla="*/ 388070 h 508288"/>
                  <a:gd name="connsiteX54" fmla="*/ 164195 w 561106"/>
                  <a:gd name="connsiteY54" fmla="*/ 397760 h 508288"/>
                  <a:gd name="connsiteX55" fmla="*/ 161232 w 561106"/>
                  <a:gd name="connsiteY55" fmla="*/ 408703 h 508288"/>
                  <a:gd name="connsiteX56" fmla="*/ 165051 w 561106"/>
                  <a:gd name="connsiteY56" fmla="*/ 410925 h 508288"/>
                  <a:gd name="connsiteX57" fmla="*/ 168185 w 561106"/>
                  <a:gd name="connsiteY57" fmla="*/ 419076 h 508288"/>
                  <a:gd name="connsiteX58" fmla="*/ 163911 w 561106"/>
                  <a:gd name="connsiteY58" fmla="*/ 435091 h 508288"/>
                  <a:gd name="connsiteX59" fmla="*/ 154620 w 561106"/>
                  <a:gd name="connsiteY59" fmla="*/ 439651 h 508288"/>
                  <a:gd name="connsiteX60" fmla="*/ 152113 w 561106"/>
                  <a:gd name="connsiteY60" fmla="*/ 450537 h 508288"/>
                  <a:gd name="connsiteX61" fmla="*/ 149890 w 561106"/>
                  <a:gd name="connsiteY61" fmla="*/ 467635 h 508288"/>
                  <a:gd name="connsiteX62" fmla="*/ 148807 w 561106"/>
                  <a:gd name="connsiteY62" fmla="*/ 470257 h 508288"/>
                  <a:gd name="connsiteX63" fmla="*/ 148351 w 561106"/>
                  <a:gd name="connsiteY63" fmla="*/ 469744 h 508288"/>
                  <a:gd name="connsiteX64" fmla="*/ 137864 w 561106"/>
                  <a:gd name="connsiteY64" fmla="*/ 468433 h 508288"/>
                  <a:gd name="connsiteX65" fmla="*/ 133077 w 561106"/>
                  <a:gd name="connsiteY65" fmla="*/ 458060 h 508288"/>
                  <a:gd name="connsiteX66" fmla="*/ 126921 w 561106"/>
                  <a:gd name="connsiteY66" fmla="*/ 448827 h 508288"/>
                  <a:gd name="connsiteX67" fmla="*/ 120139 w 561106"/>
                  <a:gd name="connsiteY67" fmla="*/ 457490 h 508288"/>
                  <a:gd name="connsiteX68" fmla="*/ 116377 w 561106"/>
                  <a:gd name="connsiteY68" fmla="*/ 468604 h 508288"/>
                  <a:gd name="connsiteX69" fmla="*/ 95637 w 561106"/>
                  <a:gd name="connsiteY69" fmla="*/ 478287 h 508288"/>
                  <a:gd name="connsiteX70" fmla="*/ 95118 w 561106"/>
                  <a:gd name="connsiteY70" fmla="*/ 480003 h 508288"/>
                  <a:gd name="connsiteX71" fmla="*/ 91185 w 561106"/>
                  <a:gd name="connsiteY71" fmla="*/ 480972 h 508288"/>
                  <a:gd name="connsiteX72" fmla="*/ 88450 w 561106"/>
                  <a:gd name="connsiteY72" fmla="*/ 488096 h 508288"/>
                  <a:gd name="connsiteX73" fmla="*/ 67589 w 561106"/>
                  <a:gd name="connsiteY73" fmla="*/ 502345 h 508288"/>
                  <a:gd name="connsiteX74" fmla="*/ 66563 w 561106"/>
                  <a:gd name="connsiteY74" fmla="*/ 506164 h 508288"/>
                  <a:gd name="connsiteX75" fmla="*/ 63258 w 561106"/>
                  <a:gd name="connsiteY75" fmla="*/ 508044 h 508288"/>
                  <a:gd name="connsiteX76" fmla="*/ 48439 w 561106"/>
                  <a:gd name="connsiteY76" fmla="*/ 500692 h 508288"/>
                  <a:gd name="connsiteX77" fmla="*/ 45761 w 561106"/>
                  <a:gd name="connsiteY77" fmla="*/ 496075 h 508288"/>
                  <a:gd name="connsiteX78" fmla="*/ 36926 w 561106"/>
                  <a:gd name="connsiteY78" fmla="*/ 494480 h 508288"/>
                  <a:gd name="connsiteX79" fmla="*/ 27693 w 561106"/>
                  <a:gd name="connsiteY79" fmla="*/ 485361 h 508288"/>
                  <a:gd name="connsiteX80" fmla="*/ 19486 w 561106"/>
                  <a:gd name="connsiteY80" fmla="*/ 481542 h 508288"/>
                  <a:gd name="connsiteX81" fmla="*/ 16978 w 561106"/>
                  <a:gd name="connsiteY81" fmla="*/ 473962 h 508288"/>
                  <a:gd name="connsiteX82" fmla="*/ 27864 w 561106"/>
                  <a:gd name="connsiteY82" fmla="*/ 471739 h 508288"/>
                  <a:gd name="connsiteX83" fmla="*/ 29169 w 561106"/>
                  <a:gd name="connsiteY83" fmla="*/ 463133 h 508288"/>
                  <a:gd name="connsiteX84" fmla="*/ 28149 w 561106"/>
                  <a:gd name="connsiteY84" fmla="*/ 462050 h 508288"/>
                  <a:gd name="connsiteX85" fmla="*/ 33940 w 561106"/>
                  <a:gd name="connsiteY85" fmla="*/ 455769 h 508288"/>
                  <a:gd name="connsiteX86" fmla="*/ 33849 w 561106"/>
                  <a:gd name="connsiteY86" fmla="*/ 454925 h 508288"/>
                  <a:gd name="connsiteX87" fmla="*/ 11051 w 561106"/>
                  <a:gd name="connsiteY87" fmla="*/ 461594 h 508288"/>
                  <a:gd name="connsiteX88" fmla="*/ 4496 w 561106"/>
                  <a:gd name="connsiteY88" fmla="*/ 461594 h 508288"/>
                  <a:gd name="connsiteX89" fmla="*/ 4496 w 561106"/>
                  <a:gd name="connsiteY89" fmla="*/ 442500 h 508288"/>
                  <a:gd name="connsiteX90" fmla="*/ 19999 w 561106"/>
                  <a:gd name="connsiteY90" fmla="*/ 442101 h 508288"/>
                  <a:gd name="connsiteX91" fmla="*/ 25014 w 561106"/>
                  <a:gd name="connsiteY91" fmla="*/ 441418 h 508288"/>
                  <a:gd name="connsiteX92" fmla="*/ 32538 w 561106"/>
                  <a:gd name="connsiteY92" fmla="*/ 438796 h 508288"/>
                  <a:gd name="connsiteX93" fmla="*/ 32925 w 561106"/>
                  <a:gd name="connsiteY93" fmla="*/ 432116 h 508288"/>
                  <a:gd name="connsiteX94" fmla="*/ 32538 w 561106"/>
                  <a:gd name="connsiteY94" fmla="*/ 431728 h 508288"/>
                  <a:gd name="connsiteX95" fmla="*/ 39326 w 561106"/>
                  <a:gd name="connsiteY95" fmla="*/ 427385 h 508288"/>
                  <a:gd name="connsiteX96" fmla="*/ 34983 w 561106"/>
                  <a:gd name="connsiteY96" fmla="*/ 420597 h 508288"/>
                  <a:gd name="connsiteX97" fmla="*/ 30885 w 561106"/>
                  <a:gd name="connsiteY97" fmla="*/ 421241 h 508288"/>
                  <a:gd name="connsiteX98" fmla="*/ 27750 w 561106"/>
                  <a:gd name="connsiteY98" fmla="*/ 424376 h 508288"/>
                  <a:gd name="connsiteX99" fmla="*/ 6263 w 561106"/>
                  <a:gd name="connsiteY99" fmla="*/ 428309 h 508288"/>
                  <a:gd name="connsiteX100" fmla="*/ 51 w 561106"/>
                  <a:gd name="connsiteY100" fmla="*/ 423635 h 508288"/>
                  <a:gd name="connsiteX101" fmla="*/ 10253 w 561106"/>
                  <a:gd name="connsiteY101" fmla="*/ 415827 h 508288"/>
                  <a:gd name="connsiteX102" fmla="*/ 19258 w 561106"/>
                  <a:gd name="connsiteY102" fmla="*/ 399298 h 508288"/>
                  <a:gd name="connsiteX103" fmla="*/ 19942 w 561106"/>
                  <a:gd name="connsiteY103" fmla="*/ 379521 h 508288"/>
                  <a:gd name="connsiteX104" fmla="*/ 32709 w 561106"/>
                  <a:gd name="connsiteY104" fmla="*/ 366412 h 508288"/>
                  <a:gd name="connsiteX105" fmla="*/ 41315 w 561106"/>
                  <a:gd name="connsiteY105" fmla="*/ 364817 h 508288"/>
                  <a:gd name="connsiteX106" fmla="*/ 42170 w 561106"/>
                  <a:gd name="connsiteY106" fmla="*/ 359117 h 508288"/>
                  <a:gd name="connsiteX107" fmla="*/ 48382 w 561106"/>
                  <a:gd name="connsiteY107" fmla="*/ 354900 h 508288"/>
                  <a:gd name="connsiteX108" fmla="*/ 50206 w 561106"/>
                  <a:gd name="connsiteY108" fmla="*/ 348915 h 508288"/>
                  <a:gd name="connsiteX109" fmla="*/ 58185 w 561106"/>
                  <a:gd name="connsiteY109" fmla="*/ 345780 h 508288"/>
                  <a:gd name="connsiteX110" fmla="*/ 54538 w 561106"/>
                  <a:gd name="connsiteY110" fmla="*/ 338086 h 508288"/>
                  <a:gd name="connsiteX111" fmla="*/ 52372 w 561106"/>
                  <a:gd name="connsiteY111" fmla="*/ 330221 h 508288"/>
                  <a:gd name="connsiteX112" fmla="*/ 55678 w 561106"/>
                  <a:gd name="connsiteY112" fmla="*/ 329195 h 508288"/>
                  <a:gd name="connsiteX113" fmla="*/ 85771 w 561106"/>
                  <a:gd name="connsiteY113" fmla="*/ 328625 h 508288"/>
                  <a:gd name="connsiteX114" fmla="*/ 92895 w 561106"/>
                  <a:gd name="connsiteY114" fmla="*/ 319392 h 508288"/>
                  <a:gd name="connsiteX115" fmla="*/ 97683 w 561106"/>
                  <a:gd name="connsiteY115" fmla="*/ 318879 h 508288"/>
                  <a:gd name="connsiteX116" fmla="*/ 105833 w 561106"/>
                  <a:gd name="connsiteY116" fmla="*/ 309817 h 508288"/>
                  <a:gd name="connsiteX117" fmla="*/ 117232 w 561106"/>
                  <a:gd name="connsiteY117" fmla="*/ 303490 h 508288"/>
                  <a:gd name="connsiteX118" fmla="*/ 118771 w 561106"/>
                  <a:gd name="connsiteY118" fmla="*/ 296822 h 508288"/>
                  <a:gd name="connsiteX119" fmla="*/ 129828 w 561106"/>
                  <a:gd name="connsiteY119" fmla="*/ 292205 h 508288"/>
                  <a:gd name="connsiteX120" fmla="*/ 130797 w 561106"/>
                  <a:gd name="connsiteY120" fmla="*/ 285708 h 508288"/>
                  <a:gd name="connsiteX121" fmla="*/ 135242 w 561106"/>
                  <a:gd name="connsiteY121" fmla="*/ 282402 h 508288"/>
                  <a:gd name="connsiteX122" fmla="*/ 135242 w 561106"/>
                  <a:gd name="connsiteY122" fmla="*/ 275164 h 508288"/>
                  <a:gd name="connsiteX123" fmla="*/ 140942 w 561106"/>
                  <a:gd name="connsiteY123" fmla="*/ 272086 h 508288"/>
                  <a:gd name="connsiteX124" fmla="*/ 141968 w 561106"/>
                  <a:gd name="connsiteY124" fmla="*/ 277786 h 508288"/>
                  <a:gd name="connsiteX125" fmla="*/ 146926 w 561106"/>
                  <a:gd name="connsiteY125" fmla="*/ 279837 h 508288"/>
                  <a:gd name="connsiteX126" fmla="*/ 148636 w 561106"/>
                  <a:gd name="connsiteY126" fmla="*/ 272827 h 508288"/>
                  <a:gd name="connsiteX127" fmla="*/ 146527 w 561106"/>
                  <a:gd name="connsiteY127" fmla="*/ 267812 h 508288"/>
                  <a:gd name="connsiteX128" fmla="*/ 135128 w 561106"/>
                  <a:gd name="connsiteY128" fmla="*/ 261428 h 508288"/>
                  <a:gd name="connsiteX129" fmla="*/ 142025 w 561106"/>
                  <a:gd name="connsiteY129" fmla="*/ 254874 h 508288"/>
                  <a:gd name="connsiteX130" fmla="*/ 153424 w 561106"/>
                  <a:gd name="connsiteY130" fmla="*/ 251739 h 508288"/>
                  <a:gd name="connsiteX131" fmla="*/ 157641 w 561106"/>
                  <a:gd name="connsiteY131" fmla="*/ 250257 h 508288"/>
                  <a:gd name="connsiteX132" fmla="*/ 163341 w 561106"/>
                  <a:gd name="connsiteY132" fmla="*/ 237604 h 508288"/>
                  <a:gd name="connsiteX133" fmla="*/ 162600 w 561106"/>
                  <a:gd name="connsiteY133" fmla="*/ 222957 h 508288"/>
                  <a:gd name="connsiteX134" fmla="*/ 169895 w 561106"/>
                  <a:gd name="connsiteY134" fmla="*/ 211273 h 508288"/>
                  <a:gd name="connsiteX135" fmla="*/ 176564 w 561106"/>
                  <a:gd name="connsiteY135" fmla="*/ 209506 h 508288"/>
                  <a:gd name="connsiteX136" fmla="*/ 181237 w 561106"/>
                  <a:gd name="connsiteY136" fmla="*/ 202667 h 508288"/>
                  <a:gd name="connsiteX137" fmla="*/ 186196 w 561106"/>
                  <a:gd name="connsiteY137" fmla="*/ 189843 h 508288"/>
                  <a:gd name="connsiteX138" fmla="*/ 188703 w 561106"/>
                  <a:gd name="connsiteY138" fmla="*/ 188019 h 508288"/>
                  <a:gd name="connsiteX139" fmla="*/ 190715 w 561106"/>
                  <a:gd name="connsiteY139" fmla="*/ 184622 h 508288"/>
                  <a:gd name="connsiteX140" fmla="*/ 191211 w 561106"/>
                  <a:gd name="connsiteY140" fmla="*/ 184542 h 508288"/>
                  <a:gd name="connsiteX141" fmla="*/ 196170 w 561106"/>
                  <a:gd name="connsiteY141" fmla="*/ 182491 h 508288"/>
                  <a:gd name="connsiteX142" fmla="*/ 196910 w 561106"/>
                  <a:gd name="connsiteY142" fmla="*/ 175651 h 508288"/>
                  <a:gd name="connsiteX143" fmla="*/ 202610 w 561106"/>
                  <a:gd name="connsiteY143" fmla="*/ 171775 h 508288"/>
                  <a:gd name="connsiteX144" fmla="*/ 207967 w 561106"/>
                  <a:gd name="connsiteY144" fmla="*/ 160377 h 508288"/>
                  <a:gd name="connsiteX145" fmla="*/ 207967 w 561106"/>
                  <a:gd name="connsiteY145" fmla="*/ 156615 h 508288"/>
                  <a:gd name="connsiteX146" fmla="*/ 210361 w 561106"/>
                  <a:gd name="connsiteY146" fmla="*/ 155532 h 508288"/>
                  <a:gd name="connsiteX147" fmla="*/ 215434 w 561106"/>
                  <a:gd name="connsiteY147" fmla="*/ 149832 h 508288"/>
                  <a:gd name="connsiteX148" fmla="*/ 217372 w 561106"/>
                  <a:gd name="connsiteY148" fmla="*/ 142195 h 508288"/>
                  <a:gd name="connsiteX149" fmla="*/ 218968 w 561106"/>
                  <a:gd name="connsiteY149" fmla="*/ 138206 h 508288"/>
                  <a:gd name="connsiteX150" fmla="*/ 225921 w 561106"/>
                  <a:gd name="connsiteY150" fmla="*/ 134045 h 508288"/>
                  <a:gd name="connsiteX151" fmla="*/ 227802 w 561106"/>
                  <a:gd name="connsiteY151" fmla="*/ 131252 h 508288"/>
                  <a:gd name="connsiteX152" fmla="*/ 240227 w 561106"/>
                  <a:gd name="connsiteY152" fmla="*/ 121677 h 508288"/>
                  <a:gd name="connsiteX153" fmla="*/ 242050 w 561106"/>
                  <a:gd name="connsiteY153" fmla="*/ 121164 h 508288"/>
                  <a:gd name="connsiteX154" fmla="*/ 244102 w 561106"/>
                  <a:gd name="connsiteY154" fmla="*/ 123444 h 508288"/>
                  <a:gd name="connsiteX155" fmla="*/ 253392 w 561106"/>
                  <a:gd name="connsiteY155" fmla="*/ 130511 h 508288"/>
                  <a:gd name="connsiteX156" fmla="*/ 255387 w 561106"/>
                  <a:gd name="connsiteY156" fmla="*/ 129257 h 508288"/>
                  <a:gd name="connsiteX157" fmla="*/ 255387 w 561106"/>
                  <a:gd name="connsiteY157" fmla="*/ 127377 h 508288"/>
                  <a:gd name="connsiteX158" fmla="*/ 253791 w 561106"/>
                  <a:gd name="connsiteY158" fmla="*/ 115978 h 508288"/>
                  <a:gd name="connsiteX159" fmla="*/ 253221 w 561106"/>
                  <a:gd name="connsiteY159" fmla="*/ 113698 h 508288"/>
                  <a:gd name="connsiteX160" fmla="*/ 250942 w 561106"/>
                  <a:gd name="connsiteY160" fmla="*/ 111475 h 508288"/>
                  <a:gd name="connsiteX161" fmla="*/ 233216 w 561106"/>
                  <a:gd name="connsiteY161" fmla="*/ 114781 h 508288"/>
                  <a:gd name="connsiteX162" fmla="*/ 229911 w 561106"/>
                  <a:gd name="connsiteY162" fmla="*/ 118428 h 508288"/>
                  <a:gd name="connsiteX163" fmla="*/ 225636 w 561106"/>
                  <a:gd name="connsiteY163" fmla="*/ 119397 h 508288"/>
                  <a:gd name="connsiteX164" fmla="*/ 215947 w 561106"/>
                  <a:gd name="connsiteY164" fmla="*/ 120081 h 508288"/>
                  <a:gd name="connsiteX165" fmla="*/ 203864 w 561106"/>
                  <a:gd name="connsiteY165" fmla="*/ 117289 h 508288"/>
                  <a:gd name="connsiteX166" fmla="*/ 202667 w 561106"/>
                  <a:gd name="connsiteY166" fmla="*/ 112615 h 508288"/>
                  <a:gd name="connsiteX167" fmla="*/ 214066 w 561106"/>
                  <a:gd name="connsiteY167" fmla="*/ 106517 h 508288"/>
                  <a:gd name="connsiteX168" fmla="*/ 214351 w 561106"/>
                  <a:gd name="connsiteY168" fmla="*/ 101216 h 508288"/>
                  <a:gd name="connsiteX169" fmla="*/ 224667 w 561106"/>
                  <a:gd name="connsiteY169" fmla="*/ 95517 h 508288"/>
                  <a:gd name="connsiteX170" fmla="*/ 225693 w 561106"/>
                  <a:gd name="connsiteY170" fmla="*/ 92895 h 508288"/>
                  <a:gd name="connsiteX171" fmla="*/ 232133 w 561106"/>
                  <a:gd name="connsiteY171" fmla="*/ 81496 h 508288"/>
                  <a:gd name="connsiteX172" fmla="*/ 238539 w 561106"/>
                  <a:gd name="connsiteY172" fmla="*/ 82761 h 508288"/>
                  <a:gd name="connsiteX173" fmla="*/ 239030 w 561106"/>
                  <a:gd name="connsiteY173" fmla="*/ 83719 h 508288"/>
                  <a:gd name="connsiteX174" fmla="*/ 239030 w 561106"/>
                  <a:gd name="connsiteY174" fmla="*/ 88335 h 508288"/>
                  <a:gd name="connsiteX175" fmla="*/ 239372 w 561106"/>
                  <a:gd name="connsiteY175" fmla="*/ 92895 h 508288"/>
                  <a:gd name="connsiteX176" fmla="*/ 242911 w 561106"/>
                  <a:gd name="connsiteY176" fmla="*/ 94000 h 508288"/>
                  <a:gd name="connsiteX177" fmla="*/ 243304 w 561106"/>
                  <a:gd name="connsiteY177" fmla="*/ 93750 h 508288"/>
                  <a:gd name="connsiteX178" fmla="*/ 254703 w 561106"/>
                  <a:gd name="connsiteY178" fmla="*/ 100304 h 508288"/>
                  <a:gd name="connsiteX179" fmla="*/ 255330 w 561106"/>
                  <a:gd name="connsiteY179" fmla="*/ 103667 h 508288"/>
                  <a:gd name="connsiteX180" fmla="*/ 258123 w 561106"/>
                  <a:gd name="connsiteY180" fmla="*/ 104522 h 508288"/>
                  <a:gd name="connsiteX181" fmla="*/ 264552 w 561106"/>
                  <a:gd name="connsiteY181" fmla="*/ 95346 h 508288"/>
                  <a:gd name="connsiteX182" fmla="*/ 266216 w 561106"/>
                  <a:gd name="connsiteY182" fmla="*/ 95232 h 508288"/>
                  <a:gd name="connsiteX183" fmla="*/ 273283 w 561106"/>
                  <a:gd name="connsiteY183" fmla="*/ 102869 h 508288"/>
                  <a:gd name="connsiteX184" fmla="*/ 273283 w 561106"/>
                  <a:gd name="connsiteY184" fmla="*/ 92553 h 508288"/>
                  <a:gd name="connsiteX185" fmla="*/ 260175 w 561106"/>
                  <a:gd name="connsiteY185" fmla="*/ 90615 h 508288"/>
                  <a:gd name="connsiteX186" fmla="*/ 250942 w 561106"/>
                  <a:gd name="connsiteY186" fmla="*/ 82921 h 508288"/>
                  <a:gd name="connsiteX187" fmla="*/ 260745 w 561106"/>
                  <a:gd name="connsiteY187" fmla="*/ 78817 h 508288"/>
                  <a:gd name="connsiteX188" fmla="*/ 264506 w 561106"/>
                  <a:gd name="connsiteY188" fmla="*/ 67988 h 508288"/>
                  <a:gd name="connsiteX189" fmla="*/ 270719 w 561106"/>
                  <a:gd name="connsiteY189" fmla="*/ 62916 h 508288"/>
                  <a:gd name="connsiteX190" fmla="*/ 275848 w 561106"/>
                  <a:gd name="connsiteY190" fmla="*/ 74599 h 508288"/>
                  <a:gd name="connsiteX191" fmla="*/ 278527 w 561106"/>
                  <a:gd name="connsiteY191" fmla="*/ 75454 h 508288"/>
                  <a:gd name="connsiteX192" fmla="*/ 290838 w 561106"/>
                  <a:gd name="connsiteY192" fmla="*/ 71351 h 508288"/>
                  <a:gd name="connsiteX193" fmla="*/ 291294 w 561106"/>
                  <a:gd name="connsiteY193" fmla="*/ 67304 h 508288"/>
                  <a:gd name="connsiteX194" fmla="*/ 303206 w 561106"/>
                  <a:gd name="connsiteY194" fmla="*/ 62118 h 508288"/>
                  <a:gd name="connsiteX195" fmla="*/ 300185 w 561106"/>
                  <a:gd name="connsiteY195" fmla="*/ 50719 h 508288"/>
                  <a:gd name="connsiteX196" fmla="*/ 315174 w 561106"/>
                  <a:gd name="connsiteY196" fmla="*/ 38921 h 508288"/>
                  <a:gd name="connsiteX197" fmla="*/ 316257 w 561106"/>
                  <a:gd name="connsiteY197" fmla="*/ 55335 h 508288"/>
                  <a:gd name="connsiteX198" fmla="*/ 317055 w 561106"/>
                  <a:gd name="connsiteY198" fmla="*/ 57900 h 508288"/>
                  <a:gd name="connsiteX199" fmla="*/ 320247 w 561106"/>
                  <a:gd name="connsiteY199" fmla="*/ 58470 h 508288"/>
                  <a:gd name="connsiteX200" fmla="*/ 330734 w 561106"/>
                  <a:gd name="connsiteY200" fmla="*/ 57216 h 508288"/>
                  <a:gd name="connsiteX201" fmla="*/ 333926 w 561106"/>
                  <a:gd name="connsiteY201" fmla="*/ 68615 h 508288"/>
                  <a:gd name="connsiteX202" fmla="*/ 340195 w 561106"/>
                  <a:gd name="connsiteY202" fmla="*/ 66290 h 508288"/>
                  <a:gd name="connsiteX203" fmla="*/ 340252 w 561106"/>
                  <a:gd name="connsiteY203" fmla="*/ 66164 h 508288"/>
                  <a:gd name="connsiteX204" fmla="*/ 340252 w 561106"/>
                  <a:gd name="connsiteY204" fmla="*/ 58698 h 508288"/>
                  <a:gd name="connsiteX205" fmla="*/ 333470 w 561106"/>
                  <a:gd name="connsiteY205" fmla="*/ 42625 h 508288"/>
                  <a:gd name="connsiteX206" fmla="*/ 341563 w 561106"/>
                  <a:gd name="connsiteY206" fmla="*/ 42625 h 508288"/>
                  <a:gd name="connsiteX207" fmla="*/ 349485 w 561106"/>
                  <a:gd name="connsiteY207" fmla="*/ 46273 h 508288"/>
                  <a:gd name="connsiteX208" fmla="*/ 353418 w 561106"/>
                  <a:gd name="connsiteY208" fmla="*/ 45874 h 508288"/>
                  <a:gd name="connsiteX209" fmla="*/ 357750 w 561106"/>
                  <a:gd name="connsiteY209" fmla="*/ 51118 h 508288"/>
                  <a:gd name="connsiteX210" fmla="*/ 362651 w 561106"/>
                  <a:gd name="connsiteY210" fmla="*/ 50605 h 508288"/>
                  <a:gd name="connsiteX211" fmla="*/ 359003 w 561106"/>
                  <a:gd name="connsiteY211" fmla="*/ 35786 h 508288"/>
                  <a:gd name="connsiteX212" fmla="*/ 361910 w 561106"/>
                  <a:gd name="connsiteY212" fmla="*/ 30828 h 508288"/>
                  <a:gd name="connsiteX213" fmla="*/ 364190 w 561106"/>
                  <a:gd name="connsiteY213" fmla="*/ 24444 h 508288"/>
                  <a:gd name="connsiteX214" fmla="*/ 379807 w 561106"/>
                  <a:gd name="connsiteY214" fmla="*/ 17548 h 508288"/>
                  <a:gd name="connsiteX215" fmla="*/ 384594 w 561106"/>
                  <a:gd name="connsiteY215" fmla="*/ 18175 h 508288"/>
                  <a:gd name="connsiteX216" fmla="*/ 381801 w 561106"/>
                  <a:gd name="connsiteY216" fmla="*/ 27579 h 508288"/>
                  <a:gd name="connsiteX217" fmla="*/ 370402 w 561106"/>
                  <a:gd name="connsiteY217" fmla="*/ 30429 h 508288"/>
                  <a:gd name="connsiteX218" fmla="*/ 364703 w 561106"/>
                  <a:gd name="connsiteY218" fmla="*/ 41827 h 508288"/>
                  <a:gd name="connsiteX219" fmla="*/ 387501 w 561106"/>
                  <a:gd name="connsiteY219" fmla="*/ 39320 h 508288"/>
                  <a:gd name="connsiteX220" fmla="*/ 388812 w 561106"/>
                  <a:gd name="connsiteY220" fmla="*/ 47698 h 508288"/>
                  <a:gd name="connsiteX221" fmla="*/ 396050 w 561106"/>
                  <a:gd name="connsiteY221" fmla="*/ 48154 h 508288"/>
                  <a:gd name="connsiteX222" fmla="*/ 396449 w 561106"/>
                  <a:gd name="connsiteY222" fmla="*/ 45589 h 508288"/>
                  <a:gd name="connsiteX223" fmla="*/ 395138 w 561106"/>
                  <a:gd name="connsiteY223" fmla="*/ 27864 h 508288"/>
                  <a:gd name="connsiteX224" fmla="*/ 404029 w 561106"/>
                  <a:gd name="connsiteY224" fmla="*/ 21822 h 508288"/>
                  <a:gd name="connsiteX225" fmla="*/ 405454 w 561106"/>
                  <a:gd name="connsiteY225" fmla="*/ 17776 h 508288"/>
                  <a:gd name="connsiteX226" fmla="*/ 413035 w 561106"/>
                  <a:gd name="connsiteY226" fmla="*/ 20625 h 508288"/>
                  <a:gd name="connsiteX227" fmla="*/ 419760 w 561106"/>
                  <a:gd name="connsiteY227" fmla="*/ 26325 h 508288"/>
                  <a:gd name="connsiteX228" fmla="*/ 421812 w 561106"/>
                  <a:gd name="connsiteY228" fmla="*/ 13501 h 508288"/>
                  <a:gd name="connsiteX229" fmla="*/ 438221 w 561106"/>
                  <a:gd name="connsiteY229" fmla="*/ 3105 h 508288"/>
                  <a:gd name="connsiteX230" fmla="*/ 438454 w 561106"/>
                  <a:gd name="connsiteY230" fmla="*/ 1760 h 508288"/>
                  <a:gd name="connsiteX231" fmla="*/ 450936 w 561106"/>
                  <a:gd name="connsiteY231" fmla="*/ 50 h 508288"/>
                  <a:gd name="connsiteX232" fmla="*/ 446775 w 561106"/>
                  <a:gd name="connsiteY232" fmla="*/ 14071 h 508288"/>
                  <a:gd name="connsiteX233" fmla="*/ 442273 w 561106"/>
                  <a:gd name="connsiteY233" fmla="*/ 16408 h 508288"/>
                  <a:gd name="connsiteX234" fmla="*/ 442273 w 561106"/>
                  <a:gd name="connsiteY234" fmla="*/ 19429 h 508288"/>
                  <a:gd name="connsiteX235" fmla="*/ 428765 w 561106"/>
                  <a:gd name="connsiteY235" fmla="*/ 32309 h 508288"/>
                  <a:gd name="connsiteX236" fmla="*/ 430304 w 561106"/>
                  <a:gd name="connsiteY236" fmla="*/ 43708 h 508288"/>
                  <a:gd name="connsiteX237" fmla="*/ 439024 w 561106"/>
                  <a:gd name="connsiteY237" fmla="*/ 40916 h 508288"/>
                  <a:gd name="connsiteX238" fmla="*/ 444268 w 561106"/>
                  <a:gd name="connsiteY238" fmla="*/ 31454 h 508288"/>
                  <a:gd name="connsiteX239" fmla="*/ 448257 w 561106"/>
                  <a:gd name="connsiteY239" fmla="*/ 28776 h 508288"/>
                  <a:gd name="connsiteX240" fmla="*/ 450423 w 561106"/>
                  <a:gd name="connsiteY240" fmla="*/ 23076 h 508288"/>
                  <a:gd name="connsiteX241" fmla="*/ 465846 w 561106"/>
                  <a:gd name="connsiteY241" fmla="*/ 15912 h 508288"/>
                  <a:gd name="connsiteX242" fmla="*/ 467009 w 561106"/>
                  <a:gd name="connsiteY242" fmla="*/ 16408 h 508288"/>
                  <a:gd name="connsiteX243" fmla="*/ 464045 w 561106"/>
                  <a:gd name="connsiteY243" fmla="*/ 30030 h 508288"/>
                  <a:gd name="connsiteX244" fmla="*/ 482283 w 561106"/>
                  <a:gd name="connsiteY244" fmla="*/ 20853 h 508288"/>
                  <a:gd name="connsiteX245" fmla="*/ 482283 w 561106"/>
                  <a:gd name="connsiteY245" fmla="*/ 13843 h 508288"/>
                  <a:gd name="connsiteX246" fmla="*/ 498498 w 561106"/>
                  <a:gd name="connsiteY246" fmla="*/ 12960 h 508288"/>
                  <a:gd name="connsiteX247" fmla="*/ 499382 w 561106"/>
                  <a:gd name="connsiteY247" fmla="*/ 29175 h 508288"/>
                  <a:gd name="connsiteX248" fmla="*/ 506392 w 561106"/>
                  <a:gd name="connsiteY248" fmla="*/ 30315 h 508288"/>
                  <a:gd name="connsiteX249" fmla="*/ 505537 w 561106"/>
                  <a:gd name="connsiteY249" fmla="*/ 15610 h 508288"/>
                  <a:gd name="connsiteX250" fmla="*/ 515739 w 561106"/>
                  <a:gd name="connsiteY250" fmla="*/ 12361 h 508288"/>
                  <a:gd name="connsiteX251" fmla="*/ 518532 w 561106"/>
                  <a:gd name="connsiteY251" fmla="*/ 10252 h 508288"/>
                  <a:gd name="connsiteX252" fmla="*/ 524231 w 561106"/>
                  <a:gd name="connsiteY252" fmla="*/ 12133 h 508288"/>
                  <a:gd name="connsiteX253" fmla="*/ 539791 w 561106"/>
                  <a:gd name="connsiteY253" fmla="*/ 13843 h 508288"/>
                  <a:gd name="connsiteX254" fmla="*/ 548739 w 561106"/>
                  <a:gd name="connsiteY254" fmla="*/ 24045 h 508288"/>
                  <a:gd name="connsiteX255" fmla="*/ 561107 w 561106"/>
                  <a:gd name="connsiteY255" fmla="*/ 36926 h 508288"/>
                  <a:gd name="connsiteX256" fmla="*/ 547713 w 561106"/>
                  <a:gd name="connsiteY256" fmla="*/ 40688 h 508288"/>
                  <a:gd name="connsiteX257" fmla="*/ 543097 w 561106"/>
                  <a:gd name="connsiteY257" fmla="*/ 44905 h 508288"/>
                  <a:gd name="connsiteX258" fmla="*/ 517962 w 561106"/>
                  <a:gd name="connsiteY258" fmla="*/ 41770 h 508288"/>
                  <a:gd name="connsiteX259" fmla="*/ 522179 w 561106"/>
                  <a:gd name="connsiteY259" fmla="*/ 46330 h 508288"/>
                  <a:gd name="connsiteX260" fmla="*/ 528620 w 561106"/>
                  <a:gd name="connsiteY260" fmla="*/ 48268 h 508288"/>
                  <a:gd name="connsiteX261" fmla="*/ 534319 w 561106"/>
                  <a:gd name="connsiteY261" fmla="*/ 60864 h 508288"/>
                  <a:gd name="connsiteX262" fmla="*/ 542811 w 561106"/>
                  <a:gd name="connsiteY262" fmla="*/ 62745 h 508288"/>
                  <a:gd name="connsiteX263" fmla="*/ 543210 w 561106"/>
                  <a:gd name="connsiteY263" fmla="*/ 62745 h 508288"/>
                  <a:gd name="connsiteX264" fmla="*/ 532781 w 561106"/>
                  <a:gd name="connsiteY264" fmla="*/ 78589 h 50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561106" h="508288">
                    <a:moveTo>
                      <a:pt x="532781" y="78589"/>
                    </a:moveTo>
                    <a:cubicBezTo>
                      <a:pt x="529361" y="78190"/>
                      <a:pt x="525884" y="77848"/>
                      <a:pt x="522408" y="77734"/>
                    </a:cubicBezTo>
                    <a:cubicBezTo>
                      <a:pt x="522339" y="69869"/>
                      <a:pt x="519239" y="62334"/>
                      <a:pt x="513744" y="56703"/>
                    </a:cubicBezTo>
                    <a:cubicBezTo>
                      <a:pt x="504169" y="47869"/>
                      <a:pt x="489464" y="48781"/>
                      <a:pt x="476470" y="50206"/>
                    </a:cubicBezTo>
                    <a:cubicBezTo>
                      <a:pt x="471272" y="50496"/>
                      <a:pt x="466154" y="51614"/>
                      <a:pt x="461309" y="53511"/>
                    </a:cubicBezTo>
                    <a:cubicBezTo>
                      <a:pt x="456345" y="55523"/>
                      <a:pt x="452612" y="59741"/>
                      <a:pt x="451221" y="64910"/>
                    </a:cubicBezTo>
                    <a:cubicBezTo>
                      <a:pt x="450879" y="67823"/>
                      <a:pt x="450708" y="70752"/>
                      <a:pt x="450708" y="73688"/>
                    </a:cubicBezTo>
                    <a:cubicBezTo>
                      <a:pt x="450241" y="79017"/>
                      <a:pt x="447602" y="83924"/>
                      <a:pt x="443413" y="87252"/>
                    </a:cubicBezTo>
                    <a:cubicBezTo>
                      <a:pt x="440990" y="88689"/>
                      <a:pt x="438910" y="90632"/>
                      <a:pt x="437315" y="92952"/>
                    </a:cubicBezTo>
                    <a:cubicBezTo>
                      <a:pt x="436516" y="94548"/>
                      <a:pt x="436402" y="96428"/>
                      <a:pt x="435661" y="98081"/>
                    </a:cubicBezTo>
                    <a:cubicBezTo>
                      <a:pt x="433439" y="103097"/>
                      <a:pt x="426884" y="103781"/>
                      <a:pt x="421470" y="104123"/>
                    </a:cubicBezTo>
                    <a:lnTo>
                      <a:pt x="400097" y="104807"/>
                    </a:lnTo>
                    <a:cubicBezTo>
                      <a:pt x="393628" y="105496"/>
                      <a:pt x="387091" y="104658"/>
                      <a:pt x="381004" y="102356"/>
                    </a:cubicBezTo>
                    <a:cubicBezTo>
                      <a:pt x="375469" y="98657"/>
                      <a:pt x="370294" y="94439"/>
                      <a:pt x="365558" y="89760"/>
                    </a:cubicBezTo>
                    <a:cubicBezTo>
                      <a:pt x="358838" y="84893"/>
                      <a:pt x="350563" y="82659"/>
                      <a:pt x="342304" y="83491"/>
                    </a:cubicBezTo>
                    <a:lnTo>
                      <a:pt x="348004" y="91869"/>
                    </a:lnTo>
                    <a:lnTo>
                      <a:pt x="328683" y="95517"/>
                    </a:lnTo>
                    <a:cubicBezTo>
                      <a:pt x="326573" y="95915"/>
                      <a:pt x="324180" y="96542"/>
                      <a:pt x="323382" y="98480"/>
                    </a:cubicBezTo>
                    <a:cubicBezTo>
                      <a:pt x="323125" y="99392"/>
                      <a:pt x="323125" y="100361"/>
                      <a:pt x="323382" y="101273"/>
                    </a:cubicBezTo>
                    <a:cubicBezTo>
                      <a:pt x="324020" y="104277"/>
                      <a:pt x="324875" y="107229"/>
                      <a:pt x="325947" y="110107"/>
                    </a:cubicBezTo>
                    <a:cubicBezTo>
                      <a:pt x="326978" y="113031"/>
                      <a:pt x="326813" y="116251"/>
                      <a:pt x="325491" y="119055"/>
                    </a:cubicBezTo>
                    <a:cubicBezTo>
                      <a:pt x="323878" y="121757"/>
                      <a:pt x="320378" y="122640"/>
                      <a:pt x="317677" y="121022"/>
                    </a:cubicBezTo>
                    <a:cubicBezTo>
                      <a:pt x="317660" y="121010"/>
                      <a:pt x="317643" y="121005"/>
                      <a:pt x="317626" y="120993"/>
                    </a:cubicBezTo>
                    <a:cubicBezTo>
                      <a:pt x="317626" y="118314"/>
                      <a:pt x="314890" y="116434"/>
                      <a:pt x="312325" y="115636"/>
                    </a:cubicBezTo>
                    <a:cubicBezTo>
                      <a:pt x="309709" y="115117"/>
                      <a:pt x="307172" y="114234"/>
                      <a:pt x="304802" y="113014"/>
                    </a:cubicBezTo>
                    <a:cubicBezTo>
                      <a:pt x="303092" y="111874"/>
                      <a:pt x="301895" y="110050"/>
                      <a:pt x="300128" y="108967"/>
                    </a:cubicBezTo>
                    <a:cubicBezTo>
                      <a:pt x="295705" y="106984"/>
                      <a:pt x="290513" y="108967"/>
                      <a:pt x="288530" y="113390"/>
                    </a:cubicBezTo>
                    <a:cubicBezTo>
                      <a:pt x="288296" y="113914"/>
                      <a:pt x="288113" y="114456"/>
                      <a:pt x="287988" y="115009"/>
                    </a:cubicBezTo>
                    <a:cubicBezTo>
                      <a:pt x="287190" y="118599"/>
                      <a:pt x="287988" y="122532"/>
                      <a:pt x="286677" y="125838"/>
                    </a:cubicBezTo>
                    <a:cubicBezTo>
                      <a:pt x="284420" y="129560"/>
                      <a:pt x="280311" y="131748"/>
                      <a:pt x="275962" y="131537"/>
                    </a:cubicBezTo>
                    <a:cubicBezTo>
                      <a:pt x="271733" y="131224"/>
                      <a:pt x="267481" y="131224"/>
                      <a:pt x="263252" y="131537"/>
                    </a:cubicBezTo>
                    <a:cubicBezTo>
                      <a:pt x="258892" y="132016"/>
                      <a:pt x="255416" y="135401"/>
                      <a:pt x="254817" y="139744"/>
                    </a:cubicBezTo>
                    <a:cubicBezTo>
                      <a:pt x="255017" y="141050"/>
                      <a:pt x="255017" y="142372"/>
                      <a:pt x="254817" y="143677"/>
                    </a:cubicBezTo>
                    <a:cubicBezTo>
                      <a:pt x="254190" y="145558"/>
                      <a:pt x="252138" y="146413"/>
                      <a:pt x="250713" y="147781"/>
                    </a:cubicBezTo>
                    <a:cubicBezTo>
                      <a:pt x="247522" y="150915"/>
                      <a:pt x="248263" y="156159"/>
                      <a:pt x="247351" y="160548"/>
                    </a:cubicBezTo>
                    <a:cubicBezTo>
                      <a:pt x="246040" y="166931"/>
                      <a:pt x="241081" y="171946"/>
                      <a:pt x="238175" y="177646"/>
                    </a:cubicBezTo>
                    <a:cubicBezTo>
                      <a:pt x="235268" y="183345"/>
                      <a:pt x="233843" y="192579"/>
                      <a:pt x="227631" y="196454"/>
                    </a:cubicBezTo>
                    <a:cubicBezTo>
                      <a:pt x="225636" y="197708"/>
                      <a:pt x="223185" y="198506"/>
                      <a:pt x="221931" y="200558"/>
                    </a:cubicBezTo>
                    <a:cubicBezTo>
                      <a:pt x="220677" y="202610"/>
                      <a:pt x="221247" y="204091"/>
                      <a:pt x="220393" y="205630"/>
                    </a:cubicBezTo>
                    <a:cubicBezTo>
                      <a:pt x="217657" y="210760"/>
                      <a:pt x="204605" y="208537"/>
                      <a:pt x="204263" y="214294"/>
                    </a:cubicBezTo>
                    <a:cubicBezTo>
                      <a:pt x="203636" y="223527"/>
                      <a:pt x="203009" y="232817"/>
                      <a:pt x="202439" y="242050"/>
                    </a:cubicBezTo>
                    <a:cubicBezTo>
                      <a:pt x="202393" y="244740"/>
                      <a:pt x="201875" y="247408"/>
                      <a:pt x="200900" y="249915"/>
                    </a:cubicBezTo>
                    <a:cubicBezTo>
                      <a:pt x="198894" y="253056"/>
                      <a:pt x="196438" y="255877"/>
                      <a:pt x="193605" y="258293"/>
                    </a:cubicBezTo>
                    <a:cubicBezTo>
                      <a:pt x="190749" y="260801"/>
                      <a:pt x="189672" y="264774"/>
                      <a:pt x="190869" y="268382"/>
                    </a:cubicBezTo>
                    <a:cubicBezTo>
                      <a:pt x="192180" y="271060"/>
                      <a:pt x="195258" y="272257"/>
                      <a:pt x="197481" y="274081"/>
                    </a:cubicBezTo>
                    <a:cubicBezTo>
                      <a:pt x="201162" y="277489"/>
                      <a:pt x="202177" y="282904"/>
                      <a:pt x="199988" y="287418"/>
                    </a:cubicBezTo>
                    <a:cubicBezTo>
                      <a:pt x="197937" y="286586"/>
                      <a:pt x="195577" y="287264"/>
                      <a:pt x="194289" y="289071"/>
                    </a:cubicBezTo>
                    <a:cubicBezTo>
                      <a:pt x="192807" y="290552"/>
                      <a:pt x="191724" y="292490"/>
                      <a:pt x="189843" y="293459"/>
                    </a:cubicBezTo>
                    <a:cubicBezTo>
                      <a:pt x="186424" y="295283"/>
                      <a:pt x="182377" y="293060"/>
                      <a:pt x="178444" y="292775"/>
                    </a:cubicBezTo>
                    <a:cubicBezTo>
                      <a:pt x="173959" y="292764"/>
                      <a:pt x="169730" y="294878"/>
                      <a:pt x="167045" y="298475"/>
                    </a:cubicBezTo>
                    <a:cubicBezTo>
                      <a:pt x="164321" y="301974"/>
                      <a:pt x="162378" y="306015"/>
                      <a:pt x="161346" y="310330"/>
                    </a:cubicBezTo>
                    <a:cubicBezTo>
                      <a:pt x="156558" y="327884"/>
                      <a:pt x="157869" y="346464"/>
                      <a:pt x="159237" y="364646"/>
                    </a:cubicBezTo>
                    <a:cubicBezTo>
                      <a:pt x="159243" y="368162"/>
                      <a:pt x="160104" y="371622"/>
                      <a:pt x="161745" y="374734"/>
                    </a:cubicBezTo>
                    <a:cubicBezTo>
                      <a:pt x="164993" y="379578"/>
                      <a:pt x="172346" y="382257"/>
                      <a:pt x="172175" y="388070"/>
                    </a:cubicBezTo>
                    <a:cubicBezTo>
                      <a:pt x="172175" y="392402"/>
                      <a:pt x="167615" y="395081"/>
                      <a:pt x="164195" y="397760"/>
                    </a:cubicBezTo>
                    <a:cubicBezTo>
                      <a:pt x="160776" y="400438"/>
                      <a:pt x="158040" y="405853"/>
                      <a:pt x="161232" y="408703"/>
                    </a:cubicBezTo>
                    <a:cubicBezTo>
                      <a:pt x="162463" y="409512"/>
                      <a:pt x="163740" y="410253"/>
                      <a:pt x="165051" y="410925"/>
                    </a:cubicBezTo>
                    <a:cubicBezTo>
                      <a:pt x="167182" y="413091"/>
                      <a:pt x="168316" y="416044"/>
                      <a:pt x="168185" y="419076"/>
                    </a:cubicBezTo>
                    <a:cubicBezTo>
                      <a:pt x="168641" y="424775"/>
                      <a:pt x="168641" y="431785"/>
                      <a:pt x="163911" y="435091"/>
                    </a:cubicBezTo>
                    <a:cubicBezTo>
                      <a:pt x="161061" y="437086"/>
                      <a:pt x="157128" y="437200"/>
                      <a:pt x="154620" y="439651"/>
                    </a:cubicBezTo>
                    <a:cubicBezTo>
                      <a:pt x="152386" y="442808"/>
                      <a:pt x="151486" y="446718"/>
                      <a:pt x="152113" y="450537"/>
                    </a:cubicBezTo>
                    <a:cubicBezTo>
                      <a:pt x="152107" y="456310"/>
                      <a:pt x="151361" y="462055"/>
                      <a:pt x="149890" y="467635"/>
                    </a:cubicBezTo>
                    <a:cubicBezTo>
                      <a:pt x="149673" y="468564"/>
                      <a:pt x="149308" y="469448"/>
                      <a:pt x="148807" y="470257"/>
                    </a:cubicBezTo>
                    <a:lnTo>
                      <a:pt x="148351" y="469744"/>
                    </a:lnTo>
                    <a:cubicBezTo>
                      <a:pt x="145615" y="467407"/>
                      <a:pt x="141227" y="469744"/>
                      <a:pt x="137864" y="468433"/>
                    </a:cubicBezTo>
                    <a:cubicBezTo>
                      <a:pt x="134501" y="467122"/>
                      <a:pt x="133419" y="462050"/>
                      <a:pt x="133077" y="458060"/>
                    </a:cubicBezTo>
                    <a:cubicBezTo>
                      <a:pt x="132735" y="454070"/>
                      <a:pt x="130968" y="449055"/>
                      <a:pt x="126921" y="448827"/>
                    </a:cubicBezTo>
                    <a:cubicBezTo>
                      <a:pt x="122874" y="448599"/>
                      <a:pt x="120595" y="453443"/>
                      <a:pt x="120139" y="457490"/>
                    </a:cubicBezTo>
                    <a:cubicBezTo>
                      <a:pt x="119683" y="461537"/>
                      <a:pt x="119626" y="466210"/>
                      <a:pt x="116377" y="468604"/>
                    </a:cubicBezTo>
                    <a:cubicBezTo>
                      <a:pt x="107976" y="465549"/>
                      <a:pt x="98692" y="469886"/>
                      <a:pt x="95637" y="478287"/>
                    </a:cubicBezTo>
                    <a:cubicBezTo>
                      <a:pt x="95431" y="478852"/>
                      <a:pt x="95261" y="479422"/>
                      <a:pt x="95118" y="480003"/>
                    </a:cubicBezTo>
                    <a:cubicBezTo>
                      <a:pt x="93756" y="480054"/>
                      <a:pt x="92416" y="480385"/>
                      <a:pt x="91185" y="480972"/>
                    </a:cubicBezTo>
                    <a:cubicBezTo>
                      <a:pt x="89019" y="482454"/>
                      <a:pt x="89361" y="485645"/>
                      <a:pt x="88450" y="488096"/>
                    </a:cubicBezTo>
                    <a:cubicBezTo>
                      <a:pt x="85372" y="496360"/>
                      <a:pt x="69869" y="493796"/>
                      <a:pt x="67589" y="502345"/>
                    </a:cubicBezTo>
                    <a:cubicBezTo>
                      <a:pt x="67464" y="503667"/>
                      <a:pt x="67117" y="504955"/>
                      <a:pt x="66563" y="506164"/>
                    </a:cubicBezTo>
                    <a:cubicBezTo>
                      <a:pt x="65737" y="507184"/>
                      <a:pt x="64557" y="507851"/>
                      <a:pt x="63258" y="508044"/>
                    </a:cubicBezTo>
                    <a:cubicBezTo>
                      <a:pt x="57228" y="509196"/>
                      <a:pt x="51169" y="506192"/>
                      <a:pt x="48439" y="500692"/>
                    </a:cubicBezTo>
                    <a:cubicBezTo>
                      <a:pt x="47938" y="498959"/>
                      <a:pt x="47020" y="497369"/>
                      <a:pt x="45761" y="496075"/>
                    </a:cubicBezTo>
                    <a:cubicBezTo>
                      <a:pt x="43424" y="494138"/>
                      <a:pt x="40061" y="495392"/>
                      <a:pt x="36926" y="494480"/>
                    </a:cubicBezTo>
                    <a:cubicBezTo>
                      <a:pt x="32709" y="493169"/>
                      <a:pt x="31227" y="488039"/>
                      <a:pt x="27693" y="485361"/>
                    </a:cubicBezTo>
                    <a:cubicBezTo>
                      <a:pt x="25026" y="483947"/>
                      <a:pt x="22284" y="482676"/>
                      <a:pt x="19486" y="481542"/>
                    </a:cubicBezTo>
                    <a:cubicBezTo>
                      <a:pt x="16864" y="480003"/>
                      <a:pt x="14983" y="476241"/>
                      <a:pt x="16978" y="473962"/>
                    </a:cubicBezTo>
                    <a:cubicBezTo>
                      <a:pt x="20757" y="474657"/>
                      <a:pt x="24661" y="473859"/>
                      <a:pt x="27864" y="471739"/>
                    </a:cubicBezTo>
                    <a:cubicBezTo>
                      <a:pt x="30600" y="469721"/>
                      <a:pt x="31187" y="465868"/>
                      <a:pt x="29169" y="463133"/>
                    </a:cubicBezTo>
                    <a:cubicBezTo>
                      <a:pt x="28873" y="462734"/>
                      <a:pt x="28531" y="462369"/>
                      <a:pt x="28149" y="462050"/>
                    </a:cubicBezTo>
                    <a:cubicBezTo>
                      <a:pt x="31483" y="461913"/>
                      <a:pt x="34077" y="459103"/>
                      <a:pt x="33940" y="455769"/>
                    </a:cubicBezTo>
                    <a:cubicBezTo>
                      <a:pt x="33929" y="455484"/>
                      <a:pt x="33900" y="455205"/>
                      <a:pt x="33849" y="454925"/>
                    </a:cubicBezTo>
                    <a:lnTo>
                      <a:pt x="11051" y="461594"/>
                    </a:lnTo>
                    <a:cubicBezTo>
                      <a:pt x="8982" y="462597"/>
                      <a:pt x="6565" y="462597"/>
                      <a:pt x="4496" y="461594"/>
                    </a:cubicBezTo>
                    <a:cubicBezTo>
                      <a:pt x="-1203" y="457547"/>
                      <a:pt x="10196" y="446832"/>
                      <a:pt x="4496" y="442500"/>
                    </a:cubicBezTo>
                    <a:cubicBezTo>
                      <a:pt x="9649" y="443253"/>
                      <a:pt x="14892" y="443116"/>
                      <a:pt x="19999" y="442101"/>
                    </a:cubicBezTo>
                    <a:lnTo>
                      <a:pt x="25014" y="441418"/>
                    </a:lnTo>
                    <a:cubicBezTo>
                      <a:pt x="27733" y="441332"/>
                      <a:pt x="30355" y="440414"/>
                      <a:pt x="32538" y="438796"/>
                    </a:cubicBezTo>
                    <a:cubicBezTo>
                      <a:pt x="34487" y="437057"/>
                      <a:pt x="34664" y="434071"/>
                      <a:pt x="32925" y="432116"/>
                    </a:cubicBezTo>
                    <a:cubicBezTo>
                      <a:pt x="32806" y="431979"/>
                      <a:pt x="32674" y="431848"/>
                      <a:pt x="32538" y="431728"/>
                    </a:cubicBezTo>
                    <a:cubicBezTo>
                      <a:pt x="35610" y="432407"/>
                      <a:pt x="38653" y="430457"/>
                      <a:pt x="39326" y="427385"/>
                    </a:cubicBezTo>
                    <a:cubicBezTo>
                      <a:pt x="40004" y="424313"/>
                      <a:pt x="38061" y="421270"/>
                      <a:pt x="34983" y="420597"/>
                    </a:cubicBezTo>
                    <a:cubicBezTo>
                      <a:pt x="33587" y="420290"/>
                      <a:pt x="32122" y="420518"/>
                      <a:pt x="30885" y="421241"/>
                    </a:cubicBezTo>
                    <a:cubicBezTo>
                      <a:pt x="29745" y="422182"/>
                      <a:pt x="28691" y="423236"/>
                      <a:pt x="27750" y="424376"/>
                    </a:cubicBezTo>
                    <a:cubicBezTo>
                      <a:pt x="21749" y="429318"/>
                      <a:pt x="13621" y="430805"/>
                      <a:pt x="6263" y="428309"/>
                    </a:cubicBezTo>
                    <a:cubicBezTo>
                      <a:pt x="3584" y="427682"/>
                      <a:pt x="564" y="426371"/>
                      <a:pt x="51" y="423635"/>
                    </a:cubicBezTo>
                    <a:cubicBezTo>
                      <a:pt x="-633" y="419019"/>
                      <a:pt x="5750" y="417936"/>
                      <a:pt x="10253" y="415827"/>
                    </a:cubicBezTo>
                    <a:cubicBezTo>
                      <a:pt x="15987" y="412316"/>
                      <a:pt x="19418" y="406018"/>
                      <a:pt x="19258" y="399298"/>
                    </a:cubicBezTo>
                    <a:cubicBezTo>
                      <a:pt x="19059" y="392698"/>
                      <a:pt x="19286" y="386093"/>
                      <a:pt x="19942" y="379521"/>
                    </a:cubicBezTo>
                    <a:cubicBezTo>
                      <a:pt x="20763" y="372779"/>
                      <a:pt x="25989" y="367416"/>
                      <a:pt x="32709" y="366412"/>
                    </a:cubicBezTo>
                    <a:cubicBezTo>
                      <a:pt x="35615" y="366412"/>
                      <a:pt x="38408" y="364988"/>
                      <a:pt x="41315" y="364817"/>
                    </a:cubicBezTo>
                    <a:cubicBezTo>
                      <a:pt x="42341" y="363107"/>
                      <a:pt x="41315" y="360770"/>
                      <a:pt x="42170" y="359117"/>
                    </a:cubicBezTo>
                    <a:cubicBezTo>
                      <a:pt x="43025" y="357464"/>
                      <a:pt x="46103" y="356096"/>
                      <a:pt x="48382" y="354900"/>
                    </a:cubicBezTo>
                    <a:cubicBezTo>
                      <a:pt x="50662" y="353703"/>
                      <a:pt x="52372" y="350226"/>
                      <a:pt x="50206" y="348915"/>
                    </a:cubicBezTo>
                    <a:cubicBezTo>
                      <a:pt x="52999" y="348243"/>
                      <a:pt x="55683" y="347188"/>
                      <a:pt x="58185" y="345780"/>
                    </a:cubicBezTo>
                    <a:cubicBezTo>
                      <a:pt x="59667" y="343045"/>
                      <a:pt x="56875" y="340081"/>
                      <a:pt x="54538" y="338086"/>
                    </a:cubicBezTo>
                    <a:cubicBezTo>
                      <a:pt x="52201" y="336091"/>
                      <a:pt x="50035" y="332387"/>
                      <a:pt x="52372" y="330221"/>
                    </a:cubicBezTo>
                    <a:cubicBezTo>
                      <a:pt x="53341" y="329543"/>
                      <a:pt x="54498" y="329184"/>
                      <a:pt x="55678" y="329195"/>
                    </a:cubicBezTo>
                    <a:cubicBezTo>
                      <a:pt x="65680" y="328294"/>
                      <a:pt x="75740" y="328101"/>
                      <a:pt x="85771" y="328625"/>
                    </a:cubicBezTo>
                    <a:cubicBezTo>
                      <a:pt x="85355" y="324157"/>
                      <a:pt x="88467" y="320121"/>
                      <a:pt x="92895" y="319392"/>
                    </a:cubicBezTo>
                    <a:cubicBezTo>
                      <a:pt x="94503" y="319369"/>
                      <a:pt x="96104" y="319198"/>
                      <a:pt x="97683" y="318879"/>
                    </a:cubicBezTo>
                    <a:cubicBezTo>
                      <a:pt x="101615" y="317682"/>
                      <a:pt x="102584" y="312381"/>
                      <a:pt x="105833" y="309817"/>
                    </a:cubicBezTo>
                    <a:cubicBezTo>
                      <a:pt x="109082" y="307252"/>
                      <a:pt x="115294" y="307537"/>
                      <a:pt x="117232" y="303490"/>
                    </a:cubicBezTo>
                    <a:cubicBezTo>
                      <a:pt x="118144" y="301381"/>
                      <a:pt x="117232" y="298760"/>
                      <a:pt x="118771" y="296822"/>
                    </a:cubicBezTo>
                    <a:cubicBezTo>
                      <a:pt x="121107" y="293459"/>
                      <a:pt x="127434" y="295568"/>
                      <a:pt x="129828" y="292205"/>
                    </a:cubicBezTo>
                    <a:cubicBezTo>
                      <a:pt x="131139" y="290382"/>
                      <a:pt x="130569" y="287931"/>
                      <a:pt x="130797" y="285708"/>
                    </a:cubicBezTo>
                    <a:cubicBezTo>
                      <a:pt x="131024" y="283485"/>
                      <a:pt x="133476" y="281034"/>
                      <a:pt x="135242" y="282402"/>
                    </a:cubicBezTo>
                    <a:cubicBezTo>
                      <a:pt x="134587" y="280031"/>
                      <a:pt x="134587" y="277535"/>
                      <a:pt x="135242" y="275164"/>
                    </a:cubicBezTo>
                    <a:cubicBezTo>
                      <a:pt x="135983" y="272753"/>
                      <a:pt x="138519" y="271385"/>
                      <a:pt x="140942" y="272086"/>
                    </a:cubicBezTo>
                    <a:cubicBezTo>
                      <a:pt x="140822" y="274041"/>
                      <a:pt x="141175" y="275996"/>
                      <a:pt x="141968" y="277786"/>
                    </a:cubicBezTo>
                    <a:cubicBezTo>
                      <a:pt x="142879" y="279604"/>
                      <a:pt x="144994" y="280482"/>
                      <a:pt x="146926" y="279837"/>
                    </a:cubicBezTo>
                    <a:cubicBezTo>
                      <a:pt x="149263" y="278698"/>
                      <a:pt x="149092" y="275392"/>
                      <a:pt x="148636" y="272827"/>
                    </a:cubicBezTo>
                    <a:cubicBezTo>
                      <a:pt x="148425" y="270986"/>
                      <a:pt x="147696" y="269248"/>
                      <a:pt x="146527" y="267812"/>
                    </a:cubicBezTo>
                    <a:cubicBezTo>
                      <a:pt x="143450" y="264563"/>
                      <a:pt x="136325" y="265817"/>
                      <a:pt x="135128" y="261428"/>
                    </a:cubicBezTo>
                    <a:cubicBezTo>
                      <a:pt x="134387" y="258009"/>
                      <a:pt x="138605" y="255729"/>
                      <a:pt x="142025" y="254874"/>
                    </a:cubicBezTo>
                    <a:lnTo>
                      <a:pt x="153424" y="251739"/>
                    </a:lnTo>
                    <a:cubicBezTo>
                      <a:pt x="154877" y="251391"/>
                      <a:pt x="156291" y="250896"/>
                      <a:pt x="157641" y="250257"/>
                    </a:cubicBezTo>
                    <a:cubicBezTo>
                      <a:pt x="161580" y="247294"/>
                      <a:pt x="163728" y="242517"/>
                      <a:pt x="163341" y="237604"/>
                    </a:cubicBezTo>
                    <a:cubicBezTo>
                      <a:pt x="163341" y="232703"/>
                      <a:pt x="162258" y="227858"/>
                      <a:pt x="162600" y="222957"/>
                    </a:cubicBezTo>
                    <a:cubicBezTo>
                      <a:pt x="162554" y="217975"/>
                      <a:pt x="165398" y="213421"/>
                      <a:pt x="169895" y="211273"/>
                    </a:cubicBezTo>
                    <a:cubicBezTo>
                      <a:pt x="172163" y="210874"/>
                      <a:pt x="174392" y="210281"/>
                      <a:pt x="176564" y="209506"/>
                    </a:cubicBezTo>
                    <a:cubicBezTo>
                      <a:pt x="178923" y="207893"/>
                      <a:pt x="180593" y="205454"/>
                      <a:pt x="181237" y="202667"/>
                    </a:cubicBezTo>
                    <a:lnTo>
                      <a:pt x="186196" y="189843"/>
                    </a:lnTo>
                    <a:lnTo>
                      <a:pt x="188703" y="188019"/>
                    </a:lnTo>
                    <a:cubicBezTo>
                      <a:pt x="188322" y="186526"/>
                      <a:pt x="189222" y="185004"/>
                      <a:pt x="190715" y="184622"/>
                    </a:cubicBezTo>
                    <a:cubicBezTo>
                      <a:pt x="190880" y="184582"/>
                      <a:pt x="191046" y="184554"/>
                      <a:pt x="191211" y="184542"/>
                    </a:cubicBezTo>
                    <a:cubicBezTo>
                      <a:pt x="193035" y="184143"/>
                      <a:pt x="195144" y="184029"/>
                      <a:pt x="196170" y="182491"/>
                    </a:cubicBezTo>
                    <a:cubicBezTo>
                      <a:pt x="197196" y="180952"/>
                      <a:pt x="196170" y="177817"/>
                      <a:pt x="196910" y="175651"/>
                    </a:cubicBezTo>
                    <a:cubicBezTo>
                      <a:pt x="197651" y="173485"/>
                      <a:pt x="200387" y="172858"/>
                      <a:pt x="202610" y="171775"/>
                    </a:cubicBezTo>
                    <a:cubicBezTo>
                      <a:pt x="206651" y="169513"/>
                      <a:pt x="208799" y="164930"/>
                      <a:pt x="207967" y="160377"/>
                    </a:cubicBezTo>
                    <a:cubicBezTo>
                      <a:pt x="207967" y="159123"/>
                      <a:pt x="207283" y="157641"/>
                      <a:pt x="207967" y="156615"/>
                    </a:cubicBezTo>
                    <a:cubicBezTo>
                      <a:pt x="208651" y="156039"/>
                      <a:pt x="209478" y="155663"/>
                      <a:pt x="210361" y="155532"/>
                    </a:cubicBezTo>
                    <a:cubicBezTo>
                      <a:pt x="212801" y="154466"/>
                      <a:pt x="214659" y="152380"/>
                      <a:pt x="215434" y="149832"/>
                    </a:cubicBezTo>
                    <a:cubicBezTo>
                      <a:pt x="216272" y="147342"/>
                      <a:pt x="216922" y="144788"/>
                      <a:pt x="217372" y="142195"/>
                    </a:cubicBezTo>
                    <a:cubicBezTo>
                      <a:pt x="217548" y="140748"/>
                      <a:pt x="218101" y="139374"/>
                      <a:pt x="218968" y="138206"/>
                    </a:cubicBezTo>
                    <a:cubicBezTo>
                      <a:pt x="220735" y="136154"/>
                      <a:pt x="223983" y="135926"/>
                      <a:pt x="225921" y="134045"/>
                    </a:cubicBezTo>
                    <a:cubicBezTo>
                      <a:pt x="226628" y="133167"/>
                      <a:pt x="227255" y="132233"/>
                      <a:pt x="227802" y="131252"/>
                    </a:cubicBezTo>
                    <a:cubicBezTo>
                      <a:pt x="231011" y="127006"/>
                      <a:pt x="235302" y="123700"/>
                      <a:pt x="240227" y="121677"/>
                    </a:cubicBezTo>
                    <a:cubicBezTo>
                      <a:pt x="240768" y="121318"/>
                      <a:pt x="241406" y="121141"/>
                      <a:pt x="242050" y="121164"/>
                    </a:cubicBezTo>
                    <a:cubicBezTo>
                      <a:pt x="243076" y="121164"/>
                      <a:pt x="243646" y="122475"/>
                      <a:pt x="244102" y="123444"/>
                    </a:cubicBezTo>
                    <a:cubicBezTo>
                      <a:pt x="245812" y="127263"/>
                      <a:pt x="249232" y="131138"/>
                      <a:pt x="253392" y="130511"/>
                    </a:cubicBezTo>
                    <a:cubicBezTo>
                      <a:pt x="254213" y="130426"/>
                      <a:pt x="254954" y="129958"/>
                      <a:pt x="255387" y="129257"/>
                    </a:cubicBezTo>
                    <a:cubicBezTo>
                      <a:pt x="255587" y="128648"/>
                      <a:pt x="255587" y="127986"/>
                      <a:pt x="255387" y="127377"/>
                    </a:cubicBezTo>
                    <a:cubicBezTo>
                      <a:pt x="254874" y="123672"/>
                      <a:pt x="254361" y="119910"/>
                      <a:pt x="253791" y="115978"/>
                    </a:cubicBezTo>
                    <a:cubicBezTo>
                      <a:pt x="253723" y="115191"/>
                      <a:pt x="253529" y="114422"/>
                      <a:pt x="253221" y="113698"/>
                    </a:cubicBezTo>
                    <a:cubicBezTo>
                      <a:pt x="252686" y="112757"/>
                      <a:pt x="251899" y="111982"/>
                      <a:pt x="250942" y="111475"/>
                    </a:cubicBezTo>
                    <a:cubicBezTo>
                      <a:pt x="245008" y="108152"/>
                      <a:pt x="237554" y="109543"/>
                      <a:pt x="233216" y="114781"/>
                    </a:cubicBezTo>
                    <a:cubicBezTo>
                      <a:pt x="232333" y="116177"/>
                      <a:pt x="231216" y="117408"/>
                      <a:pt x="229911" y="118428"/>
                    </a:cubicBezTo>
                    <a:cubicBezTo>
                      <a:pt x="228594" y="119124"/>
                      <a:pt x="227123" y="119454"/>
                      <a:pt x="225636" y="119397"/>
                    </a:cubicBezTo>
                    <a:lnTo>
                      <a:pt x="215947" y="120081"/>
                    </a:lnTo>
                    <a:cubicBezTo>
                      <a:pt x="211706" y="120970"/>
                      <a:pt x="207283" y="119950"/>
                      <a:pt x="203864" y="117289"/>
                    </a:cubicBezTo>
                    <a:cubicBezTo>
                      <a:pt x="202604" y="116086"/>
                      <a:pt x="202143" y="114273"/>
                      <a:pt x="202667" y="112615"/>
                    </a:cubicBezTo>
                    <a:cubicBezTo>
                      <a:pt x="204377" y="108454"/>
                      <a:pt x="212413" y="110734"/>
                      <a:pt x="214066" y="106517"/>
                    </a:cubicBezTo>
                    <a:cubicBezTo>
                      <a:pt x="214693" y="104864"/>
                      <a:pt x="214066" y="102926"/>
                      <a:pt x="214351" y="101216"/>
                    </a:cubicBezTo>
                    <a:cubicBezTo>
                      <a:pt x="215719" y="97340"/>
                      <a:pt x="222387" y="98822"/>
                      <a:pt x="224667" y="95517"/>
                    </a:cubicBezTo>
                    <a:cubicBezTo>
                      <a:pt x="225100" y="94684"/>
                      <a:pt x="225448" y="93801"/>
                      <a:pt x="225693" y="92895"/>
                    </a:cubicBezTo>
                    <a:cubicBezTo>
                      <a:pt x="227346" y="88734"/>
                      <a:pt x="232190" y="85884"/>
                      <a:pt x="232133" y="81496"/>
                    </a:cubicBezTo>
                    <a:cubicBezTo>
                      <a:pt x="234253" y="80077"/>
                      <a:pt x="237120" y="80641"/>
                      <a:pt x="238539" y="82761"/>
                    </a:cubicBezTo>
                    <a:cubicBezTo>
                      <a:pt x="238739" y="83057"/>
                      <a:pt x="238904" y="83382"/>
                      <a:pt x="239030" y="83719"/>
                    </a:cubicBezTo>
                    <a:cubicBezTo>
                      <a:pt x="239400" y="85235"/>
                      <a:pt x="239400" y="86819"/>
                      <a:pt x="239030" y="88335"/>
                    </a:cubicBezTo>
                    <a:cubicBezTo>
                      <a:pt x="238591" y="89846"/>
                      <a:pt x="238716" y="91464"/>
                      <a:pt x="239372" y="92895"/>
                    </a:cubicBezTo>
                    <a:cubicBezTo>
                      <a:pt x="240044" y="94177"/>
                      <a:pt x="241629" y="94673"/>
                      <a:pt x="242911" y="94000"/>
                    </a:cubicBezTo>
                    <a:cubicBezTo>
                      <a:pt x="243048" y="93932"/>
                      <a:pt x="243179" y="93847"/>
                      <a:pt x="243304" y="93750"/>
                    </a:cubicBezTo>
                    <a:cubicBezTo>
                      <a:pt x="246382" y="90330"/>
                      <a:pt x="254361" y="95745"/>
                      <a:pt x="254703" y="100304"/>
                    </a:cubicBezTo>
                    <a:cubicBezTo>
                      <a:pt x="254709" y="101455"/>
                      <a:pt x="254920" y="102595"/>
                      <a:pt x="255330" y="103667"/>
                    </a:cubicBezTo>
                    <a:cubicBezTo>
                      <a:pt x="255843" y="104693"/>
                      <a:pt x="257325" y="105377"/>
                      <a:pt x="258123" y="104522"/>
                    </a:cubicBezTo>
                    <a:cubicBezTo>
                      <a:pt x="257365" y="100213"/>
                      <a:pt x="260243" y="96104"/>
                      <a:pt x="264552" y="95346"/>
                    </a:cubicBezTo>
                    <a:cubicBezTo>
                      <a:pt x="265099" y="95249"/>
                      <a:pt x="265658" y="95209"/>
                      <a:pt x="266216" y="95232"/>
                    </a:cubicBezTo>
                    <a:cubicBezTo>
                      <a:pt x="266284" y="99204"/>
                      <a:pt x="269328" y="102493"/>
                      <a:pt x="273283" y="102869"/>
                    </a:cubicBezTo>
                    <a:cubicBezTo>
                      <a:pt x="277672" y="102014"/>
                      <a:pt x="276988" y="94776"/>
                      <a:pt x="273283" y="92553"/>
                    </a:cubicBezTo>
                    <a:cubicBezTo>
                      <a:pt x="269100" y="90980"/>
                      <a:pt x="264632" y="90319"/>
                      <a:pt x="260175" y="90615"/>
                    </a:cubicBezTo>
                    <a:cubicBezTo>
                      <a:pt x="255729" y="90216"/>
                      <a:pt x="250600" y="87366"/>
                      <a:pt x="250942" y="82921"/>
                    </a:cubicBezTo>
                    <a:lnTo>
                      <a:pt x="260745" y="78817"/>
                    </a:lnTo>
                    <a:cubicBezTo>
                      <a:pt x="257610" y="75796"/>
                      <a:pt x="261144" y="70724"/>
                      <a:pt x="264506" y="67988"/>
                    </a:cubicBezTo>
                    <a:lnTo>
                      <a:pt x="270719" y="62916"/>
                    </a:lnTo>
                    <a:cubicBezTo>
                      <a:pt x="275164" y="63827"/>
                      <a:pt x="272086" y="72035"/>
                      <a:pt x="275848" y="74599"/>
                    </a:cubicBezTo>
                    <a:cubicBezTo>
                      <a:pt x="276680" y="75055"/>
                      <a:pt x="277587" y="75346"/>
                      <a:pt x="278527" y="75454"/>
                    </a:cubicBezTo>
                    <a:cubicBezTo>
                      <a:pt x="283258" y="76195"/>
                      <a:pt x="289584" y="75910"/>
                      <a:pt x="290838" y="71351"/>
                    </a:cubicBezTo>
                    <a:cubicBezTo>
                      <a:pt x="291180" y="70040"/>
                      <a:pt x="290838" y="68615"/>
                      <a:pt x="291294" y="67304"/>
                    </a:cubicBezTo>
                    <a:cubicBezTo>
                      <a:pt x="292434" y="62745"/>
                      <a:pt x="298475" y="61947"/>
                      <a:pt x="303206" y="62118"/>
                    </a:cubicBezTo>
                    <a:cubicBezTo>
                      <a:pt x="300977" y="58749"/>
                      <a:pt x="299917" y="54748"/>
                      <a:pt x="300185" y="50719"/>
                    </a:cubicBezTo>
                    <a:cubicBezTo>
                      <a:pt x="301382" y="44107"/>
                      <a:pt x="308791" y="40973"/>
                      <a:pt x="315174" y="38921"/>
                    </a:cubicBezTo>
                    <a:cubicBezTo>
                      <a:pt x="315516" y="44620"/>
                      <a:pt x="315915" y="49864"/>
                      <a:pt x="316257" y="55335"/>
                    </a:cubicBezTo>
                    <a:cubicBezTo>
                      <a:pt x="316212" y="56259"/>
                      <a:pt x="316497" y="57165"/>
                      <a:pt x="317055" y="57900"/>
                    </a:cubicBezTo>
                    <a:cubicBezTo>
                      <a:pt x="317973" y="58573"/>
                      <a:pt x="319153" y="58778"/>
                      <a:pt x="320247" y="58470"/>
                    </a:cubicBezTo>
                    <a:lnTo>
                      <a:pt x="330734" y="57216"/>
                    </a:lnTo>
                    <a:cubicBezTo>
                      <a:pt x="331817" y="61149"/>
                      <a:pt x="332843" y="65024"/>
                      <a:pt x="333926" y="68615"/>
                    </a:cubicBezTo>
                    <a:cubicBezTo>
                      <a:pt x="336303" y="69704"/>
                      <a:pt x="339107" y="68661"/>
                      <a:pt x="340195" y="66290"/>
                    </a:cubicBezTo>
                    <a:cubicBezTo>
                      <a:pt x="340218" y="66244"/>
                      <a:pt x="340235" y="66204"/>
                      <a:pt x="340252" y="66164"/>
                    </a:cubicBezTo>
                    <a:cubicBezTo>
                      <a:pt x="341090" y="63748"/>
                      <a:pt x="341090" y="61115"/>
                      <a:pt x="340252" y="58698"/>
                    </a:cubicBezTo>
                    <a:cubicBezTo>
                      <a:pt x="339021" y="52964"/>
                      <a:pt x="336719" y="47510"/>
                      <a:pt x="333470" y="42625"/>
                    </a:cubicBezTo>
                    <a:cubicBezTo>
                      <a:pt x="335294" y="40232"/>
                      <a:pt x="339169" y="41144"/>
                      <a:pt x="341563" y="42625"/>
                    </a:cubicBezTo>
                    <a:cubicBezTo>
                      <a:pt x="343957" y="44107"/>
                      <a:pt x="346522" y="46501"/>
                      <a:pt x="349485" y="46273"/>
                    </a:cubicBezTo>
                    <a:cubicBezTo>
                      <a:pt x="350768" y="45948"/>
                      <a:pt x="352096" y="45811"/>
                      <a:pt x="353418" y="45874"/>
                    </a:cubicBezTo>
                    <a:cubicBezTo>
                      <a:pt x="355698" y="46444"/>
                      <a:pt x="356382" y="49237"/>
                      <a:pt x="357750" y="51118"/>
                    </a:cubicBezTo>
                    <a:cubicBezTo>
                      <a:pt x="359118" y="52998"/>
                      <a:pt x="363449" y="52827"/>
                      <a:pt x="362651" y="50605"/>
                    </a:cubicBezTo>
                    <a:cubicBezTo>
                      <a:pt x="358092" y="47145"/>
                      <a:pt x="356576" y="40967"/>
                      <a:pt x="359003" y="35786"/>
                    </a:cubicBezTo>
                    <a:cubicBezTo>
                      <a:pt x="359859" y="34076"/>
                      <a:pt x="361112" y="32594"/>
                      <a:pt x="361910" y="30828"/>
                    </a:cubicBezTo>
                    <a:cubicBezTo>
                      <a:pt x="362708" y="29061"/>
                      <a:pt x="363107" y="26439"/>
                      <a:pt x="364190" y="24444"/>
                    </a:cubicBezTo>
                    <a:cubicBezTo>
                      <a:pt x="366926" y="19144"/>
                      <a:pt x="373879" y="18004"/>
                      <a:pt x="379807" y="17548"/>
                    </a:cubicBezTo>
                    <a:cubicBezTo>
                      <a:pt x="381425" y="17200"/>
                      <a:pt x="383118" y="17417"/>
                      <a:pt x="384594" y="18175"/>
                    </a:cubicBezTo>
                    <a:cubicBezTo>
                      <a:pt x="387957" y="20397"/>
                      <a:pt x="385449" y="25983"/>
                      <a:pt x="381801" y="27579"/>
                    </a:cubicBezTo>
                    <a:cubicBezTo>
                      <a:pt x="378154" y="29175"/>
                      <a:pt x="373765" y="28719"/>
                      <a:pt x="370402" y="30429"/>
                    </a:cubicBezTo>
                    <a:cubicBezTo>
                      <a:pt x="366219" y="32577"/>
                      <a:pt x="363911" y="37188"/>
                      <a:pt x="364703" y="41827"/>
                    </a:cubicBezTo>
                    <a:cubicBezTo>
                      <a:pt x="372386" y="42095"/>
                      <a:pt x="380063" y="41252"/>
                      <a:pt x="387501" y="39320"/>
                    </a:cubicBezTo>
                    <a:cubicBezTo>
                      <a:pt x="386971" y="42181"/>
                      <a:pt x="387433" y="45139"/>
                      <a:pt x="388812" y="47698"/>
                    </a:cubicBezTo>
                    <a:cubicBezTo>
                      <a:pt x="390465" y="50092"/>
                      <a:pt x="394511" y="50719"/>
                      <a:pt x="396050" y="48154"/>
                    </a:cubicBezTo>
                    <a:cubicBezTo>
                      <a:pt x="396409" y="47350"/>
                      <a:pt x="396552" y="46467"/>
                      <a:pt x="396449" y="45589"/>
                    </a:cubicBezTo>
                    <a:cubicBezTo>
                      <a:pt x="396449" y="39434"/>
                      <a:pt x="390750" y="32423"/>
                      <a:pt x="395138" y="27864"/>
                    </a:cubicBezTo>
                    <a:cubicBezTo>
                      <a:pt x="397646" y="25242"/>
                      <a:pt x="402548" y="25185"/>
                      <a:pt x="404029" y="21822"/>
                    </a:cubicBezTo>
                    <a:cubicBezTo>
                      <a:pt x="404599" y="20511"/>
                      <a:pt x="404543" y="18916"/>
                      <a:pt x="405454" y="17776"/>
                    </a:cubicBezTo>
                    <a:cubicBezTo>
                      <a:pt x="407449" y="15325"/>
                      <a:pt x="411154" y="17776"/>
                      <a:pt x="413035" y="20625"/>
                    </a:cubicBezTo>
                    <a:cubicBezTo>
                      <a:pt x="414915" y="23475"/>
                      <a:pt x="416625" y="26895"/>
                      <a:pt x="419760" y="26325"/>
                    </a:cubicBezTo>
                    <a:cubicBezTo>
                      <a:pt x="419464" y="21948"/>
                      <a:pt x="420165" y="17565"/>
                      <a:pt x="421812" y="13501"/>
                    </a:cubicBezTo>
                    <a:cubicBezTo>
                      <a:pt x="429215" y="15160"/>
                      <a:pt x="436562" y="10509"/>
                      <a:pt x="438221" y="3105"/>
                    </a:cubicBezTo>
                    <a:cubicBezTo>
                      <a:pt x="438323" y="2661"/>
                      <a:pt x="438397" y="2210"/>
                      <a:pt x="438454" y="1760"/>
                    </a:cubicBezTo>
                    <a:cubicBezTo>
                      <a:pt x="442467" y="398"/>
                      <a:pt x="446701" y="-183"/>
                      <a:pt x="450936" y="50"/>
                    </a:cubicBezTo>
                    <a:cubicBezTo>
                      <a:pt x="451734" y="5294"/>
                      <a:pt x="451677" y="12133"/>
                      <a:pt x="446775" y="14071"/>
                    </a:cubicBezTo>
                    <a:cubicBezTo>
                      <a:pt x="445179" y="14755"/>
                      <a:pt x="443071" y="14869"/>
                      <a:pt x="442273" y="16408"/>
                    </a:cubicBezTo>
                    <a:cubicBezTo>
                      <a:pt x="441999" y="17394"/>
                      <a:pt x="441999" y="18443"/>
                      <a:pt x="442273" y="19429"/>
                    </a:cubicBezTo>
                    <a:cubicBezTo>
                      <a:pt x="442273" y="26097"/>
                      <a:pt x="435035" y="30030"/>
                      <a:pt x="428765" y="32309"/>
                    </a:cubicBezTo>
                    <a:lnTo>
                      <a:pt x="430304" y="43708"/>
                    </a:lnTo>
                    <a:cubicBezTo>
                      <a:pt x="432584" y="46558"/>
                      <a:pt x="437315" y="44107"/>
                      <a:pt x="439024" y="40916"/>
                    </a:cubicBezTo>
                    <a:cubicBezTo>
                      <a:pt x="440734" y="37724"/>
                      <a:pt x="441361" y="33677"/>
                      <a:pt x="444268" y="31454"/>
                    </a:cubicBezTo>
                    <a:cubicBezTo>
                      <a:pt x="445676" y="30679"/>
                      <a:pt x="447009" y="29785"/>
                      <a:pt x="448257" y="28776"/>
                    </a:cubicBezTo>
                    <a:cubicBezTo>
                      <a:pt x="449369" y="27049"/>
                      <a:pt x="450110" y="25105"/>
                      <a:pt x="450423" y="23076"/>
                    </a:cubicBezTo>
                    <a:cubicBezTo>
                      <a:pt x="452703" y="16841"/>
                      <a:pt x="459611" y="13632"/>
                      <a:pt x="465846" y="15912"/>
                    </a:cubicBezTo>
                    <a:cubicBezTo>
                      <a:pt x="466245" y="16060"/>
                      <a:pt x="466632" y="16225"/>
                      <a:pt x="467009" y="16408"/>
                    </a:cubicBezTo>
                    <a:lnTo>
                      <a:pt x="464045" y="30030"/>
                    </a:lnTo>
                    <a:cubicBezTo>
                      <a:pt x="471272" y="30189"/>
                      <a:pt x="478106" y="26752"/>
                      <a:pt x="482283" y="20853"/>
                    </a:cubicBezTo>
                    <a:cubicBezTo>
                      <a:pt x="483993" y="18745"/>
                      <a:pt x="485133" y="15154"/>
                      <a:pt x="482283" y="13843"/>
                    </a:cubicBezTo>
                    <a:cubicBezTo>
                      <a:pt x="486518" y="9124"/>
                      <a:pt x="493779" y="8725"/>
                      <a:pt x="498498" y="12960"/>
                    </a:cubicBezTo>
                    <a:cubicBezTo>
                      <a:pt x="503217" y="17194"/>
                      <a:pt x="503616" y="24456"/>
                      <a:pt x="499382" y="29175"/>
                    </a:cubicBezTo>
                    <a:cubicBezTo>
                      <a:pt x="501582" y="30149"/>
                      <a:pt x="503998" y="30543"/>
                      <a:pt x="506392" y="30315"/>
                    </a:cubicBezTo>
                    <a:cubicBezTo>
                      <a:pt x="509162" y="25704"/>
                      <a:pt x="508826" y="19867"/>
                      <a:pt x="505537" y="15610"/>
                    </a:cubicBezTo>
                    <a:cubicBezTo>
                      <a:pt x="509242" y="15997"/>
                      <a:pt x="512941" y="14823"/>
                      <a:pt x="515739" y="12361"/>
                    </a:cubicBezTo>
                    <a:cubicBezTo>
                      <a:pt x="516497" y="11455"/>
                      <a:pt x="517449" y="10731"/>
                      <a:pt x="518532" y="10252"/>
                    </a:cubicBezTo>
                    <a:cubicBezTo>
                      <a:pt x="520527" y="9682"/>
                      <a:pt x="522465" y="11164"/>
                      <a:pt x="524231" y="12133"/>
                    </a:cubicBezTo>
                    <a:cubicBezTo>
                      <a:pt x="529287" y="13570"/>
                      <a:pt x="534548" y="14151"/>
                      <a:pt x="539791" y="13843"/>
                    </a:cubicBezTo>
                    <a:cubicBezTo>
                      <a:pt x="544977" y="14470"/>
                      <a:pt x="550734" y="19201"/>
                      <a:pt x="548739" y="24045"/>
                    </a:cubicBezTo>
                    <a:cubicBezTo>
                      <a:pt x="555316" y="25020"/>
                      <a:pt x="560400" y="30315"/>
                      <a:pt x="561107" y="36926"/>
                    </a:cubicBezTo>
                    <a:cubicBezTo>
                      <a:pt x="557801" y="40346"/>
                      <a:pt x="551703" y="38123"/>
                      <a:pt x="547713" y="40688"/>
                    </a:cubicBezTo>
                    <a:cubicBezTo>
                      <a:pt x="545946" y="41770"/>
                      <a:pt x="544807" y="43708"/>
                      <a:pt x="543097" y="44905"/>
                    </a:cubicBezTo>
                    <a:cubicBezTo>
                      <a:pt x="535915" y="49921"/>
                      <a:pt x="526397" y="39206"/>
                      <a:pt x="517962" y="41770"/>
                    </a:cubicBezTo>
                    <a:cubicBezTo>
                      <a:pt x="517563" y="43993"/>
                      <a:pt x="519957" y="45760"/>
                      <a:pt x="522179" y="46330"/>
                    </a:cubicBezTo>
                    <a:cubicBezTo>
                      <a:pt x="524431" y="46541"/>
                      <a:pt x="526625" y="47202"/>
                      <a:pt x="528620" y="48268"/>
                    </a:cubicBezTo>
                    <a:cubicBezTo>
                      <a:pt x="532382" y="51118"/>
                      <a:pt x="530900" y="57615"/>
                      <a:pt x="534319" y="60864"/>
                    </a:cubicBezTo>
                    <a:cubicBezTo>
                      <a:pt x="536793" y="62591"/>
                      <a:pt x="539842" y="63263"/>
                      <a:pt x="542811" y="62745"/>
                    </a:cubicBezTo>
                    <a:lnTo>
                      <a:pt x="543210" y="62745"/>
                    </a:lnTo>
                    <a:cubicBezTo>
                      <a:pt x="538959" y="67475"/>
                      <a:pt x="535442" y="72816"/>
                      <a:pt x="532781" y="7858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2" name="Freihandform: Form 746">
                <a:extLst>
                  <a:ext uri="{FF2B5EF4-FFF2-40B4-BE49-F238E27FC236}">
                    <a16:creationId xmlns:a16="http://schemas.microsoft.com/office/drawing/2014/main" id="{F38F77B8-B5C7-0F32-9AFB-217524A6BC6E}"/>
                  </a:ext>
                </a:extLst>
              </p:cNvPr>
              <p:cNvSpPr/>
              <p:nvPr/>
            </p:nvSpPr>
            <p:spPr>
              <a:xfrm>
                <a:off x="3953438" y="2710301"/>
                <a:ext cx="89088" cy="100463"/>
              </a:xfrm>
              <a:custGeom>
                <a:avLst/>
                <a:gdLst>
                  <a:gd name="connsiteX0" fmla="*/ 67943 w 89088"/>
                  <a:gd name="connsiteY0" fmla="*/ 79850 h 100463"/>
                  <a:gd name="connsiteX1" fmla="*/ 66632 w 89088"/>
                  <a:gd name="connsiteY1" fmla="*/ 67824 h 100463"/>
                  <a:gd name="connsiteX2" fmla="*/ 70507 w 89088"/>
                  <a:gd name="connsiteY2" fmla="*/ 60813 h 100463"/>
                  <a:gd name="connsiteX3" fmla="*/ 76549 w 89088"/>
                  <a:gd name="connsiteY3" fmla="*/ 60813 h 100463"/>
                  <a:gd name="connsiteX4" fmla="*/ 84984 w 89088"/>
                  <a:gd name="connsiteY4" fmla="*/ 59104 h 100463"/>
                  <a:gd name="connsiteX5" fmla="*/ 88347 w 89088"/>
                  <a:gd name="connsiteY5" fmla="*/ 72212 h 100463"/>
                  <a:gd name="connsiteX6" fmla="*/ 89087 w 89088"/>
                  <a:gd name="connsiteY6" fmla="*/ 76202 h 100463"/>
                  <a:gd name="connsiteX7" fmla="*/ 87948 w 89088"/>
                  <a:gd name="connsiteY7" fmla="*/ 83212 h 100463"/>
                  <a:gd name="connsiteX8" fmla="*/ 86181 w 89088"/>
                  <a:gd name="connsiteY8" fmla="*/ 89539 h 100463"/>
                  <a:gd name="connsiteX9" fmla="*/ 74315 w 89088"/>
                  <a:gd name="connsiteY9" fmla="*/ 100453 h 100463"/>
                  <a:gd name="connsiteX10" fmla="*/ 72103 w 89088"/>
                  <a:gd name="connsiteY10" fmla="*/ 100140 h 100463"/>
                  <a:gd name="connsiteX11" fmla="*/ 65492 w 89088"/>
                  <a:gd name="connsiteY11" fmla="*/ 100140 h 100463"/>
                  <a:gd name="connsiteX12" fmla="*/ 65150 w 89088"/>
                  <a:gd name="connsiteY12" fmla="*/ 93300 h 100463"/>
                  <a:gd name="connsiteX13" fmla="*/ 65150 w 89088"/>
                  <a:gd name="connsiteY13" fmla="*/ 92160 h 100463"/>
                  <a:gd name="connsiteX14" fmla="*/ 66860 w 89088"/>
                  <a:gd name="connsiteY14" fmla="*/ 91363 h 100463"/>
                  <a:gd name="connsiteX15" fmla="*/ 73585 w 89088"/>
                  <a:gd name="connsiteY15" fmla="*/ 90337 h 100463"/>
                  <a:gd name="connsiteX16" fmla="*/ 74611 w 89088"/>
                  <a:gd name="connsiteY16" fmla="*/ 86689 h 100463"/>
                  <a:gd name="connsiteX17" fmla="*/ 74269 w 89088"/>
                  <a:gd name="connsiteY17" fmla="*/ 83098 h 100463"/>
                  <a:gd name="connsiteX18" fmla="*/ 71704 w 89088"/>
                  <a:gd name="connsiteY18" fmla="*/ 80819 h 100463"/>
                  <a:gd name="connsiteX19" fmla="*/ 68911 w 89088"/>
                  <a:gd name="connsiteY19" fmla="*/ 80819 h 100463"/>
                  <a:gd name="connsiteX20" fmla="*/ 67943 w 89088"/>
                  <a:gd name="connsiteY20" fmla="*/ 79850 h 100463"/>
                  <a:gd name="connsiteX21" fmla="*/ 36766 w 89088"/>
                  <a:gd name="connsiteY21" fmla="*/ 96948 h 100463"/>
                  <a:gd name="connsiteX22" fmla="*/ 29186 w 89088"/>
                  <a:gd name="connsiteY22" fmla="*/ 92104 h 100463"/>
                  <a:gd name="connsiteX23" fmla="*/ 29186 w 89088"/>
                  <a:gd name="connsiteY23" fmla="*/ 77513 h 100463"/>
                  <a:gd name="connsiteX24" fmla="*/ 42808 w 89088"/>
                  <a:gd name="connsiteY24" fmla="*/ 82186 h 100463"/>
                  <a:gd name="connsiteX25" fmla="*/ 48507 w 89088"/>
                  <a:gd name="connsiteY25" fmla="*/ 83098 h 100463"/>
                  <a:gd name="connsiteX26" fmla="*/ 50445 w 89088"/>
                  <a:gd name="connsiteY26" fmla="*/ 69420 h 100463"/>
                  <a:gd name="connsiteX27" fmla="*/ 33917 w 89088"/>
                  <a:gd name="connsiteY27" fmla="*/ 65943 h 100463"/>
                  <a:gd name="connsiteX28" fmla="*/ 46968 w 89088"/>
                  <a:gd name="connsiteY28" fmla="*/ 48389 h 100463"/>
                  <a:gd name="connsiteX29" fmla="*/ 52668 w 89088"/>
                  <a:gd name="connsiteY29" fmla="*/ 43772 h 100463"/>
                  <a:gd name="connsiteX30" fmla="*/ 43435 w 89088"/>
                  <a:gd name="connsiteY30" fmla="*/ 32088 h 100463"/>
                  <a:gd name="connsiteX31" fmla="*/ 44119 w 89088"/>
                  <a:gd name="connsiteY31" fmla="*/ 17041 h 100463"/>
                  <a:gd name="connsiteX32" fmla="*/ 49305 w 89088"/>
                  <a:gd name="connsiteY32" fmla="*/ 2280 h 100463"/>
                  <a:gd name="connsiteX33" fmla="*/ 35513 w 89088"/>
                  <a:gd name="connsiteY33" fmla="*/ 0 h 100463"/>
                  <a:gd name="connsiteX34" fmla="*/ 29813 w 89088"/>
                  <a:gd name="connsiteY34" fmla="*/ 13508 h 100463"/>
                  <a:gd name="connsiteX35" fmla="*/ 25482 w 89088"/>
                  <a:gd name="connsiteY35" fmla="*/ 16357 h 100463"/>
                  <a:gd name="connsiteX36" fmla="*/ 20637 w 89088"/>
                  <a:gd name="connsiteY36" fmla="*/ 26275 h 100463"/>
                  <a:gd name="connsiteX37" fmla="*/ 11803 w 89088"/>
                  <a:gd name="connsiteY37" fmla="*/ 28098 h 100463"/>
                  <a:gd name="connsiteX38" fmla="*/ 7927 w 89088"/>
                  <a:gd name="connsiteY38" fmla="*/ 22399 h 100463"/>
                  <a:gd name="connsiteX39" fmla="*/ 347 w 89088"/>
                  <a:gd name="connsiteY39" fmla="*/ 22399 h 100463"/>
                  <a:gd name="connsiteX40" fmla="*/ 3310 w 89088"/>
                  <a:gd name="connsiteY40" fmla="*/ 49072 h 100463"/>
                  <a:gd name="connsiteX41" fmla="*/ 4849 w 89088"/>
                  <a:gd name="connsiteY41" fmla="*/ 69477 h 100463"/>
                  <a:gd name="connsiteX42" fmla="*/ 6331 w 89088"/>
                  <a:gd name="connsiteY42" fmla="*/ 73124 h 100463"/>
                  <a:gd name="connsiteX43" fmla="*/ 3767 w 89088"/>
                  <a:gd name="connsiteY43" fmla="*/ 83269 h 100463"/>
                  <a:gd name="connsiteX44" fmla="*/ 6559 w 89088"/>
                  <a:gd name="connsiteY44" fmla="*/ 92274 h 100463"/>
                  <a:gd name="connsiteX45" fmla="*/ 11176 w 89088"/>
                  <a:gd name="connsiteY45" fmla="*/ 92274 h 100463"/>
                  <a:gd name="connsiteX46" fmla="*/ 15906 w 89088"/>
                  <a:gd name="connsiteY46" fmla="*/ 93813 h 100463"/>
                  <a:gd name="connsiteX47" fmla="*/ 16761 w 89088"/>
                  <a:gd name="connsiteY47" fmla="*/ 94896 h 100463"/>
                  <a:gd name="connsiteX48" fmla="*/ 16305 w 89088"/>
                  <a:gd name="connsiteY48" fmla="*/ 96321 h 100463"/>
                  <a:gd name="connsiteX49" fmla="*/ 36766 w 89088"/>
                  <a:gd name="connsiteY49" fmla="*/ 96948 h 10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9088" h="100463">
                    <a:moveTo>
                      <a:pt x="67943" y="79850"/>
                    </a:moveTo>
                    <a:cubicBezTo>
                      <a:pt x="66130" y="76111"/>
                      <a:pt x="65668" y="71865"/>
                      <a:pt x="66632" y="67824"/>
                    </a:cubicBezTo>
                    <a:cubicBezTo>
                      <a:pt x="67031" y="65031"/>
                      <a:pt x="67829" y="61725"/>
                      <a:pt x="70507" y="60813"/>
                    </a:cubicBezTo>
                    <a:cubicBezTo>
                      <a:pt x="73186" y="59901"/>
                      <a:pt x="74554" y="61098"/>
                      <a:pt x="76549" y="60813"/>
                    </a:cubicBezTo>
                    <a:cubicBezTo>
                      <a:pt x="79455" y="60813"/>
                      <a:pt x="82248" y="58420"/>
                      <a:pt x="84984" y="59104"/>
                    </a:cubicBezTo>
                    <a:cubicBezTo>
                      <a:pt x="86124" y="63492"/>
                      <a:pt x="87207" y="67881"/>
                      <a:pt x="88347" y="72212"/>
                    </a:cubicBezTo>
                    <a:cubicBezTo>
                      <a:pt x="88734" y="73512"/>
                      <a:pt x="88985" y="74851"/>
                      <a:pt x="89087" y="76202"/>
                    </a:cubicBezTo>
                    <a:cubicBezTo>
                      <a:pt x="89110" y="78584"/>
                      <a:pt x="88723" y="80955"/>
                      <a:pt x="87948" y="83212"/>
                    </a:cubicBezTo>
                    <a:lnTo>
                      <a:pt x="86181" y="89539"/>
                    </a:lnTo>
                    <a:cubicBezTo>
                      <a:pt x="85919" y="95831"/>
                      <a:pt x="80607" y="100715"/>
                      <a:pt x="74315" y="100453"/>
                    </a:cubicBezTo>
                    <a:cubicBezTo>
                      <a:pt x="73568" y="100419"/>
                      <a:pt x="72827" y="100316"/>
                      <a:pt x="72103" y="100140"/>
                    </a:cubicBezTo>
                    <a:lnTo>
                      <a:pt x="65492" y="100140"/>
                    </a:lnTo>
                    <a:cubicBezTo>
                      <a:pt x="65207" y="97871"/>
                      <a:pt x="65093" y="95586"/>
                      <a:pt x="65150" y="93300"/>
                    </a:cubicBezTo>
                    <a:cubicBezTo>
                      <a:pt x="65036" y="92930"/>
                      <a:pt x="65036" y="92531"/>
                      <a:pt x="65150" y="92160"/>
                    </a:cubicBezTo>
                    <a:cubicBezTo>
                      <a:pt x="65560" y="91642"/>
                      <a:pt x="66198" y="91345"/>
                      <a:pt x="66860" y="91363"/>
                    </a:cubicBezTo>
                    <a:cubicBezTo>
                      <a:pt x="69196" y="91363"/>
                      <a:pt x="72046" y="92104"/>
                      <a:pt x="73585" y="90337"/>
                    </a:cubicBezTo>
                    <a:cubicBezTo>
                      <a:pt x="74332" y="89271"/>
                      <a:pt x="74697" y="87988"/>
                      <a:pt x="74611" y="86689"/>
                    </a:cubicBezTo>
                    <a:cubicBezTo>
                      <a:pt x="74725" y="85481"/>
                      <a:pt x="74611" y="84261"/>
                      <a:pt x="74269" y="83098"/>
                    </a:cubicBezTo>
                    <a:cubicBezTo>
                      <a:pt x="73916" y="81913"/>
                      <a:pt x="72924" y="81029"/>
                      <a:pt x="71704" y="80819"/>
                    </a:cubicBezTo>
                    <a:cubicBezTo>
                      <a:pt x="70792" y="80819"/>
                      <a:pt x="69766" y="81161"/>
                      <a:pt x="68911" y="80819"/>
                    </a:cubicBezTo>
                    <a:cubicBezTo>
                      <a:pt x="68518" y="80579"/>
                      <a:pt x="68182" y="80243"/>
                      <a:pt x="67943" y="79850"/>
                    </a:cubicBezTo>
                    <a:close/>
                    <a:moveTo>
                      <a:pt x="36766" y="96948"/>
                    </a:moveTo>
                    <a:cubicBezTo>
                      <a:pt x="35324" y="94064"/>
                      <a:pt x="32412" y="92200"/>
                      <a:pt x="29186" y="92104"/>
                    </a:cubicBezTo>
                    <a:lnTo>
                      <a:pt x="29186" y="77513"/>
                    </a:lnTo>
                    <a:lnTo>
                      <a:pt x="42808" y="82186"/>
                    </a:lnTo>
                    <a:cubicBezTo>
                      <a:pt x="44603" y="82950"/>
                      <a:pt x="46564" y="83264"/>
                      <a:pt x="48507" y="83098"/>
                    </a:cubicBezTo>
                    <a:cubicBezTo>
                      <a:pt x="54207" y="82186"/>
                      <a:pt x="54777" y="73181"/>
                      <a:pt x="50445" y="69420"/>
                    </a:cubicBezTo>
                    <a:cubicBezTo>
                      <a:pt x="45566" y="66222"/>
                      <a:pt x="39667" y="64985"/>
                      <a:pt x="33917" y="65943"/>
                    </a:cubicBezTo>
                    <a:cubicBezTo>
                      <a:pt x="35262" y="58363"/>
                      <a:pt x="40095" y="51859"/>
                      <a:pt x="46968" y="48389"/>
                    </a:cubicBezTo>
                    <a:cubicBezTo>
                      <a:pt x="49305" y="47249"/>
                      <a:pt x="52041" y="46223"/>
                      <a:pt x="52668" y="43772"/>
                    </a:cubicBezTo>
                    <a:cubicBezTo>
                      <a:pt x="54378" y="38699"/>
                      <a:pt x="46683" y="36249"/>
                      <a:pt x="43435" y="32088"/>
                    </a:cubicBezTo>
                    <a:cubicBezTo>
                      <a:pt x="40842" y="27335"/>
                      <a:pt x="41109" y="21538"/>
                      <a:pt x="44119" y="17041"/>
                    </a:cubicBezTo>
                    <a:cubicBezTo>
                      <a:pt x="47151" y="12681"/>
                      <a:pt x="48940" y="7580"/>
                      <a:pt x="49305" y="2280"/>
                    </a:cubicBezTo>
                    <a:lnTo>
                      <a:pt x="35513" y="0"/>
                    </a:lnTo>
                    <a:cubicBezTo>
                      <a:pt x="35404" y="5067"/>
                      <a:pt x="33364" y="9894"/>
                      <a:pt x="29813" y="13508"/>
                    </a:cubicBezTo>
                    <a:cubicBezTo>
                      <a:pt x="28445" y="14534"/>
                      <a:pt x="26792" y="15218"/>
                      <a:pt x="25482" y="16357"/>
                    </a:cubicBezTo>
                    <a:cubicBezTo>
                      <a:pt x="22746" y="18865"/>
                      <a:pt x="22404" y="23026"/>
                      <a:pt x="20637" y="26275"/>
                    </a:cubicBezTo>
                    <a:cubicBezTo>
                      <a:pt x="18870" y="29523"/>
                      <a:pt x="13455" y="31404"/>
                      <a:pt x="11803" y="28098"/>
                    </a:cubicBezTo>
                    <a:cubicBezTo>
                      <a:pt x="11934" y="25545"/>
                      <a:pt x="10349" y="23214"/>
                      <a:pt x="7927" y="22399"/>
                    </a:cubicBezTo>
                    <a:cubicBezTo>
                      <a:pt x="5436" y="21800"/>
                      <a:pt x="2837" y="21800"/>
                      <a:pt x="347" y="22399"/>
                    </a:cubicBezTo>
                    <a:cubicBezTo>
                      <a:pt x="-605" y="31398"/>
                      <a:pt x="410" y="40500"/>
                      <a:pt x="3310" y="49072"/>
                    </a:cubicBezTo>
                    <a:cubicBezTo>
                      <a:pt x="1384" y="55843"/>
                      <a:pt x="1931" y="63076"/>
                      <a:pt x="4849" y="69477"/>
                    </a:cubicBezTo>
                    <a:cubicBezTo>
                      <a:pt x="5482" y="70634"/>
                      <a:pt x="5978" y="71853"/>
                      <a:pt x="6331" y="73124"/>
                    </a:cubicBezTo>
                    <a:cubicBezTo>
                      <a:pt x="6388" y="76675"/>
                      <a:pt x="5505" y="80174"/>
                      <a:pt x="3767" y="83269"/>
                    </a:cubicBezTo>
                    <a:cubicBezTo>
                      <a:pt x="2627" y="86632"/>
                      <a:pt x="3139" y="91363"/>
                      <a:pt x="6559" y="92274"/>
                    </a:cubicBezTo>
                    <a:cubicBezTo>
                      <a:pt x="8092" y="92474"/>
                      <a:pt x="9643" y="92474"/>
                      <a:pt x="11176" y="92274"/>
                    </a:cubicBezTo>
                    <a:cubicBezTo>
                      <a:pt x="12880" y="92229"/>
                      <a:pt x="14550" y="92776"/>
                      <a:pt x="15906" y="93813"/>
                    </a:cubicBezTo>
                    <a:cubicBezTo>
                      <a:pt x="16294" y="94075"/>
                      <a:pt x="16596" y="94457"/>
                      <a:pt x="16761" y="94896"/>
                    </a:cubicBezTo>
                    <a:cubicBezTo>
                      <a:pt x="16807" y="95415"/>
                      <a:pt x="16641" y="95928"/>
                      <a:pt x="16305" y="96321"/>
                    </a:cubicBezTo>
                    <a:cubicBezTo>
                      <a:pt x="23145" y="96492"/>
                      <a:pt x="30326" y="98886"/>
                      <a:pt x="36766" y="96948"/>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53" name="Freihandform: Form 747">
                <a:extLst>
                  <a:ext uri="{FF2B5EF4-FFF2-40B4-BE49-F238E27FC236}">
                    <a16:creationId xmlns:a16="http://schemas.microsoft.com/office/drawing/2014/main" id="{C6337958-1BF9-23C1-88D1-241E245B1A73}"/>
                  </a:ext>
                </a:extLst>
              </p:cNvPr>
              <p:cNvSpPr/>
              <p:nvPr/>
            </p:nvSpPr>
            <p:spPr>
              <a:xfrm>
                <a:off x="3906936" y="2806337"/>
                <a:ext cx="189620" cy="223821"/>
              </a:xfrm>
              <a:custGeom>
                <a:avLst/>
                <a:gdLst>
                  <a:gd name="connsiteX0" fmla="*/ 22113 w 189620"/>
                  <a:gd name="connsiteY0" fmla="*/ 46223 h 223821"/>
                  <a:gd name="connsiteX1" fmla="*/ 23766 w 189620"/>
                  <a:gd name="connsiteY1" fmla="*/ 48047 h 223821"/>
                  <a:gd name="connsiteX2" fmla="*/ 25590 w 189620"/>
                  <a:gd name="connsiteY2" fmla="*/ 38186 h 223821"/>
                  <a:gd name="connsiteX3" fmla="*/ 26559 w 189620"/>
                  <a:gd name="connsiteY3" fmla="*/ 35622 h 223821"/>
                  <a:gd name="connsiteX4" fmla="*/ 31062 w 189620"/>
                  <a:gd name="connsiteY4" fmla="*/ 34881 h 223821"/>
                  <a:gd name="connsiteX5" fmla="*/ 39953 w 189620"/>
                  <a:gd name="connsiteY5" fmla="*/ 36192 h 223821"/>
                  <a:gd name="connsiteX6" fmla="*/ 41948 w 189620"/>
                  <a:gd name="connsiteY6" fmla="*/ 36990 h 223821"/>
                  <a:gd name="connsiteX7" fmla="*/ 42574 w 189620"/>
                  <a:gd name="connsiteY7" fmla="*/ 40523 h 223821"/>
                  <a:gd name="connsiteX8" fmla="*/ 49574 w 189620"/>
                  <a:gd name="connsiteY8" fmla="*/ 47773 h 223821"/>
                  <a:gd name="connsiteX9" fmla="*/ 56823 w 189620"/>
                  <a:gd name="connsiteY9" fmla="*/ 40774 h 223821"/>
                  <a:gd name="connsiteX10" fmla="*/ 55740 w 189620"/>
                  <a:gd name="connsiteY10" fmla="*/ 36876 h 223821"/>
                  <a:gd name="connsiteX11" fmla="*/ 64917 w 189620"/>
                  <a:gd name="connsiteY11" fmla="*/ 32886 h 223821"/>
                  <a:gd name="connsiteX12" fmla="*/ 63663 w 189620"/>
                  <a:gd name="connsiteY12" fmla="*/ 23539 h 223821"/>
                  <a:gd name="connsiteX13" fmla="*/ 58590 w 189620"/>
                  <a:gd name="connsiteY13" fmla="*/ 20347 h 223821"/>
                  <a:gd name="connsiteX14" fmla="*/ 57963 w 189620"/>
                  <a:gd name="connsiteY14" fmla="*/ 15901 h 223821"/>
                  <a:gd name="connsiteX15" fmla="*/ 62238 w 189620"/>
                  <a:gd name="connsiteY15" fmla="*/ 570 h 223821"/>
                  <a:gd name="connsiteX16" fmla="*/ 62637 w 189620"/>
                  <a:gd name="connsiteY16" fmla="*/ 0 h 223821"/>
                  <a:gd name="connsiteX17" fmla="*/ 83269 w 189620"/>
                  <a:gd name="connsiteY17" fmla="*/ 912 h 223821"/>
                  <a:gd name="connsiteX18" fmla="*/ 84067 w 189620"/>
                  <a:gd name="connsiteY18" fmla="*/ 3477 h 223821"/>
                  <a:gd name="connsiteX19" fmla="*/ 87030 w 189620"/>
                  <a:gd name="connsiteY19" fmla="*/ 11798 h 223821"/>
                  <a:gd name="connsiteX20" fmla="*/ 90564 w 189620"/>
                  <a:gd name="connsiteY20" fmla="*/ 11114 h 223821"/>
                  <a:gd name="connsiteX21" fmla="*/ 103274 w 189620"/>
                  <a:gd name="connsiteY21" fmla="*/ 14591 h 223821"/>
                  <a:gd name="connsiteX22" fmla="*/ 109885 w 189620"/>
                  <a:gd name="connsiteY22" fmla="*/ 26503 h 223821"/>
                  <a:gd name="connsiteX23" fmla="*/ 121284 w 189620"/>
                  <a:gd name="connsiteY23" fmla="*/ 27756 h 223821"/>
                  <a:gd name="connsiteX24" fmla="*/ 126015 w 189620"/>
                  <a:gd name="connsiteY24" fmla="*/ 20233 h 223821"/>
                  <a:gd name="connsiteX25" fmla="*/ 136217 w 189620"/>
                  <a:gd name="connsiteY25" fmla="*/ 17497 h 223821"/>
                  <a:gd name="connsiteX26" fmla="*/ 139523 w 189620"/>
                  <a:gd name="connsiteY26" fmla="*/ 13736 h 223821"/>
                  <a:gd name="connsiteX27" fmla="*/ 150921 w 189620"/>
                  <a:gd name="connsiteY27" fmla="*/ 12710 h 223821"/>
                  <a:gd name="connsiteX28" fmla="*/ 153657 w 189620"/>
                  <a:gd name="connsiteY28" fmla="*/ 7979 h 223821"/>
                  <a:gd name="connsiteX29" fmla="*/ 158046 w 189620"/>
                  <a:gd name="connsiteY29" fmla="*/ 5870 h 223821"/>
                  <a:gd name="connsiteX30" fmla="*/ 161409 w 189620"/>
                  <a:gd name="connsiteY30" fmla="*/ 16927 h 223821"/>
                  <a:gd name="connsiteX31" fmla="*/ 171725 w 189620"/>
                  <a:gd name="connsiteY31" fmla="*/ 20119 h 223821"/>
                  <a:gd name="connsiteX32" fmla="*/ 172978 w 189620"/>
                  <a:gd name="connsiteY32" fmla="*/ 28896 h 223821"/>
                  <a:gd name="connsiteX33" fmla="*/ 176398 w 189620"/>
                  <a:gd name="connsiteY33" fmla="*/ 30834 h 223821"/>
                  <a:gd name="connsiteX34" fmla="*/ 175315 w 189620"/>
                  <a:gd name="connsiteY34" fmla="*/ 45482 h 223821"/>
                  <a:gd name="connsiteX35" fmla="*/ 177652 w 189620"/>
                  <a:gd name="connsiteY35" fmla="*/ 54088 h 223821"/>
                  <a:gd name="connsiteX36" fmla="*/ 175942 w 189620"/>
                  <a:gd name="connsiteY36" fmla="*/ 59104 h 223821"/>
                  <a:gd name="connsiteX37" fmla="*/ 181072 w 189620"/>
                  <a:gd name="connsiteY37" fmla="*/ 72725 h 223821"/>
                  <a:gd name="connsiteX38" fmla="*/ 184207 w 189620"/>
                  <a:gd name="connsiteY38" fmla="*/ 84922 h 223821"/>
                  <a:gd name="connsiteX39" fmla="*/ 188196 w 189620"/>
                  <a:gd name="connsiteY39" fmla="*/ 111938 h 223821"/>
                  <a:gd name="connsiteX40" fmla="*/ 189621 w 189620"/>
                  <a:gd name="connsiteY40" fmla="*/ 119803 h 223821"/>
                  <a:gd name="connsiteX41" fmla="*/ 187113 w 189620"/>
                  <a:gd name="connsiteY41" fmla="*/ 120316 h 223821"/>
                  <a:gd name="connsiteX42" fmla="*/ 180559 w 189620"/>
                  <a:gd name="connsiteY42" fmla="*/ 124362 h 223821"/>
                  <a:gd name="connsiteX43" fmla="*/ 168077 w 189620"/>
                  <a:gd name="connsiteY43" fmla="*/ 129207 h 223821"/>
                  <a:gd name="connsiteX44" fmla="*/ 159186 w 189620"/>
                  <a:gd name="connsiteY44" fmla="*/ 130233 h 223821"/>
                  <a:gd name="connsiteX45" fmla="*/ 143227 w 189620"/>
                  <a:gd name="connsiteY45" fmla="*/ 139409 h 223821"/>
                  <a:gd name="connsiteX46" fmla="*/ 138839 w 189620"/>
                  <a:gd name="connsiteY46" fmla="*/ 145109 h 223821"/>
                  <a:gd name="connsiteX47" fmla="*/ 140491 w 189620"/>
                  <a:gd name="connsiteY47" fmla="*/ 150808 h 223821"/>
                  <a:gd name="connsiteX48" fmla="*/ 148015 w 189620"/>
                  <a:gd name="connsiteY48" fmla="*/ 166767 h 223821"/>
                  <a:gd name="connsiteX49" fmla="*/ 148015 w 189620"/>
                  <a:gd name="connsiteY49" fmla="*/ 172922 h 223821"/>
                  <a:gd name="connsiteX50" fmla="*/ 151548 w 189620"/>
                  <a:gd name="connsiteY50" fmla="*/ 179191 h 223821"/>
                  <a:gd name="connsiteX51" fmla="*/ 161123 w 189620"/>
                  <a:gd name="connsiteY51" fmla="*/ 188994 h 223821"/>
                  <a:gd name="connsiteX52" fmla="*/ 157476 w 189620"/>
                  <a:gd name="connsiteY52" fmla="*/ 193098 h 223821"/>
                  <a:gd name="connsiteX53" fmla="*/ 149839 w 189620"/>
                  <a:gd name="connsiteY53" fmla="*/ 204497 h 223821"/>
                  <a:gd name="connsiteX54" fmla="*/ 149839 w 189620"/>
                  <a:gd name="connsiteY54" fmla="*/ 213217 h 223821"/>
                  <a:gd name="connsiteX55" fmla="*/ 144378 w 189620"/>
                  <a:gd name="connsiteY55" fmla="*/ 221875 h 223821"/>
                  <a:gd name="connsiteX56" fmla="*/ 142600 w 189620"/>
                  <a:gd name="connsiteY56" fmla="*/ 222051 h 223821"/>
                  <a:gd name="connsiteX57" fmla="*/ 121056 w 189620"/>
                  <a:gd name="connsiteY57" fmla="*/ 220684 h 223821"/>
                  <a:gd name="connsiteX58" fmla="*/ 108005 w 189620"/>
                  <a:gd name="connsiteY58" fmla="*/ 222564 h 223821"/>
                  <a:gd name="connsiteX59" fmla="*/ 93870 w 189620"/>
                  <a:gd name="connsiteY59" fmla="*/ 220171 h 223821"/>
                  <a:gd name="connsiteX60" fmla="*/ 79735 w 189620"/>
                  <a:gd name="connsiteY60" fmla="*/ 223419 h 223821"/>
                  <a:gd name="connsiteX61" fmla="*/ 56937 w 189620"/>
                  <a:gd name="connsiteY61" fmla="*/ 221197 h 223821"/>
                  <a:gd name="connsiteX62" fmla="*/ 49471 w 189620"/>
                  <a:gd name="connsiteY62" fmla="*/ 218917 h 223821"/>
                  <a:gd name="connsiteX63" fmla="*/ 41434 w 189620"/>
                  <a:gd name="connsiteY63" fmla="*/ 222564 h 223821"/>
                  <a:gd name="connsiteX64" fmla="*/ 33398 w 189620"/>
                  <a:gd name="connsiteY64" fmla="*/ 221652 h 223821"/>
                  <a:gd name="connsiteX65" fmla="*/ 32657 w 189620"/>
                  <a:gd name="connsiteY65" fmla="*/ 217948 h 223821"/>
                  <a:gd name="connsiteX66" fmla="*/ 37046 w 189620"/>
                  <a:gd name="connsiteY66" fmla="*/ 196347 h 223821"/>
                  <a:gd name="connsiteX67" fmla="*/ 41833 w 189620"/>
                  <a:gd name="connsiteY67" fmla="*/ 189678 h 223821"/>
                  <a:gd name="connsiteX68" fmla="*/ 39839 w 189620"/>
                  <a:gd name="connsiteY68" fmla="*/ 182554 h 223821"/>
                  <a:gd name="connsiteX69" fmla="*/ 35165 w 189620"/>
                  <a:gd name="connsiteY69" fmla="*/ 182155 h 223821"/>
                  <a:gd name="connsiteX70" fmla="*/ 30378 w 189620"/>
                  <a:gd name="connsiteY70" fmla="*/ 179419 h 223821"/>
                  <a:gd name="connsiteX71" fmla="*/ 4901 w 189620"/>
                  <a:gd name="connsiteY71" fmla="*/ 174176 h 223821"/>
                  <a:gd name="connsiteX72" fmla="*/ 6041 w 189620"/>
                  <a:gd name="connsiteY72" fmla="*/ 141233 h 223821"/>
                  <a:gd name="connsiteX73" fmla="*/ 3134 w 189620"/>
                  <a:gd name="connsiteY73" fmla="*/ 134622 h 223821"/>
                  <a:gd name="connsiteX74" fmla="*/ 4502 w 189620"/>
                  <a:gd name="connsiteY74" fmla="*/ 105212 h 223821"/>
                  <a:gd name="connsiteX75" fmla="*/ 7295 w 189620"/>
                  <a:gd name="connsiteY75" fmla="*/ 99057 h 223821"/>
                  <a:gd name="connsiteX76" fmla="*/ 7295 w 189620"/>
                  <a:gd name="connsiteY76" fmla="*/ 96378 h 223821"/>
                  <a:gd name="connsiteX77" fmla="*/ 14590 w 189620"/>
                  <a:gd name="connsiteY77" fmla="*/ 89767 h 223821"/>
                  <a:gd name="connsiteX78" fmla="*/ 21031 w 189620"/>
                  <a:gd name="connsiteY78" fmla="*/ 82585 h 223821"/>
                  <a:gd name="connsiteX79" fmla="*/ 16756 w 189620"/>
                  <a:gd name="connsiteY79" fmla="*/ 74435 h 223821"/>
                  <a:gd name="connsiteX80" fmla="*/ 23253 w 189620"/>
                  <a:gd name="connsiteY80" fmla="*/ 64917 h 223821"/>
                  <a:gd name="connsiteX81" fmla="*/ 23253 w 189620"/>
                  <a:gd name="connsiteY81" fmla="*/ 52720 h 223821"/>
                  <a:gd name="connsiteX82" fmla="*/ 22113 w 189620"/>
                  <a:gd name="connsiteY82" fmla="*/ 46223 h 22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89620" h="223821">
                    <a:moveTo>
                      <a:pt x="22113" y="46223"/>
                    </a:moveTo>
                    <a:cubicBezTo>
                      <a:pt x="22683" y="46793"/>
                      <a:pt x="23253" y="47420"/>
                      <a:pt x="23766" y="48047"/>
                    </a:cubicBezTo>
                    <a:cubicBezTo>
                      <a:pt x="24393" y="44741"/>
                      <a:pt x="24963" y="41435"/>
                      <a:pt x="25590" y="38186"/>
                    </a:cubicBezTo>
                    <a:cubicBezTo>
                      <a:pt x="25670" y="37257"/>
                      <a:pt x="26006" y="36368"/>
                      <a:pt x="26559" y="35622"/>
                    </a:cubicBezTo>
                    <a:cubicBezTo>
                      <a:pt x="27853" y="34658"/>
                      <a:pt x="29528" y="34379"/>
                      <a:pt x="31062" y="34881"/>
                    </a:cubicBezTo>
                    <a:lnTo>
                      <a:pt x="39953" y="36192"/>
                    </a:lnTo>
                    <a:cubicBezTo>
                      <a:pt x="40682" y="36249"/>
                      <a:pt x="41378" y="36528"/>
                      <a:pt x="41948" y="36990"/>
                    </a:cubicBezTo>
                    <a:cubicBezTo>
                      <a:pt x="42859" y="37844"/>
                      <a:pt x="42574" y="39326"/>
                      <a:pt x="42574" y="40523"/>
                    </a:cubicBezTo>
                    <a:cubicBezTo>
                      <a:pt x="42506" y="44456"/>
                      <a:pt x="45635" y="47705"/>
                      <a:pt x="49574" y="47773"/>
                    </a:cubicBezTo>
                    <a:cubicBezTo>
                      <a:pt x="53506" y="47841"/>
                      <a:pt x="56749" y="44712"/>
                      <a:pt x="56823" y="40774"/>
                    </a:cubicBezTo>
                    <a:cubicBezTo>
                      <a:pt x="56846" y="39400"/>
                      <a:pt x="56470" y="38044"/>
                      <a:pt x="55740" y="36876"/>
                    </a:cubicBezTo>
                    <a:cubicBezTo>
                      <a:pt x="59285" y="37229"/>
                      <a:pt x="62756" y="35719"/>
                      <a:pt x="64917" y="32886"/>
                    </a:cubicBezTo>
                    <a:cubicBezTo>
                      <a:pt x="66968" y="29911"/>
                      <a:pt x="66427" y="25864"/>
                      <a:pt x="63663" y="23539"/>
                    </a:cubicBezTo>
                    <a:cubicBezTo>
                      <a:pt x="62010" y="22399"/>
                      <a:pt x="59730" y="22057"/>
                      <a:pt x="58590" y="20347"/>
                    </a:cubicBezTo>
                    <a:cubicBezTo>
                      <a:pt x="57889" y="18979"/>
                      <a:pt x="57672" y="17412"/>
                      <a:pt x="57963" y="15901"/>
                    </a:cubicBezTo>
                    <a:cubicBezTo>
                      <a:pt x="57923" y="10493"/>
                      <a:pt x="59405" y="5181"/>
                      <a:pt x="62238" y="570"/>
                    </a:cubicBezTo>
                    <a:cubicBezTo>
                      <a:pt x="62391" y="393"/>
                      <a:pt x="62523" y="205"/>
                      <a:pt x="62637" y="0"/>
                    </a:cubicBezTo>
                    <a:cubicBezTo>
                      <a:pt x="69647" y="456"/>
                      <a:pt x="76828" y="2850"/>
                      <a:pt x="83269" y="912"/>
                    </a:cubicBezTo>
                    <a:cubicBezTo>
                      <a:pt x="83679" y="1716"/>
                      <a:pt x="83947" y="2582"/>
                      <a:pt x="84067" y="3477"/>
                    </a:cubicBezTo>
                    <a:cubicBezTo>
                      <a:pt x="84466" y="6611"/>
                      <a:pt x="84067" y="11114"/>
                      <a:pt x="87030" y="11798"/>
                    </a:cubicBezTo>
                    <a:cubicBezTo>
                      <a:pt x="88250" y="11906"/>
                      <a:pt x="89475" y="11667"/>
                      <a:pt x="90564" y="11114"/>
                    </a:cubicBezTo>
                    <a:cubicBezTo>
                      <a:pt x="95118" y="9729"/>
                      <a:pt x="100059" y="11085"/>
                      <a:pt x="103274" y="14591"/>
                    </a:cubicBezTo>
                    <a:cubicBezTo>
                      <a:pt x="106294" y="18010"/>
                      <a:pt x="107150" y="22855"/>
                      <a:pt x="109885" y="26503"/>
                    </a:cubicBezTo>
                    <a:cubicBezTo>
                      <a:pt x="112621" y="30150"/>
                      <a:pt x="119118" y="31803"/>
                      <a:pt x="121284" y="27756"/>
                    </a:cubicBezTo>
                    <a:cubicBezTo>
                      <a:pt x="118890" y="25078"/>
                      <a:pt x="122481" y="20974"/>
                      <a:pt x="126015" y="20233"/>
                    </a:cubicBezTo>
                    <a:cubicBezTo>
                      <a:pt x="129548" y="19492"/>
                      <a:pt x="133652" y="20233"/>
                      <a:pt x="136217" y="17497"/>
                    </a:cubicBezTo>
                    <a:cubicBezTo>
                      <a:pt x="137414" y="16357"/>
                      <a:pt x="138098" y="14648"/>
                      <a:pt x="139523" y="13736"/>
                    </a:cubicBezTo>
                    <a:cubicBezTo>
                      <a:pt x="142828" y="11627"/>
                      <a:pt x="147844" y="15104"/>
                      <a:pt x="150921" y="12710"/>
                    </a:cubicBezTo>
                    <a:cubicBezTo>
                      <a:pt x="152170" y="11353"/>
                      <a:pt x="153104" y="9735"/>
                      <a:pt x="153657" y="7979"/>
                    </a:cubicBezTo>
                    <a:cubicBezTo>
                      <a:pt x="154512" y="6326"/>
                      <a:pt x="156507" y="4844"/>
                      <a:pt x="158046" y="5870"/>
                    </a:cubicBezTo>
                    <a:cubicBezTo>
                      <a:pt x="158131" y="9797"/>
                      <a:pt x="159294" y="13622"/>
                      <a:pt x="161409" y="16927"/>
                    </a:cubicBezTo>
                    <a:cubicBezTo>
                      <a:pt x="163683" y="20267"/>
                      <a:pt x="167963" y="21590"/>
                      <a:pt x="171725" y="20119"/>
                    </a:cubicBezTo>
                    <a:cubicBezTo>
                      <a:pt x="172124" y="23083"/>
                      <a:pt x="172579" y="25819"/>
                      <a:pt x="172978" y="28896"/>
                    </a:cubicBezTo>
                    <a:cubicBezTo>
                      <a:pt x="173873" y="29899"/>
                      <a:pt x="175076" y="30583"/>
                      <a:pt x="176398" y="30834"/>
                    </a:cubicBezTo>
                    <a:cubicBezTo>
                      <a:pt x="174546" y="35491"/>
                      <a:pt x="174170" y="40603"/>
                      <a:pt x="175315" y="45482"/>
                    </a:cubicBezTo>
                    <a:cubicBezTo>
                      <a:pt x="176763" y="48126"/>
                      <a:pt x="177561" y="51073"/>
                      <a:pt x="177652" y="54088"/>
                    </a:cubicBezTo>
                    <a:cubicBezTo>
                      <a:pt x="177367" y="55855"/>
                      <a:pt x="176341" y="57394"/>
                      <a:pt x="175942" y="59104"/>
                    </a:cubicBezTo>
                    <a:cubicBezTo>
                      <a:pt x="174802" y="63948"/>
                      <a:pt x="178849" y="68280"/>
                      <a:pt x="181072" y="72725"/>
                    </a:cubicBezTo>
                    <a:cubicBezTo>
                      <a:pt x="182747" y="76601"/>
                      <a:pt x="183802" y="80716"/>
                      <a:pt x="184207" y="84922"/>
                    </a:cubicBezTo>
                    <a:cubicBezTo>
                      <a:pt x="185574" y="93927"/>
                      <a:pt x="186885" y="102932"/>
                      <a:pt x="188196" y="111938"/>
                    </a:cubicBezTo>
                    <a:cubicBezTo>
                      <a:pt x="188595" y="114559"/>
                      <a:pt x="189051" y="117181"/>
                      <a:pt x="189621" y="119803"/>
                    </a:cubicBezTo>
                    <a:cubicBezTo>
                      <a:pt x="188772" y="119894"/>
                      <a:pt x="187928" y="120065"/>
                      <a:pt x="187113" y="120316"/>
                    </a:cubicBezTo>
                    <a:cubicBezTo>
                      <a:pt x="184754" y="121353"/>
                      <a:pt x="182548" y="122715"/>
                      <a:pt x="180559" y="124362"/>
                    </a:cubicBezTo>
                    <a:cubicBezTo>
                      <a:pt x="176803" y="126876"/>
                      <a:pt x="172545" y="128529"/>
                      <a:pt x="168077" y="129207"/>
                    </a:cubicBezTo>
                    <a:cubicBezTo>
                      <a:pt x="165170" y="129606"/>
                      <a:pt x="162377" y="129606"/>
                      <a:pt x="159186" y="130233"/>
                    </a:cubicBezTo>
                    <a:cubicBezTo>
                      <a:pt x="153253" y="132074"/>
                      <a:pt x="147804" y="135209"/>
                      <a:pt x="143227" y="139409"/>
                    </a:cubicBezTo>
                    <a:cubicBezTo>
                      <a:pt x="141141" y="140731"/>
                      <a:pt x="139585" y="142749"/>
                      <a:pt x="138839" y="145109"/>
                    </a:cubicBezTo>
                    <a:cubicBezTo>
                      <a:pt x="138765" y="147138"/>
                      <a:pt x="139346" y="149132"/>
                      <a:pt x="140491" y="150808"/>
                    </a:cubicBezTo>
                    <a:cubicBezTo>
                      <a:pt x="144259" y="155436"/>
                      <a:pt x="146841" y="160913"/>
                      <a:pt x="148015" y="166767"/>
                    </a:cubicBezTo>
                    <a:cubicBezTo>
                      <a:pt x="147872" y="168818"/>
                      <a:pt x="147872" y="170870"/>
                      <a:pt x="148015" y="172922"/>
                    </a:cubicBezTo>
                    <a:cubicBezTo>
                      <a:pt x="148699" y="175253"/>
                      <a:pt x="149907" y="177396"/>
                      <a:pt x="151548" y="179191"/>
                    </a:cubicBezTo>
                    <a:cubicBezTo>
                      <a:pt x="154324" y="182839"/>
                      <a:pt x="157539" y="186133"/>
                      <a:pt x="161123" y="188994"/>
                    </a:cubicBezTo>
                    <a:cubicBezTo>
                      <a:pt x="159984" y="190362"/>
                      <a:pt x="158730" y="191787"/>
                      <a:pt x="157476" y="193098"/>
                    </a:cubicBezTo>
                    <a:cubicBezTo>
                      <a:pt x="153885" y="196085"/>
                      <a:pt x="151235" y="200040"/>
                      <a:pt x="149839" y="204497"/>
                    </a:cubicBezTo>
                    <a:cubicBezTo>
                      <a:pt x="149554" y="207398"/>
                      <a:pt x="149554" y="210316"/>
                      <a:pt x="149839" y="213217"/>
                    </a:cubicBezTo>
                    <a:cubicBezTo>
                      <a:pt x="150722" y="217116"/>
                      <a:pt x="148277" y="220991"/>
                      <a:pt x="144378" y="221875"/>
                    </a:cubicBezTo>
                    <a:cubicBezTo>
                      <a:pt x="143797" y="222006"/>
                      <a:pt x="143199" y="222068"/>
                      <a:pt x="142600" y="222051"/>
                    </a:cubicBezTo>
                    <a:cubicBezTo>
                      <a:pt x="135419" y="222678"/>
                      <a:pt x="128238" y="220114"/>
                      <a:pt x="121056" y="220684"/>
                    </a:cubicBezTo>
                    <a:cubicBezTo>
                      <a:pt x="116668" y="221026"/>
                      <a:pt x="112393" y="222507"/>
                      <a:pt x="108005" y="222564"/>
                    </a:cubicBezTo>
                    <a:cubicBezTo>
                      <a:pt x="103222" y="222274"/>
                      <a:pt x="98481" y="221470"/>
                      <a:pt x="93870" y="220171"/>
                    </a:cubicBezTo>
                    <a:cubicBezTo>
                      <a:pt x="88917" y="219390"/>
                      <a:pt x="83850" y="220552"/>
                      <a:pt x="79735" y="223419"/>
                    </a:cubicBezTo>
                    <a:cubicBezTo>
                      <a:pt x="72064" y="224377"/>
                      <a:pt x="64278" y="223619"/>
                      <a:pt x="56937" y="221197"/>
                    </a:cubicBezTo>
                    <a:cubicBezTo>
                      <a:pt x="54646" y="219891"/>
                      <a:pt x="52098" y="219116"/>
                      <a:pt x="49471" y="218917"/>
                    </a:cubicBezTo>
                    <a:cubicBezTo>
                      <a:pt x="46576" y="219584"/>
                      <a:pt x="43846" y="220826"/>
                      <a:pt x="41434" y="222564"/>
                    </a:cubicBezTo>
                    <a:cubicBezTo>
                      <a:pt x="38756" y="223932"/>
                      <a:pt x="34880" y="224217"/>
                      <a:pt x="33398" y="221652"/>
                    </a:cubicBezTo>
                    <a:cubicBezTo>
                      <a:pt x="32811" y="220513"/>
                      <a:pt x="32555" y="219230"/>
                      <a:pt x="32657" y="217948"/>
                    </a:cubicBezTo>
                    <a:cubicBezTo>
                      <a:pt x="31814" y="210464"/>
                      <a:pt x="33353" y="202907"/>
                      <a:pt x="37046" y="196347"/>
                    </a:cubicBezTo>
                    <a:cubicBezTo>
                      <a:pt x="38887" y="194312"/>
                      <a:pt x="40494" y="192072"/>
                      <a:pt x="41833" y="189678"/>
                    </a:cubicBezTo>
                    <a:cubicBezTo>
                      <a:pt x="43008" y="187136"/>
                      <a:pt x="42164" y="184116"/>
                      <a:pt x="39839" y="182554"/>
                    </a:cubicBezTo>
                    <a:cubicBezTo>
                      <a:pt x="38294" y="182303"/>
                      <a:pt x="36733" y="182172"/>
                      <a:pt x="35165" y="182155"/>
                    </a:cubicBezTo>
                    <a:cubicBezTo>
                      <a:pt x="33387" y="181608"/>
                      <a:pt x="31751" y="180673"/>
                      <a:pt x="30378" y="179419"/>
                    </a:cubicBezTo>
                    <a:cubicBezTo>
                      <a:pt x="22615" y="175122"/>
                      <a:pt x="13730" y="173292"/>
                      <a:pt x="4901" y="174176"/>
                    </a:cubicBezTo>
                    <a:cubicBezTo>
                      <a:pt x="-798" y="164373"/>
                      <a:pt x="9518" y="151891"/>
                      <a:pt x="6041" y="141233"/>
                    </a:cubicBezTo>
                    <a:cubicBezTo>
                      <a:pt x="5231" y="138964"/>
                      <a:pt x="4263" y="136753"/>
                      <a:pt x="3134" y="134622"/>
                    </a:cubicBezTo>
                    <a:cubicBezTo>
                      <a:pt x="-1488" y="125234"/>
                      <a:pt x="-969" y="114132"/>
                      <a:pt x="4502" y="105212"/>
                    </a:cubicBezTo>
                    <a:cubicBezTo>
                      <a:pt x="5933" y="103423"/>
                      <a:pt x="6890" y="101308"/>
                      <a:pt x="7295" y="99057"/>
                    </a:cubicBezTo>
                    <a:cubicBezTo>
                      <a:pt x="7295" y="98145"/>
                      <a:pt x="7295" y="97290"/>
                      <a:pt x="7295" y="96378"/>
                    </a:cubicBezTo>
                    <a:cubicBezTo>
                      <a:pt x="7637" y="92958"/>
                      <a:pt x="11398" y="91135"/>
                      <a:pt x="14590" y="89767"/>
                    </a:cubicBezTo>
                    <a:cubicBezTo>
                      <a:pt x="17782" y="88399"/>
                      <a:pt x="21486" y="86005"/>
                      <a:pt x="21031" y="82585"/>
                    </a:cubicBezTo>
                    <a:cubicBezTo>
                      <a:pt x="20575" y="79166"/>
                      <a:pt x="17041" y="77513"/>
                      <a:pt x="16756" y="74435"/>
                    </a:cubicBezTo>
                    <a:cubicBezTo>
                      <a:pt x="16357" y="70445"/>
                      <a:pt x="21315" y="68337"/>
                      <a:pt x="23253" y="64917"/>
                    </a:cubicBezTo>
                    <a:cubicBezTo>
                      <a:pt x="24707" y="60979"/>
                      <a:pt x="24707" y="56658"/>
                      <a:pt x="23253" y="52720"/>
                    </a:cubicBezTo>
                    <a:cubicBezTo>
                      <a:pt x="22700" y="50588"/>
                      <a:pt x="22324" y="48417"/>
                      <a:pt x="22113" y="46223"/>
                    </a:cubicBez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54" name="Freihandform: Form 748">
                <a:extLst>
                  <a:ext uri="{FF2B5EF4-FFF2-40B4-BE49-F238E27FC236}">
                    <a16:creationId xmlns:a16="http://schemas.microsoft.com/office/drawing/2014/main" id="{A385ACE4-637B-B2B3-73B9-0B9323810D37}"/>
                  </a:ext>
                </a:extLst>
              </p:cNvPr>
              <p:cNvSpPr/>
              <p:nvPr/>
            </p:nvSpPr>
            <p:spPr>
              <a:xfrm>
                <a:off x="3856381" y="2849946"/>
                <a:ext cx="74442" cy="79841"/>
              </a:xfrm>
              <a:custGeom>
                <a:avLst/>
                <a:gdLst>
                  <a:gd name="connsiteX0" fmla="*/ 0 w 74442"/>
                  <a:gd name="connsiteY0" fmla="*/ 58696 h 79841"/>
                  <a:gd name="connsiteX1" fmla="*/ 8093 w 74442"/>
                  <a:gd name="connsiteY1" fmla="*/ 56815 h 79841"/>
                  <a:gd name="connsiteX2" fmla="*/ 8093 w 74442"/>
                  <a:gd name="connsiteY2" fmla="*/ 48608 h 79841"/>
                  <a:gd name="connsiteX3" fmla="*/ 15474 w 74442"/>
                  <a:gd name="connsiteY3" fmla="*/ 44305 h 79841"/>
                  <a:gd name="connsiteX4" fmla="*/ 15674 w 74442"/>
                  <a:gd name="connsiteY4" fmla="*/ 42909 h 79841"/>
                  <a:gd name="connsiteX5" fmla="*/ 15046 w 74442"/>
                  <a:gd name="connsiteY5" fmla="*/ 37779 h 79841"/>
                  <a:gd name="connsiteX6" fmla="*/ 24223 w 74442"/>
                  <a:gd name="connsiteY6" fmla="*/ 33391 h 79841"/>
                  <a:gd name="connsiteX7" fmla="*/ 22513 w 74442"/>
                  <a:gd name="connsiteY7" fmla="*/ 24271 h 79841"/>
                  <a:gd name="connsiteX8" fmla="*/ 31632 w 74442"/>
                  <a:gd name="connsiteY8" fmla="*/ 22391 h 79841"/>
                  <a:gd name="connsiteX9" fmla="*/ 34425 w 74442"/>
                  <a:gd name="connsiteY9" fmla="*/ 22391 h 79841"/>
                  <a:gd name="connsiteX10" fmla="*/ 37274 w 74442"/>
                  <a:gd name="connsiteY10" fmla="*/ 10080 h 79841"/>
                  <a:gd name="connsiteX11" fmla="*/ 40124 w 74442"/>
                  <a:gd name="connsiteY11" fmla="*/ 8541 h 79841"/>
                  <a:gd name="connsiteX12" fmla="*/ 61953 w 74442"/>
                  <a:gd name="connsiteY12" fmla="*/ 3810 h 79841"/>
                  <a:gd name="connsiteX13" fmla="*/ 66342 w 74442"/>
                  <a:gd name="connsiteY13" fmla="*/ 106 h 79841"/>
                  <a:gd name="connsiteX14" fmla="*/ 72668 w 74442"/>
                  <a:gd name="connsiteY14" fmla="*/ 2499 h 79841"/>
                  <a:gd name="connsiteX15" fmla="*/ 73352 w 74442"/>
                  <a:gd name="connsiteY15" fmla="*/ 8997 h 79841"/>
                  <a:gd name="connsiteX16" fmla="*/ 73352 w 74442"/>
                  <a:gd name="connsiteY16" fmla="*/ 21194 h 79841"/>
                  <a:gd name="connsiteX17" fmla="*/ 66855 w 74442"/>
                  <a:gd name="connsiteY17" fmla="*/ 30712 h 79841"/>
                  <a:gd name="connsiteX18" fmla="*/ 71129 w 74442"/>
                  <a:gd name="connsiteY18" fmla="*/ 38862 h 79841"/>
                  <a:gd name="connsiteX19" fmla="*/ 64689 w 74442"/>
                  <a:gd name="connsiteY19" fmla="*/ 46043 h 79841"/>
                  <a:gd name="connsiteX20" fmla="*/ 57394 w 74442"/>
                  <a:gd name="connsiteY20" fmla="*/ 52655 h 79841"/>
                  <a:gd name="connsiteX21" fmla="*/ 57394 w 74442"/>
                  <a:gd name="connsiteY21" fmla="*/ 55334 h 79841"/>
                  <a:gd name="connsiteX22" fmla="*/ 54601 w 74442"/>
                  <a:gd name="connsiteY22" fmla="*/ 61489 h 79841"/>
                  <a:gd name="connsiteX23" fmla="*/ 50212 w 74442"/>
                  <a:gd name="connsiteY23" fmla="*/ 79841 h 79841"/>
                  <a:gd name="connsiteX24" fmla="*/ 46565 w 74442"/>
                  <a:gd name="connsiteY24" fmla="*/ 77847 h 79841"/>
                  <a:gd name="connsiteX25" fmla="*/ 39611 w 74442"/>
                  <a:gd name="connsiteY25" fmla="*/ 73743 h 79841"/>
                  <a:gd name="connsiteX26" fmla="*/ 29808 w 74442"/>
                  <a:gd name="connsiteY26" fmla="*/ 67075 h 79841"/>
                  <a:gd name="connsiteX27" fmla="*/ 22969 w 74442"/>
                  <a:gd name="connsiteY27" fmla="*/ 62173 h 79841"/>
                  <a:gd name="connsiteX28" fmla="*/ 20176 w 74442"/>
                  <a:gd name="connsiteY28" fmla="*/ 61717 h 79841"/>
                  <a:gd name="connsiteX29" fmla="*/ 12482 w 74442"/>
                  <a:gd name="connsiteY29" fmla="*/ 58297 h 79841"/>
                  <a:gd name="connsiteX30" fmla="*/ 0 w 74442"/>
                  <a:gd name="connsiteY30" fmla="*/ 58696 h 7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4442" h="79841">
                    <a:moveTo>
                      <a:pt x="0" y="58696"/>
                    </a:moveTo>
                    <a:cubicBezTo>
                      <a:pt x="2183" y="56690"/>
                      <a:pt x="5255" y="55978"/>
                      <a:pt x="8093" y="56815"/>
                    </a:cubicBezTo>
                    <a:cubicBezTo>
                      <a:pt x="8093" y="54080"/>
                      <a:pt x="8093" y="51116"/>
                      <a:pt x="8093" y="48608"/>
                    </a:cubicBezTo>
                    <a:cubicBezTo>
                      <a:pt x="11319" y="49457"/>
                      <a:pt x="14625" y="47531"/>
                      <a:pt x="15474" y="44305"/>
                    </a:cubicBezTo>
                    <a:cubicBezTo>
                      <a:pt x="15594" y="43849"/>
                      <a:pt x="15662" y="43382"/>
                      <a:pt x="15674" y="42909"/>
                    </a:cubicBezTo>
                    <a:cubicBezTo>
                      <a:pt x="15297" y="41222"/>
                      <a:pt x="15092" y="39506"/>
                      <a:pt x="15046" y="37779"/>
                    </a:cubicBezTo>
                    <a:cubicBezTo>
                      <a:pt x="15674" y="34132"/>
                      <a:pt x="20746" y="33334"/>
                      <a:pt x="24223" y="33391"/>
                    </a:cubicBezTo>
                    <a:lnTo>
                      <a:pt x="22513" y="24271"/>
                    </a:lnTo>
                    <a:cubicBezTo>
                      <a:pt x="25328" y="22830"/>
                      <a:pt x="28480" y="22180"/>
                      <a:pt x="31632" y="22391"/>
                    </a:cubicBezTo>
                    <a:cubicBezTo>
                      <a:pt x="32550" y="22590"/>
                      <a:pt x="33507" y="22590"/>
                      <a:pt x="34425" y="22391"/>
                    </a:cubicBezTo>
                    <a:cubicBezTo>
                      <a:pt x="38642" y="20852"/>
                      <a:pt x="34425" y="13499"/>
                      <a:pt x="37274" y="10080"/>
                    </a:cubicBezTo>
                    <a:cubicBezTo>
                      <a:pt x="38072" y="9327"/>
                      <a:pt x="39058" y="8797"/>
                      <a:pt x="40124" y="8541"/>
                    </a:cubicBezTo>
                    <a:cubicBezTo>
                      <a:pt x="47363" y="6432"/>
                      <a:pt x="56368" y="8997"/>
                      <a:pt x="61953" y="3810"/>
                    </a:cubicBezTo>
                    <a:cubicBezTo>
                      <a:pt x="63378" y="2499"/>
                      <a:pt x="64518" y="733"/>
                      <a:pt x="66342" y="106"/>
                    </a:cubicBezTo>
                    <a:cubicBezTo>
                      <a:pt x="68730" y="-327"/>
                      <a:pt x="71163" y="590"/>
                      <a:pt x="72668" y="2499"/>
                    </a:cubicBezTo>
                    <a:cubicBezTo>
                      <a:pt x="72725" y="4682"/>
                      <a:pt x="72953" y="6854"/>
                      <a:pt x="73352" y="8997"/>
                    </a:cubicBezTo>
                    <a:cubicBezTo>
                      <a:pt x="74806" y="12935"/>
                      <a:pt x="74806" y="17255"/>
                      <a:pt x="73352" y="21194"/>
                    </a:cubicBezTo>
                    <a:cubicBezTo>
                      <a:pt x="71414" y="24613"/>
                      <a:pt x="66456" y="26893"/>
                      <a:pt x="66855" y="30712"/>
                    </a:cubicBezTo>
                    <a:cubicBezTo>
                      <a:pt x="66855" y="33790"/>
                      <a:pt x="70787" y="35784"/>
                      <a:pt x="71129" y="38862"/>
                    </a:cubicBezTo>
                    <a:cubicBezTo>
                      <a:pt x="71471" y="41940"/>
                      <a:pt x="67881" y="44562"/>
                      <a:pt x="64689" y="46043"/>
                    </a:cubicBezTo>
                    <a:cubicBezTo>
                      <a:pt x="61497" y="47525"/>
                      <a:pt x="57736" y="49235"/>
                      <a:pt x="57394" y="52655"/>
                    </a:cubicBezTo>
                    <a:cubicBezTo>
                      <a:pt x="57394" y="53567"/>
                      <a:pt x="57394" y="54422"/>
                      <a:pt x="57394" y="55334"/>
                    </a:cubicBezTo>
                    <a:cubicBezTo>
                      <a:pt x="56989" y="57585"/>
                      <a:pt x="56031" y="59699"/>
                      <a:pt x="54601" y="61489"/>
                    </a:cubicBezTo>
                    <a:cubicBezTo>
                      <a:pt x="51204" y="66978"/>
                      <a:pt x="49665" y="73412"/>
                      <a:pt x="50212" y="79841"/>
                    </a:cubicBezTo>
                    <a:cubicBezTo>
                      <a:pt x="48958" y="79214"/>
                      <a:pt x="47762" y="78530"/>
                      <a:pt x="46565" y="77847"/>
                    </a:cubicBezTo>
                    <a:lnTo>
                      <a:pt x="39611" y="73743"/>
                    </a:lnTo>
                    <a:cubicBezTo>
                      <a:pt x="36112" y="71879"/>
                      <a:pt x="32829" y="69645"/>
                      <a:pt x="29808" y="67075"/>
                    </a:cubicBezTo>
                    <a:cubicBezTo>
                      <a:pt x="27984" y="64886"/>
                      <a:pt x="25631" y="63199"/>
                      <a:pt x="22969" y="62173"/>
                    </a:cubicBezTo>
                    <a:cubicBezTo>
                      <a:pt x="22057" y="62173"/>
                      <a:pt x="21088" y="61888"/>
                      <a:pt x="20176" y="61717"/>
                    </a:cubicBezTo>
                    <a:cubicBezTo>
                      <a:pt x="17520" y="60799"/>
                      <a:pt x="14944" y="59659"/>
                      <a:pt x="12482" y="58297"/>
                    </a:cubicBezTo>
                    <a:cubicBezTo>
                      <a:pt x="8367" y="57266"/>
                      <a:pt x="4041" y="57402"/>
                      <a:pt x="0" y="58696"/>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5" name="Freihandform: Form 749">
                <a:extLst>
                  <a:ext uri="{FF2B5EF4-FFF2-40B4-BE49-F238E27FC236}">
                    <a16:creationId xmlns:a16="http://schemas.microsoft.com/office/drawing/2014/main" id="{043E3774-1355-5DD3-5A5B-E3C6AF4CB7EE}"/>
                  </a:ext>
                </a:extLst>
              </p:cNvPr>
              <p:cNvSpPr/>
              <p:nvPr/>
            </p:nvSpPr>
            <p:spPr>
              <a:xfrm>
                <a:off x="3832443" y="2907419"/>
                <a:ext cx="81697" cy="69217"/>
              </a:xfrm>
              <a:custGeom>
                <a:avLst/>
                <a:gdLst>
                  <a:gd name="connsiteX0" fmla="*/ 61953 w 81697"/>
                  <a:gd name="connsiteY0" fmla="*/ 69218 h 69217"/>
                  <a:gd name="connsiteX1" fmla="*/ 57565 w 81697"/>
                  <a:gd name="connsiteY1" fmla="*/ 66254 h 69217"/>
                  <a:gd name="connsiteX2" fmla="*/ 44627 w 81697"/>
                  <a:gd name="connsiteY2" fmla="*/ 61011 h 69217"/>
                  <a:gd name="connsiteX3" fmla="*/ 38928 w 81697"/>
                  <a:gd name="connsiteY3" fmla="*/ 54456 h 69217"/>
                  <a:gd name="connsiteX4" fmla="*/ 25648 w 81697"/>
                  <a:gd name="connsiteY4" fmla="*/ 47674 h 69217"/>
                  <a:gd name="connsiteX5" fmla="*/ 19606 w 81697"/>
                  <a:gd name="connsiteY5" fmla="*/ 39524 h 69217"/>
                  <a:gd name="connsiteX6" fmla="*/ 4161 w 81697"/>
                  <a:gd name="connsiteY6" fmla="*/ 31089 h 69217"/>
                  <a:gd name="connsiteX7" fmla="*/ 627 w 81697"/>
                  <a:gd name="connsiteY7" fmla="*/ 21969 h 69217"/>
                  <a:gd name="connsiteX8" fmla="*/ 0 w 81697"/>
                  <a:gd name="connsiteY8" fmla="*/ 21171 h 69217"/>
                  <a:gd name="connsiteX9" fmla="*/ 4674 w 81697"/>
                  <a:gd name="connsiteY9" fmla="*/ 21171 h 69217"/>
                  <a:gd name="connsiteX10" fmla="*/ 7238 w 81697"/>
                  <a:gd name="connsiteY10" fmla="*/ 13591 h 69217"/>
                  <a:gd name="connsiteX11" fmla="*/ 17098 w 81697"/>
                  <a:gd name="connsiteY11" fmla="*/ 13249 h 69217"/>
                  <a:gd name="connsiteX12" fmla="*/ 19549 w 81697"/>
                  <a:gd name="connsiteY12" fmla="*/ 12451 h 69217"/>
                  <a:gd name="connsiteX13" fmla="*/ 20860 w 81697"/>
                  <a:gd name="connsiteY13" fmla="*/ 6752 h 69217"/>
                  <a:gd name="connsiteX14" fmla="*/ 24052 w 81697"/>
                  <a:gd name="connsiteY14" fmla="*/ 1052 h 69217"/>
                  <a:gd name="connsiteX15" fmla="*/ 36762 w 81697"/>
                  <a:gd name="connsiteY15" fmla="*/ 767 h 69217"/>
                  <a:gd name="connsiteX16" fmla="*/ 44456 w 81697"/>
                  <a:gd name="connsiteY16" fmla="*/ 4187 h 69217"/>
                  <a:gd name="connsiteX17" fmla="*/ 47249 w 81697"/>
                  <a:gd name="connsiteY17" fmla="*/ 4643 h 69217"/>
                  <a:gd name="connsiteX18" fmla="*/ 54088 w 81697"/>
                  <a:gd name="connsiteY18" fmla="*/ 9544 h 69217"/>
                  <a:gd name="connsiteX19" fmla="*/ 63891 w 81697"/>
                  <a:gd name="connsiteY19" fmla="*/ 16213 h 69217"/>
                  <a:gd name="connsiteX20" fmla="*/ 70844 w 81697"/>
                  <a:gd name="connsiteY20" fmla="*/ 20316 h 69217"/>
                  <a:gd name="connsiteX21" fmla="*/ 74492 w 81697"/>
                  <a:gd name="connsiteY21" fmla="*/ 22311 h 69217"/>
                  <a:gd name="connsiteX22" fmla="*/ 77627 w 81697"/>
                  <a:gd name="connsiteY22" fmla="*/ 33539 h 69217"/>
                  <a:gd name="connsiteX23" fmla="*/ 80990 w 81697"/>
                  <a:gd name="connsiteY23" fmla="*/ 40322 h 69217"/>
                  <a:gd name="connsiteX24" fmla="*/ 81445 w 81697"/>
                  <a:gd name="connsiteY24" fmla="*/ 48586 h 69217"/>
                  <a:gd name="connsiteX25" fmla="*/ 71813 w 81697"/>
                  <a:gd name="connsiteY25" fmla="*/ 50353 h 69217"/>
                  <a:gd name="connsiteX26" fmla="*/ 61953 w 81697"/>
                  <a:gd name="connsiteY26" fmla="*/ 69218 h 6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697" h="69217">
                    <a:moveTo>
                      <a:pt x="61953" y="69218"/>
                    </a:moveTo>
                    <a:cubicBezTo>
                      <a:pt x="60471" y="68306"/>
                      <a:pt x="59104" y="67109"/>
                      <a:pt x="57565" y="66254"/>
                    </a:cubicBezTo>
                    <a:cubicBezTo>
                      <a:pt x="53518" y="63917"/>
                      <a:pt x="48274" y="63974"/>
                      <a:pt x="44627" y="61011"/>
                    </a:cubicBezTo>
                    <a:cubicBezTo>
                      <a:pt x="42404" y="59187"/>
                      <a:pt x="41036" y="56394"/>
                      <a:pt x="38928" y="54456"/>
                    </a:cubicBezTo>
                    <a:cubicBezTo>
                      <a:pt x="35109" y="51208"/>
                      <a:pt x="29295" y="51094"/>
                      <a:pt x="25648" y="47674"/>
                    </a:cubicBezTo>
                    <a:cubicBezTo>
                      <a:pt x="23140" y="45337"/>
                      <a:pt x="22114" y="41974"/>
                      <a:pt x="19606" y="39524"/>
                    </a:cubicBezTo>
                    <a:cubicBezTo>
                      <a:pt x="15275" y="35477"/>
                      <a:pt x="7580" y="35933"/>
                      <a:pt x="4161" y="31089"/>
                    </a:cubicBezTo>
                    <a:cubicBezTo>
                      <a:pt x="2223" y="28410"/>
                      <a:pt x="2223" y="24819"/>
                      <a:pt x="627" y="21969"/>
                    </a:cubicBezTo>
                    <a:cubicBezTo>
                      <a:pt x="627" y="21684"/>
                      <a:pt x="171" y="21456"/>
                      <a:pt x="0" y="21171"/>
                    </a:cubicBezTo>
                    <a:lnTo>
                      <a:pt x="4674" y="21171"/>
                    </a:lnTo>
                    <a:cubicBezTo>
                      <a:pt x="1995" y="19234"/>
                      <a:pt x="4047" y="14560"/>
                      <a:pt x="7238" y="13591"/>
                    </a:cubicBezTo>
                    <a:cubicBezTo>
                      <a:pt x="10504" y="13107"/>
                      <a:pt x="13810" y="12987"/>
                      <a:pt x="17098" y="13249"/>
                    </a:cubicBezTo>
                    <a:cubicBezTo>
                      <a:pt x="17976" y="13226"/>
                      <a:pt x="18825" y="12953"/>
                      <a:pt x="19549" y="12451"/>
                    </a:cubicBezTo>
                    <a:cubicBezTo>
                      <a:pt x="21088" y="11140"/>
                      <a:pt x="20689" y="8746"/>
                      <a:pt x="20860" y="6752"/>
                    </a:cubicBezTo>
                    <a:cubicBezTo>
                      <a:pt x="21082" y="4489"/>
                      <a:pt x="22239" y="2426"/>
                      <a:pt x="24052" y="1052"/>
                    </a:cubicBezTo>
                    <a:cubicBezTo>
                      <a:pt x="28178" y="-247"/>
                      <a:pt x="32584" y="-344"/>
                      <a:pt x="36762" y="767"/>
                    </a:cubicBezTo>
                    <a:cubicBezTo>
                      <a:pt x="39224" y="2129"/>
                      <a:pt x="41800" y="3269"/>
                      <a:pt x="44456" y="4187"/>
                    </a:cubicBezTo>
                    <a:cubicBezTo>
                      <a:pt x="45368" y="4187"/>
                      <a:pt x="46337" y="4187"/>
                      <a:pt x="47249" y="4643"/>
                    </a:cubicBezTo>
                    <a:cubicBezTo>
                      <a:pt x="49910" y="5669"/>
                      <a:pt x="52264" y="7356"/>
                      <a:pt x="54088" y="9544"/>
                    </a:cubicBezTo>
                    <a:cubicBezTo>
                      <a:pt x="57103" y="12115"/>
                      <a:pt x="60392" y="14349"/>
                      <a:pt x="63891" y="16213"/>
                    </a:cubicBezTo>
                    <a:lnTo>
                      <a:pt x="70844" y="20316"/>
                    </a:lnTo>
                    <a:cubicBezTo>
                      <a:pt x="72041" y="21000"/>
                      <a:pt x="73238" y="21684"/>
                      <a:pt x="74492" y="22311"/>
                    </a:cubicBezTo>
                    <a:cubicBezTo>
                      <a:pt x="74772" y="26227"/>
                      <a:pt x="75837" y="30045"/>
                      <a:pt x="77627" y="33539"/>
                    </a:cubicBezTo>
                    <a:cubicBezTo>
                      <a:pt x="78915" y="35711"/>
                      <a:pt x="80043" y="37979"/>
                      <a:pt x="80990" y="40322"/>
                    </a:cubicBezTo>
                    <a:cubicBezTo>
                      <a:pt x="81742" y="43012"/>
                      <a:pt x="81896" y="45833"/>
                      <a:pt x="81445" y="48586"/>
                    </a:cubicBezTo>
                    <a:cubicBezTo>
                      <a:pt x="78140" y="48421"/>
                      <a:pt x="74846" y="49025"/>
                      <a:pt x="71813" y="50353"/>
                    </a:cubicBezTo>
                    <a:cubicBezTo>
                      <a:pt x="64712" y="53761"/>
                      <a:pt x="60700" y="61438"/>
                      <a:pt x="61953" y="69218"/>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6" name="Freihandform: Form 750">
                <a:extLst>
                  <a:ext uri="{FF2B5EF4-FFF2-40B4-BE49-F238E27FC236}">
                    <a16:creationId xmlns:a16="http://schemas.microsoft.com/office/drawing/2014/main" id="{D20062A1-96C9-4544-DAC3-E472E52A7969}"/>
                  </a:ext>
                </a:extLst>
              </p:cNvPr>
              <p:cNvSpPr/>
              <p:nvPr/>
            </p:nvSpPr>
            <p:spPr>
              <a:xfrm>
                <a:off x="3894151" y="2955964"/>
                <a:ext cx="19509" cy="22418"/>
              </a:xfrm>
              <a:custGeom>
                <a:avLst/>
                <a:gdLst>
                  <a:gd name="connsiteX0" fmla="*/ 19510 w 19509"/>
                  <a:gd name="connsiteY0" fmla="*/ 41 h 22418"/>
                  <a:gd name="connsiteX1" fmla="*/ 16318 w 19509"/>
                  <a:gd name="connsiteY1" fmla="*/ 19419 h 22418"/>
                  <a:gd name="connsiteX2" fmla="*/ 13183 w 19509"/>
                  <a:gd name="connsiteY2" fmla="*/ 21072 h 22418"/>
                  <a:gd name="connsiteX3" fmla="*/ 1043 w 19509"/>
                  <a:gd name="connsiteY3" fmla="*/ 21072 h 22418"/>
                  <a:gd name="connsiteX4" fmla="*/ 245 w 19509"/>
                  <a:gd name="connsiteY4" fmla="*/ 20559 h 22418"/>
                  <a:gd name="connsiteX5" fmla="*/ 9878 w 19509"/>
                  <a:gd name="connsiteY5" fmla="*/ 1694 h 22418"/>
                  <a:gd name="connsiteX6" fmla="*/ 19510 w 19509"/>
                  <a:gd name="connsiteY6" fmla="*/ 41 h 2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9" h="22418">
                    <a:moveTo>
                      <a:pt x="19510" y="41"/>
                    </a:moveTo>
                    <a:cubicBezTo>
                      <a:pt x="17794" y="6373"/>
                      <a:pt x="16723" y="12870"/>
                      <a:pt x="16318" y="19419"/>
                    </a:cubicBezTo>
                    <a:cubicBezTo>
                      <a:pt x="15321" y="20057"/>
                      <a:pt x="14272" y="20610"/>
                      <a:pt x="13183" y="21072"/>
                    </a:cubicBezTo>
                    <a:cubicBezTo>
                      <a:pt x="9336" y="22867"/>
                      <a:pt x="4891" y="22867"/>
                      <a:pt x="1043" y="21072"/>
                    </a:cubicBezTo>
                    <a:cubicBezTo>
                      <a:pt x="764" y="20924"/>
                      <a:pt x="496" y="20747"/>
                      <a:pt x="245" y="20559"/>
                    </a:cubicBezTo>
                    <a:cubicBezTo>
                      <a:pt x="-1048" y="12836"/>
                      <a:pt x="2861" y="5176"/>
                      <a:pt x="9878" y="1694"/>
                    </a:cubicBezTo>
                    <a:cubicBezTo>
                      <a:pt x="12915" y="406"/>
                      <a:pt x="16215" y="-164"/>
                      <a:pt x="19510" y="4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7" name="Freihandform: Form 751">
                <a:extLst>
                  <a:ext uri="{FF2B5EF4-FFF2-40B4-BE49-F238E27FC236}">
                    <a16:creationId xmlns:a16="http://schemas.microsoft.com/office/drawing/2014/main" id="{878B1E4A-5F89-562F-8D68-6F57B7A63DB6}"/>
                  </a:ext>
                </a:extLst>
              </p:cNvPr>
              <p:cNvSpPr/>
              <p:nvPr/>
            </p:nvSpPr>
            <p:spPr>
              <a:xfrm>
                <a:off x="3668462" y="2928377"/>
                <a:ext cx="315271" cy="284421"/>
              </a:xfrm>
              <a:custGeom>
                <a:avLst/>
                <a:gdLst>
                  <a:gd name="connsiteX0" fmla="*/ 311199 w 315271"/>
                  <a:gd name="connsiteY0" fmla="*/ 281026 h 284421"/>
                  <a:gd name="connsiteX1" fmla="*/ 305841 w 315271"/>
                  <a:gd name="connsiteY1" fmla="*/ 283762 h 284421"/>
                  <a:gd name="connsiteX2" fmla="*/ 294248 w 315271"/>
                  <a:gd name="connsiteY2" fmla="*/ 278889 h 284421"/>
                  <a:gd name="connsiteX3" fmla="*/ 294442 w 315271"/>
                  <a:gd name="connsiteY3" fmla="*/ 271736 h 284421"/>
                  <a:gd name="connsiteX4" fmla="*/ 289654 w 315271"/>
                  <a:gd name="connsiteY4" fmla="*/ 265068 h 284421"/>
                  <a:gd name="connsiteX5" fmla="*/ 291649 w 315271"/>
                  <a:gd name="connsiteY5" fmla="*/ 257487 h 284421"/>
                  <a:gd name="connsiteX6" fmla="*/ 295753 w 315271"/>
                  <a:gd name="connsiteY6" fmla="*/ 255264 h 284421"/>
                  <a:gd name="connsiteX7" fmla="*/ 297748 w 315271"/>
                  <a:gd name="connsiteY7" fmla="*/ 249565 h 284421"/>
                  <a:gd name="connsiteX8" fmla="*/ 305955 w 315271"/>
                  <a:gd name="connsiteY8" fmla="*/ 246658 h 284421"/>
                  <a:gd name="connsiteX9" fmla="*/ 311654 w 315271"/>
                  <a:gd name="connsiteY9" fmla="*/ 240617 h 284421"/>
                  <a:gd name="connsiteX10" fmla="*/ 314162 w 315271"/>
                  <a:gd name="connsiteY10" fmla="*/ 242441 h 284421"/>
                  <a:gd name="connsiteX11" fmla="*/ 312908 w 315271"/>
                  <a:gd name="connsiteY11" fmla="*/ 262845 h 284421"/>
                  <a:gd name="connsiteX12" fmla="*/ 312167 w 315271"/>
                  <a:gd name="connsiteY12" fmla="*/ 274985 h 284421"/>
                  <a:gd name="connsiteX13" fmla="*/ 311199 w 315271"/>
                  <a:gd name="connsiteY13" fmla="*/ 277493 h 284421"/>
                  <a:gd name="connsiteX14" fmla="*/ 311199 w 315271"/>
                  <a:gd name="connsiteY14" fmla="*/ 281026 h 284421"/>
                  <a:gd name="connsiteX15" fmla="*/ 254147 w 315271"/>
                  <a:gd name="connsiteY15" fmla="*/ 194964 h 284421"/>
                  <a:gd name="connsiteX16" fmla="*/ 262696 w 315271"/>
                  <a:gd name="connsiteY16" fmla="*/ 166467 h 284421"/>
                  <a:gd name="connsiteX17" fmla="*/ 252437 w 315271"/>
                  <a:gd name="connsiteY17" fmla="*/ 145379 h 284421"/>
                  <a:gd name="connsiteX18" fmla="*/ 249131 w 315271"/>
                  <a:gd name="connsiteY18" fmla="*/ 142301 h 284421"/>
                  <a:gd name="connsiteX19" fmla="*/ 241893 w 315271"/>
                  <a:gd name="connsiteY19" fmla="*/ 139280 h 284421"/>
                  <a:gd name="connsiteX20" fmla="*/ 245997 w 315271"/>
                  <a:gd name="connsiteY20" fmla="*/ 127881 h 284421"/>
                  <a:gd name="connsiteX21" fmla="*/ 256483 w 315271"/>
                  <a:gd name="connsiteY21" fmla="*/ 119332 h 284421"/>
                  <a:gd name="connsiteX22" fmla="*/ 257566 w 315271"/>
                  <a:gd name="connsiteY22" fmla="*/ 112322 h 284421"/>
                  <a:gd name="connsiteX23" fmla="*/ 264406 w 315271"/>
                  <a:gd name="connsiteY23" fmla="*/ 105710 h 284421"/>
                  <a:gd name="connsiteX24" fmla="*/ 272385 w 315271"/>
                  <a:gd name="connsiteY24" fmla="*/ 100011 h 284421"/>
                  <a:gd name="connsiteX25" fmla="*/ 272385 w 315271"/>
                  <a:gd name="connsiteY25" fmla="*/ 99726 h 284421"/>
                  <a:gd name="connsiteX26" fmla="*/ 271644 w 315271"/>
                  <a:gd name="connsiteY26" fmla="*/ 96021 h 284421"/>
                  <a:gd name="connsiteX27" fmla="*/ 276033 w 315271"/>
                  <a:gd name="connsiteY27" fmla="*/ 74420 h 284421"/>
                  <a:gd name="connsiteX28" fmla="*/ 280820 w 315271"/>
                  <a:gd name="connsiteY28" fmla="*/ 67752 h 284421"/>
                  <a:gd name="connsiteX29" fmla="*/ 278826 w 315271"/>
                  <a:gd name="connsiteY29" fmla="*/ 60628 h 284421"/>
                  <a:gd name="connsiteX30" fmla="*/ 274152 w 315271"/>
                  <a:gd name="connsiteY30" fmla="*/ 60229 h 284421"/>
                  <a:gd name="connsiteX31" fmla="*/ 269364 w 315271"/>
                  <a:gd name="connsiteY31" fmla="*/ 57493 h 284421"/>
                  <a:gd name="connsiteX32" fmla="*/ 243888 w 315271"/>
                  <a:gd name="connsiteY32" fmla="*/ 52249 h 284421"/>
                  <a:gd name="connsiteX33" fmla="*/ 242292 w 315271"/>
                  <a:gd name="connsiteY33" fmla="*/ 46949 h 284421"/>
                  <a:gd name="connsiteX34" fmla="*/ 239157 w 315271"/>
                  <a:gd name="connsiteY34" fmla="*/ 48602 h 284421"/>
                  <a:gd name="connsiteX35" fmla="*/ 227017 w 315271"/>
                  <a:gd name="connsiteY35" fmla="*/ 48602 h 284421"/>
                  <a:gd name="connsiteX36" fmla="*/ 221831 w 315271"/>
                  <a:gd name="connsiteY36" fmla="*/ 45125 h 284421"/>
                  <a:gd name="connsiteX37" fmla="*/ 208893 w 315271"/>
                  <a:gd name="connsiteY37" fmla="*/ 39881 h 284421"/>
                  <a:gd name="connsiteX38" fmla="*/ 203194 w 315271"/>
                  <a:gd name="connsiteY38" fmla="*/ 33327 h 284421"/>
                  <a:gd name="connsiteX39" fmla="*/ 189914 w 315271"/>
                  <a:gd name="connsiteY39" fmla="*/ 26545 h 284421"/>
                  <a:gd name="connsiteX40" fmla="*/ 183872 w 315271"/>
                  <a:gd name="connsiteY40" fmla="*/ 18394 h 284421"/>
                  <a:gd name="connsiteX41" fmla="*/ 168427 w 315271"/>
                  <a:gd name="connsiteY41" fmla="*/ 9959 h 284421"/>
                  <a:gd name="connsiteX42" fmla="*/ 164893 w 315271"/>
                  <a:gd name="connsiteY42" fmla="*/ 840 h 284421"/>
                  <a:gd name="connsiteX43" fmla="*/ 164266 w 315271"/>
                  <a:gd name="connsiteY43" fmla="*/ 42 h 284421"/>
                  <a:gd name="connsiteX44" fmla="*/ 151898 w 315271"/>
                  <a:gd name="connsiteY44" fmla="*/ 42 h 284421"/>
                  <a:gd name="connsiteX45" fmla="*/ 147395 w 315271"/>
                  <a:gd name="connsiteY45" fmla="*/ 1125 h 284421"/>
                  <a:gd name="connsiteX46" fmla="*/ 145572 w 315271"/>
                  <a:gd name="connsiteY46" fmla="*/ 5001 h 284421"/>
                  <a:gd name="connsiteX47" fmla="*/ 140214 w 315271"/>
                  <a:gd name="connsiteY47" fmla="*/ 27799 h 284421"/>
                  <a:gd name="connsiteX48" fmla="*/ 118670 w 315271"/>
                  <a:gd name="connsiteY48" fmla="*/ 40565 h 284421"/>
                  <a:gd name="connsiteX49" fmla="*/ 110235 w 315271"/>
                  <a:gd name="connsiteY49" fmla="*/ 43073 h 284421"/>
                  <a:gd name="connsiteX50" fmla="*/ 108240 w 315271"/>
                  <a:gd name="connsiteY50" fmla="*/ 51166 h 284421"/>
                  <a:gd name="connsiteX51" fmla="*/ 102541 w 315271"/>
                  <a:gd name="connsiteY51" fmla="*/ 53674 h 284421"/>
                  <a:gd name="connsiteX52" fmla="*/ 75525 w 315271"/>
                  <a:gd name="connsiteY52" fmla="*/ 43586 h 284421"/>
                  <a:gd name="connsiteX53" fmla="*/ 62701 w 315271"/>
                  <a:gd name="connsiteY53" fmla="*/ 39254 h 284421"/>
                  <a:gd name="connsiteX54" fmla="*/ 72675 w 315271"/>
                  <a:gd name="connsiteY54" fmla="*/ 74705 h 284421"/>
                  <a:gd name="connsiteX55" fmla="*/ 14142 w 315271"/>
                  <a:gd name="connsiteY55" fmla="*/ 70944 h 284421"/>
                  <a:gd name="connsiteX56" fmla="*/ 7 w 315271"/>
                  <a:gd name="connsiteY56" fmla="*/ 78923 h 284421"/>
                  <a:gd name="connsiteX57" fmla="*/ 3940 w 315271"/>
                  <a:gd name="connsiteY57" fmla="*/ 86674 h 284421"/>
                  <a:gd name="connsiteX58" fmla="*/ 2515 w 315271"/>
                  <a:gd name="connsiteY58" fmla="*/ 94197 h 284421"/>
                  <a:gd name="connsiteX59" fmla="*/ 32950 w 315271"/>
                  <a:gd name="connsiteY59" fmla="*/ 103032 h 284421"/>
                  <a:gd name="connsiteX60" fmla="*/ 60650 w 315271"/>
                  <a:gd name="connsiteY60" fmla="*/ 116539 h 284421"/>
                  <a:gd name="connsiteX61" fmla="*/ 66691 w 315271"/>
                  <a:gd name="connsiteY61" fmla="*/ 133980 h 284421"/>
                  <a:gd name="connsiteX62" fmla="*/ 78432 w 315271"/>
                  <a:gd name="connsiteY62" fmla="*/ 140705 h 284421"/>
                  <a:gd name="connsiteX63" fmla="*/ 80142 w 315271"/>
                  <a:gd name="connsiteY63" fmla="*/ 159000 h 284421"/>
                  <a:gd name="connsiteX64" fmla="*/ 90116 w 315271"/>
                  <a:gd name="connsiteY64" fmla="*/ 187897 h 284421"/>
                  <a:gd name="connsiteX65" fmla="*/ 84416 w 315271"/>
                  <a:gd name="connsiteY65" fmla="*/ 194850 h 284421"/>
                  <a:gd name="connsiteX66" fmla="*/ 72333 w 315271"/>
                  <a:gd name="connsiteY66" fmla="*/ 227793 h 284421"/>
                  <a:gd name="connsiteX67" fmla="*/ 71593 w 315271"/>
                  <a:gd name="connsiteY67" fmla="*/ 232011 h 284421"/>
                  <a:gd name="connsiteX68" fmla="*/ 72391 w 315271"/>
                  <a:gd name="connsiteY68" fmla="*/ 233720 h 284421"/>
                  <a:gd name="connsiteX69" fmla="*/ 76836 w 315271"/>
                  <a:gd name="connsiteY69" fmla="*/ 238736 h 284421"/>
                  <a:gd name="connsiteX70" fmla="*/ 81567 w 315271"/>
                  <a:gd name="connsiteY70" fmla="*/ 239078 h 284421"/>
                  <a:gd name="connsiteX71" fmla="*/ 89204 w 315271"/>
                  <a:gd name="connsiteY71" fmla="*/ 245689 h 284421"/>
                  <a:gd name="connsiteX72" fmla="*/ 95929 w 315271"/>
                  <a:gd name="connsiteY72" fmla="*/ 247570 h 284421"/>
                  <a:gd name="connsiteX73" fmla="*/ 114225 w 315271"/>
                  <a:gd name="connsiteY73" fmla="*/ 245347 h 284421"/>
                  <a:gd name="connsiteX74" fmla="*/ 124655 w 315271"/>
                  <a:gd name="connsiteY74" fmla="*/ 240617 h 284421"/>
                  <a:gd name="connsiteX75" fmla="*/ 130354 w 315271"/>
                  <a:gd name="connsiteY75" fmla="*/ 253156 h 284421"/>
                  <a:gd name="connsiteX76" fmla="*/ 142266 w 315271"/>
                  <a:gd name="connsiteY76" fmla="*/ 257430 h 284421"/>
                  <a:gd name="connsiteX77" fmla="*/ 155318 w 315271"/>
                  <a:gd name="connsiteY77" fmla="*/ 254296 h 284421"/>
                  <a:gd name="connsiteX78" fmla="*/ 169054 w 315271"/>
                  <a:gd name="connsiteY78" fmla="*/ 254296 h 284421"/>
                  <a:gd name="connsiteX79" fmla="*/ 170307 w 315271"/>
                  <a:gd name="connsiteY79" fmla="*/ 254296 h 284421"/>
                  <a:gd name="connsiteX80" fmla="*/ 168655 w 315271"/>
                  <a:gd name="connsiteY80" fmla="*/ 247969 h 284421"/>
                  <a:gd name="connsiteX81" fmla="*/ 175608 w 315271"/>
                  <a:gd name="connsiteY81" fmla="*/ 228135 h 284421"/>
                  <a:gd name="connsiteX82" fmla="*/ 192706 w 315271"/>
                  <a:gd name="connsiteY82" fmla="*/ 220213 h 284421"/>
                  <a:gd name="connsiteX83" fmla="*/ 213168 w 315271"/>
                  <a:gd name="connsiteY83" fmla="*/ 225912 h 284421"/>
                  <a:gd name="connsiteX84" fmla="*/ 217556 w 315271"/>
                  <a:gd name="connsiteY84" fmla="*/ 232239 h 284421"/>
                  <a:gd name="connsiteX85" fmla="*/ 226561 w 315271"/>
                  <a:gd name="connsiteY85" fmla="*/ 233778 h 284421"/>
                  <a:gd name="connsiteX86" fmla="*/ 229639 w 315271"/>
                  <a:gd name="connsiteY86" fmla="*/ 237596 h 284421"/>
                  <a:gd name="connsiteX87" fmla="*/ 245655 w 315271"/>
                  <a:gd name="connsiteY87" fmla="*/ 238280 h 284421"/>
                  <a:gd name="connsiteX88" fmla="*/ 257396 w 315271"/>
                  <a:gd name="connsiteY88" fmla="*/ 225114 h 284421"/>
                  <a:gd name="connsiteX89" fmla="*/ 269877 w 315271"/>
                  <a:gd name="connsiteY89" fmla="*/ 213715 h 284421"/>
                  <a:gd name="connsiteX90" fmla="*/ 259732 w 315271"/>
                  <a:gd name="connsiteY90" fmla="*/ 202317 h 284421"/>
                  <a:gd name="connsiteX91" fmla="*/ 254147 w 315271"/>
                  <a:gd name="connsiteY91" fmla="*/ 194964 h 28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15271" h="284421">
                    <a:moveTo>
                      <a:pt x="311199" y="281026"/>
                    </a:moveTo>
                    <a:cubicBezTo>
                      <a:pt x="310571" y="283078"/>
                      <a:pt x="307950" y="283591"/>
                      <a:pt x="305841" y="283762"/>
                    </a:cubicBezTo>
                    <a:cubicBezTo>
                      <a:pt x="301293" y="285614"/>
                      <a:pt x="296106" y="283431"/>
                      <a:pt x="294248" y="278889"/>
                    </a:cubicBezTo>
                    <a:cubicBezTo>
                      <a:pt x="293314" y="276581"/>
                      <a:pt x="293382" y="273987"/>
                      <a:pt x="294442" y="271736"/>
                    </a:cubicBezTo>
                    <a:cubicBezTo>
                      <a:pt x="292259" y="269998"/>
                      <a:pt x="290606" y="267689"/>
                      <a:pt x="289654" y="265068"/>
                    </a:cubicBezTo>
                    <a:cubicBezTo>
                      <a:pt x="288714" y="262372"/>
                      <a:pt x="289501" y="259374"/>
                      <a:pt x="291649" y="257487"/>
                    </a:cubicBezTo>
                    <a:cubicBezTo>
                      <a:pt x="292903" y="256575"/>
                      <a:pt x="294499" y="256176"/>
                      <a:pt x="295753" y="255264"/>
                    </a:cubicBezTo>
                    <a:cubicBezTo>
                      <a:pt x="297451" y="253902"/>
                      <a:pt x="298227" y="251691"/>
                      <a:pt x="297748" y="249565"/>
                    </a:cubicBezTo>
                    <a:cubicBezTo>
                      <a:pt x="300392" y="248357"/>
                      <a:pt x="303140" y="247388"/>
                      <a:pt x="305955" y="246658"/>
                    </a:cubicBezTo>
                    <a:cubicBezTo>
                      <a:pt x="308816" y="245838"/>
                      <a:pt x="310999" y="243518"/>
                      <a:pt x="311654" y="240617"/>
                    </a:cubicBezTo>
                    <a:cubicBezTo>
                      <a:pt x="312737" y="240617"/>
                      <a:pt x="313649" y="241472"/>
                      <a:pt x="314162" y="242441"/>
                    </a:cubicBezTo>
                    <a:cubicBezTo>
                      <a:pt x="317126" y="248710"/>
                      <a:pt x="313250" y="255949"/>
                      <a:pt x="312908" y="262845"/>
                    </a:cubicBezTo>
                    <a:cubicBezTo>
                      <a:pt x="313387" y="266903"/>
                      <a:pt x="313136" y="271012"/>
                      <a:pt x="312167" y="274985"/>
                    </a:cubicBezTo>
                    <a:cubicBezTo>
                      <a:pt x="311740" y="275777"/>
                      <a:pt x="311409" y="276620"/>
                      <a:pt x="311199" y="277493"/>
                    </a:cubicBezTo>
                    <a:cubicBezTo>
                      <a:pt x="311301" y="278667"/>
                      <a:pt x="311301" y="279852"/>
                      <a:pt x="311199" y="281026"/>
                    </a:cubicBezTo>
                    <a:close/>
                    <a:moveTo>
                      <a:pt x="254147" y="194964"/>
                    </a:moveTo>
                    <a:cubicBezTo>
                      <a:pt x="251240" y="185275"/>
                      <a:pt x="261841" y="176612"/>
                      <a:pt x="262696" y="166467"/>
                    </a:cubicBezTo>
                    <a:cubicBezTo>
                      <a:pt x="263323" y="158488"/>
                      <a:pt x="257738" y="151420"/>
                      <a:pt x="252437" y="145379"/>
                    </a:cubicBezTo>
                    <a:cubicBezTo>
                      <a:pt x="251525" y="144171"/>
                      <a:pt x="250402" y="143127"/>
                      <a:pt x="249131" y="142301"/>
                    </a:cubicBezTo>
                    <a:cubicBezTo>
                      <a:pt x="246794" y="141047"/>
                      <a:pt x="243774" y="141161"/>
                      <a:pt x="241893" y="139280"/>
                    </a:cubicBezTo>
                    <a:cubicBezTo>
                      <a:pt x="238644" y="136032"/>
                      <a:pt x="241893" y="130389"/>
                      <a:pt x="245997" y="127881"/>
                    </a:cubicBezTo>
                    <a:cubicBezTo>
                      <a:pt x="250100" y="125374"/>
                      <a:pt x="255059" y="123721"/>
                      <a:pt x="256483" y="119332"/>
                    </a:cubicBezTo>
                    <a:cubicBezTo>
                      <a:pt x="257224" y="117052"/>
                      <a:pt x="256483" y="114545"/>
                      <a:pt x="257566" y="112322"/>
                    </a:cubicBezTo>
                    <a:cubicBezTo>
                      <a:pt x="259043" y="109415"/>
                      <a:pt x="261448" y="107084"/>
                      <a:pt x="264406" y="105710"/>
                    </a:cubicBezTo>
                    <a:cubicBezTo>
                      <a:pt x="267170" y="103961"/>
                      <a:pt x="269837" y="102057"/>
                      <a:pt x="272385" y="100011"/>
                    </a:cubicBezTo>
                    <a:cubicBezTo>
                      <a:pt x="272385" y="100011"/>
                      <a:pt x="272385" y="100011"/>
                      <a:pt x="272385" y="99726"/>
                    </a:cubicBezTo>
                    <a:cubicBezTo>
                      <a:pt x="271798" y="98586"/>
                      <a:pt x="271542" y="97304"/>
                      <a:pt x="271644" y="96021"/>
                    </a:cubicBezTo>
                    <a:cubicBezTo>
                      <a:pt x="270801" y="88538"/>
                      <a:pt x="272340" y="80980"/>
                      <a:pt x="276033" y="74420"/>
                    </a:cubicBezTo>
                    <a:cubicBezTo>
                      <a:pt x="277874" y="72386"/>
                      <a:pt x="279481" y="70146"/>
                      <a:pt x="280820" y="67752"/>
                    </a:cubicBezTo>
                    <a:cubicBezTo>
                      <a:pt x="281994" y="65210"/>
                      <a:pt x="281151" y="62189"/>
                      <a:pt x="278826" y="60628"/>
                    </a:cubicBezTo>
                    <a:cubicBezTo>
                      <a:pt x="277281" y="60377"/>
                      <a:pt x="275719" y="60246"/>
                      <a:pt x="274152" y="60229"/>
                    </a:cubicBezTo>
                    <a:cubicBezTo>
                      <a:pt x="272374" y="59681"/>
                      <a:pt x="270738" y="58747"/>
                      <a:pt x="269364" y="57493"/>
                    </a:cubicBezTo>
                    <a:cubicBezTo>
                      <a:pt x="261602" y="53195"/>
                      <a:pt x="252716" y="51366"/>
                      <a:pt x="243888" y="52249"/>
                    </a:cubicBezTo>
                    <a:cubicBezTo>
                      <a:pt x="242982" y="50619"/>
                      <a:pt x="242434" y="48813"/>
                      <a:pt x="242292" y="46949"/>
                    </a:cubicBezTo>
                    <a:cubicBezTo>
                      <a:pt x="241294" y="47587"/>
                      <a:pt x="240246" y="48140"/>
                      <a:pt x="239157" y="48602"/>
                    </a:cubicBezTo>
                    <a:cubicBezTo>
                      <a:pt x="235310" y="50397"/>
                      <a:pt x="230864" y="50397"/>
                      <a:pt x="227017" y="48602"/>
                    </a:cubicBezTo>
                    <a:cubicBezTo>
                      <a:pt x="225136" y="47633"/>
                      <a:pt x="223598" y="46151"/>
                      <a:pt x="221831" y="45125"/>
                    </a:cubicBezTo>
                    <a:cubicBezTo>
                      <a:pt x="217784" y="42788"/>
                      <a:pt x="212541" y="42845"/>
                      <a:pt x="208893" y="39881"/>
                    </a:cubicBezTo>
                    <a:cubicBezTo>
                      <a:pt x="206670" y="38058"/>
                      <a:pt x="205302" y="35265"/>
                      <a:pt x="203194" y="33327"/>
                    </a:cubicBezTo>
                    <a:cubicBezTo>
                      <a:pt x="199375" y="30078"/>
                      <a:pt x="193561" y="29964"/>
                      <a:pt x="189914" y="26545"/>
                    </a:cubicBezTo>
                    <a:cubicBezTo>
                      <a:pt x="187406" y="24208"/>
                      <a:pt x="186380" y="20845"/>
                      <a:pt x="183872" y="18394"/>
                    </a:cubicBezTo>
                    <a:cubicBezTo>
                      <a:pt x="179541" y="14348"/>
                      <a:pt x="171846" y="14804"/>
                      <a:pt x="168427" y="9959"/>
                    </a:cubicBezTo>
                    <a:cubicBezTo>
                      <a:pt x="166489" y="7281"/>
                      <a:pt x="166489" y="3690"/>
                      <a:pt x="164893" y="840"/>
                    </a:cubicBezTo>
                    <a:cubicBezTo>
                      <a:pt x="164893" y="555"/>
                      <a:pt x="164437" y="327"/>
                      <a:pt x="164266" y="42"/>
                    </a:cubicBezTo>
                    <a:lnTo>
                      <a:pt x="151898" y="42"/>
                    </a:lnTo>
                    <a:cubicBezTo>
                      <a:pt x="150319" y="-135"/>
                      <a:pt x="148724" y="247"/>
                      <a:pt x="147395" y="1125"/>
                    </a:cubicBezTo>
                    <a:cubicBezTo>
                      <a:pt x="146370" y="2174"/>
                      <a:pt x="145726" y="3542"/>
                      <a:pt x="145572" y="5001"/>
                    </a:cubicBezTo>
                    <a:cubicBezTo>
                      <a:pt x="143805" y="12638"/>
                      <a:pt x="141981" y="20275"/>
                      <a:pt x="140214" y="27799"/>
                    </a:cubicBezTo>
                    <a:cubicBezTo>
                      <a:pt x="135632" y="35402"/>
                      <a:pt x="127539" y="40195"/>
                      <a:pt x="118670" y="40565"/>
                    </a:cubicBezTo>
                    <a:cubicBezTo>
                      <a:pt x="115593" y="40565"/>
                      <a:pt x="111945" y="40565"/>
                      <a:pt x="110235" y="43073"/>
                    </a:cubicBezTo>
                    <a:cubicBezTo>
                      <a:pt x="108525" y="45581"/>
                      <a:pt x="109836" y="48773"/>
                      <a:pt x="108240" y="51166"/>
                    </a:cubicBezTo>
                    <a:cubicBezTo>
                      <a:pt x="106793" y="52785"/>
                      <a:pt x="104712" y="53703"/>
                      <a:pt x="102541" y="53674"/>
                    </a:cubicBezTo>
                    <a:cubicBezTo>
                      <a:pt x="92521" y="54221"/>
                      <a:pt x="82735" y="50562"/>
                      <a:pt x="75525" y="43586"/>
                    </a:cubicBezTo>
                    <a:cubicBezTo>
                      <a:pt x="71877" y="40053"/>
                      <a:pt x="66178" y="35550"/>
                      <a:pt x="62701" y="39254"/>
                    </a:cubicBezTo>
                    <a:cubicBezTo>
                      <a:pt x="62246" y="52021"/>
                      <a:pt x="79116" y="63648"/>
                      <a:pt x="72675" y="74705"/>
                    </a:cubicBezTo>
                    <a:cubicBezTo>
                      <a:pt x="53240" y="72710"/>
                      <a:pt x="33691" y="71457"/>
                      <a:pt x="14142" y="70944"/>
                    </a:cubicBezTo>
                    <a:cubicBezTo>
                      <a:pt x="8044" y="70944"/>
                      <a:pt x="-278" y="72824"/>
                      <a:pt x="7" y="78923"/>
                    </a:cubicBezTo>
                    <a:cubicBezTo>
                      <a:pt x="7" y="81830"/>
                      <a:pt x="2515" y="84109"/>
                      <a:pt x="3940" y="86674"/>
                    </a:cubicBezTo>
                    <a:cubicBezTo>
                      <a:pt x="5365" y="89239"/>
                      <a:pt x="5308" y="93343"/>
                      <a:pt x="2515" y="94197"/>
                    </a:cubicBezTo>
                    <a:cubicBezTo>
                      <a:pt x="9696" y="102348"/>
                      <a:pt x="22064" y="102519"/>
                      <a:pt x="32950" y="103032"/>
                    </a:cubicBezTo>
                    <a:cubicBezTo>
                      <a:pt x="43836" y="103545"/>
                      <a:pt x="56603" y="106451"/>
                      <a:pt x="60650" y="116539"/>
                    </a:cubicBezTo>
                    <a:cubicBezTo>
                      <a:pt x="62986" y="122239"/>
                      <a:pt x="62017" y="129819"/>
                      <a:pt x="66691" y="133980"/>
                    </a:cubicBezTo>
                    <a:cubicBezTo>
                      <a:pt x="70054" y="137000"/>
                      <a:pt x="75468" y="137228"/>
                      <a:pt x="78432" y="140705"/>
                    </a:cubicBezTo>
                    <a:cubicBezTo>
                      <a:pt x="82479" y="145493"/>
                      <a:pt x="79344" y="152788"/>
                      <a:pt x="80142" y="159000"/>
                    </a:cubicBezTo>
                    <a:cubicBezTo>
                      <a:pt x="81453" y="169430"/>
                      <a:pt x="94105" y="178151"/>
                      <a:pt x="90116" y="187897"/>
                    </a:cubicBezTo>
                    <a:cubicBezTo>
                      <a:pt x="88680" y="190558"/>
                      <a:pt x="86742" y="192918"/>
                      <a:pt x="84416" y="194850"/>
                    </a:cubicBezTo>
                    <a:cubicBezTo>
                      <a:pt x="76158" y="203781"/>
                      <a:pt x="71803" y="215642"/>
                      <a:pt x="72333" y="227793"/>
                    </a:cubicBezTo>
                    <a:cubicBezTo>
                      <a:pt x="72539" y="229241"/>
                      <a:pt x="72276" y="230717"/>
                      <a:pt x="71593" y="232011"/>
                    </a:cubicBezTo>
                    <a:cubicBezTo>
                      <a:pt x="71593" y="232581"/>
                      <a:pt x="72163" y="233151"/>
                      <a:pt x="72391" y="233720"/>
                    </a:cubicBezTo>
                    <a:cubicBezTo>
                      <a:pt x="73416" y="235772"/>
                      <a:pt x="74613" y="238052"/>
                      <a:pt x="76836" y="238736"/>
                    </a:cubicBezTo>
                    <a:cubicBezTo>
                      <a:pt x="79059" y="239420"/>
                      <a:pt x="80028" y="238736"/>
                      <a:pt x="81567" y="239078"/>
                    </a:cubicBezTo>
                    <a:cubicBezTo>
                      <a:pt x="84872" y="239819"/>
                      <a:pt x="86354" y="243752"/>
                      <a:pt x="89204" y="245689"/>
                    </a:cubicBezTo>
                    <a:cubicBezTo>
                      <a:pt x="91244" y="246886"/>
                      <a:pt x="93564" y="247530"/>
                      <a:pt x="95929" y="247570"/>
                    </a:cubicBezTo>
                    <a:cubicBezTo>
                      <a:pt x="102102" y="248989"/>
                      <a:pt x="108571" y="248203"/>
                      <a:pt x="114225" y="245347"/>
                    </a:cubicBezTo>
                    <a:cubicBezTo>
                      <a:pt x="117530" y="243182"/>
                      <a:pt x="120893" y="239249"/>
                      <a:pt x="124655" y="240617"/>
                    </a:cubicBezTo>
                    <a:cubicBezTo>
                      <a:pt x="128416" y="241985"/>
                      <a:pt x="128074" y="249052"/>
                      <a:pt x="130354" y="253156"/>
                    </a:cubicBezTo>
                    <a:cubicBezTo>
                      <a:pt x="133096" y="256855"/>
                      <a:pt x="137798" y="258542"/>
                      <a:pt x="142266" y="257430"/>
                    </a:cubicBezTo>
                    <a:cubicBezTo>
                      <a:pt x="146712" y="256803"/>
                      <a:pt x="150872" y="254866"/>
                      <a:pt x="155318" y="254296"/>
                    </a:cubicBezTo>
                    <a:cubicBezTo>
                      <a:pt x="159895" y="254039"/>
                      <a:pt x="164477" y="254039"/>
                      <a:pt x="169054" y="254296"/>
                    </a:cubicBezTo>
                    <a:lnTo>
                      <a:pt x="170307" y="254296"/>
                    </a:lnTo>
                    <a:cubicBezTo>
                      <a:pt x="169521" y="252255"/>
                      <a:pt x="168963" y="250135"/>
                      <a:pt x="168655" y="247969"/>
                    </a:cubicBezTo>
                    <a:cubicBezTo>
                      <a:pt x="168734" y="240776"/>
                      <a:pt x="171180" y="233806"/>
                      <a:pt x="175608" y="228135"/>
                    </a:cubicBezTo>
                    <a:cubicBezTo>
                      <a:pt x="181307" y="231156"/>
                      <a:pt x="187007" y="223632"/>
                      <a:pt x="192706" y="220213"/>
                    </a:cubicBezTo>
                    <a:cubicBezTo>
                      <a:pt x="199945" y="216286"/>
                      <a:pt x="209001" y="218805"/>
                      <a:pt x="213168" y="225912"/>
                    </a:cubicBezTo>
                    <a:cubicBezTo>
                      <a:pt x="214421" y="228192"/>
                      <a:pt x="215219" y="231042"/>
                      <a:pt x="217556" y="232239"/>
                    </a:cubicBezTo>
                    <a:cubicBezTo>
                      <a:pt x="219893" y="233436"/>
                      <a:pt x="223996" y="232239"/>
                      <a:pt x="226561" y="233778"/>
                    </a:cubicBezTo>
                    <a:cubicBezTo>
                      <a:pt x="227770" y="234895"/>
                      <a:pt x="228807" y="236177"/>
                      <a:pt x="229639" y="237596"/>
                    </a:cubicBezTo>
                    <a:cubicBezTo>
                      <a:pt x="234045" y="241820"/>
                      <a:pt x="240901" y="242110"/>
                      <a:pt x="245655" y="238280"/>
                    </a:cubicBezTo>
                    <a:cubicBezTo>
                      <a:pt x="250163" y="234461"/>
                      <a:pt x="254118" y="230027"/>
                      <a:pt x="257396" y="225114"/>
                    </a:cubicBezTo>
                    <a:cubicBezTo>
                      <a:pt x="261157" y="220902"/>
                      <a:pt x="265341" y="217078"/>
                      <a:pt x="269877" y="213715"/>
                    </a:cubicBezTo>
                    <a:lnTo>
                      <a:pt x="259732" y="202317"/>
                    </a:lnTo>
                    <a:cubicBezTo>
                      <a:pt x="257384" y="200282"/>
                      <a:pt x="255481" y="197774"/>
                      <a:pt x="254147" y="19496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8" name="Freihandform: Form 752">
                <a:extLst>
                  <a:ext uri="{FF2B5EF4-FFF2-40B4-BE49-F238E27FC236}">
                    <a16:creationId xmlns:a16="http://schemas.microsoft.com/office/drawing/2014/main" id="{DF6F270A-4329-AEF3-9AA3-6E9246204296}"/>
                  </a:ext>
                </a:extLst>
              </p:cNvPr>
              <p:cNvSpPr/>
              <p:nvPr/>
            </p:nvSpPr>
            <p:spPr>
              <a:xfrm>
                <a:off x="3909030" y="3025197"/>
                <a:ext cx="91864" cy="64574"/>
              </a:xfrm>
              <a:custGeom>
                <a:avLst/>
                <a:gdLst>
                  <a:gd name="connsiteX0" fmla="*/ 24351 w 91864"/>
                  <a:gd name="connsiteY0" fmla="*/ 63435 h 64574"/>
                  <a:gd name="connsiteX1" fmla="*/ 21672 w 91864"/>
                  <a:gd name="connsiteY1" fmla="*/ 64575 h 64574"/>
                  <a:gd name="connsiteX2" fmla="*/ 11869 w 91864"/>
                  <a:gd name="connsiteY2" fmla="*/ 48388 h 64574"/>
                  <a:gd name="connsiteX3" fmla="*/ 8563 w 91864"/>
                  <a:gd name="connsiteY3" fmla="*/ 45311 h 64574"/>
                  <a:gd name="connsiteX4" fmla="*/ 1325 w 91864"/>
                  <a:gd name="connsiteY4" fmla="*/ 42290 h 64574"/>
                  <a:gd name="connsiteX5" fmla="*/ 5429 w 91864"/>
                  <a:gd name="connsiteY5" fmla="*/ 30891 h 64574"/>
                  <a:gd name="connsiteX6" fmla="*/ 15916 w 91864"/>
                  <a:gd name="connsiteY6" fmla="*/ 22342 h 64574"/>
                  <a:gd name="connsiteX7" fmla="*/ 16999 w 91864"/>
                  <a:gd name="connsiteY7" fmla="*/ 15332 h 64574"/>
                  <a:gd name="connsiteX8" fmla="*/ 23838 w 91864"/>
                  <a:gd name="connsiteY8" fmla="*/ 8720 h 64574"/>
                  <a:gd name="connsiteX9" fmla="*/ 31817 w 91864"/>
                  <a:gd name="connsiteY9" fmla="*/ 3021 h 64574"/>
                  <a:gd name="connsiteX10" fmla="*/ 39569 w 91864"/>
                  <a:gd name="connsiteY10" fmla="*/ 3648 h 64574"/>
                  <a:gd name="connsiteX11" fmla="*/ 47605 w 91864"/>
                  <a:gd name="connsiteY11" fmla="*/ 0 h 64574"/>
                  <a:gd name="connsiteX12" fmla="*/ 55071 w 91864"/>
                  <a:gd name="connsiteY12" fmla="*/ 2280 h 64574"/>
                  <a:gd name="connsiteX13" fmla="*/ 77869 w 91864"/>
                  <a:gd name="connsiteY13" fmla="*/ 4503 h 64574"/>
                  <a:gd name="connsiteX14" fmla="*/ 79294 w 91864"/>
                  <a:gd name="connsiteY14" fmla="*/ 3705 h 64574"/>
                  <a:gd name="connsiteX15" fmla="*/ 79294 w 91864"/>
                  <a:gd name="connsiteY15" fmla="*/ 4218 h 64574"/>
                  <a:gd name="connsiteX16" fmla="*/ 84366 w 91864"/>
                  <a:gd name="connsiteY16" fmla="*/ 22399 h 64574"/>
                  <a:gd name="connsiteX17" fmla="*/ 89781 w 91864"/>
                  <a:gd name="connsiteY17" fmla="*/ 25876 h 64574"/>
                  <a:gd name="connsiteX18" fmla="*/ 91548 w 91864"/>
                  <a:gd name="connsiteY18" fmla="*/ 31575 h 64574"/>
                  <a:gd name="connsiteX19" fmla="*/ 86589 w 91864"/>
                  <a:gd name="connsiteY19" fmla="*/ 35850 h 64574"/>
                  <a:gd name="connsiteX20" fmla="*/ 84879 w 91864"/>
                  <a:gd name="connsiteY20" fmla="*/ 42803 h 64574"/>
                  <a:gd name="connsiteX21" fmla="*/ 82771 w 91864"/>
                  <a:gd name="connsiteY21" fmla="*/ 43316 h 64574"/>
                  <a:gd name="connsiteX22" fmla="*/ 68123 w 91864"/>
                  <a:gd name="connsiteY22" fmla="*/ 44513 h 64574"/>
                  <a:gd name="connsiteX23" fmla="*/ 67496 w 91864"/>
                  <a:gd name="connsiteY23" fmla="*/ 53689 h 64574"/>
                  <a:gd name="connsiteX24" fmla="*/ 58548 w 91864"/>
                  <a:gd name="connsiteY24" fmla="*/ 52777 h 64574"/>
                  <a:gd name="connsiteX25" fmla="*/ 56667 w 91864"/>
                  <a:gd name="connsiteY25" fmla="*/ 50155 h 64574"/>
                  <a:gd name="connsiteX26" fmla="*/ 48802 w 91864"/>
                  <a:gd name="connsiteY26" fmla="*/ 42917 h 64574"/>
                  <a:gd name="connsiteX27" fmla="*/ 47548 w 91864"/>
                  <a:gd name="connsiteY27" fmla="*/ 42461 h 64574"/>
                  <a:gd name="connsiteX28" fmla="*/ 44698 w 91864"/>
                  <a:gd name="connsiteY28" fmla="*/ 44000 h 64574"/>
                  <a:gd name="connsiteX29" fmla="*/ 30051 w 91864"/>
                  <a:gd name="connsiteY29" fmla="*/ 58705 h 64574"/>
                  <a:gd name="connsiteX30" fmla="*/ 24351 w 91864"/>
                  <a:gd name="connsiteY30" fmla="*/ 63435 h 6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864" h="64574">
                    <a:moveTo>
                      <a:pt x="24351" y="63435"/>
                    </a:moveTo>
                    <a:cubicBezTo>
                      <a:pt x="23485" y="63874"/>
                      <a:pt x="22590" y="64256"/>
                      <a:pt x="21672" y="64575"/>
                    </a:cubicBezTo>
                    <a:cubicBezTo>
                      <a:pt x="19774" y="58459"/>
                      <a:pt x="16412" y="52903"/>
                      <a:pt x="11869" y="48388"/>
                    </a:cubicBezTo>
                    <a:cubicBezTo>
                      <a:pt x="10957" y="47180"/>
                      <a:pt x="9835" y="46137"/>
                      <a:pt x="8563" y="45311"/>
                    </a:cubicBezTo>
                    <a:cubicBezTo>
                      <a:pt x="6226" y="44057"/>
                      <a:pt x="3206" y="44171"/>
                      <a:pt x="1325" y="42290"/>
                    </a:cubicBezTo>
                    <a:cubicBezTo>
                      <a:pt x="-1924" y="39041"/>
                      <a:pt x="1325" y="33399"/>
                      <a:pt x="5429" y="30891"/>
                    </a:cubicBezTo>
                    <a:cubicBezTo>
                      <a:pt x="9532" y="28383"/>
                      <a:pt x="14491" y="26731"/>
                      <a:pt x="15916" y="22342"/>
                    </a:cubicBezTo>
                    <a:cubicBezTo>
                      <a:pt x="16657" y="20062"/>
                      <a:pt x="15916" y="17554"/>
                      <a:pt x="16999" y="15332"/>
                    </a:cubicBezTo>
                    <a:cubicBezTo>
                      <a:pt x="18475" y="12425"/>
                      <a:pt x="20880" y="10094"/>
                      <a:pt x="23838" y="8720"/>
                    </a:cubicBezTo>
                    <a:cubicBezTo>
                      <a:pt x="26602" y="6970"/>
                      <a:pt x="29270" y="5067"/>
                      <a:pt x="31817" y="3021"/>
                    </a:cubicBezTo>
                    <a:cubicBezTo>
                      <a:pt x="33955" y="4981"/>
                      <a:pt x="37146" y="5238"/>
                      <a:pt x="39569" y="3648"/>
                    </a:cubicBezTo>
                    <a:cubicBezTo>
                      <a:pt x="41974" y="1909"/>
                      <a:pt x="44709" y="667"/>
                      <a:pt x="47605" y="0"/>
                    </a:cubicBezTo>
                    <a:cubicBezTo>
                      <a:pt x="50232" y="200"/>
                      <a:pt x="52780" y="975"/>
                      <a:pt x="55071" y="2280"/>
                    </a:cubicBezTo>
                    <a:cubicBezTo>
                      <a:pt x="62412" y="4702"/>
                      <a:pt x="70197" y="5460"/>
                      <a:pt x="77869" y="4503"/>
                    </a:cubicBezTo>
                    <a:cubicBezTo>
                      <a:pt x="78331" y="4212"/>
                      <a:pt x="78804" y="3944"/>
                      <a:pt x="79294" y="3705"/>
                    </a:cubicBezTo>
                    <a:lnTo>
                      <a:pt x="79294" y="4218"/>
                    </a:lnTo>
                    <a:cubicBezTo>
                      <a:pt x="79294" y="10772"/>
                      <a:pt x="79294" y="18352"/>
                      <a:pt x="84366" y="22399"/>
                    </a:cubicBezTo>
                    <a:cubicBezTo>
                      <a:pt x="86076" y="23710"/>
                      <a:pt x="88185" y="24451"/>
                      <a:pt x="89781" y="25876"/>
                    </a:cubicBezTo>
                    <a:cubicBezTo>
                      <a:pt x="91610" y="27147"/>
                      <a:pt x="92340" y="29495"/>
                      <a:pt x="91548" y="31575"/>
                    </a:cubicBezTo>
                    <a:cubicBezTo>
                      <a:pt x="90408" y="33513"/>
                      <a:pt x="87615" y="33912"/>
                      <a:pt x="86589" y="35850"/>
                    </a:cubicBezTo>
                    <a:cubicBezTo>
                      <a:pt x="85563" y="37788"/>
                      <a:pt x="86931" y="41549"/>
                      <a:pt x="84879" y="42803"/>
                    </a:cubicBezTo>
                    <a:cubicBezTo>
                      <a:pt x="84230" y="43145"/>
                      <a:pt x="83506" y="43322"/>
                      <a:pt x="82771" y="43316"/>
                    </a:cubicBezTo>
                    <a:lnTo>
                      <a:pt x="68123" y="44513"/>
                    </a:lnTo>
                    <a:cubicBezTo>
                      <a:pt x="68488" y="47585"/>
                      <a:pt x="68277" y="50697"/>
                      <a:pt x="67496" y="53689"/>
                    </a:cubicBezTo>
                    <a:cubicBezTo>
                      <a:pt x="64544" y="54852"/>
                      <a:pt x="61209" y="54510"/>
                      <a:pt x="58548" y="52777"/>
                    </a:cubicBezTo>
                    <a:cubicBezTo>
                      <a:pt x="57807" y="51991"/>
                      <a:pt x="57174" y="51107"/>
                      <a:pt x="56667" y="50155"/>
                    </a:cubicBezTo>
                    <a:cubicBezTo>
                      <a:pt x="54746" y="47078"/>
                      <a:pt x="52028" y="44576"/>
                      <a:pt x="48802" y="42917"/>
                    </a:cubicBezTo>
                    <a:cubicBezTo>
                      <a:pt x="48420" y="42683"/>
                      <a:pt x="47992" y="42524"/>
                      <a:pt x="47548" y="42461"/>
                    </a:cubicBezTo>
                    <a:cubicBezTo>
                      <a:pt x="46414" y="42512"/>
                      <a:pt x="45359" y="43077"/>
                      <a:pt x="44698" y="44000"/>
                    </a:cubicBezTo>
                    <a:lnTo>
                      <a:pt x="30051" y="58705"/>
                    </a:lnTo>
                    <a:cubicBezTo>
                      <a:pt x="28398" y="60557"/>
                      <a:pt x="26477" y="62153"/>
                      <a:pt x="24351" y="634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59" name="Freihandform: Form 753">
                <a:extLst>
                  <a:ext uri="{FF2B5EF4-FFF2-40B4-BE49-F238E27FC236}">
                    <a16:creationId xmlns:a16="http://schemas.microsoft.com/office/drawing/2014/main" id="{1276B93E-B564-F744-0962-BC9ED4372AA9}"/>
                  </a:ext>
                </a:extLst>
              </p:cNvPr>
              <p:cNvSpPr/>
              <p:nvPr/>
            </p:nvSpPr>
            <p:spPr>
              <a:xfrm>
                <a:off x="3991630" y="3044969"/>
                <a:ext cx="14693" cy="12144"/>
              </a:xfrm>
              <a:custGeom>
                <a:avLst/>
                <a:gdLst>
                  <a:gd name="connsiteX0" fmla="*/ 13280 w 14693"/>
                  <a:gd name="connsiteY0" fmla="*/ 11403 h 12144"/>
                  <a:gd name="connsiteX1" fmla="*/ 9404 w 14693"/>
                  <a:gd name="connsiteY1" fmla="*/ 12144 h 12144"/>
                  <a:gd name="connsiteX2" fmla="*/ 8492 w 14693"/>
                  <a:gd name="connsiteY2" fmla="*/ 12144 h 12144"/>
                  <a:gd name="connsiteX3" fmla="*/ 8777 w 14693"/>
                  <a:gd name="connsiteY3" fmla="*/ 11802 h 12144"/>
                  <a:gd name="connsiteX4" fmla="*/ 7010 w 14693"/>
                  <a:gd name="connsiteY4" fmla="*/ 6103 h 12144"/>
                  <a:gd name="connsiteX5" fmla="*/ 1596 w 14693"/>
                  <a:gd name="connsiteY5" fmla="*/ 2626 h 12144"/>
                  <a:gd name="connsiteX6" fmla="*/ 0 w 14693"/>
                  <a:gd name="connsiteY6" fmla="*/ 1030 h 12144"/>
                  <a:gd name="connsiteX7" fmla="*/ 6725 w 14693"/>
                  <a:gd name="connsiteY7" fmla="*/ 4 h 12144"/>
                  <a:gd name="connsiteX8" fmla="*/ 9860 w 14693"/>
                  <a:gd name="connsiteY8" fmla="*/ 346 h 12144"/>
                  <a:gd name="connsiteX9" fmla="*/ 14534 w 14693"/>
                  <a:gd name="connsiteY9" fmla="*/ 5647 h 12144"/>
                  <a:gd name="connsiteX10" fmla="*/ 13280 w 14693"/>
                  <a:gd name="connsiteY10" fmla="*/ 11403 h 12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93" h="12144">
                    <a:moveTo>
                      <a:pt x="13280" y="11403"/>
                    </a:moveTo>
                    <a:lnTo>
                      <a:pt x="9404" y="12144"/>
                    </a:lnTo>
                    <a:lnTo>
                      <a:pt x="8492" y="12144"/>
                    </a:lnTo>
                    <a:lnTo>
                      <a:pt x="8777" y="11802"/>
                    </a:lnTo>
                    <a:cubicBezTo>
                      <a:pt x="9570" y="9722"/>
                      <a:pt x="8840" y="7374"/>
                      <a:pt x="7010" y="6103"/>
                    </a:cubicBezTo>
                    <a:cubicBezTo>
                      <a:pt x="5415" y="4678"/>
                      <a:pt x="3306" y="3937"/>
                      <a:pt x="1596" y="2626"/>
                    </a:cubicBezTo>
                    <a:cubicBezTo>
                      <a:pt x="1009" y="2153"/>
                      <a:pt x="473" y="1617"/>
                      <a:pt x="0" y="1030"/>
                    </a:cubicBezTo>
                    <a:cubicBezTo>
                      <a:pt x="2183" y="375"/>
                      <a:pt x="4446" y="27"/>
                      <a:pt x="6725" y="4"/>
                    </a:cubicBezTo>
                    <a:cubicBezTo>
                      <a:pt x="7780" y="-24"/>
                      <a:pt x="8834" y="90"/>
                      <a:pt x="9860" y="346"/>
                    </a:cubicBezTo>
                    <a:cubicBezTo>
                      <a:pt x="12260" y="1139"/>
                      <a:pt x="14043" y="3167"/>
                      <a:pt x="14534" y="5647"/>
                    </a:cubicBezTo>
                    <a:cubicBezTo>
                      <a:pt x="14967" y="7659"/>
                      <a:pt x="14511" y="9756"/>
                      <a:pt x="13280" y="11403"/>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0" name="Freihandform: Form 754">
                <a:extLst>
                  <a:ext uri="{FF2B5EF4-FFF2-40B4-BE49-F238E27FC236}">
                    <a16:creationId xmlns:a16="http://schemas.microsoft.com/office/drawing/2014/main" id="{ED3383A4-2D6D-A4AE-DFF6-5CFC2489DB10}"/>
                  </a:ext>
                </a:extLst>
              </p:cNvPr>
              <p:cNvSpPr/>
              <p:nvPr/>
            </p:nvSpPr>
            <p:spPr>
              <a:xfrm>
                <a:off x="3988211" y="2987366"/>
                <a:ext cx="162661" cy="77513"/>
              </a:xfrm>
              <a:custGeom>
                <a:avLst/>
                <a:gdLst>
                  <a:gd name="connsiteX0" fmla="*/ 139408 w 162661"/>
                  <a:gd name="connsiteY0" fmla="*/ 45924 h 77513"/>
                  <a:gd name="connsiteX1" fmla="*/ 140833 w 162661"/>
                  <a:gd name="connsiteY1" fmla="*/ 62680 h 77513"/>
                  <a:gd name="connsiteX2" fmla="*/ 131315 w 162661"/>
                  <a:gd name="connsiteY2" fmla="*/ 65701 h 77513"/>
                  <a:gd name="connsiteX3" fmla="*/ 126356 w 162661"/>
                  <a:gd name="connsiteY3" fmla="*/ 64561 h 77513"/>
                  <a:gd name="connsiteX4" fmla="*/ 117351 w 162661"/>
                  <a:gd name="connsiteY4" fmla="*/ 68037 h 77513"/>
                  <a:gd name="connsiteX5" fmla="*/ 111651 w 162661"/>
                  <a:gd name="connsiteY5" fmla="*/ 68607 h 77513"/>
                  <a:gd name="connsiteX6" fmla="*/ 102475 w 162661"/>
                  <a:gd name="connsiteY6" fmla="*/ 75390 h 77513"/>
                  <a:gd name="connsiteX7" fmla="*/ 80190 w 162661"/>
                  <a:gd name="connsiteY7" fmla="*/ 75960 h 77513"/>
                  <a:gd name="connsiteX8" fmla="*/ 67595 w 162661"/>
                  <a:gd name="connsiteY8" fmla="*/ 77442 h 77513"/>
                  <a:gd name="connsiteX9" fmla="*/ 56652 w 162661"/>
                  <a:gd name="connsiteY9" fmla="*/ 72426 h 77513"/>
                  <a:gd name="connsiteX10" fmla="*/ 54714 w 162661"/>
                  <a:gd name="connsiteY10" fmla="*/ 63478 h 77513"/>
                  <a:gd name="connsiteX11" fmla="*/ 53745 w 162661"/>
                  <a:gd name="connsiteY11" fmla="*/ 61540 h 77513"/>
                  <a:gd name="connsiteX12" fmla="*/ 50553 w 162661"/>
                  <a:gd name="connsiteY12" fmla="*/ 60628 h 77513"/>
                  <a:gd name="connsiteX13" fmla="*/ 27755 w 162661"/>
                  <a:gd name="connsiteY13" fmla="*/ 63763 h 77513"/>
                  <a:gd name="connsiteX14" fmla="*/ 19947 w 162661"/>
                  <a:gd name="connsiteY14" fmla="*/ 68094 h 77513"/>
                  <a:gd name="connsiteX15" fmla="*/ 16983 w 162661"/>
                  <a:gd name="connsiteY15" fmla="*/ 69006 h 77513"/>
                  <a:gd name="connsiteX16" fmla="*/ 18237 w 162661"/>
                  <a:gd name="connsiteY16" fmla="*/ 63307 h 77513"/>
                  <a:gd name="connsiteX17" fmla="*/ 13564 w 162661"/>
                  <a:gd name="connsiteY17" fmla="*/ 58006 h 77513"/>
                  <a:gd name="connsiteX18" fmla="*/ 10429 w 162661"/>
                  <a:gd name="connsiteY18" fmla="*/ 57665 h 77513"/>
                  <a:gd name="connsiteX19" fmla="*/ 3703 w 162661"/>
                  <a:gd name="connsiteY19" fmla="*/ 58690 h 77513"/>
                  <a:gd name="connsiteX20" fmla="*/ 227 w 162661"/>
                  <a:gd name="connsiteY20" fmla="*/ 42105 h 77513"/>
                  <a:gd name="connsiteX21" fmla="*/ 227 w 162661"/>
                  <a:gd name="connsiteY21" fmla="*/ 41592 h 77513"/>
                  <a:gd name="connsiteX22" fmla="*/ 12936 w 162661"/>
                  <a:gd name="connsiteY22" fmla="*/ 39141 h 77513"/>
                  <a:gd name="connsiteX23" fmla="*/ 27071 w 162661"/>
                  <a:gd name="connsiteY23" fmla="*/ 41535 h 77513"/>
                  <a:gd name="connsiteX24" fmla="*/ 40123 w 162661"/>
                  <a:gd name="connsiteY24" fmla="*/ 39654 h 77513"/>
                  <a:gd name="connsiteX25" fmla="*/ 61667 w 162661"/>
                  <a:gd name="connsiteY25" fmla="*/ 41022 h 77513"/>
                  <a:gd name="connsiteX26" fmla="*/ 69082 w 162661"/>
                  <a:gd name="connsiteY26" fmla="*/ 33966 h 77513"/>
                  <a:gd name="connsiteX27" fmla="*/ 68905 w 162661"/>
                  <a:gd name="connsiteY27" fmla="*/ 32188 h 77513"/>
                  <a:gd name="connsiteX28" fmla="*/ 68905 w 162661"/>
                  <a:gd name="connsiteY28" fmla="*/ 23468 h 77513"/>
                  <a:gd name="connsiteX29" fmla="*/ 76543 w 162661"/>
                  <a:gd name="connsiteY29" fmla="*/ 12069 h 77513"/>
                  <a:gd name="connsiteX30" fmla="*/ 80190 w 162661"/>
                  <a:gd name="connsiteY30" fmla="*/ 7965 h 77513"/>
                  <a:gd name="connsiteX31" fmla="*/ 82869 w 162661"/>
                  <a:gd name="connsiteY31" fmla="*/ 9675 h 77513"/>
                  <a:gd name="connsiteX32" fmla="*/ 108802 w 162661"/>
                  <a:gd name="connsiteY32" fmla="*/ 4431 h 77513"/>
                  <a:gd name="connsiteX33" fmla="*/ 112506 w 162661"/>
                  <a:gd name="connsiteY33" fmla="*/ 613 h 77513"/>
                  <a:gd name="connsiteX34" fmla="*/ 120372 w 162661"/>
                  <a:gd name="connsiteY34" fmla="*/ 1582 h 77513"/>
                  <a:gd name="connsiteX35" fmla="*/ 126812 w 162661"/>
                  <a:gd name="connsiteY35" fmla="*/ 6825 h 77513"/>
                  <a:gd name="connsiteX36" fmla="*/ 154055 w 162661"/>
                  <a:gd name="connsiteY36" fmla="*/ 11442 h 77513"/>
                  <a:gd name="connsiteX37" fmla="*/ 153087 w 162661"/>
                  <a:gd name="connsiteY37" fmla="*/ 13664 h 77513"/>
                  <a:gd name="connsiteX38" fmla="*/ 152460 w 162661"/>
                  <a:gd name="connsiteY38" fmla="*/ 15545 h 77513"/>
                  <a:gd name="connsiteX39" fmla="*/ 154284 w 162661"/>
                  <a:gd name="connsiteY39" fmla="*/ 20276 h 77513"/>
                  <a:gd name="connsiteX40" fmla="*/ 162662 w 162661"/>
                  <a:gd name="connsiteY40" fmla="*/ 29395 h 77513"/>
                  <a:gd name="connsiteX41" fmla="*/ 144765 w 162661"/>
                  <a:gd name="connsiteY41" fmla="*/ 41592 h 77513"/>
                  <a:gd name="connsiteX42" fmla="*/ 139408 w 162661"/>
                  <a:gd name="connsiteY42" fmla="*/ 45924 h 7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2661" h="77513">
                    <a:moveTo>
                      <a:pt x="139408" y="45924"/>
                    </a:moveTo>
                    <a:cubicBezTo>
                      <a:pt x="136102" y="50711"/>
                      <a:pt x="139693" y="56809"/>
                      <a:pt x="140833" y="62680"/>
                    </a:cubicBezTo>
                    <a:cubicBezTo>
                      <a:pt x="138137" y="64817"/>
                      <a:pt x="134752" y="65889"/>
                      <a:pt x="131315" y="65701"/>
                    </a:cubicBezTo>
                    <a:cubicBezTo>
                      <a:pt x="129696" y="65188"/>
                      <a:pt x="128037" y="64806"/>
                      <a:pt x="126356" y="64561"/>
                    </a:cubicBezTo>
                    <a:cubicBezTo>
                      <a:pt x="123107" y="64561"/>
                      <a:pt x="120657" y="67297"/>
                      <a:pt x="117351" y="68037"/>
                    </a:cubicBezTo>
                    <a:cubicBezTo>
                      <a:pt x="115413" y="68493"/>
                      <a:pt x="113304" y="68037"/>
                      <a:pt x="111651" y="68607"/>
                    </a:cubicBezTo>
                    <a:cubicBezTo>
                      <a:pt x="107947" y="69576"/>
                      <a:pt x="105952" y="73338"/>
                      <a:pt x="102475" y="75390"/>
                    </a:cubicBezTo>
                    <a:cubicBezTo>
                      <a:pt x="96035" y="79436"/>
                      <a:pt x="87771" y="75846"/>
                      <a:pt x="80190" y="75960"/>
                    </a:cubicBezTo>
                    <a:cubicBezTo>
                      <a:pt x="75973" y="75960"/>
                      <a:pt x="71812" y="77328"/>
                      <a:pt x="67595" y="77442"/>
                    </a:cubicBezTo>
                    <a:cubicBezTo>
                      <a:pt x="63303" y="77920"/>
                      <a:pt x="59091" y="75994"/>
                      <a:pt x="56652" y="72426"/>
                    </a:cubicBezTo>
                    <a:cubicBezTo>
                      <a:pt x="55625" y="69536"/>
                      <a:pt x="54976" y="66533"/>
                      <a:pt x="54714" y="63478"/>
                    </a:cubicBezTo>
                    <a:cubicBezTo>
                      <a:pt x="54577" y="62754"/>
                      <a:pt x="54241" y="62082"/>
                      <a:pt x="53745" y="61540"/>
                    </a:cubicBezTo>
                    <a:cubicBezTo>
                      <a:pt x="52827" y="60862"/>
                      <a:pt x="51693" y="60537"/>
                      <a:pt x="50553" y="60628"/>
                    </a:cubicBezTo>
                    <a:cubicBezTo>
                      <a:pt x="42813" y="59779"/>
                      <a:pt x="34982" y="60856"/>
                      <a:pt x="27755" y="63763"/>
                    </a:cubicBezTo>
                    <a:cubicBezTo>
                      <a:pt x="25076" y="65131"/>
                      <a:pt x="22683" y="66955"/>
                      <a:pt x="19947" y="68094"/>
                    </a:cubicBezTo>
                    <a:cubicBezTo>
                      <a:pt x="18989" y="68482"/>
                      <a:pt x="17998" y="68790"/>
                      <a:pt x="16983" y="69006"/>
                    </a:cubicBezTo>
                    <a:cubicBezTo>
                      <a:pt x="18197" y="67371"/>
                      <a:pt x="18653" y="65296"/>
                      <a:pt x="18237" y="63307"/>
                    </a:cubicBezTo>
                    <a:cubicBezTo>
                      <a:pt x="17747" y="60828"/>
                      <a:pt x="15963" y="58799"/>
                      <a:pt x="13564" y="58006"/>
                    </a:cubicBezTo>
                    <a:cubicBezTo>
                      <a:pt x="12537" y="57750"/>
                      <a:pt x="11483" y="57636"/>
                      <a:pt x="10429" y="57665"/>
                    </a:cubicBezTo>
                    <a:cubicBezTo>
                      <a:pt x="8149" y="57687"/>
                      <a:pt x="5886" y="58035"/>
                      <a:pt x="3703" y="58690"/>
                    </a:cubicBezTo>
                    <a:cubicBezTo>
                      <a:pt x="677" y="53726"/>
                      <a:pt x="-548" y="47867"/>
                      <a:pt x="227" y="42105"/>
                    </a:cubicBezTo>
                    <a:lnTo>
                      <a:pt x="227" y="41592"/>
                    </a:lnTo>
                    <a:cubicBezTo>
                      <a:pt x="4062" y="39358"/>
                      <a:pt x="8542" y="38497"/>
                      <a:pt x="12936" y="39141"/>
                    </a:cubicBezTo>
                    <a:cubicBezTo>
                      <a:pt x="17547" y="40441"/>
                      <a:pt x="22289" y="41244"/>
                      <a:pt x="27071" y="41535"/>
                    </a:cubicBezTo>
                    <a:cubicBezTo>
                      <a:pt x="31460" y="41535"/>
                      <a:pt x="35734" y="39996"/>
                      <a:pt x="40123" y="39654"/>
                    </a:cubicBezTo>
                    <a:cubicBezTo>
                      <a:pt x="47304" y="39084"/>
                      <a:pt x="54486" y="41649"/>
                      <a:pt x="61667" y="41022"/>
                    </a:cubicBezTo>
                    <a:cubicBezTo>
                      <a:pt x="65662" y="41119"/>
                      <a:pt x="68985" y="37961"/>
                      <a:pt x="69082" y="33966"/>
                    </a:cubicBezTo>
                    <a:cubicBezTo>
                      <a:pt x="69099" y="33368"/>
                      <a:pt x="69036" y="32769"/>
                      <a:pt x="68905" y="32188"/>
                    </a:cubicBezTo>
                    <a:cubicBezTo>
                      <a:pt x="68620" y="29287"/>
                      <a:pt x="68620" y="26369"/>
                      <a:pt x="68905" y="23468"/>
                    </a:cubicBezTo>
                    <a:cubicBezTo>
                      <a:pt x="70302" y="19011"/>
                      <a:pt x="72952" y="15055"/>
                      <a:pt x="76543" y="12069"/>
                    </a:cubicBezTo>
                    <a:cubicBezTo>
                      <a:pt x="77796" y="10758"/>
                      <a:pt x="79051" y="9333"/>
                      <a:pt x="80190" y="7965"/>
                    </a:cubicBezTo>
                    <a:cubicBezTo>
                      <a:pt x="81102" y="8592"/>
                      <a:pt x="81957" y="9162"/>
                      <a:pt x="82869" y="9675"/>
                    </a:cubicBezTo>
                    <a:cubicBezTo>
                      <a:pt x="91698" y="14024"/>
                      <a:pt x="102356" y="11869"/>
                      <a:pt x="108802" y="4431"/>
                    </a:cubicBezTo>
                    <a:cubicBezTo>
                      <a:pt x="109776" y="2932"/>
                      <a:pt x="111036" y="1633"/>
                      <a:pt x="112506" y="613"/>
                    </a:cubicBezTo>
                    <a:cubicBezTo>
                      <a:pt x="115117" y="-470"/>
                      <a:pt x="118103" y="-100"/>
                      <a:pt x="120372" y="1582"/>
                    </a:cubicBezTo>
                    <a:cubicBezTo>
                      <a:pt x="122708" y="3063"/>
                      <a:pt x="124532" y="5229"/>
                      <a:pt x="126812" y="6825"/>
                    </a:cubicBezTo>
                    <a:cubicBezTo>
                      <a:pt x="134392" y="12525"/>
                      <a:pt x="144537" y="11043"/>
                      <a:pt x="154055" y="11442"/>
                    </a:cubicBezTo>
                    <a:cubicBezTo>
                      <a:pt x="153713" y="12183"/>
                      <a:pt x="153372" y="12924"/>
                      <a:pt x="153087" y="13664"/>
                    </a:cubicBezTo>
                    <a:cubicBezTo>
                      <a:pt x="152779" y="14252"/>
                      <a:pt x="152562" y="14890"/>
                      <a:pt x="152460" y="15545"/>
                    </a:cubicBezTo>
                    <a:cubicBezTo>
                      <a:pt x="152477" y="17289"/>
                      <a:pt x="153127" y="18971"/>
                      <a:pt x="154284" y="20276"/>
                    </a:cubicBezTo>
                    <a:cubicBezTo>
                      <a:pt x="156569" y="23741"/>
                      <a:pt x="159401" y="26825"/>
                      <a:pt x="162662" y="29395"/>
                    </a:cubicBezTo>
                    <a:cubicBezTo>
                      <a:pt x="156991" y="33875"/>
                      <a:pt x="151006" y="37950"/>
                      <a:pt x="144765" y="41592"/>
                    </a:cubicBezTo>
                    <a:cubicBezTo>
                      <a:pt x="142651" y="42572"/>
                      <a:pt x="140810" y="44060"/>
                      <a:pt x="139408" y="4592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1" name="Freihandform: Form 755">
                <a:extLst>
                  <a:ext uri="{FF2B5EF4-FFF2-40B4-BE49-F238E27FC236}">
                    <a16:creationId xmlns:a16="http://schemas.microsoft.com/office/drawing/2014/main" id="{9F35074C-CC5A-1BA0-8747-A01561054128}"/>
                  </a:ext>
                </a:extLst>
              </p:cNvPr>
              <p:cNvSpPr/>
              <p:nvPr/>
            </p:nvSpPr>
            <p:spPr>
              <a:xfrm>
                <a:off x="3922122" y="3047713"/>
                <a:ext cx="246849" cy="295354"/>
              </a:xfrm>
              <a:custGeom>
                <a:avLst/>
                <a:gdLst>
                  <a:gd name="connsiteX0" fmla="*/ 24938 w 246849"/>
                  <a:gd name="connsiteY0" fmla="*/ 185458 h 295354"/>
                  <a:gd name="connsiteX1" fmla="*/ 31036 w 246849"/>
                  <a:gd name="connsiteY1" fmla="*/ 180784 h 295354"/>
                  <a:gd name="connsiteX2" fmla="*/ 33943 w 246849"/>
                  <a:gd name="connsiteY2" fmla="*/ 177136 h 295354"/>
                  <a:gd name="connsiteX3" fmla="*/ 41580 w 246849"/>
                  <a:gd name="connsiteY3" fmla="*/ 177136 h 295354"/>
                  <a:gd name="connsiteX4" fmla="*/ 52010 w 246849"/>
                  <a:gd name="connsiteY4" fmla="*/ 172577 h 295354"/>
                  <a:gd name="connsiteX5" fmla="*/ 59363 w 246849"/>
                  <a:gd name="connsiteY5" fmla="*/ 176453 h 295354"/>
                  <a:gd name="connsiteX6" fmla="*/ 62042 w 246849"/>
                  <a:gd name="connsiteY6" fmla="*/ 184774 h 295354"/>
                  <a:gd name="connsiteX7" fmla="*/ 61358 w 246849"/>
                  <a:gd name="connsiteY7" fmla="*/ 214696 h 295354"/>
                  <a:gd name="connsiteX8" fmla="*/ 58850 w 246849"/>
                  <a:gd name="connsiteY8" fmla="*/ 223131 h 295354"/>
                  <a:gd name="connsiteX9" fmla="*/ 52124 w 246849"/>
                  <a:gd name="connsiteY9" fmla="*/ 227577 h 295354"/>
                  <a:gd name="connsiteX10" fmla="*/ 50802 w 246849"/>
                  <a:gd name="connsiteY10" fmla="*/ 233806 h 295354"/>
                  <a:gd name="connsiteX11" fmla="*/ 48192 w 246849"/>
                  <a:gd name="connsiteY11" fmla="*/ 234530 h 295354"/>
                  <a:gd name="connsiteX12" fmla="*/ 46710 w 246849"/>
                  <a:gd name="connsiteY12" fmla="*/ 236582 h 295354"/>
                  <a:gd name="connsiteX13" fmla="*/ 41010 w 246849"/>
                  <a:gd name="connsiteY13" fmla="*/ 240458 h 295354"/>
                  <a:gd name="connsiteX14" fmla="*/ 34741 w 246849"/>
                  <a:gd name="connsiteY14" fmla="*/ 239090 h 295354"/>
                  <a:gd name="connsiteX15" fmla="*/ 33373 w 246849"/>
                  <a:gd name="connsiteY15" fmla="*/ 235100 h 295354"/>
                  <a:gd name="connsiteX16" fmla="*/ 35311 w 246849"/>
                  <a:gd name="connsiteY16" fmla="*/ 216292 h 295354"/>
                  <a:gd name="connsiteX17" fmla="*/ 35653 w 246849"/>
                  <a:gd name="connsiteY17" fmla="*/ 211219 h 295354"/>
                  <a:gd name="connsiteX18" fmla="*/ 34114 w 246849"/>
                  <a:gd name="connsiteY18" fmla="*/ 209338 h 295354"/>
                  <a:gd name="connsiteX19" fmla="*/ 36052 w 246849"/>
                  <a:gd name="connsiteY19" fmla="*/ 203240 h 295354"/>
                  <a:gd name="connsiteX20" fmla="*/ 37306 w 246849"/>
                  <a:gd name="connsiteY20" fmla="*/ 197085 h 295354"/>
                  <a:gd name="connsiteX21" fmla="*/ 30922 w 246849"/>
                  <a:gd name="connsiteY21" fmla="*/ 195945 h 295354"/>
                  <a:gd name="connsiteX22" fmla="*/ 25565 w 246849"/>
                  <a:gd name="connsiteY22" fmla="*/ 189789 h 295354"/>
                  <a:gd name="connsiteX23" fmla="*/ 24938 w 246849"/>
                  <a:gd name="connsiteY23" fmla="*/ 185458 h 295354"/>
                  <a:gd name="connsiteX24" fmla="*/ 133228 w 246849"/>
                  <a:gd name="connsiteY24" fmla="*/ 17095 h 295354"/>
                  <a:gd name="connsiteX25" fmla="*/ 122627 w 246849"/>
                  <a:gd name="connsiteY25" fmla="*/ 12080 h 295354"/>
                  <a:gd name="connsiteX26" fmla="*/ 120689 w 246849"/>
                  <a:gd name="connsiteY26" fmla="*/ 3132 h 295354"/>
                  <a:gd name="connsiteX27" fmla="*/ 119720 w 246849"/>
                  <a:gd name="connsiteY27" fmla="*/ 1194 h 295354"/>
                  <a:gd name="connsiteX28" fmla="*/ 116528 w 246849"/>
                  <a:gd name="connsiteY28" fmla="*/ 282 h 295354"/>
                  <a:gd name="connsiteX29" fmla="*/ 93731 w 246849"/>
                  <a:gd name="connsiteY29" fmla="*/ 3416 h 295354"/>
                  <a:gd name="connsiteX30" fmla="*/ 85922 w 246849"/>
                  <a:gd name="connsiteY30" fmla="*/ 7748 h 295354"/>
                  <a:gd name="connsiteX31" fmla="*/ 79083 w 246849"/>
                  <a:gd name="connsiteY31" fmla="*/ 9401 h 295354"/>
                  <a:gd name="connsiteX32" fmla="*/ 78171 w 246849"/>
                  <a:gd name="connsiteY32" fmla="*/ 9401 h 295354"/>
                  <a:gd name="connsiteX33" fmla="*/ 73498 w 246849"/>
                  <a:gd name="connsiteY33" fmla="*/ 13334 h 295354"/>
                  <a:gd name="connsiteX34" fmla="*/ 71788 w 246849"/>
                  <a:gd name="connsiteY34" fmla="*/ 20287 h 295354"/>
                  <a:gd name="connsiteX35" fmla="*/ 69679 w 246849"/>
                  <a:gd name="connsiteY35" fmla="*/ 20800 h 295354"/>
                  <a:gd name="connsiteX36" fmla="*/ 55031 w 246849"/>
                  <a:gd name="connsiteY36" fmla="*/ 21997 h 295354"/>
                  <a:gd name="connsiteX37" fmla="*/ 54404 w 246849"/>
                  <a:gd name="connsiteY37" fmla="*/ 31173 h 295354"/>
                  <a:gd name="connsiteX38" fmla="*/ 45456 w 246849"/>
                  <a:gd name="connsiteY38" fmla="*/ 30261 h 295354"/>
                  <a:gd name="connsiteX39" fmla="*/ 43575 w 246849"/>
                  <a:gd name="connsiteY39" fmla="*/ 27639 h 295354"/>
                  <a:gd name="connsiteX40" fmla="*/ 35710 w 246849"/>
                  <a:gd name="connsiteY40" fmla="*/ 20401 h 295354"/>
                  <a:gd name="connsiteX41" fmla="*/ 34456 w 246849"/>
                  <a:gd name="connsiteY41" fmla="*/ 19945 h 295354"/>
                  <a:gd name="connsiteX42" fmla="*/ 31606 w 246849"/>
                  <a:gd name="connsiteY42" fmla="*/ 21484 h 295354"/>
                  <a:gd name="connsiteX43" fmla="*/ 16959 w 246849"/>
                  <a:gd name="connsiteY43" fmla="*/ 36188 h 295354"/>
                  <a:gd name="connsiteX44" fmla="*/ 11259 w 246849"/>
                  <a:gd name="connsiteY44" fmla="*/ 40748 h 295354"/>
                  <a:gd name="connsiteX45" fmla="*/ 8580 w 246849"/>
                  <a:gd name="connsiteY45" fmla="*/ 41888 h 295354"/>
                  <a:gd name="connsiteX46" fmla="*/ 9036 w 246849"/>
                  <a:gd name="connsiteY46" fmla="*/ 46790 h 295354"/>
                  <a:gd name="connsiteX47" fmla="*/ 487 w 246849"/>
                  <a:gd name="connsiteY47" fmla="*/ 75287 h 295354"/>
                  <a:gd name="connsiteX48" fmla="*/ 5674 w 246849"/>
                  <a:gd name="connsiteY48" fmla="*/ 83209 h 295354"/>
                  <a:gd name="connsiteX49" fmla="*/ 15819 w 246849"/>
                  <a:gd name="connsiteY49" fmla="*/ 94608 h 295354"/>
                  <a:gd name="connsiteX50" fmla="*/ 22259 w 246849"/>
                  <a:gd name="connsiteY50" fmla="*/ 89820 h 295354"/>
                  <a:gd name="connsiteX51" fmla="*/ 52523 w 246849"/>
                  <a:gd name="connsiteY51" fmla="*/ 77852 h 295354"/>
                  <a:gd name="connsiteX52" fmla="*/ 74352 w 246849"/>
                  <a:gd name="connsiteY52" fmla="*/ 94950 h 295354"/>
                  <a:gd name="connsiteX53" fmla="*/ 88145 w 246849"/>
                  <a:gd name="connsiteY53" fmla="*/ 119971 h 295354"/>
                  <a:gd name="connsiteX54" fmla="*/ 94586 w 246849"/>
                  <a:gd name="connsiteY54" fmla="*/ 128064 h 295354"/>
                  <a:gd name="connsiteX55" fmla="*/ 102280 w 246849"/>
                  <a:gd name="connsiteY55" fmla="*/ 137126 h 295354"/>
                  <a:gd name="connsiteX56" fmla="*/ 118751 w 246849"/>
                  <a:gd name="connsiteY56" fmla="*/ 154680 h 295354"/>
                  <a:gd name="connsiteX57" fmla="*/ 141093 w 246849"/>
                  <a:gd name="connsiteY57" fmla="*/ 169955 h 295354"/>
                  <a:gd name="connsiteX58" fmla="*/ 156425 w 246849"/>
                  <a:gd name="connsiteY58" fmla="*/ 179188 h 295354"/>
                  <a:gd name="connsiteX59" fmla="*/ 162922 w 246849"/>
                  <a:gd name="connsiteY59" fmla="*/ 183976 h 295354"/>
                  <a:gd name="connsiteX60" fmla="*/ 172611 w 246849"/>
                  <a:gd name="connsiteY60" fmla="*/ 194976 h 295354"/>
                  <a:gd name="connsiteX61" fmla="*/ 184751 w 246849"/>
                  <a:gd name="connsiteY61" fmla="*/ 199022 h 295354"/>
                  <a:gd name="connsiteX62" fmla="*/ 187544 w 246849"/>
                  <a:gd name="connsiteY62" fmla="*/ 204323 h 295354"/>
                  <a:gd name="connsiteX63" fmla="*/ 194611 w 246849"/>
                  <a:gd name="connsiteY63" fmla="*/ 225867 h 295354"/>
                  <a:gd name="connsiteX64" fmla="*/ 194098 w 246849"/>
                  <a:gd name="connsiteY64" fmla="*/ 238862 h 295354"/>
                  <a:gd name="connsiteX65" fmla="*/ 186974 w 246849"/>
                  <a:gd name="connsiteY65" fmla="*/ 244561 h 295354"/>
                  <a:gd name="connsiteX66" fmla="*/ 185720 w 246849"/>
                  <a:gd name="connsiteY66" fmla="*/ 253338 h 295354"/>
                  <a:gd name="connsiteX67" fmla="*/ 180533 w 246849"/>
                  <a:gd name="connsiteY67" fmla="*/ 255675 h 295354"/>
                  <a:gd name="connsiteX68" fmla="*/ 139440 w 246849"/>
                  <a:gd name="connsiteY68" fmla="*/ 258411 h 295354"/>
                  <a:gd name="connsiteX69" fmla="*/ 126674 w 246849"/>
                  <a:gd name="connsiteY69" fmla="*/ 258981 h 295354"/>
                  <a:gd name="connsiteX70" fmla="*/ 124622 w 246849"/>
                  <a:gd name="connsiteY70" fmla="*/ 269525 h 295354"/>
                  <a:gd name="connsiteX71" fmla="*/ 127471 w 246849"/>
                  <a:gd name="connsiteY71" fmla="*/ 270551 h 295354"/>
                  <a:gd name="connsiteX72" fmla="*/ 151409 w 246849"/>
                  <a:gd name="connsiteY72" fmla="*/ 276250 h 295354"/>
                  <a:gd name="connsiteX73" fmla="*/ 152663 w 246849"/>
                  <a:gd name="connsiteY73" fmla="*/ 282976 h 295354"/>
                  <a:gd name="connsiteX74" fmla="*/ 165772 w 246849"/>
                  <a:gd name="connsiteY74" fmla="*/ 289359 h 295354"/>
                  <a:gd name="connsiteX75" fmla="*/ 179109 w 246849"/>
                  <a:gd name="connsiteY75" fmla="*/ 294204 h 295354"/>
                  <a:gd name="connsiteX76" fmla="*/ 174492 w 246849"/>
                  <a:gd name="connsiteY76" fmla="*/ 272033 h 295354"/>
                  <a:gd name="connsiteX77" fmla="*/ 181730 w 246849"/>
                  <a:gd name="connsiteY77" fmla="*/ 269411 h 295354"/>
                  <a:gd name="connsiteX78" fmla="*/ 185207 w 246849"/>
                  <a:gd name="connsiteY78" fmla="*/ 260577 h 295354"/>
                  <a:gd name="connsiteX79" fmla="*/ 195295 w 246849"/>
                  <a:gd name="connsiteY79" fmla="*/ 256929 h 295354"/>
                  <a:gd name="connsiteX80" fmla="*/ 206694 w 246849"/>
                  <a:gd name="connsiteY80" fmla="*/ 243421 h 295354"/>
                  <a:gd name="connsiteX81" fmla="*/ 215699 w 246849"/>
                  <a:gd name="connsiteY81" fmla="*/ 226323 h 295354"/>
                  <a:gd name="connsiteX82" fmla="*/ 217523 w 246849"/>
                  <a:gd name="connsiteY82" fmla="*/ 219940 h 295354"/>
                  <a:gd name="connsiteX83" fmla="*/ 215870 w 246849"/>
                  <a:gd name="connsiteY83" fmla="*/ 216064 h 295354"/>
                  <a:gd name="connsiteX84" fmla="*/ 202420 w 246849"/>
                  <a:gd name="connsiteY84" fmla="*/ 205862 h 295354"/>
                  <a:gd name="connsiteX85" fmla="*/ 208860 w 246849"/>
                  <a:gd name="connsiteY85" fmla="*/ 193095 h 295354"/>
                  <a:gd name="connsiteX86" fmla="*/ 233254 w 246849"/>
                  <a:gd name="connsiteY86" fmla="*/ 196458 h 295354"/>
                  <a:gd name="connsiteX87" fmla="*/ 236428 w 246849"/>
                  <a:gd name="connsiteY87" fmla="*/ 206021 h 295354"/>
                  <a:gd name="connsiteX88" fmla="*/ 245280 w 246849"/>
                  <a:gd name="connsiteY88" fmla="*/ 203981 h 295354"/>
                  <a:gd name="connsiteX89" fmla="*/ 244710 w 246849"/>
                  <a:gd name="connsiteY89" fmla="*/ 192582 h 295354"/>
                  <a:gd name="connsiteX90" fmla="*/ 235648 w 246849"/>
                  <a:gd name="connsiteY90" fmla="*/ 185059 h 295354"/>
                  <a:gd name="connsiteX91" fmla="*/ 204528 w 246849"/>
                  <a:gd name="connsiteY91" fmla="*/ 166478 h 295354"/>
                  <a:gd name="connsiteX92" fmla="*/ 199570 w 246849"/>
                  <a:gd name="connsiteY92" fmla="*/ 163401 h 295354"/>
                  <a:gd name="connsiteX93" fmla="*/ 179792 w 246849"/>
                  <a:gd name="connsiteY93" fmla="*/ 154281 h 295354"/>
                  <a:gd name="connsiteX94" fmla="*/ 172953 w 246849"/>
                  <a:gd name="connsiteY94" fmla="*/ 147385 h 295354"/>
                  <a:gd name="connsiteX95" fmla="*/ 158933 w 246849"/>
                  <a:gd name="connsiteY95" fmla="*/ 144022 h 295354"/>
                  <a:gd name="connsiteX96" fmla="*/ 156995 w 246849"/>
                  <a:gd name="connsiteY96" fmla="*/ 135017 h 295354"/>
                  <a:gd name="connsiteX97" fmla="*/ 153290 w 246849"/>
                  <a:gd name="connsiteY97" fmla="*/ 126126 h 295354"/>
                  <a:gd name="connsiteX98" fmla="*/ 156482 w 246849"/>
                  <a:gd name="connsiteY98" fmla="*/ 122137 h 295354"/>
                  <a:gd name="connsiteX99" fmla="*/ 150782 w 246849"/>
                  <a:gd name="connsiteY99" fmla="*/ 114841 h 295354"/>
                  <a:gd name="connsiteX100" fmla="*/ 149243 w 246849"/>
                  <a:gd name="connsiteY100" fmla="*/ 105323 h 295354"/>
                  <a:gd name="connsiteX101" fmla="*/ 142518 w 246849"/>
                  <a:gd name="connsiteY101" fmla="*/ 101561 h 295354"/>
                  <a:gd name="connsiteX102" fmla="*/ 133171 w 246849"/>
                  <a:gd name="connsiteY102" fmla="*/ 91131 h 295354"/>
                  <a:gd name="connsiteX103" fmla="*/ 119663 w 246849"/>
                  <a:gd name="connsiteY103" fmla="*/ 81556 h 295354"/>
                  <a:gd name="connsiteX104" fmla="*/ 116586 w 246849"/>
                  <a:gd name="connsiteY104" fmla="*/ 54313 h 295354"/>
                  <a:gd name="connsiteX105" fmla="*/ 126388 w 246849"/>
                  <a:gd name="connsiteY105" fmla="*/ 51634 h 295354"/>
                  <a:gd name="connsiteX106" fmla="*/ 130435 w 246849"/>
                  <a:gd name="connsiteY106" fmla="*/ 40691 h 295354"/>
                  <a:gd name="connsiteX107" fmla="*/ 136135 w 246849"/>
                  <a:gd name="connsiteY107" fmla="*/ 35448 h 295354"/>
                  <a:gd name="connsiteX108" fmla="*/ 133114 w 246849"/>
                  <a:gd name="connsiteY108" fmla="*/ 18349 h 295354"/>
                  <a:gd name="connsiteX109" fmla="*/ 133057 w 246849"/>
                  <a:gd name="connsiteY109" fmla="*/ 17095 h 29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46849" h="295354">
                    <a:moveTo>
                      <a:pt x="24938" y="185458"/>
                    </a:moveTo>
                    <a:cubicBezTo>
                      <a:pt x="25736" y="183007"/>
                      <a:pt x="29155" y="182665"/>
                      <a:pt x="31036" y="180784"/>
                    </a:cubicBezTo>
                    <a:cubicBezTo>
                      <a:pt x="32917" y="178903"/>
                      <a:pt x="32632" y="178048"/>
                      <a:pt x="33943" y="177136"/>
                    </a:cubicBezTo>
                    <a:cubicBezTo>
                      <a:pt x="35254" y="176224"/>
                      <a:pt x="38959" y="177136"/>
                      <a:pt x="41580" y="177136"/>
                    </a:cubicBezTo>
                    <a:cubicBezTo>
                      <a:pt x="45399" y="177136"/>
                      <a:pt x="48192" y="173033"/>
                      <a:pt x="52010" y="172577"/>
                    </a:cubicBezTo>
                    <a:cubicBezTo>
                      <a:pt x="54986" y="172429"/>
                      <a:pt x="57807" y="173916"/>
                      <a:pt x="59363" y="176453"/>
                    </a:cubicBezTo>
                    <a:cubicBezTo>
                      <a:pt x="60879" y="178989"/>
                      <a:pt x="61796" y="181833"/>
                      <a:pt x="62042" y="184774"/>
                    </a:cubicBezTo>
                    <a:cubicBezTo>
                      <a:pt x="63010" y="194736"/>
                      <a:pt x="62777" y="204785"/>
                      <a:pt x="61358" y="214696"/>
                    </a:cubicBezTo>
                    <a:cubicBezTo>
                      <a:pt x="61306" y="217683"/>
                      <a:pt x="60440" y="220601"/>
                      <a:pt x="58850" y="223131"/>
                    </a:cubicBezTo>
                    <a:cubicBezTo>
                      <a:pt x="56992" y="225126"/>
                      <a:pt x="54689" y="226653"/>
                      <a:pt x="52124" y="227577"/>
                    </a:cubicBezTo>
                    <a:cubicBezTo>
                      <a:pt x="53481" y="229663"/>
                      <a:pt x="52888" y="232450"/>
                      <a:pt x="50802" y="233806"/>
                    </a:cubicBezTo>
                    <a:cubicBezTo>
                      <a:pt x="50027" y="234308"/>
                      <a:pt x="49115" y="234564"/>
                      <a:pt x="48192" y="234530"/>
                    </a:cubicBezTo>
                    <a:cubicBezTo>
                      <a:pt x="47924" y="235351"/>
                      <a:pt x="47405" y="236069"/>
                      <a:pt x="46710" y="236582"/>
                    </a:cubicBezTo>
                    <a:cubicBezTo>
                      <a:pt x="45091" y="238246"/>
                      <a:pt x="43153" y="239569"/>
                      <a:pt x="41010" y="240458"/>
                    </a:cubicBezTo>
                    <a:cubicBezTo>
                      <a:pt x="38839" y="241335"/>
                      <a:pt x="36348" y="240788"/>
                      <a:pt x="34741" y="239090"/>
                    </a:cubicBezTo>
                    <a:cubicBezTo>
                      <a:pt x="33909" y="237921"/>
                      <a:pt x="33436" y="236536"/>
                      <a:pt x="33373" y="235100"/>
                    </a:cubicBezTo>
                    <a:cubicBezTo>
                      <a:pt x="32586" y="228762"/>
                      <a:pt x="33253" y="222333"/>
                      <a:pt x="35311" y="216292"/>
                    </a:cubicBezTo>
                    <a:cubicBezTo>
                      <a:pt x="36149" y="214730"/>
                      <a:pt x="36274" y="212878"/>
                      <a:pt x="35653" y="211219"/>
                    </a:cubicBezTo>
                    <a:cubicBezTo>
                      <a:pt x="35254" y="210535"/>
                      <a:pt x="34513" y="210022"/>
                      <a:pt x="34114" y="209338"/>
                    </a:cubicBezTo>
                    <a:cubicBezTo>
                      <a:pt x="32974" y="207344"/>
                      <a:pt x="34627" y="205007"/>
                      <a:pt x="36052" y="203240"/>
                    </a:cubicBezTo>
                    <a:cubicBezTo>
                      <a:pt x="37477" y="201473"/>
                      <a:pt x="38845" y="198794"/>
                      <a:pt x="37306" y="197085"/>
                    </a:cubicBezTo>
                    <a:cubicBezTo>
                      <a:pt x="35767" y="195375"/>
                      <a:pt x="33088" y="196458"/>
                      <a:pt x="30922" y="195945"/>
                    </a:cubicBezTo>
                    <a:cubicBezTo>
                      <a:pt x="28756" y="195432"/>
                      <a:pt x="26648" y="192411"/>
                      <a:pt x="25565" y="189789"/>
                    </a:cubicBezTo>
                    <a:cubicBezTo>
                      <a:pt x="24818" y="188478"/>
                      <a:pt x="24590" y="186928"/>
                      <a:pt x="24938" y="185458"/>
                    </a:cubicBezTo>
                    <a:close/>
                    <a:moveTo>
                      <a:pt x="133228" y="17095"/>
                    </a:moveTo>
                    <a:cubicBezTo>
                      <a:pt x="129039" y="17511"/>
                      <a:pt x="124964" y="15579"/>
                      <a:pt x="122627" y="12080"/>
                    </a:cubicBezTo>
                    <a:cubicBezTo>
                      <a:pt x="121601" y="9190"/>
                      <a:pt x="120951" y="6186"/>
                      <a:pt x="120689" y="3132"/>
                    </a:cubicBezTo>
                    <a:cubicBezTo>
                      <a:pt x="120552" y="2408"/>
                      <a:pt x="120216" y="1735"/>
                      <a:pt x="119720" y="1194"/>
                    </a:cubicBezTo>
                    <a:cubicBezTo>
                      <a:pt x="118802" y="516"/>
                      <a:pt x="117668" y="191"/>
                      <a:pt x="116528" y="282"/>
                    </a:cubicBezTo>
                    <a:cubicBezTo>
                      <a:pt x="108789" y="-567"/>
                      <a:pt x="100958" y="510"/>
                      <a:pt x="93731" y="3416"/>
                    </a:cubicBezTo>
                    <a:cubicBezTo>
                      <a:pt x="91052" y="4784"/>
                      <a:pt x="88658" y="6608"/>
                      <a:pt x="85922" y="7748"/>
                    </a:cubicBezTo>
                    <a:cubicBezTo>
                      <a:pt x="83705" y="8535"/>
                      <a:pt x="81414" y="9088"/>
                      <a:pt x="79083" y="9401"/>
                    </a:cubicBezTo>
                    <a:lnTo>
                      <a:pt x="78171" y="9401"/>
                    </a:lnTo>
                    <a:cubicBezTo>
                      <a:pt x="76917" y="10997"/>
                      <a:pt x="74466" y="11510"/>
                      <a:pt x="73498" y="13334"/>
                    </a:cubicBezTo>
                    <a:cubicBezTo>
                      <a:pt x="72529" y="15157"/>
                      <a:pt x="73839" y="19033"/>
                      <a:pt x="71788" y="20287"/>
                    </a:cubicBezTo>
                    <a:cubicBezTo>
                      <a:pt x="71138" y="20629"/>
                      <a:pt x="70414" y="20806"/>
                      <a:pt x="69679" y="20800"/>
                    </a:cubicBezTo>
                    <a:lnTo>
                      <a:pt x="55031" y="21997"/>
                    </a:lnTo>
                    <a:cubicBezTo>
                      <a:pt x="55396" y="25069"/>
                      <a:pt x="55185" y="28181"/>
                      <a:pt x="54404" y="31173"/>
                    </a:cubicBezTo>
                    <a:cubicBezTo>
                      <a:pt x="51452" y="32336"/>
                      <a:pt x="48118" y="31994"/>
                      <a:pt x="45456" y="30261"/>
                    </a:cubicBezTo>
                    <a:cubicBezTo>
                      <a:pt x="44715" y="29475"/>
                      <a:pt x="44082" y="28591"/>
                      <a:pt x="43575" y="27639"/>
                    </a:cubicBezTo>
                    <a:cubicBezTo>
                      <a:pt x="41654" y="24562"/>
                      <a:pt x="38936" y="22060"/>
                      <a:pt x="35710" y="20401"/>
                    </a:cubicBezTo>
                    <a:cubicBezTo>
                      <a:pt x="35328" y="20167"/>
                      <a:pt x="34900" y="20008"/>
                      <a:pt x="34456" y="19945"/>
                    </a:cubicBezTo>
                    <a:cubicBezTo>
                      <a:pt x="33322" y="19996"/>
                      <a:pt x="32267" y="20561"/>
                      <a:pt x="31606" y="21484"/>
                    </a:cubicBezTo>
                    <a:lnTo>
                      <a:pt x="16959" y="36188"/>
                    </a:lnTo>
                    <a:cubicBezTo>
                      <a:pt x="15294" y="37984"/>
                      <a:pt x="13374" y="39517"/>
                      <a:pt x="11259" y="40748"/>
                    </a:cubicBezTo>
                    <a:cubicBezTo>
                      <a:pt x="10393" y="41187"/>
                      <a:pt x="9498" y="41569"/>
                      <a:pt x="8580" y="41888"/>
                    </a:cubicBezTo>
                    <a:cubicBezTo>
                      <a:pt x="8991" y="43489"/>
                      <a:pt x="9145" y="45142"/>
                      <a:pt x="9036" y="46790"/>
                    </a:cubicBezTo>
                    <a:cubicBezTo>
                      <a:pt x="8181" y="56878"/>
                      <a:pt x="-2362" y="65541"/>
                      <a:pt x="487" y="75287"/>
                    </a:cubicBezTo>
                    <a:cubicBezTo>
                      <a:pt x="1633" y="78268"/>
                      <a:pt x="3400" y="80969"/>
                      <a:pt x="5674" y="83209"/>
                    </a:cubicBezTo>
                    <a:lnTo>
                      <a:pt x="15819" y="94608"/>
                    </a:lnTo>
                    <a:cubicBezTo>
                      <a:pt x="17985" y="93012"/>
                      <a:pt x="20093" y="91359"/>
                      <a:pt x="22259" y="89820"/>
                    </a:cubicBezTo>
                    <a:cubicBezTo>
                      <a:pt x="31208" y="83209"/>
                      <a:pt x="41466" y="76199"/>
                      <a:pt x="52523" y="77852"/>
                    </a:cubicBezTo>
                    <a:cubicBezTo>
                      <a:pt x="61939" y="80103"/>
                      <a:pt x="69907" y="86350"/>
                      <a:pt x="74352" y="94950"/>
                    </a:cubicBezTo>
                    <a:cubicBezTo>
                      <a:pt x="79368" y="103100"/>
                      <a:pt x="82731" y="112049"/>
                      <a:pt x="88145" y="119971"/>
                    </a:cubicBezTo>
                    <a:cubicBezTo>
                      <a:pt x="90140" y="122820"/>
                      <a:pt x="92363" y="125670"/>
                      <a:pt x="94586" y="128064"/>
                    </a:cubicBezTo>
                    <a:lnTo>
                      <a:pt x="102280" y="137126"/>
                    </a:lnTo>
                    <a:cubicBezTo>
                      <a:pt x="107335" y="143367"/>
                      <a:pt x="112841" y="149238"/>
                      <a:pt x="118751" y="154680"/>
                    </a:cubicBezTo>
                    <a:cubicBezTo>
                      <a:pt x="125750" y="160403"/>
                      <a:pt x="133222" y="165515"/>
                      <a:pt x="141093" y="169955"/>
                    </a:cubicBezTo>
                    <a:lnTo>
                      <a:pt x="156425" y="179188"/>
                    </a:lnTo>
                    <a:cubicBezTo>
                      <a:pt x="158773" y="180516"/>
                      <a:pt x="160956" y="182123"/>
                      <a:pt x="162922" y="183976"/>
                    </a:cubicBezTo>
                    <a:cubicBezTo>
                      <a:pt x="166342" y="187510"/>
                      <a:pt x="168166" y="192753"/>
                      <a:pt x="172611" y="194976"/>
                    </a:cubicBezTo>
                    <a:cubicBezTo>
                      <a:pt x="177057" y="197199"/>
                      <a:pt x="181673" y="196002"/>
                      <a:pt x="184751" y="199022"/>
                    </a:cubicBezTo>
                    <a:cubicBezTo>
                      <a:pt x="186096" y="200538"/>
                      <a:pt x="187059" y="202357"/>
                      <a:pt x="187544" y="204323"/>
                    </a:cubicBezTo>
                    <a:cubicBezTo>
                      <a:pt x="189881" y="211504"/>
                      <a:pt x="192274" y="218686"/>
                      <a:pt x="194611" y="225867"/>
                    </a:cubicBezTo>
                    <a:cubicBezTo>
                      <a:pt x="196036" y="230198"/>
                      <a:pt x="197290" y="235556"/>
                      <a:pt x="194098" y="238862"/>
                    </a:cubicBezTo>
                    <a:cubicBezTo>
                      <a:pt x="191989" y="241085"/>
                      <a:pt x="188399" y="241768"/>
                      <a:pt x="186974" y="244561"/>
                    </a:cubicBezTo>
                    <a:cubicBezTo>
                      <a:pt x="185549" y="247354"/>
                      <a:pt x="187430" y="250888"/>
                      <a:pt x="185720" y="253338"/>
                    </a:cubicBezTo>
                    <a:cubicBezTo>
                      <a:pt x="184358" y="254763"/>
                      <a:pt x="182500" y="255601"/>
                      <a:pt x="180533" y="255675"/>
                    </a:cubicBezTo>
                    <a:cubicBezTo>
                      <a:pt x="167026" y="258457"/>
                      <a:pt x="153199" y="259380"/>
                      <a:pt x="139440" y="258411"/>
                    </a:cubicBezTo>
                    <a:cubicBezTo>
                      <a:pt x="135217" y="257379"/>
                      <a:pt x="130789" y="257579"/>
                      <a:pt x="126674" y="258981"/>
                    </a:cubicBezTo>
                    <a:cubicBezTo>
                      <a:pt x="122798" y="260919"/>
                      <a:pt x="120974" y="267131"/>
                      <a:pt x="124622" y="269525"/>
                    </a:cubicBezTo>
                    <a:cubicBezTo>
                      <a:pt x="125505" y="270032"/>
                      <a:pt x="126468" y="270380"/>
                      <a:pt x="127471" y="270551"/>
                    </a:cubicBezTo>
                    <a:lnTo>
                      <a:pt x="151409" y="276250"/>
                    </a:lnTo>
                    <a:cubicBezTo>
                      <a:pt x="151808" y="278473"/>
                      <a:pt x="152264" y="280753"/>
                      <a:pt x="152663" y="282976"/>
                    </a:cubicBezTo>
                    <a:cubicBezTo>
                      <a:pt x="157394" y="280753"/>
                      <a:pt x="162352" y="285369"/>
                      <a:pt x="165772" y="289359"/>
                    </a:cubicBezTo>
                    <a:cubicBezTo>
                      <a:pt x="169192" y="293349"/>
                      <a:pt x="174948" y="297395"/>
                      <a:pt x="179109" y="294204"/>
                    </a:cubicBezTo>
                    <a:lnTo>
                      <a:pt x="174492" y="272033"/>
                    </a:lnTo>
                    <a:lnTo>
                      <a:pt x="181730" y="269411"/>
                    </a:lnTo>
                    <a:cubicBezTo>
                      <a:pt x="179679" y="266447"/>
                      <a:pt x="182072" y="262287"/>
                      <a:pt x="185207" y="260577"/>
                    </a:cubicBezTo>
                    <a:cubicBezTo>
                      <a:pt x="188342" y="258867"/>
                      <a:pt x="192104" y="258468"/>
                      <a:pt x="195295" y="256929"/>
                    </a:cubicBezTo>
                    <a:cubicBezTo>
                      <a:pt x="200413" y="253732"/>
                      <a:pt x="204403" y="249007"/>
                      <a:pt x="206694" y="243421"/>
                    </a:cubicBezTo>
                    <a:lnTo>
                      <a:pt x="215699" y="226323"/>
                    </a:lnTo>
                    <a:cubicBezTo>
                      <a:pt x="216925" y="224425"/>
                      <a:pt x="217563" y="222202"/>
                      <a:pt x="217523" y="219940"/>
                    </a:cubicBezTo>
                    <a:cubicBezTo>
                      <a:pt x="217295" y="218532"/>
                      <a:pt x="216731" y="217204"/>
                      <a:pt x="215870" y="216064"/>
                    </a:cubicBezTo>
                    <a:cubicBezTo>
                      <a:pt x="212684" y="211225"/>
                      <a:pt x="207937" y="207623"/>
                      <a:pt x="202420" y="205862"/>
                    </a:cubicBezTo>
                    <a:cubicBezTo>
                      <a:pt x="206033" y="202522"/>
                      <a:pt x="208318" y="197985"/>
                      <a:pt x="208860" y="193095"/>
                    </a:cubicBezTo>
                    <a:lnTo>
                      <a:pt x="233254" y="196458"/>
                    </a:lnTo>
                    <a:cubicBezTo>
                      <a:pt x="231493" y="199974"/>
                      <a:pt x="232912" y="204254"/>
                      <a:pt x="236428" y="206021"/>
                    </a:cubicBezTo>
                    <a:cubicBezTo>
                      <a:pt x="239489" y="207549"/>
                      <a:pt x="243199" y="206694"/>
                      <a:pt x="245280" y="203981"/>
                    </a:cubicBezTo>
                    <a:cubicBezTo>
                      <a:pt x="247565" y="200459"/>
                      <a:pt x="247337" y="195859"/>
                      <a:pt x="244710" y="192582"/>
                    </a:cubicBezTo>
                    <a:cubicBezTo>
                      <a:pt x="242230" y="189482"/>
                      <a:pt x="239147" y="186922"/>
                      <a:pt x="235648" y="185059"/>
                    </a:cubicBezTo>
                    <a:lnTo>
                      <a:pt x="204528" y="166478"/>
                    </a:lnTo>
                    <a:lnTo>
                      <a:pt x="199570" y="163401"/>
                    </a:lnTo>
                    <a:cubicBezTo>
                      <a:pt x="193568" y="159212"/>
                      <a:pt x="186871" y="156128"/>
                      <a:pt x="179792" y="154281"/>
                    </a:cubicBezTo>
                    <a:cubicBezTo>
                      <a:pt x="175860" y="153541"/>
                      <a:pt x="170389" y="150406"/>
                      <a:pt x="172953" y="147385"/>
                    </a:cubicBezTo>
                    <a:lnTo>
                      <a:pt x="158933" y="144022"/>
                    </a:lnTo>
                    <a:cubicBezTo>
                      <a:pt x="161668" y="141914"/>
                      <a:pt x="159502" y="137468"/>
                      <a:pt x="156995" y="135017"/>
                    </a:cubicBezTo>
                    <a:cubicBezTo>
                      <a:pt x="154487" y="132567"/>
                      <a:pt x="151295" y="129318"/>
                      <a:pt x="153290" y="126126"/>
                    </a:cubicBezTo>
                    <a:cubicBezTo>
                      <a:pt x="154145" y="124644"/>
                      <a:pt x="156026" y="123789"/>
                      <a:pt x="156482" y="122137"/>
                    </a:cubicBezTo>
                    <a:cubicBezTo>
                      <a:pt x="157280" y="119059"/>
                      <a:pt x="152948" y="117406"/>
                      <a:pt x="150782" y="114841"/>
                    </a:cubicBezTo>
                    <a:cubicBezTo>
                      <a:pt x="148617" y="112276"/>
                      <a:pt x="149756" y="108572"/>
                      <a:pt x="149243" y="105323"/>
                    </a:cubicBezTo>
                    <a:cubicBezTo>
                      <a:pt x="148731" y="102074"/>
                      <a:pt x="144570" y="99054"/>
                      <a:pt x="142518" y="101561"/>
                    </a:cubicBezTo>
                    <a:lnTo>
                      <a:pt x="133171" y="91131"/>
                    </a:lnTo>
                    <a:cubicBezTo>
                      <a:pt x="129882" y="86503"/>
                      <a:pt x="125118" y="83129"/>
                      <a:pt x="119663" y="81556"/>
                    </a:cubicBezTo>
                    <a:cubicBezTo>
                      <a:pt x="119720" y="72386"/>
                      <a:pt x="118689" y="63238"/>
                      <a:pt x="116586" y="54313"/>
                    </a:cubicBezTo>
                    <a:cubicBezTo>
                      <a:pt x="119378" y="57048"/>
                      <a:pt x="124337" y="54940"/>
                      <a:pt x="126388" y="51634"/>
                    </a:cubicBezTo>
                    <a:cubicBezTo>
                      <a:pt x="127984" y="48083"/>
                      <a:pt x="129335" y="44424"/>
                      <a:pt x="130435" y="40691"/>
                    </a:cubicBezTo>
                    <a:cubicBezTo>
                      <a:pt x="131575" y="38263"/>
                      <a:pt x="133621" y="36382"/>
                      <a:pt x="136135" y="35448"/>
                    </a:cubicBezTo>
                    <a:cubicBezTo>
                      <a:pt x="135508" y="29748"/>
                      <a:pt x="134083" y="24049"/>
                      <a:pt x="133114" y="18349"/>
                    </a:cubicBezTo>
                    <a:cubicBezTo>
                      <a:pt x="133034" y="17939"/>
                      <a:pt x="133017" y="17511"/>
                      <a:pt x="133057" y="1709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2" name="Freihandform: Form 756">
                <a:extLst>
                  <a:ext uri="{FF2B5EF4-FFF2-40B4-BE49-F238E27FC236}">
                    <a16:creationId xmlns:a16="http://schemas.microsoft.com/office/drawing/2014/main" id="{D6167431-17DC-859A-1B74-454526E2A090}"/>
                  </a:ext>
                </a:extLst>
              </p:cNvPr>
              <p:cNvSpPr/>
              <p:nvPr/>
            </p:nvSpPr>
            <p:spPr>
              <a:xfrm>
                <a:off x="4055271" y="3050217"/>
                <a:ext cx="74741" cy="54828"/>
              </a:xfrm>
              <a:custGeom>
                <a:avLst/>
                <a:gdLst>
                  <a:gd name="connsiteX0" fmla="*/ 21965 w 74741"/>
                  <a:gd name="connsiteY0" fmla="*/ 52492 h 54828"/>
                  <a:gd name="connsiteX1" fmla="*/ 20597 w 74741"/>
                  <a:gd name="connsiteY1" fmla="*/ 54829 h 54828"/>
                  <a:gd name="connsiteX2" fmla="*/ 18659 w 74741"/>
                  <a:gd name="connsiteY2" fmla="*/ 51010 h 54828"/>
                  <a:gd name="connsiteX3" fmla="*/ 17063 w 74741"/>
                  <a:gd name="connsiteY3" fmla="*/ 45311 h 54828"/>
                  <a:gd name="connsiteX4" fmla="*/ 9711 w 74741"/>
                  <a:gd name="connsiteY4" fmla="*/ 40181 h 54828"/>
                  <a:gd name="connsiteX5" fmla="*/ 6747 w 74741"/>
                  <a:gd name="connsiteY5" fmla="*/ 32715 h 54828"/>
                  <a:gd name="connsiteX6" fmla="*/ 3042 w 74741"/>
                  <a:gd name="connsiteY6" fmla="*/ 32715 h 54828"/>
                  <a:gd name="connsiteX7" fmla="*/ 21 w 74741"/>
                  <a:gd name="connsiteY7" fmla="*/ 15616 h 54828"/>
                  <a:gd name="connsiteX8" fmla="*/ 21 w 74741"/>
                  <a:gd name="connsiteY8" fmla="*/ 14762 h 54828"/>
                  <a:gd name="connsiteX9" fmla="*/ 363 w 74741"/>
                  <a:gd name="connsiteY9" fmla="*/ 14762 h 54828"/>
                  <a:gd name="connsiteX10" fmla="*/ 12959 w 74741"/>
                  <a:gd name="connsiteY10" fmla="*/ 13280 h 54828"/>
                  <a:gd name="connsiteX11" fmla="*/ 35244 w 74741"/>
                  <a:gd name="connsiteY11" fmla="*/ 12710 h 54828"/>
                  <a:gd name="connsiteX12" fmla="*/ 44421 w 74741"/>
                  <a:gd name="connsiteY12" fmla="*/ 5927 h 54828"/>
                  <a:gd name="connsiteX13" fmla="*/ 50120 w 74741"/>
                  <a:gd name="connsiteY13" fmla="*/ 5357 h 54828"/>
                  <a:gd name="connsiteX14" fmla="*/ 59125 w 74741"/>
                  <a:gd name="connsiteY14" fmla="*/ 1881 h 54828"/>
                  <a:gd name="connsiteX15" fmla="*/ 64083 w 74741"/>
                  <a:gd name="connsiteY15" fmla="*/ 3021 h 54828"/>
                  <a:gd name="connsiteX16" fmla="*/ 73602 w 74741"/>
                  <a:gd name="connsiteY16" fmla="*/ 0 h 54828"/>
                  <a:gd name="connsiteX17" fmla="*/ 73887 w 74741"/>
                  <a:gd name="connsiteY17" fmla="*/ 2223 h 54828"/>
                  <a:gd name="connsiteX18" fmla="*/ 74400 w 74741"/>
                  <a:gd name="connsiteY18" fmla="*/ 8492 h 54828"/>
                  <a:gd name="connsiteX19" fmla="*/ 74742 w 74741"/>
                  <a:gd name="connsiteY19" fmla="*/ 9062 h 54828"/>
                  <a:gd name="connsiteX20" fmla="*/ 61291 w 74741"/>
                  <a:gd name="connsiteY20" fmla="*/ 18010 h 54828"/>
                  <a:gd name="connsiteX21" fmla="*/ 57586 w 74741"/>
                  <a:gd name="connsiteY21" fmla="*/ 26388 h 54828"/>
                  <a:gd name="connsiteX22" fmla="*/ 49607 w 74741"/>
                  <a:gd name="connsiteY22" fmla="*/ 32544 h 54828"/>
                  <a:gd name="connsiteX23" fmla="*/ 48581 w 74741"/>
                  <a:gd name="connsiteY23" fmla="*/ 35622 h 54828"/>
                  <a:gd name="connsiteX24" fmla="*/ 44820 w 74741"/>
                  <a:gd name="connsiteY24" fmla="*/ 39725 h 54828"/>
                  <a:gd name="connsiteX25" fmla="*/ 41343 w 74741"/>
                  <a:gd name="connsiteY25" fmla="*/ 45425 h 54828"/>
                  <a:gd name="connsiteX26" fmla="*/ 25042 w 74741"/>
                  <a:gd name="connsiteY26" fmla="*/ 49186 h 54828"/>
                  <a:gd name="connsiteX27" fmla="*/ 21965 w 74741"/>
                  <a:gd name="connsiteY27" fmla="*/ 52492 h 5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4741" h="54828">
                    <a:moveTo>
                      <a:pt x="21965" y="52492"/>
                    </a:moveTo>
                    <a:cubicBezTo>
                      <a:pt x="21451" y="53233"/>
                      <a:pt x="21052" y="54031"/>
                      <a:pt x="20597" y="54829"/>
                    </a:cubicBezTo>
                    <a:cubicBezTo>
                      <a:pt x="19730" y="53683"/>
                      <a:pt x="19075" y="52389"/>
                      <a:pt x="18659" y="51010"/>
                    </a:cubicBezTo>
                    <a:cubicBezTo>
                      <a:pt x="18408" y="49044"/>
                      <a:pt x="17872" y="47123"/>
                      <a:pt x="17063" y="45311"/>
                    </a:cubicBezTo>
                    <a:cubicBezTo>
                      <a:pt x="15524" y="42689"/>
                      <a:pt x="12332" y="41720"/>
                      <a:pt x="9711" y="40181"/>
                    </a:cubicBezTo>
                    <a:cubicBezTo>
                      <a:pt x="7089" y="38642"/>
                      <a:pt x="4923" y="35109"/>
                      <a:pt x="6747" y="32715"/>
                    </a:cubicBezTo>
                    <a:cubicBezTo>
                      <a:pt x="5556" y="32259"/>
                      <a:pt x="4233" y="32259"/>
                      <a:pt x="3042" y="32715"/>
                    </a:cubicBezTo>
                    <a:cubicBezTo>
                      <a:pt x="2415" y="27015"/>
                      <a:pt x="991" y="21316"/>
                      <a:pt x="21" y="15616"/>
                    </a:cubicBezTo>
                    <a:cubicBezTo>
                      <a:pt x="-7" y="15331"/>
                      <a:pt x="-7" y="15047"/>
                      <a:pt x="21" y="14762"/>
                    </a:cubicBezTo>
                    <a:lnTo>
                      <a:pt x="363" y="14762"/>
                    </a:lnTo>
                    <a:cubicBezTo>
                      <a:pt x="4581" y="14762"/>
                      <a:pt x="8742" y="13394"/>
                      <a:pt x="12959" y="13280"/>
                    </a:cubicBezTo>
                    <a:cubicBezTo>
                      <a:pt x="20540" y="13280"/>
                      <a:pt x="28804" y="16756"/>
                      <a:pt x="35244" y="12710"/>
                    </a:cubicBezTo>
                    <a:cubicBezTo>
                      <a:pt x="38493" y="10658"/>
                      <a:pt x="40944" y="7010"/>
                      <a:pt x="44421" y="5927"/>
                    </a:cubicBezTo>
                    <a:cubicBezTo>
                      <a:pt x="46358" y="5414"/>
                      <a:pt x="48467" y="5927"/>
                      <a:pt x="50120" y="5357"/>
                    </a:cubicBezTo>
                    <a:cubicBezTo>
                      <a:pt x="53255" y="4617"/>
                      <a:pt x="55819" y="1767"/>
                      <a:pt x="59125" y="1881"/>
                    </a:cubicBezTo>
                    <a:cubicBezTo>
                      <a:pt x="60807" y="2126"/>
                      <a:pt x="62465" y="2508"/>
                      <a:pt x="64083" y="3021"/>
                    </a:cubicBezTo>
                    <a:cubicBezTo>
                      <a:pt x="67520" y="3209"/>
                      <a:pt x="70906" y="2137"/>
                      <a:pt x="73602" y="0"/>
                    </a:cubicBezTo>
                    <a:cubicBezTo>
                      <a:pt x="73602" y="741"/>
                      <a:pt x="73602" y="1482"/>
                      <a:pt x="73887" y="2223"/>
                    </a:cubicBezTo>
                    <a:cubicBezTo>
                      <a:pt x="73710" y="4326"/>
                      <a:pt x="73881" y="6446"/>
                      <a:pt x="74400" y="8492"/>
                    </a:cubicBezTo>
                    <a:cubicBezTo>
                      <a:pt x="74400" y="8492"/>
                      <a:pt x="74400" y="8834"/>
                      <a:pt x="74742" y="9062"/>
                    </a:cubicBezTo>
                    <a:cubicBezTo>
                      <a:pt x="71117" y="13171"/>
                      <a:pt x="66483" y="16255"/>
                      <a:pt x="61291" y="18010"/>
                    </a:cubicBezTo>
                    <a:cubicBezTo>
                      <a:pt x="63286" y="20860"/>
                      <a:pt x="60550" y="24622"/>
                      <a:pt x="57586" y="26388"/>
                    </a:cubicBezTo>
                    <a:cubicBezTo>
                      <a:pt x="54622" y="28155"/>
                      <a:pt x="50918" y="29352"/>
                      <a:pt x="49607" y="32544"/>
                    </a:cubicBezTo>
                    <a:cubicBezTo>
                      <a:pt x="49208" y="33570"/>
                      <a:pt x="49037" y="34653"/>
                      <a:pt x="48581" y="35622"/>
                    </a:cubicBezTo>
                    <a:cubicBezTo>
                      <a:pt x="47595" y="37212"/>
                      <a:pt x="46318" y="38602"/>
                      <a:pt x="44820" y="39725"/>
                    </a:cubicBezTo>
                    <a:cubicBezTo>
                      <a:pt x="43189" y="41293"/>
                      <a:pt x="41992" y="43259"/>
                      <a:pt x="41343" y="45425"/>
                    </a:cubicBezTo>
                    <a:cubicBezTo>
                      <a:pt x="37752" y="49984"/>
                      <a:pt x="29944" y="46166"/>
                      <a:pt x="25042" y="49186"/>
                    </a:cubicBezTo>
                    <a:cubicBezTo>
                      <a:pt x="23811" y="50081"/>
                      <a:pt x="22768" y="51204"/>
                      <a:pt x="21965" y="52492"/>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3" name="Freihandform: Form 757">
                <a:extLst>
                  <a:ext uri="{FF2B5EF4-FFF2-40B4-BE49-F238E27FC236}">
                    <a16:creationId xmlns:a16="http://schemas.microsoft.com/office/drawing/2014/main" id="{5EDE7918-704F-53CA-56E7-452D39BC1F9A}"/>
                  </a:ext>
                </a:extLst>
              </p:cNvPr>
              <p:cNvSpPr/>
              <p:nvPr/>
            </p:nvSpPr>
            <p:spPr>
              <a:xfrm>
                <a:off x="4075868" y="3059222"/>
                <a:ext cx="106812" cy="106444"/>
              </a:xfrm>
              <a:custGeom>
                <a:avLst/>
                <a:gdLst>
                  <a:gd name="connsiteX0" fmla="*/ 66342 w 106812"/>
                  <a:gd name="connsiteY0" fmla="*/ 106181 h 106444"/>
                  <a:gd name="connsiteX1" fmla="*/ 58078 w 106812"/>
                  <a:gd name="connsiteY1" fmla="*/ 105212 h 106444"/>
                  <a:gd name="connsiteX2" fmla="*/ 55627 w 106812"/>
                  <a:gd name="connsiteY2" fmla="*/ 101337 h 106444"/>
                  <a:gd name="connsiteX3" fmla="*/ 48388 w 106812"/>
                  <a:gd name="connsiteY3" fmla="*/ 98715 h 106444"/>
                  <a:gd name="connsiteX4" fmla="*/ 41549 w 106812"/>
                  <a:gd name="connsiteY4" fmla="*/ 88570 h 106444"/>
                  <a:gd name="connsiteX5" fmla="*/ 32430 w 106812"/>
                  <a:gd name="connsiteY5" fmla="*/ 87202 h 106444"/>
                  <a:gd name="connsiteX6" fmla="*/ 31062 w 106812"/>
                  <a:gd name="connsiteY6" fmla="*/ 81502 h 106444"/>
                  <a:gd name="connsiteX7" fmla="*/ 24279 w 106812"/>
                  <a:gd name="connsiteY7" fmla="*/ 78425 h 106444"/>
                  <a:gd name="connsiteX8" fmla="*/ 20689 w 106812"/>
                  <a:gd name="connsiteY8" fmla="*/ 72725 h 106444"/>
                  <a:gd name="connsiteX9" fmla="*/ 13451 w 106812"/>
                  <a:gd name="connsiteY9" fmla="*/ 50896 h 106444"/>
                  <a:gd name="connsiteX10" fmla="*/ 0 w 106812"/>
                  <a:gd name="connsiteY10" fmla="*/ 45938 h 106444"/>
                  <a:gd name="connsiteX11" fmla="*/ 1368 w 106812"/>
                  <a:gd name="connsiteY11" fmla="*/ 43601 h 106444"/>
                  <a:gd name="connsiteX12" fmla="*/ 4617 w 106812"/>
                  <a:gd name="connsiteY12" fmla="*/ 40124 h 106444"/>
                  <a:gd name="connsiteX13" fmla="*/ 20917 w 106812"/>
                  <a:gd name="connsiteY13" fmla="*/ 36363 h 106444"/>
                  <a:gd name="connsiteX14" fmla="*/ 24394 w 106812"/>
                  <a:gd name="connsiteY14" fmla="*/ 30663 h 106444"/>
                  <a:gd name="connsiteX15" fmla="*/ 28155 w 106812"/>
                  <a:gd name="connsiteY15" fmla="*/ 26560 h 106444"/>
                  <a:gd name="connsiteX16" fmla="*/ 29181 w 106812"/>
                  <a:gd name="connsiteY16" fmla="*/ 23482 h 106444"/>
                  <a:gd name="connsiteX17" fmla="*/ 37160 w 106812"/>
                  <a:gd name="connsiteY17" fmla="*/ 17326 h 106444"/>
                  <a:gd name="connsiteX18" fmla="*/ 40865 w 106812"/>
                  <a:gd name="connsiteY18" fmla="*/ 8948 h 106444"/>
                  <a:gd name="connsiteX19" fmla="*/ 54316 w 106812"/>
                  <a:gd name="connsiteY19" fmla="*/ 0 h 106444"/>
                  <a:gd name="connsiteX20" fmla="*/ 59160 w 106812"/>
                  <a:gd name="connsiteY20" fmla="*/ 4730 h 106444"/>
                  <a:gd name="connsiteX21" fmla="*/ 69191 w 106812"/>
                  <a:gd name="connsiteY21" fmla="*/ 15503 h 106444"/>
                  <a:gd name="connsiteX22" fmla="*/ 80590 w 106812"/>
                  <a:gd name="connsiteY22" fmla="*/ 24166 h 106444"/>
                  <a:gd name="connsiteX23" fmla="*/ 93870 w 106812"/>
                  <a:gd name="connsiteY23" fmla="*/ 20461 h 106444"/>
                  <a:gd name="connsiteX24" fmla="*/ 94497 w 106812"/>
                  <a:gd name="connsiteY24" fmla="*/ 19492 h 106444"/>
                  <a:gd name="connsiteX25" fmla="*/ 95124 w 106812"/>
                  <a:gd name="connsiteY25" fmla="*/ 20917 h 106444"/>
                  <a:gd name="connsiteX26" fmla="*/ 97176 w 106812"/>
                  <a:gd name="connsiteY26" fmla="*/ 27699 h 106444"/>
                  <a:gd name="connsiteX27" fmla="*/ 104129 w 106812"/>
                  <a:gd name="connsiteY27" fmla="*/ 39098 h 106444"/>
                  <a:gd name="connsiteX28" fmla="*/ 106124 w 106812"/>
                  <a:gd name="connsiteY28" fmla="*/ 51637 h 106444"/>
                  <a:gd name="connsiteX29" fmla="*/ 103274 w 106812"/>
                  <a:gd name="connsiteY29" fmla="*/ 54373 h 106444"/>
                  <a:gd name="connsiteX30" fmla="*/ 98430 w 106812"/>
                  <a:gd name="connsiteY30" fmla="*/ 52378 h 106444"/>
                  <a:gd name="connsiteX31" fmla="*/ 70901 w 106812"/>
                  <a:gd name="connsiteY31" fmla="*/ 43031 h 106444"/>
                  <a:gd name="connsiteX32" fmla="*/ 41492 w 106812"/>
                  <a:gd name="connsiteY32" fmla="*/ 44741 h 106444"/>
                  <a:gd name="connsiteX33" fmla="*/ 36818 w 106812"/>
                  <a:gd name="connsiteY33" fmla="*/ 45938 h 106444"/>
                  <a:gd name="connsiteX34" fmla="*/ 34482 w 106812"/>
                  <a:gd name="connsiteY34" fmla="*/ 56368 h 106444"/>
                  <a:gd name="connsiteX35" fmla="*/ 42119 w 106812"/>
                  <a:gd name="connsiteY35" fmla="*/ 65145 h 106444"/>
                  <a:gd name="connsiteX36" fmla="*/ 48844 w 106812"/>
                  <a:gd name="connsiteY36" fmla="*/ 74492 h 106444"/>
                  <a:gd name="connsiteX37" fmla="*/ 50098 w 106812"/>
                  <a:gd name="connsiteY37" fmla="*/ 79280 h 106444"/>
                  <a:gd name="connsiteX38" fmla="*/ 52093 w 106812"/>
                  <a:gd name="connsiteY38" fmla="*/ 81388 h 106444"/>
                  <a:gd name="connsiteX39" fmla="*/ 66057 w 106812"/>
                  <a:gd name="connsiteY39" fmla="*/ 92787 h 106444"/>
                  <a:gd name="connsiteX40" fmla="*/ 66342 w 106812"/>
                  <a:gd name="connsiteY40" fmla="*/ 106181 h 1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6812" h="106444">
                    <a:moveTo>
                      <a:pt x="66342" y="106181"/>
                    </a:moveTo>
                    <a:cubicBezTo>
                      <a:pt x="63321" y="106181"/>
                      <a:pt x="60186" y="107207"/>
                      <a:pt x="58078" y="105212"/>
                    </a:cubicBezTo>
                    <a:cubicBezTo>
                      <a:pt x="57131" y="104010"/>
                      <a:pt x="56310" y="102710"/>
                      <a:pt x="55627" y="101337"/>
                    </a:cubicBezTo>
                    <a:cubicBezTo>
                      <a:pt x="54025" y="99006"/>
                      <a:pt x="51113" y="97951"/>
                      <a:pt x="48388" y="98715"/>
                    </a:cubicBezTo>
                    <a:cubicBezTo>
                      <a:pt x="50782" y="94782"/>
                      <a:pt x="46109" y="88969"/>
                      <a:pt x="41549" y="88570"/>
                    </a:cubicBezTo>
                    <a:cubicBezTo>
                      <a:pt x="38357" y="88285"/>
                      <a:pt x="34197" y="89938"/>
                      <a:pt x="32430" y="87202"/>
                    </a:cubicBezTo>
                    <a:cubicBezTo>
                      <a:pt x="31347" y="85492"/>
                      <a:pt x="32430" y="83041"/>
                      <a:pt x="31062" y="81502"/>
                    </a:cubicBezTo>
                    <a:cubicBezTo>
                      <a:pt x="29694" y="79964"/>
                      <a:pt x="26445" y="79736"/>
                      <a:pt x="24279" y="78425"/>
                    </a:cubicBezTo>
                    <a:cubicBezTo>
                      <a:pt x="22433" y="77023"/>
                      <a:pt x="21156" y="74999"/>
                      <a:pt x="20689" y="72725"/>
                    </a:cubicBezTo>
                    <a:cubicBezTo>
                      <a:pt x="18295" y="65430"/>
                      <a:pt x="15844" y="58135"/>
                      <a:pt x="13451" y="50896"/>
                    </a:cubicBezTo>
                    <a:cubicBezTo>
                      <a:pt x="8378" y="52105"/>
                      <a:pt x="3072" y="50150"/>
                      <a:pt x="0" y="45938"/>
                    </a:cubicBezTo>
                    <a:cubicBezTo>
                      <a:pt x="456" y="45140"/>
                      <a:pt x="855" y="44342"/>
                      <a:pt x="1368" y="43601"/>
                    </a:cubicBezTo>
                    <a:cubicBezTo>
                      <a:pt x="2205" y="42233"/>
                      <a:pt x="3311" y="41053"/>
                      <a:pt x="4617" y="40124"/>
                    </a:cubicBezTo>
                    <a:cubicBezTo>
                      <a:pt x="9461" y="37104"/>
                      <a:pt x="17326" y="40922"/>
                      <a:pt x="20917" y="36363"/>
                    </a:cubicBezTo>
                    <a:cubicBezTo>
                      <a:pt x="21567" y="34197"/>
                      <a:pt x="22763" y="32231"/>
                      <a:pt x="24394" y="30663"/>
                    </a:cubicBezTo>
                    <a:cubicBezTo>
                      <a:pt x="25893" y="29540"/>
                      <a:pt x="27169" y="28150"/>
                      <a:pt x="28155" y="26560"/>
                    </a:cubicBezTo>
                    <a:cubicBezTo>
                      <a:pt x="28611" y="25591"/>
                      <a:pt x="28782" y="24508"/>
                      <a:pt x="29181" y="23482"/>
                    </a:cubicBezTo>
                    <a:cubicBezTo>
                      <a:pt x="30492" y="20290"/>
                      <a:pt x="34197" y="19036"/>
                      <a:pt x="37160" y="17326"/>
                    </a:cubicBezTo>
                    <a:cubicBezTo>
                      <a:pt x="40124" y="15616"/>
                      <a:pt x="42860" y="11627"/>
                      <a:pt x="40865" y="8948"/>
                    </a:cubicBezTo>
                    <a:cubicBezTo>
                      <a:pt x="46057" y="7193"/>
                      <a:pt x="50691" y="4109"/>
                      <a:pt x="54316" y="0"/>
                    </a:cubicBezTo>
                    <a:cubicBezTo>
                      <a:pt x="55592" y="1892"/>
                      <a:pt x="57240" y="3500"/>
                      <a:pt x="59160" y="4730"/>
                    </a:cubicBezTo>
                    <a:cubicBezTo>
                      <a:pt x="62819" y="8013"/>
                      <a:pt x="66176" y="11615"/>
                      <a:pt x="69191" y="15503"/>
                    </a:cubicBezTo>
                    <a:cubicBezTo>
                      <a:pt x="72150" y="19355"/>
                      <a:pt x="76088" y="22348"/>
                      <a:pt x="80590" y="24166"/>
                    </a:cubicBezTo>
                    <a:cubicBezTo>
                      <a:pt x="85355" y="25876"/>
                      <a:pt x="90678" y="24394"/>
                      <a:pt x="93870" y="20461"/>
                    </a:cubicBezTo>
                    <a:cubicBezTo>
                      <a:pt x="93870" y="20176"/>
                      <a:pt x="94269" y="19834"/>
                      <a:pt x="94497" y="19492"/>
                    </a:cubicBezTo>
                    <a:cubicBezTo>
                      <a:pt x="94497" y="20005"/>
                      <a:pt x="94953" y="20404"/>
                      <a:pt x="95124" y="20917"/>
                    </a:cubicBezTo>
                    <a:cubicBezTo>
                      <a:pt x="95865" y="23140"/>
                      <a:pt x="96264" y="25534"/>
                      <a:pt x="97176" y="27699"/>
                    </a:cubicBezTo>
                    <a:cubicBezTo>
                      <a:pt x="99159" y="31695"/>
                      <a:pt x="101485" y="35508"/>
                      <a:pt x="104129" y="39098"/>
                    </a:cubicBezTo>
                    <a:cubicBezTo>
                      <a:pt x="106774" y="42712"/>
                      <a:pt x="107515" y="47380"/>
                      <a:pt x="106124" y="51637"/>
                    </a:cubicBezTo>
                    <a:cubicBezTo>
                      <a:pt x="105645" y="52937"/>
                      <a:pt x="104597" y="53951"/>
                      <a:pt x="103274" y="54373"/>
                    </a:cubicBezTo>
                    <a:cubicBezTo>
                      <a:pt x="101456" y="54402"/>
                      <a:pt x="99701" y="53683"/>
                      <a:pt x="98430" y="52378"/>
                    </a:cubicBezTo>
                    <a:cubicBezTo>
                      <a:pt x="90348" y="46673"/>
                      <a:pt x="80784" y="43424"/>
                      <a:pt x="70901" y="43031"/>
                    </a:cubicBezTo>
                    <a:cubicBezTo>
                      <a:pt x="61064" y="42632"/>
                      <a:pt x="51215" y="43202"/>
                      <a:pt x="41492" y="44741"/>
                    </a:cubicBezTo>
                    <a:cubicBezTo>
                      <a:pt x="39868" y="44821"/>
                      <a:pt x="38278" y="45231"/>
                      <a:pt x="36818" y="45938"/>
                    </a:cubicBezTo>
                    <a:cubicBezTo>
                      <a:pt x="33615" y="48388"/>
                      <a:pt x="32629" y="52783"/>
                      <a:pt x="34482" y="56368"/>
                    </a:cubicBezTo>
                    <a:cubicBezTo>
                      <a:pt x="36385" y="59793"/>
                      <a:pt x="38990" y="62785"/>
                      <a:pt x="42119" y="65145"/>
                    </a:cubicBezTo>
                    <a:cubicBezTo>
                      <a:pt x="45236" y="67522"/>
                      <a:pt x="47579" y="70776"/>
                      <a:pt x="48844" y="74492"/>
                    </a:cubicBezTo>
                    <a:cubicBezTo>
                      <a:pt x="48964" y="76151"/>
                      <a:pt x="49391" y="77775"/>
                      <a:pt x="50098" y="79280"/>
                    </a:cubicBezTo>
                    <a:cubicBezTo>
                      <a:pt x="50628" y="80100"/>
                      <a:pt x="51301" y="80818"/>
                      <a:pt x="52093" y="81388"/>
                    </a:cubicBezTo>
                    <a:lnTo>
                      <a:pt x="66057" y="92787"/>
                    </a:lnTo>
                    <a:cubicBezTo>
                      <a:pt x="65840" y="97256"/>
                      <a:pt x="65937" y="101730"/>
                      <a:pt x="66342" y="10618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4" name="Freihandform: Form 758">
                <a:extLst>
                  <a:ext uri="{FF2B5EF4-FFF2-40B4-BE49-F238E27FC236}">
                    <a16:creationId xmlns:a16="http://schemas.microsoft.com/office/drawing/2014/main" id="{AE3084B4-DCE2-F461-CEDE-F8BA3A08846E}"/>
                  </a:ext>
                </a:extLst>
              </p:cNvPr>
              <p:cNvSpPr/>
              <p:nvPr/>
            </p:nvSpPr>
            <p:spPr>
              <a:xfrm>
                <a:off x="4109705" y="3102415"/>
                <a:ext cx="80747" cy="75527"/>
              </a:xfrm>
              <a:custGeom>
                <a:avLst/>
                <a:gdLst>
                  <a:gd name="connsiteX0" fmla="*/ 69608 w 80747"/>
                  <a:gd name="connsiteY0" fmla="*/ 48854 h 75527"/>
                  <a:gd name="connsiteX1" fmla="*/ 56955 w 80747"/>
                  <a:gd name="connsiteY1" fmla="*/ 75527 h 75527"/>
                  <a:gd name="connsiteX2" fmla="*/ 55074 w 80747"/>
                  <a:gd name="connsiteY2" fmla="*/ 73817 h 75527"/>
                  <a:gd name="connsiteX3" fmla="*/ 48292 w 80747"/>
                  <a:gd name="connsiteY3" fmla="*/ 73817 h 75527"/>
                  <a:gd name="connsiteX4" fmla="*/ 35126 w 80747"/>
                  <a:gd name="connsiteY4" fmla="*/ 63330 h 75527"/>
                  <a:gd name="connsiteX5" fmla="*/ 32504 w 80747"/>
                  <a:gd name="connsiteY5" fmla="*/ 63330 h 75527"/>
                  <a:gd name="connsiteX6" fmla="*/ 32504 w 80747"/>
                  <a:gd name="connsiteY6" fmla="*/ 49880 h 75527"/>
                  <a:gd name="connsiteX7" fmla="*/ 18541 w 80747"/>
                  <a:gd name="connsiteY7" fmla="*/ 38481 h 75527"/>
                  <a:gd name="connsiteX8" fmla="*/ 16546 w 80747"/>
                  <a:gd name="connsiteY8" fmla="*/ 36372 h 75527"/>
                  <a:gd name="connsiteX9" fmla="*/ 15292 w 80747"/>
                  <a:gd name="connsiteY9" fmla="*/ 31584 h 75527"/>
                  <a:gd name="connsiteX10" fmla="*/ 8567 w 80747"/>
                  <a:gd name="connsiteY10" fmla="*/ 22237 h 75527"/>
                  <a:gd name="connsiteX11" fmla="*/ 929 w 80747"/>
                  <a:gd name="connsiteY11" fmla="*/ 13460 h 75527"/>
                  <a:gd name="connsiteX12" fmla="*/ 3266 w 80747"/>
                  <a:gd name="connsiteY12" fmla="*/ 3030 h 75527"/>
                  <a:gd name="connsiteX13" fmla="*/ 7940 w 80747"/>
                  <a:gd name="connsiteY13" fmla="*/ 1833 h 75527"/>
                  <a:gd name="connsiteX14" fmla="*/ 37349 w 80747"/>
                  <a:gd name="connsiteY14" fmla="*/ 123 h 75527"/>
                  <a:gd name="connsiteX15" fmla="*/ 64877 w 80747"/>
                  <a:gd name="connsiteY15" fmla="*/ 9470 h 75527"/>
                  <a:gd name="connsiteX16" fmla="*/ 69722 w 80747"/>
                  <a:gd name="connsiteY16" fmla="*/ 11465 h 75527"/>
                  <a:gd name="connsiteX17" fmla="*/ 72572 w 80747"/>
                  <a:gd name="connsiteY17" fmla="*/ 8729 h 75527"/>
                  <a:gd name="connsiteX18" fmla="*/ 73199 w 80747"/>
                  <a:gd name="connsiteY18" fmla="*/ 3030 h 75527"/>
                  <a:gd name="connsiteX19" fmla="*/ 80722 w 80747"/>
                  <a:gd name="connsiteY19" fmla="*/ 23890 h 75527"/>
                  <a:gd name="connsiteX20" fmla="*/ 79696 w 80747"/>
                  <a:gd name="connsiteY20" fmla="*/ 30900 h 75527"/>
                  <a:gd name="connsiteX21" fmla="*/ 71090 w 80747"/>
                  <a:gd name="connsiteY21" fmla="*/ 43439 h 75527"/>
                  <a:gd name="connsiteX22" fmla="*/ 69608 w 80747"/>
                  <a:gd name="connsiteY22" fmla="*/ 48854 h 7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747" h="75527">
                    <a:moveTo>
                      <a:pt x="69608" y="48854"/>
                    </a:moveTo>
                    <a:cubicBezTo>
                      <a:pt x="67135" y="58474"/>
                      <a:pt x="62843" y="67525"/>
                      <a:pt x="56955" y="75527"/>
                    </a:cubicBezTo>
                    <a:cubicBezTo>
                      <a:pt x="56505" y="74792"/>
                      <a:pt x="55850" y="74199"/>
                      <a:pt x="55074" y="73817"/>
                    </a:cubicBezTo>
                    <a:cubicBezTo>
                      <a:pt x="52966" y="72905"/>
                      <a:pt x="50572" y="73817"/>
                      <a:pt x="48292" y="73817"/>
                    </a:cubicBezTo>
                    <a:cubicBezTo>
                      <a:pt x="42593" y="73020"/>
                      <a:pt x="40712" y="64698"/>
                      <a:pt x="35126" y="63330"/>
                    </a:cubicBezTo>
                    <a:cubicBezTo>
                      <a:pt x="34254" y="63216"/>
                      <a:pt x="33377" y="63216"/>
                      <a:pt x="32504" y="63330"/>
                    </a:cubicBezTo>
                    <a:cubicBezTo>
                      <a:pt x="32191" y="58851"/>
                      <a:pt x="32191" y="54359"/>
                      <a:pt x="32504" y="49880"/>
                    </a:cubicBezTo>
                    <a:lnTo>
                      <a:pt x="18541" y="38481"/>
                    </a:lnTo>
                    <a:cubicBezTo>
                      <a:pt x="17749" y="37911"/>
                      <a:pt x="17076" y="37193"/>
                      <a:pt x="16546" y="36372"/>
                    </a:cubicBezTo>
                    <a:cubicBezTo>
                      <a:pt x="15839" y="34867"/>
                      <a:pt x="15412" y="33243"/>
                      <a:pt x="15292" y="31584"/>
                    </a:cubicBezTo>
                    <a:cubicBezTo>
                      <a:pt x="14027" y="27868"/>
                      <a:pt x="11685" y="24620"/>
                      <a:pt x="8567" y="22237"/>
                    </a:cubicBezTo>
                    <a:cubicBezTo>
                      <a:pt x="5438" y="19878"/>
                      <a:pt x="2833" y="16885"/>
                      <a:pt x="929" y="13460"/>
                    </a:cubicBezTo>
                    <a:cubicBezTo>
                      <a:pt x="-923" y="9875"/>
                      <a:pt x="63" y="5481"/>
                      <a:pt x="3266" y="3030"/>
                    </a:cubicBezTo>
                    <a:cubicBezTo>
                      <a:pt x="4725" y="2323"/>
                      <a:pt x="6316" y="1913"/>
                      <a:pt x="7940" y="1833"/>
                    </a:cubicBezTo>
                    <a:cubicBezTo>
                      <a:pt x="17663" y="294"/>
                      <a:pt x="27512" y="-276"/>
                      <a:pt x="37349" y="123"/>
                    </a:cubicBezTo>
                    <a:cubicBezTo>
                      <a:pt x="47238" y="516"/>
                      <a:pt x="56796" y="3765"/>
                      <a:pt x="64877" y="9470"/>
                    </a:cubicBezTo>
                    <a:cubicBezTo>
                      <a:pt x="66149" y="10775"/>
                      <a:pt x="67904" y="11494"/>
                      <a:pt x="69722" y="11465"/>
                    </a:cubicBezTo>
                    <a:cubicBezTo>
                      <a:pt x="71044" y="11043"/>
                      <a:pt x="72093" y="10035"/>
                      <a:pt x="72572" y="8729"/>
                    </a:cubicBezTo>
                    <a:cubicBezTo>
                      <a:pt x="73335" y="6934"/>
                      <a:pt x="73552" y="4951"/>
                      <a:pt x="73199" y="3030"/>
                    </a:cubicBezTo>
                    <a:cubicBezTo>
                      <a:pt x="77867" y="9003"/>
                      <a:pt x="80500" y="16315"/>
                      <a:pt x="80722" y="23890"/>
                    </a:cubicBezTo>
                    <a:cubicBezTo>
                      <a:pt x="80847" y="26272"/>
                      <a:pt x="80500" y="28655"/>
                      <a:pt x="79696" y="30900"/>
                    </a:cubicBezTo>
                    <a:cubicBezTo>
                      <a:pt x="77758" y="35631"/>
                      <a:pt x="73028" y="38766"/>
                      <a:pt x="71090" y="43439"/>
                    </a:cubicBezTo>
                    <a:cubicBezTo>
                      <a:pt x="70435" y="45195"/>
                      <a:pt x="69939" y="47007"/>
                      <a:pt x="69608" y="4885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5" name="Freihandform: Form 759">
                <a:extLst>
                  <a:ext uri="{FF2B5EF4-FFF2-40B4-BE49-F238E27FC236}">
                    <a16:creationId xmlns:a16="http://schemas.microsoft.com/office/drawing/2014/main" id="{D5784FBC-15E1-C28B-7C08-DEABCF6C62A7}"/>
                  </a:ext>
                </a:extLst>
              </p:cNvPr>
              <p:cNvSpPr/>
              <p:nvPr/>
            </p:nvSpPr>
            <p:spPr>
              <a:xfrm>
                <a:off x="4170821" y="3068478"/>
                <a:ext cx="87949" cy="120197"/>
              </a:xfrm>
              <a:custGeom>
                <a:avLst/>
                <a:gdLst>
                  <a:gd name="connsiteX0" fmla="*/ 14078 w 87949"/>
                  <a:gd name="connsiteY0" fmla="*/ 73102 h 120197"/>
                  <a:gd name="connsiteX1" fmla="*/ 14078 w 87949"/>
                  <a:gd name="connsiteY1" fmla="*/ 70993 h 120197"/>
                  <a:gd name="connsiteX2" fmla="*/ 18751 w 87949"/>
                  <a:gd name="connsiteY2" fmla="*/ 64211 h 120197"/>
                  <a:gd name="connsiteX3" fmla="*/ 19777 w 87949"/>
                  <a:gd name="connsiteY3" fmla="*/ 57201 h 120197"/>
                  <a:gd name="connsiteX4" fmla="*/ 12254 w 87949"/>
                  <a:gd name="connsiteY4" fmla="*/ 36341 h 120197"/>
                  <a:gd name="connsiteX5" fmla="*/ 9632 w 87949"/>
                  <a:gd name="connsiteY5" fmla="*/ 29558 h 120197"/>
                  <a:gd name="connsiteX6" fmla="*/ 2679 w 87949"/>
                  <a:gd name="connsiteY6" fmla="*/ 18159 h 120197"/>
                  <a:gd name="connsiteX7" fmla="*/ 627 w 87949"/>
                  <a:gd name="connsiteY7" fmla="*/ 11377 h 120197"/>
                  <a:gd name="connsiteX8" fmla="*/ 0 w 87949"/>
                  <a:gd name="connsiteY8" fmla="*/ 9952 h 120197"/>
                  <a:gd name="connsiteX9" fmla="*/ 1197 w 87949"/>
                  <a:gd name="connsiteY9" fmla="*/ 8470 h 120197"/>
                  <a:gd name="connsiteX10" fmla="*/ 3819 w 87949"/>
                  <a:gd name="connsiteY10" fmla="*/ 7444 h 120197"/>
                  <a:gd name="connsiteX11" fmla="*/ 16984 w 87949"/>
                  <a:gd name="connsiteY11" fmla="*/ 4765 h 120197"/>
                  <a:gd name="connsiteX12" fmla="*/ 19036 w 87949"/>
                  <a:gd name="connsiteY12" fmla="*/ 2543 h 120197"/>
                  <a:gd name="connsiteX13" fmla="*/ 31062 w 87949"/>
                  <a:gd name="connsiteY13" fmla="*/ 434 h 120197"/>
                  <a:gd name="connsiteX14" fmla="*/ 48787 w 87949"/>
                  <a:gd name="connsiteY14" fmla="*/ 434 h 120197"/>
                  <a:gd name="connsiteX15" fmla="*/ 48388 w 87949"/>
                  <a:gd name="connsiteY15" fmla="*/ 776 h 120197"/>
                  <a:gd name="connsiteX16" fmla="*/ 46793 w 87949"/>
                  <a:gd name="connsiteY16" fmla="*/ 12631 h 120197"/>
                  <a:gd name="connsiteX17" fmla="*/ 54202 w 87949"/>
                  <a:gd name="connsiteY17" fmla="*/ 22719 h 120197"/>
                  <a:gd name="connsiteX18" fmla="*/ 58876 w 87949"/>
                  <a:gd name="connsiteY18" fmla="*/ 29957 h 120197"/>
                  <a:gd name="connsiteX19" fmla="*/ 58876 w 87949"/>
                  <a:gd name="connsiteY19" fmla="*/ 37366 h 120197"/>
                  <a:gd name="connsiteX20" fmla="*/ 61326 w 87949"/>
                  <a:gd name="connsiteY20" fmla="*/ 39532 h 120197"/>
                  <a:gd name="connsiteX21" fmla="*/ 83497 w 87949"/>
                  <a:gd name="connsiteY21" fmla="*/ 53553 h 120197"/>
                  <a:gd name="connsiteX22" fmla="*/ 87373 w 87949"/>
                  <a:gd name="connsiteY22" fmla="*/ 65465 h 120197"/>
                  <a:gd name="connsiteX23" fmla="*/ 87031 w 87949"/>
                  <a:gd name="connsiteY23" fmla="*/ 66092 h 120197"/>
                  <a:gd name="connsiteX24" fmla="*/ 79907 w 87949"/>
                  <a:gd name="connsiteY24" fmla="*/ 84387 h 120197"/>
                  <a:gd name="connsiteX25" fmla="*/ 85606 w 87949"/>
                  <a:gd name="connsiteY25" fmla="*/ 92765 h 120197"/>
                  <a:gd name="connsiteX26" fmla="*/ 87145 w 87949"/>
                  <a:gd name="connsiteY26" fmla="*/ 102226 h 120197"/>
                  <a:gd name="connsiteX27" fmla="*/ 77969 w 87949"/>
                  <a:gd name="connsiteY27" fmla="*/ 104848 h 120197"/>
                  <a:gd name="connsiteX28" fmla="*/ 73694 w 87949"/>
                  <a:gd name="connsiteY28" fmla="*/ 108781 h 120197"/>
                  <a:gd name="connsiteX29" fmla="*/ 62694 w 87949"/>
                  <a:gd name="connsiteY29" fmla="*/ 108781 h 120197"/>
                  <a:gd name="connsiteX30" fmla="*/ 52606 w 87949"/>
                  <a:gd name="connsiteY30" fmla="*/ 111403 h 120197"/>
                  <a:gd name="connsiteX31" fmla="*/ 51238 w 87949"/>
                  <a:gd name="connsiteY31" fmla="*/ 117615 h 120197"/>
                  <a:gd name="connsiteX32" fmla="*/ 42746 w 87949"/>
                  <a:gd name="connsiteY32" fmla="*/ 119211 h 120197"/>
                  <a:gd name="connsiteX33" fmla="*/ 35280 w 87949"/>
                  <a:gd name="connsiteY33" fmla="*/ 113169 h 120197"/>
                  <a:gd name="connsiteX34" fmla="*/ 17497 w 87949"/>
                  <a:gd name="connsiteY34" fmla="*/ 100802 h 120197"/>
                  <a:gd name="connsiteX35" fmla="*/ 15617 w 87949"/>
                  <a:gd name="connsiteY35" fmla="*/ 92480 h 12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7949" h="120197">
                    <a:moveTo>
                      <a:pt x="14078" y="73102"/>
                    </a:moveTo>
                    <a:lnTo>
                      <a:pt x="14078" y="70993"/>
                    </a:lnTo>
                    <a:cubicBezTo>
                      <a:pt x="15964" y="68981"/>
                      <a:pt x="17543" y="66690"/>
                      <a:pt x="18751" y="64211"/>
                    </a:cubicBezTo>
                    <a:cubicBezTo>
                      <a:pt x="19555" y="61965"/>
                      <a:pt x="19903" y="59583"/>
                      <a:pt x="19777" y="57201"/>
                    </a:cubicBezTo>
                    <a:cubicBezTo>
                      <a:pt x="19555" y="49620"/>
                      <a:pt x="16922" y="42314"/>
                      <a:pt x="12254" y="36341"/>
                    </a:cubicBezTo>
                    <a:cubicBezTo>
                      <a:pt x="11815" y="33935"/>
                      <a:pt x="10926" y="31633"/>
                      <a:pt x="9632" y="29558"/>
                    </a:cubicBezTo>
                    <a:cubicBezTo>
                      <a:pt x="6988" y="25967"/>
                      <a:pt x="4662" y="22154"/>
                      <a:pt x="2679" y="18159"/>
                    </a:cubicBezTo>
                    <a:cubicBezTo>
                      <a:pt x="1767" y="15993"/>
                      <a:pt x="1368" y="13600"/>
                      <a:pt x="627" y="11377"/>
                    </a:cubicBezTo>
                    <a:cubicBezTo>
                      <a:pt x="627" y="10864"/>
                      <a:pt x="171" y="10465"/>
                      <a:pt x="0" y="9952"/>
                    </a:cubicBezTo>
                    <a:cubicBezTo>
                      <a:pt x="302" y="9388"/>
                      <a:pt x="707" y="8886"/>
                      <a:pt x="1197" y="8470"/>
                    </a:cubicBezTo>
                    <a:cubicBezTo>
                      <a:pt x="1955" y="7883"/>
                      <a:pt x="2867" y="7530"/>
                      <a:pt x="3819" y="7444"/>
                    </a:cubicBezTo>
                    <a:cubicBezTo>
                      <a:pt x="8321" y="6646"/>
                      <a:pt x="13622" y="7843"/>
                      <a:pt x="16984" y="4765"/>
                    </a:cubicBezTo>
                    <a:cubicBezTo>
                      <a:pt x="17725" y="4081"/>
                      <a:pt x="18295" y="3227"/>
                      <a:pt x="19036" y="2543"/>
                    </a:cubicBezTo>
                    <a:cubicBezTo>
                      <a:pt x="22576" y="194"/>
                      <a:pt x="26936" y="-575"/>
                      <a:pt x="31062" y="434"/>
                    </a:cubicBezTo>
                    <a:cubicBezTo>
                      <a:pt x="36961" y="861"/>
                      <a:pt x="42889" y="861"/>
                      <a:pt x="48787" y="434"/>
                    </a:cubicBezTo>
                    <a:lnTo>
                      <a:pt x="48388" y="776"/>
                    </a:lnTo>
                    <a:cubicBezTo>
                      <a:pt x="45658" y="4110"/>
                      <a:pt x="45043" y="8692"/>
                      <a:pt x="46793" y="12631"/>
                    </a:cubicBezTo>
                    <a:cubicBezTo>
                      <a:pt x="48486" y="16501"/>
                      <a:pt x="51016" y="19949"/>
                      <a:pt x="54202" y="22719"/>
                    </a:cubicBezTo>
                    <a:cubicBezTo>
                      <a:pt x="56579" y="24491"/>
                      <a:pt x="58243" y="27062"/>
                      <a:pt x="58876" y="29957"/>
                    </a:cubicBezTo>
                    <a:cubicBezTo>
                      <a:pt x="58876" y="32465"/>
                      <a:pt x="57736" y="35201"/>
                      <a:pt x="58876" y="37366"/>
                    </a:cubicBezTo>
                    <a:cubicBezTo>
                      <a:pt x="59491" y="38290"/>
                      <a:pt x="60335" y="39031"/>
                      <a:pt x="61326" y="39532"/>
                    </a:cubicBezTo>
                    <a:lnTo>
                      <a:pt x="83497" y="53553"/>
                    </a:lnTo>
                    <a:cubicBezTo>
                      <a:pt x="83600" y="57816"/>
                      <a:pt x="84945" y="61960"/>
                      <a:pt x="87373" y="65465"/>
                    </a:cubicBezTo>
                    <a:cubicBezTo>
                      <a:pt x="87373" y="65465"/>
                      <a:pt x="87373" y="65864"/>
                      <a:pt x="87031" y="66092"/>
                    </a:cubicBezTo>
                    <a:cubicBezTo>
                      <a:pt x="83383" y="71791"/>
                      <a:pt x="77912" y="77890"/>
                      <a:pt x="79907" y="84387"/>
                    </a:cubicBezTo>
                    <a:cubicBezTo>
                      <a:pt x="81320" y="87482"/>
                      <a:pt x="83247" y="90315"/>
                      <a:pt x="85606" y="92765"/>
                    </a:cubicBezTo>
                    <a:cubicBezTo>
                      <a:pt x="88022" y="95302"/>
                      <a:pt x="88633" y="99058"/>
                      <a:pt x="87145" y="102226"/>
                    </a:cubicBezTo>
                    <a:cubicBezTo>
                      <a:pt x="85891" y="105361"/>
                      <a:pt x="80990" y="103423"/>
                      <a:pt x="77969" y="104848"/>
                    </a:cubicBezTo>
                    <a:cubicBezTo>
                      <a:pt x="76202" y="105703"/>
                      <a:pt x="75233" y="107584"/>
                      <a:pt x="73694" y="108781"/>
                    </a:cubicBezTo>
                    <a:cubicBezTo>
                      <a:pt x="70674" y="111004"/>
                      <a:pt x="66399" y="109693"/>
                      <a:pt x="62694" y="108781"/>
                    </a:cubicBezTo>
                    <a:cubicBezTo>
                      <a:pt x="58989" y="107869"/>
                      <a:pt x="54145" y="107926"/>
                      <a:pt x="52606" y="111403"/>
                    </a:cubicBezTo>
                    <a:cubicBezTo>
                      <a:pt x="51694" y="113340"/>
                      <a:pt x="52207" y="115677"/>
                      <a:pt x="51238" y="117615"/>
                    </a:cubicBezTo>
                    <a:cubicBezTo>
                      <a:pt x="49266" y="120299"/>
                      <a:pt x="45556" y="120995"/>
                      <a:pt x="42746" y="119211"/>
                    </a:cubicBezTo>
                    <a:cubicBezTo>
                      <a:pt x="40085" y="117421"/>
                      <a:pt x="37582" y="115398"/>
                      <a:pt x="35280" y="113169"/>
                    </a:cubicBezTo>
                    <a:cubicBezTo>
                      <a:pt x="29580" y="108667"/>
                      <a:pt x="20860" y="107470"/>
                      <a:pt x="17497" y="100802"/>
                    </a:cubicBezTo>
                    <a:cubicBezTo>
                      <a:pt x="16329" y="98180"/>
                      <a:pt x="15691" y="95353"/>
                      <a:pt x="15617" y="9248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6" name="Freihandform: Form 760">
                <a:extLst>
                  <a:ext uri="{FF2B5EF4-FFF2-40B4-BE49-F238E27FC236}">
                    <a16:creationId xmlns:a16="http://schemas.microsoft.com/office/drawing/2014/main" id="{FD1E8054-D3B4-0521-DE97-DD27A202C7B9}"/>
                  </a:ext>
                </a:extLst>
              </p:cNvPr>
              <p:cNvSpPr/>
              <p:nvPr/>
            </p:nvSpPr>
            <p:spPr>
              <a:xfrm>
                <a:off x="4166661" y="3139528"/>
                <a:ext cx="42005" cy="62295"/>
              </a:xfrm>
              <a:custGeom>
                <a:avLst/>
                <a:gdLst>
                  <a:gd name="connsiteX0" fmla="*/ 33570 w 42005"/>
                  <a:gd name="connsiteY0" fmla="*/ 59274 h 62295"/>
                  <a:gd name="connsiteX1" fmla="*/ 27186 w 42005"/>
                  <a:gd name="connsiteY1" fmla="*/ 62295 h 62295"/>
                  <a:gd name="connsiteX2" fmla="*/ 27585 w 42005"/>
                  <a:gd name="connsiteY2" fmla="*/ 60130 h 62295"/>
                  <a:gd name="connsiteX3" fmla="*/ 20233 w 42005"/>
                  <a:gd name="connsiteY3" fmla="*/ 52834 h 62295"/>
                  <a:gd name="connsiteX4" fmla="*/ 4046 w 42005"/>
                  <a:gd name="connsiteY4" fmla="*/ 48332 h 62295"/>
                  <a:gd name="connsiteX5" fmla="*/ 0 w 42005"/>
                  <a:gd name="connsiteY5" fmla="*/ 38414 h 62295"/>
                  <a:gd name="connsiteX6" fmla="*/ 12653 w 42005"/>
                  <a:gd name="connsiteY6" fmla="*/ 11741 h 62295"/>
                  <a:gd name="connsiteX7" fmla="*/ 14135 w 42005"/>
                  <a:gd name="connsiteY7" fmla="*/ 5699 h 62295"/>
                  <a:gd name="connsiteX8" fmla="*/ 18067 w 42005"/>
                  <a:gd name="connsiteY8" fmla="*/ 0 h 62295"/>
                  <a:gd name="connsiteX9" fmla="*/ 18067 w 42005"/>
                  <a:gd name="connsiteY9" fmla="*/ 2109 h 62295"/>
                  <a:gd name="connsiteX10" fmla="*/ 19777 w 42005"/>
                  <a:gd name="connsiteY10" fmla="*/ 21772 h 62295"/>
                  <a:gd name="connsiteX11" fmla="*/ 21658 w 42005"/>
                  <a:gd name="connsiteY11" fmla="*/ 30093 h 62295"/>
                  <a:gd name="connsiteX12" fmla="*/ 39440 w 42005"/>
                  <a:gd name="connsiteY12" fmla="*/ 42461 h 62295"/>
                  <a:gd name="connsiteX13" fmla="*/ 42005 w 42005"/>
                  <a:gd name="connsiteY13" fmla="*/ 44684 h 62295"/>
                  <a:gd name="connsiteX14" fmla="*/ 37788 w 42005"/>
                  <a:gd name="connsiteY14" fmla="*/ 52207 h 62295"/>
                  <a:gd name="connsiteX15" fmla="*/ 33570 w 42005"/>
                  <a:gd name="connsiteY15" fmla="*/ 59274 h 6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005" h="62295">
                    <a:moveTo>
                      <a:pt x="33570" y="59274"/>
                    </a:moveTo>
                    <a:cubicBezTo>
                      <a:pt x="31723" y="60796"/>
                      <a:pt x="29529" y="61834"/>
                      <a:pt x="27186" y="62295"/>
                    </a:cubicBezTo>
                    <a:cubicBezTo>
                      <a:pt x="27186" y="61554"/>
                      <a:pt x="27528" y="60870"/>
                      <a:pt x="27585" y="60130"/>
                    </a:cubicBezTo>
                    <a:cubicBezTo>
                      <a:pt x="23693" y="59787"/>
                      <a:pt x="20604" y="56721"/>
                      <a:pt x="20233" y="52834"/>
                    </a:cubicBezTo>
                    <a:cubicBezTo>
                      <a:pt x="17554" y="47591"/>
                      <a:pt x="8321" y="52378"/>
                      <a:pt x="4046" y="48332"/>
                    </a:cubicBezTo>
                    <a:cubicBezTo>
                      <a:pt x="1482" y="45881"/>
                      <a:pt x="1824" y="41150"/>
                      <a:pt x="0" y="38414"/>
                    </a:cubicBezTo>
                    <a:cubicBezTo>
                      <a:pt x="5887" y="30412"/>
                      <a:pt x="10179" y="21362"/>
                      <a:pt x="12653" y="11741"/>
                    </a:cubicBezTo>
                    <a:cubicBezTo>
                      <a:pt x="12943" y="9683"/>
                      <a:pt x="13439" y="7660"/>
                      <a:pt x="14135" y="5699"/>
                    </a:cubicBezTo>
                    <a:cubicBezTo>
                      <a:pt x="15149" y="3608"/>
                      <a:pt x="16471" y="1687"/>
                      <a:pt x="18067" y="0"/>
                    </a:cubicBezTo>
                    <a:lnTo>
                      <a:pt x="18067" y="2109"/>
                    </a:lnTo>
                    <a:lnTo>
                      <a:pt x="19777" y="21772"/>
                    </a:lnTo>
                    <a:cubicBezTo>
                      <a:pt x="19851" y="24645"/>
                      <a:pt x="20489" y="27472"/>
                      <a:pt x="21658" y="30093"/>
                    </a:cubicBezTo>
                    <a:cubicBezTo>
                      <a:pt x="25020" y="36591"/>
                      <a:pt x="33627" y="37959"/>
                      <a:pt x="39440" y="42461"/>
                    </a:cubicBezTo>
                    <a:lnTo>
                      <a:pt x="42005" y="44684"/>
                    </a:lnTo>
                    <a:cubicBezTo>
                      <a:pt x="40432" y="47095"/>
                      <a:pt x="39024" y="49608"/>
                      <a:pt x="37788" y="52207"/>
                    </a:cubicBezTo>
                    <a:cubicBezTo>
                      <a:pt x="36870" y="54823"/>
                      <a:pt x="35434" y="57223"/>
                      <a:pt x="33570" y="59274"/>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7" name="Freihandform: Form 761">
                <a:extLst>
                  <a:ext uri="{FF2B5EF4-FFF2-40B4-BE49-F238E27FC236}">
                    <a16:creationId xmlns:a16="http://schemas.microsoft.com/office/drawing/2014/main" id="{8904D115-1A14-2F61-0BF2-28B1FB48554E}"/>
                  </a:ext>
                </a:extLst>
              </p:cNvPr>
              <p:cNvSpPr/>
              <p:nvPr/>
            </p:nvSpPr>
            <p:spPr>
              <a:xfrm>
                <a:off x="4180230" y="3187233"/>
                <a:ext cx="43355" cy="74435"/>
              </a:xfrm>
              <a:custGeom>
                <a:avLst/>
                <a:gdLst>
                  <a:gd name="connsiteX0" fmla="*/ 22622 w 43355"/>
                  <a:gd name="connsiteY0" fmla="*/ 74435 h 74435"/>
                  <a:gd name="connsiteX1" fmla="*/ 20514 w 43355"/>
                  <a:gd name="connsiteY1" fmla="*/ 71927 h 74435"/>
                  <a:gd name="connsiteX2" fmla="*/ 11565 w 43355"/>
                  <a:gd name="connsiteY2" fmla="*/ 66228 h 74435"/>
                  <a:gd name="connsiteX3" fmla="*/ 11053 w 43355"/>
                  <a:gd name="connsiteY3" fmla="*/ 59560 h 74435"/>
                  <a:gd name="connsiteX4" fmla="*/ 8317 w 43355"/>
                  <a:gd name="connsiteY4" fmla="*/ 49585 h 74435"/>
                  <a:gd name="connsiteX5" fmla="*/ 1477 w 43355"/>
                  <a:gd name="connsiteY5" fmla="*/ 42347 h 74435"/>
                  <a:gd name="connsiteX6" fmla="*/ 2845 w 43355"/>
                  <a:gd name="connsiteY6" fmla="*/ 30948 h 74435"/>
                  <a:gd name="connsiteX7" fmla="*/ 8146 w 43355"/>
                  <a:gd name="connsiteY7" fmla="*/ 29808 h 74435"/>
                  <a:gd name="connsiteX8" fmla="*/ 10425 w 43355"/>
                  <a:gd name="connsiteY8" fmla="*/ 26503 h 74435"/>
                  <a:gd name="connsiteX9" fmla="*/ 13617 w 43355"/>
                  <a:gd name="connsiteY9" fmla="*/ 14819 h 74435"/>
                  <a:gd name="connsiteX10" fmla="*/ 20001 w 43355"/>
                  <a:gd name="connsiteY10" fmla="*/ 11798 h 74435"/>
                  <a:gd name="connsiteX11" fmla="*/ 24389 w 43355"/>
                  <a:gd name="connsiteY11" fmla="*/ 4674 h 74435"/>
                  <a:gd name="connsiteX12" fmla="*/ 27011 w 43355"/>
                  <a:gd name="connsiteY12" fmla="*/ 0 h 74435"/>
                  <a:gd name="connsiteX13" fmla="*/ 25529 w 43355"/>
                  <a:gd name="connsiteY13" fmla="*/ 26047 h 74435"/>
                  <a:gd name="connsiteX14" fmla="*/ 26327 w 43355"/>
                  <a:gd name="connsiteY14" fmla="*/ 30777 h 74435"/>
                  <a:gd name="connsiteX15" fmla="*/ 37384 w 43355"/>
                  <a:gd name="connsiteY15" fmla="*/ 39953 h 74435"/>
                  <a:gd name="connsiteX16" fmla="*/ 42343 w 43355"/>
                  <a:gd name="connsiteY16" fmla="*/ 52036 h 74435"/>
                  <a:gd name="connsiteX17" fmla="*/ 27467 w 43355"/>
                  <a:gd name="connsiteY17" fmla="*/ 65259 h 74435"/>
                  <a:gd name="connsiteX18" fmla="*/ 25415 w 43355"/>
                  <a:gd name="connsiteY18" fmla="*/ 71585 h 74435"/>
                  <a:gd name="connsiteX19" fmla="*/ 22622 w 43355"/>
                  <a:gd name="connsiteY19" fmla="*/ 74435 h 7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355" h="74435">
                    <a:moveTo>
                      <a:pt x="22622" y="74435"/>
                    </a:moveTo>
                    <a:cubicBezTo>
                      <a:pt x="22081" y="73478"/>
                      <a:pt x="21363" y="72628"/>
                      <a:pt x="20514" y="71927"/>
                    </a:cubicBezTo>
                    <a:cubicBezTo>
                      <a:pt x="17664" y="69705"/>
                      <a:pt x="13218" y="69363"/>
                      <a:pt x="11565" y="66228"/>
                    </a:cubicBezTo>
                    <a:cubicBezTo>
                      <a:pt x="10876" y="64073"/>
                      <a:pt x="10705" y="61794"/>
                      <a:pt x="11053" y="59560"/>
                    </a:cubicBezTo>
                    <a:cubicBezTo>
                      <a:pt x="10796" y="56089"/>
                      <a:pt x="9867" y="52703"/>
                      <a:pt x="8317" y="49585"/>
                    </a:cubicBezTo>
                    <a:cubicBezTo>
                      <a:pt x="7006" y="46337"/>
                      <a:pt x="4954" y="42575"/>
                      <a:pt x="1477" y="42347"/>
                    </a:cubicBezTo>
                    <a:cubicBezTo>
                      <a:pt x="-233" y="38358"/>
                      <a:pt x="-1201" y="32430"/>
                      <a:pt x="2845" y="30948"/>
                    </a:cubicBezTo>
                    <a:cubicBezTo>
                      <a:pt x="4498" y="30264"/>
                      <a:pt x="6607" y="30948"/>
                      <a:pt x="8146" y="29808"/>
                    </a:cubicBezTo>
                    <a:cubicBezTo>
                      <a:pt x="9240" y="28976"/>
                      <a:pt x="10038" y="27819"/>
                      <a:pt x="10425" y="26503"/>
                    </a:cubicBezTo>
                    <a:cubicBezTo>
                      <a:pt x="11913" y="22735"/>
                      <a:pt x="12985" y="18820"/>
                      <a:pt x="13617" y="14819"/>
                    </a:cubicBezTo>
                    <a:cubicBezTo>
                      <a:pt x="15966" y="14357"/>
                      <a:pt x="18154" y="13320"/>
                      <a:pt x="20001" y="11798"/>
                    </a:cubicBezTo>
                    <a:cubicBezTo>
                      <a:pt x="21933" y="9746"/>
                      <a:pt x="23426" y="7324"/>
                      <a:pt x="24389" y="4674"/>
                    </a:cubicBezTo>
                    <a:cubicBezTo>
                      <a:pt x="25130" y="3078"/>
                      <a:pt x="26099" y="1539"/>
                      <a:pt x="27011" y="0"/>
                    </a:cubicBezTo>
                    <a:cubicBezTo>
                      <a:pt x="25609" y="8606"/>
                      <a:pt x="25113" y="17338"/>
                      <a:pt x="25529" y="26047"/>
                    </a:cubicBezTo>
                    <a:cubicBezTo>
                      <a:pt x="25563" y="27654"/>
                      <a:pt x="25831" y="29250"/>
                      <a:pt x="26327" y="30777"/>
                    </a:cubicBezTo>
                    <a:cubicBezTo>
                      <a:pt x="28094" y="35337"/>
                      <a:pt x="33223" y="37389"/>
                      <a:pt x="37384" y="39953"/>
                    </a:cubicBezTo>
                    <a:cubicBezTo>
                      <a:pt x="41545" y="42518"/>
                      <a:pt x="45192" y="48104"/>
                      <a:pt x="42343" y="52036"/>
                    </a:cubicBezTo>
                    <a:cubicBezTo>
                      <a:pt x="35344" y="53398"/>
                      <a:pt x="29644" y="58471"/>
                      <a:pt x="27467" y="65259"/>
                    </a:cubicBezTo>
                    <a:cubicBezTo>
                      <a:pt x="26988" y="67430"/>
                      <a:pt x="26304" y="69551"/>
                      <a:pt x="25415" y="71585"/>
                    </a:cubicBezTo>
                    <a:cubicBezTo>
                      <a:pt x="24680" y="72708"/>
                      <a:pt x="23728" y="73677"/>
                      <a:pt x="22622" y="74435"/>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8" name="Freihandform: Form 762">
                <a:extLst>
                  <a:ext uri="{FF2B5EF4-FFF2-40B4-BE49-F238E27FC236}">
                    <a16:creationId xmlns:a16="http://schemas.microsoft.com/office/drawing/2014/main" id="{F9A13A21-3814-FB8A-C385-73417D9B2DBA}"/>
                  </a:ext>
                </a:extLst>
              </p:cNvPr>
              <p:cNvSpPr/>
              <p:nvPr/>
            </p:nvSpPr>
            <p:spPr>
              <a:xfrm>
                <a:off x="4205616" y="3173212"/>
                <a:ext cx="58676" cy="59445"/>
              </a:xfrm>
              <a:custGeom>
                <a:avLst/>
                <a:gdLst>
                  <a:gd name="connsiteX0" fmla="*/ 27329 w 58676"/>
                  <a:gd name="connsiteY0" fmla="*/ 55285 h 59445"/>
                  <a:gd name="connsiteX1" fmla="*/ 17127 w 58676"/>
                  <a:gd name="connsiteY1" fmla="*/ 59445 h 59445"/>
                  <a:gd name="connsiteX2" fmla="*/ 11997 w 58676"/>
                  <a:gd name="connsiteY2" fmla="*/ 53746 h 59445"/>
                  <a:gd name="connsiteX3" fmla="*/ 940 w 58676"/>
                  <a:gd name="connsiteY3" fmla="*/ 44570 h 59445"/>
                  <a:gd name="connsiteX4" fmla="*/ 142 w 58676"/>
                  <a:gd name="connsiteY4" fmla="*/ 39839 h 59445"/>
                  <a:gd name="connsiteX5" fmla="*/ 1624 w 58676"/>
                  <a:gd name="connsiteY5" fmla="*/ 13793 h 59445"/>
                  <a:gd name="connsiteX6" fmla="*/ 3220 w 58676"/>
                  <a:gd name="connsiteY6" fmla="*/ 10943 h 59445"/>
                  <a:gd name="connsiteX7" fmla="*/ 8122 w 58676"/>
                  <a:gd name="connsiteY7" fmla="*/ 14762 h 59445"/>
                  <a:gd name="connsiteX8" fmla="*/ 16614 w 58676"/>
                  <a:gd name="connsiteY8" fmla="*/ 13166 h 59445"/>
                  <a:gd name="connsiteX9" fmla="*/ 17982 w 58676"/>
                  <a:gd name="connsiteY9" fmla="*/ 6953 h 59445"/>
                  <a:gd name="connsiteX10" fmla="*/ 28070 w 58676"/>
                  <a:gd name="connsiteY10" fmla="*/ 4332 h 59445"/>
                  <a:gd name="connsiteX11" fmla="*/ 39070 w 58676"/>
                  <a:gd name="connsiteY11" fmla="*/ 4332 h 59445"/>
                  <a:gd name="connsiteX12" fmla="*/ 43345 w 58676"/>
                  <a:gd name="connsiteY12" fmla="*/ 399 h 59445"/>
                  <a:gd name="connsiteX13" fmla="*/ 44826 w 58676"/>
                  <a:gd name="connsiteY13" fmla="*/ 0 h 59445"/>
                  <a:gd name="connsiteX14" fmla="*/ 46764 w 58676"/>
                  <a:gd name="connsiteY14" fmla="*/ 5699 h 59445"/>
                  <a:gd name="connsiteX15" fmla="*/ 49785 w 58676"/>
                  <a:gd name="connsiteY15" fmla="*/ 11000 h 59445"/>
                  <a:gd name="connsiteX16" fmla="*/ 50583 w 58676"/>
                  <a:gd name="connsiteY16" fmla="*/ 15560 h 59445"/>
                  <a:gd name="connsiteX17" fmla="*/ 58676 w 58676"/>
                  <a:gd name="connsiteY17" fmla="*/ 24052 h 59445"/>
                  <a:gd name="connsiteX18" fmla="*/ 57251 w 58676"/>
                  <a:gd name="connsiteY18" fmla="*/ 37446 h 59445"/>
                  <a:gd name="connsiteX19" fmla="*/ 44940 w 58676"/>
                  <a:gd name="connsiteY19" fmla="*/ 43145 h 59445"/>
                  <a:gd name="connsiteX20" fmla="*/ 32515 w 58676"/>
                  <a:gd name="connsiteY20" fmla="*/ 52720 h 5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676" h="59445">
                    <a:moveTo>
                      <a:pt x="27329" y="55285"/>
                    </a:moveTo>
                    <a:lnTo>
                      <a:pt x="17127" y="59445"/>
                    </a:lnTo>
                    <a:cubicBezTo>
                      <a:pt x="15959" y="57120"/>
                      <a:pt x="14186" y="55154"/>
                      <a:pt x="11997" y="53746"/>
                    </a:cubicBezTo>
                    <a:cubicBezTo>
                      <a:pt x="7837" y="51181"/>
                      <a:pt x="2707" y="49129"/>
                      <a:pt x="940" y="44570"/>
                    </a:cubicBezTo>
                    <a:cubicBezTo>
                      <a:pt x="444" y="43042"/>
                      <a:pt x="177" y="41447"/>
                      <a:pt x="142" y="39839"/>
                    </a:cubicBezTo>
                    <a:cubicBezTo>
                      <a:pt x="-274" y="31131"/>
                      <a:pt x="222" y="22399"/>
                      <a:pt x="1624" y="13793"/>
                    </a:cubicBezTo>
                    <a:cubicBezTo>
                      <a:pt x="2137" y="12881"/>
                      <a:pt x="2593" y="11855"/>
                      <a:pt x="3220" y="10943"/>
                    </a:cubicBezTo>
                    <a:cubicBezTo>
                      <a:pt x="4656" y="12453"/>
                      <a:pt x="6309" y="13736"/>
                      <a:pt x="8122" y="14762"/>
                    </a:cubicBezTo>
                    <a:cubicBezTo>
                      <a:pt x="10932" y="16546"/>
                      <a:pt x="14642" y="15850"/>
                      <a:pt x="16614" y="13166"/>
                    </a:cubicBezTo>
                    <a:cubicBezTo>
                      <a:pt x="17583" y="11228"/>
                      <a:pt x="17070" y="8891"/>
                      <a:pt x="17982" y="6953"/>
                    </a:cubicBezTo>
                    <a:cubicBezTo>
                      <a:pt x="19521" y="3477"/>
                      <a:pt x="24422" y="3420"/>
                      <a:pt x="28070" y="4332"/>
                    </a:cubicBezTo>
                    <a:cubicBezTo>
                      <a:pt x="31717" y="5244"/>
                      <a:pt x="36049" y="6554"/>
                      <a:pt x="39070" y="4332"/>
                    </a:cubicBezTo>
                    <a:cubicBezTo>
                      <a:pt x="40609" y="3135"/>
                      <a:pt x="41578" y="1254"/>
                      <a:pt x="43345" y="399"/>
                    </a:cubicBezTo>
                    <a:cubicBezTo>
                      <a:pt x="43812" y="182"/>
                      <a:pt x="44313" y="46"/>
                      <a:pt x="44826" y="0"/>
                    </a:cubicBezTo>
                    <a:cubicBezTo>
                      <a:pt x="45254" y="1966"/>
                      <a:pt x="45903" y="3881"/>
                      <a:pt x="46764" y="5699"/>
                    </a:cubicBezTo>
                    <a:cubicBezTo>
                      <a:pt x="47933" y="7369"/>
                      <a:pt x="48947" y="9142"/>
                      <a:pt x="49785" y="11000"/>
                    </a:cubicBezTo>
                    <a:cubicBezTo>
                      <a:pt x="50241" y="12482"/>
                      <a:pt x="50241" y="14078"/>
                      <a:pt x="50583" y="15560"/>
                    </a:cubicBezTo>
                    <a:cubicBezTo>
                      <a:pt x="51506" y="19669"/>
                      <a:pt x="54618" y="22935"/>
                      <a:pt x="58676" y="24052"/>
                    </a:cubicBezTo>
                    <a:cubicBezTo>
                      <a:pt x="57821" y="28497"/>
                      <a:pt x="59759" y="33627"/>
                      <a:pt x="57251" y="37446"/>
                    </a:cubicBezTo>
                    <a:cubicBezTo>
                      <a:pt x="54744" y="41264"/>
                      <a:pt x="49215" y="41492"/>
                      <a:pt x="44940" y="43145"/>
                    </a:cubicBezTo>
                    <a:cubicBezTo>
                      <a:pt x="42262" y="47881"/>
                      <a:pt x="37782" y="51335"/>
                      <a:pt x="32515" y="5272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69" name="Freihandform: Form 763">
                <a:extLst>
                  <a:ext uri="{FF2B5EF4-FFF2-40B4-BE49-F238E27FC236}">
                    <a16:creationId xmlns:a16="http://schemas.microsoft.com/office/drawing/2014/main" id="{6373B588-FF9A-EE47-018F-BA02D0FABDE2}"/>
                  </a:ext>
                </a:extLst>
              </p:cNvPr>
              <p:cNvSpPr/>
              <p:nvPr/>
            </p:nvSpPr>
            <p:spPr>
              <a:xfrm>
                <a:off x="4320204" y="3190219"/>
                <a:ext cx="406805" cy="176261"/>
              </a:xfrm>
              <a:custGeom>
                <a:avLst/>
                <a:gdLst>
                  <a:gd name="connsiteX0" fmla="*/ 406429 w 406805"/>
                  <a:gd name="connsiteY0" fmla="*/ 128785 h 176261"/>
                  <a:gd name="connsiteX1" fmla="*/ 401813 w 406805"/>
                  <a:gd name="connsiteY1" fmla="*/ 139272 h 176261"/>
                  <a:gd name="connsiteX2" fmla="*/ 397310 w 406805"/>
                  <a:gd name="connsiteY2" fmla="*/ 139272 h 176261"/>
                  <a:gd name="connsiteX3" fmla="*/ 372233 w 406805"/>
                  <a:gd name="connsiteY3" fmla="*/ 136251 h 176261"/>
                  <a:gd name="connsiteX4" fmla="*/ 367502 w 406805"/>
                  <a:gd name="connsiteY4" fmla="*/ 137277 h 176261"/>
                  <a:gd name="connsiteX5" fmla="*/ 367160 w 406805"/>
                  <a:gd name="connsiteY5" fmla="*/ 135282 h 176261"/>
                  <a:gd name="connsiteX6" fmla="*/ 343279 w 406805"/>
                  <a:gd name="connsiteY6" fmla="*/ 143376 h 176261"/>
                  <a:gd name="connsiteX7" fmla="*/ 331595 w 406805"/>
                  <a:gd name="connsiteY7" fmla="*/ 143661 h 176261"/>
                  <a:gd name="connsiteX8" fmla="*/ 313813 w 406805"/>
                  <a:gd name="connsiteY8" fmla="*/ 152837 h 176261"/>
                  <a:gd name="connsiteX9" fmla="*/ 299279 w 406805"/>
                  <a:gd name="connsiteY9" fmla="*/ 152495 h 176261"/>
                  <a:gd name="connsiteX10" fmla="*/ 250264 w 406805"/>
                  <a:gd name="connsiteY10" fmla="*/ 151070 h 176261"/>
                  <a:gd name="connsiteX11" fmla="*/ 246388 w 406805"/>
                  <a:gd name="connsiteY11" fmla="*/ 152267 h 176261"/>
                  <a:gd name="connsiteX12" fmla="*/ 245248 w 406805"/>
                  <a:gd name="connsiteY12" fmla="*/ 154832 h 176261"/>
                  <a:gd name="connsiteX13" fmla="*/ 231570 w 406805"/>
                  <a:gd name="connsiteY13" fmla="*/ 164749 h 176261"/>
                  <a:gd name="connsiteX14" fmla="*/ 230658 w 406805"/>
                  <a:gd name="connsiteY14" fmla="*/ 169707 h 176261"/>
                  <a:gd name="connsiteX15" fmla="*/ 225414 w 406805"/>
                  <a:gd name="connsiteY15" fmla="*/ 176262 h 176261"/>
                  <a:gd name="connsiteX16" fmla="*/ 225414 w 406805"/>
                  <a:gd name="connsiteY16" fmla="*/ 174837 h 176261"/>
                  <a:gd name="connsiteX17" fmla="*/ 225414 w 406805"/>
                  <a:gd name="connsiteY17" fmla="*/ 145541 h 176261"/>
                  <a:gd name="connsiteX18" fmla="*/ 207803 w 406805"/>
                  <a:gd name="connsiteY18" fmla="*/ 152609 h 176261"/>
                  <a:gd name="connsiteX19" fmla="*/ 201134 w 406805"/>
                  <a:gd name="connsiteY19" fmla="*/ 150842 h 176261"/>
                  <a:gd name="connsiteX20" fmla="*/ 192243 w 406805"/>
                  <a:gd name="connsiteY20" fmla="*/ 155801 h 176261"/>
                  <a:gd name="connsiteX21" fmla="*/ 135248 w 406805"/>
                  <a:gd name="connsiteY21" fmla="*/ 153464 h 176261"/>
                  <a:gd name="connsiteX22" fmla="*/ 108917 w 406805"/>
                  <a:gd name="connsiteY22" fmla="*/ 143775 h 176261"/>
                  <a:gd name="connsiteX23" fmla="*/ 86632 w 406805"/>
                  <a:gd name="connsiteY23" fmla="*/ 167142 h 176261"/>
                  <a:gd name="connsiteX24" fmla="*/ 69533 w 406805"/>
                  <a:gd name="connsiteY24" fmla="*/ 159904 h 176261"/>
                  <a:gd name="connsiteX25" fmla="*/ 67482 w 406805"/>
                  <a:gd name="connsiteY25" fmla="*/ 153065 h 176261"/>
                  <a:gd name="connsiteX26" fmla="*/ 51580 w 406805"/>
                  <a:gd name="connsiteY26" fmla="*/ 146510 h 176261"/>
                  <a:gd name="connsiteX27" fmla="*/ 43487 w 406805"/>
                  <a:gd name="connsiteY27" fmla="*/ 134257 h 176261"/>
                  <a:gd name="connsiteX28" fmla="*/ 30036 w 406805"/>
                  <a:gd name="connsiteY28" fmla="*/ 123200 h 176261"/>
                  <a:gd name="connsiteX29" fmla="*/ 29979 w 406805"/>
                  <a:gd name="connsiteY29" fmla="*/ 121946 h 176261"/>
                  <a:gd name="connsiteX30" fmla="*/ 29979 w 406805"/>
                  <a:gd name="connsiteY30" fmla="*/ 115334 h 176261"/>
                  <a:gd name="connsiteX31" fmla="*/ 14761 w 406805"/>
                  <a:gd name="connsiteY31" fmla="*/ 104448 h 176261"/>
                  <a:gd name="connsiteX32" fmla="*/ 23140 w 406805"/>
                  <a:gd name="connsiteY32" fmla="*/ 91567 h 176261"/>
                  <a:gd name="connsiteX33" fmla="*/ 22285 w 406805"/>
                  <a:gd name="connsiteY33" fmla="*/ 69397 h 176261"/>
                  <a:gd name="connsiteX34" fmla="*/ 9347 w 406805"/>
                  <a:gd name="connsiteY34" fmla="*/ 66889 h 176261"/>
                  <a:gd name="connsiteX35" fmla="*/ 18238 w 406805"/>
                  <a:gd name="connsiteY35" fmla="*/ 51044 h 176261"/>
                  <a:gd name="connsiteX36" fmla="*/ 38870 w 406805"/>
                  <a:gd name="connsiteY36" fmla="*/ 51044 h 176261"/>
                  <a:gd name="connsiteX37" fmla="*/ 75632 w 406805"/>
                  <a:gd name="connsiteY37" fmla="*/ 41811 h 176261"/>
                  <a:gd name="connsiteX38" fmla="*/ 78390 w 406805"/>
                  <a:gd name="connsiteY38" fmla="*/ 32538 h 176261"/>
                  <a:gd name="connsiteX39" fmla="*/ 78424 w 406805"/>
                  <a:gd name="connsiteY39" fmla="*/ 32521 h 176261"/>
                  <a:gd name="connsiteX40" fmla="*/ 89083 w 406805"/>
                  <a:gd name="connsiteY40" fmla="*/ 30754 h 176261"/>
                  <a:gd name="connsiteX41" fmla="*/ 119005 w 406805"/>
                  <a:gd name="connsiteY41" fmla="*/ 31552 h 176261"/>
                  <a:gd name="connsiteX42" fmla="*/ 148300 w 406805"/>
                  <a:gd name="connsiteY42" fmla="*/ 12972 h 176261"/>
                  <a:gd name="connsiteX43" fmla="*/ 159357 w 406805"/>
                  <a:gd name="connsiteY43" fmla="*/ 7614 h 176261"/>
                  <a:gd name="connsiteX44" fmla="*/ 202787 w 406805"/>
                  <a:gd name="connsiteY44" fmla="*/ 8925 h 176261"/>
                  <a:gd name="connsiteX45" fmla="*/ 236186 w 406805"/>
                  <a:gd name="connsiteY45" fmla="*/ 22319 h 176261"/>
                  <a:gd name="connsiteX46" fmla="*/ 268559 w 406805"/>
                  <a:gd name="connsiteY46" fmla="*/ 37195 h 176261"/>
                  <a:gd name="connsiteX47" fmla="*/ 324585 w 406805"/>
                  <a:gd name="connsiteY47" fmla="*/ 30469 h 176261"/>
                  <a:gd name="connsiteX48" fmla="*/ 328574 w 406805"/>
                  <a:gd name="connsiteY48" fmla="*/ 25283 h 176261"/>
                  <a:gd name="connsiteX49" fmla="*/ 337238 w 406805"/>
                  <a:gd name="connsiteY49" fmla="*/ 19583 h 176261"/>
                  <a:gd name="connsiteX50" fmla="*/ 373429 w 406805"/>
                  <a:gd name="connsiteY50" fmla="*/ 20153 h 176261"/>
                  <a:gd name="connsiteX51" fmla="*/ 383061 w 406805"/>
                  <a:gd name="connsiteY51" fmla="*/ 27733 h 176261"/>
                  <a:gd name="connsiteX52" fmla="*/ 387906 w 406805"/>
                  <a:gd name="connsiteY52" fmla="*/ 31210 h 176261"/>
                  <a:gd name="connsiteX53" fmla="*/ 388875 w 406805"/>
                  <a:gd name="connsiteY53" fmla="*/ 47910 h 176261"/>
                  <a:gd name="connsiteX54" fmla="*/ 397652 w 406805"/>
                  <a:gd name="connsiteY54" fmla="*/ 55148 h 176261"/>
                  <a:gd name="connsiteX55" fmla="*/ 398222 w 406805"/>
                  <a:gd name="connsiteY55" fmla="*/ 57143 h 176261"/>
                  <a:gd name="connsiteX56" fmla="*/ 402212 w 406805"/>
                  <a:gd name="connsiteY56" fmla="*/ 58454 h 176261"/>
                  <a:gd name="connsiteX57" fmla="*/ 406201 w 406805"/>
                  <a:gd name="connsiteY57" fmla="*/ 67288 h 176261"/>
                  <a:gd name="connsiteX58" fmla="*/ 401870 w 406805"/>
                  <a:gd name="connsiteY58" fmla="*/ 80966 h 176261"/>
                  <a:gd name="connsiteX59" fmla="*/ 396911 w 406805"/>
                  <a:gd name="connsiteY59" fmla="*/ 85526 h 176261"/>
                  <a:gd name="connsiteX60" fmla="*/ 400331 w 406805"/>
                  <a:gd name="connsiteY60" fmla="*/ 91853 h 176261"/>
                  <a:gd name="connsiteX61" fmla="*/ 405574 w 406805"/>
                  <a:gd name="connsiteY61" fmla="*/ 115448 h 176261"/>
                  <a:gd name="connsiteX62" fmla="*/ 404719 w 406805"/>
                  <a:gd name="connsiteY62" fmla="*/ 120635 h 176261"/>
                  <a:gd name="connsiteX63" fmla="*/ 406372 w 406805"/>
                  <a:gd name="connsiteY63" fmla="*/ 124112 h 176261"/>
                  <a:gd name="connsiteX64" fmla="*/ 406429 w 406805"/>
                  <a:gd name="connsiteY64" fmla="*/ 128785 h 176261"/>
                  <a:gd name="connsiteX65" fmla="*/ 57565 w 406805"/>
                  <a:gd name="connsiteY65" fmla="*/ 18614 h 176261"/>
                  <a:gd name="connsiteX66" fmla="*/ 51865 w 406805"/>
                  <a:gd name="connsiteY66" fmla="*/ 8697 h 176261"/>
                  <a:gd name="connsiteX67" fmla="*/ 47134 w 406805"/>
                  <a:gd name="connsiteY67" fmla="*/ 205 h 176261"/>
                  <a:gd name="connsiteX68" fmla="*/ 39782 w 406805"/>
                  <a:gd name="connsiteY68" fmla="*/ 946 h 176261"/>
                  <a:gd name="connsiteX69" fmla="*/ 35223 w 406805"/>
                  <a:gd name="connsiteY69" fmla="*/ 2998 h 176261"/>
                  <a:gd name="connsiteX70" fmla="*/ 23254 w 406805"/>
                  <a:gd name="connsiteY70" fmla="*/ 3625 h 176261"/>
                  <a:gd name="connsiteX71" fmla="*/ 18124 w 406805"/>
                  <a:gd name="connsiteY71" fmla="*/ 7215 h 176261"/>
                  <a:gd name="connsiteX72" fmla="*/ 0 w 406805"/>
                  <a:gd name="connsiteY72" fmla="*/ 35713 h 176261"/>
                  <a:gd name="connsiteX73" fmla="*/ 627 w 406805"/>
                  <a:gd name="connsiteY73" fmla="*/ 35713 h 176261"/>
                  <a:gd name="connsiteX74" fmla="*/ 7694 w 406805"/>
                  <a:gd name="connsiteY74" fmla="*/ 38790 h 176261"/>
                  <a:gd name="connsiteX75" fmla="*/ 10544 w 406805"/>
                  <a:gd name="connsiteY75" fmla="*/ 42723 h 176261"/>
                  <a:gd name="connsiteX76" fmla="*/ 28190 w 406805"/>
                  <a:gd name="connsiteY76" fmla="*/ 43173 h 176261"/>
                  <a:gd name="connsiteX77" fmla="*/ 31404 w 406805"/>
                  <a:gd name="connsiteY77" fmla="*/ 38163 h 176261"/>
                  <a:gd name="connsiteX78" fmla="*/ 51865 w 406805"/>
                  <a:gd name="connsiteY78" fmla="*/ 29500 h 176261"/>
                  <a:gd name="connsiteX79" fmla="*/ 69647 w 406805"/>
                  <a:gd name="connsiteY79" fmla="*/ 31894 h 176261"/>
                  <a:gd name="connsiteX80" fmla="*/ 68838 w 406805"/>
                  <a:gd name="connsiteY80" fmla="*/ 22011 h 176261"/>
                  <a:gd name="connsiteX81" fmla="*/ 68507 w 406805"/>
                  <a:gd name="connsiteY81" fmla="*/ 21749 h 176261"/>
                  <a:gd name="connsiteX82" fmla="*/ 57565 w 406805"/>
                  <a:gd name="connsiteY82" fmla="*/ 18614 h 17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6805" h="176261">
                    <a:moveTo>
                      <a:pt x="406429" y="128785"/>
                    </a:moveTo>
                    <a:cubicBezTo>
                      <a:pt x="405267" y="132433"/>
                      <a:pt x="403722" y="135949"/>
                      <a:pt x="401813" y="139272"/>
                    </a:cubicBezTo>
                    <a:cubicBezTo>
                      <a:pt x="400337" y="138907"/>
                      <a:pt x="398786" y="138907"/>
                      <a:pt x="397310" y="139272"/>
                    </a:cubicBezTo>
                    <a:cubicBezTo>
                      <a:pt x="388989" y="140868"/>
                      <a:pt x="380668" y="135510"/>
                      <a:pt x="372233" y="136251"/>
                    </a:cubicBezTo>
                    <a:cubicBezTo>
                      <a:pt x="370620" y="136388"/>
                      <a:pt x="369029" y="136736"/>
                      <a:pt x="367502" y="137277"/>
                    </a:cubicBezTo>
                    <a:cubicBezTo>
                      <a:pt x="367559" y="136593"/>
                      <a:pt x="367445" y="135909"/>
                      <a:pt x="367160" y="135282"/>
                    </a:cubicBezTo>
                    <a:cubicBezTo>
                      <a:pt x="358725" y="135282"/>
                      <a:pt x="351714" y="142407"/>
                      <a:pt x="343279" y="143376"/>
                    </a:cubicBezTo>
                    <a:cubicBezTo>
                      <a:pt x="339404" y="143832"/>
                      <a:pt x="335471" y="142863"/>
                      <a:pt x="331595" y="143661"/>
                    </a:cubicBezTo>
                    <a:cubicBezTo>
                      <a:pt x="325041" y="144972"/>
                      <a:pt x="320196" y="150956"/>
                      <a:pt x="313813" y="152837"/>
                    </a:cubicBezTo>
                    <a:cubicBezTo>
                      <a:pt x="309003" y="153777"/>
                      <a:pt x="304044" y="153658"/>
                      <a:pt x="299279" y="152495"/>
                    </a:cubicBezTo>
                    <a:cubicBezTo>
                      <a:pt x="283019" y="150511"/>
                      <a:pt x="266610" y="150033"/>
                      <a:pt x="250264" y="151070"/>
                    </a:cubicBezTo>
                    <a:cubicBezTo>
                      <a:pt x="248867" y="150979"/>
                      <a:pt x="247488" y="151406"/>
                      <a:pt x="246388" y="152267"/>
                    </a:cubicBezTo>
                    <a:cubicBezTo>
                      <a:pt x="245892" y="153065"/>
                      <a:pt x="245510" y="153931"/>
                      <a:pt x="245248" y="154832"/>
                    </a:cubicBezTo>
                    <a:cubicBezTo>
                      <a:pt x="242854" y="160075"/>
                      <a:pt x="233849" y="159391"/>
                      <a:pt x="231570" y="164749"/>
                    </a:cubicBezTo>
                    <a:cubicBezTo>
                      <a:pt x="231182" y="166384"/>
                      <a:pt x="230880" y="168043"/>
                      <a:pt x="230658" y="169707"/>
                    </a:cubicBezTo>
                    <a:cubicBezTo>
                      <a:pt x="229694" y="172420"/>
                      <a:pt x="227848" y="174728"/>
                      <a:pt x="225414" y="176262"/>
                    </a:cubicBezTo>
                    <a:lnTo>
                      <a:pt x="225414" y="174837"/>
                    </a:lnTo>
                    <a:cubicBezTo>
                      <a:pt x="225414" y="165091"/>
                      <a:pt x="225414" y="155288"/>
                      <a:pt x="225414" y="145541"/>
                    </a:cubicBezTo>
                    <a:cubicBezTo>
                      <a:pt x="221772" y="151555"/>
                      <a:pt x="214591" y="154438"/>
                      <a:pt x="207803" y="152609"/>
                    </a:cubicBezTo>
                    <a:cubicBezTo>
                      <a:pt x="205677" y="151697"/>
                      <a:pt x="203431" y="151098"/>
                      <a:pt x="201134" y="150842"/>
                    </a:cubicBezTo>
                    <a:cubicBezTo>
                      <a:pt x="197709" y="151475"/>
                      <a:pt x="194586" y="153219"/>
                      <a:pt x="192243" y="155801"/>
                    </a:cubicBezTo>
                    <a:cubicBezTo>
                      <a:pt x="175281" y="169234"/>
                      <a:pt x="151053" y="168237"/>
                      <a:pt x="135248" y="153464"/>
                    </a:cubicBezTo>
                    <a:lnTo>
                      <a:pt x="108917" y="143775"/>
                    </a:lnTo>
                    <a:cubicBezTo>
                      <a:pt x="111482" y="155686"/>
                      <a:pt x="98715" y="165832"/>
                      <a:pt x="86632" y="167142"/>
                    </a:cubicBezTo>
                    <a:cubicBezTo>
                      <a:pt x="80020" y="167883"/>
                      <a:pt x="72041" y="166060"/>
                      <a:pt x="69533" y="159904"/>
                    </a:cubicBezTo>
                    <a:cubicBezTo>
                      <a:pt x="68622" y="157681"/>
                      <a:pt x="68564" y="155174"/>
                      <a:pt x="67482" y="153065"/>
                    </a:cubicBezTo>
                    <a:cubicBezTo>
                      <a:pt x="64689" y="147821"/>
                      <a:pt x="57450" y="147707"/>
                      <a:pt x="51580" y="146510"/>
                    </a:cubicBezTo>
                    <a:cubicBezTo>
                      <a:pt x="45710" y="145314"/>
                      <a:pt x="39497" y="138645"/>
                      <a:pt x="43487" y="134257"/>
                    </a:cubicBezTo>
                    <a:cubicBezTo>
                      <a:pt x="36722" y="134918"/>
                      <a:pt x="30697" y="129971"/>
                      <a:pt x="30036" y="123200"/>
                    </a:cubicBezTo>
                    <a:cubicBezTo>
                      <a:pt x="29996" y="122784"/>
                      <a:pt x="29979" y="122368"/>
                      <a:pt x="29979" y="121946"/>
                    </a:cubicBezTo>
                    <a:cubicBezTo>
                      <a:pt x="30435" y="119763"/>
                      <a:pt x="30435" y="117517"/>
                      <a:pt x="29979" y="115334"/>
                    </a:cubicBezTo>
                    <a:cubicBezTo>
                      <a:pt x="27984" y="109122"/>
                      <a:pt x="16585" y="110718"/>
                      <a:pt x="14761" y="104448"/>
                    </a:cubicBezTo>
                    <a:cubicBezTo>
                      <a:pt x="13280" y="99319"/>
                      <a:pt x="19891" y="95899"/>
                      <a:pt x="23140" y="91567"/>
                    </a:cubicBezTo>
                    <a:cubicBezTo>
                      <a:pt x="27756" y="85355"/>
                      <a:pt x="25077" y="76578"/>
                      <a:pt x="22285" y="69397"/>
                    </a:cubicBezTo>
                    <a:lnTo>
                      <a:pt x="9347" y="66889"/>
                    </a:lnTo>
                    <a:cubicBezTo>
                      <a:pt x="6098" y="60733"/>
                      <a:pt x="11627" y="53096"/>
                      <a:pt x="18238" y="51044"/>
                    </a:cubicBezTo>
                    <a:cubicBezTo>
                      <a:pt x="25060" y="49819"/>
                      <a:pt x="32048" y="49819"/>
                      <a:pt x="38870" y="51044"/>
                    </a:cubicBezTo>
                    <a:cubicBezTo>
                      <a:pt x="51797" y="51956"/>
                      <a:pt x="64672" y="48719"/>
                      <a:pt x="75632" y="41811"/>
                    </a:cubicBezTo>
                    <a:cubicBezTo>
                      <a:pt x="73831" y="38488"/>
                      <a:pt x="75068" y="34339"/>
                      <a:pt x="78390" y="32538"/>
                    </a:cubicBezTo>
                    <a:cubicBezTo>
                      <a:pt x="78402" y="32532"/>
                      <a:pt x="78413" y="32527"/>
                      <a:pt x="78424" y="32521"/>
                    </a:cubicBezTo>
                    <a:cubicBezTo>
                      <a:pt x="81747" y="30959"/>
                      <a:pt x="85435" y="30349"/>
                      <a:pt x="89083" y="30754"/>
                    </a:cubicBezTo>
                    <a:lnTo>
                      <a:pt x="119005" y="31552"/>
                    </a:lnTo>
                    <a:cubicBezTo>
                      <a:pt x="128153" y="24439"/>
                      <a:pt x="137967" y="18215"/>
                      <a:pt x="148300" y="12972"/>
                    </a:cubicBezTo>
                    <a:cubicBezTo>
                      <a:pt x="151857" y="10937"/>
                      <a:pt x="155556" y="9147"/>
                      <a:pt x="159357" y="7614"/>
                    </a:cubicBezTo>
                    <a:cubicBezTo>
                      <a:pt x="173150" y="2485"/>
                      <a:pt x="188652" y="4821"/>
                      <a:pt x="202787" y="8925"/>
                    </a:cubicBezTo>
                    <a:cubicBezTo>
                      <a:pt x="214334" y="12271"/>
                      <a:pt x="225522" y="16762"/>
                      <a:pt x="236186" y="22319"/>
                    </a:cubicBezTo>
                    <a:cubicBezTo>
                      <a:pt x="246360" y="28526"/>
                      <a:pt x="257223" y="33518"/>
                      <a:pt x="268559" y="37195"/>
                    </a:cubicBezTo>
                    <a:cubicBezTo>
                      <a:pt x="287082" y="41697"/>
                      <a:pt x="306347" y="36055"/>
                      <a:pt x="324585" y="30469"/>
                    </a:cubicBezTo>
                    <a:cubicBezTo>
                      <a:pt x="324585" y="28132"/>
                      <a:pt x="326694" y="26537"/>
                      <a:pt x="328574" y="25283"/>
                    </a:cubicBezTo>
                    <a:lnTo>
                      <a:pt x="337238" y="19583"/>
                    </a:lnTo>
                    <a:cubicBezTo>
                      <a:pt x="349548" y="18899"/>
                      <a:pt x="363113" y="13884"/>
                      <a:pt x="373429" y="20153"/>
                    </a:cubicBezTo>
                    <a:cubicBezTo>
                      <a:pt x="376906" y="22376"/>
                      <a:pt x="379528" y="25853"/>
                      <a:pt x="383061" y="27733"/>
                    </a:cubicBezTo>
                    <a:cubicBezTo>
                      <a:pt x="384902" y="28537"/>
                      <a:pt x="386555" y="29723"/>
                      <a:pt x="387906" y="31210"/>
                    </a:cubicBezTo>
                    <a:cubicBezTo>
                      <a:pt x="391269" y="35884"/>
                      <a:pt x="385512" y="43236"/>
                      <a:pt x="388875" y="47910"/>
                    </a:cubicBezTo>
                    <a:cubicBezTo>
                      <a:pt x="391155" y="51101"/>
                      <a:pt x="396683" y="51386"/>
                      <a:pt x="397652" y="55148"/>
                    </a:cubicBezTo>
                    <a:cubicBezTo>
                      <a:pt x="397721" y="55843"/>
                      <a:pt x="397914" y="56516"/>
                      <a:pt x="398222" y="57143"/>
                    </a:cubicBezTo>
                    <a:cubicBezTo>
                      <a:pt x="399020" y="58340"/>
                      <a:pt x="400844" y="58055"/>
                      <a:pt x="402212" y="58454"/>
                    </a:cubicBezTo>
                    <a:cubicBezTo>
                      <a:pt x="405631" y="59309"/>
                      <a:pt x="406258" y="63811"/>
                      <a:pt x="406201" y="67288"/>
                    </a:cubicBezTo>
                    <a:cubicBezTo>
                      <a:pt x="406834" y="72263"/>
                      <a:pt x="405249" y="77262"/>
                      <a:pt x="401870" y="80966"/>
                    </a:cubicBezTo>
                    <a:cubicBezTo>
                      <a:pt x="400046" y="82391"/>
                      <a:pt x="397481" y="83303"/>
                      <a:pt x="396911" y="85526"/>
                    </a:cubicBezTo>
                    <a:cubicBezTo>
                      <a:pt x="396341" y="87749"/>
                      <a:pt x="398564" y="90086"/>
                      <a:pt x="400331" y="91853"/>
                    </a:cubicBezTo>
                    <a:cubicBezTo>
                      <a:pt x="406258" y="98168"/>
                      <a:pt x="408270" y="107218"/>
                      <a:pt x="405574" y="115448"/>
                    </a:cubicBezTo>
                    <a:cubicBezTo>
                      <a:pt x="404771" y="117050"/>
                      <a:pt x="404474" y="118862"/>
                      <a:pt x="404719" y="120635"/>
                    </a:cubicBezTo>
                    <a:cubicBezTo>
                      <a:pt x="405062" y="121889"/>
                      <a:pt x="406030" y="122858"/>
                      <a:pt x="406372" y="124112"/>
                    </a:cubicBezTo>
                    <a:cubicBezTo>
                      <a:pt x="406931" y="125616"/>
                      <a:pt x="406948" y="127269"/>
                      <a:pt x="406429" y="128785"/>
                    </a:cubicBezTo>
                    <a:close/>
                    <a:moveTo>
                      <a:pt x="57565" y="18614"/>
                    </a:moveTo>
                    <a:lnTo>
                      <a:pt x="51865" y="8697"/>
                    </a:lnTo>
                    <a:cubicBezTo>
                      <a:pt x="50269" y="5847"/>
                      <a:pt x="48673" y="2998"/>
                      <a:pt x="47134" y="205"/>
                    </a:cubicBezTo>
                    <a:cubicBezTo>
                      <a:pt x="44661" y="-228"/>
                      <a:pt x="42119" y="28"/>
                      <a:pt x="39782" y="946"/>
                    </a:cubicBezTo>
                    <a:cubicBezTo>
                      <a:pt x="38300" y="1710"/>
                      <a:pt x="36779" y="2393"/>
                      <a:pt x="35223" y="2998"/>
                    </a:cubicBezTo>
                    <a:cubicBezTo>
                      <a:pt x="31347" y="4138"/>
                      <a:pt x="27073" y="2314"/>
                      <a:pt x="23254" y="3625"/>
                    </a:cubicBezTo>
                    <a:cubicBezTo>
                      <a:pt x="21282" y="4400"/>
                      <a:pt x="19526" y="5631"/>
                      <a:pt x="18124" y="7215"/>
                    </a:cubicBezTo>
                    <a:cubicBezTo>
                      <a:pt x="10008" y="15223"/>
                      <a:pt x="3813" y="24969"/>
                      <a:pt x="0" y="35713"/>
                    </a:cubicBezTo>
                    <a:lnTo>
                      <a:pt x="627" y="35713"/>
                    </a:lnTo>
                    <a:cubicBezTo>
                      <a:pt x="3231" y="36032"/>
                      <a:pt x="5688" y="37098"/>
                      <a:pt x="7694" y="38790"/>
                    </a:cubicBezTo>
                    <a:cubicBezTo>
                      <a:pt x="8737" y="40027"/>
                      <a:pt x="9695" y="41344"/>
                      <a:pt x="10544" y="42723"/>
                    </a:cubicBezTo>
                    <a:cubicBezTo>
                      <a:pt x="15292" y="47721"/>
                      <a:pt x="23191" y="47921"/>
                      <a:pt x="28190" y="43173"/>
                    </a:cubicBezTo>
                    <a:cubicBezTo>
                      <a:pt x="29648" y="41788"/>
                      <a:pt x="30754" y="40067"/>
                      <a:pt x="31404" y="38163"/>
                    </a:cubicBezTo>
                    <a:cubicBezTo>
                      <a:pt x="38870" y="39645"/>
                      <a:pt x="44285" y="29557"/>
                      <a:pt x="51865" y="29500"/>
                    </a:cubicBezTo>
                    <a:cubicBezTo>
                      <a:pt x="58134" y="29500"/>
                      <a:pt x="64917" y="35998"/>
                      <a:pt x="69647" y="31894"/>
                    </a:cubicBezTo>
                    <a:cubicBezTo>
                      <a:pt x="72155" y="28942"/>
                      <a:pt x="71791" y="24519"/>
                      <a:pt x="68838" y="22011"/>
                    </a:cubicBezTo>
                    <a:cubicBezTo>
                      <a:pt x="68730" y="21920"/>
                      <a:pt x="68622" y="21834"/>
                      <a:pt x="68507" y="21749"/>
                    </a:cubicBezTo>
                    <a:cubicBezTo>
                      <a:pt x="65299" y="19537"/>
                      <a:pt x="61457" y="18438"/>
                      <a:pt x="57565" y="18614"/>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70" name="Freihandform: Form 764">
                <a:extLst>
                  <a:ext uri="{FF2B5EF4-FFF2-40B4-BE49-F238E27FC236}">
                    <a16:creationId xmlns:a16="http://schemas.microsoft.com/office/drawing/2014/main" id="{E9C84AFB-2E0C-EE8E-FBA9-AC4AEE327A89}"/>
                  </a:ext>
                </a:extLst>
              </p:cNvPr>
              <p:cNvSpPr/>
              <p:nvPr/>
            </p:nvSpPr>
            <p:spPr>
              <a:xfrm>
                <a:off x="4202795" y="3201481"/>
                <a:ext cx="127892" cy="190328"/>
              </a:xfrm>
              <a:custGeom>
                <a:avLst/>
                <a:gdLst>
                  <a:gd name="connsiteX0" fmla="*/ 79394 w 127892"/>
                  <a:gd name="connsiteY0" fmla="*/ 183580 h 190328"/>
                  <a:gd name="connsiteX1" fmla="*/ 71186 w 127892"/>
                  <a:gd name="connsiteY1" fmla="*/ 182896 h 190328"/>
                  <a:gd name="connsiteX2" fmla="*/ 69591 w 127892"/>
                  <a:gd name="connsiteY2" fmla="*/ 176171 h 190328"/>
                  <a:gd name="connsiteX3" fmla="*/ 73295 w 127892"/>
                  <a:gd name="connsiteY3" fmla="*/ 169445 h 190328"/>
                  <a:gd name="connsiteX4" fmla="*/ 74150 w 127892"/>
                  <a:gd name="connsiteY4" fmla="*/ 167736 h 190328"/>
                  <a:gd name="connsiteX5" fmla="*/ 76715 w 127892"/>
                  <a:gd name="connsiteY5" fmla="*/ 167393 h 190328"/>
                  <a:gd name="connsiteX6" fmla="*/ 89083 w 127892"/>
                  <a:gd name="connsiteY6" fmla="*/ 173834 h 190328"/>
                  <a:gd name="connsiteX7" fmla="*/ 91192 w 127892"/>
                  <a:gd name="connsiteY7" fmla="*/ 175487 h 190328"/>
                  <a:gd name="connsiteX8" fmla="*/ 93928 w 127892"/>
                  <a:gd name="connsiteY8" fmla="*/ 176000 h 190328"/>
                  <a:gd name="connsiteX9" fmla="*/ 108518 w 127892"/>
                  <a:gd name="connsiteY9" fmla="*/ 174575 h 190328"/>
                  <a:gd name="connsiteX10" fmla="*/ 111368 w 127892"/>
                  <a:gd name="connsiteY10" fmla="*/ 173492 h 190328"/>
                  <a:gd name="connsiteX11" fmla="*/ 119860 w 127892"/>
                  <a:gd name="connsiteY11" fmla="*/ 176912 h 190328"/>
                  <a:gd name="connsiteX12" fmla="*/ 127839 w 127892"/>
                  <a:gd name="connsiteY12" fmla="*/ 180787 h 190328"/>
                  <a:gd name="connsiteX13" fmla="*/ 125673 w 127892"/>
                  <a:gd name="connsiteY13" fmla="*/ 185005 h 190328"/>
                  <a:gd name="connsiteX14" fmla="*/ 120772 w 127892"/>
                  <a:gd name="connsiteY14" fmla="*/ 186145 h 190328"/>
                  <a:gd name="connsiteX15" fmla="*/ 115984 w 127892"/>
                  <a:gd name="connsiteY15" fmla="*/ 186145 h 190328"/>
                  <a:gd name="connsiteX16" fmla="*/ 108233 w 127892"/>
                  <a:gd name="connsiteY16" fmla="*/ 184663 h 190328"/>
                  <a:gd name="connsiteX17" fmla="*/ 104699 w 127892"/>
                  <a:gd name="connsiteY17" fmla="*/ 187000 h 190328"/>
                  <a:gd name="connsiteX18" fmla="*/ 86632 w 127892"/>
                  <a:gd name="connsiteY18" fmla="*/ 189736 h 190328"/>
                  <a:gd name="connsiteX19" fmla="*/ 80591 w 127892"/>
                  <a:gd name="connsiteY19" fmla="*/ 186772 h 190328"/>
                  <a:gd name="connsiteX20" fmla="*/ 79394 w 127892"/>
                  <a:gd name="connsiteY20" fmla="*/ 183580 h 190328"/>
                  <a:gd name="connsiteX21" fmla="*/ 100539 w 127892"/>
                  <a:gd name="connsiteY21" fmla="*/ 3648 h 190328"/>
                  <a:gd name="connsiteX22" fmla="*/ 95295 w 127892"/>
                  <a:gd name="connsiteY22" fmla="*/ 4788 h 190328"/>
                  <a:gd name="connsiteX23" fmla="*/ 64005 w 127892"/>
                  <a:gd name="connsiteY23" fmla="*/ 1653 h 190328"/>
                  <a:gd name="connsiteX24" fmla="*/ 61041 w 127892"/>
                  <a:gd name="connsiteY24" fmla="*/ 0 h 190328"/>
                  <a:gd name="connsiteX25" fmla="*/ 59844 w 127892"/>
                  <a:gd name="connsiteY25" fmla="*/ 9347 h 190328"/>
                  <a:gd name="connsiteX26" fmla="*/ 47534 w 127892"/>
                  <a:gd name="connsiteY26" fmla="*/ 15047 h 190328"/>
                  <a:gd name="connsiteX27" fmla="*/ 35109 w 127892"/>
                  <a:gd name="connsiteY27" fmla="*/ 24622 h 190328"/>
                  <a:gd name="connsiteX28" fmla="*/ 29922 w 127892"/>
                  <a:gd name="connsiteY28" fmla="*/ 26731 h 190328"/>
                  <a:gd name="connsiteX29" fmla="*/ 19720 w 127892"/>
                  <a:gd name="connsiteY29" fmla="*/ 30891 h 190328"/>
                  <a:gd name="connsiteX30" fmla="*/ 19720 w 127892"/>
                  <a:gd name="connsiteY30" fmla="*/ 37275 h 190328"/>
                  <a:gd name="connsiteX31" fmla="*/ 4845 w 127892"/>
                  <a:gd name="connsiteY31" fmla="*/ 50497 h 190328"/>
                  <a:gd name="connsiteX32" fmla="*/ 2793 w 127892"/>
                  <a:gd name="connsiteY32" fmla="*/ 56824 h 190328"/>
                  <a:gd name="connsiteX33" fmla="*/ 0 w 127892"/>
                  <a:gd name="connsiteY33" fmla="*/ 59902 h 190328"/>
                  <a:gd name="connsiteX34" fmla="*/ 1938 w 127892"/>
                  <a:gd name="connsiteY34" fmla="*/ 70502 h 190328"/>
                  <a:gd name="connsiteX35" fmla="*/ 14100 w 127892"/>
                  <a:gd name="connsiteY35" fmla="*/ 75022 h 190328"/>
                  <a:gd name="connsiteX36" fmla="*/ 14933 w 127892"/>
                  <a:gd name="connsiteY36" fmla="*/ 78596 h 190328"/>
                  <a:gd name="connsiteX37" fmla="*/ 13679 w 127892"/>
                  <a:gd name="connsiteY37" fmla="*/ 84580 h 190328"/>
                  <a:gd name="connsiteX38" fmla="*/ 16529 w 127892"/>
                  <a:gd name="connsiteY38" fmla="*/ 89368 h 190328"/>
                  <a:gd name="connsiteX39" fmla="*/ 19207 w 127892"/>
                  <a:gd name="connsiteY39" fmla="*/ 88855 h 190328"/>
                  <a:gd name="connsiteX40" fmla="*/ 40067 w 127892"/>
                  <a:gd name="connsiteY40" fmla="*/ 81503 h 190328"/>
                  <a:gd name="connsiteX41" fmla="*/ 41777 w 127892"/>
                  <a:gd name="connsiteY41" fmla="*/ 86803 h 190328"/>
                  <a:gd name="connsiteX42" fmla="*/ 47990 w 127892"/>
                  <a:gd name="connsiteY42" fmla="*/ 88741 h 190328"/>
                  <a:gd name="connsiteX43" fmla="*/ 51751 w 127892"/>
                  <a:gd name="connsiteY43" fmla="*/ 94440 h 190328"/>
                  <a:gd name="connsiteX44" fmla="*/ 51010 w 127892"/>
                  <a:gd name="connsiteY44" fmla="*/ 96663 h 190328"/>
                  <a:gd name="connsiteX45" fmla="*/ 48959 w 127892"/>
                  <a:gd name="connsiteY45" fmla="*/ 97290 h 190328"/>
                  <a:gd name="connsiteX46" fmla="*/ 23653 w 127892"/>
                  <a:gd name="connsiteY46" fmla="*/ 99684 h 190328"/>
                  <a:gd name="connsiteX47" fmla="*/ 24622 w 127892"/>
                  <a:gd name="connsiteY47" fmla="*/ 105383 h 190328"/>
                  <a:gd name="connsiteX48" fmla="*/ 22399 w 127892"/>
                  <a:gd name="connsiteY48" fmla="*/ 111083 h 190328"/>
                  <a:gd name="connsiteX49" fmla="*/ 34197 w 127892"/>
                  <a:gd name="connsiteY49" fmla="*/ 124591 h 190328"/>
                  <a:gd name="connsiteX50" fmla="*/ 33171 w 127892"/>
                  <a:gd name="connsiteY50" fmla="*/ 128580 h 190328"/>
                  <a:gd name="connsiteX51" fmla="*/ 38528 w 127892"/>
                  <a:gd name="connsiteY51" fmla="*/ 133767 h 190328"/>
                  <a:gd name="connsiteX52" fmla="*/ 46679 w 127892"/>
                  <a:gd name="connsiteY52" fmla="*/ 134109 h 190328"/>
                  <a:gd name="connsiteX53" fmla="*/ 46679 w 127892"/>
                  <a:gd name="connsiteY53" fmla="*/ 143228 h 190328"/>
                  <a:gd name="connsiteX54" fmla="*/ 63777 w 127892"/>
                  <a:gd name="connsiteY54" fmla="*/ 142601 h 190328"/>
                  <a:gd name="connsiteX55" fmla="*/ 61498 w 127892"/>
                  <a:gd name="connsiteY55" fmla="*/ 134964 h 190328"/>
                  <a:gd name="connsiteX56" fmla="*/ 55057 w 127892"/>
                  <a:gd name="connsiteY56" fmla="*/ 128808 h 190328"/>
                  <a:gd name="connsiteX57" fmla="*/ 63264 w 127892"/>
                  <a:gd name="connsiteY57" fmla="*/ 120259 h 190328"/>
                  <a:gd name="connsiteX58" fmla="*/ 76658 w 127892"/>
                  <a:gd name="connsiteY58" fmla="*/ 119119 h 190328"/>
                  <a:gd name="connsiteX59" fmla="*/ 70275 w 127892"/>
                  <a:gd name="connsiteY59" fmla="*/ 113933 h 190328"/>
                  <a:gd name="connsiteX60" fmla="*/ 60870 w 127892"/>
                  <a:gd name="connsiteY60" fmla="*/ 113021 h 190328"/>
                  <a:gd name="connsiteX61" fmla="*/ 57964 w 127892"/>
                  <a:gd name="connsiteY61" fmla="*/ 106808 h 190328"/>
                  <a:gd name="connsiteX62" fmla="*/ 64974 w 127892"/>
                  <a:gd name="connsiteY62" fmla="*/ 102021 h 190328"/>
                  <a:gd name="connsiteX63" fmla="*/ 76373 w 127892"/>
                  <a:gd name="connsiteY63" fmla="*/ 102990 h 190328"/>
                  <a:gd name="connsiteX64" fmla="*/ 87373 w 127892"/>
                  <a:gd name="connsiteY64" fmla="*/ 100482 h 190328"/>
                  <a:gd name="connsiteX65" fmla="*/ 91705 w 127892"/>
                  <a:gd name="connsiteY65" fmla="*/ 90622 h 190328"/>
                  <a:gd name="connsiteX66" fmla="*/ 83754 w 127892"/>
                  <a:gd name="connsiteY66" fmla="*/ 86176 h 190328"/>
                  <a:gd name="connsiteX67" fmla="*/ 82699 w 127892"/>
                  <a:gd name="connsiteY67" fmla="*/ 86575 h 190328"/>
                  <a:gd name="connsiteX68" fmla="*/ 79565 w 127892"/>
                  <a:gd name="connsiteY68" fmla="*/ 80876 h 190328"/>
                  <a:gd name="connsiteX69" fmla="*/ 74435 w 127892"/>
                  <a:gd name="connsiteY69" fmla="*/ 83326 h 190328"/>
                  <a:gd name="connsiteX70" fmla="*/ 63891 w 127892"/>
                  <a:gd name="connsiteY70" fmla="*/ 88741 h 190328"/>
                  <a:gd name="connsiteX71" fmla="*/ 56881 w 127892"/>
                  <a:gd name="connsiteY71" fmla="*/ 80990 h 190328"/>
                  <a:gd name="connsiteX72" fmla="*/ 61041 w 127892"/>
                  <a:gd name="connsiteY72" fmla="*/ 79280 h 190328"/>
                  <a:gd name="connsiteX73" fmla="*/ 60243 w 127892"/>
                  <a:gd name="connsiteY73" fmla="*/ 74093 h 190328"/>
                  <a:gd name="connsiteX74" fmla="*/ 66285 w 127892"/>
                  <a:gd name="connsiteY74" fmla="*/ 72839 h 190328"/>
                  <a:gd name="connsiteX75" fmla="*/ 67710 w 127892"/>
                  <a:gd name="connsiteY75" fmla="*/ 67140 h 190328"/>
                  <a:gd name="connsiteX76" fmla="*/ 62409 w 127892"/>
                  <a:gd name="connsiteY76" fmla="*/ 64005 h 190328"/>
                  <a:gd name="connsiteX77" fmla="*/ 60471 w 127892"/>
                  <a:gd name="connsiteY77" fmla="*/ 57280 h 190328"/>
                  <a:gd name="connsiteX78" fmla="*/ 56938 w 127892"/>
                  <a:gd name="connsiteY78" fmla="*/ 53005 h 190328"/>
                  <a:gd name="connsiteX79" fmla="*/ 51238 w 127892"/>
                  <a:gd name="connsiteY79" fmla="*/ 30207 h 190328"/>
                  <a:gd name="connsiteX80" fmla="*/ 54145 w 127892"/>
                  <a:gd name="connsiteY80" fmla="*/ 34824 h 190328"/>
                  <a:gd name="connsiteX81" fmla="*/ 66057 w 127892"/>
                  <a:gd name="connsiteY81" fmla="*/ 37446 h 190328"/>
                  <a:gd name="connsiteX82" fmla="*/ 77177 w 127892"/>
                  <a:gd name="connsiteY82" fmla="*/ 45032 h 190328"/>
                  <a:gd name="connsiteX83" fmla="*/ 81788 w 127892"/>
                  <a:gd name="connsiteY83" fmla="*/ 42746 h 190328"/>
                  <a:gd name="connsiteX84" fmla="*/ 81332 w 127892"/>
                  <a:gd name="connsiteY84" fmla="*/ 25021 h 190328"/>
                  <a:gd name="connsiteX85" fmla="*/ 117637 w 127892"/>
                  <a:gd name="connsiteY85" fmla="*/ 24451 h 190328"/>
                  <a:gd name="connsiteX86" fmla="*/ 122710 w 127892"/>
                  <a:gd name="connsiteY86" fmla="*/ 13508 h 190328"/>
                  <a:gd name="connsiteX87" fmla="*/ 107378 w 127892"/>
                  <a:gd name="connsiteY87" fmla="*/ 7238 h 190328"/>
                  <a:gd name="connsiteX88" fmla="*/ 100539 w 127892"/>
                  <a:gd name="connsiteY88" fmla="*/ 3648 h 19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7892" h="190328">
                    <a:moveTo>
                      <a:pt x="79394" y="183580"/>
                    </a:moveTo>
                    <a:cubicBezTo>
                      <a:pt x="77570" y="181357"/>
                      <a:pt x="73694" y="183922"/>
                      <a:pt x="71186" y="182896"/>
                    </a:cubicBezTo>
                    <a:cubicBezTo>
                      <a:pt x="68679" y="181870"/>
                      <a:pt x="68508" y="178565"/>
                      <a:pt x="69591" y="176171"/>
                    </a:cubicBezTo>
                    <a:cubicBezTo>
                      <a:pt x="70959" y="174005"/>
                      <a:pt x="72195" y="171759"/>
                      <a:pt x="73295" y="169445"/>
                    </a:cubicBezTo>
                    <a:cubicBezTo>
                      <a:pt x="73449" y="168818"/>
                      <a:pt x="73746" y="168237"/>
                      <a:pt x="74150" y="167736"/>
                    </a:cubicBezTo>
                    <a:cubicBezTo>
                      <a:pt x="74903" y="167228"/>
                      <a:pt x="75854" y="167097"/>
                      <a:pt x="76715" y="167393"/>
                    </a:cubicBezTo>
                    <a:cubicBezTo>
                      <a:pt x="81354" y="168357"/>
                      <a:pt x="85635" y="170585"/>
                      <a:pt x="89083" y="173834"/>
                    </a:cubicBezTo>
                    <a:cubicBezTo>
                      <a:pt x="89704" y="174478"/>
                      <a:pt x="90417" y="175037"/>
                      <a:pt x="91192" y="175487"/>
                    </a:cubicBezTo>
                    <a:cubicBezTo>
                      <a:pt x="92064" y="175829"/>
                      <a:pt x="92993" y="176000"/>
                      <a:pt x="93928" y="176000"/>
                    </a:cubicBezTo>
                    <a:cubicBezTo>
                      <a:pt x="98835" y="176650"/>
                      <a:pt x="103828" y="176159"/>
                      <a:pt x="108518" y="174575"/>
                    </a:cubicBezTo>
                    <a:cubicBezTo>
                      <a:pt x="109418" y="174096"/>
                      <a:pt x="110376" y="173731"/>
                      <a:pt x="111368" y="173492"/>
                    </a:cubicBezTo>
                    <a:cubicBezTo>
                      <a:pt x="114446" y="173036"/>
                      <a:pt x="117067" y="175886"/>
                      <a:pt x="119860" y="176912"/>
                    </a:cubicBezTo>
                    <a:cubicBezTo>
                      <a:pt x="122653" y="177938"/>
                      <a:pt x="127098" y="177767"/>
                      <a:pt x="127839" y="180787"/>
                    </a:cubicBezTo>
                    <a:cubicBezTo>
                      <a:pt x="128124" y="182514"/>
                      <a:pt x="127241" y="184230"/>
                      <a:pt x="125673" y="185005"/>
                    </a:cubicBezTo>
                    <a:cubicBezTo>
                      <a:pt x="124140" y="185734"/>
                      <a:pt x="122471" y="186128"/>
                      <a:pt x="120772" y="186145"/>
                    </a:cubicBezTo>
                    <a:cubicBezTo>
                      <a:pt x="119182" y="186367"/>
                      <a:pt x="117575" y="186367"/>
                      <a:pt x="115984" y="186145"/>
                    </a:cubicBezTo>
                    <a:cubicBezTo>
                      <a:pt x="113363" y="185632"/>
                      <a:pt x="110798" y="183922"/>
                      <a:pt x="108233" y="184663"/>
                    </a:cubicBezTo>
                    <a:cubicBezTo>
                      <a:pt x="106934" y="185244"/>
                      <a:pt x="105743" y="186037"/>
                      <a:pt x="104699" y="187000"/>
                    </a:cubicBezTo>
                    <a:cubicBezTo>
                      <a:pt x="99222" y="190112"/>
                      <a:pt x="92788" y="191086"/>
                      <a:pt x="86632" y="189736"/>
                    </a:cubicBezTo>
                    <a:cubicBezTo>
                      <a:pt x="84295" y="189451"/>
                      <a:pt x="81559" y="188881"/>
                      <a:pt x="80591" y="186772"/>
                    </a:cubicBezTo>
                    <a:cubicBezTo>
                      <a:pt x="80078" y="185689"/>
                      <a:pt x="80135" y="184435"/>
                      <a:pt x="79394" y="183580"/>
                    </a:cubicBezTo>
                    <a:close/>
                    <a:moveTo>
                      <a:pt x="100539" y="3648"/>
                    </a:moveTo>
                    <a:cubicBezTo>
                      <a:pt x="98732" y="3659"/>
                      <a:pt x="96943" y="4047"/>
                      <a:pt x="95295" y="4788"/>
                    </a:cubicBezTo>
                    <a:cubicBezTo>
                      <a:pt x="84899" y="8298"/>
                      <a:pt x="73495" y="7159"/>
                      <a:pt x="64005" y="1653"/>
                    </a:cubicBezTo>
                    <a:cubicBezTo>
                      <a:pt x="63036" y="1083"/>
                      <a:pt x="62067" y="513"/>
                      <a:pt x="61041" y="0"/>
                    </a:cubicBezTo>
                    <a:cubicBezTo>
                      <a:pt x="61617" y="3163"/>
                      <a:pt x="61195" y="6429"/>
                      <a:pt x="59844" y="9347"/>
                    </a:cubicBezTo>
                    <a:cubicBezTo>
                      <a:pt x="57280" y="13223"/>
                      <a:pt x="51808" y="13394"/>
                      <a:pt x="47534" y="15047"/>
                    </a:cubicBezTo>
                    <a:cubicBezTo>
                      <a:pt x="44855" y="19783"/>
                      <a:pt x="40375" y="23237"/>
                      <a:pt x="35109" y="24622"/>
                    </a:cubicBezTo>
                    <a:lnTo>
                      <a:pt x="29922" y="26731"/>
                    </a:lnTo>
                    <a:lnTo>
                      <a:pt x="19720" y="30891"/>
                    </a:lnTo>
                    <a:cubicBezTo>
                      <a:pt x="20923" y="32852"/>
                      <a:pt x="20923" y="35314"/>
                      <a:pt x="19720" y="37275"/>
                    </a:cubicBezTo>
                    <a:cubicBezTo>
                      <a:pt x="12721" y="38637"/>
                      <a:pt x="7022" y="43709"/>
                      <a:pt x="4845" y="50497"/>
                    </a:cubicBezTo>
                    <a:cubicBezTo>
                      <a:pt x="4366" y="52669"/>
                      <a:pt x="3682" y="54789"/>
                      <a:pt x="2793" y="56824"/>
                    </a:cubicBezTo>
                    <a:cubicBezTo>
                      <a:pt x="2080" y="58026"/>
                      <a:pt x="1128" y="59075"/>
                      <a:pt x="0" y="59902"/>
                    </a:cubicBezTo>
                    <a:cubicBezTo>
                      <a:pt x="1522" y="63219"/>
                      <a:pt x="2189" y="66861"/>
                      <a:pt x="1938" y="70502"/>
                    </a:cubicBezTo>
                    <a:cubicBezTo>
                      <a:pt x="6543" y="68394"/>
                      <a:pt x="11992" y="70417"/>
                      <a:pt x="14100" y="75022"/>
                    </a:cubicBezTo>
                    <a:cubicBezTo>
                      <a:pt x="14619" y="76145"/>
                      <a:pt x="14899" y="77359"/>
                      <a:pt x="14933" y="78596"/>
                    </a:cubicBezTo>
                    <a:cubicBezTo>
                      <a:pt x="14933" y="80648"/>
                      <a:pt x="13850" y="82528"/>
                      <a:pt x="13679" y="84580"/>
                    </a:cubicBezTo>
                    <a:cubicBezTo>
                      <a:pt x="13508" y="86632"/>
                      <a:pt x="14534" y="89026"/>
                      <a:pt x="16529" y="89368"/>
                    </a:cubicBezTo>
                    <a:cubicBezTo>
                      <a:pt x="17452" y="89413"/>
                      <a:pt x="18370" y="89242"/>
                      <a:pt x="19207" y="88855"/>
                    </a:cubicBezTo>
                    <a:lnTo>
                      <a:pt x="40067" y="81503"/>
                    </a:lnTo>
                    <a:cubicBezTo>
                      <a:pt x="38471" y="82984"/>
                      <a:pt x="40067" y="85834"/>
                      <a:pt x="41777" y="86803"/>
                    </a:cubicBezTo>
                    <a:cubicBezTo>
                      <a:pt x="43487" y="87772"/>
                      <a:pt x="46052" y="87715"/>
                      <a:pt x="47990" y="88741"/>
                    </a:cubicBezTo>
                    <a:cubicBezTo>
                      <a:pt x="50178" y="89824"/>
                      <a:pt x="51615" y="92001"/>
                      <a:pt x="51751" y="94440"/>
                    </a:cubicBezTo>
                    <a:cubicBezTo>
                      <a:pt x="51837" y="95255"/>
                      <a:pt x="51563" y="96065"/>
                      <a:pt x="51010" y="96663"/>
                    </a:cubicBezTo>
                    <a:cubicBezTo>
                      <a:pt x="50412" y="97085"/>
                      <a:pt x="49694" y="97302"/>
                      <a:pt x="48959" y="97290"/>
                    </a:cubicBezTo>
                    <a:lnTo>
                      <a:pt x="23653" y="99684"/>
                    </a:lnTo>
                    <a:cubicBezTo>
                      <a:pt x="25534" y="100596"/>
                      <a:pt x="25477" y="103389"/>
                      <a:pt x="24622" y="105383"/>
                    </a:cubicBezTo>
                    <a:cubicBezTo>
                      <a:pt x="23488" y="107105"/>
                      <a:pt x="22730" y="109048"/>
                      <a:pt x="22399" y="111083"/>
                    </a:cubicBezTo>
                    <a:cubicBezTo>
                      <a:pt x="22399" y="117409"/>
                      <a:pt x="34881" y="118321"/>
                      <a:pt x="34197" y="124591"/>
                    </a:cubicBezTo>
                    <a:cubicBezTo>
                      <a:pt x="34197" y="125958"/>
                      <a:pt x="33228" y="127212"/>
                      <a:pt x="33171" y="128580"/>
                    </a:cubicBezTo>
                    <a:cubicBezTo>
                      <a:pt x="33171" y="131316"/>
                      <a:pt x="35850" y="133311"/>
                      <a:pt x="38528" y="133767"/>
                    </a:cubicBezTo>
                    <a:cubicBezTo>
                      <a:pt x="41207" y="134223"/>
                      <a:pt x="44228" y="133767"/>
                      <a:pt x="46679" y="134109"/>
                    </a:cubicBezTo>
                    <a:cubicBezTo>
                      <a:pt x="46679" y="137129"/>
                      <a:pt x="46679" y="140207"/>
                      <a:pt x="46679" y="143228"/>
                    </a:cubicBezTo>
                    <a:cubicBezTo>
                      <a:pt x="52247" y="145206"/>
                      <a:pt x="58368" y="144983"/>
                      <a:pt x="63777" y="142601"/>
                    </a:cubicBezTo>
                    <a:cubicBezTo>
                      <a:pt x="65886" y="140435"/>
                      <a:pt x="63777" y="136901"/>
                      <a:pt x="61498" y="134964"/>
                    </a:cubicBezTo>
                    <a:cubicBezTo>
                      <a:pt x="59218" y="133026"/>
                      <a:pt x="55798" y="131715"/>
                      <a:pt x="55057" y="128808"/>
                    </a:cubicBezTo>
                    <a:cubicBezTo>
                      <a:pt x="53803" y="124476"/>
                      <a:pt x="58762" y="120772"/>
                      <a:pt x="63264" y="120259"/>
                    </a:cubicBezTo>
                    <a:cubicBezTo>
                      <a:pt x="67761" y="120487"/>
                      <a:pt x="72264" y="120105"/>
                      <a:pt x="76658" y="119119"/>
                    </a:cubicBezTo>
                    <a:cubicBezTo>
                      <a:pt x="77684" y="116041"/>
                      <a:pt x="73523" y="113762"/>
                      <a:pt x="70275" y="113933"/>
                    </a:cubicBezTo>
                    <a:cubicBezTo>
                      <a:pt x="67026" y="114104"/>
                      <a:pt x="63378" y="115072"/>
                      <a:pt x="60870" y="113021"/>
                    </a:cubicBezTo>
                    <a:cubicBezTo>
                      <a:pt x="61725" y="110798"/>
                      <a:pt x="58534" y="109145"/>
                      <a:pt x="57964" y="106808"/>
                    </a:cubicBezTo>
                    <a:cubicBezTo>
                      <a:pt x="57280" y="103617"/>
                      <a:pt x="61725" y="101907"/>
                      <a:pt x="64974" y="102021"/>
                    </a:cubicBezTo>
                    <a:cubicBezTo>
                      <a:pt x="68223" y="102135"/>
                      <a:pt x="72611" y="102876"/>
                      <a:pt x="76373" y="102990"/>
                    </a:cubicBezTo>
                    <a:cubicBezTo>
                      <a:pt x="80215" y="103354"/>
                      <a:pt x="84067" y="102477"/>
                      <a:pt x="87373" y="100482"/>
                    </a:cubicBezTo>
                    <a:cubicBezTo>
                      <a:pt x="90718" y="98407"/>
                      <a:pt x="92440" y="94486"/>
                      <a:pt x="91705" y="90622"/>
                    </a:cubicBezTo>
                    <a:cubicBezTo>
                      <a:pt x="90736" y="87196"/>
                      <a:pt x="87179" y="85207"/>
                      <a:pt x="83754" y="86176"/>
                    </a:cubicBezTo>
                    <a:cubicBezTo>
                      <a:pt x="83395" y="86279"/>
                      <a:pt x="83041" y="86410"/>
                      <a:pt x="82699" y="86575"/>
                    </a:cubicBezTo>
                    <a:cubicBezTo>
                      <a:pt x="82699" y="84295"/>
                      <a:pt x="81788" y="81503"/>
                      <a:pt x="79565" y="80876"/>
                    </a:cubicBezTo>
                    <a:cubicBezTo>
                      <a:pt x="77342" y="80249"/>
                      <a:pt x="75860" y="81958"/>
                      <a:pt x="74435" y="83326"/>
                    </a:cubicBezTo>
                    <a:cubicBezTo>
                      <a:pt x="71711" y="86370"/>
                      <a:pt x="67955" y="88302"/>
                      <a:pt x="63891" y="88741"/>
                    </a:cubicBezTo>
                    <a:cubicBezTo>
                      <a:pt x="59787" y="88741"/>
                      <a:pt x="55627" y="84865"/>
                      <a:pt x="56881" y="80990"/>
                    </a:cubicBezTo>
                    <a:cubicBezTo>
                      <a:pt x="58249" y="82129"/>
                      <a:pt x="60471" y="80990"/>
                      <a:pt x="61041" y="79280"/>
                    </a:cubicBezTo>
                    <a:cubicBezTo>
                      <a:pt x="61429" y="77513"/>
                      <a:pt x="61144" y="75660"/>
                      <a:pt x="60243" y="74093"/>
                    </a:cubicBezTo>
                    <a:cubicBezTo>
                      <a:pt x="62335" y="74287"/>
                      <a:pt x="64444" y="73848"/>
                      <a:pt x="66285" y="72839"/>
                    </a:cubicBezTo>
                    <a:cubicBezTo>
                      <a:pt x="68251" y="71654"/>
                      <a:pt x="68884" y="69106"/>
                      <a:pt x="67710" y="67140"/>
                    </a:cubicBezTo>
                    <a:cubicBezTo>
                      <a:pt x="66456" y="65487"/>
                      <a:pt x="63834" y="65487"/>
                      <a:pt x="62409" y="64005"/>
                    </a:cubicBezTo>
                    <a:cubicBezTo>
                      <a:pt x="60984" y="62523"/>
                      <a:pt x="61099" y="59560"/>
                      <a:pt x="60471" y="57280"/>
                    </a:cubicBezTo>
                    <a:cubicBezTo>
                      <a:pt x="59907" y="55444"/>
                      <a:pt x="58636" y="53906"/>
                      <a:pt x="56938" y="53005"/>
                    </a:cubicBezTo>
                    <a:cubicBezTo>
                      <a:pt x="49660" y="47864"/>
                      <a:pt x="47237" y="38169"/>
                      <a:pt x="51238" y="30207"/>
                    </a:cubicBezTo>
                    <a:lnTo>
                      <a:pt x="54145" y="34824"/>
                    </a:lnTo>
                    <a:cubicBezTo>
                      <a:pt x="58243" y="34978"/>
                      <a:pt x="62273" y="35867"/>
                      <a:pt x="66057" y="37446"/>
                    </a:cubicBezTo>
                    <a:cubicBezTo>
                      <a:pt x="67031" y="42609"/>
                      <a:pt x="72007" y="46006"/>
                      <a:pt x="77177" y="45032"/>
                    </a:cubicBezTo>
                    <a:cubicBezTo>
                      <a:pt x="78892" y="44707"/>
                      <a:pt x="80488" y="43920"/>
                      <a:pt x="81788" y="42746"/>
                    </a:cubicBezTo>
                    <a:cubicBezTo>
                      <a:pt x="81092" y="36864"/>
                      <a:pt x="80944" y="30931"/>
                      <a:pt x="81332" y="25021"/>
                    </a:cubicBezTo>
                    <a:cubicBezTo>
                      <a:pt x="93221" y="21983"/>
                      <a:pt x="105657" y="21789"/>
                      <a:pt x="117637" y="24451"/>
                    </a:cubicBezTo>
                    <a:cubicBezTo>
                      <a:pt x="119034" y="20678"/>
                      <a:pt x="120732" y="17019"/>
                      <a:pt x="122710" y="13508"/>
                    </a:cubicBezTo>
                    <a:cubicBezTo>
                      <a:pt x="117204" y="12567"/>
                      <a:pt x="111966" y="10424"/>
                      <a:pt x="107378" y="7238"/>
                    </a:cubicBezTo>
                    <a:cubicBezTo>
                      <a:pt x="105486" y="5420"/>
                      <a:pt x="103109" y="4172"/>
                      <a:pt x="100539" y="3648"/>
                    </a:cubicBezTo>
                    <a:close/>
                  </a:path>
                </a:pathLst>
              </a:custGeom>
              <a:solidFill>
                <a:schemeClr val="accent3"/>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71" name="Freihandform: Form 765">
                <a:extLst>
                  <a:ext uri="{FF2B5EF4-FFF2-40B4-BE49-F238E27FC236}">
                    <a16:creationId xmlns:a16="http://schemas.microsoft.com/office/drawing/2014/main" id="{167E588D-1FDE-48C6-B8B0-79D1433ED582}"/>
                  </a:ext>
                </a:extLst>
              </p:cNvPr>
              <p:cNvSpPr/>
              <p:nvPr/>
            </p:nvSpPr>
            <p:spPr>
              <a:xfrm>
                <a:off x="4250215" y="3130692"/>
                <a:ext cx="131942" cy="84239"/>
              </a:xfrm>
              <a:custGeom>
                <a:avLst/>
                <a:gdLst>
                  <a:gd name="connsiteX0" fmla="*/ 112565 w 131942"/>
                  <a:gd name="connsiteY0" fmla="*/ 50499 h 84239"/>
                  <a:gd name="connsiteX1" fmla="*/ 117181 w 131942"/>
                  <a:gd name="connsiteY1" fmla="*/ 59846 h 84239"/>
                  <a:gd name="connsiteX2" fmla="*/ 109829 w 131942"/>
                  <a:gd name="connsiteY2" fmla="*/ 60587 h 84239"/>
                  <a:gd name="connsiteX3" fmla="*/ 105269 w 131942"/>
                  <a:gd name="connsiteY3" fmla="*/ 62639 h 84239"/>
                  <a:gd name="connsiteX4" fmla="*/ 93300 w 131942"/>
                  <a:gd name="connsiteY4" fmla="*/ 63266 h 84239"/>
                  <a:gd name="connsiteX5" fmla="*/ 88171 w 131942"/>
                  <a:gd name="connsiteY5" fmla="*/ 66856 h 84239"/>
                  <a:gd name="connsiteX6" fmla="*/ 75119 w 131942"/>
                  <a:gd name="connsiteY6" fmla="*/ 84240 h 84239"/>
                  <a:gd name="connsiteX7" fmla="*/ 59787 w 131942"/>
                  <a:gd name="connsiteY7" fmla="*/ 77970 h 84239"/>
                  <a:gd name="connsiteX8" fmla="*/ 53347 w 131942"/>
                  <a:gd name="connsiteY8" fmla="*/ 74437 h 84239"/>
                  <a:gd name="connsiteX9" fmla="*/ 48104 w 131942"/>
                  <a:gd name="connsiteY9" fmla="*/ 75577 h 84239"/>
                  <a:gd name="connsiteX10" fmla="*/ 16814 w 131942"/>
                  <a:gd name="connsiteY10" fmla="*/ 72442 h 84239"/>
                  <a:gd name="connsiteX11" fmla="*/ 13850 w 131942"/>
                  <a:gd name="connsiteY11" fmla="*/ 70789 h 84239"/>
                  <a:gd name="connsiteX12" fmla="*/ 13850 w 131942"/>
                  <a:gd name="connsiteY12" fmla="*/ 66742 h 84239"/>
                  <a:gd name="connsiteX13" fmla="*/ 5757 w 131942"/>
                  <a:gd name="connsiteY13" fmla="*/ 58250 h 84239"/>
                  <a:gd name="connsiteX14" fmla="*/ 4959 w 131942"/>
                  <a:gd name="connsiteY14" fmla="*/ 53691 h 84239"/>
                  <a:gd name="connsiteX15" fmla="*/ 1938 w 131942"/>
                  <a:gd name="connsiteY15" fmla="*/ 48390 h 84239"/>
                  <a:gd name="connsiteX16" fmla="*/ 0 w 131942"/>
                  <a:gd name="connsiteY16" fmla="*/ 42691 h 84239"/>
                  <a:gd name="connsiteX17" fmla="*/ 7694 w 131942"/>
                  <a:gd name="connsiteY17" fmla="*/ 40468 h 84239"/>
                  <a:gd name="connsiteX18" fmla="*/ 6156 w 131942"/>
                  <a:gd name="connsiteY18" fmla="*/ 31007 h 84239"/>
                  <a:gd name="connsiteX19" fmla="*/ 456 w 131942"/>
                  <a:gd name="connsiteY19" fmla="*/ 22629 h 84239"/>
                  <a:gd name="connsiteX20" fmla="*/ 7580 w 131942"/>
                  <a:gd name="connsiteY20" fmla="*/ 4333 h 84239"/>
                  <a:gd name="connsiteX21" fmla="*/ 7922 w 131942"/>
                  <a:gd name="connsiteY21" fmla="*/ 3706 h 84239"/>
                  <a:gd name="connsiteX22" fmla="*/ 9119 w 131942"/>
                  <a:gd name="connsiteY22" fmla="*/ 5074 h 84239"/>
                  <a:gd name="connsiteX23" fmla="*/ 17725 w 131942"/>
                  <a:gd name="connsiteY23" fmla="*/ 9121 h 84239"/>
                  <a:gd name="connsiteX24" fmla="*/ 23425 w 131942"/>
                  <a:gd name="connsiteY24" fmla="*/ 12427 h 84239"/>
                  <a:gd name="connsiteX25" fmla="*/ 33798 w 131942"/>
                  <a:gd name="connsiteY25" fmla="*/ 13680 h 84239"/>
                  <a:gd name="connsiteX26" fmla="*/ 59275 w 131942"/>
                  <a:gd name="connsiteY26" fmla="*/ 12939 h 84239"/>
                  <a:gd name="connsiteX27" fmla="*/ 78938 w 131942"/>
                  <a:gd name="connsiteY27" fmla="*/ 7810 h 84239"/>
                  <a:gd name="connsiteX28" fmla="*/ 84637 w 131942"/>
                  <a:gd name="connsiteY28" fmla="*/ 3136 h 84239"/>
                  <a:gd name="connsiteX29" fmla="*/ 89197 w 131942"/>
                  <a:gd name="connsiteY29" fmla="*/ 2680 h 84239"/>
                  <a:gd name="connsiteX30" fmla="*/ 99285 w 131942"/>
                  <a:gd name="connsiteY30" fmla="*/ 2680 h 84239"/>
                  <a:gd name="connsiteX31" fmla="*/ 102818 w 131942"/>
                  <a:gd name="connsiteY31" fmla="*/ 2110 h 84239"/>
                  <a:gd name="connsiteX32" fmla="*/ 104928 w 131942"/>
                  <a:gd name="connsiteY32" fmla="*/ 458 h 84239"/>
                  <a:gd name="connsiteX33" fmla="*/ 111311 w 131942"/>
                  <a:gd name="connsiteY33" fmla="*/ 1141 h 84239"/>
                  <a:gd name="connsiteX34" fmla="*/ 131943 w 131942"/>
                  <a:gd name="connsiteY34" fmla="*/ 10660 h 84239"/>
                  <a:gd name="connsiteX35" fmla="*/ 116383 w 131942"/>
                  <a:gd name="connsiteY35" fmla="*/ 32489 h 84239"/>
                  <a:gd name="connsiteX36" fmla="*/ 111026 w 131942"/>
                  <a:gd name="connsiteY36" fmla="*/ 38986 h 84239"/>
                  <a:gd name="connsiteX37" fmla="*/ 112565 w 131942"/>
                  <a:gd name="connsiteY37" fmla="*/ 50499 h 8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1942" h="84239">
                    <a:moveTo>
                      <a:pt x="112565" y="50499"/>
                    </a:moveTo>
                    <a:cubicBezTo>
                      <a:pt x="113932" y="53691"/>
                      <a:pt x="115528" y="56768"/>
                      <a:pt x="117181" y="59846"/>
                    </a:cubicBezTo>
                    <a:cubicBezTo>
                      <a:pt x="114708" y="59413"/>
                      <a:pt x="112166" y="59669"/>
                      <a:pt x="109829" y="60587"/>
                    </a:cubicBezTo>
                    <a:cubicBezTo>
                      <a:pt x="108347" y="61351"/>
                      <a:pt x="106825" y="62035"/>
                      <a:pt x="105269" y="62639"/>
                    </a:cubicBezTo>
                    <a:cubicBezTo>
                      <a:pt x="101394" y="63779"/>
                      <a:pt x="97119" y="61955"/>
                      <a:pt x="93300" y="63266"/>
                    </a:cubicBezTo>
                    <a:cubicBezTo>
                      <a:pt x="91328" y="64041"/>
                      <a:pt x="89573" y="65272"/>
                      <a:pt x="88171" y="66856"/>
                    </a:cubicBezTo>
                    <a:cubicBezTo>
                      <a:pt x="82984" y="71975"/>
                      <a:pt x="78584" y="77828"/>
                      <a:pt x="75119" y="84240"/>
                    </a:cubicBezTo>
                    <a:cubicBezTo>
                      <a:pt x="69613" y="83299"/>
                      <a:pt x="64375" y="81156"/>
                      <a:pt x="59787" y="77970"/>
                    </a:cubicBezTo>
                    <a:cubicBezTo>
                      <a:pt x="57998" y="76238"/>
                      <a:pt x="55770" y="75018"/>
                      <a:pt x="53347" y="74437"/>
                    </a:cubicBezTo>
                    <a:cubicBezTo>
                      <a:pt x="51541" y="74448"/>
                      <a:pt x="49751" y="74836"/>
                      <a:pt x="48104" y="75577"/>
                    </a:cubicBezTo>
                    <a:cubicBezTo>
                      <a:pt x="37708" y="79087"/>
                      <a:pt x="26303" y="77948"/>
                      <a:pt x="16814" y="72442"/>
                    </a:cubicBezTo>
                    <a:cubicBezTo>
                      <a:pt x="15845" y="71872"/>
                      <a:pt x="14876" y="71302"/>
                      <a:pt x="13850" y="70789"/>
                    </a:cubicBezTo>
                    <a:cubicBezTo>
                      <a:pt x="13736" y="69444"/>
                      <a:pt x="13736" y="68088"/>
                      <a:pt x="13850" y="66742"/>
                    </a:cubicBezTo>
                    <a:cubicBezTo>
                      <a:pt x="9792" y="65625"/>
                      <a:pt x="6680" y="62360"/>
                      <a:pt x="5757" y="58250"/>
                    </a:cubicBezTo>
                    <a:cubicBezTo>
                      <a:pt x="5415" y="56768"/>
                      <a:pt x="5415" y="55173"/>
                      <a:pt x="4959" y="53691"/>
                    </a:cubicBezTo>
                    <a:cubicBezTo>
                      <a:pt x="4121" y="51833"/>
                      <a:pt x="3106" y="50060"/>
                      <a:pt x="1938" y="48390"/>
                    </a:cubicBezTo>
                    <a:cubicBezTo>
                      <a:pt x="1077" y="46572"/>
                      <a:pt x="428" y="44657"/>
                      <a:pt x="0" y="42691"/>
                    </a:cubicBezTo>
                    <a:cubicBezTo>
                      <a:pt x="2964" y="42178"/>
                      <a:pt x="6612" y="43090"/>
                      <a:pt x="7694" y="40468"/>
                    </a:cubicBezTo>
                    <a:cubicBezTo>
                      <a:pt x="9182" y="37299"/>
                      <a:pt x="8572" y="33543"/>
                      <a:pt x="6156" y="31007"/>
                    </a:cubicBezTo>
                    <a:cubicBezTo>
                      <a:pt x="3796" y="28556"/>
                      <a:pt x="1869" y="25723"/>
                      <a:pt x="456" y="22629"/>
                    </a:cubicBezTo>
                    <a:cubicBezTo>
                      <a:pt x="-1539" y="16131"/>
                      <a:pt x="3933" y="10033"/>
                      <a:pt x="7580" y="4333"/>
                    </a:cubicBezTo>
                    <a:cubicBezTo>
                      <a:pt x="7580" y="4333"/>
                      <a:pt x="7580" y="3877"/>
                      <a:pt x="7922" y="3706"/>
                    </a:cubicBezTo>
                    <a:cubicBezTo>
                      <a:pt x="8276" y="4202"/>
                      <a:pt x="8675" y="4658"/>
                      <a:pt x="9119" y="5074"/>
                    </a:cubicBezTo>
                    <a:cubicBezTo>
                      <a:pt x="11832" y="6727"/>
                      <a:pt x="14722" y="8084"/>
                      <a:pt x="17725" y="9121"/>
                    </a:cubicBezTo>
                    <a:cubicBezTo>
                      <a:pt x="19663" y="10147"/>
                      <a:pt x="21430" y="11572"/>
                      <a:pt x="23425" y="12427"/>
                    </a:cubicBezTo>
                    <a:cubicBezTo>
                      <a:pt x="26754" y="13584"/>
                      <a:pt x="30293" y="14011"/>
                      <a:pt x="33798" y="13680"/>
                    </a:cubicBezTo>
                    <a:lnTo>
                      <a:pt x="59275" y="12939"/>
                    </a:lnTo>
                    <a:cubicBezTo>
                      <a:pt x="66222" y="13549"/>
                      <a:pt x="73170" y="11737"/>
                      <a:pt x="78938" y="7810"/>
                    </a:cubicBezTo>
                    <a:cubicBezTo>
                      <a:pt x="80551" y="5929"/>
                      <a:pt x="82477" y="4350"/>
                      <a:pt x="84637" y="3136"/>
                    </a:cubicBezTo>
                    <a:cubicBezTo>
                      <a:pt x="86113" y="2698"/>
                      <a:pt x="87663" y="2544"/>
                      <a:pt x="89197" y="2680"/>
                    </a:cubicBezTo>
                    <a:lnTo>
                      <a:pt x="99285" y="2680"/>
                    </a:lnTo>
                    <a:cubicBezTo>
                      <a:pt x="100493" y="2840"/>
                      <a:pt x="101724" y="2640"/>
                      <a:pt x="102818" y="2110"/>
                    </a:cubicBezTo>
                    <a:cubicBezTo>
                      <a:pt x="103616" y="1654"/>
                      <a:pt x="104187" y="914"/>
                      <a:pt x="104928" y="458"/>
                    </a:cubicBezTo>
                    <a:cubicBezTo>
                      <a:pt x="107042" y="-340"/>
                      <a:pt x="109413" y="-84"/>
                      <a:pt x="111311" y="1141"/>
                    </a:cubicBezTo>
                    <a:lnTo>
                      <a:pt x="131943" y="10660"/>
                    </a:lnTo>
                    <a:cubicBezTo>
                      <a:pt x="128238" y="18884"/>
                      <a:pt x="122949" y="26305"/>
                      <a:pt x="116383" y="32489"/>
                    </a:cubicBezTo>
                    <a:cubicBezTo>
                      <a:pt x="114132" y="34221"/>
                      <a:pt x="112297" y="36444"/>
                      <a:pt x="111026" y="38986"/>
                    </a:cubicBezTo>
                    <a:cubicBezTo>
                      <a:pt x="110006" y="42879"/>
                      <a:pt x="110558" y="47011"/>
                      <a:pt x="112565" y="5049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72" name="Freihandform: Form 766">
                <a:extLst>
                  <a:ext uri="{FF2B5EF4-FFF2-40B4-BE49-F238E27FC236}">
                    <a16:creationId xmlns:a16="http://schemas.microsoft.com/office/drawing/2014/main" id="{C2089CD2-5480-97CD-FFE7-225FE310C9DC}"/>
                  </a:ext>
                </a:extLst>
              </p:cNvPr>
              <p:cNvSpPr/>
              <p:nvPr/>
            </p:nvSpPr>
            <p:spPr>
              <a:xfrm>
                <a:off x="3576532" y="3145370"/>
                <a:ext cx="272156" cy="209069"/>
              </a:xfrm>
              <a:custGeom>
                <a:avLst/>
                <a:gdLst>
                  <a:gd name="connsiteX0" fmla="*/ 267652 w 272156"/>
                  <a:gd name="connsiteY0" fmla="*/ 110143 h 209069"/>
                  <a:gd name="connsiteX1" fmla="*/ 269704 w 272156"/>
                  <a:gd name="connsiteY1" fmla="*/ 110884 h 209069"/>
                  <a:gd name="connsiteX2" fmla="*/ 272155 w 272156"/>
                  <a:gd name="connsiteY2" fmla="*/ 115500 h 209069"/>
                  <a:gd name="connsiteX3" fmla="*/ 271300 w 272156"/>
                  <a:gd name="connsiteY3" fmla="*/ 120858 h 209069"/>
                  <a:gd name="connsiteX4" fmla="*/ 266570 w 272156"/>
                  <a:gd name="connsiteY4" fmla="*/ 123365 h 209069"/>
                  <a:gd name="connsiteX5" fmla="*/ 265430 w 272156"/>
                  <a:gd name="connsiteY5" fmla="*/ 129806 h 209069"/>
                  <a:gd name="connsiteX6" fmla="*/ 254031 w 272156"/>
                  <a:gd name="connsiteY6" fmla="*/ 128780 h 209069"/>
                  <a:gd name="connsiteX7" fmla="*/ 250440 w 272156"/>
                  <a:gd name="connsiteY7" fmla="*/ 127412 h 209069"/>
                  <a:gd name="connsiteX8" fmla="*/ 248918 w 272156"/>
                  <a:gd name="connsiteY8" fmla="*/ 119005 h 209069"/>
                  <a:gd name="connsiteX9" fmla="*/ 253005 w 272156"/>
                  <a:gd name="connsiteY9" fmla="*/ 116469 h 209069"/>
                  <a:gd name="connsiteX10" fmla="*/ 267652 w 272156"/>
                  <a:gd name="connsiteY10" fmla="*/ 110143 h 209069"/>
                  <a:gd name="connsiteX11" fmla="*/ 261953 w 272156"/>
                  <a:gd name="connsiteY11" fmla="*/ 37930 h 209069"/>
                  <a:gd name="connsiteX12" fmla="*/ 260699 w 272156"/>
                  <a:gd name="connsiteY12" fmla="*/ 37930 h 209069"/>
                  <a:gd name="connsiteX13" fmla="*/ 246963 w 272156"/>
                  <a:gd name="connsiteY13" fmla="*/ 37930 h 209069"/>
                  <a:gd name="connsiteX14" fmla="*/ 233912 w 272156"/>
                  <a:gd name="connsiteY14" fmla="*/ 41065 h 209069"/>
                  <a:gd name="connsiteX15" fmla="*/ 222000 w 272156"/>
                  <a:gd name="connsiteY15" fmla="*/ 36790 h 209069"/>
                  <a:gd name="connsiteX16" fmla="*/ 216300 w 272156"/>
                  <a:gd name="connsiteY16" fmla="*/ 24251 h 209069"/>
                  <a:gd name="connsiteX17" fmla="*/ 205870 w 272156"/>
                  <a:gd name="connsiteY17" fmla="*/ 28982 h 209069"/>
                  <a:gd name="connsiteX18" fmla="*/ 187575 w 272156"/>
                  <a:gd name="connsiteY18" fmla="*/ 31205 h 209069"/>
                  <a:gd name="connsiteX19" fmla="*/ 180850 w 272156"/>
                  <a:gd name="connsiteY19" fmla="*/ 29324 h 209069"/>
                  <a:gd name="connsiteX20" fmla="*/ 173212 w 272156"/>
                  <a:gd name="connsiteY20" fmla="*/ 22713 h 209069"/>
                  <a:gd name="connsiteX21" fmla="*/ 168481 w 272156"/>
                  <a:gd name="connsiteY21" fmla="*/ 22371 h 209069"/>
                  <a:gd name="connsiteX22" fmla="*/ 164036 w 272156"/>
                  <a:gd name="connsiteY22" fmla="*/ 17355 h 209069"/>
                  <a:gd name="connsiteX23" fmla="*/ 163238 w 272156"/>
                  <a:gd name="connsiteY23" fmla="*/ 15645 h 209069"/>
                  <a:gd name="connsiteX24" fmla="*/ 162326 w 272156"/>
                  <a:gd name="connsiteY24" fmla="*/ 16386 h 209069"/>
                  <a:gd name="connsiteX25" fmla="*/ 159818 w 272156"/>
                  <a:gd name="connsiteY25" fmla="*/ 16386 h 209069"/>
                  <a:gd name="connsiteX26" fmla="*/ 33233 w 272156"/>
                  <a:gd name="connsiteY26" fmla="*/ 9775 h 209069"/>
                  <a:gd name="connsiteX27" fmla="*/ 22518 w 272156"/>
                  <a:gd name="connsiteY27" fmla="*/ 29 h 209069"/>
                  <a:gd name="connsiteX28" fmla="*/ 10321 w 272156"/>
                  <a:gd name="connsiteY28" fmla="*/ 7780 h 209069"/>
                  <a:gd name="connsiteX29" fmla="*/ 7984 w 272156"/>
                  <a:gd name="connsiteY29" fmla="*/ 12853 h 209069"/>
                  <a:gd name="connsiteX30" fmla="*/ 1430 w 272156"/>
                  <a:gd name="connsiteY30" fmla="*/ 15816 h 209069"/>
                  <a:gd name="connsiteX31" fmla="*/ 1926 w 272156"/>
                  <a:gd name="connsiteY31" fmla="*/ 23864 h 209069"/>
                  <a:gd name="connsiteX32" fmla="*/ 2342 w 272156"/>
                  <a:gd name="connsiteY32" fmla="*/ 24194 h 209069"/>
                  <a:gd name="connsiteX33" fmla="*/ 10492 w 272156"/>
                  <a:gd name="connsiteY33" fmla="*/ 29096 h 209069"/>
                  <a:gd name="connsiteX34" fmla="*/ 21036 w 272156"/>
                  <a:gd name="connsiteY34" fmla="*/ 55200 h 209069"/>
                  <a:gd name="connsiteX35" fmla="*/ 44176 w 272156"/>
                  <a:gd name="connsiteY35" fmla="*/ 54630 h 209069"/>
                  <a:gd name="connsiteX36" fmla="*/ 56259 w 272156"/>
                  <a:gd name="connsiteY36" fmla="*/ 60329 h 209069"/>
                  <a:gd name="connsiteX37" fmla="*/ 52782 w 272156"/>
                  <a:gd name="connsiteY37" fmla="*/ 70645 h 209069"/>
                  <a:gd name="connsiteX38" fmla="*/ 41953 w 272156"/>
                  <a:gd name="connsiteY38" fmla="*/ 74863 h 209069"/>
                  <a:gd name="connsiteX39" fmla="*/ 46114 w 272156"/>
                  <a:gd name="connsiteY39" fmla="*/ 95837 h 209069"/>
                  <a:gd name="connsiteX40" fmla="*/ 40870 w 272156"/>
                  <a:gd name="connsiteY40" fmla="*/ 101536 h 209069"/>
                  <a:gd name="connsiteX41" fmla="*/ 42466 w 272156"/>
                  <a:gd name="connsiteY41" fmla="*/ 116697 h 209069"/>
                  <a:gd name="connsiteX42" fmla="*/ 34145 w 272156"/>
                  <a:gd name="connsiteY42" fmla="*/ 121029 h 209069"/>
                  <a:gd name="connsiteX43" fmla="*/ 43720 w 272156"/>
                  <a:gd name="connsiteY43" fmla="*/ 133909 h 209069"/>
                  <a:gd name="connsiteX44" fmla="*/ 34544 w 272156"/>
                  <a:gd name="connsiteY44" fmla="*/ 151008 h 209069"/>
                  <a:gd name="connsiteX45" fmla="*/ 42922 w 272156"/>
                  <a:gd name="connsiteY45" fmla="*/ 159899 h 209069"/>
                  <a:gd name="connsiteX46" fmla="*/ 37223 w 272156"/>
                  <a:gd name="connsiteY46" fmla="*/ 166339 h 209069"/>
                  <a:gd name="connsiteX47" fmla="*/ 35513 w 272156"/>
                  <a:gd name="connsiteY47" fmla="*/ 170272 h 209069"/>
                  <a:gd name="connsiteX48" fmla="*/ 33404 w 272156"/>
                  <a:gd name="connsiteY48" fmla="*/ 177624 h 209069"/>
                  <a:gd name="connsiteX49" fmla="*/ 30896 w 272156"/>
                  <a:gd name="connsiteY49" fmla="*/ 187313 h 209069"/>
                  <a:gd name="connsiteX50" fmla="*/ 49420 w 272156"/>
                  <a:gd name="connsiteY50" fmla="*/ 187313 h 209069"/>
                  <a:gd name="connsiteX51" fmla="*/ 53523 w 272156"/>
                  <a:gd name="connsiteY51" fmla="*/ 200365 h 209069"/>
                  <a:gd name="connsiteX52" fmla="*/ 64922 w 272156"/>
                  <a:gd name="connsiteY52" fmla="*/ 208117 h 209069"/>
                  <a:gd name="connsiteX53" fmla="*/ 85725 w 272156"/>
                  <a:gd name="connsiteY53" fmla="*/ 206179 h 209069"/>
                  <a:gd name="connsiteX54" fmla="*/ 103907 w 272156"/>
                  <a:gd name="connsiteY54" fmla="*/ 196034 h 209069"/>
                  <a:gd name="connsiteX55" fmla="*/ 108580 w 272156"/>
                  <a:gd name="connsiteY55" fmla="*/ 196603 h 209069"/>
                  <a:gd name="connsiteX56" fmla="*/ 114280 w 272156"/>
                  <a:gd name="connsiteY56" fmla="*/ 195521 h 209069"/>
                  <a:gd name="connsiteX57" fmla="*/ 137078 w 272156"/>
                  <a:gd name="connsiteY57" fmla="*/ 195008 h 209069"/>
                  <a:gd name="connsiteX58" fmla="*/ 147450 w 272156"/>
                  <a:gd name="connsiteY58" fmla="*/ 192329 h 209069"/>
                  <a:gd name="connsiteX59" fmla="*/ 149844 w 272156"/>
                  <a:gd name="connsiteY59" fmla="*/ 187826 h 209069"/>
                  <a:gd name="connsiteX60" fmla="*/ 159362 w 272156"/>
                  <a:gd name="connsiteY60" fmla="*/ 176427 h 209069"/>
                  <a:gd name="connsiteX61" fmla="*/ 164036 w 272156"/>
                  <a:gd name="connsiteY61" fmla="*/ 173236 h 209069"/>
                  <a:gd name="connsiteX62" fmla="*/ 172072 w 272156"/>
                  <a:gd name="connsiteY62" fmla="*/ 172381 h 209069"/>
                  <a:gd name="connsiteX63" fmla="*/ 181020 w 272156"/>
                  <a:gd name="connsiteY63" fmla="*/ 162008 h 209069"/>
                  <a:gd name="connsiteX64" fmla="*/ 183015 w 272156"/>
                  <a:gd name="connsiteY64" fmla="*/ 155282 h 209069"/>
                  <a:gd name="connsiteX65" fmla="*/ 183015 w 272156"/>
                  <a:gd name="connsiteY65" fmla="*/ 149583 h 209069"/>
                  <a:gd name="connsiteX66" fmla="*/ 187518 w 272156"/>
                  <a:gd name="connsiteY66" fmla="*/ 146904 h 209069"/>
                  <a:gd name="connsiteX67" fmla="*/ 195212 w 272156"/>
                  <a:gd name="connsiteY67" fmla="*/ 135505 h 209069"/>
                  <a:gd name="connsiteX68" fmla="*/ 191051 w 272156"/>
                  <a:gd name="connsiteY68" fmla="*/ 120459 h 209069"/>
                  <a:gd name="connsiteX69" fmla="*/ 203818 w 272156"/>
                  <a:gd name="connsiteY69" fmla="*/ 91505 h 209069"/>
                  <a:gd name="connsiteX70" fmla="*/ 212025 w 272156"/>
                  <a:gd name="connsiteY70" fmla="*/ 85464 h 209069"/>
                  <a:gd name="connsiteX71" fmla="*/ 215217 w 272156"/>
                  <a:gd name="connsiteY71" fmla="*/ 77542 h 209069"/>
                  <a:gd name="connsiteX72" fmla="*/ 220917 w 272156"/>
                  <a:gd name="connsiteY72" fmla="*/ 74293 h 209069"/>
                  <a:gd name="connsiteX73" fmla="*/ 253746 w 272156"/>
                  <a:gd name="connsiteY73" fmla="*/ 62894 h 209069"/>
                  <a:gd name="connsiteX74" fmla="*/ 264575 w 272156"/>
                  <a:gd name="connsiteY74" fmla="*/ 54288 h 209069"/>
                  <a:gd name="connsiteX75" fmla="*/ 262010 w 272156"/>
                  <a:gd name="connsiteY75" fmla="*/ 37930 h 20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72156" h="209069">
                    <a:moveTo>
                      <a:pt x="267652" y="110143"/>
                    </a:moveTo>
                    <a:cubicBezTo>
                      <a:pt x="268376" y="110268"/>
                      <a:pt x="269066" y="110519"/>
                      <a:pt x="269704" y="110884"/>
                    </a:cubicBezTo>
                    <a:cubicBezTo>
                      <a:pt x="271220" y="111932"/>
                      <a:pt x="272132" y="113653"/>
                      <a:pt x="272155" y="115500"/>
                    </a:cubicBezTo>
                    <a:cubicBezTo>
                      <a:pt x="272183" y="117324"/>
                      <a:pt x="271893" y="119136"/>
                      <a:pt x="271300" y="120858"/>
                    </a:cubicBezTo>
                    <a:lnTo>
                      <a:pt x="266570" y="123365"/>
                    </a:lnTo>
                    <a:cubicBezTo>
                      <a:pt x="267236" y="125571"/>
                      <a:pt x="266815" y="127965"/>
                      <a:pt x="265430" y="129806"/>
                    </a:cubicBezTo>
                    <a:cubicBezTo>
                      <a:pt x="261600" y="130000"/>
                      <a:pt x="257764" y="129658"/>
                      <a:pt x="254031" y="128780"/>
                    </a:cubicBezTo>
                    <a:cubicBezTo>
                      <a:pt x="252760" y="128557"/>
                      <a:pt x="251540" y="128090"/>
                      <a:pt x="250440" y="127412"/>
                    </a:cubicBezTo>
                    <a:cubicBezTo>
                      <a:pt x="247699" y="125514"/>
                      <a:pt x="247014" y="121747"/>
                      <a:pt x="248918" y="119005"/>
                    </a:cubicBezTo>
                    <a:cubicBezTo>
                      <a:pt x="249870" y="117632"/>
                      <a:pt x="251352" y="116714"/>
                      <a:pt x="253005" y="116469"/>
                    </a:cubicBezTo>
                    <a:cubicBezTo>
                      <a:pt x="256105" y="111528"/>
                      <a:pt x="261930" y="109014"/>
                      <a:pt x="267652" y="110143"/>
                    </a:cubicBezTo>
                    <a:close/>
                    <a:moveTo>
                      <a:pt x="261953" y="37930"/>
                    </a:moveTo>
                    <a:lnTo>
                      <a:pt x="260699" y="37930"/>
                    </a:lnTo>
                    <a:cubicBezTo>
                      <a:pt x="256122" y="37674"/>
                      <a:pt x="251540" y="37674"/>
                      <a:pt x="246963" y="37930"/>
                    </a:cubicBezTo>
                    <a:cubicBezTo>
                      <a:pt x="242518" y="38500"/>
                      <a:pt x="238357" y="40438"/>
                      <a:pt x="233912" y="41065"/>
                    </a:cubicBezTo>
                    <a:cubicBezTo>
                      <a:pt x="229443" y="42176"/>
                      <a:pt x="224741" y="40489"/>
                      <a:pt x="222000" y="36790"/>
                    </a:cubicBezTo>
                    <a:cubicBezTo>
                      <a:pt x="219549" y="32687"/>
                      <a:pt x="220632" y="25847"/>
                      <a:pt x="216300" y="24251"/>
                    </a:cubicBezTo>
                    <a:cubicBezTo>
                      <a:pt x="211968" y="22656"/>
                      <a:pt x="209176" y="26816"/>
                      <a:pt x="205870" y="28982"/>
                    </a:cubicBezTo>
                    <a:cubicBezTo>
                      <a:pt x="200216" y="31837"/>
                      <a:pt x="193747" y="32624"/>
                      <a:pt x="187575" y="31205"/>
                    </a:cubicBezTo>
                    <a:cubicBezTo>
                      <a:pt x="185209" y="31171"/>
                      <a:pt x="182890" y="30521"/>
                      <a:pt x="180850" y="29324"/>
                    </a:cubicBezTo>
                    <a:cubicBezTo>
                      <a:pt x="178000" y="27386"/>
                      <a:pt x="176518" y="23625"/>
                      <a:pt x="173212" y="22713"/>
                    </a:cubicBezTo>
                    <a:cubicBezTo>
                      <a:pt x="171673" y="22371"/>
                      <a:pt x="169963" y="22713"/>
                      <a:pt x="168481" y="22371"/>
                    </a:cubicBezTo>
                    <a:cubicBezTo>
                      <a:pt x="167000" y="22029"/>
                      <a:pt x="165062" y="19407"/>
                      <a:pt x="164036" y="17355"/>
                    </a:cubicBezTo>
                    <a:cubicBezTo>
                      <a:pt x="164036" y="16785"/>
                      <a:pt x="163523" y="16215"/>
                      <a:pt x="163238" y="15645"/>
                    </a:cubicBezTo>
                    <a:cubicBezTo>
                      <a:pt x="162999" y="15964"/>
                      <a:pt x="162685" y="16221"/>
                      <a:pt x="162326" y="16386"/>
                    </a:cubicBezTo>
                    <a:cubicBezTo>
                      <a:pt x="161511" y="16643"/>
                      <a:pt x="160634" y="16643"/>
                      <a:pt x="159818" y="16386"/>
                    </a:cubicBezTo>
                    <a:cubicBezTo>
                      <a:pt x="117819" y="11365"/>
                      <a:pt x="75529" y="9154"/>
                      <a:pt x="33233" y="9775"/>
                    </a:cubicBezTo>
                    <a:cubicBezTo>
                      <a:pt x="32122" y="4565"/>
                      <a:pt x="27807" y="644"/>
                      <a:pt x="22518" y="29"/>
                    </a:cubicBezTo>
                    <a:cubicBezTo>
                      <a:pt x="17195" y="-336"/>
                      <a:pt x="12253" y="2804"/>
                      <a:pt x="10321" y="7780"/>
                    </a:cubicBezTo>
                    <a:cubicBezTo>
                      <a:pt x="9922" y="9621"/>
                      <a:pt x="9124" y="11354"/>
                      <a:pt x="7984" y="12853"/>
                    </a:cubicBezTo>
                    <a:cubicBezTo>
                      <a:pt x="6161" y="14448"/>
                      <a:pt x="3254" y="14220"/>
                      <a:pt x="1430" y="15816"/>
                    </a:cubicBezTo>
                    <a:cubicBezTo>
                      <a:pt x="-656" y="18176"/>
                      <a:pt x="-434" y="21778"/>
                      <a:pt x="1926" y="23864"/>
                    </a:cubicBezTo>
                    <a:cubicBezTo>
                      <a:pt x="2063" y="23978"/>
                      <a:pt x="2199" y="24092"/>
                      <a:pt x="2342" y="24194"/>
                    </a:cubicBezTo>
                    <a:cubicBezTo>
                      <a:pt x="4878" y="26115"/>
                      <a:pt x="7608" y="27757"/>
                      <a:pt x="10492" y="29096"/>
                    </a:cubicBezTo>
                    <a:cubicBezTo>
                      <a:pt x="18984" y="34397"/>
                      <a:pt x="21207" y="44656"/>
                      <a:pt x="21036" y="55200"/>
                    </a:cubicBezTo>
                    <a:cubicBezTo>
                      <a:pt x="28719" y="54328"/>
                      <a:pt x="36459" y="54140"/>
                      <a:pt x="44176" y="54630"/>
                    </a:cubicBezTo>
                    <a:cubicBezTo>
                      <a:pt x="48907" y="54915"/>
                      <a:pt x="54435" y="56055"/>
                      <a:pt x="56259" y="60329"/>
                    </a:cubicBezTo>
                    <a:cubicBezTo>
                      <a:pt x="57484" y="64159"/>
                      <a:pt x="56076" y="68337"/>
                      <a:pt x="52782" y="70645"/>
                    </a:cubicBezTo>
                    <a:cubicBezTo>
                      <a:pt x="49511" y="72805"/>
                      <a:pt x="45823" y="74242"/>
                      <a:pt x="41953" y="74863"/>
                    </a:cubicBezTo>
                    <a:cubicBezTo>
                      <a:pt x="39047" y="81702"/>
                      <a:pt x="49875" y="89396"/>
                      <a:pt x="46114" y="95837"/>
                    </a:cubicBezTo>
                    <a:cubicBezTo>
                      <a:pt x="44803" y="98117"/>
                      <a:pt x="41953" y="99257"/>
                      <a:pt x="40870" y="101536"/>
                    </a:cubicBezTo>
                    <a:cubicBezTo>
                      <a:pt x="38648" y="106267"/>
                      <a:pt x="44632" y="111909"/>
                      <a:pt x="42466" y="116697"/>
                    </a:cubicBezTo>
                    <a:lnTo>
                      <a:pt x="34145" y="121029"/>
                    </a:lnTo>
                    <a:cubicBezTo>
                      <a:pt x="31979" y="126329"/>
                      <a:pt x="42580" y="128324"/>
                      <a:pt x="43720" y="133909"/>
                    </a:cubicBezTo>
                    <a:cubicBezTo>
                      <a:pt x="45145" y="140692"/>
                      <a:pt x="31808" y="144795"/>
                      <a:pt x="34544" y="151008"/>
                    </a:cubicBezTo>
                    <a:cubicBezTo>
                      <a:pt x="36254" y="154883"/>
                      <a:pt x="43264" y="155681"/>
                      <a:pt x="42922" y="159899"/>
                    </a:cubicBezTo>
                    <a:cubicBezTo>
                      <a:pt x="42922" y="162920"/>
                      <a:pt x="38818" y="163946"/>
                      <a:pt x="37223" y="166339"/>
                    </a:cubicBezTo>
                    <a:cubicBezTo>
                      <a:pt x="36402" y="167525"/>
                      <a:pt x="35820" y="168864"/>
                      <a:pt x="35513" y="170272"/>
                    </a:cubicBezTo>
                    <a:cubicBezTo>
                      <a:pt x="34829" y="172723"/>
                      <a:pt x="34145" y="175174"/>
                      <a:pt x="33404" y="177624"/>
                    </a:cubicBezTo>
                    <a:cubicBezTo>
                      <a:pt x="32663" y="180075"/>
                      <a:pt x="31637" y="184065"/>
                      <a:pt x="30896" y="187313"/>
                    </a:cubicBezTo>
                    <a:cubicBezTo>
                      <a:pt x="37023" y="186202"/>
                      <a:pt x="43293" y="186202"/>
                      <a:pt x="49420" y="187313"/>
                    </a:cubicBezTo>
                    <a:cubicBezTo>
                      <a:pt x="49454" y="191976"/>
                      <a:pt x="50879" y="196524"/>
                      <a:pt x="53523" y="200365"/>
                    </a:cubicBezTo>
                    <a:cubicBezTo>
                      <a:pt x="56236" y="204269"/>
                      <a:pt x="60294" y="207028"/>
                      <a:pt x="64922" y="208117"/>
                    </a:cubicBezTo>
                    <a:cubicBezTo>
                      <a:pt x="71876" y="209872"/>
                      <a:pt x="79216" y="209188"/>
                      <a:pt x="85725" y="206179"/>
                    </a:cubicBezTo>
                    <a:cubicBezTo>
                      <a:pt x="91938" y="202759"/>
                      <a:pt x="96839" y="195635"/>
                      <a:pt x="103907" y="196034"/>
                    </a:cubicBezTo>
                    <a:cubicBezTo>
                      <a:pt x="105502" y="196034"/>
                      <a:pt x="107041" y="196547"/>
                      <a:pt x="108580" y="196603"/>
                    </a:cubicBezTo>
                    <a:cubicBezTo>
                      <a:pt x="110518" y="196461"/>
                      <a:pt x="112427" y="196096"/>
                      <a:pt x="114280" y="195521"/>
                    </a:cubicBezTo>
                    <a:cubicBezTo>
                      <a:pt x="121814" y="194227"/>
                      <a:pt x="129497" y="194050"/>
                      <a:pt x="137078" y="195008"/>
                    </a:cubicBezTo>
                    <a:cubicBezTo>
                      <a:pt x="140765" y="195760"/>
                      <a:pt x="144589" y="194774"/>
                      <a:pt x="147450" y="192329"/>
                    </a:cubicBezTo>
                    <a:cubicBezTo>
                      <a:pt x="148459" y="190950"/>
                      <a:pt x="149263" y="189434"/>
                      <a:pt x="149844" y="187826"/>
                    </a:cubicBezTo>
                    <a:cubicBezTo>
                      <a:pt x="152227" y="183426"/>
                      <a:pt x="155458" y="179551"/>
                      <a:pt x="159362" y="176427"/>
                    </a:cubicBezTo>
                    <a:cubicBezTo>
                      <a:pt x="160673" y="175042"/>
                      <a:pt x="162269" y="173954"/>
                      <a:pt x="164036" y="173236"/>
                    </a:cubicBezTo>
                    <a:cubicBezTo>
                      <a:pt x="166601" y="172381"/>
                      <a:pt x="169735" y="173236"/>
                      <a:pt x="172072" y="172381"/>
                    </a:cubicBezTo>
                    <a:cubicBezTo>
                      <a:pt x="176632" y="171184"/>
                      <a:pt x="179139" y="166339"/>
                      <a:pt x="181020" y="162008"/>
                    </a:cubicBezTo>
                    <a:cubicBezTo>
                      <a:pt x="182098" y="159910"/>
                      <a:pt x="182770" y="157631"/>
                      <a:pt x="183015" y="155282"/>
                    </a:cubicBezTo>
                    <a:cubicBezTo>
                      <a:pt x="182833" y="153384"/>
                      <a:pt x="182833" y="151481"/>
                      <a:pt x="183015" y="149583"/>
                    </a:cubicBezTo>
                    <a:cubicBezTo>
                      <a:pt x="183528" y="147588"/>
                      <a:pt x="185808" y="145878"/>
                      <a:pt x="187518" y="146904"/>
                    </a:cubicBezTo>
                    <a:cubicBezTo>
                      <a:pt x="192647" y="146505"/>
                      <a:pt x="195554" y="140464"/>
                      <a:pt x="195212" y="135505"/>
                    </a:cubicBezTo>
                    <a:cubicBezTo>
                      <a:pt x="194175" y="130398"/>
                      <a:pt x="192784" y="125372"/>
                      <a:pt x="191051" y="120459"/>
                    </a:cubicBezTo>
                    <a:cubicBezTo>
                      <a:pt x="188869" y="109094"/>
                      <a:pt x="193952" y="97558"/>
                      <a:pt x="203818" y="91505"/>
                    </a:cubicBezTo>
                    <a:cubicBezTo>
                      <a:pt x="207021" y="90217"/>
                      <a:pt x="209843" y="88137"/>
                      <a:pt x="212025" y="85464"/>
                    </a:cubicBezTo>
                    <a:cubicBezTo>
                      <a:pt x="213450" y="83013"/>
                      <a:pt x="213450" y="79764"/>
                      <a:pt x="215217" y="77542"/>
                    </a:cubicBezTo>
                    <a:cubicBezTo>
                      <a:pt x="216796" y="75974"/>
                      <a:pt x="218762" y="74851"/>
                      <a:pt x="220917" y="74293"/>
                    </a:cubicBezTo>
                    <a:lnTo>
                      <a:pt x="253746" y="62894"/>
                    </a:lnTo>
                    <a:cubicBezTo>
                      <a:pt x="254561" y="57645"/>
                      <a:pt x="259274" y="53900"/>
                      <a:pt x="264575" y="54288"/>
                    </a:cubicBezTo>
                    <a:cubicBezTo>
                      <a:pt x="267083" y="49272"/>
                      <a:pt x="264119" y="43630"/>
                      <a:pt x="262010" y="37930"/>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73" name="Freihandform: Form 767">
                <a:extLst>
                  <a:ext uri="{FF2B5EF4-FFF2-40B4-BE49-F238E27FC236}">
                    <a16:creationId xmlns:a16="http://schemas.microsoft.com/office/drawing/2014/main" id="{B262E673-25BF-3CAC-2B6D-6F02D33C4372}"/>
                  </a:ext>
                </a:extLst>
              </p:cNvPr>
              <p:cNvSpPr/>
              <p:nvPr/>
            </p:nvSpPr>
            <p:spPr>
              <a:xfrm>
                <a:off x="3563691" y="3199962"/>
                <a:ext cx="69822" cy="139959"/>
              </a:xfrm>
              <a:custGeom>
                <a:avLst/>
                <a:gdLst>
                  <a:gd name="connsiteX0" fmla="*/ 45846 w 69822"/>
                  <a:gd name="connsiteY0" fmla="*/ 123317 h 139959"/>
                  <a:gd name="connsiteX1" fmla="*/ 43338 w 69822"/>
                  <a:gd name="connsiteY1" fmla="*/ 133006 h 139959"/>
                  <a:gd name="connsiteX2" fmla="*/ 29545 w 69822"/>
                  <a:gd name="connsiteY2" fmla="*/ 137395 h 139959"/>
                  <a:gd name="connsiteX3" fmla="*/ 21509 w 69822"/>
                  <a:gd name="connsiteY3" fmla="*/ 139960 h 139959"/>
                  <a:gd name="connsiteX4" fmla="*/ 14727 w 69822"/>
                  <a:gd name="connsiteY4" fmla="*/ 124742 h 139959"/>
                  <a:gd name="connsiteX5" fmla="*/ 16152 w 69822"/>
                  <a:gd name="connsiteY5" fmla="*/ 103255 h 139959"/>
                  <a:gd name="connsiteX6" fmla="*/ 14499 w 69822"/>
                  <a:gd name="connsiteY6" fmla="*/ 94079 h 139959"/>
                  <a:gd name="connsiteX7" fmla="*/ 8799 w 69822"/>
                  <a:gd name="connsiteY7" fmla="*/ 89918 h 139959"/>
                  <a:gd name="connsiteX8" fmla="*/ 136 w 69822"/>
                  <a:gd name="connsiteY8" fmla="*/ 71566 h 139959"/>
                  <a:gd name="connsiteX9" fmla="*/ 9369 w 69822"/>
                  <a:gd name="connsiteY9" fmla="*/ 61877 h 139959"/>
                  <a:gd name="connsiteX10" fmla="*/ 12960 w 69822"/>
                  <a:gd name="connsiteY10" fmla="*/ 54980 h 139959"/>
                  <a:gd name="connsiteX11" fmla="*/ 16893 w 69822"/>
                  <a:gd name="connsiteY11" fmla="*/ 53841 h 139959"/>
                  <a:gd name="connsiteX12" fmla="*/ 18260 w 69822"/>
                  <a:gd name="connsiteY12" fmla="*/ 49965 h 139959"/>
                  <a:gd name="connsiteX13" fmla="*/ 23219 w 69822"/>
                  <a:gd name="connsiteY13" fmla="*/ 28079 h 139959"/>
                  <a:gd name="connsiteX14" fmla="*/ 28177 w 69822"/>
                  <a:gd name="connsiteY14" fmla="*/ 25343 h 139959"/>
                  <a:gd name="connsiteX15" fmla="*/ 33079 w 69822"/>
                  <a:gd name="connsiteY15" fmla="*/ 13944 h 139959"/>
                  <a:gd name="connsiteX16" fmla="*/ 34162 w 69822"/>
                  <a:gd name="connsiteY16" fmla="*/ 835 h 139959"/>
                  <a:gd name="connsiteX17" fmla="*/ 57302 w 69822"/>
                  <a:gd name="connsiteY17" fmla="*/ 265 h 139959"/>
                  <a:gd name="connsiteX18" fmla="*/ 69385 w 69822"/>
                  <a:gd name="connsiteY18" fmla="*/ 5965 h 139959"/>
                  <a:gd name="connsiteX19" fmla="*/ 65908 w 69822"/>
                  <a:gd name="connsiteY19" fmla="*/ 16281 h 139959"/>
                  <a:gd name="connsiteX20" fmla="*/ 55079 w 69822"/>
                  <a:gd name="connsiteY20" fmla="*/ 20499 h 139959"/>
                  <a:gd name="connsiteX21" fmla="*/ 59240 w 69822"/>
                  <a:gd name="connsiteY21" fmla="*/ 41473 h 139959"/>
                  <a:gd name="connsiteX22" fmla="*/ 53996 w 69822"/>
                  <a:gd name="connsiteY22" fmla="*/ 47172 h 139959"/>
                  <a:gd name="connsiteX23" fmla="*/ 55592 w 69822"/>
                  <a:gd name="connsiteY23" fmla="*/ 62333 h 139959"/>
                  <a:gd name="connsiteX24" fmla="*/ 47271 w 69822"/>
                  <a:gd name="connsiteY24" fmla="*/ 66664 h 139959"/>
                  <a:gd name="connsiteX25" fmla="*/ 56846 w 69822"/>
                  <a:gd name="connsiteY25" fmla="*/ 79545 h 139959"/>
                  <a:gd name="connsiteX26" fmla="*/ 47670 w 69822"/>
                  <a:gd name="connsiteY26" fmla="*/ 96643 h 139959"/>
                  <a:gd name="connsiteX27" fmla="*/ 56048 w 69822"/>
                  <a:gd name="connsiteY27" fmla="*/ 105535 h 139959"/>
                  <a:gd name="connsiteX28" fmla="*/ 50348 w 69822"/>
                  <a:gd name="connsiteY28" fmla="*/ 111975 h 139959"/>
                  <a:gd name="connsiteX29" fmla="*/ 48639 w 69822"/>
                  <a:gd name="connsiteY29" fmla="*/ 115908 h 139959"/>
                  <a:gd name="connsiteX30" fmla="*/ 45846 w 69822"/>
                  <a:gd name="connsiteY30" fmla="*/ 123317 h 13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822" h="139959">
                    <a:moveTo>
                      <a:pt x="45846" y="123317"/>
                    </a:moveTo>
                    <a:cubicBezTo>
                      <a:pt x="44991" y="126509"/>
                      <a:pt x="44079" y="129757"/>
                      <a:pt x="43338" y="133006"/>
                    </a:cubicBezTo>
                    <a:cubicBezTo>
                      <a:pt x="38562" y="133827"/>
                      <a:pt x="33917" y="135303"/>
                      <a:pt x="29545" y="137395"/>
                    </a:cubicBezTo>
                    <a:cubicBezTo>
                      <a:pt x="27175" y="139013"/>
                      <a:pt x="24382" y="139908"/>
                      <a:pt x="21509" y="139960"/>
                    </a:cubicBezTo>
                    <a:cubicBezTo>
                      <a:pt x="15468" y="138991"/>
                      <a:pt x="14328" y="130840"/>
                      <a:pt x="14727" y="124742"/>
                    </a:cubicBezTo>
                    <a:cubicBezTo>
                      <a:pt x="15183" y="117561"/>
                      <a:pt x="15696" y="110436"/>
                      <a:pt x="16152" y="103255"/>
                    </a:cubicBezTo>
                    <a:cubicBezTo>
                      <a:pt x="16699" y="100097"/>
                      <a:pt x="16112" y="96849"/>
                      <a:pt x="14499" y="94079"/>
                    </a:cubicBezTo>
                    <a:cubicBezTo>
                      <a:pt x="12869" y="92358"/>
                      <a:pt x="10937" y="90950"/>
                      <a:pt x="8799" y="89918"/>
                    </a:cubicBezTo>
                    <a:cubicBezTo>
                      <a:pt x="2632" y="85968"/>
                      <a:pt x="-736" y="78838"/>
                      <a:pt x="136" y="71566"/>
                    </a:cubicBezTo>
                    <a:cubicBezTo>
                      <a:pt x="4593" y="70016"/>
                      <a:pt x="8036" y="66408"/>
                      <a:pt x="9369" y="61877"/>
                    </a:cubicBezTo>
                    <a:cubicBezTo>
                      <a:pt x="10110" y="59255"/>
                      <a:pt x="10509" y="56177"/>
                      <a:pt x="12960" y="54980"/>
                    </a:cubicBezTo>
                    <a:cubicBezTo>
                      <a:pt x="14214" y="54467"/>
                      <a:pt x="15810" y="54638"/>
                      <a:pt x="16893" y="53841"/>
                    </a:cubicBezTo>
                    <a:cubicBezTo>
                      <a:pt x="17901" y="52815"/>
                      <a:pt x="18403" y="51395"/>
                      <a:pt x="18260" y="49965"/>
                    </a:cubicBezTo>
                    <a:cubicBezTo>
                      <a:pt x="18260" y="42157"/>
                      <a:pt x="16721" y="32468"/>
                      <a:pt x="23219" y="28079"/>
                    </a:cubicBezTo>
                    <a:cubicBezTo>
                      <a:pt x="24815" y="27053"/>
                      <a:pt x="26639" y="26483"/>
                      <a:pt x="28177" y="25343"/>
                    </a:cubicBezTo>
                    <a:cubicBezTo>
                      <a:pt x="31238" y="22334"/>
                      <a:pt x="32999" y="18242"/>
                      <a:pt x="33079" y="13944"/>
                    </a:cubicBezTo>
                    <a:cubicBezTo>
                      <a:pt x="33735" y="9601"/>
                      <a:pt x="34094" y="5224"/>
                      <a:pt x="34162" y="835"/>
                    </a:cubicBezTo>
                    <a:cubicBezTo>
                      <a:pt x="41845" y="-37"/>
                      <a:pt x="49585" y="-225"/>
                      <a:pt x="57302" y="265"/>
                    </a:cubicBezTo>
                    <a:cubicBezTo>
                      <a:pt x="62032" y="550"/>
                      <a:pt x="67561" y="1690"/>
                      <a:pt x="69385" y="5965"/>
                    </a:cubicBezTo>
                    <a:cubicBezTo>
                      <a:pt x="70610" y="9795"/>
                      <a:pt x="69202" y="13973"/>
                      <a:pt x="65908" y="16281"/>
                    </a:cubicBezTo>
                    <a:cubicBezTo>
                      <a:pt x="62637" y="18441"/>
                      <a:pt x="58949" y="19877"/>
                      <a:pt x="55079" y="20499"/>
                    </a:cubicBezTo>
                    <a:cubicBezTo>
                      <a:pt x="52172" y="27338"/>
                      <a:pt x="63001" y="35032"/>
                      <a:pt x="59240" y="41473"/>
                    </a:cubicBezTo>
                    <a:cubicBezTo>
                      <a:pt x="57929" y="43752"/>
                      <a:pt x="55079" y="44892"/>
                      <a:pt x="53996" y="47172"/>
                    </a:cubicBezTo>
                    <a:cubicBezTo>
                      <a:pt x="51773" y="51903"/>
                      <a:pt x="57758" y="57545"/>
                      <a:pt x="55592" y="62333"/>
                    </a:cubicBezTo>
                    <a:lnTo>
                      <a:pt x="47271" y="66664"/>
                    </a:lnTo>
                    <a:cubicBezTo>
                      <a:pt x="45105" y="71965"/>
                      <a:pt x="55706" y="73960"/>
                      <a:pt x="56846" y="79545"/>
                    </a:cubicBezTo>
                    <a:cubicBezTo>
                      <a:pt x="58271" y="86327"/>
                      <a:pt x="44934" y="90431"/>
                      <a:pt x="47670" y="96643"/>
                    </a:cubicBezTo>
                    <a:cubicBezTo>
                      <a:pt x="49380" y="100519"/>
                      <a:pt x="56390" y="101317"/>
                      <a:pt x="56048" y="105535"/>
                    </a:cubicBezTo>
                    <a:cubicBezTo>
                      <a:pt x="56048" y="108555"/>
                      <a:pt x="51944" y="109581"/>
                      <a:pt x="50348" y="111975"/>
                    </a:cubicBezTo>
                    <a:cubicBezTo>
                      <a:pt x="49528" y="113161"/>
                      <a:pt x="48947" y="114500"/>
                      <a:pt x="48639" y="115908"/>
                    </a:cubicBezTo>
                    <a:cubicBezTo>
                      <a:pt x="47271" y="118416"/>
                      <a:pt x="46587" y="120866"/>
                      <a:pt x="45846" y="123317"/>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74" name="Freihandform: Form 768">
                <a:extLst>
                  <a:ext uri="{FF2B5EF4-FFF2-40B4-BE49-F238E27FC236}">
                    <a16:creationId xmlns:a16="http://schemas.microsoft.com/office/drawing/2014/main" id="{0CA884C1-DADF-4D9A-63B3-7F87B869931E}"/>
                  </a:ext>
                </a:extLst>
              </p:cNvPr>
              <p:cNvSpPr/>
              <p:nvPr/>
            </p:nvSpPr>
            <p:spPr>
              <a:xfrm>
                <a:off x="3583021" y="2668671"/>
                <a:ext cx="233811" cy="291380"/>
              </a:xfrm>
              <a:custGeom>
                <a:avLst/>
                <a:gdLst>
                  <a:gd name="connsiteX0" fmla="*/ 217277 w 233811"/>
                  <a:gd name="connsiteY0" fmla="*/ 204520 h 291380"/>
                  <a:gd name="connsiteX1" fmla="*/ 221723 w 233811"/>
                  <a:gd name="connsiteY1" fmla="*/ 205375 h 291380"/>
                  <a:gd name="connsiteX2" fmla="*/ 224572 w 233811"/>
                  <a:gd name="connsiteY2" fmla="*/ 208966 h 291380"/>
                  <a:gd name="connsiteX3" fmla="*/ 233235 w 233811"/>
                  <a:gd name="connsiteY3" fmla="*/ 211987 h 291380"/>
                  <a:gd name="connsiteX4" fmla="*/ 231697 w 233811"/>
                  <a:gd name="connsiteY4" fmla="*/ 218142 h 291380"/>
                  <a:gd name="connsiteX5" fmla="*/ 225028 w 233811"/>
                  <a:gd name="connsiteY5" fmla="*/ 220251 h 291380"/>
                  <a:gd name="connsiteX6" fmla="*/ 209811 w 233811"/>
                  <a:gd name="connsiteY6" fmla="*/ 222303 h 291380"/>
                  <a:gd name="connsiteX7" fmla="*/ 210495 w 233811"/>
                  <a:gd name="connsiteY7" fmla="*/ 230510 h 291380"/>
                  <a:gd name="connsiteX8" fmla="*/ 204168 w 233811"/>
                  <a:gd name="connsiteY8" fmla="*/ 234386 h 291380"/>
                  <a:gd name="connsiteX9" fmla="*/ 204624 w 233811"/>
                  <a:gd name="connsiteY9" fmla="*/ 240085 h 291380"/>
                  <a:gd name="connsiteX10" fmla="*/ 197671 w 233811"/>
                  <a:gd name="connsiteY10" fmla="*/ 245272 h 291380"/>
                  <a:gd name="connsiteX11" fmla="*/ 216935 w 233811"/>
                  <a:gd name="connsiteY11" fmla="*/ 249033 h 291380"/>
                  <a:gd name="connsiteX12" fmla="*/ 214655 w 233811"/>
                  <a:gd name="connsiteY12" fmla="*/ 256101 h 291380"/>
                  <a:gd name="connsiteX13" fmla="*/ 205878 w 233811"/>
                  <a:gd name="connsiteY13" fmla="*/ 254790 h 291380"/>
                  <a:gd name="connsiteX14" fmla="*/ 189635 w 233811"/>
                  <a:gd name="connsiteY14" fmla="*/ 264194 h 291380"/>
                  <a:gd name="connsiteX15" fmla="*/ 169572 w 233811"/>
                  <a:gd name="connsiteY15" fmla="*/ 267215 h 291380"/>
                  <a:gd name="connsiteX16" fmla="*/ 166324 w 233811"/>
                  <a:gd name="connsiteY16" fmla="*/ 270349 h 291380"/>
                  <a:gd name="connsiteX17" fmla="*/ 146148 w 233811"/>
                  <a:gd name="connsiteY17" fmla="*/ 263966 h 291380"/>
                  <a:gd name="connsiteX18" fmla="*/ 140106 w 233811"/>
                  <a:gd name="connsiteY18" fmla="*/ 268525 h 291380"/>
                  <a:gd name="connsiteX19" fmla="*/ 124319 w 233811"/>
                  <a:gd name="connsiteY19" fmla="*/ 266588 h 291380"/>
                  <a:gd name="connsiteX20" fmla="*/ 112920 w 233811"/>
                  <a:gd name="connsiteY20" fmla="*/ 266987 h 291380"/>
                  <a:gd name="connsiteX21" fmla="*/ 105396 w 233811"/>
                  <a:gd name="connsiteY21" fmla="*/ 270406 h 291380"/>
                  <a:gd name="connsiteX22" fmla="*/ 103287 w 233811"/>
                  <a:gd name="connsiteY22" fmla="*/ 274852 h 291380"/>
                  <a:gd name="connsiteX23" fmla="*/ 98557 w 233811"/>
                  <a:gd name="connsiteY23" fmla="*/ 278272 h 291380"/>
                  <a:gd name="connsiteX24" fmla="*/ 70515 w 233811"/>
                  <a:gd name="connsiteY24" fmla="*/ 291380 h 291380"/>
                  <a:gd name="connsiteX25" fmla="*/ 69832 w 233811"/>
                  <a:gd name="connsiteY25" fmla="*/ 281235 h 291380"/>
                  <a:gd name="connsiteX26" fmla="*/ 80490 w 233811"/>
                  <a:gd name="connsiteY26" fmla="*/ 272242 h 291380"/>
                  <a:gd name="connsiteX27" fmla="*/ 80490 w 233811"/>
                  <a:gd name="connsiteY27" fmla="*/ 270577 h 291380"/>
                  <a:gd name="connsiteX28" fmla="*/ 86645 w 233811"/>
                  <a:gd name="connsiteY28" fmla="*/ 270577 h 291380"/>
                  <a:gd name="connsiteX29" fmla="*/ 93997 w 233811"/>
                  <a:gd name="connsiteY29" fmla="*/ 259634 h 291380"/>
                  <a:gd name="connsiteX30" fmla="*/ 98044 w 233811"/>
                  <a:gd name="connsiteY30" fmla="*/ 255702 h 291380"/>
                  <a:gd name="connsiteX31" fmla="*/ 102376 w 233811"/>
                  <a:gd name="connsiteY31" fmla="*/ 255702 h 291380"/>
                  <a:gd name="connsiteX32" fmla="*/ 118562 w 233811"/>
                  <a:gd name="connsiteY32" fmla="*/ 255702 h 291380"/>
                  <a:gd name="connsiteX33" fmla="*/ 128650 w 233811"/>
                  <a:gd name="connsiteY33" fmla="*/ 244588 h 291380"/>
                  <a:gd name="connsiteX34" fmla="*/ 126712 w 233811"/>
                  <a:gd name="connsiteY34" fmla="*/ 240256 h 291380"/>
                  <a:gd name="connsiteX35" fmla="*/ 109956 w 233811"/>
                  <a:gd name="connsiteY35" fmla="*/ 245443 h 291380"/>
                  <a:gd name="connsiteX36" fmla="*/ 107505 w 233811"/>
                  <a:gd name="connsiteY36" fmla="*/ 239743 h 291380"/>
                  <a:gd name="connsiteX37" fmla="*/ 100438 w 233811"/>
                  <a:gd name="connsiteY37" fmla="*/ 239002 h 291380"/>
                  <a:gd name="connsiteX38" fmla="*/ 88241 w 233811"/>
                  <a:gd name="connsiteY38" fmla="*/ 239914 h 291380"/>
                  <a:gd name="connsiteX39" fmla="*/ 75645 w 233811"/>
                  <a:gd name="connsiteY39" fmla="*/ 238489 h 291380"/>
                  <a:gd name="connsiteX40" fmla="*/ 71684 w 233811"/>
                  <a:gd name="connsiteY40" fmla="*/ 227837 h 291380"/>
                  <a:gd name="connsiteX41" fmla="*/ 71712 w 233811"/>
                  <a:gd name="connsiteY41" fmla="*/ 227774 h 291380"/>
                  <a:gd name="connsiteX42" fmla="*/ 85676 w 233811"/>
                  <a:gd name="connsiteY42" fmla="*/ 222417 h 291380"/>
                  <a:gd name="connsiteX43" fmla="*/ 93427 w 233811"/>
                  <a:gd name="connsiteY43" fmla="*/ 219909 h 291380"/>
                  <a:gd name="connsiteX44" fmla="*/ 101179 w 233811"/>
                  <a:gd name="connsiteY44" fmla="*/ 213469 h 291380"/>
                  <a:gd name="connsiteX45" fmla="*/ 91034 w 233811"/>
                  <a:gd name="connsiteY45" fmla="*/ 210163 h 291380"/>
                  <a:gd name="connsiteX46" fmla="*/ 85334 w 233811"/>
                  <a:gd name="connsiteY46" fmla="*/ 200075 h 291380"/>
                  <a:gd name="connsiteX47" fmla="*/ 90692 w 233811"/>
                  <a:gd name="connsiteY47" fmla="*/ 188676 h 291380"/>
                  <a:gd name="connsiteX48" fmla="*/ 95650 w 233811"/>
                  <a:gd name="connsiteY48" fmla="*/ 188106 h 291380"/>
                  <a:gd name="connsiteX49" fmla="*/ 100837 w 233811"/>
                  <a:gd name="connsiteY49" fmla="*/ 185313 h 291380"/>
                  <a:gd name="connsiteX50" fmla="*/ 103117 w 233811"/>
                  <a:gd name="connsiteY50" fmla="*/ 192324 h 291380"/>
                  <a:gd name="connsiteX51" fmla="*/ 118049 w 233811"/>
                  <a:gd name="connsiteY51" fmla="*/ 189645 h 291380"/>
                  <a:gd name="connsiteX52" fmla="*/ 120044 w 233811"/>
                  <a:gd name="connsiteY52" fmla="*/ 188904 h 291380"/>
                  <a:gd name="connsiteX53" fmla="*/ 120842 w 233811"/>
                  <a:gd name="connsiteY53" fmla="*/ 186681 h 291380"/>
                  <a:gd name="connsiteX54" fmla="*/ 125458 w 233811"/>
                  <a:gd name="connsiteY54" fmla="*/ 154935 h 291380"/>
                  <a:gd name="connsiteX55" fmla="*/ 110640 w 233811"/>
                  <a:gd name="connsiteY55" fmla="*/ 149919 h 291380"/>
                  <a:gd name="connsiteX56" fmla="*/ 115370 w 233811"/>
                  <a:gd name="connsiteY56" fmla="*/ 139774 h 291380"/>
                  <a:gd name="connsiteX57" fmla="*/ 118163 w 233811"/>
                  <a:gd name="connsiteY57" fmla="*/ 129344 h 291380"/>
                  <a:gd name="connsiteX58" fmla="*/ 103743 w 233811"/>
                  <a:gd name="connsiteY58" fmla="*/ 125754 h 291380"/>
                  <a:gd name="connsiteX59" fmla="*/ 99241 w 233811"/>
                  <a:gd name="connsiteY59" fmla="*/ 134303 h 291380"/>
                  <a:gd name="connsiteX60" fmla="*/ 88868 w 233811"/>
                  <a:gd name="connsiteY60" fmla="*/ 135671 h 291380"/>
                  <a:gd name="connsiteX61" fmla="*/ 78780 w 233811"/>
                  <a:gd name="connsiteY61" fmla="*/ 133277 h 291380"/>
                  <a:gd name="connsiteX62" fmla="*/ 77156 w 233811"/>
                  <a:gd name="connsiteY62" fmla="*/ 124973 h 291380"/>
                  <a:gd name="connsiteX63" fmla="*/ 77811 w 233811"/>
                  <a:gd name="connsiteY63" fmla="*/ 124158 h 291380"/>
                  <a:gd name="connsiteX64" fmla="*/ 86702 w 233811"/>
                  <a:gd name="connsiteY64" fmla="*/ 117432 h 291380"/>
                  <a:gd name="connsiteX65" fmla="*/ 86189 w 233811"/>
                  <a:gd name="connsiteY65" fmla="*/ 103982 h 291380"/>
                  <a:gd name="connsiteX66" fmla="*/ 86588 w 233811"/>
                  <a:gd name="connsiteY66" fmla="*/ 92583 h 291380"/>
                  <a:gd name="connsiteX67" fmla="*/ 78267 w 233811"/>
                  <a:gd name="connsiteY67" fmla="*/ 95318 h 291380"/>
                  <a:gd name="connsiteX68" fmla="*/ 75075 w 233811"/>
                  <a:gd name="connsiteY68" fmla="*/ 104837 h 291380"/>
                  <a:gd name="connsiteX69" fmla="*/ 67267 w 233811"/>
                  <a:gd name="connsiteY69" fmla="*/ 109282 h 291380"/>
                  <a:gd name="connsiteX70" fmla="*/ 64189 w 233811"/>
                  <a:gd name="connsiteY70" fmla="*/ 94008 h 291380"/>
                  <a:gd name="connsiteX71" fmla="*/ 54158 w 233811"/>
                  <a:gd name="connsiteY71" fmla="*/ 85116 h 291380"/>
                  <a:gd name="connsiteX72" fmla="*/ 51479 w 233811"/>
                  <a:gd name="connsiteY72" fmla="*/ 73717 h 291380"/>
                  <a:gd name="connsiteX73" fmla="*/ 59345 w 233811"/>
                  <a:gd name="connsiteY73" fmla="*/ 56049 h 291380"/>
                  <a:gd name="connsiteX74" fmla="*/ 63277 w 233811"/>
                  <a:gd name="connsiteY74" fmla="*/ 46930 h 291380"/>
                  <a:gd name="connsiteX75" fmla="*/ 65272 w 233811"/>
                  <a:gd name="connsiteY75" fmla="*/ 42370 h 291380"/>
                  <a:gd name="connsiteX76" fmla="*/ 74391 w 233811"/>
                  <a:gd name="connsiteY76" fmla="*/ 21111 h 291380"/>
                  <a:gd name="connsiteX77" fmla="*/ 80375 w 233811"/>
                  <a:gd name="connsiteY77" fmla="*/ 11080 h 291380"/>
                  <a:gd name="connsiteX78" fmla="*/ 91148 w 233811"/>
                  <a:gd name="connsiteY78" fmla="*/ 9427 h 291380"/>
                  <a:gd name="connsiteX79" fmla="*/ 93370 w 233811"/>
                  <a:gd name="connsiteY79" fmla="*/ 11194 h 291380"/>
                  <a:gd name="connsiteX80" fmla="*/ 108474 w 233811"/>
                  <a:gd name="connsiteY80" fmla="*/ 5837 h 291380"/>
                  <a:gd name="connsiteX81" fmla="*/ 118163 w 233811"/>
                  <a:gd name="connsiteY81" fmla="*/ 479 h 291380"/>
                  <a:gd name="connsiteX82" fmla="*/ 114858 w 233811"/>
                  <a:gd name="connsiteY82" fmla="*/ 10909 h 291380"/>
                  <a:gd name="connsiteX83" fmla="*/ 111495 w 233811"/>
                  <a:gd name="connsiteY83" fmla="*/ 21396 h 291380"/>
                  <a:gd name="connsiteX84" fmla="*/ 99070 w 233811"/>
                  <a:gd name="connsiteY84" fmla="*/ 27210 h 291380"/>
                  <a:gd name="connsiteX85" fmla="*/ 95308 w 233811"/>
                  <a:gd name="connsiteY85" fmla="*/ 39464 h 291380"/>
                  <a:gd name="connsiteX86" fmla="*/ 106844 w 233811"/>
                  <a:gd name="connsiteY86" fmla="*/ 42177 h 291380"/>
                  <a:gd name="connsiteX87" fmla="*/ 110070 w 233811"/>
                  <a:gd name="connsiteY87" fmla="*/ 38495 h 291380"/>
                  <a:gd name="connsiteX88" fmla="*/ 152018 w 233811"/>
                  <a:gd name="connsiteY88" fmla="*/ 40433 h 291380"/>
                  <a:gd name="connsiteX89" fmla="*/ 141132 w 233811"/>
                  <a:gd name="connsiteY89" fmla="*/ 51433 h 291380"/>
                  <a:gd name="connsiteX90" fmla="*/ 141075 w 233811"/>
                  <a:gd name="connsiteY90" fmla="*/ 51433 h 291380"/>
                  <a:gd name="connsiteX91" fmla="*/ 139137 w 233811"/>
                  <a:gd name="connsiteY91" fmla="*/ 57132 h 291380"/>
                  <a:gd name="connsiteX92" fmla="*/ 132982 w 233811"/>
                  <a:gd name="connsiteY92" fmla="*/ 59697 h 291380"/>
                  <a:gd name="connsiteX93" fmla="*/ 128194 w 233811"/>
                  <a:gd name="connsiteY93" fmla="*/ 68303 h 291380"/>
                  <a:gd name="connsiteX94" fmla="*/ 122894 w 233811"/>
                  <a:gd name="connsiteY94" fmla="*/ 87909 h 291380"/>
                  <a:gd name="connsiteX95" fmla="*/ 121241 w 233811"/>
                  <a:gd name="connsiteY95" fmla="*/ 103070 h 291380"/>
                  <a:gd name="connsiteX96" fmla="*/ 145749 w 233811"/>
                  <a:gd name="connsiteY96" fmla="*/ 103070 h 291380"/>
                  <a:gd name="connsiteX97" fmla="*/ 144780 w 233811"/>
                  <a:gd name="connsiteY97" fmla="*/ 116464 h 291380"/>
                  <a:gd name="connsiteX98" fmla="*/ 149852 w 233811"/>
                  <a:gd name="connsiteY98" fmla="*/ 119085 h 291380"/>
                  <a:gd name="connsiteX99" fmla="*/ 161251 w 233811"/>
                  <a:gd name="connsiteY99" fmla="*/ 137153 h 291380"/>
                  <a:gd name="connsiteX100" fmla="*/ 161251 w 233811"/>
                  <a:gd name="connsiteY100" fmla="*/ 143935 h 291380"/>
                  <a:gd name="connsiteX101" fmla="*/ 166039 w 233811"/>
                  <a:gd name="connsiteY101" fmla="*/ 147811 h 291380"/>
                  <a:gd name="connsiteX102" fmla="*/ 169060 w 233811"/>
                  <a:gd name="connsiteY102" fmla="*/ 147013 h 291380"/>
                  <a:gd name="connsiteX103" fmla="*/ 171282 w 233811"/>
                  <a:gd name="connsiteY103" fmla="*/ 152712 h 291380"/>
                  <a:gd name="connsiteX104" fmla="*/ 176982 w 233811"/>
                  <a:gd name="connsiteY104" fmla="*/ 160122 h 291380"/>
                  <a:gd name="connsiteX105" fmla="*/ 179489 w 233811"/>
                  <a:gd name="connsiteY105" fmla="*/ 168614 h 291380"/>
                  <a:gd name="connsiteX106" fmla="*/ 186500 w 233811"/>
                  <a:gd name="connsiteY106" fmla="*/ 170780 h 291380"/>
                  <a:gd name="connsiteX107" fmla="*/ 191800 w 233811"/>
                  <a:gd name="connsiteY107" fmla="*/ 205603 h 291380"/>
                  <a:gd name="connsiteX108" fmla="*/ 46293 w 233811"/>
                  <a:gd name="connsiteY108" fmla="*/ 47101 h 291380"/>
                  <a:gd name="connsiteX109" fmla="*/ 42531 w 233811"/>
                  <a:gd name="connsiteY109" fmla="*/ 49324 h 291380"/>
                  <a:gd name="connsiteX110" fmla="*/ 41733 w 233811"/>
                  <a:gd name="connsiteY110" fmla="*/ 51319 h 291380"/>
                  <a:gd name="connsiteX111" fmla="*/ 40137 w 233811"/>
                  <a:gd name="connsiteY111" fmla="*/ 57018 h 291380"/>
                  <a:gd name="connsiteX112" fmla="*/ 40137 w 233811"/>
                  <a:gd name="connsiteY112" fmla="*/ 57816 h 291380"/>
                  <a:gd name="connsiteX113" fmla="*/ 40707 w 233811"/>
                  <a:gd name="connsiteY113" fmla="*/ 58158 h 291380"/>
                  <a:gd name="connsiteX114" fmla="*/ 51308 w 233811"/>
                  <a:gd name="connsiteY114" fmla="*/ 56676 h 291380"/>
                  <a:gd name="connsiteX115" fmla="*/ 54614 w 233811"/>
                  <a:gd name="connsiteY115" fmla="*/ 52458 h 291380"/>
                  <a:gd name="connsiteX116" fmla="*/ 54614 w 233811"/>
                  <a:gd name="connsiteY116" fmla="*/ 49210 h 291380"/>
                  <a:gd name="connsiteX117" fmla="*/ 50909 w 233811"/>
                  <a:gd name="connsiteY117" fmla="*/ 46645 h 291380"/>
                  <a:gd name="connsiteX118" fmla="*/ 46464 w 233811"/>
                  <a:gd name="connsiteY118" fmla="*/ 47101 h 291380"/>
                  <a:gd name="connsiteX119" fmla="*/ 44697 w 233811"/>
                  <a:gd name="connsiteY119" fmla="*/ 15184 h 291380"/>
                  <a:gd name="connsiteX120" fmla="*/ 39966 w 233811"/>
                  <a:gd name="connsiteY120" fmla="*/ 18148 h 291380"/>
                  <a:gd name="connsiteX121" fmla="*/ 36262 w 233811"/>
                  <a:gd name="connsiteY121" fmla="*/ 22536 h 291380"/>
                  <a:gd name="connsiteX122" fmla="*/ 30562 w 233811"/>
                  <a:gd name="connsiteY122" fmla="*/ 25044 h 291380"/>
                  <a:gd name="connsiteX123" fmla="*/ 29365 w 233811"/>
                  <a:gd name="connsiteY123" fmla="*/ 25785 h 291380"/>
                  <a:gd name="connsiteX124" fmla="*/ 29365 w 233811"/>
                  <a:gd name="connsiteY124" fmla="*/ 29205 h 291380"/>
                  <a:gd name="connsiteX125" fmla="*/ 31075 w 233811"/>
                  <a:gd name="connsiteY125" fmla="*/ 32396 h 291380"/>
                  <a:gd name="connsiteX126" fmla="*/ 31075 w 233811"/>
                  <a:gd name="connsiteY126" fmla="*/ 41002 h 291380"/>
                  <a:gd name="connsiteX127" fmla="*/ 37858 w 233811"/>
                  <a:gd name="connsiteY127" fmla="*/ 34801 h 291380"/>
                  <a:gd name="connsiteX128" fmla="*/ 37858 w 233811"/>
                  <a:gd name="connsiteY128" fmla="*/ 34220 h 291380"/>
                  <a:gd name="connsiteX129" fmla="*/ 37858 w 233811"/>
                  <a:gd name="connsiteY129" fmla="*/ 33137 h 291380"/>
                  <a:gd name="connsiteX130" fmla="*/ 40593 w 233811"/>
                  <a:gd name="connsiteY130" fmla="*/ 32624 h 291380"/>
                  <a:gd name="connsiteX131" fmla="*/ 44697 w 233811"/>
                  <a:gd name="connsiteY131" fmla="*/ 30686 h 291380"/>
                  <a:gd name="connsiteX132" fmla="*/ 46578 w 233811"/>
                  <a:gd name="connsiteY132" fmla="*/ 26469 h 291380"/>
                  <a:gd name="connsiteX133" fmla="*/ 45666 w 233811"/>
                  <a:gd name="connsiteY133" fmla="*/ 16039 h 291380"/>
                  <a:gd name="connsiteX134" fmla="*/ 45210 w 233811"/>
                  <a:gd name="connsiteY134" fmla="*/ 15298 h 291380"/>
                  <a:gd name="connsiteX135" fmla="*/ 44868 w 233811"/>
                  <a:gd name="connsiteY135" fmla="*/ 15184 h 291380"/>
                  <a:gd name="connsiteX136" fmla="*/ 17168 w 233811"/>
                  <a:gd name="connsiteY136" fmla="*/ 167531 h 291380"/>
                  <a:gd name="connsiteX137" fmla="*/ 23666 w 233811"/>
                  <a:gd name="connsiteY137" fmla="*/ 167531 h 291380"/>
                  <a:gd name="connsiteX138" fmla="*/ 27257 w 233811"/>
                  <a:gd name="connsiteY138" fmla="*/ 158868 h 291380"/>
                  <a:gd name="connsiteX139" fmla="*/ 31303 w 233811"/>
                  <a:gd name="connsiteY139" fmla="*/ 158013 h 291380"/>
                  <a:gd name="connsiteX140" fmla="*/ 42702 w 233811"/>
                  <a:gd name="connsiteY140" fmla="*/ 161603 h 291380"/>
                  <a:gd name="connsiteX141" fmla="*/ 48401 w 233811"/>
                  <a:gd name="connsiteY141" fmla="*/ 157329 h 291380"/>
                  <a:gd name="connsiteX142" fmla="*/ 57863 w 233811"/>
                  <a:gd name="connsiteY142" fmla="*/ 158127 h 291380"/>
                  <a:gd name="connsiteX143" fmla="*/ 63562 w 233811"/>
                  <a:gd name="connsiteY143" fmla="*/ 139774 h 291380"/>
                  <a:gd name="connsiteX144" fmla="*/ 57179 w 233811"/>
                  <a:gd name="connsiteY144" fmla="*/ 136526 h 291380"/>
                  <a:gd name="connsiteX145" fmla="*/ 56381 w 233811"/>
                  <a:gd name="connsiteY145" fmla="*/ 129800 h 291380"/>
                  <a:gd name="connsiteX146" fmla="*/ 49940 w 233811"/>
                  <a:gd name="connsiteY146" fmla="*/ 126609 h 291380"/>
                  <a:gd name="connsiteX147" fmla="*/ 44224 w 233811"/>
                  <a:gd name="connsiteY147" fmla="*/ 116971 h 291380"/>
                  <a:gd name="connsiteX148" fmla="*/ 43386 w 233811"/>
                  <a:gd name="connsiteY148" fmla="*/ 116805 h 291380"/>
                  <a:gd name="connsiteX149" fmla="*/ 38427 w 233811"/>
                  <a:gd name="connsiteY149" fmla="*/ 123132 h 291380"/>
                  <a:gd name="connsiteX150" fmla="*/ 34096 w 233811"/>
                  <a:gd name="connsiteY150" fmla="*/ 123873 h 291380"/>
                  <a:gd name="connsiteX151" fmla="*/ 30790 w 233811"/>
                  <a:gd name="connsiteY151" fmla="*/ 129230 h 291380"/>
                  <a:gd name="connsiteX152" fmla="*/ 25946 w 233811"/>
                  <a:gd name="connsiteY152" fmla="*/ 132194 h 291380"/>
                  <a:gd name="connsiteX153" fmla="*/ 24692 w 233811"/>
                  <a:gd name="connsiteY153" fmla="*/ 128717 h 291380"/>
                  <a:gd name="connsiteX154" fmla="*/ 14205 w 233811"/>
                  <a:gd name="connsiteY154" fmla="*/ 128717 h 291380"/>
                  <a:gd name="connsiteX155" fmla="*/ 10101 w 233811"/>
                  <a:gd name="connsiteY155" fmla="*/ 126837 h 291380"/>
                  <a:gd name="connsiteX156" fmla="*/ 343 w 233811"/>
                  <a:gd name="connsiteY156" fmla="*/ 132012 h 291380"/>
                  <a:gd name="connsiteX157" fmla="*/ 1780 w 233811"/>
                  <a:gd name="connsiteY157" fmla="*/ 139261 h 291380"/>
                  <a:gd name="connsiteX158" fmla="*/ 9189 w 233811"/>
                  <a:gd name="connsiteY158" fmla="*/ 142909 h 291380"/>
                  <a:gd name="connsiteX159" fmla="*/ 13008 w 233811"/>
                  <a:gd name="connsiteY159" fmla="*/ 143935 h 291380"/>
                  <a:gd name="connsiteX160" fmla="*/ 14718 w 233811"/>
                  <a:gd name="connsiteY160" fmla="*/ 147184 h 291380"/>
                  <a:gd name="connsiteX161" fmla="*/ 9417 w 233811"/>
                  <a:gd name="connsiteY161" fmla="*/ 149634 h 291380"/>
                  <a:gd name="connsiteX162" fmla="*/ 7251 w 233811"/>
                  <a:gd name="connsiteY162" fmla="*/ 150261 h 291380"/>
                  <a:gd name="connsiteX163" fmla="*/ 17339 w 233811"/>
                  <a:gd name="connsiteY163" fmla="*/ 167531 h 29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233811" h="291380">
                    <a:moveTo>
                      <a:pt x="217277" y="204520"/>
                    </a:moveTo>
                    <a:cubicBezTo>
                      <a:pt x="218810" y="204361"/>
                      <a:pt x="220360" y="204657"/>
                      <a:pt x="221723" y="205375"/>
                    </a:cubicBezTo>
                    <a:cubicBezTo>
                      <a:pt x="222885" y="206390"/>
                      <a:pt x="223848" y="207604"/>
                      <a:pt x="224572" y="208966"/>
                    </a:cubicBezTo>
                    <a:cubicBezTo>
                      <a:pt x="226630" y="211571"/>
                      <a:pt x="230004" y="212745"/>
                      <a:pt x="233235" y="211987"/>
                    </a:cubicBezTo>
                    <a:cubicBezTo>
                      <a:pt x="234409" y="214124"/>
                      <a:pt x="233737" y="216808"/>
                      <a:pt x="231697" y="218142"/>
                    </a:cubicBezTo>
                    <a:cubicBezTo>
                      <a:pt x="229696" y="219413"/>
                      <a:pt x="227399" y="220143"/>
                      <a:pt x="225028" y="220251"/>
                    </a:cubicBezTo>
                    <a:lnTo>
                      <a:pt x="209811" y="222303"/>
                    </a:lnTo>
                    <a:cubicBezTo>
                      <a:pt x="210774" y="224930"/>
                      <a:pt x="211008" y="227763"/>
                      <a:pt x="210495" y="230510"/>
                    </a:cubicBezTo>
                    <a:cubicBezTo>
                      <a:pt x="209765" y="233291"/>
                      <a:pt x="206972" y="235001"/>
                      <a:pt x="204168" y="234386"/>
                    </a:cubicBezTo>
                    <a:cubicBezTo>
                      <a:pt x="204168" y="236323"/>
                      <a:pt x="204168" y="238261"/>
                      <a:pt x="204624" y="240085"/>
                    </a:cubicBezTo>
                    <a:cubicBezTo>
                      <a:pt x="201284" y="239641"/>
                      <a:pt x="198201" y="241943"/>
                      <a:pt x="197671" y="245272"/>
                    </a:cubicBezTo>
                    <a:lnTo>
                      <a:pt x="216935" y="249033"/>
                    </a:lnTo>
                    <a:cubicBezTo>
                      <a:pt x="219215" y="250971"/>
                      <a:pt x="217505" y="255132"/>
                      <a:pt x="214655" y="256101"/>
                    </a:cubicBezTo>
                    <a:cubicBezTo>
                      <a:pt x="211669" y="256710"/>
                      <a:pt x="208557" y="256249"/>
                      <a:pt x="205878" y="254790"/>
                    </a:cubicBezTo>
                    <a:cubicBezTo>
                      <a:pt x="205878" y="261800"/>
                      <a:pt x="196645" y="264593"/>
                      <a:pt x="189635" y="264194"/>
                    </a:cubicBezTo>
                    <a:cubicBezTo>
                      <a:pt x="182624" y="263795"/>
                      <a:pt x="174645" y="262370"/>
                      <a:pt x="169572" y="267215"/>
                    </a:cubicBezTo>
                    <a:cubicBezTo>
                      <a:pt x="168632" y="268400"/>
                      <a:pt x="167538" y="269455"/>
                      <a:pt x="166324" y="270349"/>
                    </a:cubicBezTo>
                    <a:cubicBezTo>
                      <a:pt x="159826" y="274054"/>
                      <a:pt x="153158" y="261401"/>
                      <a:pt x="146148" y="263966"/>
                    </a:cubicBezTo>
                    <a:cubicBezTo>
                      <a:pt x="143754" y="264821"/>
                      <a:pt x="142329" y="267272"/>
                      <a:pt x="140106" y="268525"/>
                    </a:cubicBezTo>
                    <a:cubicBezTo>
                      <a:pt x="135376" y="271261"/>
                      <a:pt x="129676" y="267671"/>
                      <a:pt x="124319" y="266588"/>
                    </a:cubicBezTo>
                    <a:cubicBezTo>
                      <a:pt x="120523" y="266092"/>
                      <a:pt x="116670" y="266229"/>
                      <a:pt x="112920" y="266987"/>
                    </a:cubicBezTo>
                    <a:cubicBezTo>
                      <a:pt x="110053" y="267072"/>
                      <a:pt x="107346" y="268309"/>
                      <a:pt x="105396" y="270406"/>
                    </a:cubicBezTo>
                    <a:cubicBezTo>
                      <a:pt x="104427" y="271774"/>
                      <a:pt x="104200" y="273484"/>
                      <a:pt x="103287" y="274852"/>
                    </a:cubicBezTo>
                    <a:cubicBezTo>
                      <a:pt x="102045" y="276396"/>
                      <a:pt x="100409" y="277576"/>
                      <a:pt x="98557" y="278272"/>
                    </a:cubicBezTo>
                    <a:lnTo>
                      <a:pt x="70515" y="291380"/>
                    </a:lnTo>
                    <a:lnTo>
                      <a:pt x="69832" y="281235"/>
                    </a:lnTo>
                    <a:cubicBezTo>
                      <a:pt x="75258" y="281697"/>
                      <a:pt x="80028" y="277667"/>
                      <a:pt x="80490" y="272242"/>
                    </a:cubicBezTo>
                    <a:cubicBezTo>
                      <a:pt x="80535" y="271689"/>
                      <a:pt x="80535" y="271130"/>
                      <a:pt x="80490" y="270577"/>
                    </a:cubicBezTo>
                    <a:lnTo>
                      <a:pt x="86645" y="270577"/>
                    </a:lnTo>
                    <a:lnTo>
                      <a:pt x="93997" y="259634"/>
                    </a:lnTo>
                    <a:cubicBezTo>
                      <a:pt x="94921" y="257947"/>
                      <a:pt x="96328" y="256574"/>
                      <a:pt x="98044" y="255702"/>
                    </a:cubicBezTo>
                    <a:cubicBezTo>
                      <a:pt x="99463" y="255331"/>
                      <a:pt x="100956" y="255331"/>
                      <a:pt x="102376" y="255702"/>
                    </a:cubicBezTo>
                    <a:cubicBezTo>
                      <a:pt x="107727" y="256665"/>
                      <a:pt x="113210" y="256665"/>
                      <a:pt x="118562" y="255702"/>
                    </a:cubicBezTo>
                    <a:cubicBezTo>
                      <a:pt x="124045" y="254693"/>
                      <a:pt x="128177" y="250145"/>
                      <a:pt x="128650" y="244588"/>
                    </a:cubicBezTo>
                    <a:cubicBezTo>
                      <a:pt x="128713" y="242923"/>
                      <a:pt x="128000" y="241322"/>
                      <a:pt x="126712" y="240256"/>
                    </a:cubicBezTo>
                    <a:cubicBezTo>
                      <a:pt x="121583" y="236722"/>
                      <a:pt x="115712" y="247950"/>
                      <a:pt x="109956" y="245443"/>
                    </a:cubicBezTo>
                    <a:cubicBezTo>
                      <a:pt x="110725" y="243197"/>
                      <a:pt x="109665" y="240729"/>
                      <a:pt x="107505" y="239743"/>
                    </a:cubicBezTo>
                    <a:cubicBezTo>
                      <a:pt x="105259" y="238871"/>
                      <a:pt x="102820" y="238615"/>
                      <a:pt x="100438" y="239002"/>
                    </a:cubicBezTo>
                    <a:lnTo>
                      <a:pt x="88241" y="239914"/>
                    </a:lnTo>
                    <a:cubicBezTo>
                      <a:pt x="83989" y="240598"/>
                      <a:pt x="79635" y="240108"/>
                      <a:pt x="75645" y="238489"/>
                    </a:cubicBezTo>
                    <a:cubicBezTo>
                      <a:pt x="71610" y="236643"/>
                      <a:pt x="69837" y="231872"/>
                      <a:pt x="71684" y="227837"/>
                    </a:cubicBezTo>
                    <a:cubicBezTo>
                      <a:pt x="71695" y="227814"/>
                      <a:pt x="71701" y="227797"/>
                      <a:pt x="71712" y="227774"/>
                    </a:cubicBezTo>
                    <a:cubicBezTo>
                      <a:pt x="76557" y="229541"/>
                      <a:pt x="81116" y="224867"/>
                      <a:pt x="85676" y="222417"/>
                    </a:cubicBezTo>
                    <a:cubicBezTo>
                      <a:pt x="88104" y="221157"/>
                      <a:pt x="90720" y="220308"/>
                      <a:pt x="93427" y="219909"/>
                    </a:cubicBezTo>
                    <a:cubicBezTo>
                      <a:pt x="97189" y="219225"/>
                      <a:pt x="102433" y="217116"/>
                      <a:pt x="101179" y="213469"/>
                    </a:cubicBezTo>
                    <a:cubicBezTo>
                      <a:pt x="99925" y="209821"/>
                      <a:pt x="94624" y="211246"/>
                      <a:pt x="91034" y="210163"/>
                    </a:cubicBezTo>
                    <a:cubicBezTo>
                      <a:pt x="86970" y="208595"/>
                      <a:pt x="84582" y="204366"/>
                      <a:pt x="85334" y="200075"/>
                    </a:cubicBezTo>
                    <a:cubicBezTo>
                      <a:pt x="86189" y="195903"/>
                      <a:pt x="88024" y="191993"/>
                      <a:pt x="90692" y="188676"/>
                    </a:cubicBezTo>
                    <a:lnTo>
                      <a:pt x="95650" y="188106"/>
                    </a:lnTo>
                    <a:cubicBezTo>
                      <a:pt x="94852" y="185655"/>
                      <a:pt x="98728" y="183831"/>
                      <a:pt x="100837" y="185313"/>
                    </a:cubicBezTo>
                    <a:cubicBezTo>
                      <a:pt x="102712" y="187126"/>
                      <a:pt x="103567" y="189753"/>
                      <a:pt x="103117" y="192324"/>
                    </a:cubicBezTo>
                    <a:lnTo>
                      <a:pt x="118049" y="189645"/>
                    </a:lnTo>
                    <a:cubicBezTo>
                      <a:pt x="118773" y="189605"/>
                      <a:pt x="119468" y="189348"/>
                      <a:pt x="120044" y="188904"/>
                    </a:cubicBezTo>
                    <a:cubicBezTo>
                      <a:pt x="120540" y="188265"/>
                      <a:pt x="120819" y="187490"/>
                      <a:pt x="120842" y="186681"/>
                    </a:cubicBezTo>
                    <a:lnTo>
                      <a:pt x="125458" y="154935"/>
                    </a:lnTo>
                    <a:cubicBezTo>
                      <a:pt x="119759" y="155904"/>
                      <a:pt x="111894" y="155562"/>
                      <a:pt x="110640" y="149919"/>
                    </a:cubicBezTo>
                    <a:cubicBezTo>
                      <a:pt x="109785" y="146158"/>
                      <a:pt x="112805" y="142738"/>
                      <a:pt x="115370" y="139774"/>
                    </a:cubicBezTo>
                    <a:cubicBezTo>
                      <a:pt x="117935" y="136811"/>
                      <a:pt x="120215" y="132650"/>
                      <a:pt x="118163" y="129344"/>
                    </a:cubicBezTo>
                    <a:lnTo>
                      <a:pt x="103743" y="125754"/>
                    </a:lnTo>
                    <a:cubicBezTo>
                      <a:pt x="104467" y="129310"/>
                      <a:pt x="102581" y="132884"/>
                      <a:pt x="99241" y="134303"/>
                    </a:cubicBezTo>
                    <a:cubicBezTo>
                      <a:pt x="95935" y="135557"/>
                      <a:pt x="92385" y="136024"/>
                      <a:pt x="88868" y="135671"/>
                    </a:cubicBezTo>
                    <a:cubicBezTo>
                      <a:pt x="85340" y="135916"/>
                      <a:pt x="81823" y="135078"/>
                      <a:pt x="78780" y="133277"/>
                    </a:cubicBezTo>
                    <a:cubicBezTo>
                      <a:pt x="76038" y="131430"/>
                      <a:pt x="75309" y="127714"/>
                      <a:pt x="77156" y="124973"/>
                    </a:cubicBezTo>
                    <a:cubicBezTo>
                      <a:pt x="77349" y="124682"/>
                      <a:pt x="77566" y="124409"/>
                      <a:pt x="77811" y="124158"/>
                    </a:cubicBezTo>
                    <a:cubicBezTo>
                      <a:pt x="81515" y="126666"/>
                      <a:pt x="86360" y="121935"/>
                      <a:pt x="86702" y="117432"/>
                    </a:cubicBezTo>
                    <a:cubicBezTo>
                      <a:pt x="86275" y="112964"/>
                      <a:pt x="86103" y="108473"/>
                      <a:pt x="86189" y="103982"/>
                    </a:cubicBezTo>
                    <a:cubicBezTo>
                      <a:pt x="86930" y="100049"/>
                      <a:pt x="89609" y="95261"/>
                      <a:pt x="86588" y="92583"/>
                    </a:cubicBezTo>
                    <a:cubicBezTo>
                      <a:pt x="83567" y="89904"/>
                      <a:pt x="79863" y="92583"/>
                      <a:pt x="78267" y="95318"/>
                    </a:cubicBezTo>
                    <a:cubicBezTo>
                      <a:pt x="76671" y="98054"/>
                      <a:pt x="76443" y="101759"/>
                      <a:pt x="75075" y="104837"/>
                    </a:cubicBezTo>
                    <a:cubicBezTo>
                      <a:pt x="73707" y="107914"/>
                      <a:pt x="70288" y="110536"/>
                      <a:pt x="67267" y="109282"/>
                    </a:cubicBezTo>
                    <a:cubicBezTo>
                      <a:pt x="62251" y="107002"/>
                      <a:pt x="65899" y="99194"/>
                      <a:pt x="64189" y="94008"/>
                    </a:cubicBezTo>
                    <a:cubicBezTo>
                      <a:pt x="62479" y="88821"/>
                      <a:pt x="57863" y="87738"/>
                      <a:pt x="54158" y="85116"/>
                    </a:cubicBezTo>
                    <a:cubicBezTo>
                      <a:pt x="50453" y="82495"/>
                      <a:pt x="47775" y="76396"/>
                      <a:pt x="51479" y="73717"/>
                    </a:cubicBezTo>
                    <a:cubicBezTo>
                      <a:pt x="54215" y="68018"/>
                      <a:pt x="56780" y="61977"/>
                      <a:pt x="59345" y="56049"/>
                    </a:cubicBezTo>
                    <a:lnTo>
                      <a:pt x="63277" y="46930"/>
                    </a:lnTo>
                    <a:lnTo>
                      <a:pt x="65272" y="42370"/>
                    </a:lnTo>
                    <a:cubicBezTo>
                      <a:pt x="68350" y="35303"/>
                      <a:pt x="71371" y="28179"/>
                      <a:pt x="74391" y="21111"/>
                    </a:cubicBezTo>
                    <a:cubicBezTo>
                      <a:pt x="75611" y="17361"/>
                      <a:pt x="77657" y="13936"/>
                      <a:pt x="80375" y="11080"/>
                    </a:cubicBezTo>
                    <a:cubicBezTo>
                      <a:pt x="83214" y="8225"/>
                      <a:pt x="87585" y="7558"/>
                      <a:pt x="91148" y="9427"/>
                    </a:cubicBezTo>
                    <a:cubicBezTo>
                      <a:pt x="91946" y="9997"/>
                      <a:pt x="92629" y="10681"/>
                      <a:pt x="93370" y="11194"/>
                    </a:cubicBezTo>
                    <a:cubicBezTo>
                      <a:pt x="98272" y="14500"/>
                      <a:pt x="104769" y="10510"/>
                      <a:pt x="108474" y="5837"/>
                    </a:cubicBezTo>
                    <a:cubicBezTo>
                      <a:pt x="110982" y="2645"/>
                      <a:pt x="114572" y="-1402"/>
                      <a:pt x="118163" y="479"/>
                    </a:cubicBezTo>
                    <a:cubicBezTo>
                      <a:pt x="120785" y="3500"/>
                      <a:pt x="117764" y="8117"/>
                      <a:pt x="114858" y="10909"/>
                    </a:cubicBezTo>
                    <a:cubicBezTo>
                      <a:pt x="111951" y="13702"/>
                      <a:pt x="109158" y="18319"/>
                      <a:pt x="111495" y="21396"/>
                    </a:cubicBezTo>
                    <a:cubicBezTo>
                      <a:pt x="106986" y="22434"/>
                      <a:pt x="102752" y="24411"/>
                      <a:pt x="99070" y="27210"/>
                    </a:cubicBezTo>
                    <a:cubicBezTo>
                      <a:pt x="95320" y="30065"/>
                      <a:pt x="93809" y="34995"/>
                      <a:pt x="95308" y="39464"/>
                    </a:cubicBezTo>
                    <a:cubicBezTo>
                      <a:pt x="97742" y="43396"/>
                      <a:pt x="102905" y="44610"/>
                      <a:pt x="106844" y="42177"/>
                    </a:cubicBezTo>
                    <a:cubicBezTo>
                      <a:pt x="108263" y="41299"/>
                      <a:pt x="109386" y="40016"/>
                      <a:pt x="110070" y="38495"/>
                    </a:cubicBezTo>
                    <a:cubicBezTo>
                      <a:pt x="124074" y="37115"/>
                      <a:pt x="138203" y="37765"/>
                      <a:pt x="152018" y="40433"/>
                    </a:cubicBezTo>
                    <a:cubicBezTo>
                      <a:pt x="152046" y="46474"/>
                      <a:pt x="147173" y="51398"/>
                      <a:pt x="141132" y="51433"/>
                    </a:cubicBezTo>
                    <a:cubicBezTo>
                      <a:pt x="141115" y="51433"/>
                      <a:pt x="141092" y="51433"/>
                      <a:pt x="141075" y="51433"/>
                    </a:cubicBezTo>
                    <a:cubicBezTo>
                      <a:pt x="142500" y="53142"/>
                      <a:pt x="141075" y="55878"/>
                      <a:pt x="139137" y="57132"/>
                    </a:cubicBezTo>
                    <a:cubicBezTo>
                      <a:pt x="137199" y="58386"/>
                      <a:pt x="134863" y="58500"/>
                      <a:pt x="132982" y="59697"/>
                    </a:cubicBezTo>
                    <a:cubicBezTo>
                      <a:pt x="130377" y="61874"/>
                      <a:pt x="128673" y="64940"/>
                      <a:pt x="128194" y="68303"/>
                    </a:cubicBezTo>
                    <a:lnTo>
                      <a:pt x="122894" y="87909"/>
                    </a:lnTo>
                    <a:cubicBezTo>
                      <a:pt x="121195" y="92771"/>
                      <a:pt x="120625" y="97957"/>
                      <a:pt x="121241" y="103070"/>
                    </a:cubicBezTo>
                    <a:cubicBezTo>
                      <a:pt x="129397" y="102414"/>
                      <a:pt x="137592" y="102414"/>
                      <a:pt x="145749" y="103070"/>
                    </a:cubicBezTo>
                    <a:cubicBezTo>
                      <a:pt x="143469" y="107344"/>
                      <a:pt x="141360" y="113101"/>
                      <a:pt x="144780" y="116464"/>
                    </a:cubicBezTo>
                    <a:cubicBezTo>
                      <a:pt x="146296" y="117638"/>
                      <a:pt x="148017" y="118527"/>
                      <a:pt x="149852" y="119085"/>
                    </a:cubicBezTo>
                    <a:cubicBezTo>
                      <a:pt x="156948" y="122254"/>
                      <a:pt x="161445" y="129384"/>
                      <a:pt x="161251" y="137153"/>
                    </a:cubicBezTo>
                    <a:cubicBezTo>
                      <a:pt x="160938" y="139404"/>
                      <a:pt x="160938" y="141684"/>
                      <a:pt x="161251" y="143935"/>
                    </a:cubicBezTo>
                    <a:cubicBezTo>
                      <a:pt x="161764" y="146158"/>
                      <a:pt x="163816" y="148267"/>
                      <a:pt x="166039" y="147811"/>
                    </a:cubicBezTo>
                    <a:cubicBezTo>
                      <a:pt x="167065" y="147811"/>
                      <a:pt x="168033" y="146842"/>
                      <a:pt x="169060" y="147013"/>
                    </a:cubicBezTo>
                    <a:cubicBezTo>
                      <a:pt x="171168" y="147355"/>
                      <a:pt x="170883" y="150432"/>
                      <a:pt x="171282" y="152712"/>
                    </a:cubicBezTo>
                    <a:cubicBezTo>
                      <a:pt x="171795" y="155904"/>
                      <a:pt x="174816" y="157899"/>
                      <a:pt x="176982" y="160122"/>
                    </a:cubicBezTo>
                    <a:cubicBezTo>
                      <a:pt x="179147" y="162344"/>
                      <a:pt x="181427" y="165821"/>
                      <a:pt x="179489" y="168614"/>
                    </a:cubicBezTo>
                    <a:cubicBezTo>
                      <a:pt x="182043" y="168124"/>
                      <a:pt x="184670" y="168939"/>
                      <a:pt x="186500" y="170780"/>
                    </a:cubicBezTo>
                    <a:cubicBezTo>
                      <a:pt x="191002" y="181802"/>
                      <a:pt x="192820" y="193737"/>
                      <a:pt x="191800" y="205603"/>
                    </a:cubicBezTo>
                    <a:close/>
                    <a:moveTo>
                      <a:pt x="46293" y="47101"/>
                    </a:moveTo>
                    <a:cubicBezTo>
                      <a:pt x="44822" y="47397"/>
                      <a:pt x="43500" y="48184"/>
                      <a:pt x="42531" y="49324"/>
                    </a:cubicBezTo>
                    <a:cubicBezTo>
                      <a:pt x="42183" y="49951"/>
                      <a:pt x="41915" y="50623"/>
                      <a:pt x="41733" y="51319"/>
                    </a:cubicBezTo>
                    <a:lnTo>
                      <a:pt x="40137" y="57018"/>
                    </a:lnTo>
                    <a:cubicBezTo>
                      <a:pt x="39995" y="57263"/>
                      <a:pt x="39995" y="57571"/>
                      <a:pt x="40137" y="57816"/>
                    </a:cubicBezTo>
                    <a:cubicBezTo>
                      <a:pt x="40263" y="58015"/>
                      <a:pt x="40474" y="58141"/>
                      <a:pt x="40707" y="58158"/>
                    </a:cubicBezTo>
                    <a:cubicBezTo>
                      <a:pt x="44304" y="58905"/>
                      <a:pt x="48054" y="58380"/>
                      <a:pt x="51308" y="56676"/>
                    </a:cubicBezTo>
                    <a:cubicBezTo>
                      <a:pt x="52870" y="55701"/>
                      <a:pt x="54038" y="54208"/>
                      <a:pt x="54614" y="52458"/>
                    </a:cubicBezTo>
                    <a:cubicBezTo>
                      <a:pt x="54985" y="51410"/>
                      <a:pt x="54985" y="50258"/>
                      <a:pt x="54614" y="49210"/>
                    </a:cubicBezTo>
                    <a:cubicBezTo>
                      <a:pt x="53919" y="47762"/>
                      <a:pt x="52511" y="46787"/>
                      <a:pt x="50909" y="46645"/>
                    </a:cubicBezTo>
                    <a:cubicBezTo>
                      <a:pt x="49410" y="46491"/>
                      <a:pt x="47900" y="46645"/>
                      <a:pt x="46464" y="47101"/>
                    </a:cubicBezTo>
                    <a:close/>
                    <a:moveTo>
                      <a:pt x="44697" y="15184"/>
                    </a:moveTo>
                    <a:cubicBezTo>
                      <a:pt x="42759" y="15423"/>
                      <a:pt x="41026" y="16512"/>
                      <a:pt x="39966" y="18148"/>
                    </a:cubicBezTo>
                    <a:cubicBezTo>
                      <a:pt x="38923" y="19761"/>
                      <a:pt x="37675" y="21237"/>
                      <a:pt x="36262" y="22536"/>
                    </a:cubicBezTo>
                    <a:cubicBezTo>
                      <a:pt x="34506" y="23665"/>
                      <a:pt x="32580" y="24514"/>
                      <a:pt x="30562" y="25044"/>
                    </a:cubicBezTo>
                    <a:cubicBezTo>
                      <a:pt x="30123" y="25215"/>
                      <a:pt x="29713" y="25466"/>
                      <a:pt x="29365" y="25785"/>
                    </a:cubicBezTo>
                    <a:cubicBezTo>
                      <a:pt x="28676" y="26822"/>
                      <a:pt x="28676" y="28167"/>
                      <a:pt x="29365" y="29205"/>
                    </a:cubicBezTo>
                    <a:cubicBezTo>
                      <a:pt x="30032" y="30213"/>
                      <a:pt x="30608" y="31279"/>
                      <a:pt x="31075" y="32396"/>
                    </a:cubicBezTo>
                    <a:cubicBezTo>
                      <a:pt x="31930" y="35189"/>
                      <a:pt x="29992" y="38096"/>
                      <a:pt x="31075" y="41002"/>
                    </a:cubicBezTo>
                    <a:cubicBezTo>
                      <a:pt x="34660" y="41162"/>
                      <a:pt x="37698" y="38386"/>
                      <a:pt x="37858" y="34801"/>
                    </a:cubicBezTo>
                    <a:cubicBezTo>
                      <a:pt x="37869" y="34608"/>
                      <a:pt x="37869" y="34414"/>
                      <a:pt x="37858" y="34220"/>
                    </a:cubicBezTo>
                    <a:cubicBezTo>
                      <a:pt x="37801" y="33861"/>
                      <a:pt x="37801" y="33496"/>
                      <a:pt x="37858" y="33137"/>
                    </a:cubicBezTo>
                    <a:cubicBezTo>
                      <a:pt x="38257" y="32225"/>
                      <a:pt x="39624" y="32510"/>
                      <a:pt x="40593" y="32624"/>
                    </a:cubicBezTo>
                    <a:cubicBezTo>
                      <a:pt x="42189" y="32653"/>
                      <a:pt x="43705" y="31935"/>
                      <a:pt x="44697" y="30686"/>
                    </a:cubicBezTo>
                    <a:cubicBezTo>
                      <a:pt x="45660" y="29455"/>
                      <a:pt x="46310" y="28008"/>
                      <a:pt x="46578" y="26469"/>
                    </a:cubicBezTo>
                    <a:cubicBezTo>
                      <a:pt x="47307" y="22981"/>
                      <a:pt x="46994" y="19350"/>
                      <a:pt x="45666" y="16039"/>
                    </a:cubicBezTo>
                    <a:cubicBezTo>
                      <a:pt x="45580" y="15754"/>
                      <a:pt x="45427" y="15497"/>
                      <a:pt x="45210" y="15298"/>
                    </a:cubicBezTo>
                    <a:cubicBezTo>
                      <a:pt x="45102" y="15247"/>
                      <a:pt x="44987" y="15207"/>
                      <a:pt x="44868" y="15184"/>
                    </a:cubicBezTo>
                    <a:close/>
                    <a:moveTo>
                      <a:pt x="17168" y="167531"/>
                    </a:moveTo>
                    <a:lnTo>
                      <a:pt x="23666" y="167531"/>
                    </a:lnTo>
                    <a:cubicBezTo>
                      <a:pt x="26060" y="165365"/>
                      <a:pt x="24749" y="160862"/>
                      <a:pt x="27257" y="158868"/>
                    </a:cubicBezTo>
                    <a:cubicBezTo>
                      <a:pt x="28453" y="158087"/>
                      <a:pt x="29895" y="157779"/>
                      <a:pt x="31303" y="158013"/>
                    </a:cubicBezTo>
                    <a:cubicBezTo>
                      <a:pt x="35287" y="158526"/>
                      <a:pt x="39146" y="159740"/>
                      <a:pt x="42702" y="161603"/>
                    </a:cubicBezTo>
                    <a:cubicBezTo>
                      <a:pt x="43722" y="159278"/>
                      <a:pt x="45883" y="157654"/>
                      <a:pt x="48401" y="157329"/>
                    </a:cubicBezTo>
                    <a:cubicBezTo>
                      <a:pt x="51576" y="157198"/>
                      <a:pt x="54756" y="157466"/>
                      <a:pt x="57863" y="158127"/>
                    </a:cubicBezTo>
                    <a:cubicBezTo>
                      <a:pt x="61094" y="152501"/>
                      <a:pt x="63038" y="146238"/>
                      <a:pt x="63562" y="139774"/>
                    </a:cubicBezTo>
                    <a:lnTo>
                      <a:pt x="57179" y="136526"/>
                    </a:lnTo>
                    <a:cubicBezTo>
                      <a:pt x="58416" y="134354"/>
                      <a:pt x="58096" y="131624"/>
                      <a:pt x="56381" y="129800"/>
                    </a:cubicBezTo>
                    <a:cubicBezTo>
                      <a:pt x="54591" y="128130"/>
                      <a:pt x="52351" y="127019"/>
                      <a:pt x="49940" y="126609"/>
                    </a:cubicBezTo>
                    <a:cubicBezTo>
                      <a:pt x="51023" y="122368"/>
                      <a:pt x="48464" y="118054"/>
                      <a:pt x="44224" y="116971"/>
                    </a:cubicBezTo>
                    <a:cubicBezTo>
                      <a:pt x="43950" y="116902"/>
                      <a:pt x="43671" y="116845"/>
                      <a:pt x="43386" y="116805"/>
                    </a:cubicBezTo>
                    <a:cubicBezTo>
                      <a:pt x="43414" y="119815"/>
                      <a:pt x="41357" y="122442"/>
                      <a:pt x="38427" y="123132"/>
                    </a:cubicBezTo>
                    <a:cubicBezTo>
                      <a:pt x="36957" y="123172"/>
                      <a:pt x="35498" y="123417"/>
                      <a:pt x="34096" y="123873"/>
                    </a:cubicBezTo>
                    <a:cubicBezTo>
                      <a:pt x="32215" y="124899"/>
                      <a:pt x="31645" y="127293"/>
                      <a:pt x="30790" y="129230"/>
                    </a:cubicBezTo>
                    <a:cubicBezTo>
                      <a:pt x="29935" y="131168"/>
                      <a:pt x="27826" y="133220"/>
                      <a:pt x="25946" y="132194"/>
                    </a:cubicBezTo>
                    <a:cubicBezTo>
                      <a:pt x="25199" y="131185"/>
                      <a:pt x="24760" y="129971"/>
                      <a:pt x="24692" y="128717"/>
                    </a:cubicBezTo>
                    <a:cubicBezTo>
                      <a:pt x="21266" y="129686"/>
                      <a:pt x="17636" y="129686"/>
                      <a:pt x="14205" y="128717"/>
                    </a:cubicBezTo>
                    <a:cubicBezTo>
                      <a:pt x="12780" y="128204"/>
                      <a:pt x="11526" y="127350"/>
                      <a:pt x="10101" y="126837"/>
                    </a:cubicBezTo>
                    <a:cubicBezTo>
                      <a:pt x="5980" y="125571"/>
                      <a:pt x="1609" y="127885"/>
                      <a:pt x="343" y="132012"/>
                    </a:cubicBezTo>
                    <a:cubicBezTo>
                      <a:pt x="-426" y="134514"/>
                      <a:pt x="116" y="137238"/>
                      <a:pt x="1780" y="139261"/>
                    </a:cubicBezTo>
                    <a:cubicBezTo>
                      <a:pt x="3763" y="141285"/>
                      <a:pt x="6374" y="142573"/>
                      <a:pt x="9189" y="142909"/>
                    </a:cubicBezTo>
                    <a:cubicBezTo>
                      <a:pt x="10511" y="143012"/>
                      <a:pt x="11811" y="143359"/>
                      <a:pt x="13008" y="143935"/>
                    </a:cubicBezTo>
                    <a:cubicBezTo>
                      <a:pt x="14233" y="144522"/>
                      <a:pt x="14929" y="145844"/>
                      <a:pt x="14718" y="147184"/>
                    </a:cubicBezTo>
                    <a:cubicBezTo>
                      <a:pt x="14205" y="149178"/>
                      <a:pt x="11526" y="149463"/>
                      <a:pt x="9417" y="149634"/>
                    </a:cubicBezTo>
                    <a:cubicBezTo>
                      <a:pt x="8659" y="149697"/>
                      <a:pt x="7924" y="149908"/>
                      <a:pt x="7251" y="150261"/>
                    </a:cubicBezTo>
                    <a:cubicBezTo>
                      <a:pt x="11771" y="155260"/>
                      <a:pt x="15208" y="161142"/>
                      <a:pt x="17339" y="167531"/>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75" name="Freihandform: Form 769">
                <a:extLst>
                  <a:ext uri="{FF2B5EF4-FFF2-40B4-BE49-F238E27FC236}">
                    <a16:creationId xmlns:a16="http://schemas.microsoft.com/office/drawing/2014/main" id="{271367C6-C407-DD44-9B75-FCCCB1128960}"/>
                  </a:ext>
                </a:extLst>
              </p:cNvPr>
              <p:cNvSpPr/>
              <p:nvPr/>
            </p:nvSpPr>
            <p:spPr>
              <a:xfrm>
                <a:off x="3540516" y="2818990"/>
                <a:ext cx="97765" cy="84350"/>
              </a:xfrm>
              <a:custGeom>
                <a:avLst/>
                <a:gdLst>
                  <a:gd name="connsiteX0" fmla="*/ 93414 w 97765"/>
                  <a:gd name="connsiteY0" fmla="*/ 41549 h 84350"/>
                  <a:gd name="connsiteX1" fmla="*/ 91762 w 97765"/>
                  <a:gd name="connsiteY1" fmla="*/ 49414 h 84350"/>
                  <a:gd name="connsiteX2" fmla="*/ 93015 w 97765"/>
                  <a:gd name="connsiteY2" fmla="*/ 51865 h 84350"/>
                  <a:gd name="connsiteX3" fmla="*/ 92560 w 97765"/>
                  <a:gd name="connsiteY3" fmla="*/ 57109 h 84350"/>
                  <a:gd name="connsiteX4" fmla="*/ 90793 w 97765"/>
                  <a:gd name="connsiteY4" fmla="*/ 59331 h 84350"/>
                  <a:gd name="connsiteX5" fmla="*/ 88171 w 97765"/>
                  <a:gd name="connsiteY5" fmla="*/ 67482 h 84350"/>
                  <a:gd name="connsiteX6" fmla="*/ 76772 w 97765"/>
                  <a:gd name="connsiteY6" fmla="*/ 70331 h 84350"/>
                  <a:gd name="connsiteX7" fmla="*/ 62466 w 97765"/>
                  <a:gd name="connsiteY7" fmla="*/ 77570 h 84350"/>
                  <a:gd name="connsiteX8" fmla="*/ 60130 w 97765"/>
                  <a:gd name="connsiteY8" fmla="*/ 81388 h 84350"/>
                  <a:gd name="connsiteX9" fmla="*/ 57280 w 97765"/>
                  <a:gd name="connsiteY9" fmla="*/ 82300 h 84350"/>
                  <a:gd name="connsiteX10" fmla="*/ 9803 w 97765"/>
                  <a:gd name="connsiteY10" fmla="*/ 83212 h 84350"/>
                  <a:gd name="connsiteX11" fmla="*/ 7466 w 97765"/>
                  <a:gd name="connsiteY11" fmla="*/ 82585 h 84350"/>
                  <a:gd name="connsiteX12" fmla="*/ 5699 w 97765"/>
                  <a:gd name="connsiteY12" fmla="*/ 80420 h 84350"/>
                  <a:gd name="connsiteX13" fmla="*/ 0 w 97765"/>
                  <a:gd name="connsiteY13" fmla="*/ 70046 h 84350"/>
                  <a:gd name="connsiteX14" fmla="*/ 8378 w 97765"/>
                  <a:gd name="connsiteY14" fmla="*/ 70046 h 84350"/>
                  <a:gd name="connsiteX15" fmla="*/ 14078 w 97765"/>
                  <a:gd name="connsiteY15" fmla="*/ 64347 h 84350"/>
                  <a:gd name="connsiteX16" fmla="*/ 14876 w 97765"/>
                  <a:gd name="connsiteY16" fmla="*/ 59730 h 84350"/>
                  <a:gd name="connsiteX17" fmla="*/ 23083 w 97765"/>
                  <a:gd name="connsiteY17" fmla="*/ 58249 h 84350"/>
                  <a:gd name="connsiteX18" fmla="*/ 23881 w 97765"/>
                  <a:gd name="connsiteY18" fmla="*/ 50440 h 84350"/>
                  <a:gd name="connsiteX19" fmla="*/ 25705 w 97765"/>
                  <a:gd name="connsiteY19" fmla="*/ 49585 h 84350"/>
                  <a:gd name="connsiteX20" fmla="*/ 35679 w 97765"/>
                  <a:gd name="connsiteY20" fmla="*/ 46622 h 84350"/>
                  <a:gd name="connsiteX21" fmla="*/ 26218 w 97765"/>
                  <a:gd name="connsiteY21" fmla="*/ 40181 h 84350"/>
                  <a:gd name="connsiteX22" fmla="*/ 25876 w 97765"/>
                  <a:gd name="connsiteY22" fmla="*/ 35736 h 84350"/>
                  <a:gd name="connsiteX23" fmla="*/ 17098 w 97765"/>
                  <a:gd name="connsiteY23" fmla="*/ 35736 h 84350"/>
                  <a:gd name="connsiteX24" fmla="*/ 12653 w 97765"/>
                  <a:gd name="connsiteY24" fmla="*/ 30036 h 84350"/>
                  <a:gd name="connsiteX25" fmla="*/ 12653 w 97765"/>
                  <a:gd name="connsiteY25" fmla="*/ 22855 h 84350"/>
                  <a:gd name="connsiteX26" fmla="*/ 15446 w 97765"/>
                  <a:gd name="connsiteY26" fmla="*/ 18466 h 84350"/>
                  <a:gd name="connsiteX27" fmla="*/ 11684 w 97765"/>
                  <a:gd name="connsiteY27" fmla="*/ 12767 h 84350"/>
                  <a:gd name="connsiteX28" fmla="*/ 12425 w 97765"/>
                  <a:gd name="connsiteY28" fmla="*/ 5186 h 84350"/>
                  <a:gd name="connsiteX29" fmla="*/ 19948 w 97765"/>
                  <a:gd name="connsiteY29" fmla="*/ 3078 h 84350"/>
                  <a:gd name="connsiteX30" fmla="*/ 26617 w 97765"/>
                  <a:gd name="connsiteY30" fmla="*/ 6383 h 84350"/>
                  <a:gd name="connsiteX31" fmla="*/ 33570 w 97765"/>
                  <a:gd name="connsiteY31" fmla="*/ 5642 h 84350"/>
                  <a:gd name="connsiteX32" fmla="*/ 34767 w 97765"/>
                  <a:gd name="connsiteY32" fmla="*/ 3762 h 84350"/>
                  <a:gd name="connsiteX33" fmla="*/ 41435 w 97765"/>
                  <a:gd name="connsiteY33" fmla="*/ 2565 h 84350"/>
                  <a:gd name="connsiteX34" fmla="*/ 48503 w 97765"/>
                  <a:gd name="connsiteY34" fmla="*/ 2907 h 84350"/>
                  <a:gd name="connsiteX35" fmla="*/ 50326 w 97765"/>
                  <a:gd name="connsiteY35" fmla="*/ 0 h 84350"/>
                  <a:gd name="connsiteX36" fmla="*/ 60243 w 97765"/>
                  <a:gd name="connsiteY36" fmla="*/ 17098 h 84350"/>
                  <a:gd name="connsiteX37" fmla="*/ 66741 w 97765"/>
                  <a:gd name="connsiteY37" fmla="*/ 17098 h 84350"/>
                  <a:gd name="connsiteX38" fmla="*/ 70332 w 97765"/>
                  <a:gd name="connsiteY38" fmla="*/ 8435 h 84350"/>
                  <a:gd name="connsiteX39" fmla="*/ 74378 w 97765"/>
                  <a:gd name="connsiteY39" fmla="*/ 7580 h 84350"/>
                  <a:gd name="connsiteX40" fmla="*/ 85777 w 97765"/>
                  <a:gd name="connsiteY40" fmla="*/ 11171 h 84350"/>
                  <a:gd name="connsiteX41" fmla="*/ 85378 w 97765"/>
                  <a:gd name="connsiteY41" fmla="*/ 12938 h 84350"/>
                  <a:gd name="connsiteX42" fmla="*/ 88114 w 97765"/>
                  <a:gd name="connsiteY42" fmla="*/ 18238 h 84350"/>
                  <a:gd name="connsiteX43" fmla="*/ 94270 w 97765"/>
                  <a:gd name="connsiteY43" fmla="*/ 22798 h 84350"/>
                  <a:gd name="connsiteX44" fmla="*/ 97347 w 97765"/>
                  <a:gd name="connsiteY44" fmla="*/ 23824 h 84350"/>
                  <a:gd name="connsiteX45" fmla="*/ 97746 w 97765"/>
                  <a:gd name="connsiteY45" fmla="*/ 25876 h 84350"/>
                  <a:gd name="connsiteX46" fmla="*/ 93414 w 97765"/>
                  <a:gd name="connsiteY46" fmla="*/ 41549 h 8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7765" h="84350">
                    <a:moveTo>
                      <a:pt x="93414" y="41549"/>
                    </a:moveTo>
                    <a:cubicBezTo>
                      <a:pt x="91864" y="43857"/>
                      <a:pt x="91272" y="46679"/>
                      <a:pt x="91762" y="49414"/>
                    </a:cubicBezTo>
                    <a:cubicBezTo>
                      <a:pt x="92104" y="50269"/>
                      <a:pt x="92673" y="51010"/>
                      <a:pt x="93015" y="51865"/>
                    </a:cubicBezTo>
                    <a:cubicBezTo>
                      <a:pt x="93728" y="53581"/>
                      <a:pt x="93557" y="55541"/>
                      <a:pt x="92560" y="57109"/>
                    </a:cubicBezTo>
                    <a:cubicBezTo>
                      <a:pt x="91990" y="57907"/>
                      <a:pt x="91306" y="58534"/>
                      <a:pt x="90793" y="59331"/>
                    </a:cubicBezTo>
                    <a:cubicBezTo>
                      <a:pt x="89197" y="61725"/>
                      <a:pt x="89824" y="65031"/>
                      <a:pt x="88171" y="67482"/>
                    </a:cubicBezTo>
                    <a:cubicBezTo>
                      <a:pt x="85834" y="71015"/>
                      <a:pt x="80705" y="70331"/>
                      <a:pt x="76772" y="70331"/>
                    </a:cubicBezTo>
                    <a:cubicBezTo>
                      <a:pt x="71021" y="69876"/>
                      <a:pt x="65504" y="72668"/>
                      <a:pt x="62466" y="77570"/>
                    </a:cubicBezTo>
                    <a:cubicBezTo>
                      <a:pt x="61999" y="79012"/>
                      <a:pt x="61201" y="80317"/>
                      <a:pt x="60130" y="81388"/>
                    </a:cubicBezTo>
                    <a:cubicBezTo>
                      <a:pt x="59280" y="81941"/>
                      <a:pt x="58294" y="82255"/>
                      <a:pt x="57280" y="82300"/>
                    </a:cubicBezTo>
                    <a:cubicBezTo>
                      <a:pt x="41561" y="84683"/>
                      <a:pt x="25602" y="84990"/>
                      <a:pt x="9803" y="83212"/>
                    </a:cubicBezTo>
                    <a:cubicBezTo>
                      <a:pt x="8994" y="83144"/>
                      <a:pt x="8202" y="82933"/>
                      <a:pt x="7466" y="82585"/>
                    </a:cubicBezTo>
                    <a:cubicBezTo>
                      <a:pt x="6708" y="82021"/>
                      <a:pt x="6098" y="81274"/>
                      <a:pt x="5699" y="80420"/>
                    </a:cubicBezTo>
                    <a:lnTo>
                      <a:pt x="0" y="70046"/>
                    </a:lnTo>
                    <a:cubicBezTo>
                      <a:pt x="2765" y="70588"/>
                      <a:pt x="5614" y="70588"/>
                      <a:pt x="8378" y="70046"/>
                    </a:cubicBezTo>
                    <a:cubicBezTo>
                      <a:pt x="11228" y="69425"/>
                      <a:pt x="13457" y="67197"/>
                      <a:pt x="14078" y="64347"/>
                    </a:cubicBezTo>
                    <a:cubicBezTo>
                      <a:pt x="14078" y="62751"/>
                      <a:pt x="14078" y="60927"/>
                      <a:pt x="14876" y="59730"/>
                    </a:cubicBezTo>
                    <a:cubicBezTo>
                      <a:pt x="16871" y="57622"/>
                      <a:pt x="21088" y="60357"/>
                      <a:pt x="23083" y="58249"/>
                    </a:cubicBezTo>
                    <a:cubicBezTo>
                      <a:pt x="24109" y="55741"/>
                      <a:pt x="21886" y="52264"/>
                      <a:pt x="23881" y="50440"/>
                    </a:cubicBezTo>
                    <a:cubicBezTo>
                      <a:pt x="24428" y="50041"/>
                      <a:pt x="25049" y="49751"/>
                      <a:pt x="25705" y="49585"/>
                    </a:cubicBezTo>
                    <a:lnTo>
                      <a:pt x="35679" y="46622"/>
                    </a:lnTo>
                    <a:cubicBezTo>
                      <a:pt x="33012" y="43840"/>
                      <a:pt x="29786" y="41646"/>
                      <a:pt x="26218" y="40181"/>
                    </a:cubicBezTo>
                    <a:lnTo>
                      <a:pt x="25876" y="35736"/>
                    </a:lnTo>
                    <a:lnTo>
                      <a:pt x="17098" y="35736"/>
                    </a:lnTo>
                    <a:cubicBezTo>
                      <a:pt x="15315" y="34094"/>
                      <a:pt x="13810" y="32168"/>
                      <a:pt x="12653" y="30036"/>
                    </a:cubicBezTo>
                    <a:cubicBezTo>
                      <a:pt x="11456" y="27791"/>
                      <a:pt x="11456" y="25100"/>
                      <a:pt x="12653" y="22855"/>
                    </a:cubicBezTo>
                    <a:cubicBezTo>
                      <a:pt x="13565" y="21373"/>
                      <a:pt x="15275" y="20233"/>
                      <a:pt x="15446" y="18466"/>
                    </a:cubicBezTo>
                    <a:cubicBezTo>
                      <a:pt x="15617" y="16699"/>
                      <a:pt x="12995" y="14591"/>
                      <a:pt x="11684" y="12767"/>
                    </a:cubicBezTo>
                    <a:cubicBezTo>
                      <a:pt x="10248" y="10350"/>
                      <a:pt x="10550" y="7278"/>
                      <a:pt x="12425" y="5186"/>
                    </a:cubicBezTo>
                    <a:cubicBezTo>
                      <a:pt x="14363" y="3169"/>
                      <a:pt x="17241" y="2360"/>
                      <a:pt x="19948" y="3078"/>
                    </a:cubicBezTo>
                    <a:cubicBezTo>
                      <a:pt x="22245" y="4018"/>
                      <a:pt x="24474" y="5124"/>
                      <a:pt x="26617" y="6383"/>
                    </a:cubicBezTo>
                    <a:cubicBezTo>
                      <a:pt x="28834" y="7757"/>
                      <a:pt x="31695" y="7449"/>
                      <a:pt x="33570" y="5642"/>
                    </a:cubicBezTo>
                    <a:cubicBezTo>
                      <a:pt x="34026" y="5073"/>
                      <a:pt x="34311" y="4332"/>
                      <a:pt x="34767" y="3762"/>
                    </a:cubicBezTo>
                    <a:cubicBezTo>
                      <a:pt x="36608" y="2177"/>
                      <a:pt x="39161" y="1721"/>
                      <a:pt x="41435" y="2565"/>
                    </a:cubicBezTo>
                    <a:cubicBezTo>
                      <a:pt x="43692" y="3425"/>
                      <a:pt x="46172" y="3545"/>
                      <a:pt x="48503" y="2907"/>
                    </a:cubicBezTo>
                    <a:cubicBezTo>
                      <a:pt x="47990" y="1596"/>
                      <a:pt x="49016" y="570"/>
                      <a:pt x="50326" y="0"/>
                    </a:cubicBezTo>
                    <a:cubicBezTo>
                      <a:pt x="54766" y="4964"/>
                      <a:pt x="58141" y="10783"/>
                      <a:pt x="60243" y="17098"/>
                    </a:cubicBezTo>
                    <a:lnTo>
                      <a:pt x="66741" y="17098"/>
                    </a:lnTo>
                    <a:cubicBezTo>
                      <a:pt x="69135" y="14933"/>
                      <a:pt x="67824" y="10430"/>
                      <a:pt x="70332" y="8435"/>
                    </a:cubicBezTo>
                    <a:cubicBezTo>
                      <a:pt x="71529" y="7654"/>
                      <a:pt x="72971" y="7347"/>
                      <a:pt x="74378" y="7580"/>
                    </a:cubicBezTo>
                    <a:cubicBezTo>
                      <a:pt x="78362" y="8093"/>
                      <a:pt x="82221" y="9307"/>
                      <a:pt x="85777" y="11171"/>
                    </a:cubicBezTo>
                    <a:cubicBezTo>
                      <a:pt x="85504" y="11718"/>
                      <a:pt x="85367" y="12328"/>
                      <a:pt x="85378" y="12938"/>
                    </a:cubicBezTo>
                    <a:cubicBezTo>
                      <a:pt x="85663" y="14961"/>
                      <a:pt x="86632" y="16830"/>
                      <a:pt x="88114" y="18238"/>
                    </a:cubicBezTo>
                    <a:cubicBezTo>
                      <a:pt x="89579" y="20421"/>
                      <a:pt x="91750" y="22034"/>
                      <a:pt x="94270" y="22798"/>
                    </a:cubicBezTo>
                    <a:cubicBezTo>
                      <a:pt x="95352" y="22798"/>
                      <a:pt x="96663" y="22798"/>
                      <a:pt x="97347" y="23824"/>
                    </a:cubicBezTo>
                    <a:cubicBezTo>
                      <a:pt x="97683" y="24451"/>
                      <a:pt x="97820" y="25169"/>
                      <a:pt x="97746" y="25876"/>
                    </a:cubicBezTo>
                    <a:cubicBezTo>
                      <a:pt x="97324" y="31330"/>
                      <a:pt x="95854" y="36653"/>
                      <a:pt x="93414" y="41549"/>
                    </a:cubicBezTo>
                    <a:close/>
                  </a:path>
                </a:pathLst>
              </a:custGeom>
              <a:solidFill>
                <a:srgbClr val="FFFFFF"/>
              </a:solidFill>
              <a:ln w="3175" cap="flat">
                <a:solidFill>
                  <a:schemeClr val="accent2"/>
                </a:solidFill>
                <a:prstDash val="solid"/>
                <a:miter/>
              </a:ln>
            </p:spPr>
            <p:txBody>
              <a:bodyPr rtlCol="0" anchor="ctr"/>
              <a:lstStyle/>
              <a:p>
                <a:endParaRPr lang="en-US"/>
              </a:p>
            </p:txBody>
          </p:sp>
          <p:sp>
            <p:nvSpPr>
              <p:cNvPr id="976" name="Freihandform: Form 770">
                <a:extLst>
                  <a:ext uri="{FF2B5EF4-FFF2-40B4-BE49-F238E27FC236}">
                    <a16:creationId xmlns:a16="http://schemas.microsoft.com/office/drawing/2014/main" id="{E3AA1422-02D1-D77F-91BF-B2A723AC2E60}"/>
                  </a:ext>
                </a:extLst>
              </p:cNvPr>
              <p:cNvSpPr/>
              <p:nvPr/>
            </p:nvSpPr>
            <p:spPr>
              <a:xfrm>
                <a:off x="5380442" y="2853792"/>
                <a:ext cx="1306800" cy="912549"/>
              </a:xfrm>
              <a:custGeom>
                <a:avLst/>
                <a:gdLst>
                  <a:gd name="connsiteX0" fmla="*/ 1300813 w 1677683"/>
                  <a:gd name="connsiteY0" fmla="*/ 2665 h 1171539"/>
                  <a:gd name="connsiteX1" fmla="*/ 1374088 w 1677683"/>
                  <a:gd name="connsiteY1" fmla="*/ 2665 h 1171539"/>
                  <a:gd name="connsiteX2" fmla="*/ 1435051 w 1677683"/>
                  <a:gd name="connsiteY2" fmla="*/ 40108 h 1171539"/>
                  <a:gd name="connsiteX3" fmla="*/ 1451685 w 1677683"/>
                  <a:gd name="connsiteY3" fmla="*/ 70737 h 1171539"/>
                  <a:gd name="connsiteX4" fmla="*/ 1459379 w 1677683"/>
                  <a:gd name="connsiteY4" fmla="*/ 83047 h 1171539"/>
                  <a:gd name="connsiteX5" fmla="*/ 1461576 w 1677683"/>
                  <a:gd name="connsiteY5" fmla="*/ 92647 h 1171539"/>
                  <a:gd name="connsiteX6" fmla="*/ 1478137 w 1677683"/>
                  <a:gd name="connsiteY6" fmla="*/ 136612 h 1171539"/>
                  <a:gd name="connsiteX7" fmla="*/ 1483120 w 1677683"/>
                  <a:gd name="connsiteY7" fmla="*/ 146137 h 1171539"/>
                  <a:gd name="connsiteX8" fmla="*/ 1486783 w 1677683"/>
                  <a:gd name="connsiteY8" fmla="*/ 157348 h 1171539"/>
                  <a:gd name="connsiteX9" fmla="*/ 1493378 w 1677683"/>
                  <a:gd name="connsiteY9" fmla="*/ 161598 h 1171539"/>
                  <a:gd name="connsiteX10" fmla="*/ 1520856 w 1677683"/>
                  <a:gd name="connsiteY10" fmla="*/ 173542 h 1171539"/>
                  <a:gd name="connsiteX11" fmla="*/ 1555588 w 1677683"/>
                  <a:gd name="connsiteY11" fmla="*/ 194791 h 1171539"/>
                  <a:gd name="connsiteX12" fmla="*/ 1584898 w 1677683"/>
                  <a:gd name="connsiteY12" fmla="*/ 227984 h 1171539"/>
                  <a:gd name="connsiteX13" fmla="*/ 1613694 w 1677683"/>
                  <a:gd name="connsiteY13" fmla="*/ 229084 h 1171539"/>
                  <a:gd name="connsiteX14" fmla="*/ 1656561 w 1677683"/>
                  <a:gd name="connsiteY14" fmla="*/ 213842 h 1171539"/>
                  <a:gd name="connsiteX15" fmla="*/ 1666012 w 1677683"/>
                  <a:gd name="connsiteY15" fmla="*/ 210618 h 1171539"/>
                  <a:gd name="connsiteX16" fmla="*/ 1666012 w 1677683"/>
                  <a:gd name="connsiteY16" fmla="*/ 210252 h 1171539"/>
                  <a:gd name="connsiteX17" fmla="*/ 1677662 w 1677683"/>
                  <a:gd name="connsiteY17" fmla="*/ 222708 h 1171539"/>
                  <a:gd name="connsiteX18" fmla="*/ 1673486 w 1677683"/>
                  <a:gd name="connsiteY18" fmla="*/ 241613 h 1171539"/>
                  <a:gd name="connsiteX19" fmla="*/ 1655680 w 1677683"/>
                  <a:gd name="connsiteY19" fmla="*/ 285945 h 1171539"/>
                  <a:gd name="connsiteX20" fmla="*/ 1619044 w 1677683"/>
                  <a:gd name="connsiteY20" fmla="*/ 326758 h 1171539"/>
                  <a:gd name="connsiteX21" fmla="*/ 1594131 w 1677683"/>
                  <a:gd name="connsiteY21" fmla="*/ 328004 h 1171539"/>
                  <a:gd name="connsiteX22" fmla="*/ 1584677 w 1677683"/>
                  <a:gd name="connsiteY22" fmla="*/ 334232 h 1171539"/>
                  <a:gd name="connsiteX23" fmla="*/ 1571343 w 1677683"/>
                  <a:gd name="connsiteY23" fmla="*/ 374606 h 1171539"/>
                  <a:gd name="connsiteX24" fmla="*/ 1578010 w 1677683"/>
                  <a:gd name="connsiteY24" fmla="*/ 405528 h 1171539"/>
                  <a:gd name="connsiteX25" fmla="*/ 1572438 w 1677683"/>
                  <a:gd name="connsiteY25" fmla="*/ 411099 h 1171539"/>
                  <a:gd name="connsiteX26" fmla="*/ 1570573 w 1677683"/>
                  <a:gd name="connsiteY26" fmla="*/ 411472 h 1171539"/>
                  <a:gd name="connsiteX27" fmla="*/ 1563429 w 1677683"/>
                  <a:gd name="connsiteY27" fmla="*/ 418616 h 1171539"/>
                  <a:gd name="connsiteX28" fmla="*/ 1553904 w 1677683"/>
                  <a:gd name="connsiteY28" fmla="*/ 423379 h 1171539"/>
                  <a:gd name="connsiteX29" fmla="*/ 1546760 w 1677683"/>
                  <a:gd name="connsiteY29" fmla="*/ 428141 h 1171539"/>
                  <a:gd name="connsiteX30" fmla="*/ 1539617 w 1677683"/>
                  <a:gd name="connsiteY30" fmla="*/ 430522 h 1171539"/>
                  <a:gd name="connsiteX31" fmla="*/ 1522948 w 1677683"/>
                  <a:gd name="connsiteY31" fmla="*/ 442429 h 1171539"/>
                  <a:gd name="connsiteX32" fmla="*/ 1506279 w 1677683"/>
                  <a:gd name="connsiteY32" fmla="*/ 456716 h 1171539"/>
                  <a:gd name="connsiteX33" fmla="*/ 1463417 w 1677683"/>
                  <a:gd name="connsiteY33" fmla="*/ 466241 h 1171539"/>
                  <a:gd name="connsiteX34" fmla="*/ 1456273 w 1677683"/>
                  <a:gd name="connsiteY34" fmla="*/ 468622 h 1171539"/>
                  <a:gd name="connsiteX35" fmla="*/ 1439604 w 1677683"/>
                  <a:gd name="connsiteY35" fmla="*/ 475766 h 1171539"/>
                  <a:gd name="connsiteX36" fmla="*/ 1422935 w 1677683"/>
                  <a:gd name="connsiteY36" fmla="*/ 480529 h 1171539"/>
                  <a:gd name="connsiteX37" fmla="*/ 1406267 w 1677683"/>
                  <a:gd name="connsiteY37" fmla="*/ 497197 h 1171539"/>
                  <a:gd name="connsiteX38" fmla="*/ 1399123 w 1677683"/>
                  <a:gd name="connsiteY38" fmla="*/ 501960 h 1171539"/>
                  <a:gd name="connsiteX39" fmla="*/ 1389598 w 1677683"/>
                  <a:gd name="connsiteY39" fmla="*/ 516247 h 1171539"/>
                  <a:gd name="connsiteX40" fmla="*/ 1388382 w 1677683"/>
                  <a:gd name="connsiteY40" fmla="*/ 517007 h 1171539"/>
                  <a:gd name="connsiteX41" fmla="*/ 1387422 w 1677683"/>
                  <a:gd name="connsiteY41" fmla="*/ 514780 h 1171539"/>
                  <a:gd name="connsiteX42" fmla="*/ 1373647 w 1677683"/>
                  <a:gd name="connsiteY42" fmla="*/ 517052 h 1171539"/>
                  <a:gd name="connsiteX43" fmla="*/ 1349320 w 1677683"/>
                  <a:gd name="connsiteY43" fmla="*/ 532513 h 1171539"/>
                  <a:gd name="connsiteX44" fmla="*/ 1325580 w 1677683"/>
                  <a:gd name="connsiteY44" fmla="*/ 547534 h 1171539"/>
                  <a:gd name="connsiteX45" fmla="*/ 1310118 w 1677683"/>
                  <a:gd name="connsiteY45" fmla="*/ 561383 h 1171539"/>
                  <a:gd name="connsiteX46" fmla="*/ 1305135 w 1677683"/>
                  <a:gd name="connsiteY46" fmla="*/ 559551 h 1171539"/>
                  <a:gd name="connsiteX47" fmla="*/ 1299421 w 1677683"/>
                  <a:gd name="connsiteY47" fmla="*/ 538229 h 1171539"/>
                  <a:gd name="connsiteX48" fmla="*/ 1307482 w 1677683"/>
                  <a:gd name="connsiteY48" fmla="*/ 524893 h 1171539"/>
                  <a:gd name="connsiteX49" fmla="*/ 1322135 w 1677683"/>
                  <a:gd name="connsiteY49" fmla="*/ 511923 h 1171539"/>
                  <a:gd name="connsiteX50" fmla="*/ 1325873 w 1677683"/>
                  <a:gd name="connsiteY50" fmla="*/ 508186 h 1171539"/>
                  <a:gd name="connsiteX51" fmla="*/ 1329024 w 1677683"/>
                  <a:gd name="connsiteY51" fmla="*/ 497268 h 1171539"/>
                  <a:gd name="connsiteX52" fmla="*/ 1299714 w 1677683"/>
                  <a:gd name="connsiteY52" fmla="*/ 483932 h 1171539"/>
                  <a:gd name="connsiteX53" fmla="*/ 1274361 w 1677683"/>
                  <a:gd name="connsiteY53" fmla="*/ 510824 h 1171539"/>
                  <a:gd name="connsiteX54" fmla="*/ 1254210 w 1677683"/>
                  <a:gd name="connsiteY54" fmla="*/ 513314 h 1171539"/>
                  <a:gd name="connsiteX55" fmla="*/ 1241534 w 1677683"/>
                  <a:gd name="connsiteY55" fmla="*/ 527969 h 1171539"/>
                  <a:gd name="connsiteX56" fmla="*/ 1240728 w 1677683"/>
                  <a:gd name="connsiteY56" fmla="*/ 535297 h 1171539"/>
                  <a:gd name="connsiteX57" fmla="*/ 1226512 w 1677683"/>
                  <a:gd name="connsiteY57" fmla="*/ 550465 h 1171539"/>
                  <a:gd name="connsiteX58" fmla="*/ 1197202 w 1677683"/>
                  <a:gd name="connsiteY58" fmla="*/ 550465 h 1171539"/>
                  <a:gd name="connsiteX59" fmla="*/ 1193538 w 1677683"/>
                  <a:gd name="connsiteY59" fmla="*/ 570029 h 1171539"/>
                  <a:gd name="connsiteX60" fmla="*/ 1205923 w 1677683"/>
                  <a:gd name="connsiteY60" fmla="*/ 583731 h 1171539"/>
                  <a:gd name="connsiteX61" fmla="*/ 1218672 w 1677683"/>
                  <a:gd name="connsiteY61" fmla="*/ 583145 h 1171539"/>
                  <a:gd name="connsiteX62" fmla="*/ 1225999 w 1677683"/>
                  <a:gd name="connsiteY62" fmla="*/ 592891 h 1171539"/>
                  <a:gd name="connsiteX63" fmla="*/ 1235818 w 1677683"/>
                  <a:gd name="connsiteY63" fmla="*/ 617877 h 1171539"/>
                  <a:gd name="connsiteX64" fmla="*/ 1255969 w 1677683"/>
                  <a:gd name="connsiteY64" fmla="*/ 619856 h 1171539"/>
                  <a:gd name="connsiteX65" fmla="*/ 1256335 w 1677683"/>
                  <a:gd name="connsiteY65" fmla="*/ 614645 h 1171539"/>
                  <a:gd name="connsiteX66" fmla="*/ 1274581 w 1677683"/>
                  <a:gd name="connsiteY66" fmla="*/ 603589 h 1171539"/>
                  <a:gd name="connsiteX67" fmla="*/ 1277438 w 1677683"/>
                  <a:gd name="connsiteY67" fmla="*/ 593551 h 1171539"/>
                  <a:gd name="connsiteX68" fmla="*/ 1335471 w 1677683"/>
                  <a:gd name="connsiteY68" fmla="*/ 613481 h 1171539"/>
                  <a:gd name="connsiteX69" fmla="*/ 1320816 w 1677683"/>
                  <a:gd name="connsiteY69" fmla="*/ 628136 h 1171539"/>
                  <a:gd name="connsiteX70" fmla="*/ 1297149 w 1677683"/>
                  <a:gd name="connsiteY70" fmla="*/ 628942 h 1171539"/>
                  <a:gd name="connsiteX71" fmla="*/ 1286818 w 1677683"/>
                  <a:gd name="connsiteY71" fmla="*/ 642937 h 1171539"/>
                  <a:gd name="connsiteX72" fmla="*/ 1272602 w 1677683"/>
                  <a:gd name="connsiteY72" fmla="*/ 654954 h 1171539"/>
                  <a:gd name="connsiteX73" fmla="*/ 1272602 w 1677683"/>
                  <a:gd name="connsiteY73" fmla="*/ 659131 h 1171539"/>
                  <a:gd name="connsiteX74" fmla="*/ 1265274 w 1677683"/>
                  <a:gd name="connsiteY74" fmla="*/ 663015 h 1171539"/>
                  <a:gd name="connsiteX75" fmla="*/ 1237357 w 1677683"/>
                  <a:gd name="connsiteY75" fmla="*/ 684191 h 1171539"/>
                  <a:gd name="connsiteX76" fmla="*/ 1235233 w 1677683"/>
                  <a:gd name="connsiteY76" fmla="*/ 692398 h 1171539"/>
                  <a:gd name="connsiteX77" fmla="*/ 1271430 w 1677683"/>
                  <a:gd name="connsiteY77" fmla="*/ 743177 h 1171539"/>
                  <a:gd name="connsiteX78" fmla="*/ 1273042 w 1677683"/>
                  <a:gd name="connsiteY78" fmla="*/ 751603 h 1171539"/>
                  <a:gd name="connsiteX79" fmla="*/ 1283300 w 1677683"/>
                  <a:gd name="connsiteY79" fmla="*/ 763913 h 1171539"/>
                  <a:gd name="connsiteX80" fmla="*/ 1281834 w 1677683"/>
                  <a:gd name="connsiteY80" fmla="*/ 770215 h 1171539"/>
                  <a:gd name="connsiteX81" fmla="*/ 1298248 w 1677683"/>
                  <a:gd name="connsiteY81" fmla="*/ 785676 h 1171539"/>
                  <a:gd name="connsiteX82" fmla="*/ 1311364 w 1677683"/>
                  <a:gd name="connsiteY82" fmla="*/ 802822 h 1171539"/>
                  <a:gd name="connsiteX83" fmla="*/ 1304036 w 1677683"/>
                  <a:gd name="connsiteY83" fmla="*/ 807658 h 1171539"/>
                  <a:gd name="connsiteX84" fmla="*/ 1273702 w 1677683"/>
                  <a:gd name="connsiteY84" fmla="*/ 792343 h 1171539"/>
                  <a:gd name="connsiteX85" fmla="*/ 1278390 w 1677683"/>
                  <a:gd name="connsiteY85" fmla="*/ 806998 h 1171539"/>
                  <a:gd name="connsiteX86" fmla="*/ 1296929 w 1677683"/>
                  <a:gd name="connsiteY86" fmla="*/ 823119 h 1171539"/>
                  <a:gd name="connsiteX87" fmla="*/ 1310265 w 1677683"/>
                  <a:gd name="connsiteY87" fmla="*/ 830447 h 1171539"/>
                  <a:gd name="connsiteX88" fmla="*/ 1306602 w 1677683"/>
                  <a:gd name="connsiteY88" fmla="*/ 840778 h 1171539"/>
                  <a:gd name="connsiteX89" fmla="*/ 1293485 w 1677683"/>
                  <a:gd name="connsiteY89" fmla="*/ 842390 h 1171539"/>
                  <a:gd name="connsiteX90" fmla="*/ 1280955 w 1677683"/>
                  <a:gd name="connsiteY90" fmla="*/ 859537 h 1171539"/>
                  <a:gd name="connsiteX91" fmla="*/ 1307774 w 1677683"/>
                  <a:gd name="connsiteY91" fmla="*/ 862101 h 1171539"/>
                  <a:gd name="connsiteX92" fmla="*/ 1311364 w 1677683"/>
                  <a:gd name="connsiteY92" fmla="*/ 879833 h 1171539"/>
                  <a:gd name="connsiteX93" fmla="*/ 1282054 w 1677683"/>
                  <a:gd name="connsiteY93" fmla="*/ 937574 h 1171539"/>
                  <a:gd name="connsiteX94" fmla="*/ 1276778 w 1677683"/>
                  <a:gd name="connsiteY94" fmla="*/ 942337 h 1171539"/>
                  <a:gd name="connsiteX95" fmla="*/ 1266813 w 1677683"/>
                  <a:gd name="connsiteY95" fmla="*/ 944021 h 1171539"/>
                  <a:gd name="connsiteX96" fmla="*/ 1223874 w 1677683"/>
                  <a:gd name="connsiteY96" fmla="*/ 965198 h 1171539"/>
                  <a:gd name="connsiteX97" fmla="*/ 1223361 w 1677683"/>
                  <a:gd name="connsiteY97" fmla="*/ 976629 h 1171539"/>
                  <a:gd name="connsiteX98" fmla="*/ 1218306 w 1677683"/>
                  <a:gd name="connsiteY98" fmla="*/ 1032684 h 1171539"/>
                  <a:gd name="connsiteX99" fmla="*/ 1216033 w 1677683"/>
                  <a:gd name="connsiteY99" fmla="*/ 1040743 h 1171539"/>
                  <a:gd name="connsiteX100" fmla="*/ 1210172 w 1677683"/>
                  <a:gd name="connsiteY100" fmla="*/ 1044700 h 1171539"/>
                  <a:gd name="connsiteX101" fmla="*/ 1159540 w 1677683"/>
                  <a:gd name="connsiteY101" fmla="*/ 1067929 h 1171539"/>
                  <a:gd name="connsiteX102" fmla="*/ 1127445 w 1677683"/>
                  <a:gd name="connsiteY102" fmla="*/ 1092842 h 1171539"/>
                  <a:gd name="connsiteX103" fmla="*/ 1102532 w 1677683"/>
                  <a:gd name="connsiteY103" fmla="*/ 1108597 h 1171539"/>
                  <a:gd name="connsiteX104" fmla="*/ 1073222 w 1677683"/>
                  <a:gd name="connsiteY104" fmla="*/ 1096432 h 1171539"/>
                  <a:gd name="connsiteX105" fmla="*/ 1072563 w 1677683"/>
                  <a:gd name="connsiteY105" fmla="*/ 1100338 h 1171539"/>
                  <a:gd name="connsiteX106" fmla="*/ 1052118 w 1677683"/>
                  <a:gd name="connsiteY106" fmla="*/ 1111527 h 1171539"/>
                  <a:gd name="connsiteX107" fmla="*/ 1039737 w 1677683"/>
                  <a:gd name="connsiteY107" fmla="*/ 1135268 h 1171539"/>
                  <a:gd name="connsiteX108" fmla="*/ 1011306 w 1677683"/>
                  <a:gd name="connsiteY108" fmla="*/ 1142229 h 1171539"/>
                  <a:gd name="connsiteX109" fmla="*/ 987784 w 1677683"/>
                  <a:gd name="connsiteY109" fmla="*/ 1157763 h 1171539"/>
                  <a:gd name="connsiteX110" fmla="*/ 977599 w 1677683"/>
                  <a:gd name="connsiteY110" fmla="*/ 1171539 h 1171539"/>
                  <a:gd name="connsiteX111" fmla="*/ 972030 w 1677683"/>
                  <a:gd name="connsiteY111" fmla="*/ 1156444 h 1171539"/>
                  <a:gd name="connsiteX112" fmla="*/ 974082 w 1677683"/>
                  <a:gd name="connsiteY112" fmla="*/ 1138491 h 1171539"/>
                  <a:gd name="connsiteX113" fmla="*/ 962578 w 1677683"/>
                  <a:gd name="connsiteY113" fmla="*/ 1136954 h 1171539"/>
                  <a:gd name="connsiteX114" fmla="*/ 955909 w 1677683"/>
                  <a:gd name="connsiteY114" fmla="*/ 1143255 h 1171539"/>
                  <a:gd name="connsiteX115" fmla="*/ 950561 w 1677683"/>
                  <a:gd name="connsiteY115" fmla="*/ 1131897 h 1171539"/>
                  <a:gd name="connsiteX116" fmla="*/ 934807 w 1677683"/>
                  <a:gd name="connsiteY116" fmla="*/ 1132704 h 1171539"/>
                  <a:gd name="connsiteX117" fmla="*/ 928578 w 1677683"/>
                  <a:gd name="connsiteY117" fmla="*/ 1145526 h 1171539"/>
                  <a:gd name="connsiteX118" fmla="*/ 927334 w 1677683"/>
                  <a:gd name="connsiteY118" fmla="*/ 1145526 h 1171539"/>
                  <a:gd name="connsiteX119" fmla="*/ 910553 w 1677683"/>
                  <a:gd name="connsiteY119" fmla="*/ 1136879 h 1171539"/>
                  <a:gd name="connsiteX120" fmla="*/ 883955 w 1677683"/>
                  <a:gd name="connsiteY120" fmla="*/ 1112113 h 1171539"/>
                  <a:gd name="connsiteX121" fmla="*/ 883955 w 1677683"/>
                  <a:gd name="connsiteY121" fmla="*/ 1100682 h 1171539"/>
                  <a:gd name="connsiteX122" fmla="*/ 868054 w 1677683"/>
                  <a:gd name="connsiteY122" fmla="*/ 1091523 h 1171539"/>
                  <a:gd name="connsiteX123" fmla="*/ 845558 w 1677683"/>
                  <a:gd name="connsiteY123" fmla="*/ 1078334 h 1171539"/>
                  <a:gd name="connsiteX124" fmla="*/ 828999 w 1677683"/>
                  <a:gd name="connsiteY124" fmla="*/ 1097678 h 1171539"/>
                  <a:gd name="connsiteX125" fmla="*/ 801373 w 1677683"/>
                  <a:gd name="connsiteY125" fmla="*/ 1097678 h 1171539"/>
                  <a:gd name="connsiteX126" fmla="*/ 774555 w 1677683"/>
                  <a:gd name="connsiteY126" fmla="*/ 1102294 h 1171539"/>
                  <a:gd name="connsiteX127" fmla="*/ 765396 w 1677683"/>
                  <a:gd name="connsiteY127" fmla="*/ 1109036 h 1171539"/>
                  <a:gd name="connsiteX128" fmla="*/ 739970 w 1677683"/>
                  <a:gd name="connsiteY128" fmla="*/ 1114458 h 1171539"/>
                  <a:gd name="connsiteX129" fmla="*/ 737186 w 1677683"/>
                  <a:gd name="connsiteY129" fmla="*/ 1127647 h 1171539"/>
                  <a:gd name="connsiteX130" fmla="*/ 736014 w 1677683"/>
                  <a:gd name="connsiteY130" fmla="*/ 1131561 h 1171539"/>
                  <a:gd name="connsiteX131" fmla="*/ 705311 w 1677683"/>
                  <a:gd name="connsiteY131" fmla="*/ 1145087 h 1171539"/>
                  <a:gd name="connsiteX132" fmla="*/ 685967 w 1677683"/>
                  <a:gd name="connsiteY132" fmla="*/ 1120980 h 1171539"/>
                  <a:gd name="connsiteX133" fmla="*/ 680251 w 1677683"/>
                  <a:gd name="connsiteY133" fmla="*/ 1109036 h 1171539"/>
                  <a:gd name="connsiteX134" fmla="*/ 675123 w 1677683"/>
                  <a:gd name="connsiteY134" fmla="*/ 1100902 h 1171539"/>
                  <a:gd name="connsiteX135" fmla="*/ 669334 w 1677683"/>
                  <a:gd name="connsiteY135" fmla="*/ 1096432 h 1171539"/>
                  <a:gd name="connsiteX136" fmla="*/ 643248 w 1677683"/>
                  <a:gd name="connsiteY136" fmla="*/ 1059795 h 1171539"/>
                  <a:gd name="connsiteX137" fmla="*/ 631231 w 1677683"/>
                  <a:gd name="connsiteY137" fmla="*/ 1057743 h 1171539"/>
                  <a:gd name="connsiteX138" fmla="*/ 631231 w 1677683"/>
                  <a:gd name="connsiteY138" fmla="*/ 1043088 h 1171539"/>
                  <a:gd name="connsiteX139" fmla="*/ 640976 w 1677683"/>
                  <a:gd name="connsiteY139" fmla="*/ 1029899 h 1171539"/>
                  <a:gd name="connsiteX140" fmla="*/ 642222 w 1677683"/>
                  <a:gd name="connsiteY140" fmla="*/ 1016563 h 1171539"/>
                  <a:gd name="connsiteX141" fmla="*/ 654825 w 1677683"/>
                  <a:gd name="connsiteY141" fmla="*/ 993042 h 1171539"/>
                  <a:gd name="connsiteX142" fmla="*/ 661787 w 1677683"/>
                  <a:gd name="connsiteY142" fmla="*/ 967470 h 1171539"/>
                  <a:gd name="connsiteX143" fmla="*/ 611740 w 1677683"/>
                  <a:gd name="connsiteY143" fmla="*/ 917716 h 1171539"/>
                  <a:gd name="connsiteX144" fmla="*/ 611740 w 1677683"/>
                  <a:gd name="connsiteY144" fmla="*/ 909656 h 1171539"/>
                  <a:gd name="connsiteX145" fmla="*/ 591590 w 1677683"/>
                  <a:gd name="connsiteY145" fmla="*/ 889872 h 1171539"/>
                  <a:gd name="connsiteX146" fmla="*/ 575909 w 1677683"/>
                  <a:gd name="connsiteY146" fmla="*/ 893609 h 1171539"/>
                  <a:gd name="connsiteX147" fmla="*/ 554512 w 1677683"/>
                  <a:gd name="connsiteY147" fmla="*/ 902035 h 1171539"/>
                  <a:gd name="connsiteX148" fmla="*/ 547185 w 1677683"/>
                  <a:gd name="connsiteY148" fmla="*/ 906505 h 1171539"/>
                  <a:gd name="connsiteX149" fmla="*/ 539418 w 1677683"/>
                  <a:gd name="connsiteY149" fmla="*/ 934936 h 1171539"/>
                  <a:gd name="connsiteX150" fmla="*/ 529966 w 1677683"/>
                  <a:gd name="connsiteY150" fmla="*/ 936694 h 1171539"/>
                  <a:gd name="connsiteX151" fmla="*/ 509083 w 1677683"/>
                  <a:gd name="connsiteY151" fmla="*/ 944021 h 1171539"/>
                  <a:gd name="connsiteX152" fmla="*/ 501316 w 1677683"/>
                  <a:gd name="connsiteY152" fmla="*/ 964172 h 1171539"/>
                  <a:gd name="connsiteX153" fmla="*/ 505419 w 1677683"/>
                  <a:gd name="connsiteY153" fmla="*/ 978094 h 1171539"/>
                  <a:gd name="connsiteX154" fmla="*/ 492010 w 1677683"/>
                  <a:gd name="connsiteY154" fmla="*/ 995241 h 1171539"/>
                  <a:gd name="connsiteX155" fmla="*/ 474864 w 1677683"/>
                  <a:gd name="connsiteY155" fmla="*/ 981832 h 1171539"/>
                  <a:gd name="connsiteX156" fmla="*/ 473764 w 1677683"/>
                  <a:gd name="connsiteY156" fmla="*/ 965784 h 1171539"/>
                  <a:gd name="connsiteX157" fmla="*/ 474570 w 1677683"/>
                  <a:gd name="connsiteY157" fmla="*/ 964099 h 1171539"/>
                  <a:gd name="connsiteX158" fmla="*/ 465778 w 1677683"/>
                  <a:gd name="connsiteY158" fmla="*/ 929806 h 1171539"/>
                  <a:gd name="connsiteX159" fmla="*/ 458450 w 1677683"/>
                  <a:gd name="connsiteY159" fmla="*/ 925264 h 1171539"/>
                  <a:gd name="connsiteX160" fmla="*/ 452149 w 1677683"/>
                  <a:gd name="connsiteY160" fmla="*/ 924091 h 1171539"/>
                  <a:gd name="connsiteX161" fmla="*/ 426282 w 1677683"/>
                  <a:gd name="connsiteY161" fmla="*/ 928488 h 1171539"/>
                  <a:gd name="connsiteX162" fmla="*/ 393749 w 1677683"/>
                  <a:gd name="connsiteY162" fmla="*/ 943143 h 1171539"/>
                  <a:gd name="connsiteX163" fmla="*/ 383491 w 1677683"/>
                  <a:gd name="connsiteY163" fmla="*/ 936987 h 1171539"/>
                  <a:gd name="connsiteX164" fmla="*/ 354914 w 1677683"/>
                  <a:gd name="connsiteY164" fmla="*/ 930832 h 1171539"/>
                  <a:gd name="connsiteX165" fmla="*/ 345387 w 1677683"/>
                  <a:gd name="connsiteY165" fmla="*/ 925117 h 1171539"/>
                  <a:gd name="connsiteX166" fmla="*/ 328682 w 1677683"/>
                  <a:gd name="connsiteY166" fmla="*/ 922479 h 1171539"/>
                  <a:gd name="connsiteX167" fmla="*/ 263320 w 1677683"/>
                  <a:gd name="connsiteY167" fmla="*/ 886722 h 1171539"/>
                  <a:gd name="connsiteX168" fmla="*/ 236648 w 1677683"/>
                  <a:gd name="connsiteY168" fmla="*/ 864079 h 1171539"/>
                  <a:gd name="connsiteX169" fmla="*/ 236319 w 1677683"/>
                  <a:gd name="connsiteY169" fmla="*/ 863669 h 1171539"/>
                  <a:gd name="connsiteX170" fmla="*/ 188141 w 1677683"/>
                  <a:gd name="connsiteY170" fmla="*/ 859097 h 1171539"/>
                  <a:gd name="connsiteX171" fmla="*/ 184038 w 1677683"/>
                  <a:gd name="connsiteY171" fmla="*/ 861221 h 1171539"/>
                  <a:gd name="connsiteX172" fmla="*/ 175172 w 1677683"/>
                  <a:gd name="connsiteY172" fmla="*/ 838873 h 1171539"/>
                  <a:gd name="connsiteX173" fmla="*/ 157805 w 1677683"/>
                  <a:gd name="connsiteY173" fmla="*/ 829641 h 1171539"/>
                  <a:gd name="connsiteX174" fmla="*/ 134723 w 1677683"/>
                  <a:gd name="connsiteY174" fmla="*/ 810662 h 1171539"/>
                  <a:gd name="connsiteX175" fmla="*/ 134723 w 1677683"/>
                  <a:gd name="connsiteY175" fmla="*/ 780766 h 1171539"/>
                  <a:gd name="connsiteX176" fmla="*/ 147621 w 1677683"/>
                  <a:gd name="connsiteY176" fmla="*/ 774978 h 1171539"/>
                  <a:gd name="connsiteX177" fmla="*/ 148134 w 1677683"/>
                  <a:gd name="connsiteY177" fmla="*/ 752995 h 1171539"/>
                  <a:gd name="connsiteX178" fmla="*/ 139267 w 1677683"/>
                  <a:gd name="connsiteY178" fmla="*/ 730647 h 1171539"/>
                  <a:gd name="connsiteX179" fmla="*/ 144470 w 1677683"/>
                  <a:gd name="connsiteY179" fmla="*/ 728961 h 1171539"/>
                  <a:gd name="connsiteX180" fmla="*/ 155680 w 1677683"/>
                  <a:gd name="connsiteY180" fmla="*/ 722366 h 1171539"/>
                  <a:gd name="connsiteX181" fmla="*/ 155680 w 1677683"/>
                  <a:gd name="connsiteY181" fmla="*/ 718703 h 1171539"/>
                  <a:gd name="connsiteX182" fmla="*/ 160810 w 1677683"/>
                  <a:gd name="connsiteY182" fmla="*/ 711375 h 1171539"/>
                  <a:gd name="connsiteX183" fmla="*/ 169309 w 1677683"/>
                  <a:gd name="connsiteY183" fmla="*/ 707711 h 1171539"/>
                  <a:gd name="connsiteX184" fmla="*/ 171258 w 1677683"/>
                  <a:gd name="connsiteY184" fmla="*/ 706370 h 1171539"/>
                  <a:gd name="connsiteX185" fmla="*/ 174586 w 1677683"/>
                  <a:gd name="connsiteY185" fmla="*/ 679427 h 1171539"/>
                  <a:gd name="connsiteX186" fmla="*/ 167257 w 1677683"/>
                  <a:gd name="connsiteY186" fmla="*/ 673493 h 1171539"/>
                  <a:gd name="connsiteX187" fmla="*/ 153922 w 1677683"/>
                  <a:gd name="connsiteY187" fmla="*/ 664407 h 1171539"/>
                  <a:gd name="connsiteX188" fmla="*/ 148060 w 1677683"/>
                  <a:gd name="connsiteY188" fmla="*/ 661036 h 1171539"/>
                  <a:gd name="connsiteX189" fmla="*/ 130547 w 1677683"/>
                  <a:gd name="connsiteY189" fmla="*/ 663821 h 1171539"/>
                  <a:gd name="connsiteX190" fmla="*/ 119410 w 1677683"/>
                  <a:gd name="connsiteY190" fmla="*/ 678475 h 1171539"/>
                  <a:gd name="connsiteX191" fmla="*/ 115893 w 1677683"/>
                  <a:gd name="connsiteY191" fmla="*/ 685290 h 1171539"/>
                  <a:gd name="connsiteX192" fmla="*/ 113181 w 1677683"/>
                  <a:gd name="connsiteY192" fmla="*/ 687928 h 1171539"/>
                  <a:gd name="connsiteX193" fmla="*/ 109370 w 1677683"/>
                  <a:gd name="connsiteY193" fmla="*/ 680600 h 1171539"/>
                  <a:gd name="connsiteX194" fmla="*/ 104096 w 1677683"/>
                  <a:gd name="connsiteY194" fmla="*/ 679867 h 1171539"/>
                  <a:gd name="connsiteX195" fmla="*/ 90760 w 1677683"/>
                  <a:gd name="connsiteY195" fmla="*/ 680526 h 1171539"/>
                  <a:gd name="connsiteX196" fmla="*/ 90320 w 1677683"/>
                  <a:gd name="connsiteY196" fmla="*/ 678255 h 1171539"/>
                  <a:gd name="connsiteX197" fmla="*/ 83651 w 1677683"/>
                  <a:gd name="connsiteY197" fmla="*/ 668583 h 1171539"/>
                  <a:gd name="connsiteX198" fmla="*/ 52071 w 1677683"/>
                  <a:gd name="connsiteY198" fmla="*/ 634511 h 1171539"/>
                  <a:gd name="connsiteX199" fmla="*/ 33899 w 1677683"/>
                  <a:gd name="connsiteY199" fmla="*/ 621102 h 1171539"/>
                  <a:gd name="connsiteX200" fmla="*/ 36757 w 1677683"/>
                  <a:gd name="connsiteY200" fmla="*/ 607766 h 1171539"/>
                  <a:gd name="connsiteX201" fmla="*/ 38295 w 1677683"/>
                  <a:gd name="connsiteY201" fmla="*/ 597800 h 1171539"/>
                  <a:gd name="connsiteX202" fmla="*/ 34485 w 1677683"/>
                  <a:gd name="connsiteY202" fmla="*/ 588934 h 1171539"/>
                  <a:gd name="connsiteX203" fmla="*/ 15213 w 1677683"/>
                  <a:gd name="connsiteY203" fmla="*/ 568123 h 1171539"/>
                  <a:gd name="connsiteX204" fmla="*/ 4222 w 1677683"/>
                  <a:gd name="connsiteY204" fmla="*/ 562848 h 1171539"/>
                  <a:gd name="connsiteX205" fmla="*/ 119 w 1677683"/>
                  <a:gd name="connsiteY205" fmla="*/ 548194 h 1171539"/>
                  <a:gd name="connsiteX206" fmla="*/ 119 w 1677683"/>
                  <a:gd name="connsiteY206" fmla="*/ 529728 h 1171539"/>
                  <a:gd name="connsiteX207" fmla="*/ 4222 w 1677683"/>
                  <a:gd name="connsiteY207" fmla="*/ 517858 h 1171539"/>
                  <a:gd name="connsiteX208" fmla="*/ 14773 w 1677683"/>
                  <a:gd name="connsiteY208" fmla="*/ 515073 h 1171539"/>
                  <a:gd name="connsiteX209" fmla="*/ 33459 w 1677683"/>
                  <a:gd name="connsiteY209" fmla="*/ 500052 h 1171539"/>
                  <a:gd name="connsiteX210" fmla="*/ 54195 w 1677683"/>
                  <a:gd name="connsiteY210" fmla="*/ 501078 h 1171539"/>
                  <a:gd name="connsiteX211" fmla="*/ 57712 w 1677683"/>
                  <a:gd name="connsiteY211" fmla="*/ 511555 h 1171539"/>
                  <a:gd name="connsiteX212" fmla="*/ 71341 w 1677683"/>
                  <a:gd name="connsiteY212" fmla="*/ 510311 h 1171539"/>
                  <a:gd name="connsiteX213" fmla="*/ 70975 w 1677683"/>
                  <a:gd name="connsiteY213" fmla="*/ 495656 h 1171539"/>
                  <a:gd name="connsiteX214" fmla="*/ 86143 w 1677683"/>
                  <a:gd name="connsiteY214" fmla="*/ 490966 h 1171539"/>
                  <a:gd name="connsiteX215" fmla="*/ 89367 w 1677683"/>
                  <a:gd name="connsiteY215" fmla="*/ 485543 h 1171539"/>
                  <a:gd name="connsiteX216" fmla="*/ 114867 w 1677683"/>
                  <a:gd name="connsiteY216" fmla="*/ 483858 h 1171539"/>
                  <a:gd name="connsiteX217" fmla="*/ 141612 w 1677683"/>
                  <a:gd name="connsiteY217" fmla="*/ 459678 h 1171539"/>
                  <a:gd name="connsiteX218" fmla="*/ 153775 w 1677683"/>
                  <a:gd name="connsiteY218" fmla="*/ 455062 h 1171539"/>
                  <a:gd name="connsiteX219" fmla="*/ 166085 w 1677683"/>
                  <a:gd name="connsiteY219" fmla="*/ 443630 h 1171539"/>
                  <a:gd name="connsiteX220" fmla="*/ 172460 w 1677683"/>
                  <a:gd name="connsiteY220" fmla="*/ 442384 h 1171539"/>
                  <a:gd name="connsiteX221" fmla="*/ 177149 w 1677683"/>
                  <a:gd name="connsiteY221" fmla="*/ 436523 h 1171539"/>
                  <a:gd name="connsiteX222" fmla="*/ 191804 w 1677683"/>
                  <a:gd name="connsiteY222" fmla="*/ 406627 h 1171539"/>
                  <a:gd name="connsiteX223" fmla="*/ 192574 w 1677683"/>
                  <a:gd name="connsiteY223" fmla="*/ 406326 h 1171539"/>
                  <a:gd name="connsiteX224" fmla="*/ 198253 w 1677683"/>
                  <a:gd name="connsiteY224" fmla="*/ 391972 h 1171539"/>
                  <a:gd name="connsiteX225" fmla="*/ 188288 w 1677683"/>
                  <a:gd name="connsiteY225" fmla="*/ 382007 h 1171539"/>
                  <a:gd name="connsiteX226" fmla="*/ 184184 w 1677683"/>
                  <a:gd name="connsiteY226" fmla="*/ 347201 h 1171539"/>
                  <a:gd name="connsiteX227" fmla="*/ 182572 w 1677683"/>
                  <a:gd name="connsiteY227" fmla="*/ 339361 h 1171539"/>
                  <a:gd name="connsiteX228" fmla="*/ 189093 w 1677683"/>
                  <a:gd name="connsiteY228" fmla="*/ 332033 h 1171539"/>
                  <a:gd name="connsiteX229" fmla="*/ 225731 w 1677683"/>
                  <a:gd name="connsiteY229" fmla="*/ 321775 h 1171539"/>
                  <a:gd name="connsiteX230" fmla="*/ 246467 w 1677683"/>
                  <a:gd name="connsiteY230" fmla="*/ 328151 h 1171539"/>
                  <a:gd name="connsiteX231" fmla="*/ 248299 w 1677683"/>
                  <a:gd name="connsiteY231" fmla="*/ 306168 h 1171539"/>
                  <a:gd name="connsiteX232" fmla="*/ 250131 w 1677683"/>
                  <a:gd name="connsiteY232" fmla="*/ 275100 h 1171539"/>
                  <a:gd name="connsiteX233" fmla="*/ 262074 w 1677683"/>
                  <a:gd name="connsiteY233" fmla="*/ 267772 h 1171539"/>
                  <a:gd name="connsiteX234" fmla="*/ 265372 w 1677683"/>
                  <a:gd name="connsiteY234" fmla="*/ 256048 h 1171539"/>
                  <a:gd name="connsiteX235" fmla="*/ 279221 w 1677683"/>
                  <a:gd name="connsiteY235" fmla="*/ 257880 h 1171539"/>
                  <a:gd name="connsiteX236" fmla="*/ 308531 w 1677683"/>
                  <a:gd name="connsiteY236" fmla="*/ 260812 h 1171539"/>
                  <a:gd name="connsiteX237" fmla="*/ 322673 w 1677683"/>
                  <a:gd name="connsiteY237" fmla="*/ 254583 h 1171539"/>
                  <a:gd name="connsiteX238" fmla="*/ 324505 w 1677683"/>
                  <a:gd name="connsiteY238" fmla="*/ 243812 h 1171539"/>
                  <a:gd name="connsiteX239" fmla="*/ 329048 w 1677683"/>
                  <a:gd name="connsiteY239" fmla="*/ 238536 h 1171539"/>
                  <a:gd name="connsiteX240" fmla="*/ 330366 w 1677683"/>
                  <a:gd name="connsiteY240" fmla="*/ 226592 h 1171539"/>
                  <a:gd name="connsiteX241" fmla="*/ 349711 w 1677683"/>
                  <a:gd name="connsiteY241" fmla="*/ 194791 h 1171539"/>
                  <a:gd name="connsiteX242" fmla="*/ 357039 w 1677683"/>
                  <a:gd name="connsiteY242" fmla="*/ 190835 h 1171539"/>
                  <a:gd name="connsiteX243" fmla="*/ 362827 w 1677683"/>
                  <a:gd name="connsiteY243" fmla="*/ 179036 h 1171539"/>
                  <a:gd name="connsiteX244" fmla="*/ 372060 w 1677683"/>
                  <a:gd name="connsiteY244" fmla="*/ 170610 h 1171539"/>
                  <a:gd name="connsiteX245" fmla="*/ 385102 w 1677683"/>
                  <a:gd name="connsiteY245" fmla="*/ 188636 h 1171539"/>
                  <a:gd name="connsiteX246" fmla="*/ 396387 w 1677683"/>
                  <a:gd name="connsiteY246" fmla="*/ 197575 h 1171539"/>
                  <a:gd name="connsiteX247" fmla="*/ 408184 w 1677683"/>
                  <a:gd name="connsiteY247" fmla="*/ 211204 h 1171539"/>
                  <a:gd name="connsiteX248" fmla="*/ 432731 w 1677683"/>
                  <a:gd name="connsiteY248" fmla="*/ 213916 h 1171539"/>
                  <a:gd name="connsiteX249" fmla="*/ 455226 w 1677683"/>
                  <a:gd name="connsiteY249" fmla="*/ 233700 h 1171539"/>
                  <a:gd name="connsiteX250" fmla="*/ 475157 w 1677683"/>
                  <a:gd name="connsiteY250" fmla="*/ 264035 h 1171539"/>
                  <a:gd name="connsiteX251" fmla="*/ 458010 w 1677683"/>
                  <a:gd name="connsiteY251" fmla="*/ 305948 h 1171539"/>
                  <a:gd name="connsiteX252" fmla="*/ 457644 w 1677683"/>
                  <a:gd name="connsiteY252" fmla="*/ 318259 h 1171539"/>
                  <a:gd name="connsiteX253" fmla="*/ 472299 w 1677683"/>
                  <a:gd name="connsiteY253" fmla="*/ 325586 h 1171539"/>
                  <a:gd name="connsiteX254" fmla="*/ 474424 w 1677683"/>
                  <a:gd name="connsiteY254" fmla="*/ 330569 h 1171539"/>
                  <a:gd name="connsiteX255" fmla="*/ 478601 w 1677683"/>
                  <a:gd name="connsiteY255" fmla="*/ 331887 h 1171539"/>
                  <a:gd name="connsiteX256" fmla="*/ 539785 w 1677683"/>
                  <a:gd name="connsiteY256" fmla="*/ 337310 h 1171539"/>
                  <a:gd name="connsiteX257" fmla="*/ 540517 w 1677683"/>
                  <a:gd name="connsiteY257" fmla="*/ 352697 h 1171539"/>
                  <a:gd name="connsiteX258" fmla="*/ 573637 w 1677683"/>
                  <a:gd name="connsiteY258" fmla="*/ 372554 h 1171539"/>
                  <a:gd name="connsiteX259" fmla="*/ 577595 w 1677683"/>
                  <a:gd name="connsiteY259" fmla="*/ 380761 h 1171539"/>
                  <a:gd name="connsiteX260" fmla="*/ 588219 w 1677683"/>
                  <a:gd name="connsiteY260" fmla="*/ 386477 h 1171539"/>
                  <a:gd name="connsiteX261" fmla="*/ 590051 w 1677683"/>
                  <a:gd name="connsiteY261" fmla="*/ 392778 h 1171539"/>
                  <a:gd name="connsiteX262" fmla="*/ 602581 w 1677683"/>
                  <a:gd name="connsiteY262" fmla="*/ 417545 h 1171539"/>
                  <a:gd name="connsiteX263" fmla="*/ 618188 w 1677683"/>
                  <a:gd name="connsiteY263" fmla="*/ 423554 h 1171539"/>
                  <a:gd name="connsiteX264" fmla="*/ 733595 w 1677683"/>
                  <a:gd name="connsiteY264" fmla="*/ 424433 h 1171539"/>
                  <a:gd name="connsiteX265" fmla="*/ 754405 w 1677683"/>
                  <a:gd name="connsiteY265" fmla="*/ 437329 h 1171539"/>
                  <a:gd name="connsiteX266" fmla="*/ 764372 w 1677683"/>
                  <a:gd name="connsiteY266" fmla="*/ 439528 h 1171539"/>
                  <a:gd name="connsiteX267" fmla="*/ 780271 w 1677683"/>
                  <a:gd name="connsiteY267" fmla="*/ 448467 h 1171539"/>
                  <a:gd name="connsiteX268" fmla="*/ 791923 w 1677683"/>
                  <a:gd name="connsiteY268" fmla="*/ 449639 h 1171539"/>
                  <a:gd name="connsiteX269" fmla="*/ 805917 w 1677683"/>
                  <a:gd name="connsiteY269" fmla="*/ 456967 h 1171539"/>
                  <a:gd name="connsiteX270" fmla="*/ 832735 w 1677683"/>
                  <a:gd name="connsiteY270" fmla="*/ 459165 h 1171539"/>
                  <a:gd name="connsiteX271" fmla="*/ 849442 w 1677683"/>
                  <a:gd name="connsiteY271" fmla="*/ 465760 h 1171539"/>
                  <a:gd name="connsiteX272" fmla="*/ 867175 w 1677683"/>
                  <a:gd name="connsiteY272" fmla="*/ 444436 h 1171539"/>
                  <a:gd name="connsiteX273" fmla="*/ 941769 w 1677683"/>
                  <a:gd name="connsiteY273" fmla="*/ 431540 h 1171539"/>
                  <a:gd name="connsiteX274" fmla="*/ 969832 w 1677683"/>
                  <a:gd name="connsiteY274" fmla="*/ 432639 h 1171539"/>
                  <a:gd name="connsiteX275" fmla="*/ 980897 w 1677683"/>
                  <a:gd name="connsiteY275" fmla="*/ 430734 h 1171539"/>
                  <a:gd name="connsiteX276" fmla="*/ 985953 w 1677683"/>
                  <a:gd name="connsiteY276" fmla="*/ 421429 h 1171539"/>
                  <a:gd name="connsiteX277" fmla="*/ 1010793 w 1677683"/>
                  <a:gd name="connsiteY277" fmla="*/ 402963 h 1171539"/>
                  <a:gd name="connsiteX278" fmla="*/ 1031236 w 1677683"/>
                  <a:gd name="connsiteY278" fmla="*/ 380981 h 1171539"/>
                  <a:gd name="connsiteX279" fmla="*/ 1022150 w 1677683"/>
                  <a:gd name="connsiteY279" fmla="*/ 346029 h 1171539"/>
                  <a:gd name="connsiteX280" fmla="*/ 1040688 w 1677683"/>
                  <a:gd name="connsiteY280" fmla="*/ 333133 h 1171539"/>
                  <a:gd name="connsiteX281" fmla="*/ 1063844 w 1677683"/>
                  <a:gd name="connsiteY281" fmla="*/ 339142 h 1171539"/>
                  <a:gd name="connsiteX282" fmla="*/ 1076740 w 1677683"/>
                  <a:gd name="connsiteY282" fmla="*/ 342513 h 1171539"/>
                  <a:gd name="connsiteX283" fmla="*/ 1086778 w 1677683"/>
                  <a:gd name="connsiteY283" fmla="*/ 335184 h 1171539"/>
                  <a:gd name="connsiteX284" fmla="*/ 1121584 w 1677683"/>
                  <a:gd name="connsiteY284" fmla="*/ 324706 h 1171539"/>
                  <a:gd name="connsiteX285" fmla="*/ 1151773 w 1677683"/>
                  <a:gd name="connsiteY285" fmla="*/ 314155 h 1171539"/>
                  <a:gd name="connsiteX286" fmla="*/ 1157708 w 1677683"/>
                  <a:gd name="connsiteY286" fmla="*/ 299500 h 1171539"/>
                  <a:gd name="connsiteX287" fmla="*/ 1163935 w 1677683"/>
                  <a:gd name="connsiteY287" fmla="*/ 293125 h 1171539"/>
                  <a:gd name="connsiteX288" fmla="*/ 1197642 w 1677683"/>
                  <a:gd name="connsiteY288" fmla="*/ 276784 h 1171539"/>
                  <a:gd name="connsiteX289" fmla="*/ 1209952 w 1677683"/>
                  <a:gd name="connsiteY289" fmla="*/ 277810 h 1171539"/>
                  <a:gd name="connsiteX290" fmla="*/ 1229737 w 1677683"/>
                  <a:gd name="connsiteY290" fmla="*/ 271436 h 1171539"/>
                  <a:gd name="connsiteX291" fmla="*/ 1262929 w 1677683"/>
                  <a:gd name="connsiteY291" fmla="*/ 275978 h 1171539"/>
                  <a:gd name="connsiteX292" fmla="*/ 1252818 w 1677683"/>
                  <a:gd name="connsiteY292" fmla="*/ 254583 h 1171539"/>
                  <a:gd name="connsiteX293" fmla="*/ 1232520 w 1677683"/>
                  <a:gd name="connsiteY293" fmla="*/ 239928 h 1171539"/>
                  <a:gd name="connsiteX294" fmla="*/ 1210538 w 1677683"/>
                  <a:gd name="connsiteY294" fmla="*/ 218825 h 1171539"/>
                  <a:gd name="connsiteX295" fmla="*/ 1187750 w 1677683"/>
                  <a:gd name="connsiteY295" fmla="*/ 226812 h 1171539"/>
                  <a:gd name="connsiteX296" fmla="*/ 1157415 w 1677683"/>
                  <a:gd name="connsiteY296" fmla="*/ 226812 h 1171539"/>
                  <a:gd name="connsiteX297" fmla="*/ 1141001 w 1677683"/>
                  <a:gd name="connsiteY297" fmla="*/ 214282 h 1171539"/>
                  <a:gd name="connsiteX298" fmla="*/ 1142173 w 1677683"/>
                  <a:gd name="connsiteY298" fmla="*/ 209739 h 1171539"/>
                  <a:gd name="connsiteX299" fmla="*/ 1150528 w 1677683"/>
                  <a:gd name="connsiteY299" fmla="*/ 186877 h 1171539"/>
                  <a:gd name="connsiteX300" fmla="*/ 1174121 w 1677683"/>
                  <a:gd name="connsiteY300" fmla="*/ 157568 h 1171539"/>
                  <a:gd name="connsiteX301" fmla="*/ 1193833 w 1677683"/>
                  <a:gd name="connsiteY301" fmla="*/ 157568 h 1171539"/>
                  <a:gd name="connsiteX302" fmla="*/ 1234134 w 1677683"/>
                  <a:gd name="connsiteY302" fmla="*/ 145184 h 1171539"/>
                  <a:gd name="connsiteX303" fmla="*/ 1264543 w 1677683"/>
                  <a:gd name="connsiteY303" fmla="*/ 87590 h 1171539"/>
                  <a:gd name="connsiteX304" fmla="*/ 1268572 w 1677683"/>
                  <a:gd name="connsiteY304" fmla="*/ 74694 h 1171539"/>
                  <a:gd name="connsiteX305" fmla="*/ 1279709 w 1677683"/>
                  <a:gd name="connsiteY305" fmla="*/ 63117 h 1171539"/>
                  <a:gd name="connsiteX306" fmla="*/ 1281102 w 1677683"/>
                  <a:gd name="connsiteY306" fmla="*/ 61014 h 1171539"/>
                  <a:gd name="connsiteX307" fmla="*/ 1272894 w 1677683"/>
                  <a:gd name="connsiteY307" fmla="*/ 31022 h 1171539"/>
                  <a:gd name="connsiteX308" fmla="*/ 1278098 w 1677683"/>
                  <a:gd name="connsiteY308" fmla="*/ 9041 h 1171539"/>
                  <a:gd name="connsiteX309" fmla="*/ 1300813 w 1677683"/>
                  <a:gd name="connsiteY309" fmla="*/ 2665 h 117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1677683" h="1171539">
                    <a:moveTo>
                      <a:pt x="1300813" y="2665"/>
                    </a:moveTo>
                    <a:cubicBezTo>
                      <a:pt x="1325140" y="-888"/>
                      <a:pt x="1349760" y="-888"/>
                      <a:pt x="1374088" y="2665"/>
                    </a:cubicBezTo>
                    <a:cubicBezTo>
                      <a:pt x="1398634" y="6403"/>
                      <a:pt x="1420616" y="19907"/>
                      <a:pt x="1435051" y="40108"/>
                    </a:cubicBezTo>
                    <a:cubicBezTo>
                      <a:pt x="1441352" y="49854"/>
                      <a:pt x="1445090" y="61138"/>
                      <a:pt x="1451685" y="70737"/>
                    </a:cubicBezTo>
                    <a:cubicBezTo>
                      <a:pt x="1454689" y="74540"/>
                      <a:pt x="1457253" y="78673"/>
                      <a:pt x="1459379" y="83047"/>
                    </a:cubicBezTo>
                    <a:cubicBezTo>
                      <a:pt x="1460405" y="86176"/>
                      <a:pt x="1461137" y="89385"/>
                      <a:pt x="1461576" y="92647"/>
                    </a:cubicBezTo>
                    <a:cubicBezTo>
                      <a:pt x="1464288" y="108217"/>
                      <a:pt x="1469856" y="123136"/>
                      <a:pt x="1478137" y="136612"/>
                    </a:cubicBezTo>
                    <a:cubicBezTo>
                      <a:pt x="1480189" y="139571"/>
                      <a:pt x="1481874" y="142766"/>
                      <a:pt x="1483120" y="146137"/>
                    </a:cubicBezTo>
                    <a:cubicBezTo>
                      <a:pt x="1483632" y="150071"/>
                      <a:pt x="1484879" y="153874"/>
                      <a:pt x="1486783" y="157348"/>
                    </a:cubicBezTo>
                    <a:cubicBezTo>
                      <a:pt x="1488615" y="159245"/>
                      <a:pt x="1490886" y="160703"/>
                      <a:pt x="1493378" y="161598"/>
                    </a:cubicBezTo>
                    <a:lnTo>
                      <a:pt x="1520856" y="173542"/>
                    </a:lnTo>
                    <a:cubicBezTo>
                      <a:pt x="1533825" y="178107"/>
                      <a:pt x="1545622" y="185346"/>
                      <a:pt x="1555588" y="194791"/>
                    </a:cubicBezTo>
                    <a:cubicBezTo>
                      <a:pt x="1565847" y="206003"/>
                      <a:pt x="1571415" y="221682"/>
                      <a:pt x="1584898" y="227984"/>
                    </a:cubicBezTo>
                    <a:cubicBezTo>
                      <a:pt x="1594131" y="231429"/>
                      <a:pt x="1604242" y="231817"/>
                      <a:pt x="1613694" y="229084"/>
                    </a:cubicBezTo>
                    <a:cubicBezTo>
                      <a:pt x="1628569" y="225940"/>
                      <a:pt x="1643004" y="220810"/>
                      <a:pt x="1656561" y="213842"/>
                    </a:cubicBezTo>
                    <a:cubicBezTo>
                      <a:pt x="1659418" y="212040"/>
                      <a:pt x="1662642" y="210933"/>
                      <a:pt x="1666012" y="210618"/>
                    </a:cubicBezTo>
                    <a:lnTo>
                      <a:pt x="1666012" y="210252"/>
                    </a:lnTo>
                    <a:cubicBezTo>
                      <a:pt x="1672314" y="211190"/>
                      <a:pt x="1677150" y="216348"/>
                      <a:pt x="1677662" y="222708"/>
                    </a:cubicBezTo>
                    <a:cubicBezTo>
                      <a:pt x="1677883" y="229260"/>
                      <a:pt x="1676418" y="235751"/>
                      <a:pt x="1673486" y="241613"/>
                    </a:cubicBezTo>
                    <a:lnTo>
                      <a:pt x="1655680" y="285945"/>
                    </a:lnTo>
                    <a:cubicBezTo>
                      <a:pt x="1648352" y="303751"/>
                      <a:pt x="1638022" y="324194"/>
                      <a:pt x="1619044" y="326758"/>
                    </a:cubicBezTo>
                    <a:cubicBezTo>
                      <a:pt x="1610764" y="328004"/>
                      <a:pt x="1601970" y="325219"/>
                      <a:pt x="1594131" y="328004"/>
                    </a:cubicBezTo>
                    <a:cubicBezTo>
                      <a:pt x="1590540" y="329337"/>
                      <a:pt x="1587316" y="331470"/>
                      <a:pt x="1584677" y="334232"/>
                    </a:cubicBezTo>
                    <a:cubicBezTo>
                      <a:pt x="1574786" y="345224"/>
                      <a:pt x="1569949" y="359871"/>
                      <a:pt x="1571343" y="374606"/>
                    </a:cubicBezTo>
                    <a:cubicBezTo>
                      <a:pt x="1572222" y="385158"/>
                      <a:pt x="1574492" y="395555"/>
                      <a:pt x="1578010" y="405528"/>
                    </a:cubicBezTo>
                    <a:lnTo>
                      <a:pt x="1572438" y="411099"/>
                    </a:lnTo>
                    <a:lnTo>
                      <a:pt x="1570573" y="411472"/>
                    </a:lnTo>
                    <a:cubicBezTo>
                      <a:pt x="1567561" y="412978"/>
                      <a:pt x="1566169" y="416658"/>
                      <a:pt x="1563429" y="418616"/>
                    </a:cubicBezTo>
                    <a:cubicBezTo>
                      <a:pt x="1560540" y="420679"/>
                      <a:pt x="1556986" y="421618"/>
                      <a:pt x="1553904" y="423379"/>
                    </a:cubicBezTo>
                    <a:cubicBezTo>
                      <a:pt x="1551419" y="424799"/>
                      <a:pt x="1549320" y="426861"/>
                      <a:pt x="1546760" y="428141"/>
                    </a:cubicBezTo>
                    <a:cubicBezTo>
                      <a:pt x="1544515" y="429263"/>
                      <a:pt x="1541862" y="429400"/>
                      <a:pt x="1539617" y="430522"/>
                    </a:cubicBezTo>
                    <a:cubicBezTo>
                      <a:pt x="1535876" y="432393"/>
                      <a:pt x="1525465" y="440631"/>
                      <a:pt x="1522948" y="442429"/>
                    </a:cubicBezTo>
                    <a:cubicBezTo>
                      <a:pt x="1510252" y="451497"/>
                      <a:pt x="1520676" y="442319"/>
                      <a:pt x="1506279" y="456716"/>
                    </a:cubicBezTo>
                    <a:cubicBezTo>
                      <a:pt x="1491992" y="459891"/>
                      <a:pt x="1477655" y="462851"/>
                      <a:pt x="1463417" y="466241"/>
                    </a:cubicBezTo>
                    <a:cubicBezTo>
                      <a:pt x="1460975" y="466822"/>
                      <a:pt x="1458604" y="467690"/>
                      <a:pt x="1456273" y="468622"/>
                    </a:cubicBezTo>
                    <a:cubicBezTo>
                      <a:pt x="1450660" y="470867"/>
                      <a:pt x="1445297" y="473733"/>
                      <a:pt x="1439604" y="475766"/>
                    </a:cubicBezTo>
                    <a:cubicBezTo>
                      <a:pt x="1434162" y="477710"/>
                      <a:pt x="1428300" y="478383"/>
                      <a:pt x="1422935" y="480529"/>
                    </a:cubicBezTo>
                    <a:cubicBezTo>
                      <a:pt x="1413964" y="484118"/>
                      <a:pt x="1413316" y="490148"/>
                      <a:pt x="1406267" y="497197"/>
                    </a:cubicBezTo>
                    <a:cubicBezTo>
                      <a:pt x="1404243" y="499221"/>
                      <a:pt x="1401504" y="500372"/>
                      <a:pt x="1399123" y="501960"/>
                    </a:cubicBezTo>
                    <a:cubicBezTo>
                      <a:pt x="1394361" y="505135"/>
                      <a:pt x="1393817" y="512379"/>
                      <a:pt x="1389598" y="516247"/>
                    </a:cubicBezTo>
                    <a:lnTo>
                      <a:pt x="1388382" y="517007"/>
                    </a:lnTo>
                    <a:lnTo>
                      <a:pt x="1387422" y="514780"/>
                    </a:lnTo>
                    <a:cubicBezTo>
                      <a:pt x="1383540" y="511703"/>
                      <a:pt x="1377824" y="514340"/>
                      <a:pt x="1373647" y="517052"/>
                    </a:cubicBezTo>
                    <a:lnTo>
                      <a:pt x="1349320" y="532513"/>
                    </a:lnTo>
                    <a:lnTo>
                      <a:pt x="1325580" y="547534"/>
                    </a:lnTo>
                    <a:cubicBezTo>
                      <a:pt x="1319352" y="550832"/>
                      <a:pt x="1314074" y="555587"/>
                      <a:pt x="1310118" y="561383"/>
                    </a:cubicBezTo>
                    <a:cubicBezTo>
                      <a:pt x="1308360" y="561060"/>
                      <a:pt x="1306676" y="560438"/>
                      <a:pt x="1305135" y="559551"/>
                    </a:cubicBezTo>
                    <a:cubicBezTo>
                      <a:pt x="1297662" y="555235"/>
                      <a:pt x="1295097" y="545694"/>
                      <a:pt x="1299421" y="538229"/>
                    </a:cubicBezTo>
                    <a:cubicBezTo>
                      <a:pt x="1302498" y="533832"/>
                      <a:pt x="1308213" y="530168"/>
                      <a:pt x="1307482" y="524893"/>
                    </a:cubicBezTo>
                    <a:lnTo>
                      <a:pt x="1322135" y="511923"/>
                    </a:lnTo>
                    <a:cubicBezTo>
                      <a:pt x="1323454" y="510787"/>
                      <a:pt x="1324773" y="509541"/>
                      <a:pt x="1325873" y="508186"/>
                    </a:cubicBezTo>
                    <a:cubicBezTo>
                      <a:pt x="1328218" y="505064"/>
                      <a:pt x="1329390" y="501173"/>
                      <a:pt x="1329024" y="497268"/>
                    </a:cubicBezTo>
                    <a:cubicBezTo>
                      <a:pt x="1327924" y="484810"/>
                      <a:pt x="1311218" y="479022"/>
                      <a:pt x="1299714" y="483932"/>
                    </a:cubicBezTo>
                    <a:cubicBezTo>
                      <a:pt x="1288210" y="488841"/>
                      <a:pt x="1280955" y="500125"/>
                      <a:pt x="1274361" y="510824"/>
                    </a:cubicBezTo>
                    <a:cubicBezTo>
                      <a:pt x="1267546" y="510391"/>
                      <a:pt x="1260732" y="511240"/>
                      <a:pt x="1254210" y="513314"/>
                    </a:cubicBezTo>
                    <a:cubicBezTo>
                      <a:pt x="1247616" y="515469"/>
                      <a:pt x="1242706" y="521112"/>
                      <a:pt x="1241534" y="527969"/>
                    </a:cubicBezTo>
                    <a:cubicBezTo>
                      <a:pt x="1241607" y="530439"/>
                      <a:pt x="1241314" y="532901"/>
                      <a:pt x="1240728" y="535297"/>
                    </a:cubicBezTo>
                    <a:cubicBezTo>
                      <a:pt x="1238090" y="542038"/>
                      <a:pt x="1225633" y="543137"/>
                      <a:pt x="1226512" y="550465"/>
                    </a:cubicBezTo>
                    <a:lnTo>
                      <a:pt x="1197202" y="550465"/>
                    </a:lnTo>
                    <a:cubicBezTo>
                      <a:pt x="1194491" y="556613"/>
                      <a:pt x="1193245" y="563310"/>
                      <a:pt x="1193538" y="570029"/>
                    </a:cubicBezTo>
                    <a:cubicBezTo>
                      <a:pt x="1193906" y="576953"/>
                      <a:pt x="1199108" y="582669"/>
                      <a:pt x="1205923" y="583731"/>
                    </a:cubicBezTo>
                    <a:cubicBezTo>
                      <a:pt x="1210172" y="583951"/>
                      <a:pt x="1214642" y="581754"/>
                      <a:pt x="1218672" y="583145"/>
                    </a:cubicBezTo>
                    <a:cubicBezTo>
                      <a:pt x="1222410" y="585175"/>
                      <a:pt x="1225120" y="588728"/>
                      <a:pt x="1225999" y="592891"/>
                    </a:cubicBezTo>
                    <a:cubicBezTo>
                      <a:pt x="1229224" y="601171"/>
                      <a:pt x="1232520" y="609525"/>
                      <a:pt x="1235818" y="617877"/>
                    </a:cubicBezTo>
                    <a:lnTo>
                      <a:pt x="1255969" y="619856"/>
                    </a:lnTo>
                    <a:cubicBezTo>
                      <a:pt x="1255749" y="618111"/>
                      <a:pt x="1255896" y="616346"/>
                      <a:pt x="1256335" y="614645"/>
                    </a:cubicBezTo>
                    <a:cubicBezTo>
                      <a:pt x="1258314" y="606550"/>
                      <a:pt x="1266520" y="601596"/>
                      <a:pt x="1274581" y="603589"/>
                    </a:cubicBezTo>
                    <a:lnTo>
                      <a:pt x="1277438" y="593551"/>
                    </a:lnTo>
                    <a:cubicBezTo>
                      <a:pt x="1295610" y="603230"/>
                      <a:pt x="1315175" y="609957"/>
                      <a:pt x="1335471" y="613481"/>
                    </a:cubicBezTo>
                    <a:cubicBezTo>
                      <a:pt x="1337596" y="621248"/>
                      <a:pt x="1328729" y="627329"/>
                      <a:pt x="1320816" y="628136"/>
                    </a:cubicBezTo>
                    <a:cubicBezTo>
                      <a:pt x="1312903" y="628942"/>
                      <a:pt x="1304477" y="626597"/>
                      <a:pt x="1297149" y="628942"/>
                    </a:cubicBezTo>
                    <a:cubicBezTo>
                      <a:pt x="1300886" y="634584"/>
                      <a:pt x="1293265" y="640958"/>
                      <a:pt x="1286818" y="642937"/>
                    </a:cubicBezTo>
                    <a:cubicBezTo>
                      <a:pt x="1280369" y="644916"/>
                      <a:pt x="1271942" y="648213"/>
                      <a:pt x="1272602" y="654954"/>
                    </a:cubicBezTo>
                    <a:cubicBezTo>
                      <a:pt x="1272821" y="656332"/>
                      <a:pt x="1272821" y="657753"/>
                      <a:pt x="1272602" y="659131"/>
                    </a:cubicBezTo>
                    <a:cubicBezTo>
                      <a:pt x="1271723" y="661916"/>
                      <a:pt x="1268132" y="662575"/>
                      <a:pt x="1265274" y="663015"/>
                    </a:cubicBezTo>
                    <a:cubicBezTo>
                      <a:pt x="1252964" y="664875"/>
                      <a:pt x="1242486" y="672847"/>
                      <a:pt x="1237357" y="684191"/>
                    </a:cubicBezTo>
                    <a:cubicBezTo>
                      <a:pt x="1236112" y="686770"/>
                      <a:pt x="1235451" y="689554"/>
                      <a:pt x="1235233" y="692398"/>
                    </a:cubicBezTo>
                    <a:cubicBezTo>
                      <a:pt x="1234060" y="713867"/>
                      <a:pt x="1268352" y="721853"/>
                      <a:pt x="1271430" y="743177"/>
                    </a:cubicBezTo>
                    <a:cubicBezTo>
                      <a:pt x="1271503" y="746057"/>
                      <a:pt x="1272016" y="748907"/>
                      <a:pt x="1273042" y="751603"/>
                    </a:cubicBezTo>
                    <a:cubicBezTo>
                      <a:pt x="1275972" y="756586"/>
                      <a:pt x="1283300" y="758418"/>
                      <a:pt x="1283300" y="763913"/>
                    </a:cubicBezTo>
                    <a:cubicBezTo>
                      <a:pt x="1283007" y="766060"/>
                      <a:pt x="1282567" y="768171"/>
                      <a:pt x="1281834" y="770215"/>
                    </a:cubicBezTo>
                    <a:cubicBezTo>
                      <a:pt x="1280589" y="778348"/>
                      <a:pt x="1290407" y="783184"/>
                      <a:pt x="1298248" y="785676"/>
                    </a:cubicBezTo>
                    <a:cubicBezTo>
                      <a:pt x="1306088" y="788168"/>
                      <a:pt x="1315248" y="795494"/>
                      <a:pt x="1311364" y="802822"/>
                    </a:cubicBezTo>
                    <a:lnTo>
                      <a:pt x="1304036" y="807658"/>
                    </a:lnTo>
                    <a:cubicBezTo>
                      <a:pt x="1298102" y="796726"/>
                      <a:pt x="1286012" y="790622"/>
                      <a:pt x="1273702" y="792343"/>
                    </a:cubicBezTo>
                    <a:cubicBezTo>
                      <a:pt x="1269524" y="796447"/>
                      <a:pt x="1274068" y="803189"/>
                      <a:pt x="1278390" y="806998"/>
                    </a:cubicBezTo>
                    <a:lnTo>
                      <a:pt x="1296929" y="823119"/>
                    </a:lnTo>
                    <a:cubicBezTo>
                      <a:pt x="1300372" y="827039"/>
                      <a:pt x="1305135" y="829633"/>
                      <a:pt x="1310265" y="830447"/>
                    </a:cubicBezTo>
                    <a:cubicBezTo>
                      <a:pt x="1313929" y="833450"/>
                      <a:pt x="1310705" y="839239"/>
                      <a:pt x="1306602" y="840778"/>
                    </a:cubicBezTo>
                    <a:cubicBezTo>
                      <a:pt x="1302277" y="841614"/>
                      <a:pt x="1297882" y="842149"/>
                      <a:pt x="1293485" y="842390"/>
                    </a:cubicBezTo>
                    <a:cubicBezTo>
                      <a:pt x="1285718" y="844324"/>
                      <a:pt x="1280442" y="851542"/>
                      <a:pt x="1280955" y="859537"/>
                    </a:cubicBezTo>
                    <a:cubicBezTo>
                      <a:pt x="1285352" y="868036"/>
                      <a:pt x="1299421" y="857339"/>
                      <a:pt x="1307774" y="862101"/>
                    </a:cubicBezTo>
                    <a:cubicBezTo>
                      <a:pt x="1313416" y="865178"/>
                      <a:pt x="1312976" y="873532"/>
                      <a:pt x="1311364" y="879833"/>
                    </a:cubicBezTo>
                    <a:cubicBezTo>
                      <a:pt x="1305941" y="900995"/>
                      <a:pt x="1295903" y="920706"/>
                      <a:pt x="1282054" y="937574"/>
                    </a:cubicBezTo>
                    <a:cubicBezTo>
                      <a:pt x="1280589" y="939457"/>
                      <a:pt x="1278830" y="941069"/>
                      <a:pt x="1276778" y="942337"/>
                    </a:cubicBezTo>
                    <a:cubicBezTo>
                      <a:pt x="1273628" y="943560"/>
                      <a:pt x="1270184" y="944139"/>
                      <a:pt x="1266813" y="944021"/>
                    </a:cubicBezTo>
                    <a:cubicBezTo>
                      <a:pt x="1250253" y="945019"/>
                      <a:pt x="1234792" y="952653"/>
                      <a:pt x="1223874" y="965198"/>
                    </a:cubicBezTo>
                    <a:cubicBezTo>
                      <a:pt x="1223361" y="969302"/>
                      <a:pt x="1223361" y="972818"/>
                      <a:pt x="1223361" y="976629"/>
                    </a:cubicBezTo>
                    <a:cubicBezTo>
                      <a:pt x="1222410" y="996047"/>
                      <a:pt x="1219917" y="1013046"/>
                      <a:pt x="1218306" y="1032684"/>
                    </a:cubicBezTo>
                    <a:cubicBezTo>
                      <a:pt x="1218379" y="1035534"/>
                      <a:pt x="1217573" y="1038333"/>
                      <a:pt x="1216033" y="1040743"/>
                    </a:cubicBezTo>
                    <a:cubicBezTo>
                      <a:pt x="1214422" y="1042524"/>
                      <a:pt x="1212444" y="1043880"/>
                      <a:pt x="1210172" y="1044700"/>
                    </a:cubicBezTo>
                    <a:lnTo>
                      <a:pt x="1159540" y="1067929"/>
                    </a:lnTo>
                    <a:cubicBezTo>
                      <a:pt x="1147010" y="1073717"/>
                      <a:pt x="1133454" y="1080386"/>
                      <a:pt x="1127445" y="1092842"/>
                    </a:cubicBezTo>
                    <a:lnTo>
                      <a:pt x="1102532" y="1108597"/>
                    </a:lnTo>
                    <a:cubicBezTo>
                      <a:pt x="1097622" y="1097349"/>
                      <a:pt x="1084653" y="1091985"/>
                      <a:pt x="1073222" y="1096432"/>
                    </a:cubicBezTo>
                    <a:cubicBezTo>
                      <a:pt x="1073149" y="1097759"/>
                      <a:pt x="1072929" y="1099064"/>
                      <a:pt x="1072563" y="1100338"/>
                    </a:cubicBezTo>
                    <a:cubicBezTo>
                      <a:pt x="1069998" y="1109072"/>
                      <a:pt x="1060839" y="1114084"/>
                      <a:pt x="1052118" y="1111527"/>
                    </a:cubicBezTo>
                    <a:cubicBezTo>
                      <a:pt x="1055416" y="1120613"/>
                      <a:pt x="1048456" y="1130871"/>
                      <a:pt x="1039737" y="1135268"/>
                    </a:cubicBezTo>
                    <a:cubicBezTo>
                      <a:pt x="1030576" y="1138822"/>
                      <a:pt x="1021051" y="1141159"/>
                      <a:pt x="1011306" y="1142229"/>
                    </a:cubicBezTo>
                    <a:cubicBezTo>
                      <a:pt x="1001486" y="1143467"/>
                      <a:pt x="992767" y="1149212"/>
                      <a:pt x="987784" y="1157763"/>
                    </a:cubicBezTo>
                    <a:cubicBezTo>
                      <a:pt x="984927" y="1163332"/>
                      <a:pt x="983901" y="1171539"/>
                      <a:pt x="977599" y="1171539"/>
                    </a:cubicBezTo>
                    <a:cubicBezTo>
                      <a:pt x="971298" y="1171539"/>
                      <a:pt x="969978" y="1162307"/>
                      <a:pt x="972030" y="1156444"/>
                    </a:cubicBezTo>
                    <a:cubicBezTo>
                      <a:pt x="974082" y="1150583"/>
                      <a:pt x="977746" y="1143621"/>
                      <a:pt x="974082" y="1138491"/>
                    </a:cubicBezTo>
                    <a:lnTo>
                      <a:pt x="962578" y="1136954"/>
                    </a:lnTo>
                    <a:cubicBezTo>
                      <a:pt x="965656" y="1140104"/>
                      <a:pt x="959793" y="1145233"/>
                      <a:pt x="955909" y="1143255"/>
                    </a:cubicBezTo>
                    <a:cubicBezTo>
                      <a:pt x="952319" y="1140610"/>
                      <a:pt x="950341" y="1136338"/>
                      <a:pt x="950561" y="1131897"/>
                    </a:cubicBezTo>
                    <a:cubicBezTo>
                      <a:pt x="945358" y="1130761"/>
                      <a:pt x="939863" y="1131040"/>
                      <a:pt x="934807" y="1132704"/>
                    </a:cubicBezTo>
                    <a:cubicBezTo>
                      <a:pt x="929677" y="1134631"/>
                      <a:pt x="926893" y="1140272"/>
                      <a:pt x="928578" y="1145526"/>
                    </a:cubicBezTo>
                    <a:lnTo>
                      <a:pt x="927334" y="1145526"/>
                    </a:lnTo>
                    <a:cubicBezTo>
                      <a:pt x="922131" y="1141929"/>
                      <a:pt x="916489" y="1139020"/>
                      <a:pt x="910553" y="1136879"/>
                    </a:cubicBezTo>
                    <a:cubicBezTo>
                      <a:pt x="898610" y="1132337"/>
                      <a:pt x="884395" y="1125009"/>
                      <a:pt x="883955" y="1112113"/>
                    </a:cubicBezTo>
                    <a:cubicBezTo>
                      <a:pt x="884613" y="1108332"/>
                      <a:pt x="884613" y="1104463"/>
                      <a:pt x="883955" y="1100682"/>
                    </a:cubicBezTo>
                    <a:cubicBezTo>
                      <a:pt x="881683" y="1094746"/>
                      <a:pt x="874137" y="1093282"/>
                      <a:pt x="868054" y="1091523"/>
                    </a:cubicBezTo>
                    <a:cubicBezTo>
                      <a:pt x="859555" y="1089135"/>
                      <a:pt x="851787" y="1084591"/>
                      <a:pt x="845558" y="1078334"/>
                    </a:cubicBezTo>
                    <a:cubicBezTo>
                      <a:pt x="845265" y="1087859"/>
                      <a:pt x="838378" y="1095897"/>
                      <a:pt x="828999" y="1097678"/>
                    </a:cubicBezTo>
                    <a:cubicBezTo>
                      <a:pt x="819839" y="1099254"/>
                      <a:pt x="810534" y="1099254"/>
                      <a:pt x="801373" y="1097678"/>
                    </a:cubicBezTo>
                    <a:cubicBezTo>
                      <a:pt x="792141" y="1096008"/>
                      <a:pt x="782689" y="1097649"/>
                      <a:pt x="774555" y="1102294"/>
                    </a:cubicBezTo>
                    <a:cubicBezTo>
                      <a:pt x="771772" y="1104852"/>
                      <a:pt x="768694" y="1107116"/>
                      <a:pt x="765396" y="1109036"/>
                    </a:cubicBezTo>
                    <a:cubicBezTo>
                      <a:pt x="757189" y="1112552"/>
                      <a:pt x="745465" y="1107131"/>
                      <a:pt x="739970" y="1114458"/>
                    </a:cubicBezTo>
                    <a:cubicBezTo>
                      <a:pt x="737918" y="1118546"/>
                      <a:pt x="736967" y="1123090"/>
                      <a:pt x="737186" y="1127647"/>
                    </a:cubicBezTo>
                    <a:cubicBezTo>
                      <a:pt x="736894" y="1128982"/>
                      <a:pt x="736526" y="1130293"/>
                      <a:pt x="736014" y="1131561"/>
                    </a:cubicBezTo>
                    <a:cubicBezTo>
                      <a:pt x="731324" y="1143782"/>
                      <a:pt x="717549" y="1149835"/>
                      <a:pt x="705311" y="1145087"/>
                    </a:cubicBezTo>
                    <a:cubicBezTo>
                      <a:pt x="695712" y="1140690"/>
                      <a:pt x="690509" y="1130505"/>
                      <a:pt x="685967" y="1120980"/>
                    </a:cubicBezTo>
                    <a:lnTo>
                      <a:pt x="680251" y="1109036"/>
                    </a:lnTo>
                    <a:cubicBezTo>
                      <a:pt x="679007" y="1106054"/>
                      <a:pt x="677247" y="1103298"/>
                      <a:pt x="675123" y="1100902"/>
                    </a:cubicBezTo>
                    <a:cubicBezTo>
                      <a:pt x="673364" y="1099217"/>
                      <a:pt x="671239" y="1097971"/>
                      <a:pt x="669334" y="1096432"/>
                    </a:cubicBezTo>
                    <a:cubicBezTo>
                      <a:pt x="657537" y="1086247"/>
                      <a:pt x="658563" y="1062433"/>
                      <a:pt x="643248" y="1059795"/>
                    </a:cubicBezTo>
                    <a:cubicBezTo>
                      <a:pt x="639218" y="1059062"/>
                      <a:pt x="634529" y="1060235"/>
                      <a:pt x="631231" y="1057743"/>
                    </a:cubicBezTo>
                    <a:cubicBezTo>
                      <a:pt x="626615" y="1054739"/>
                      <a:pt x="627934" y="1047558"/>
                      <a:pt x="631231" y="1043088"/>
                    </a:cubicBezTo>
                    <a:cubicBezTo>
                      <a:pt x="635114" y="1039212"/>
                      <a:pt x="638412" y="1034765"/>
                      <a:pt x="640976" y="1029899"/>
                    </a:cubicBezTo>
                    <a:cubicBezTo>
                      <a:pt x="641782" y="1025496"/>
                      <a:pt x="642149" y="1021033"/>
                      <a:pt x="642222" y="1016563"/>
                    </a:cubicBezTo>
                    <a:cubicBezTo>
                      <a:pt x="643468" y="1007697"/>
                      <a:pt x="650282" y="1000809"/>
                      <a:pt x="654825" y="993042"/>
                    </a:cubicBezTo>
                    <a:cubicBezTo>
                      <a:pt x="659442" y="985298"/>
                      <a:pt x="661787" y="976460"/>
                      <a:pt x="661787" y="967470"/>
                    </a:cubicBezTo>
                    <a:cubicBezTo>
                      <a:pt x="661714" y="939911"/>
                      <a:pt x="639291" y="917636"/>
                      <a:pt x="611740" y="917716"/>
                    </a:cubicBezTo>
                    <a:cubicBezTo>
                      <a:pt x="612106" y="915042"/>
                      <a:pt x="612106" y="912330"/>
                      <a:pt x="611740" y="909656"/>
                    </a:cubicBezTo>
                    <a:cubicBezTo>
                      <a:pt x="610274" y="899266"/>
                      <a:pt x="601995" y="891161"/>
                      <a:pt x="591590" y="889872"/>
                    </a:cubicBezTo>
                    <a:cubicBezTo>
                      <a:pt x="586167" y="890026"/>
                      <a:pt x="580818" y="891293"/>
                      <a:pt x="575909" y="893609"/>
                    </a:cubicBezTo>
                    <a:lnTo>
                      <a:pt x="554512" y="902035"/>
                    </a:lnTo>
                    <a:cubicBezTo>
                      <a:pt x="551729" y="902944"/>
                      <a:pt x="549237" y="904475"/>
                      <a:pt x="547185" y="906505"/>
                    </a:cubicBezTo>
                    <a:cubicBezTo>
                      <a:pt x="540444" y="914126"/>
                      <a:pt x="548065" y="929439"/>
                      <a:pt x="539418" y="934936"/>
                    </a:cubicBezTo>
                    <a:cubicBezTo>
                      <a:pt x="536488" y="936298"/>
                      <a:pt x="533190" y="936906"/>
                      <a:pt x="529966" y="936694"/>
                    </a:cubicBezTo>
                    <a:cubicBezTo>
                      <a:pt x="522419" y="936746"/>
                      <a:pt x="515032" y="939325"/>
                      <a:pt x="509083" y="944021"/>
                    </a:cubicBezTo>
                    <a:cubicBezTo>
                      <a:pt x="503148" y="948917"/>
                      <a:pt x="500202" y="956559"/>
                      <a:pt x="501316" y="964172"/>
                    </a:cubicBezTo>
                    <a:cubicBezTo>
                      <a:pt x="502195" y="968935"/>
                      <a:pt x="504906" y="973258"/>
                      <a:pt x="505419" y="978094"/>
                    </a:cubicBezTo>
                    <a:cubicBezTo>
                      <a:pt x="506453" y="986536"/>
                      <a:pt x="500444" y="994207"/>
                      <a:pt x="492010" y="995241"/>
                    </a:cubicBezTo>
                    <a:cubicBezTo>
                      <a:pt x="483569" y="996273"/>
                      <a:pt x="475897" y="990272"/>
                      <a:pt x="474864" y="981832"/>
                    </a:cubicBezTo>
                    <a:cubicBezTo>
                      <a:pt x="473764" y="976482"/>
                      <a:pt x="476036" y="970473"/>
                      <a:pt x="473764" y="965784"/>
                    </a:cubicBezTo>
                    <a:cubicBezTo>
                      <a:pt x="474101" y="965256"/>
                      <a:pt x="474372" y="964693"/>
                      <a:pt x="474570" y="964099"/>
                    </a:cubicBezTo>
                    <a:cubicBezTo>
                      <a:pt x="478292" y="951921"/>
                      <a:pt x="474900" y="938687"/>
                      <a:pt x="465778" y="929806"/>
                    </a:cubicBezTo>
                    <a:cubicBezTo>
                      <a:pt x="463675" y="927805"/>
                      <a:pt x="461175" y="926260"/>
                      <a:pt x="458450" y="925264"/>
                    </a:cubicBezTo>
                    <a:cubicBezTo>
                      <a:pt x="456413" y="924582"/>
                      <a:pt x="454295" y="924186"/>
                      <a:pt x="452149" y="924091"/>
                    </a:cubicBezTo>
                    <a:cubicBezTo>
                      <a:pt x="443349" y="924165"/>
                      <a:pt x="434614" y="925644"/>
                      <a:pt x="426282" y="928488"/>
                    </a:cubicBezTo>
                    <a:cubicBezTo>
                      <a:pt x="414463" y="930840"/>
                      <a:pt x="403340" y="935851"/>
                      <a:pt x="393749" y="943143"/>
                    </a:cubicBezTo>
                    <a:cubicBezTo>
                      <a:pt x="390921" y="940240"/>
                      <a:pt x="387381" y="938123"/>
                      <a:pt x="383491" y="936987"/>
                    </a:cubicBezTo>
                    <a:cubicBezTo>
                      <a:pt x="374038" y="934349"/>
                      <a:pt x="363560" y="935375"/>
                      <a:pt x="354914" y="930832"/>
                    </a:cubicBezTo>
                    <a:cubicBezTo>
                      <a:pt x="351616" y="929074"/>
                      <a:pt x="348758" y="926583"/>
                      <a:pt x="345387" y="925117"/>
                    </a:cubicBezTo>
                    <a:cubicBezTo>
                      <a:pt x="339994" y="923351"/>
                      <a:pt x="334353" y="922457"/>
                      <a:pt x="328682" y="922479"/>
                    </a:cubicBezTo>
                    <a:cubicBezTo>
                      <a:pt x="303548" y="920061"/>
                      <a:pt x="282592" y="902988"/>
                      <a:pt x="263320" y="886722"/>
                    </a:cubicBezTo>
                    <a:lnTo>
                      <a:pt x="236648" y="864079"/>
                    </a:lnTo>
                    <a:cubicBezTo>
                      <a:pt x="236539" y="863940"/>
                      <a:pt x="236428" y="863808"/>
                      <a:pt x="236319" y="863669"/>
                    </a:cubicBezTo>
                    <a:cubicBezTo>
                      <a:pt x="224279" y="849101"/>
                      <a:pt x="202708" y="847057"/>
                      <a:pt x="188141" y="859097"/>
                    </a:cubicBezTo>
                    <a:lnTo>
                      <a:pt x="184038" y="861221"/>
                    </a:lnTo>
                    <a:cubicBezTo>
                      <a:pt x="184220" y="852883"/>
                      <a:pt x="181019" y="844823"/>
                      <a:pt x="175172" y="838873"/>
                    </a:cubicBezTo>
                    <a:cubicBezTo>
                      <a:pt x="169844" y="834997"/>
                      <a:pt x="163997" y="831889"/>
                      <a:pt x="157805" y="829641"/>
                    </a:cubicBezTo>
                    <a:cubicBezTo>
                      <a:pt x="148690" y="825280"/>
                      <a:pt x="140770" y="818767"/>
                      <a:pt x="134723" y="810662"/>
                    </a:cubicBezTo>
                    <a:cubicBezTo>
                      <a:pt x="128202" y="801650"/>
                      <a:pt x="125198" y="786702"/>
                      <a:pt x="134723" y="780766"/>
                    </a:cubicBezTo>
                    <a:cubicBezTo>
                      <a:pt x="138754" y="778201"/>
                      <a:pt x="144030" y="778128"/>
                      <a:pt x="147621" y="774978"/>
                    </a:cubicBezTo>
                    <a:cubicBezTo>
                      <a:pt x="153482" y="769702"/>
                      <a:pt x="151064" y="760690"/>
                      <a:pt x="148134" y="752995"/>
                    </a:cubicBezTo>
                    <a:cubicBezTo>
                      <a:pt x="145202" y="745302"/>
                      <a:pt x="142198" y="737974"/>
                      <a:pt x="139267" y="730647"/>
                    </a:cubicBezTo>
                    <a:cubicBezTo>
                      <a:pt x="140960" y="729966"/>
                      <a:pt x="142697" y="729401"/>
                      <a:pt x="144470" y="728961"/>
                    </a:cubicBezTo>
                    <a:cubicBezTo>
                      <a:pt x="149013" y="727936"/>
                      <a:pt x="155680" y="727056"/>
                      <a:pt x="155680" y="722366"/>
                    </a:cubicBezTo>
                    <a:cubicBezTo>
                      <a:pt x="155680" y="721194"/>
                      <a:pt x="155680" y="719949"/>
                      <a:pt x="155680" y="718703"/>
                    </a:cubicBezTo>
                    <a:cubicBezTo>
                      <a:pt x="155959" y="715523"/>
                      <a:pt x="157915" y="712724"/>
                      <a:pt x="160810" y="711375"/>
                    </a:cubicBezTo>
                    <a:cubicBezTo>
                      <a:pt x="163520" y="709910"/>
                      <a:pt x="166598" y="709177"/>
                      <a:pt x="169309" y="707711"/>
                    </a:cubicBezTo>
                    <a:cubicBezTo>
                      <a:pt x="169983" y="707309"/>
                      <a:pt x="170636" y="706861"/>
                      <a:pt x="171258" y="706370"/>
                    </a:cubicBezTo>
                    <a:cubicBezTo>
                      <a:pt x="179619" y="699850"/>
                      <a:pt x="181106" y="687789"/>
                      <a:pt x="174586" y="679427"/>
                    </a:cubicBezTo>
                    <a:cubicBezTo>
                      <a:pt x="172415" y="677135"/>
                      <a:pt x="169953" y="675141"/>
                      <a:pt x="167257" y="673493"/>
                    </a:cubicBezTo>
                    <a:lnTo>
                      <a:pt x="153922" y="664407"/>
                    </a:lnTo>
                    <a:cubicBezTo>
                      <a:pt x="152105" y="663059"/>
                      <a:pt x="150141" y="661930"/>
                      <a:pt x="148060" y="661036"/>
                    </a:cubicBezTo>
                    <a:cubicBezTo>
                      <a:pt x="142125" y="658999"/>
                      <a:pt x="135559" y="660040"/>
                      <a:pt x="130547" y="663821"/>
                    </a:cubicBezTo>
                    <a:cubicBezTo>
                      <a:pt x="125586" y="667616"/>
                      <a:pt x="121740" y="672679"/>
                      <a:pt x="119410" y="678475"/>
                    </a:cubicBezTo>
                    <a:cubicBezTo>
                      <a:pt x="118501" y="680871"/>
                      <a:pt x="117321" y="683165"/>
                      <a:pt x="115893" y="685290"/>
                    </a:cubicBezTo>
                    <a:cubicBezTo>
                      <a:pt x="115079" y="686257"/>
                      <a:pt x="114170" y="687144"/>
                      <a:pt x="113181" y="687928"/>
                    </a:cubicBezTo>
                    <a:cubicBezTo>
                      <a:pt x="113144" y="685018"/>
                      <a:pt x="111731" y="682301"/>
                      <a:pt x="109370" y="680600"/>
                    </a:cubicBezTo>
                    <a:cubicBezTo>
                      <a:pt x="107715" y="679882"/>
                      <a:pt x="105890" y="679625"/>
                      <a:pt x="104096" y="679867"/>
                    </a:cubicBezTo>
                    <a:lnTo>
                      <a:pt x="90760" y="680526"/>
                    </a:lnTo>
                    <a:cubicBezTo>
                      <a:pt x="90657" y="679765"/>
                      <a:pt x="90510" y="679003"/>
                      <a:pt x="90320" y="678255"/>
                    </a:cubicBezTo>
                    <a:cubicBezTo>
                      <a:pt x="88825" y="674584"/>
                      <a:pt x="86553" y="671287"/>
                      <a:pt x="83651" y="668583"/>
                    </a:cubicBezTo>
                    <a:lnTo>
                      <a:pt x="52071" y="634511"/>
                    </a:lnTo>
                    <a:cubicBezTo>
                      <a:pt x="47344" y="628472"/>
                      <a:pt x="41057" y="623842"/>
                      <a:pt x="33899" y="621102"/>
                    </a:cubicBezTo>
                    <a:cubicBezTo>
                      <a:pt x="34594" y="616602"/>
                      <a:pt x="35554" y="612155"/>
                      <a:pt x="36757" y="607766"/>
                    </a:cubicBezTo>
                    <a:cubicBezTo>
                      <a:pt x="37921" y="604578"/>
                      <a:pt x="38441" y="601193"/>
                      <a:pt x="38295" y="597800"/>
                    </a:cubicBezTo>
                    <a:cubicBezTo>
                      <a:pt x="37680" y="594605"/>
                      <a:pt x="36375" y="591580"/>
                      <a:pt x="34485" y="588934"/>
                    </a:cubicBezTo>
                    <a:cubicBezTo>
                      <a:pt x="30337" y="580192"/>
                      <a:pt x="23611" y="572930"/>
                      <a:pt x="15213" y="568123"/>
                    </a:cubicBezTo>
                    <a:cubicBezTo>
                      <a:pt x="11286" y="566980"/>
                      <a:pt x="7571" y="565200"/>
                      <a:pt x="4222" y="562848"/>
                    </a:cubicBezTo>
                    <a:cubicBezTo>
                      <a:pt x="1057" y="558650"/>
                      <a:pt x="-409" y="553418"/>
                      <a:pt x="119" y="548194"/>
                    </a:cubicBezTo>
                    <a:lnTo>
                      <a:pt x="119" y="529728"/>
                    </a:lnTo>
                    <a:cubicBezTo>
                      <a:pt x="-452" y="525346"/>
                      <a:pt x="1065" y="520950"/>
                      <a:pt x="4222" y="517858"/>
                    </a:cubicBezTo>
                    <a:cubicBezTo>
                      <a:pt x="7505" y="516209"/>
                      <a:pt x="11103" y="515257"/>
                      <a:pt x="14773" y="515073"/>
                    </a:cubicBezTo>
                    <a:cubicBezTo>
                      <a:pt x="22102" y="513461"/>
                      <a:pt x="27377" y="505328"/>
                      <a:pt x="33459" y="500052"/>
                    </a:cubicBezTo>
                    <a:cubicBezTo>
                      <a:pt x="39540" y="494777"/>
                      <a:pt x="51410" y="493384"/>
                      <a:pt x="54195" y="501078"/>
                    </a:cubicBezTo>
                    <a:cubicBezTo>
                      <a:pt x="55514" y="504595"/>
                      <a:pt x="53755" y="509065"/>
                      <a:pt x="57712" y="511555"/>
                    </a:cubicBezTo>
                    <a:cubicBezTo>
                      <a:pt x="61670" y="514047"/>
                      <a:pt x="66945" y="508699"/>
                      <a:pt x="71341" y="510311"/>
                    </a:cubicBezTo>
                    <a:cubicBezTo>
                      <a:pt x="73744" y="505687"/>
                      <a:pt x="73605" y="500154"/>
                      <a:pt x="70975" y="495656"/>
                    </a:cubicBezTo>
                    <a:cubicBezTo>
                      <a:pt x="74566" y="491552"/>
                      <a:pt x="82259" y="494777"/>
                      <a:pt x="86143" y="490966"/>
                    </a:cubicBezTo>
                    <a:cubicBezTo>
                      <a:pt x="87330" y="489229"/>
                      <a:pt x="88407" y="487420"/>
                      <a:pt x="89367" y="485543"/>
                    </a:cubicBezTo>
                    <a:cubicBezTo>
                      <a:pt x="94644" y="478363"/>
                      <a:pt x="106074" y="485250"/>
                      <a:pt x="114867" y="483858"/>
                    </a:cubicBezTo>
                    <a:cubicBezTo>
                      <a:pt x="126957" y="481661"/>
                      <a:pt x="130547" y="465027"/>
                      <a:pt x="141612" y="459678"/>
                    </a:cubicBezTo>
                    <a:cubicBezTo>
                      <a:pt x="145789" y="458491"/>
                      <a:pt x="149862" y="456944"/>
                      <a:pt x="153775" y="455062"/>
                    </a:cubicBezTo>
                    <a:cubicBezTo>
                      <a:pt x="158758" y="451764"/>
                      <a:pt x="160590" y="445169"/>
                      <a:pt x="166085" y="443630"/>
                    </a:cubicBezTo>
                    <a:cubicBezTo>
                      <a:pt x="168240" y="443404"/>
                      <a:pt x="170379" y="442986"/>
                      <a:pt x="172460" y="442384"/>
                    </a:cubicBezTo>
                    <a:cubicBezTo>
                      <a:pt x="174637" y="441015"/>
                      <a:pt x="176293" y="438948"/>
                      <a:pt x="177149" y="436523"/>
                    </a:cubicBezTo>
                    <a:lnTo>
                      <a:pt x="191804" y="406627"/>
                    </a:lnTo>
                    <a:cubicBezTo>
                      <a:pt x="192061" y="406540"/>
                      <a:pt x="192317" y="406437"/>
                      <a:pt x="192574" y="406326"/>
                    </a:cubicBezTo>
                    <a:cubicBezTo>
                      <a:pt x="198106" y="403931"/>
                      <a:pt x="200649" y="397504"/>
                      <a:pt x="198253" y="391972"/>
                    </a:cubicBezTo>
                    <a:cubicBezTo>
                      <a:pt x="196054" y="387870"/>
                      <a:pt x="191219" y="385671"/>
                      <a:pt x="188288" y="382007"/>
                    </a:cubicBezTo>
                    <a:cubicBezTo>
                      <a:pt x="180886" y="372702"/>
                      <a:pt x="187555" y="358633"/>
                      <a:pt x="184184" y="347201"/>
                    </a:cubicBezTo>
                    <a:cubicBezTo>
                      <a:pt x="183077" y="344739"/>
                      <a:pt x="182521" y="342065"/>
                      <a:pt x="182572" y="339361"/>
                    </a:cubicBezTo>
                    <a:cubicBezTo>
                      <a:pt x="183656" y="336137"/>
                      <a:pt x="186016" y="333492"/>
                      <a:pt x="189093" y="332033"/>
                    </a:cubicBezTo>
                    <a:cubicBezTo>
                      <a:pt x="200305" y="325000"/>
                      <a:pt x="213347" y="317671"/>
                      <a:pt x="225731" y="321775"/>
                    </a:cubicBezTo>
                    <a:cubicBezTo>
                      <a:pt x="232764" y="324047"/>
                      <a:pt x="239140" y="329909"/>
                      <a:pt x="246467" y="328151"/>
                    </a:cubicBezTo>
                    <a:cubicBezTo>
                      <a:pt x="248130" y="320947"/>
                      <a:pt x="248746" y="313547"/>
                      <a:pt x="248299" y="306168"/>
                    </a:cubicBezTo>
                    <a:cubicBezTo>
                      <a:pt x="247713" y="297082"/>
                      <a:pt x="250131" y="284259"/>
                      <a:pt x="250131" y="275100"/>
                    </a:cubicBezTo>
                    <a:lnTo>
                      <a:pt x="262074" y="267772"/>
                    </a:lnTo>
                    <a:cubicBezTo>
                      <a:pt x="260830" y="263551"/>
                      <a:pt x="262112" y="258994"/>
                      <a:pt x="265372" y="256048"/>
                    </a:cubicBezTo>
                    <a:cubicBezTo>
                      <a:pt x="269476" y="253410"/>
                      <a:pt x="274677" y="256122"/>
                      <a:pt x="279221" y="257880"/>
                    </a:cubicBezTo>
                    <a:cubicBezTo>
                      <a:pt x="288688" y="260855"/>
                      <a:pt x="298661" y="261852"/>
                      <a:pt x="308531" y="260812"/>
                    </a:cubicBezTo>
                    <a:cubicBezTo>
                      <a:pt x="313954" y="260592"/>
                      <a:pt x="320548" y="259639"/>
                      <a:pt x="322673" y="254583"/>
                    </a:cubicBezTo>
                    <a:cubicBezTo>
                      <a:pt x="324065" y="251139"/>
                      <a:pt x="322746" y="247036"/>
                      <a:pt x="324505" y="243812"/>
                    </a:cubicBezTo>
                    <a:cubicBezTo>
                      <a:pt x="325677" y="241760"/>
                      <a:pt x="327801" y="240514"/>
                      <a:pt x="329048" y="238536"/>
                    </a:cubicBezTo>
                    <a:cubicBezTo>
                      <a:pt x="330711" y="234784"/>
                      <a:pt x="331172" y="230615"/>
                      <a:pt x="330366" y="226592"/>
                    </a:cubicBezTo>
                    <a:cubicBezTo>
                      <a:pt x="329964" y="213102"/>
                      <a:pt x="337548" y="200638"/>
                      <a:pt x="349711" y="194791"/>
                    </a:cubicBezTo>
                    <a:cubicBezTo>
                      <a:pt x="352319" y="193810"/>
                      <a:pt x="354781" y="192475"/>
                      <a:pt x="357039" y="190835"/>
                    </a:cubicBezTo>
                    <a:cubicBezTo>
                      <a:pt x="359867" y="187412"/>
                      <a:pt x="361852" y="183368"/>
                      <a:pt x="362827" y="179036"/>
                    </a:cubicBezTo>
                    <a:cubicBezTo>
                      <a:pt x="364732" y="174861"/>
                      <a:pt x="367590" y="170610"/>
                      <a:pt x="372060" y="170610"/>
                    </a:cubicBezTo>
                    <a:cubicBezTo>
                      <a:pt x="379900" y="170830"/>
                      <a:pt x="380340" y="182481"/>
                      <a:pt x="385102" y="188636"/>
                    </a:cubicBezTo>
                    <a:cubicBezTo>
                      <a:pt x="388033" y="192447"/>
                      <a:pt x="391917" y="193398"/>
                      <a:pt x="396387" y="197575"/>
                    </a:cubicBezTo>
                    <a:cubicBezTo>
                      <a:pt x="400856" y="201752"/>
                      <a:pt x="402835" y="208273"/>
                      <a:pt x="408184" y="211204"/>
                    </a:cubicBezTo>
                    <a:cubicBezTo>
                      <a:pt x="415511" y="215235"/>
                      <a:pt x="425403" y="210398"/>
                      <a:pt x="432731" y="213916"/>
                    </a:cubicBezTo>
                    <a:cubicBezTo>
                      <a:pt x="442109" y="218239"/>
                      <a:pt x="444894" y="233700"/>
                      <a:pt x="455226" y="233700"/>
                    </a:cubicBezTo>
                    <a:cubicBezTo>
                      <a:pt x="452940" y="247460"/>
                      <a:pt x="461615" y="260672"/>
                      <a:pt x="475157" y="264035"/>
                    </a:cubicBezTo>
                    <a:lnTo>
                      <a:pt x="458010" y="305948"/>
                    </a:lnTo>
                    <a:cubicBezTo>
                      <a:pt x="456399" y="309978"/>
                      <a:pt x="454128" y="313935"/>
                      <a:pt x="457644" y="318259"/>
                    </a:cubicBezTo>
                    <a:cubicBezTo>
                      <a:pt x="461161" y="322581"/>
                      <a:pt x="469735" y="320529"/>
                      <a:pt x="472299" y="325586"/>
                    </a:cubicBezTo>
                    <a:cubicBezTo>
                      <a:pt x="473178" y="327198"/>
                      <a:pt x="473178" y="329250"/>
                      <a:pt x="474424" y="330569"/>
                    </a:cubicBezTo>
                    <a:cubicBezTo>
                      <a:pt x="475634" y="331448"/>
                      <a:pt x="477098" y="331916"/>
                      <a:pt x="478601" y="331887"/>
                    </a:cubicBezTo>
                    <a:lnTo>
                      <a:pt x="539785" y="337310"/>
                    </a:lnTo>
                    <a:cubicBezTo>
                      <a:pt x="540077" y="342439"/>
                      <a:pt x="540517" y="347568"/>
                      <a:pt x="540517" y="352697"/>
                    </a:cubicBezTo>
                    <a:cubicBezTo>
                      <a:pt x="553633" y="355555"/>
                      <a:pt x="568728" y="360024"/>
                      <a:pt x="573637" y="372554"/>
                    </a:cubicBezTo>
                    <a:cubicBezTo>
                      <a:pt x="574297" y="375552"/>
                      <a:pt x="575689" y="378359"/>
                      <a:pt x="577595" y="380761"/>
                    </a:cubicBezTo>
                    <a:cubicBezTo>
                      <a:pt x="580892" y="383473"/>
                      <a:pt x="585728" y="383253"/>
                      <a:pt x="588219" y="386477"/>
                    </a:cubicBezTo>
                    <a:cubicBezTo>
                      <a:pt x="589318" y="388389"/>
                      <a:pt x="589978" y="390558"/>
                      <a:pt x="590051" y="392778"/>
                    </a:cubicBezTo>
                    <a:cubicBezTo>
                      <a:pt x="591517" y="402157"/>
                      <a:pt x="595912" y="410834"/>
                      <a:pt x="602581" y="417545"/>
                    </a:cubicBezTo>
                    <a:cubicBezTo>
                      <a:pt x="606465" y="422066"/>
                      <a:pt x="612326" y="424323"/>
                      <a:pt x="618188" y="423554"/>
                    </a:cubicBezTo>
                    <a:lnTo>
                      <a:pt x="733595" y="424433"/>
                    </a:lnTo>
                    <a:cubicBezTo>
                      <a:pt x="738871" y="430962"/>
                      <a:pt x="746198" y="435505"/>
                      <a:pt x="754405" y="437329"/>
                    </a:cubicBezTo>
                    <a:cubicBezTo>
                      <a:pt x="757776" y="437754"/>
                      <a:pt x="761146" y="438494"/>
                      <a:pt x="764372" y="439528"/>
                    </a:cubicBezTo>
                    <a:cubicBezTo>
                      <a:pt x="770086" y="441800"/>
                      <a:pt x="774337" y="447001"/>
                      <a:pt x="780271" y="448467"/>
                    </a:cubicBezTo>
                    <a:cubicBezTo>
                      <a:pt x="784082" y="449639"/>
                      <a:pt x="788112" y="448613"/>
                      <a:pt x="791923" y="449639"/>
                    </a:cubicBezTo>
                    <a:cubicBezTo>
                      <a:pt x="797051" y="450885"/>
                      <a:pt x="800935" y="455209"/>
                      <a:pt x="805917" y="456967"/>
                    </a:cubicBezTo>
                    <a:cubicBezTo>
                      <a:pt x="814491" y="459971"/>
                      <a:pt x="824676" y="454989"/>
                      <a:pt x="832735" y="459165"/>
                    </a:cubicBezTo>
                    <a:cubicBezTo>
                      <a:pt x="838378" y="462169"/>
                      <a:pt x="844166" y="469424"/>
                      <a:pt x="849442" y="465760"/>
                    </a:cubicBezTo>
                    <a:cubicBezTo>
                      <a:pt x="848196" y="455868"/>
                      <a:pt x="858088" y="448394"/>
                      <a:pt x="867175" y="444436"/>
                    </a:cubicBezTo>
                    <a:cubicBezTo>
                      <a:pt x="890915" y="435058"/>
                      <a:pt x="916269" y="430668"/>
                      <a:pt x="941769" y="431540"/>
                    </a:cubicBezTo>
                    <a:cubicBezTo>
                      <a:pt x="951147" y="431540"/>
                      <a:pt x="960454" y="431907"/>
                      <a:pt x="969832" y="432639"/>
                    </a:cubicBezTo>
                    <a:cubicBezTo>
                      <a:pt x="973642" y="433416"/>
                      <a:pt x="977599" y="432734"/>
                      <a:pt x="980897" y="430734"/>
                    </a:cubicBezTo>
                    <a:cubicBezTo>
                      <a:pt x="983242" y="428060"/>
                      <a:pt x="985001" y="424873"/>
                      <a:pt x="985953" y="421429"/>
                    </a:cubicBezTo>
                    <a:cubicBezTo>
                      <a:pt x="990422" y="411830"/>
                      <a:pt x="1001266" y="407360"/>
                      <a:pt x="1010793" y="402963"/>
                    </a:cubicBezTo>
                    <a:cubicBezTo>
                      <a:pt x="1020318" y="398567"/>
                      <a:pt x="1030576" y="391459"/>
                      <a:pt x="1031236" y="380981"/>
                    </a:cubicBezTo>
                    <a:cubicBezTo>
                      <a:pt x="1032042" y="368745"/>
                      <a:pt x="1019219" y="357900"/>
                      <a:pt x="1022150" y="346029"/>
                    </a:cubicBezTo>
                    <a:cubicBezTo>
                      <a:pt x="1024934" y="338211"/>
                      <a:pt x="1032408" y="333031"/>
                      <a:pt x="1040688" y="333133"/>
                    </a:cubicBezTo>
                    <a:cubicBezTo>
                      <a:pt x="1048749" y="333455"/>
                      <a:pt x="1056662" y="335499"/>
                      <a:pt x="1063844" y="339142"/>
                    </a:cubicBezTo>
                    <a:cubicBezTo>
                      <a:pt x="1067873" y="341178"/>
                      <a:pt x="1072270" y="342329"/>
                      <a:pt x="1076740" y="342513"/>
                    </a:cubicBezTo>
                    <a:cubicBezTo>
                      <a:pt x="1081356" y="342556"/>
                      <a:pt x="1085386" y="339574"/>
                      <a:pt x="1086778" y="335184"/>
                    </a:cubicBezTo>
                    <a:cubicBezTo>
                      <a:pt x="1089123" y="324194"/>
                      <a:pt x="1110373" y="324487"/>
                      <a:pt x="1121584" y="324706"/>
                    </a:cubicBezTo>
                    <a:cubicBezTo>
                      <a:pt x="1132795" y="324926"/>
                      <a:pt x="1146057" y="323827"/>
                      <a:pt x="1151773" y="314155"/>
                    </a:cubicBezTo>
                    <a:cubicBezTo>
                      <a:pt x="1154483" y="309465"/>
                      <a:pt x="1154850" y="303896"/>
                      <a:pt x="1157708" y="299500"/>
                    </a:cubicBezTo>
                    <a:cubicBezTo>
                      <a:pt x="1159466" y="297082"/>
                      <a:pt x="1161592" y="294927"/>
                      <a:pt x="1163935" y="293125"/>
                    </a:cubicBezTo>
                    <a:cubicBezTo>
                      <a:pt x="1173682" y="284845"/>
                      <a:pt x="1184892" y="276053"/>
                      <a:pt x="1197642" y="276784"/>
                    </a:cubicBezTo>
                    <a:cubicBezTo>
                      <a:pt x="1201746" y="277416"/>
                      <a:pt x="1205850" y="277759"/>
                      <a:pt x="1209952" y="277810"/>
                    </a:cubicBezTo>
                    <a:cubicBezTo>
                      <a:pt x="1216914" y="277151"/>
                      <a:pt x="1222848" y="271949"/>
                      <a:pt x="1229737" y="271436"/>
                    </a:cubicBezTo>
                    <a:cubicBezTo>
                      <a:pt x="1240947" y="270630"/>
                      <a:pt x="1253331" y="282427"/>
                      <a:pt x="1262929" y="275978"/>
                    </a:cubicBezTo>
                    <a:cubicBezTo>
                      <a:pt x="1264028" y="267487"/>
                      <a:pt x="1260071" y="259140"/>
                      <a:pt x="1252818" y="254583"/>
                    </a:cubicBezTo>
                    <a:cubicBezTo>
                      <a:pt x="1245711" y="250180"/>
                      <a:pt x="1238969" y="245284"/>
                      <a:pt x="1232520" y="239928"/>
                    </a:cubicBezTo>
                    <a:cubicBezTo>
                      <a:pt x="1225633" y="232308"/>
                      <a:pt x="1221016" y="220218"/>
                      <a:pt x="1210538" y="218825"/>
                    </a:cubicBezTo>
                    <a:cubicBezTo>
                      <a:pt x="1202405" y="217726"/>
                      <a:pt x="1195077" y="223954"/>
                      <a:pt x="1187750" y="226812"/>
                    </a:cubicBezTo>
                    <a:cubicBezTo>
                      <a:pt x="1177784" y="229523"/>
                      <a:pt x="1167381" y="229523"/>
                      <a:pt x="1157415" y="226812"/>
                    </a:cubicBezTo>
                    <a:cubicBezTo>
                      <a:pt x="1150014" y="225493"/>
                      <a:pt x="1141001" y="221609"/>
                      <a:pt x="1141001" y="214282"/>
                    </a:cubicBezTo>
                    <a:cubicBezTo>
                      <a:pt x="1141148" y="212721"/>
                      <a:pt x="1141587" y="211190"/>
                      <a:pt x="1142173" y="209739"/>
                    </a:cubicBezTo>
                    <a:lnTo>
                      <a:pt x="1150528" y="186877"/>
                    </a:lnTo>
                    <a:cubicBezTo>
                      <a:pt x="1155070" y="174861"/>
                      <a:pt x="1161372" y="160792"/>
                      <a:pt x="1174121" y="157568"/>
                    </a:cubicBezTo>
                    <a:cubicBezTo>
                      <a:pt x="1180642" y="156506"/>
                      <a:pt x="1187311" y="156506"/>
                      <a:pt x="1193833" y="157568"/>
                    </a:cubicBezTo>
                    <a:cubicBezTo>
                      <a:pt x="1208340" y="158417"/>
                      <a:pt x="1222628" y="154020"/>
                      <a:pt x="1234134" y="145184"/>
                    </a:cubicBezTo>
                    <a:cubicBezTo>
                      <a:pt x="1251720" y="131555"/>
                      <a:pt x="1260292" y="109572"/>
                      <a:pt x="1264543" y="87590"/>
                    </a:cubicBezTo>
                    <a:cubicBezTo>
                      <a:pt x="1265054" y="83069"/>
                      <a:pt x="1266447" y="78695"/>
                      <a:pt x="1268572" y="74694"/>
                    </a:cubicBezTo>
                    <a:cubicBezTo>
                      <a:pt x="1271503" y="70444"/>
                      <a:pt x="1276340" y="67293"/>
                      <a:pt x="1279709" y="63117"/>
                    </a:cubicBezTo>
                    <a:cubicBezTo>
                      <a:pt x="1280222" y="62442"/>
                      <a:pt x="1280662" y="61739"/>
                      <a:pt x="1281102" y="61014"/>
                    </a:cubicBezTo>
                    <a:cubicBezTo>
                      <a:pt x="1287111" y="50477"/>
                      <a:pt x="1283447" y="37046"/>
                      <a:pt x="1272894" y="31022"/>
                    </a:cubicBezTo>
                    <a:cubicBezTo>
                      <a:pt x="1268938" y="23417"/>
                      <a:pt x="1271137" y="14068"/>
                      <a:pt x="1278098" y="9041"/>
                    </a:cubicBezTo>
                    <a:cubicBezTo>
                      <a:pt x="1284986" y="5032"/>
                      <a:pt x="1292827" y="2841"/>
                      <a:pt x="1300813" y="2665"/>
                    </a:cubicBezTo>
                    <a:close/>
                  </a:path>
                </a:pathLst>
              </a:custGeom>
              <a:solidFill>
                <a:schemeClr val="accent1"/>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77" name="Freihandform: Form 771">
                <a:extLst>
                  <a:ext uri="{FF2B5EF4-FFF2-40B4-BE49-F238E27FC236}">
                    <a16:creationId xmlns:a16="http://schemas.microsoft.com/office/drawing/2014/main" id="{C5C6B9B0-D105-FF4C-FFEC-F7105BF350DC}"/>
                  </a:ext>
                </a:extLst>
              </p:cNvPr>
              <p:cNvSpPr/>
              <p:nvPr/>
            </p:nvSpPr>
            <p:spPr>
              <a:xfrm>
                <a:off x="6501858" y="3304388"/>
                <a:ext cx="76108" cy="109300"/>
              </a:xfrm>
              <a:custGeom>
                <a:avLst/>
                <a:gdLst>
                  <a:gd name="connsiteX0" fmla="*/ 47005 w 97708"/>
                  <a:gd name="connsiteY0" fmla="*/ 0 h 140321"/>
                  <a:gd name="connsiteX1" fmla="*/ 53765 w 97708"/>
                  <a:gd name="connsiteY1" fmla="*/ 1002 h 140321"/>
                  <a:gd name="connsiteX2" fmla="*/ 57794 w 97708"/>
                  <a:gd name="connsiteY2" fmla="*/ 17414 h 140321"/>
                  <a:gd name="connsiteX3" fmla="*/ 66295 w 97708"/>
                  <a:gd name="connsiteY3" fmla="*/ 22544 h 140321"/>
                  <a:gd name="connsiteX4" fmla="*/ 86812 w 97708"/>
                  <a:gd name="connsiteY4" fmla="*/ 54492 h 140321"/>
                  <a:gd name="connsiteX5" fmla="*/ 88571 w 97708"/>
                  <a:gd name="connsiteY5" fmla="*/ 84535 h 140321"/>
                  <a:gd name="connsiteX6" fmla="*/ 96631 w 97708"/>
                  <a:gd name="connsiteY6" fmla="*/ 99190 h 140321"/>
                  <a:gd name="connsiteX7" fmla="*/ 69445 w 97708"/>
                  <a:gd name="connsiteY7" fmla="*/ 100727 h 140321"/>
                  <a:gd name="connsiteX8" fmla="*/ 58527 w 97708"/>
                  <a:gd name="connsiteY8" fmla="*/ 115382 h 140321"/>
                  <a:gd name="connsiteX9" fmla="*/ 43066 w 97708"/>
                  <a:gd name="connsiteY9" fmla="*/ 119779 h 140321"/>
                  <a:gd name="connsiteX10" fmla="*/ 5038 w 97708"/>
                  <a:gd name="connsiteY10" fmla="*/ 140150 h 140321"/>
                  <a:gd name="connsiteX11" fmla="*/ 9580 w 97708"/>
                  <a:gd name="connsiteY11" fmla="*/ 120292 h 140321"/>
                  <a:gd name="connsiteX12" fmla="*/ 495 w 97708"/>
                  <a:gd name="connsiteY12" fmla="*/ 105455 h 140321"/>
                  <a:gd name="connsiteX13" fmla="*/ 15296 w 97708"/>
                  <a:gd name="connsiteY13" fmla="*/ 96332 h 140321"/>
                  <a:gd name="connsiteX14" fmla="*/ 7968 w 97708"/>
                  <a:gd name="connsiteY14" fmla="*/ 80504 h 140321"/>
                  <a:gd name="connsiteX15" fmla="*/ 2107 w 97708"/>
                  <a:gd name="connsiteY15" fmla="*/ 64677 h 140321"/>
                  <a:gd name="connsiteX16" fmla="*/ 14930 w 97708"/>
                  <a:gd name="connsiteY16" fmla="*/ 63211 h 140321"/>
                  <a:gd name="connsiteX17" fmla="*/ 19472 w 97708"/>
                  <a:gd name="connsiteY17" fmla="*/ 46358 h 140321"/>
                  <a:gd name="connsiteX18" fmla="*/ 2692 w 97708"/>
                  <a:gd name="connsiteY18" fmla="*/ 35440 h 140321"/>
                  <a:gd name="connsiteX19" fmla="*/ 1852 w 97708"/>
                  <a:gd name="connsiteY19" fmla="*/ 19401 h 140321"/>
                  <a:gd name="connsiteX20" fmla="*/ 2299 w 97708"/>
                  <a:gd name="connsiteY20" fmla="*/ 18730 h 140321"/>
                  <a:gd name="connsiteX21" fmla="*/ 16587 w 97708"/>
                  <a:gd name="connsiteY21" fmla="*/ 11586 h 140321"/>
                  <a:gd name="connsiteX22" fmla="*/ 23731 w 97708"/>
                  <a:gd name="connsiteY22" fmla="*/ 6824 h 140321"/>
                  <a:gd name="connsiteX23" fmla="*/ 40399 w 97708"/>
                  <a:gd name="connsiteY23" fmla="*/ 2061 h 140321"/>
                  <a:gd name="connsiteX24" fmla="*/ 47005 w 97708"/>
                  <a:gd name="connsiteY24" fmla="*/ 0 h 14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7708" h="140321">
                    <a:moveTo>
                      <a:pt x="47005" y="0"/>
                    </a:moveTo>
                    <a:lnTo>
                      <a:pt x="53765" y="1002"/>
                    </a:lnTo>
                    <a:cubicBezTo>
                      <a:pt x="58309" y="4665"/>
                      <a:pt x="54718" y="12506"/>
                      <a:pt x="57794" y="17414"/>
                    </a:cubicBezTo>
                    <a:cubicBezTo>
                      <a:pt x="60067" y="19928"/>
                      <a:pt x="62999" y="21708"/>
                      <a:pt x="66295" y="22544"/>
                    </a:cubicBezTo>
                    <a:cubicBezTo>
                      <a:pt x="78971" y="28076"/>
                      <a:pt x="87031" y="40679"/>
                      <a:pt x="86812" y="54492"/>
                    </a:cubicBezTo>
                    <a:cubicBezTo>
                      <a:pt x="86446" y="64823"/>
                      <a:pt x="81756" y="76840"/>
                      <a:pt x="88571" y="84535"/>
                    </a:cubicBezTo>
                    <a:cubicBezTo>
                      <a:pt x="92674" y="89443"/>
                      <a:pt x="100587" y="94500"/>
                      <a:pt x="96631" y="99190"/>
                    </a:cubicBezTo>
                    <a:cubicBezTo>
                      <a:pt x="88130" y="102853"/>
                      <a:pt x="77579" y="96405"/>
                      <a:pt x="69445" y="100727"/>
                    </a:cubicBezTo>
                    <a:cubicBezTo>
                      <a:pt x="64023" y="103585"/>
                      <a:pt x="61973" y="110254"/>
                      <a:pt x="58527" y="115382"/>
                    </a:cubicBezTo>
                    <a:cubicBezTo>
                      <a:pt x="55084" y="120512"/>
                      <a:pt x="47244" y="124396"/>
                      <a:pt x="43066" y="119779"/>
                    </a:cubicBezTo>
                    <a:cubicBezTo>
                      <a:pt x="35666" y="133592"/>
                      <a:pt x="20645" y="141616"/>
                      <a:pt x="5038" y="140150"/>
                    </a:cubicBezTo>
                    <a:cubicBezTo>
                      <a:pt x="3426" y="133182"/>
                      <a:pt x="5112" y="125876"/>
                      <a:pt x="9580" y="120292"/>
                    </a:cubicBezTo>
                    <a:cubicBezTo>
                      <a:pt x="2986" y="118717"/>
                      <a:pt x="-1117" y="112071"/>
                      <a:pt x="495" y="105455"/>
                    </a:cubicBezTo>
                    <a:cubicBezTo>
                      <a:pt x="2034" y="98838"/>
                      <a:pt x="8701" y="94756"/>
                      <a:pt x="15296" y="96332"/>
                    </a:cubicBezTo>
                    <a:cubicBezTo>
                      <a:pt x="19767" y="91422"/>
                      <a:pt x="13464" y="84168"/>
                      <a:pt x="7968" y="80504"/>
                    </a:cubicBezTo>
                    <a:cubicBezTo>
                      <a:pt x="2474" y="76840"/>
                      <a:pt x="-3169" y="68707"/>
                      <a:pt x="2107" y="64677"/>
                    </a:cubicBezTo>
                    <a:cubicBezTo>
                      <a:pt x="5623" y="62039"/>
                      <a:pt x="10680" y="64311"/>
                      <a:pt x="14930" y="63211"/>
                    </a:cubicBezTo>
                    <a:cubicBezTo>
                      <a:pt x="21451" y="61599"/>
                      <a:pt x="23136" y="52147"/>
                      <a:pt x="19472" y="46358"/>
                    </a:cubicBezTo>
                    <a:cubicBezTo>
                      <a:pt x="15150" y="41032"/>
                      <a:pt x="9287" y="37207"/>
                      <a:pt x="2692" y="35440"/>
                    </a:cubicBezTo>
                    <a:lnTo>
                      <a:pt x="1852" y="19401"/>
                    </a:lnTo>
                    <a:lnTo>
                      <a:pt x="2299" y="18730"/>
                    </a:lnTo>
                    <a:cubicBezTo>
                      <a:pt x="9123" y="11905"/>
                      <a:pt x="8840" y="15459"/>
                      <a:pt x="16587" y="11586"/>
                    </a:cubicBezTo>
                    <a:cubicBezTo>
                      <a:pt x="19147" y="10306"/>
                      <a:pt x="21171" y="8104"/>
                      <a:pt x="23731" y="6824"/>
                    </a:cubicBezTo>
                    <a:cubicBezTo>
                      <a:pt x="27739" y="4820"/>
                      <a:pt x="36575" y="3208"/>
                      <a:pt x="40399" y="2061"/>
                    </a:cubicBezTo>
                    <a:lnTo>
                      <a:pt x="47005" y="0"/>
                    </a:ln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78" name="Freihandform: Form 772">
                <a:extLst>
                  <a:ext uri="{FF2B5EF4-FFF2-40B4-BE49-F238E27FC236}">
                    <a16:creationId xmlns:a16="http://schemas.microsoft.com/office/drawing/2014/main" id="{82DFC097-E32F-1D7F-1FCE-9C557E795706}"/>
                  </a:ext>
                </a:extLst>
              </p:cNvPr>
              <p:cNvSpPr/>
              <p:nvPr/>
            </p:nvSpPr>
            <p:spPr>
              <a:xfrm>
                <a:off x="6458467" y="3174009"/>
                <a:ext cx="146796" cy="149309"/>
              </a:xfrm>
              <a:custGeom>
                <a:avLst/>
                <a:gdLst>
                  <a:gd name="connsiteX0" fmla="*/ 188458 w 188458"/>
                  <a:gd name="connsiteY0" fmla="*/ 0 h 191684"/>
                  <a:gd name="connsiteX1" fmla="*/ 180520 w 188458"/>
                  <a:gd name="connsiteY1" fmla="*/ 7937 h 191684"/>
                  <a:gd name="connsiteX2" fmla="*/ 173660 w 188458"/>
                  <a:gd name="connsiteY2" fmla="*/ 25791 h 191684"/>
                  <a:gd name="connsiteX3" fmla="*/ 100386 w 188458"/>
                  <a:gd name="connsiteY3" fmla="*/ 103974 h 191684"/>
                  <a:gd name="connsiteX4" fmla="*/ 80821 w 188458"/>
                  <a:gd name="connsiteY4" fmla="*/ 124711 h 191684"/>
                  <a:gd name="connsiteX5" fmla="*/ 96648 w 188458"/>
                  <a:gd name="connsiteY5" fmla="*/ 140978 h 191684"/>
                  <a:gd name="connsiteX6" fmla="*/ 97601 w 188458"/>
                  <a:gd name="connsiteY6" fmla="*/ 166624 h 191684"/>
                  <a:gd name="connsiteX7" fmla="*/ 102711 w 188458"/>
                  <a:gd name="connsiteY7" fmla="*/ 167381 h 191684"/>
                  <a:gd name="connsiteX8" fmla="*/ 96105 w 188458"/>
                  <a:gd name="connsiteY8" fmla="*/ 169442 h 191684"/>
                  <a:gd name="connsiteX9" fmla="*/ 79437 w 188458"/>
                  <a:gd name="connsiteY9" fmla="*/ 174205 h 191684"/>
                  <a:gd name="connsiteX10" fmla="*/ 72293 w 188458"/>
                  <a:gd name="connsiteY10" fmla="*/ 178967 h 191684"/>
                  <a:gd name="connsiteX11" fmla="*/ 58005 w 188458"/>
                  <a:gd name="connsiteY11" fmla="*/ 186111 h 191684"/>
                  <a:gd name="connsiteX12" fmla="*/ 57558 w 188458"/>
                  <a:gd name="connsiteY12" fmla="*/ 186782 h 191684"/>
                  <a:gd name="connsiteX13" fmla="*/ 57446 w 188458"/>
                  <a:gd name="connsiteY13" fmla="*/ 184650 h 191684"/>
                  <a:gd name="connsiteX14" fmla="*/ 29015 w 188458"/>
                  <a:gd name="connsiteY14" fmla="*/ 189559 h 191684"/>
                  <a:gd name="connsiteX15" fmla="*/ 25865 w 188458"/>
                  <a:gd name="connsiteY15" fmla="*/ 191684 h 191684"/>
                  <a:gd name="connsiteX16" fmla="*/ 23227 w 188458"/>
                  <a:gd name="connsiteY16" fmla="*/ 190145 h 191684"/>
                  <a:gd name="connsiteX17" fmla="*/ 0 w 188458"/>
                  <a:gd name="connsiteY17" fmla="*/ 166771 h 191684"/>
                  <a:gd name="connsiteX18" fmla="*/ 13555 w 188458"/>
                  <a:gd name="connsiteY18" fmla="*/ 163327 h 191684"/>
                  <a:gd name="connsiteX19" fmla="*/ 17218 w 188458"/>
                  <a:gd name="connsiteY19" fmla="*/ 145960 h 191684"/>
                  <a:gd name="connsiteX20" fmla="*/ 31434 w 188458"/>
                  <a:gd name="connsiteY20" fmla="*/ 142949 h 191684"/>
                  <a:gd name="connsiteX21" fmla="*/ 28796 w 188458"/>
                  <a:gd name="connsiteY21" fmla="*/ 128154 h 191684"/>
                  <a:gd name="connsiteX22" fmla="*/ 9012 w 188458"/>
                  <a:gd name="connsiteY22" fmla="*/ 119215 h 191684"/>
                  <a:gd name="connsiteX23" fmla="*/ 6530 w 188458"/>
                  <a:gd name="connsiteY23" fmla="*/ 110844 h 191684"/>
                  <a:gd name="connsiteX24" fmla="*/ 4402 w 188458"/>
                  <a:gd name="connsiteY24" fmla="*/ 105908 h 191684"/>
                  <a:gd name="connsiteX25" fmla="*/ 5618 w 188458"/>
                  <a:gd name="connsiteY25" fmla="*/ 105148 h 191684"/>
                  <a:gd name="connsiteX26" fmla="*/ 15143 w 188458"/>
                  <a:gd name="connsiteY26" fmla="*/ 90861 h 191684"/>
                  <a:gd name="connsiteX27" fmla="*/ 22287 w 188458"/>
                  <a:gd name="connsiteY27" fmla="*/ 86098 h 191684"/>
                  <a:gd name="connsiteX28" fmla="*/ 38955 w 188458"/>
                  <a:gd name="connsiteY28" fmla="*/ 69430 h 191684"/>
                  <a:gd name="connsiteX29" fmla="*/ 55624 w 188458"/>
                  <a:gd name="connsiteY29" fmla="*/ 64667 h 191684"/>
                  <a:gd name="connsiteX30" fmla="*/ 72293 w 188458"/>
                  <a:gd name="connsiteY30" fmla="*/ 57523 h 191684"/>
                  <a:gd name="connsiteX31" fmla="*/ 79437 w 188458"/>
                  <a:gd name="connsiteY31" fmla="*/ 55142 h 191684"/>
                  <a:gd name="connsiteX32" fmla="*/ 122299 w 188458"/>
                  <a:gd name="connsiteY32" fmla="*/ 45617 h 191684"/>
                  <a:gd name="connsiteX33" fmla="*/ 138968 w 188458"/>
                  <a:gd name="connsiteY33" fmla="*/ 31330 h 191684"/>
                  <a:gd name="connsiteX34" fmla="*/ 155637 w 188458"/>
                  <a:gd name="connsiteY34" fmla="*/ 19423 h 191684"/>
                  <a:gd name="connsiteX35" fmla="*/ 162780 w 188458"/>
                  <a:gd name="connsiteY35" fmla="*/ 17042 h 191684"/>
                  <a:gd name="connsiteX36" fmla="*/ 169924 w 188458"/>
                  <a:gd name="connsiteY36" fmla="*/ 12280 h 191684"/>
                  <a:gd name="connsiteX37" fmla="*/ 179449 w 188458"/>
                  <a:gd name="connsiteY37" fmla="*/ 7517 h 191684"/>
                  <a:gd name="connsiteX38" fmla="*/ 186593 w 188458"/>
                  <a:gd name="connsiteY38" fmla="*/ 373 h 191684"/>
                  <a:gd name="connsiteX39" fmla="*/ 188458 w 188458"/>
                  <a:gd name="connsiteY39" fmla="*/ 0 h 19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8458" h="191684">
                    <a:moveTo>
                      <a:pt x="188458" y="0"/>
                    </a:moveTo>
                    <a:lnTo>
                      <a:pt x="180520" y="7937"/>
                    </a:lnTo>
                    <a:cubicBezTo>
                      <a:pt x="177048" y="13283"/>
                      <a:pt x="174686" y="19354"/>
                      <a:pt x="173660" y="25791"/>
                    </a:cubicBezTo>
                    <a:cubicBezTo>
                      <a:pt x="168604" y="61255"/>
                      <a:pt x="129696" y="83604"/>
                      <a:pt x="100386" y="103974"/>
                    </a:cubicBezTo>
                    <a:cubicBezTo>
                      <a:pt x="92398" y="109470"/>
                      <a:pt x="83312" y="115405"/>
                      <a:pt x="80821" y="124711"/>
                    </a:cubicBezTo>
                    <a:cubicBezTo>
                      <a:pt x="78329" y="134017"/>
                      <a:pt x="88296" y="145960"/>
                      <a:pt x="96648" y="140978"/>
                    </a:cubicBezTo>
                    <a:cubicBezTo>
                      <a:pt x="97821" y="149470"/>
                      <a:pt x="98187" y="158066"/>
                      <a:pt x="97601" y="166624"/>
                    </a:cubicBezTo>
                    <a:lnTo>
                      <a:pt x="102711" y="167381"/>
                    </a:lnTo>
                    <a:lnTo>
                      <a:pt x="96105" y="169442"/>
                    </a:lnTo>
                    <a:cubicBezTo>
                      <a:pt x="92281" y="170589"/>
                      <a:pt x="83445" y="172201"/>
                      <a:pt x="79437" y="174205"/>
                    </a:cubicBezTo>
                    <a:cubicBezTo>
                      <a:pt x="76877" y="175485"/>
                      <a:pt x="74853" y="177687"/>
                      <a:pt x="72293" y="178967"/>
                    </a:cubicBezTo>
                    <a:cubicBezTo>
                      <a:pt x="64546" y="182840"/>
                      <a:pt x="64829" y="179286"/>
                      <a:pt x="58005" y="186111"/>
                    </a:cubicBezTo>
                    <a:lnTo>
                      <a:pt x="57558" y="186782"/>
                    </a:lnTo>
                    <a:lnTo>
                      <a:pt x="57446" y="184650"/>
                    </a:lnTo>
                    <a:cubicBezTo>
                      <a:pt x="47554" y="183111"/>
                      <a:pt x="35830" y="182232"/>
                      <a:pt x="29015" y="189559"/>
                    </a:cubicBezTo>
                    <a:cubicBezTo>
                      <a:pt x="28136" y="190511"/>
                      <a:pt x="27184" y="191684"/>
                      <a:pt x="25865" y="191684"/>
                    </a:cubicBezTo>
                    <a:cubicBezTo>
                      <a:pt x="24839" y="191530"/>
                      <a:pt x="23886" y="190981"/>
                      <a:pt x="23227" y="190145"/>
                    </a:cubicBezTo>
                    <a:lnTo>
                      <a:pt x="0" y="166771"/>
                    </a:lnTo>
                    <a:lnTo>
                      <a:pt x="13555" y="163327"/>
                    </a:lnTo>
                    <a:cubicBezTo>
                      <a:pt x="13262" y="157318"/>
                      <a:pt x="14581" y="151346"/>
                      <a:pt x="17218" y="145960"/>
                    </a:cubicBezTo>
                    <a:cubicBezTo>
                      <a:pt x="21981" y="148862"/>
                      <a:pt x="28210" y="147543"/>
                      <a:pt x="31434" y="142949"/>
                    </a:cubicBezTo>
                    <a:cubicBezTo>
                      <a:pt x="34804" y="138135"/>
                      <a:pt x="33632" y="131511"/>
                      <a:pt x="28796" y="128154"/>
                    </a:cubicBezTo>
                    <a:cubicBezTo>
                      <a:pt x="23007" y="123612"/>
                      <a:pt x="13042" y="125444"/>
                      <a:pt x="9012" y="119215"/>
                    </a:cubicBezTo>
                    <a:cubicBezTo>
                      <a:pt x="7474" y="116871"/>
                      <a:pt x="7052" y="113757"/>
                      <a:pt x="6530" y="110844"/>
                    </a:cubicBezTo>
                    <a:lnTo>
                      <a:pt x="4402" y="105908"/>
                    </a:lnTo>
                    <a:lnTo>
                      <a:pt x="5618" y="105148"/>
                    </a:lnTo>
                    <a:cubicBezTo>
                      <a:pt x="9837" y="101280"/>
                      <a:pt x="10381" y="94036"/>
                      <a:pt x="15143" y="90861"/>
                    </a:cubicBezTo>
                    <a:cubicBezTo>
                      <a:pt x="17524" y="89273"/>
                      <a:pt x="20263" y="88122"/>
                      <a:pt x="22287" y="86098"/>
                    </a:cubicBezTo>
                    <a:cubicBezTo>
                      <a:pt x="29336" y="79049"/>
                      <a:pt x="29984" y="73019"/>
                      <a:pt x="38955" y="69430"/>
                    </a:cubicBezTo>
                    <a:cubicBezTo>
                      <a:pt x="44320" y="67284"/>
                      <a:pt x="50182" y="66611"/>
                      <a:pt x="55624" y="64667"/>
                    </a:cubicBezTo>
                    <a:cubicBezTo>
                      <a:pt x="61317" y="62634"/>
                      <a:pt x="66680" y="59768"/>
                      <a:pt x="72293" y="57523"/>
                    </a:cubicBezTo>
                    <a:cubicBezTo>
                      <a:pt x="74624" y="56591"/>
                      <a:pt x="76995" y="55723"/>
                      <a:pt x="79437" y="55142"/>
                    </a:cubicBezTo>
                    <a:cubicBezTo>
                      <a:pt x="93675" y="51752"/>
                      <a:pt x="108012" y="48792"/>
                      <a:pt x="122299" y="45617"/>
                    </a:cubicBezTo>
                    <a:cubicBezTo>
                      <a:pt x="136696" y="31220"/>
                      <a:pt x="126272" y="40398"/>
                      <a:pt x="138968" y="31330"/>
                    </a:cubicBezTo>
                    <a:cubicBezTo>
                      <a:pt x="141485" y="29532"/>
                      <a:pt x="151896" y="21294"/>
                      <a:pt x="155637" y="19423"/>
                    </a:cubicBezTo>
                    <a:cubicBezTo>
                      <a:pt x="157882" y="18301"/>
                      <a:pt x="160535" y="18164"/>
                      <a:pt x="162780" y="17042"/>
                    </a:cubicBezTo>
                    <a:cubicBezTo>
                      <a:pt x="165340" y="15762"/>
                      <a:pt x="167439" y="13700"/>
                      <a:pt x="169924" y="12280"/>
                    </a:cubicBezTo>
                    <a:cubicBezTo>
                      <a:pt x="173006" y="10519"/>
                      <a:pt x="176560" y="9580"/>
                      <a:pt x="179449" y="7517"/>
                    </a:cubicBezTo>
                    <a:cubicBezTo>
                      <a:pt x="182189" y="5559"/>
                      <a:pt x="183581" y="1879"/>
                      <a:pt x="186593" y="373"/>
                    </a:cubicBezTo>
                    <a:lnTo>
                      <a:pt x="188458" y="0"/>
                    </a:lnTo>
                    <a:close/>
                  </a:path>
                </a:pathLst>
              </a:custGeom>
              <a:solidFill>
                <a:srgbClr val="FFFFFF"/>
              </a:solidFill>
              <a:ln w="3175" cap="flat">
                <a:solidFill>
                  <a:schemeClr val="accent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723" name="Gruppieren 3">
              <a:extLst>
                <a:ext uri="{FF2B5EF4-FFF2-40B4-BE49-F238E27FC236}">
                  <a16:creationId xmlns:a16="http://schemas.microsoft.com/office/drawing/2014/main" id="{3D32EC0C-308A-1ED7-D18C-6F1EC03E8A91}"/>
                </a:ext>
              </a:extLst>
            </p:cNvPr>
            <p:cNvGrpSpPr/>
            <p:nvPr/>
          </p:nvGrpSpPr>
          <p:grpSpPr>
            <a:xfrm>
              <a:off x="2052195" y="1001480"/>
              <a:ext cx="8228634" cy="5323624"/>
              <a:chOff x="2052195" y="1001480"/>
              <a:chExt cx="8228634" cy="5323624"/>
            </a:xfrm>
          </p:grpSpPr>
          <p:sp>
            <p:nvSpPr>
              <p:cNvPr id="724" name="Rounded Rectangle 473">
                <a:extLst>
                  <a:ext uri="{FF2B5EF4-FFF2-40B4-BE49-F238E27FC236}">
                    <a16:creationId xmlns:a16="http://schemas.microsoft.com/office/drawing/2014/main" id="{0D31DEA7-54DC-BA95-08DB-6E6A7C24E990}"/>
                  </a:ext>
                </a:extLst>
              </p:cNvPr>
              <p:cNvSpPr/>
              <p:nvPr/>
            </p:nvSpPr>
            <p:spPr>
              <a:xfrm>
                <a:off x="2052195" y="5399925"/>
                <a:ext cx="589439" cy="288147"/>
              </a:xfrm>
              <a:prstGeom prst="rect">
                <a:avLst/>
              </a:prstGeom>
              <a:solidFill>
                <a:schemeClr val="accent5"/>
              </a:solidFill>
              <a:ln w="381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spcBef>
                    <a:spcPct val="0"/>
                  </a:spcBef>
                </a:pPr>
                <a:r>
                  <a:rPr lang="en-US" sz="1400" b="1">
                    <a:solidFill>
                      <a:schemeClr val="bg1"/>
                    </a:solidFill>
                    <a:ea typeface="ヒラギノ角ゴ Pro W3" pitchFamily="1" charset="-128"/>
                  </a:rPr>
                  <a:t>CALA</a:t>
                </a:r>
              </a:p>
            </p:txBody>
          </p:sp>
          <p:sp>
            <p:nvSpPr>
              <p:cNvPr id="725" name="Rounded Rectangle 447">
                <a:extLst>
                  <a:ext uri="{FF2B5EF4-FFF2-40B4-BE49-F238E27FC236}">
                    <a16:creationId xmlns:a16="http://schemas.microsoft.com/office/drawing/2014/main" id="{E4CFF6E9-9AB1-906C-4A27-AC248A934031}"/>
                  </a:ext>
                </a:extLst>
              </p:cNvPr>
              <p:cNvSpPr/>
              <p:nvPr/>
            </p:nvSpPr>
            <p:spPr>
              <a:xfrm>
                <a:off x="5241941" y="6036957"/>
                <a:ext cx="1092781" cy="288147"/>
              </a:xfrm>
              <a:prstGeom prst="rect">
                <a:avLst/>
              </a:prstGeom>
              <a:solidFill>
                <a:srgbClr val="005295"/>
              </a:solidFill>
              <a:ln w="381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spcBef>
                    <a:spcPct val="0"/>
                  </a:spcBef>
                </a:pPr>
                <a:r>
                  <a:rPr lang="en-US" sz="1400" b="1">
                    <a:solidFill>
                      <a:schemeClr val="bg1"/>
                    </a:solidFill>
                    <a:ea typeface="ヒラギノ角ゴ Pro W3" pitchFamily="1" charset="-128"/>
                  </a:rPr>
                  <a:t>ME &amp; Africa</a:t>
                </a:r>
              </a:p>
            </p:txBody>
          </p:sp>
          <p:sp>
            <p:nvSpPr>
              <p:cNvPr id="726" name="Rounded Rectangle 439">
                <a:extLst>
                  <a:ext uri="{FF2B5EF4-FFF2-40B4-BE49-F238E27FC236}">
                    <a16:creationId xmlns:a16="http://schemas.microsoft.com/office/drawing/2014/main" id="{D97FFE77-8609-4D7F-513E-30FC3AC88164}"/>
                  </a:ext>
                </a:extLst>
              </p:cNvPr>
              <p:cNvSpPr/>
              <p:nvPr/>
            </p:nvSpPr>
            <p:spPr>
              <a:xfrm>
                <a:off x="5040700" y="4437758"/>
                <a:ext cx="455821" cy="395869"/>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BURKINA</a:t>
                </a:r>
                <a:br>
                  <a:rPr lang="en-US" sz="700" b="1">
                    <a:solidFill>
                      <a:schemeClr val="bg1"/>
                    </a:solidFill>
                    <a:ea typeface="ヒラギノ角ゴ Pro W3" pitchFamily="1" charset="-128"/>
                  </a:rPr>
                </a:br>
                <a:r>
                  <a:rPr lang="en-US" sz="700" b="1">
                    <a:solidFill>
                      <a:schemeClr val="bg1"/>
                    </a:solidFill>
                    <a:ea typeface="ヒラギノ角ゴ Pro W3" pitchFamily="1" charset="-128"/>
                  </a:rPr>
                  <a:t>FASO</a:t>
                </a:r>
                <a:endParaRPr lang="en-US" sz="700">
                  <a:solidFill>
                    <a:schemeClr val="bg1"/>
                  </a:solidFill>
                  <a:ea typeface="ヒラギノ角ゴ Pro W3" pitchFamily="1" charset="-128"/>
                </a:endParaRP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elMob</a:t>
                </a:r>
              </a:p>
            </p:txBody>
          </p:sp>
          <p:sp>
            <p:nvSpPr>
              <p:cNvPr id="727" name="Rounded Rectangle 440">
                <a:extLst>
                  <a:ext uri="{FF2B5EF4-FFF2-40B4-BE49-F238E27FC236}">
                    <a16:creationId xmlns:a16="http://schemas.microsoft.com/office/drawing/2014/main" id="{C33F5A53-6800-747B-D1BF-52572BFA46E5}"/>
                  </a:ext>
                </a:extLst>
              </p:cNvPr>
              <p:cNvSpPr/>
              <p:nvPr/>
            </p:nvSpPr>
            <p:spPr>
              <a:xfrm>
                <a:off x="7088345" y="4738985"/>
                <a:ext cx="459027" cy="288147"/>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SOMALI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Somtel</a:t>
                </a:r>
              </a:p>
            </p:txBody>
          </p:sp>
          <p:sp>
            <p:nvSpPr>
              <p:cNvPr id="728" name="Rounded Rectangle 441">
                <a:extLst>
                  <a:ext uri="{FF2B5EF4-FFF2-40B4-BE49-F238E27FC236}">
                    <a16:creationId xmlns:a16="http://schemas.microsoft.com/office/drawing/2014/main" id="{E2E56D06-7A2D-5907-30C0-9CED34504C6C}"/>
                  </a:ext>
                </a:extLst>
              </p:cNvPr>
              <p:cNvSpPr/>
              <p:nvPr/>
            </p:nvSpPr>
            <p:spPr>
              <a:xfrm>
                <a:off x="5477442" y="4983569"/>
                <a:ext cx="501026" cy="288147"/>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TOGO</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ogoCell</a:t>
                </a:r>
              </a:p>
            </p:txBody>
          </p:sp>
          <p:sp>
            <p:nvSpPr>
              <p:cNvPr id="729" name="Rounded Rectangle 442">
                <a:extLst>
                  <a:ext uri="{FF2B5EF4-FFF2-40B4-BE49-F238E27FC236}">
                    <a16:creationId xmlns:a16="http://schemas.microsoft.com/office/drawing/2014/main" id="{A147EA15-D52B-B647-69BA-FBB34A3EC67A}"/>
                  </a:ext>
                </a:extLst>
              </p:cNvPr>
              <p:cNvSpPr/>
              <p:nvPr/>
            </p:nvSpPr>
            <p:spPr>
              <a:xfrm>
                <a:off x="5726066" y="5466131"/>
                <a:ext cx="431776" cy="395869"/>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UGAND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UTL</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Warid</a:t>
                </a:r>
              </a:p>
            </p:txBody>
          </p:sp>
          <p:sp>
            <p:nvSpPr>
              <p:cNvPr id="730" name="Rounded Rectangle 486">
                <a:extLst>
                  <a:ext uri="{FF2B5EF4-FFF2-40B4-BE49-F238E27FC236}">
                    <a16:creationId xmlns:a16="http://schemas.microsoft.com/office/drawing/2014/main" id="{946EA4CB-BD38-ED0A-D3F3-712D4E59F5BD}"/>
                  </a:ext>
                </a:extLst>
              </p:cNvPr>
              <p:cNvSpPr/>
              <p:nvPr/>
            </p:nvSpPr>
            <p:spPr>
              <a:xfrm>
                <a:off x="8907429" y="1001480"/>
                <a:ext cx="1270714" cy="288147"/>
              </a:xfrm>
              <a:prstGeom prst="rect">
                <a:avLst/>
              </a:prstGeom>
              <a:solidFill>
                <a:schemeClr val="accent3"/>
              </a:solidFill>
              <a:ln w="381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spcBef>
                    <a:spcPct val="0"/>
                  </a:spcBef>
                </a:pPr>
                <a:r>
                  <a:rPr lang="en-US" sz="1400" b="1">
                    <a:solidFill>
                      <a:schemeClr val="bg1"/>
                    </a:solidFill>
                    <a:ea typeface="ヒラギノ角ゴ Pro W3" pitchFamily="1" charset="-128"/>
                  </a:rPr>
                  <a:t>EUROPE/ CEE</a:t>
                </a:r>
              </a:p>
            </p:txBody>
          </p:sp>
          <p:sp>
            <p:nvSpPr>
              <p:cNvPr id="731" name="Rounded Rectangle 435">
                <a:extLst>
                  <a:ext uri="{FF2B5EF4-FFF2-40B4-BE49-F238E27FC236}">
                    <a16:creationId xmlns:a16="http://schemas.microsoft.com/office/drawing/2014/main" id="{2CEAD1CE-E35F-80F3-F3EC-3DAEEEF6FB11}"/>
                  </a:ext>
                </a:extLst>
              </p:cNvPr>
              <p:cNvSpPr/>
              <p:nvPr/>
            </p:nvSpPr>
            <p:spPr>
              <a:xfrm>
                <a:off x="9392834" y="6026801"/>
                <a:ext cx="608675" cy="288147"/>
              </a:xfrm>
              <a:prstGeom prst="rect">
                <a:avLst/>
              </a:prstGeom>
              <a:solidFill>
                <a:schemeClr val="accent1"/>
              </a:solidFill>
              <a:ln w="381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spcBef>
                    <a:spcPct val="0"/>
                  </a:spcBef>
                </a:pPr>
                <a:r>
                  <a:rPr lang="en-US" sz="1400" b="1">
                    <a:solidFill>
                      <a:schemeClr val="bg1"/>
                    </a:solidFill>
                    <a:ea typeface="ヒラギノ角ゴ Pro W3" pitchFamily="1" charset="-128"/>
                  </a:rPr>
                  <a:t>APAC</a:t>
                </a:r>
              </a:p>
            </p:txBody>
          </p:sp>
          <p:sp>
            <p:nvSpPr>
              <p:cNvPr id="732" name="Rounded Rectangle 450">
                <a:extLst>
                  <a:ext uri="{FF2B5EF4-FFF2-40B4-BE49-F238E27FC236}">
                    <a16:creationId xmlns:a16="http://schemas.microsoft.com/office/drawing/2014/main" id="{E273C276-BAAB-8E02-99E8-ADB6A32545F4}"/>
                  </a:ext>
                </a:extLst>
              </p:cNvPr>
              <p:cNvSpPr/>
              <p:nvPr/>
            </p:nvSpPr>
            <p:spPr>
              <a:xfrm>
                <a:off x="4664736" y="5389966"/>
                <a:ext cx="744682" cy="503590"/>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BRAZIL</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Brazil Telecom</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elemig/Vivo</a:t>
                </a:r>
              </a:p>
            </p:txBody>
          </p:sp>
          <p:sp>
            <p:nvSpPr>
              <p:cNvPr id="733" name="Rounded Rectangle 452">
                <a:extLst>
                  <a:ext uri="{FF2B5EF4-FFF2-40B4-BE49-F238E27FC236}">
                    <a16:creationId xmlns:a16="http://schemas.microsoft.com/office/drawing/2014/main" id="{8BD4E47B-8AF0-FFEE-FB33-FC778152FF15}"/>
                  </a:ext>
                </a:extLst>
              </p:cNvPr>
              <p:cNvSpPr/>
              <p:nvPr/>
            </p:nvSpPr>
            <p:spPr>
              <a:xfrm>
                <a:off x="4398026" y="6035253"/>
                <a:ext cx="499423"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ARGENTI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Movistar</a:t>
                </a:r>
              </a:p>
            </p:txBody>
          </p:sp>
          <p:sp>
            <p:nvSpPr>
              <p:cNvPr id="734" name="Rounded Rectangle 454">
                <a:extLst>
                  <a:ext uri="{FF2B5EF4-FFF2-40B4-BE49-F238E27FC236}">
                    <a16:creationId xmlns:a16="http://schemas.microsoft.com/office/drawing/2014/main" id="{AF59EAD6-A702-E622-9589-A1CDC74F826E}"/>
                  </a:ext>
                </a:extLst>
              </p:cNvPr>
              <p:cNvSpPr/>
              <p:nvPr/>
            </p:nvSpPr>
            <p:spPr>
              <a:xfrm>
                <a:off x="3376135" y="6020338"/>
                <a:ext cx="355153"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CHILE</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sp>
            <p:nvSpPr>
              <p:cNvPr id="735" name="Rounded Rectangle 456">
                <a:extLst>
                  <a:ext uri="{FF2B5EF4-FFF2-40B4-BE49-F238E27FC236}">
                    <a16:creationId xmlns:a16="http://schemas.microsoft.com/office/drawing/2014/main" id="{79054574-76A6-73A4-1225-05799F0C4C79}"/>
                  </a:ext>
                </a:extLst>
              </p:cNvPr>
              <p:cNvSpPr/>
              <p:nvPr/>
            </p:nvSpPr>
            <p:spPr>
              <a:xfrm>
                <a:off x="3476859" y="5121390"/>
                <a:ext cx="355153"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PERU</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sp>
            <p:nvSpPr>
              <p:cNvPr id="736" name="Rounded Rectangle 458">
                <a:extLst>
                  <a:ext uri="{FF2B5EF4-FFF2-40B4-BE49-F238E27FC236}">
                    <a16:creationId xmlns:a16="http://schemas.microsoft.com/office/drawing/2014/main" id="{5A219222-2B3B-2D96-73D9-03557D74AD16}"/>
                  </a:ext>
                </a:extLst>
              </p:cNvPr>
              <p:cNvSpPr/>
              <p:nvPr/>
            </p:nvSpPr>
            <p:spPr>
              <a:xfrm>
                <a:off x="3120298" y="4725528"/>
                <a:ext cx="479866"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ECUADOR</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sp>
            <p:nvSpPr>
              <p:cNvPr id="737" name="Rounded Rectangle 462">
                <a:extLst>
                  <a:ext uri="{FF2B5EF4-FFF2-40B4-BE49-F238E27FC236}">
                    <a16:creationId xmlns:a16="http://schemas.microsoft.com/office/drawing/2014/main" id="{9D1D6FA7-F597-AEE7-9C81-D740A252C3AA}"/>
                  </a:ext>
                </a:extLst>
              </p:cNvPr>
              <p:cNvSpPr/>
              <p:nvPr/>
            </p:nvSpPr>
            <p:spPr>
              <a:xfrm>
                <a:off x="2305281" y="4347155"/>
                <a:ext cx="572840"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NICARAGU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sp>
            <p:nvSpPr>
              <p:cNvPr id="738" name="Rounded Rectangle 464">
                <a:extLst>
                  <a:ext uri="{FF2B5EF4-FFF2-40B4-BE49-F238E27FC236}">
                    <a16:creationId xmlns:a16="http://schemas.microsoft.com/office/drawing/2014/main" id="{0E1DB757-EC2B-6D12-F0DE-12A229761F6B}"/>
                  </a:ext>
                </a:extLst>
              </p:cNvPr>
              <p:cNvSpPr/>
              <p:nvPr/>
            </p:nvSpPr>
            <p:spPr>
              <a:xfrm>
                <a:off x="2253425" y="3968782"/>
                <a:ext cx="556810"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HONDURAS</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sp>
            <p:nvSpPr>
              <p:cNvPr id="739" name="Rounded Rectangle 467">
                <a:extLst>
                  <a:ext uri="{FF2B5EF4-FFF2-40B4-BE49-F238E27FC236}">
                    <a16:creationId xmlns:a16="http://schemas.microsoft.com/office/drawing/2014/main" id="{1B89056A-6635-372E-16D9-65408B61DABA}"/>
                  </a:ext>
                </a:extLst>
              </p:cNvPr>
              <p:cNvSpPr/>
              <p:nvPr/>
            </p:nvSpPr>
            <p:spPr>
              <a:xfrm>
                <a:off x="2223532" y="3590410"/>
                <a:ext cx="459027"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dirty="0">
                    <a:solidFill>
                      <a:schemeClr val="bg1"/>
                    </a:solidFill>
                    <a:ea typeface="ヒラギノ角ゴ Pro W3" pitchFamily="1" charset="-128"/>
                  </a:rPr>
                  <a:t>JAMAIC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C&amp;W</a:t>
                </a:r>
                <a:endParaRPr lang="en-US" sz="700" b="1" dirty="0">
                  <a:solidFill>
                    <a:schemeClr val="bg1"/>
                  </a:solidFill>
                  <a:ea typeface="ヒラギノ角ゴ Pro W3" pitchFamily="1" charset="-128"/>
                </a:endParaRPr>
              </a:p>
            </p:txBody>
          </p:sp>
          <p:sp>
            <p:nvSpPr>
              <p:cNvPr id="740" name="Rounded Rectangle 468">
                <a:extLst>
                  <a:ext uri="{FF2B5EF4-FFF2-40B4-BE49-F238E27FC236}">
                    <a16:creationId xmlns:a16="http://schemas.microsoft.com/office/drawing/2014/main" id="{B7FBFD44-EC70-1175-CC79-A3589BD23E09}"/>
                  </a:ext>
                </a:extLst>
              </p:cNvPr>
              <p:cNvSpPr/>
              <p:nvPr/>
            </p:nvSpPr>
            <p:spPr>
              <a:xfrm>
                <a:off x="4261686" y="3815747"/>
                <a:ext cx="640166"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PUERTO RICO</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cxnSp>
            <p:nvCxnSpPr>
              <p:cNvPr id="741" name="Gerade Verbindung mit Pfeil 443">
                <a:extLst>
                  <a:ext uri="{FF2B5EF4-FFF2-40B4-BE49-F238E27FC236}">
                    <a16:creationId xmlns:a16="http://schemas.microsoft.com/office/drawing/2014/main" id="{A7D750BB-532B-BF61-E193-34EE69253F2F}"/>
                  </a:ext>
                </a:extLst>
              </p:cNvPr>
              <p:cNvCxnSpPr>
                <a:cxnSpLocks/>
                <a:stCxn id="739" idx="3"/>
              </p:cNvCxnSpPr>
              <p:nvPr/>
            </p:nvCxnSpPr>
            <p:spPr>
              <a:xfrm>
                <a:off x="2682559" y="3734484"/>
                <a:ext cx="1138162" cy="248544"/>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2" name="Gerade Verbindung mit Pfeil 445">
                <a:extLst>
                  <a:ext uri="{FF2B5EF4-FFF2-40B4-BE49-F238E27FC236}">
                    <a16:creationId xmlns:a16="http://schemas.microsoft.com/office/drawing/2014/main" id="{643D0AF1-980A-C93F-4573-4F2AC7EFDDF7}"/>
                  </a:ext>
                </a:extLst>
              </p:cNvPr>
              <p:cNvCxnSpPr>
                <a:cxnSpLocks/>
                <a:stCxn id="738" idx="3"/>
              </p:cNvCxnSpPr>
              <p:nvPr/>
            </p:nvCxnSpPr>
            <p:spPr>
              <a:xfrm flipV="1">
                <a:off x="2810235" y="4081430"/>
                <a:ext cx="733329" cy="31426"/>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3" name="Gerade Verbindung mit Pfeil 447">
                <a:extLst>
                  <a:ext uri="{FF2B5EF4-FFF2-40B4-BE49-F238E27FC236}">
                    <a16:creationId xmlns:a16="http://schemas.microsoft.com/office/drawing/2014/main" id="{85DF876B-6BD4-215A-1B72-89E64EAFB455}"/>
                  </a:ext>
                </a:extLst>
              </p:cNvPr>
              <p:cNvCxnSpPr>
                <a:cxnSpLocks/>
                <a:stCxn id="737" idx="3"/>
              </p:cNvCxnSpPr>
              <p:nvPr/>
            </p:nvCxnSpPr>
            <p:spPr>
              <a:xfrm flipV="1">
                <a:off x="2878121" y="4173531"/>
                <a:ext cx="729301" cy="317698"/>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4" name="Gerade Verbindung mit Pfeil 449">
                <a:extLst>
                  <a:ext uri="{FF2B5EF4-FFF2-40B4-BE49-F238E27FC236}">
                    <a16:creationId xmlns:a16="http://schemas.microsoft.com/office/drawing/2014/main" id="{20414759-C5A9-6F4F-B17D-A7305400CA41}"/>
                  </a:ext>
                </a:extLst>
              </p:cNvPr>
              <p:cNvCxnSpPr>
                <a:cxnSpLocks/>
              </p:cNvCxnSpPr>
              <p:nvPr/>
            </p:nvCxnSpPr>
            <p:spPr>
              <a:xfrm flipV="1">
                <a:off x="2941754" y="4247180"/>
                <a:ext cx="726889" cy="510438"/>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45" name="Rounded Rectangle 460">
                <a:extLst>
                  <a:ext uri="{FF2B5EF4-FFF2-40B4-BE49-F238E27FC236}">
                    <a16:creationId xmlns:a16="http://schemas.microsoft.com/office/drawing/2014/main" id="{1A839CAF-B30A-5BCF-D16A-C0CE646B2DDC}"/>
                  </a:ext>
                </a:extLst>
              </p:cNvPr>
              <p:cNvSpPr/>
              <p:nvPr/>
            </p:nvSpPr>
            <p:spPr>
              <a:xfrm>
                <a:off x="2342389" y="4725528"/>
                <a:ext cx="580856"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COSTA RIC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Ice</a:t>
                </a:r>
              </a:p>
            </p:txBody>
          </p:sp>
          <p:cxnSp>
            <p:nvCxnSpPr>
              <p:cNvPr id="746" name="Gerade Verbindung mit Pfeil 453">
                <a:extLst>
                  <a:ext uri="{FF2B5EF4-FFF2-40B4-BE49-F238E27FC236}">
                    <a16:creationId xmlns:a16="http://schemas.microsoft.com/office/drawing/2014/main" id="{B32E4BE6-6419-F473-03BB-7BA1769F9242}"/>
                  </a:ext>
                </a:extLst>
              </p:cNvPr>
              <p:cNvCxnSpPr>
                <a:cxnSpLocks/>
                <a:stCxn id="736" idx="0"/>
              </p:cNvCxnSpPr>
              <p:nvPr/>
            </p:nvCxnSpPr>
            <p:spPr>
              <a:xfrm flipV="1">
                <a:off x="3360231" y="4526638"/>
                <a:ext cx="400987" cy="198890"/>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7" name="Gerade Verbindung mit Pfeil 455">
                <a:extLst>
                  <a:ext uri="{FF2B5EF4-FFF2-40B4-BE49-F238E27FC236}">
                    <a16:creationId xmlns:a16="http://schemas.microsoft.com/office/drawing/2014/main" id="{F78F3F2E-C6FE-E501-909A-7E21C7127C82}"/>
                  </a:ext>
                </a:extLst>
              </p:cNvPr>
              <p:cNvCxnSpPr>
                <a:cxnSpLocks/>
                <a:stCxn id="735" idx="0"/>
              </p:cNvCxnSpPr>
              <p:nvPr/>
            </p:nvCxnSpPr>
            <p:spPr>
              <a:xfrm flipV="1">
                <a:off x="3654436" y="4854373"/>
                <a:ext cx="224809" cy="267017"/>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8" name="Gerade Verbindung mit Pfeil 457">
                <a:extLst>
                  <a:ext uri="{FF2B5EF4-FFF2-40B4-BE49-F238E27FC236}">
                    <a16:creationId xmlns:a16="http://schemas.microsoft.com/office/drawing/2014/main" id="{724CBF4F-BCAB-101D-FB89-67D6EE8E6B71}"/>
                  </a:ext>
                </a:extLst>
              </p:cNvPr>
              <p:cNvCxnSpPr>
                <a:cxnSpLocks/>
                <a:stCxn id="734" idx="0"/>
              </p:cNvCxnSpPr>
              <p:nvPr/>
            </p:nvCxnSpPr>
            <p:spPr>
              <a:xfrm flipV="1">
                <a:off x="3553712" y="5643192"/>
                <a:ext cx="394475" cy="377146"/>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49" name="Gerade Verbindung mit Pfeil 459">
                <a:extLst>
                  <a:ext uri="{FF2B5EF4-FFF2-40B4-BE49-F238E27FC236}">
                    <a16:creationId xmlns:a16="http://schemas.microsoft.com/office/drawing/2014/main" id="{80AFE700-9E12-F866-8600-77C3325E018E}"/>
                  </a:ext>
                </a:extLst>
              </p:cNvPr>
              <p:cNvCxnSpPr>
                <a:cxnSpLocks/>
                <a:stCxn id="733" idx="0"/>
              </p:cNvCxnSpPr>
              <p:nvPr/>
            </p:nvCxnSpPr>
            <p:spPr>
              <a:xfrm flipH="1" flipV="1">
                <a:off x="4169094" y="5518941"/>
                <a:ext cx="478644" cy="516312"/>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50" name="Gerade Verbindung mit Pfeil 461">
                <a:extLst>
                  <a:ext uri="{FF2B5EF4-FFF2-40B4-BE49-F238E27FC236}">
                    <a16:creationId xmlns:a16="http://schemas.microsoft.com/office/drawing/2014/main" id="{06456655-8ACB-7AB1-4F06-822D4D9C89BC}"/>
                  </a:ext>
                </a:extLst>
              </p:cNvPr>
              <p:cNvCxnSpPr>
                <a:cxnSpLocks/>
                <a:stCxn id="732" idx="0"/>
              </p:cNvCxnSpPr>
              <p:nvPr/>
            </p:nvCxnSpPr>
            <p:spPr>
              <a:xfrm flipH="1" flipV="1">
                <a:off x="4605891" y="4870283"/>
                <a:ext cx="431186" cy="519683"/>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51" name="Rounded Rectangle 414">
                <a:extLst>
                  <a:ext uri="{FF2B5EF4-FFF2-40B4-BE49-F238E27FC236}">
                    <a16:creationId xmlns:a16="http://schemas.microsoft.com/office/drawing/2014/main" id="{4C8A8398-2A29-68E5-CBA1-B317F67647AF}"/>
                  </a:ext>
                </a:extLst>
              </p:cNvPr>
              <p:cNvSpPr/>
              <p:nvPr/>
            </p:nvSpPr>
            <p:spPr>
              <a:xfrm>
                <a:off x="9502483" y="2879545"/>
                <a:ext cx="778346" cy="611312"/>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VIETNAM</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MS</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inaphone</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iettel</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ietnam Mobile</a:t>
                </a:r>
              </a:p>
            </p:txBody>
          </p:sp>
          <p:sp>
            <p:nvSpPr>
              <p:cNvPr id="752" name="Rounded Rectangle 415">
                <a:extLst>
                  <a:ext uri="{FF2B5EF4-FFF2-40B4-BE49-F238E27FC236}">
                    <a16:creationId xmlns:a16="http://schemas.microsoft.com/office/drawing/2014/main" id="{AF1AE043-0606-C833-16EC-117ABEBBEF9A}"/>
                  </a:ext>
                </a:extLst>
              </p:cNvPr>
              <p:cNvSpPr/>
              <p:nvPr/>
            </p:nvSpPr>
            <p:spPr>
              <a:xfrm>
                <a:off x="9019852" y="3861289"/>
                <a:ext cx="527956"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CAMBODI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AMgsm</a:t>
                </a:r>
              </a:p>
            </p:txBody>
          </p:sp>
          <p:sp>
            <p:nvSpPr>
              <p:cNvPr id="753" name="Rounded Rectangle 416">
                <a:extLst>
                  <a:ext uri="{FF2B5EF4-FFF2-40B4-BE49-F238E27FC236}">
                    <a16:creationId xmlns:a16="http://schemas.microsoft.com/office/drawing/2014/main" id="{214A2713-F756-BB6F-E6C3-A2E26D7EFB9E}"/>
                  </a:ext>
                </a:extLst>
              </p:cNvPr>
              <p:cNvSpPr/>
              <p:nvPr/>
            </p:nvSpPr>
            <p:spPr>
              <a:xfrm>
                <a:off x="8789022" y="2449720"/>
                <a:ext cx="711019"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CHIN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hina Unicom</a:t>
                </a:r>
              </a:p>
            </p:txBody>
          </p:sp>
          <p:sp>
            <p:nvSpPr>
              <p:cNvPr id="754" name="Rounded Rectangle 417">
                <a:extLst>
                  <a:ext uri="{FF2B5EF4-FFF2-40B4-BE49-F238E27FC236}">
                    <a16:creationId xmlns:a16="http://schemas.microsoft.com/office/drawing/2014/main" id="{105120E0-6F32-C41E-FAB7-E873CCA84367}"/>
                  </a:ext>
                </a:extLst>
              </p:cNvPr>
              <p:cNvSpPr/>
              <p:nvPr/>
            </p:nvSpPr>
            <p:spPr>
              <a:xfrm>
                <a:off x="8107974" y="2512876"/>
                <a:ext cx="527956"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MONGOLI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Mobicom</a:t>
                </a:r>
              </a:p>
            </p:txBody>
          </p:sp>
          <p:sp>
            <p:nvSpPr>
              <p:cNvPr id="755" name="Rounded Rectangle 419">
                <a:extLst>
                  <a:ext uri="{FF2B5EF4-FFF2-40B4-BE49-F238E27FC236}">
                    <a16:creationId xmlns:a16="http://schemas.microsoft.com/office/drawing/2014/main" id="{8522D33A-341C-698B-39D9-8CE2878CAAC5}"/>
                  </a:ext>
                </a:extLst>
              </p:cNvPr>
              <p:cNvSpPr/>
              <p:nvPr/>
            </p:nvSpPr>
            <p:spPr>
              <a:xfrm>
                <a:off x="9685919" y="4722632"/>
                <a:ext cx="561940" cy="395869"/>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INDONESI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elkomsel</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Hutch</a:t>
                </a:r>
              </a:p>
            </p:txBody>
          </p:sp>
          <p:sp>
            <p:nvSpPr>
              <p:cNvPr id="756" name="Rounded Rectangle 420">
                <a:extLst>
                  <a:ext uri="{FF2B5EF4-FFF2-40B4-BE49-F238E27FC236}">
                    <a16:creationId xmlns:a16="http://schemas.microsoft.com/office/drawing/2014/main" id="{D4AF3B40-6A4B-A9EE-E7FD-59C0A1B21F2E}"/>
                  </a:ext>
                </a:extLst>
              </p:cNvPr>
              <p:cNvSpPr/>
              <p:nvPr/>
            </p:nvSpPr>
            <p:spPr>
              <a:xfrm>
                <a:off x="9411059" y="4241143"/>
                <a:ext cx="608106"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PHILIPPINES</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Globe</a:t>
                </a:r>
              </a:p>
            </p:txBody>
          </p:sp>
          <p:sp>
            <p:nvSpPr>
              <p:cNvPr id="757" name="Rounded Rectangle 421">
                <a:extLst>
                  <a:ext uri="{FF2B5EF4-FFF2-40B4-BE49-F238E27FC236}">
                    <a16:creationId xmlns:a16="http://schemas.microsoft.com/office/drawing/2014/main" id="{52698278-5B7C-76B7-8F24-4C6A85598366}"/>
                  </a:ext>
                </a:extLst>
              </p:cNvPr>
              <p:cNvSpPr/>
              <p:nvPr/>
            </p:nvSpPr>
            <p:spPr>
              <a:xfrm>
                <a:off x="7088345" y="3026807"/>
                <a:ext cx="502308"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PAKISTAN</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PakTel</a:t>
                </a:r>
              </a:p>
            </p:txBody>
          </p:sp>
          <p:sp>
            <p:nvSpPr>
              <p:cNvPr id="758" name="Rounded Rectangle 422">
                <a:extLst>
                  <a:ext uri="{FF2B5EF4-FFF2-40B4-BE49-F238E27FC236}">
                    <a16:creationId xmlns:a16="http://schemas.microsoft.com/office/drawing/2014/main" id="{25227CFF-56D5-2821-F754-A7BCCA5A282C}"/>
                  </a:ext>
                </a:extLst>
              </p:cNvPr>
              <p:cNvSpPr/>
              <p:nvPr/>
            </p:nvSpPr>
            <p:spPr>
              <a:xfrm>
                <a:off x="8973401" y="5402978"/>
                <a:ext cx="500705"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THAILAND</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IS</a:t>
                </a:r>
              </a:p>
            </p:txBody>
          </p:sp>
          <p:sp>
            <p:nvSpPr>
              <p:cNvPr id="759" name="Rounded Rectangle 423">
                <a:extLst>
                  <a:ext uri="{FF2B5EF4-FFF2-40B4-BE49-F238E27FC236}">
                    <a16:creationId xmlns:a16="http://schemas.microsoft.com/office/drawing/2014/main" id="{BDE439C4-6732-824C-FD70-F18A54C157EE}"/>
                  </a:ext>
                </a:extLst>
              </p:cNvPr>
              <p:cNvSpPr/>
              <p:nvPr/>
            </p:nvSpPr>
            <p:spPr>
              <a:xfrm>
                <a:off x="7534934" y="5189000"/>
                <a:ext cx="534689" cy="934478"/>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INDI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odafone</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Ide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irtel</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BSNL</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Reliance</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ircel</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PSDMA</a:t>
                </a:r>
              </a:p>
            </p:txBody>
          </p:sp>
          <p:sp>
            <p:nvSpPr>
              <p:cNvPr id="760" name="Rounded Rectangle 424">
                <a:extLst>
                  <a:ext uri="{FF2B5EF4-FFF2-40B4-BE49-F238E27FC236}">
                    <a16:creationId xmlns:a16="http://schemas.microsoft.com/office/drawing/2014/main" id="{E30B31D0-C735-E5CB-8A0D-B0B0986C0A02}"/>
                  </a:ext>
                </a:extLst>
              </p:cNvPr>
              <p:cNvSpPr/>
              <p:nvPr/>
            </p:nvSpPr>
            <p:spPr>
              <a:xfrm>
                <a:off x="8251338" y="5525384"/>
                <a:ext cx="535971" cy="503590"/>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SRI-LANKA</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Dialog</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Mobitel</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irtel</a:t>
                </a:r>
              </a:p>
            </p:txBody>
          </p:sp>
          <p:sp>
            <p:nvSpPr>
              <p:cNvPr id="761" name="Rounded Rectangle 414">
                <a:extLst>
                  <a:ext uri="{FF2B5EF4-FFF2-40B4-BE49-F238E27FC236}">
                    <a16:creationId xmlns:a16="http://schemas.microsoft.com/office/drawing/2014/main" id="{033BBD01-D222-8315-C409-290081EB7767}"/>
                  </a:ext>
                </a:extLst>
              </p:cNvPr>
              <p:cNvSpPr/>
              <p:nvPr/>
            </p:nvSpPr>
            <p:spPr>
              <a:xfrm>
                <a:off x="9672470" y="3629902"/>
                <a:ext cx="409334" cy="503590"/>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TAIWAN</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WM</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PT</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TST</a:t>
                </a:r>
              </a:p>
            </p:txBody>
          </p:sp>
          <p:sp>
            <p:nvSpPr>
              <p:cNvPr id="762" name="Rounded Rectangle 422">
                <a:extLst>
                  <a:ext uri="{FF2B5EF4-FFF2-40B4-BE49-F238E27FC236}">
                    <a16:creationId xmlns:a16="http://schemas.microsoft.com/office/drawing/2014/main" id="{1456E50B-8824-D3A5-E117-298D0381F593}"/>
                  </a:ext>
                </a:extLst>
              </p:cNvPr>
              <p:cNvSpPr/>
              <p:nvPr/>
            </p:nvSpPr>
            <p:spPr>
              <a:xfrm>
                <a:off x="7297029" y="2638336"/>
                <a:ext cx="649784" cy="288147"/>
              </a:xfrm>
              <a:prstGeom prst="rect">
                <a:avLst/>
              </a:prstGeom>
              <a:solidFill>
                <a:schemeClr val="accent1"/>
              </a:solidFill>
              <a:ln w="381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BANGLADESH</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Robi</a:t>
                </a:r>
              </a:p>
            </p:txBody>
          </p:sp>
          <p:cxnSp>
            <p:nvCxnSpPr>
              <p:cNvPr id="763" name="Gerade Verbindung mit Pfeil 475">
                <a:extLst>
                  <a:ext uri="{FF2B5EF4-FFF2-40B4-BE49-F238E27FC236}">
                    <a16:creationId xmlns:a16="http://schemas.microsoft.com/office/drawing/2014/main" id="{6BB6AD9E-E00E-E196-A80D-FAB184BD0648}"/>
                  </a:ext>
                </a:extLst>
              </p:cNvPr>
              <p:cNvCxnSpPr>
                <a:cxnSpLocks/>
                <a:stCxn id="759" idx="0"/>
              </p:cNvCxnSpPr>
              <p:nvPr/>
            </p:nvCxnSpPr>
            <p:spPr>
              <a:xfrm flipH="1" flipV="1">
                <a:off x="7745082" y="4097143"/>
                <a:ext cx="57197" cy="1091857"/>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4" name="Gerade Verbindung mit Pfeil 478">
                <a:extLst>
                  <a:ext uri="{FF2B5EF4-FFF2-40B4-BE49-F238E27FC236}">
                    <a16:creationId xmlns:a16="http://schemas.microsoft.com/office/drawing/2014/main" id="{43E808C4-304A-5B75-6C41-F8FC190E278C}"/>
                  </a:ext>
                </a:extLst>
              </p:cNvPr>
              <p:cNvCxnSpPr>
                <a:cxnSpLocks/>
                <a:stCxn id="760" idx="0"/>
              </p:cNvCxnSpPr>
              <p:nvPr/>
            </p:nvCxnSpPr>
            <p:spPr>
              <a:xfrm flipH="1" flipV="1">
                <a:off x="7859161" y="4328883"/>
                <a:ext cx="660163" cy="1196501"/>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5" name="Gerade Verbindung mit Pfeil 481">
                <a:extLst>
                  <a:ext uri="{FF2B5EF4-FFF2-40B4-BE49-F238E27FC236}">
                    <a16:creationId xmlns:a16="http://schemas.microsoft.com/office/drawing/2014/main" id="{9AEEF3A4-0896-18E8-FDF6-7E091B262A6F}"/>
                  </a:ext>
                </a:extLst>
              </p:cNvPr>
              <p:cNvCxnSpPr>
                <a:cxnSpLocks/>
                <a:stCxn id="758" idx="0"/>
              </p:cNvCxnSpPr>
              <p:nvPr/>
            </p:nvCxnSpPr>
            <p:spPr>
              <a:xfrm flipH="1" flipV="1">
                <a:off x="8276369" y="4126985"/>
                <a:ext cx="947385" cy="1275993"/>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6" name="Gerade Verbindung mit Pfeil 483">
                <a:extLst>
                  <a:ext uri="{FF2B5EF4-FFF2-40B4-BE49-F238E27FC236}">
                    <a16:creationId xmlns:a16="http://schemas.microsoft.com/office/drawing/2014/main" id="{4C437C5A-9EE1-3809-2491-4DA8BD8C867C}"/>
                  </a:ext>
                </a:extLst>
              </p:cNvPr>
              <p:cNvCxnSpPr>
                <a:cxnSpLocks/>
                <a:stCxn id="755" idx="0"/>
              </p:cNvCxnSpPr>
              <p:nvPr/>
            </p:nvCxnSpPr>
            <p:spPr>
              <a:xfrm flipH="1" flipV="1">
                <a:off x="8715075" y="4546033"/>
                <a:ext cx="1251814" cy="176599"/>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7" name="Gerade Verbindung mit Pfeil 485">
                <a:extLst>
                  <a:ext uri="{FF2B5EF4-FFF2-40B4-BE49-F238E27FC236}">
                    <a16:creationId xmlns:a16="http://schemas.microsoft.com/office/drawing/2014/main" id="{04F54AE6-71F0-C878-8029-1492CE237243}"/>
                  </a:ext>
                </a:extLst>
              </p:cNvPr>
              <p:cNvCxnSpPr>
                <a:cxnSpLocks/>
                <a:stCxn id="752" idx="1"/>
              </p:cNvCxnSpPr>
              <p:nvPr/>
            </p:nvCxnSpPr>
            <p:spPr>
              <a:xfrm flipH="1">
                <a:off x="8424368" y="4005363"/>
                <a:ext cx="595484" cy="134121"/>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8" name="Gerade Verbindung mit Pfeil 487">
                <a:extLst>
                  <a:ext uri="{FF2B5EF4-FFF2-40B4-BE49-F238E27FC236}">
                    <a16:creationId xmlns:a16="http://schemas.microsoft.com/office/drawing/2014/main" id="{6964EEB1-4EFE-0554-9029-B6A8D3CF1D8E}"/>
                  </a:ext>
                </a:extLst>
              </p:cNvPr>
              <p:cNvCxnSpPr>
                <a:cxnSpLocks/>
                <a:stCxn id="756" idx="1"/>
              </p:cNvCxnSpPr>
              <p:nvPr/>
            </p:nvCxnSpPr>
            <p:spPr>
              <a:xfrm flipH="1" flipV="1">
                <a:off x="8955063" y="4286053"/>
                <a:ext cx="455996" cy="99164"/>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69" name="Gerade Verbindung mit Pfeil 489">
                <a:extLst>
                  <a:ext uri="{FF2B5EF4-FFF2-40B4-BE49-F238E27FC236}">
                    <a16:creationId xmlns:a16="http://schemas.microsoft.com/office/drawing/2014/main" id="{C613EDBA-073A-B761-9728-9FF48A8C7384}"/>
                  </a:ext>
                </a:extLst>
              </p:cNvPr>
              <p:cNvCxnSpPr>
                <a:cxnSpLocks/>
              </p:cNvCxnSpPr>
              <p:nvPr/>
            </p:nvCxnSpPr>
            <p:spPr>
              <a:xfrm flipH="1">
                <a:off x="8874573" y="3698268"/>
                <a:ext cx="794717" cy="122866"/>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0" name="Gerade Verbindung mit Pfeil 491">
                <a:extLst>
                  <a:ext uri="{FF2B5EF4-FFF2-40B4-BE49-F238E27FC236}">
                    <a16:creationId xmlns:a16="http://schemas.microsoft.com/office/drawing/2014/main" id="{712B5D11-C93B-D803-D211-B35ED662CDB8}"/>
                  </a:ext>
                </a:extLst>
              </p:cNvPr>
              <p:cNvCxnSpPr>
                <a:cxnSpLocks/>
                <a:stCxn id="751" idx="1"/>
              </p:cNvCxnSpPr>
              <p:nvPr/>
            </p:nvCxnSpPr>
            <p:spPr>
              <a:xfrm flipH="1">
                <a:off x="8447630" y="3185201"/>
                <a:ext cx="1054853" cy="700707"/>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1" name="Gerade Verbindung mit Pfeil 495">
                <a:extLst>
                  <a:ext uri="{FF2B5EF4-FFF2-40B4-BE49-F238E27FC236}">
                    <a16:creationId xmlns:a16="http://schemas.microsoft.com/office/drawing/2014/main" id="{4DA99BC9-E745-0511-F96F-B9602E7FF938}"/>
                  </a:ext>
                </a:extLst>
              </p:cNvPr>
              <p:cNvCxnSpPr>
                <a:cxnSpLocks/>
                <a:stCxn id="753" idx="2"/>
              </p:cNvCxnSpPr>
              <p:nvPr/>
            </p:nvCxnSpPr>
            <p:spPr>
              <a:xfrm flipH="1">
                <a:off x="8875865" y="2737867"/>
                <a:ext cx="268667" cy="459087"/>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2" name="Gerade Verbindung mit Pfeil 498">
                <a:extLst>
                  <a:ext uri="{FF2B5EF4-FFF2-40B4-BE49-F238E27FC236}">
                    <a16:creationId xmlns:a16="http://schemas.microsoft.com/office/drawing/2014/main" id="{D0DD5F73-30B1-3E1A-A59E-6C85B642D407}"/>
                  </a:ext>
                </a:extLst>
              </p:cNvPr>
              <p:cNvCxnSpPr>
                <a:cxnSpLocks/>
                <a:stCxn id="754" idx="2"/>
              </p:cNvCxnSpPr>
              <p:nvPr/>
            </p:nvCxnSpPr>
            <p:spPr>
              <a:xfrm>
                <a:off x="8371952" y="2801023"/>
                <a:ext cx="5241" cy="329320"/>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3" name="Gerade Verbindung mit Pfeil 509">
                <a:extLst>
                  <a:ext uri="{FF2B5EF4-FFF2-40B4-BE49-F238E27FC236}">
                    <a16:creationId xmlns:a16="http://schemas.microsoft.com/office/drawing/2014/main" id="{026878E4-68FF-209F-8049-B668BCFAFC94}"/>
                  </a:ext>
                </a:extLst>
              </p:cNvPr>
              <p:cNvCxnSpPr>
                <a:cxnSpLocks/>
                <a:stCxn id="740" idx="1"/>
              </p:cNvCxnSpPr>
              <p:nvPr/>
            </p:nvCxnSpPr>
            <p:spPr>
              <a:xfrm flipH="1">
                <a:off x="4179547" y="3959821"/>
                <a:ext cx="82139" cy="28096"/>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4" name="Gerade Verbindung mit Pfeil 512">
                <a:extLst>
                  <a:ext uri="{FF2B5EF4-FFF2-40B4-BE49-F238E27FC236}">
                    <a16:creationId xmlns:a16="http://schemas.microsoft.com/office/drawing/2014/main" id="{E53488C9-6B2D-E2A4-9343-80E4362DF00E}"/>
                  </a:ext>
                </a:extLst>
              </p:cNvPr>
              <p:cNvCxnSpPr>
                <a:cxnSpLocks/>
              </p:cNvCxnSpPr>
              <p:nvPr/>
            </p:nvCxnSpPr>
            <p:spPr>
              <a:xfrm flipH="1">
                <a:off x="4039646" y="3725248"/>
                <a:ext cx="144681" cy="207485"/>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75" name="Rounded Rectangle 466">
                <a:extLst>
                  <a:ext uri="{FF2B5EF4-FFF2-40B4-BE49-F238E27FC236}">
                    <a16:creationId xmlns:a16="http://schemas.microsoft.com/office/drawing/2014/main" id="{1E6957FE-1CC1-B302-7C2E-1DB9A0775061}"/>
                  </a:ext>
                </a:extLst>
              </p:cNvPr>
              <p:cNvSpPr/>
              <p:nvPr/>
            </p:nvSpPr>
            <p:spPr>
              <a:xfrm>
                <a:off x="4069498" y="3324570"/>
                <a:ext cx="588870" cy="395869"/>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DOMINICAN </a:t>
                </a:r>
                <a:br>
                  <a:rPr lang="en-US" sz="700" b="1">
                    <a:solidFill>
                      <a:schemeClr val="bg1"/>
                    </a:solidFill>
                    <a:ea typeface="ヒラギノ角ゴ Pro W3" pitchFamily="1" charset="-128"/>
                  </a:rPr>
                </a:br>
                <a:r>
                  <a:rPr lang="en-US" sz="700" b="1">
                    <a:solidFill>
                      <a:schemeClr val="bg1"/>
                    </a:solidFill>
                    <a:ea typeface="ヒラギノ角ゴ Pro W3" pitchFamily="1" charset="-128"/>
                  </a:rPr>
                  <a:t>REPUBLIC</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laro</a:t>
                </a:r>
              </a:p>
            </p:txBody>
          </p:sp>
          <p:cxnSp>
            <p:nvCxnSpPr>
              <p:cNvPr id="776" name="Gerade Verbindung mit Pfeil 514">
                <a:extLst>
                  <a:ext uri="{FF2B5EF4-FFF2-40B4-BE49-F238E27FC236}">
                    <a16:creationId xmlns:a16="http://schemas.microsoft.com/office/drawing/2014/main" id="{B860C372-4DB5-E820-C852-BC9BCC0E65F7}"/>
                  </a:ext>
                </a:extLst>
              </p:cNvPr>
              <p:cNvCxnSpPr>
                <a:cxnSpLocks/>
                <a:stCxn id="757" idx="2"/>
              </p:cNvCxnSpPr>
              <p:nvPr/>
            </p:nvCxnSpPr>
            <p:spPr>
              <a:xfrm>
                <a:off x="7339499" y="3314954"/>
                <a:ext cx="218288" cy="342946"/>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77" name="Gerade Verbindung mit Pfeil 516">
                <a:extLst>
                  <a:ext uri="{FF2B5EF4-FFF2-40B4-BE49-F238E27FC236}">
                    <a16:creationId xmlns:a16="http://schemas.microsoft.com/office/drawing/2014/main" id="{A75FC068-035B-8161-CB8C-CEFFBA3138F0}"/>
                  </a:ext>
                </a:extLst>
              </p:cNvPr>
              <p:cNvCxnSpPr>
                <a:cxnSpLocks/>
                <a:stCxn id="762" idx="2"/>
              </p:cNvCxnSpPr>
              <p:nvPr/>
            </p:nvCxnSpPr>
            <p:spPr>
              <a:xfrm>
                <a:off x="7621921" y="2926483"/>
                <a:ext cx="303759" cy="778265"/>
              </a:xfrm>
              <a:prstGeom prst="straightConnector1">
                <a:avLst/>
              </a:prstGeom>
              <a:ln w="3810">
                <a:solidFill>
                  <a:schemeClr val="accent1">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78" name="Rounded Rectangle 475">
                <a:extLst>
                  <a:ext uri="{FF2B5EF4-FFF2-40B4-BE49-F238E27FC236}">
                    <a16:creationId xmlns:a16="http://schemas.microsoft.com/office/drawing/2014/main" id="{E8909C53-47C8-DD91-5C6F-D0E3BED1360B}"/>
                  </a:ext>
                </a:extLst>
              </p:cNvPr>
              <p:cNvSpPr/>
              <p:nvPr/>
            </p:nvSpPr>
            <p:spPr>
              <a:xfrm>
                <a:off x="7967847" y="1305824"/>
                <a:ext cx="602015" cy="288147"/>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RUSSIA</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impelcom</a:t>
                </a:r>
              </a:p>
            </p:txBody>
          </p:sp>
          <p:sp>
            <p:nvSpPr>
              <p:cNvPr id="779" name="Rounded Rectangle 476">
                <a:extLst>
                  <a:ext uri="{FF2B5EF4-FFF2-40B4-BE49-F238E27FC236}">
                    <a16:creationId xmlns:a16="http://schemas.microsoft.com/office/drawing/2014/main" id="{CB22048F-7F15-8B92-657F-056785F66FDA}"/>
                  </a:ext>
                </a:extLst>
              </p:cNvPr>
              <p:cNvSpPr/>
              <p:nvPr/>
            </p:nvSpPr>
            <p:spPr>
              <a:xfrm>
                <a:off x="5926559" y="1054534"/>
                <a:ext cx="537574" cy="503590"/>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dirty="0">
                    <a:solidFill>
                      <a:schemeClr val="bg1"/>
                    </a:solidFill>
                    <a:ea typeface="ヒラギノ角ゴ Pro W3" pitchFamily="1" charset="-128"/>
                  </a:rPr>
                  <a:t>LITHUANIA</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BITE</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Telia</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TELE2</a:t>
                </a:r>
              </a:p>
            </p:txBody>
          </p:sp>
          <p:sp>
            <p:nvSpPr>
              <p:cNvPr id="780" name="Rounded Rectangle 477">
                <a:extLst>
                  <a:ext uri="{FF2B5EF4-FFF2-40B4-BE49-F238E27FC236}">
                    <a16:creationId xmlns:a16="http://schemas.microsoft.com/office/drawing/2014/main" id="{6EE1E859-769D-42D5-2EF2-E7EF86E4F3E9}"/>
                  </a:ext>
                </a:extLst>
              </p:cNvPr>
              <p:cNvSpPr/>
              <p:nvPr/>
            </p:nvSpPr>
            <p:spPr>
              <a:xfrm>
                <a:off x="6642454" y="1013603"/>
                <a:ext cx="465439" cy="395869"/>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BELARUS</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MTS</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elcom</a:t>
                </a:r>
              </a:p>
            </p:txBody>
          </p:sp>
          <p:sp>
            <p:nvSpPr>
              <p:cNvPr id="781" name="Rounded Rectangle 478">
                <a:extLst>
                  <a:ext uri="{FF2B5EF4-FFF2-40B4-BE49-F238E27FC236}">
                    <a16:creationId xmlns:a16="http://schemas.microsoft.com/office/drawing/2014/main" id="{FED1B65E-9D9C-FF6A-1C7C-D95C23EE75A2}"/>
                  </a:ext>
                </a:extLst>
              </p:cNvPr>
              <p:cNvSpPr/>
              <p:nvPr/>
            </p:nvSpPr>
            <p:spPr>
              <a:xfrm>
                <a:off x="4913133" y="2796331"/>
                <a:ext cx="533086" cy="503590"/>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dirty="0">
                    <a:solidFill>
                      <a:schemeClr val="bg1"/>
                    </a:solidFill>
                    <a:ea typeface="ヒラギノ角ゴ Pro W3" pitchFamily="1" charset="-128"/>
                  </a:rPr>
                  <a:t>UKRAINE</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err="1">
                    <a:solidFill>
                      <a:schemeClr val="bg1"/>
                    </a:solidFill>
                    <a:ea typeface="ヒラギノ角ゴ Pro W3" pitchFamily="1" charset="-128"/>
                  </a:rPr>
                  <a:t>Kievstar</a:t>
                </a:r>
                <a:endParaRPr lang="en-US" sz="700" dirty="0">
                  <a:solidFill>
                    <a:schemeClr val="bg1"/>
                  </a:solidFill>
                  <a:ea typeface="ヒラギノ角ゴ Pro W3" pitchFamily="1" charset="-128"/>
                </a:endParaRP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Vodafone</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err="1">
                    <a:solidFill>
                      <a:schemeClr val="bg1"/>
                    </a:solidFill>
                    <a:ea typeface="ヒラギノ角ゴ Pro W3" pitchFamily="1" charset="-128"/>
                  </a:rPr>
                  <a:t>Lifecell</a:t>
                </a:r>
                <a:endParaRPr lang="en-US" sz="700" dirty="0">
                  <a:solidFill>
                    <a:schemeClr val="bg1"/>
                  </a:solidFill>
                  <a:ea typeface="ヒラギノ角ゴ Pro W3" pitchFamily="1" charset="-128"/>
                </a:endParaRPr>
              </a:p>
            </p:txBody>
          </p:sp>
          <p:sp>
            <p:nvSpPr>
              <p:cNvPr id="782" name="Rounded Rectangle 479">
                <a:extLst>
                  <a:ext uri="{FF2B5EF4-FFF2-40B4-BE49-F238E27FC236}">
                    <a16:creationId xmlns:a16="http://schemas.microsoft.com/office/drawing/2014/main" id="{6DC5DCF1-0A06-A58F-C85F-D05C741D2178}"/>
                  </a:ext>
                </a:extLst>
              </p:cNvPr>
              <p:cNvSpPr/>
              <p:nvPr/>
            </p:nvSpPr>
            <p:spPr>
              <a:xfrm>
                <a:off x="5886461" y="3617143"/>
                <a:ext cx="409334" cy="288147"/>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TURKEY</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VEA</a:t>
                </a:r>
              </a:p>
            </p:txBody>
          </p:sp>
          <p:sp>
            <p:nvSpPr>
              <p:cNvPr id="783" name="Rounded Rectangle 481">
                <a:extLst>
                  <a:ext uri="{FF2B5EF4-FFF2-40B4-BE49-F238E27FC236}">
                    <a16:creationId xmlns:a16="http://schemas.microsoft.com/office/drawing/2014/main" id="{C45B197E-0D37-923A-508A-DD2CAF515E01}"/>
                  </a:ext>
                </a:extLst>
              </p:cNvPr>
              <p:cNvSpPr/>
              <p:nvPr/>
            </p:nvSpPr>
            <p:spPr>
              <a:xfrm>
                <a:off x="4526449" y="2479385"/>
                <a:ext cx="846848" cy="288147"/>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spcBef>
                    <a:spcPct val="0"/>
                  </a:spcBef>
                  <a:buClrTx/>
                </a:pPr>
                <a:r>
                  <a:rPr lang="en-US" sz="700" b="1">
                    <a:solidFill>
                      <a:schemeClr val="bg1"/>
                    </a:solidFill>
                    <a:ea typeface="ヒラギノ角ゴ Pro W3" pitchFamily="1" charset="-128"/>
                  </a:rPr>
                  <a:t>JERSEY</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Jersey Telecom</a:t>
                </a:r>
              </a:p>
            </p:txBody>
          </p:sp>
          <p:sp>
            <p:nvSpPr>
              <p:cNvPr id="784" name="Rounded Rectangle 482">
                <a:extLst>
                  <a:ext uri="{FF2B5EF4-FFF2-40B4-BE49-F238E27FC236}">
                    <a16:creationId xmlns:a16="http://schemas.microsoft.com/office/drawing/2014/main" id="{CD2E557E-FB24-5989-4062-13AA0EADB25A}"/>
                  </a:ext>
                </a:extLst>
              </p:cNvPr>
              <p:cNvSpPr/>
              <p:nvPr/>
            </p:nvSpPr>
            <p:spPr>
              <a:xfrm>
                <a:off x="6999362" y="1644124"/>
                <a:ext cx="608106" cy="395869"/>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AZERBAIJAN</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zercell</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Azerfon</a:t>
                </a:r>
              </a:p>
            </p:txBody>
          </p:sp>
          <p:sp>
            <p:nvSpPr>
              <p:cNvPr id="785" name="Rounded Rectangle 478">
                <a:extLst>
                  <a:ext uri="{FF2B5EF4-FFF2-40B4-BE49-F238E27FC236}">
                    <a16:creationId xmlns:a16="http://schemas.microsoft.com/office/drawing/2014/main" id="{75B96641-3FA7-2074-C8B5-EA099BD90B16}"/>
                  </a:ext>
                </a:extLst>
              </p:cNvPr>
              <p:cNvSpPr/>
              <p:nvPr/>
            </p:nvSpPr>
            <p:spPr>
              <a:xfrm>
                <a:off x="5165603" y="3376320"/>
                <a:ext cx="608998" cy="395869"/>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spcBef>
                    <a:spcPct val="0"/>
                  </a:spcBef>
                  <a:buClrTx/>
                </a:pPr>
                <a:r>
                  <a:rPr lang="en-US" sz="700" b="1">
                    <a:solidFill>
                      <a:schemeClr val="bg1"/>
                    </a:solidFill>
                    <a:ea typeface="ヒラギノ角ゴ Pro W3" pitchFamily="1" charset="-128"/>
                  </a:rPr>
                  <a:t>GREECE</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Nokia</a:t>
                </a:r>
                <a:br>
                  <a:rPr lang="en-US" sz="700">
                    <a:solidFill>
                      <a:schemeClr val="bg1"/>
                    </a:solidFill>
                    <a:ea typeface="ヒラギノ角ゴ Pro W3" pitchFamily="1" charset="-128"/>
                  </a:rPr>
                </a:br>
                <a:r>
                  <a:rPr lang="en-US" sz="700">
                    <a:solidFill>
                      <a:schemeClr val="bg1"/>
                    </a:solidFill>
                    <a:ea typeface="ヒラギノ角ゴ Pro W3" pitchFamily="1" charset="-128"/>
                  </a:rPr>
                  <a:t>(Ergose)</a:t>
                </a:r>
              </a:p>
            </p:txBody>
          </p:sp>
          <p:sp>
            <p:nvSpPr>
              <p:cNvPr id="786" name="Rounded Rectangle 476">
                <a:extLst>
                  <a:ext uri="{FF2B5EF4-FFF2-40B4-BE49-F238E27FC236}">
                    <a16:creationId xmlns:a16="http://schemas.microsoft.com/office/drawing/2014/main" id="{5590357B-99C7-5479-2E99-62AC4C5C3C52}"/>
                  </a:ext>
                </a:extLst>
              </p:cNvPr>
              <p:cNvSpPr/>
              <p:nvPr/>
            </p:nvSpPr>
            <p:spPr>
              <a:xfrm>
                <a:off x="5312524" y="1648331"/>
                <a:ext cx="436585" cy="395869"/>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Denmark</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DALO</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3</a:t>
                </a:r>
              </a:p>
            </p:txBody>
          </p:sp>
          <p:sp>
            <p:nvSpPr>
              <p:cNvPr id="787" name="Rounded Rectangle 476">
                <a:extLst>
                  <a:ext uri="{FF2B5EF4-FFF2-40B4-BE49-F238E27FC236}">
                    <a16:creationId xmlns:a16="http://schemas.microsoft.com/office/drawing/2014/main" id="{ADBA3296-8FF2-1D10-18E1-0177B933BBFF}"/>
                  </a:ext>
                </a:extLst>
              </p:cNvPr>
              <p:cNvSpPr/>
              <p:nvPr/>
            </p:nvSpPr>
            <p:spPr>
              <a:xfrm>
                <a:off x="5441003" y="1279949"/>
                <a:ext cx="394907" cy="288147"/>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Sweden</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3</a:t>
                </a:r>
              </a:p>
            </p:txBody>
          </p:sp>
          <p:cxnSp>
            <p:nvCxnSpPr>
              <p:cNvPr id="788" name="Gerade Verbindung mit Pfeil 528">
                <a:extLst>
                  <a:ext uri="{FF2B5EF4-FFF2-40B4-BE49-F238E27FC236}">
                    <a16:creationId xmlns:a16="http://schemas.microsoft.com/office/drawing/2014/main" id="{D0532AFE-A37A-036E-C516-3601ACF562D5}"/>
                  </a:ext>
                </a:extLst>
              </p:cNvPr>
              <p:cNvCxnSpPr>
                <a:cxnSpLocks/>
                <a:stCxn id="778" idx="2"/>
              </p:cNvCxnSpPr>
              <p:nvPr/>
            </p:nvCxnSpPr>
            <p:spPr>
              <a:xfrm>
                <a:off x="8268855" y="1593971"/>
                <a:ext cx="55336" cy="677454"/>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89" name="Gerade Verbindung mit Pfeil 531">
                <a:extLst>
                  <a:ext uri="{FF2B5EF4-FFF2-40B4-BE49-F238E27FC236}">
                    <a16:creationId xmlns:a16="http://schemas.microsoft.com/office/drawing/2014/main" id="{25098A04-2C66-F813-C687-02177979BF13}"/>
                  </a:ext>
                </a:extLst>
              </p:cNvPr>
              <p:cNvCxnSpPr>
                <a:cxnSpLocks/>
                <a:stCxn id="781" idx="3"/>
              </p:cNvCxnSpPr>
              <p:nvPr/>
            </p:nvCxnSpPr>
            <p:spPr>
              <a:xfrm flipV="1">
                <a:off x="5446219" y="3035095"/>
                <a:ext cx="1133172" cy="13031"/>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0" name="Gerade Verbindung mit Pfeil 533">
                <a:extLst>
                  <a:ext uri="{FF2B5EF4-FFF2-40B4-BE49-F238E27FC236}">
                    <a16:creationId xmlns:a16="http://schemas.microsoft.com/office/drawing/2014/main" id="{A90D107B-B881-3144-707F-1E292F60DE43}"/>
                  </a:ext>
                </a:extLst>
              </p:cNvPr>
              <p:cNvCxnSpPr>
                <a:cxnSpLocks/>
                <a:stCxn id="779" idx="2"/>
              </p:cNvCxnSpPr>
              <p:nvPr/>
            </p:nvCxnSpPr>
            <p:spPr>
              <a:xfrm>
                <a:off x="6195346" y="1558124"/>
                <a:ext cx="209540" cy="1231373"/>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1" name="Gerade Verbindung mit Pfeil 535">
                <a:extLst>
                  <a:ext uri="{FF2B5EF4-FFF2-40B4-BE49-F238E27FC236}">
                    <a16:creationId xmlns:a16="http://schemas.microsoft.com/office/drawing/2014/main" id="{84D474F6-DE5C-DFFA-44DE-D91AB1D05447}"/>
                  </a:ext>
                </a:extLst>
              </p:cNvPr>
              <p:cNvCxnSpPr>
                <a:cxnSpLocks/>
              </p:cNvCxnSpPr>
              <p:nvPr/>
            </p:nvCxnSpPr>
            <p:spPr>
              <a:xfrm>
                <a:off x="5835199" y="1564041"/>
                <a:ext cx="344447" cy="978842"/>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2" name="Gerade Verbindung mit Pfeil 537">
                <a:extLst>
                  <a:ext uri="{FF2B5EF4-FFF2-40B4-BE49-F238E27FC236}">
                    <a16:creationId xmlns:a16="http://schemas.microsoft.com/office/drawing/2014/main" id="{E75C9720-7DBC-9137-58A4-A115469A83AB}"/>
                  </a:ext>
                </a:extLst>
              </p:cNvPr>
              <p:cNvCxnSpPr>
                <a:cxnSpLocks/>
              </p:cNvCxnSpPr>
              <p:nvPr/>
            </p:nvCxnSpPr>
            <p:spPr>
              <a:xfrm>
                <a:off x="5745725" y="2059302"/>
                <a:ext cx="284275" cy="710476"/>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3" name="Gerade Verbindung mit Pfeil 539">
                <a:extLst>
                  <a:ext uri="{FF2B5EF4-FFF2-40B4-BE49-F238E27FC236}">
                    <a16:creationId xmlns:a16="http://schemas.microsoft.com/office/drawing/2014/main" id="{12EC9088-DAE6-3759-50B2-071237AD3D25}"/>
                  </a:ext>
                </a:extLst>
              </p:cNvPr>
              <p:cNvCxnSpPr>
                <a:cxnSpLocks/>
              </p:cNvCxnSpPr>
              <p:nvPr/>
            </p:nvCxnSpPr>
            <p:spPr>
              <a:xfrm>
                <a:off x="5387434" y="2620144"/>
                <a:ext cx="342150" cy="384040"/>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4" name="Gerade Verbindung mit Pfeil 546">
                <a:extLst>
                  <a:ext uri="{FF2B5EF4-FFF2-40B4-BE49-F238E27FC236}">
                    <a16:creationId xmlns:a16="http://schemas.microsoft.com/office/drawing/2014/main" id="{E788BDF7-5F42-3E20-5AB0-B5DAAC29BC96}"/>
                  </a:ext>
                </a:extLst>
              </p:cNvPr>
              <p:cNvCxnSpPr>
                <a:cxnSpLocks/>
                <a:stCxn id="780" idx="2"/>
              </p:cNvCxnSpPr>
              <p:nvPr/>
            </p:nvCxnSpPr>
            <p:spPr>
              <a:xfrm flipH="1">
                <a:off x="6520837" y="1409472"/>
                <a:ext cx="354337" cy="1452028"/>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5" name="Gerade Verbindung mit Pfeil 549">
                <a:extLst>
                  <a:ext uri="{FF2B5EF4-FFF2-40B4-BE49-F238E27FC236}">
                    <a16:creationId xmlns:a16="http://schemas.microsoft.com/office/drawing/2014/main" id="{74282FEC-BE9A-E084-D16A-CE8C5E8C525F}"/>
                  </a:ext>
                </a:extLst>
              </p:cNvPr>
              <p:cNvCxnSpPr>
                <a:cxnSpLocks/>
              </p:cNvCxnSpPr>
              <p:nvPr/>
            </p:nvCxnSpPr>
            <p:spPr>
              <a:xfrm flipV="1">
                <a:off x="5778183" y="3357637"/>
                <a:ext cx="586945" cy="228476"/>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6" name="Gerade Verbindung mit Pfeil 551">
                <a:extLst>
                  <a:ext uri="{FF2B5EF4-FFF2-40B4-BE49-F238E27FC236}">
                    <a16:creationId xmlns:a16="http://schemas.microsoft.com/office/drawing/2014/main" id="{64B8FC75-8C43-45D8-D0B7-9478AB54E628}"/>
                  </a:ext>
                </a:extLst>
              </p:cNvPr>
              <p:cNvCxnSpPr>
                <a:cxnSpLocks/>
                <a:stCxn id="782" idx="0"/>
              </p:cNvCxnSpPr>
              <p:nvPr/>
            </p:nvCxnSpPr>
            <p:spPr>
              <a:xfrm flipV="1">
                <a:off x="6091128" y="3396004"/>
                <a:ext cx="547879" cy="221139"/>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797" name="Gerade Verbindung mit Pfeil 553">
                <a:extLst>
                  <a:ext uri="{FF2B5EF4-FFF2-40B4-BE49-F238E27FC236}">
                    <a16:creationId xmlns:a16="http://schemas.microsoft.com/office/drawing/2014/main" id="{21A6D99A-3318-3A99-4AB9-BD42A5C827CA}"/>
                  </a:ext>
                </a:extLst>
              </p:cNvPr>
              <p:cNvCxnSpPr>
                <a:cxnSpLocks/>
              </p:cNvCxnSpPr>
              <p:nvPr/>
            </p:nvCxnSpPr>
            <p:spPr>
              <a:xfrm flipH="1">
                <a:off x="7005158" y="2041792"/>
                <a:ext cx="93346" cy="1270984"/>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798" name="Rounded Rectangle 440">
                <a:extLst>
                  <a:ext uri="{FF2B5EF4-FFF2-40B4-BE49-F238E27FC236}">
                    <a16:creationId xmlns:a16="http://schemas.microsoft.com/office/drawing/2014/main" id="{24A33EED-9543-4515-A9D1-EEFAFF5A0A32}"/>
                  </a:ext>
                </a:extLst>
              </p:cNvPr>
              <p:cNvSpPr/>
              <p:nvPr/>
            </p:nvSpPr>
            <p:spPr>
              <a:xfrm>
                <a:off x="7096957" y="4234429"/>
                <a:ext cx="534689" cy="395869"/>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Qatar</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MOI</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Vodafone</a:t>
                </a:r>
              </a:p>
            </p:txBody>
          </p:sp>
          <p:sp>
            <p:nvSpPr>
              <p:cNvPr id="799" name="Rounded Rectangle 440">
                <a:extLst>
                  <a:ext uri="{FF2B5EF4-FFF2-40B4-BE49-F238E27FC236}">
                    <a16:creationId xmlns:a16="http://schemas.microsoft.com/office/drawing/2014/main" id="{424015A5-8783-0878-AF81-4254116CF371}"/>
                  </a:ext>
                </a:extLst>
              </p:cNvPr>
              <p:cNvSpPr/>
              <p:nvPr/>
            </p:nvSpPr>
            <p:spPr>
              <a:xfrm>
                <a:off x="6593029" y="5359817"/>
                <a:ext cx="587588" cy="719034"/>
              </a:xfrm>
              <a:prstGeom prst="rect">
                <a:avLst/>
              </a:prstGeom>
              <a:solidFill>
                <a:srgbClr val="005295"/>
              </a:solidFill>
              <a:ln w="3810">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a:solidFill>
                      <a:schemeClr val="bg1"/>
                    </a:solidFill>
                    <a:ea typeface="ヒラギノ角ゴ Pro W3" pitchFamily="1" charset="-128"/>
                  </a:rPr>
                  <a:t>ISRAEL</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IDF</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Pelephone</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Cellcom</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Partner</a:t>
                </a:r>
              </a:p>
              <a:p>
                <a:pPr marL="71438" indent="-71438">
                  <a:spcBef>
                    <a:spcPct val="0"/>
                  </a:spcBef>
                  <a:buBlip>
                    <a:blip r:embed="rId7">
                      <a:extLst>
                        <a:ext uri="{96DAC541-7B7A-43D3-8B79-37D633B846F1}">
                          <asvg:svgBlip xmlns:asvg="http://schemas.microsoft.com/office/drawing/2016/SVG/main" r:embed="rId8"/>
                        </a:ext>
                      </a:extLst>
                    </a:blip>
                  </a:buBlip>
                </a:pPr>
                <a:r>
                  <a:rPr lang="en-US" sz="700">
                    <a:solidFill>
                      <a:schemeClr val="bg1"/>
                    </a:solidFill>
                    <a:ea typeface="ヒラギノ角ゴ Pro W3" pitchFamily="1" charset="-128"/>
                  </a:rPr>
                  <a:t>Hot Mobile</a:t>
                </a:r>
              </a:p>
            </p:txBody>
          </p:sp>
          <p:cxnSp>
            <p:nvCxnSpPr>
              <p:cNvPr id="800" name="Gerade Verbindung mit Pfeil 577">
                <a:extLst>
                  <a:ext uri="{FF2B5EF4-FFF2-40B4-BE49-F238E27FC236}">
                    <a16:creationId xmlns:a16="http://schemas.microsoft.com/office/drawing/2014/main" id="{A8AE4AE5-2F76-DED2-8A53-5FB8394CC135}"/>
                  </a:ext>
                </a:extLst>
              </p:cNvPr>
              <p:cNvCxnSpPr>
                <a:cxnSpLocks/>
              </p:cNvCxnSpPr>
              <p:nvPr/>
            </p:nvCxnSpPr>
            <p:spPr>
              <a:xfrm flipV="1">
                <a:off x="5567753" y="4155409"/>
                <a:ext cx="200290" cy="249246"/>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1" name="Gerade Verbindung mit Pfeil 580">
                <a:extLst>
                  <a:ext uri="{FF2B5EF4-FFF2-40B4-BE49-F238E27FC236}">
                    <a16:creationId xmlns:a16="http://schemas.microsoft.com/office/drawing/2014/main" id="{1BC89950-8A4C-2748-E46D-3005651C55D3}"/>
                  </a:ext>
                </a:extLst>
              </p:cNvPr>
              <p:cNvCxnSpPr>
                <a:cxnSpLocks/>
                <a:stCxn id="728" idx="0"/>
              </p:cNvCxnSpPr>
              <p:nvPr/>
            </p:nvCxnSpPr>
            <p:spPr>
              <a:xfrm flipV="1">
                <a:off x="5727955" y="4320467"/>
                <a:ext cx="123215" cy="663102"/>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2" name="Gerade Verbindung mit Pfeil 583">
                <a:extLst>
                  <a:ext uri="{FF2B5EF4-FFF2-40B4-BE49-F238E27FC236}">
                    <a16:creationId xmlns:a16="http://schemas.microsoft.com/office/drawing/2014/main" id="{7DA10141-08B3-E5EF-9432-2652AB1E0580}"/>
                  </a:ext>
                </a:extLst>
              </p:cNvPr>
              <p:cNvCxnSpPr>
                <a:cxnSpLocks/>
              </p:cNvCxnSpPr>
              <p:nvPr/>
            </p:nvCxnSpPr>
            <p:spPr>
              <a:xfrm flipV="1">
                <a:off x="6223855" y="4487766"/>
                <a:ext cx="366197" cy="947982"/>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3" name="Gerade Verbindung mit Pfeil 585">
                <a:extLst>
                  <a:ext uri="{FF2B5EF4-FFF2-40B4-BE49-F238E27FC236}">
                    <a16:creationId xmlns:a16="http://schemas.microsoft.com/office/drawing/2014/main" id="{1BC0764B-B5CD-2C73-E916-BD2A25BA6011}"/>
                  </a:ext>
                </a:extLst>
              </p:cNvPr>
              <p:cNvCxnSpPr>
                <a:cxnSpLocks/>
                <a:stCxn id="799" idx="0"/>
              </p:cNvCxnSpPr>
              <p:nvPr/>
            </p:nvCxnSpPr>
            <p:spPr>
              <a:xfrm flipH="1" flipV="1">
                <a:off x="6681738" y="3650515"/>
                <a:ext cx="205085" cy="1709302"/>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4" name="Gerade Verbindung mit Pfeil 587">
                <a:extLst>
                  <a:ext uri="{FF2B5EF4-FFF2-40B4-BE49-F238E27FC236}">
                    <a16:creationId xmlns:a16="http://schemas.microsoft.com/office/drawing/2014/main" id="{6F28DEFB-C481-0A63-CDCB-F8D8A896831C}"/>
                  </a:ext>
                </a:extLst>
              </p:cNvPr>
              <p:cNvCxnSpPr>
                <a:cxnSpLocks/>
                <a:stCxn id="798" idx="0"/>
              </p:cNvCxnSpPr>
              <p:nvPr/>
            </p:nvCxnSpPr>
            <p:spPr>
              <a:xfrm flipH="1" flipV="1">
                <a:off x="7121713" y="3808078"/>
                <a:ext cx="242589" cy="426351"/>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805" name="Gerade Verbindung mit Pfeil 589">
                <a:extLst>
                  <a:ext uri="{FF2B5EF4-FFF2-40B4-BE49-F238E27FC236}">
                    <a16:creationId xmlns:a16="http://schemas.microsoft.com/office/drawing/2014/main" id="{2630F356-2B14-1D0E-B154-9185830F0C52}"/>
                  </a:ext>
                </a:extLst>
              </p:cNvPr>
              <p:cNvCxnSpPr>
                <a:cxnSpLocks/>
              </p:cNvCxnSpPr>
              <p:nvPr/>
            </p:nvCxnSpPr>
            <p:spPr>
              <a:xfrm flipH="1" flipV="1">
                <a:off x="6927007" y="4409759"/>
                <a:ext cx="160059" cy="307077"/>
              </a:xfrm>
              <a:prstGeom prst="straightConnector1">
                <a:avLst/>
              </a:prstGeom>
              <a:ln w="3810">
                <a:solidFill>
                  <a:schemeClr val="accent2">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10" name="Rounded Rectangle 476">
                <a:extLst>
                  <a:ext uri="{FF2B5EF4-FFF2-40B4-BE49-F238E27FC236}">
                    <a16:creationId xmlns:a16="http://schemas.microsoft.com/office/drawing/2014/main" id="{DFDD7A38-C5BA-FED4-996F-39D7DFE22E13}"/>
                  </a:ext>
                </a:extLst>
              </p:cNvPr>
              <p:cNvSpPr/>
              <p:nvPr/>
            </p:nvSpPr>
            <p:spPr>
              <a:xfrm>
                <a:off x="4858582" y="1917742"/>
                <a:ext cx="420875" cy="395869"/>
              </a:xfrm>
              <a:prstGeom prst="rect">
                <a:avLst/>
              </a:prstGeom>
              <a:solidFill>
                <a:schemeClr val="accent3"/>
              </a:solidFill>
              <a:ln w="381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dirty="0">
                    <a:solidFill>
                      <a:schemeClr val="bg1"/>
                    </a:solidFill>
                    <a:ea typeface="ヒラギノ角ゴ Pro W3" pitchFamily="1" charset="-128"/>
                  </a:rPr>
                  <a:t>Austria</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Vienna</a:t>
                </a:r>
              </a:p>
              <a:p>
                <a:pPr marL="71438" indent="-71438">
                  <a:spcBef>
                    <a:spcPct val="0"/>
                  </a:spcBef>
                  <a:buBlip>
                    <a:blip r:embed="rId7">
                      <a:extLst>
                        <a:ext uri="{96DAC541-7B7A-43D3-8B79-37D633B846F1}">
                          <asvg:svgBlip xmlns:asvg="http://schemas.microsoft.com/office/drawing/2016/SVG/main" r:embed="rId8"/>
                        </a:ext>
                      </a:extLst>
                    </a:blip>
                  </a:buBlip>
                </a:pPr>
                <a:r>
                  <a:rPr lang="en-US" sz="700" dirty="0">
                    <a:solidFill>
                      <a:schemeClr val="bg1"/>
                    </a:solidFill>
                    <a:ea typeface="ヒラギノ角ゴ Pro W3" pitchFamily="1" charset="-128"/>
                  </a:rPr>
                  <a:t>3</a:t>
                </a:r>
              </a:p>
            </p:txBody>
          </p:sp>
          <p:cxnSp>
            <p:nvCxnSpPr>
              <p:cNvPr id="1155" name="Gerade Verbindung mit Pfeil 443">
                <a:extLst>
                  <a:ext uri="{FF2B5EF4-FFF2-40B4-BE49-F238E27FC236}">
                    <a16:creationId xmlns:a16="http://schemas.microsoft.com/office/drawing/2014/main" id="{D23A8AD2-736F-929E-825B-6441153DDBCA}"/>
                  </a:ext>
                </a:extLst>
              </p:cNvPr>
              <p:cNvCxnSpPr>
                <a:cxnSpLocks/>
                <a:stCxn id="1154" idx="3"/>
              </p:cNvCxnSpPr>
              <p:nvPr/>
            </p:nvCxnSpPr>
            <p:spPr>
              <a:xfrm>
                <a:off x="2364782" y="3223393"/>
                <a:ext cx="918986" cy="723563"/>
              </a:xfrm>
              <a:prstGeom prst="straightConnector1">
                <a:avLst/>
              </a:prstGeom>
              <a:ln w="3810">
                <a:solidFill>
                  <a:schemeClr val="accent5">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0962BBE1-5D85-0412-CD1F-00D81F0E91BB}"/>
                </a:ext>
              </a:extLst>
            </p:cNvPr>
            <p:cNvPicPr>
              <a:picLocks noChangeAspect="1"/>
            </p:cNvPicPr>
            <p:nvPr/>
          </p:nvPicPr>
          <p:blipFill>
            <a:blip r:embed="rId9"/>
            <a:stretch>
              <a:fillRect/>
            </a:stretch>
          </p:blipFill>
          <p:spPr>
            <a:xfrm>
              <a:off x="6043986" y="3004431"/>
              <a:ext cx="268959" cy="175647"/>
            </a:xfrm>
            <a:prstGeom prst="rect">
              <a:avLst/>
            </a:prstGeom>
          </p:spPr>
        </p:pic>
        <p:cxnSp>
          <p:nvCxnSpPr>
            <p:cNvPr id="11" name="Gerade Verbindung mit Pfeil 537">
              <a:extLst>
                <a:ext uri="{FF2B5EF4-FFF2-40B4-BE49-F238E27FC236}">
                  <a16:creationId xmlns:a16="http://schemas.microsoft.com/office/drawing/2014/main" id="{62459951-5354-1863-25B6-22802D083996}"/>
                </a:ext>
              </a:extLst>
            </p:cNvPr>
            <p:cNvCxnSpPr>
              <a:cxnSpLocks/>
            </p:cNvCxnSpPr>
            <p:nvPr/>
          </p:nvCxnSpPr>
          <p:spPr>
            <a:xfrm>
              <a:off x="5196316" y="2245777"/>
              <a:ext cx="992945" cy="846478"/>
            </a:xfrm>
            <a:prstGeom prst="straightConnector1">
              <a:avLst/>
            </a:prstGeom>
            <a:ln w="3810">
              <a:solidFill>
                <a:schemeClr val="accent3">
                  <a:lumMod val="50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1154" name="Rounded Rectangle 467">
              <a:extLst>
                <a:ext uri="{FF2B5EF4-FFF2-40B4-BE49-F238E27FC236}">
                  <a16:creationId xmlns:a16="http://schemas.microsoft.com/office/drawing/2014/main" id="{90BF2526-1FE2-9D71-CFEC-A2F21B7A003B}"/>
                </a:ext>
              </a:extLst>
            </p:cNvPr>
            <p:cNvSpPr/>
            <p:nvPr/>
          </p:nvSpPr>
          <p:spPr>
            <a:xfrm>
              <a:off x="1972761" y="3079319"/>
              <a:ext cx="392021" cy="288147"/>
            </a:xfrm>
            <a:prstGeom prst="rect">
              <a:avLst/>
            </a:prstGeom>
            <a:solidFill>
              <a:schemeClr val="accent5"/>
            </a:solidFill>
            <a:ln w="381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spAutoFit/>
            </a:bodyPr>
            <a:lstStyle/>
            <a:p>
              <a:pPr>
                <a:spcBef>
                  <a:spcPct val="0"/>
                </a:spcBef>
                <a:buClrTx/>
              </a:pPr>
              <a:r>
                <a:rPr lang="en-US" sz="700" b="1" dirty="0">
                  <a:solidFill>
                    <a:schemeClr val="bg1"/>
                  </a:solidFill>
                  <a:ea typeface="ヒラギノ角ゴ Pro W3" pitchFamily="1" charset="-128"/>
                </a:rPr>
                <a:t>Mexico</a:t>
              </a:r>
            </a:p>
            <a:p>
              <a:pPr marL="71438" indent="-71438">
                <a:spcBef>
                  <a:spcPct val="0"/>
                </a:spcBef>
                <a:buClrTx/>
                <a:buBlip>
                  <a:blip r:embed="rId7">
                    <a:extLst>
                      <a:ext uri="{96DAC541-7B7A-43D3-8B79-37D633B846F1}">
                        <asvg:svgBlip xmlns:asvg="http://schemas.microsoft.com/office/drawing/2016/SVG/main" r:embed="rId8"/>
                      </a:ext>
                    </a:extLst>
                  </a:blip>
                </a:buBlip>
              </a:pPr>
              <a:r>
                <a:rPr lang="en-US" sz="700" b="1" dirty="0">
                  <a:solidFill>
                    <a:schemeClr val="bg1"/>
                  </a:solidFill>
                  <a:ea typeface="ヒラギノ角ゴ Pro W3" pitchFamily="1" charset="-128"/>
                </a:rPr>
                <a:t>Telcel</a:t>
              </a:r>
            </a:p>
          </p:txBody>
        </p:sp>
      </p:grpSp>
      <p:grpSp>
        <p:nvGrpSpPr>
          <p:cNvPr id="40" name="Gruppieren 4">
            <a:extLst>
              <a:ext uri="{FF2B5EF4-FFF2-40B4-BE49-F238E27FC236}">
                <a16:creationId xmlns:a16="http://schemas.microsoft.com/office/drawing/2014/main" id="{FAB247E9-FADB-1125-BD7B-56BFBF679B96}"/>
              </a:ext>
            </a:extLst>
          </p:cNvPr>
          <p:cNvGrpSpPr/>
          <p:nvPr/>
        </p:nvGrpSpPr>
        <p:grpSpPr>
          <a:xfrm>
            <a:off x="181338" y="1184352"/>
            <a:ext cx="1490296" cy="1039217"/>
            <a:chOff x="2715932" y="998987"/>
            <a:chExt cx="2658100" cy="1700946"/>
          </a:xfrm>
        </p:grpSpPr>
        <p:sp>
          <p:nvSpPr>
            <p:cNvPr id="41" name="Rectangle: Rounded Corners 93">
              <a:extLst>
                <a:ext uri="{FF2B5EF4-FFF2-40B4-BE49-F238E27FC236}">
                  <a16:creationId xmlns:a16="http://schemas.microsoft.com/office/drawing/2014/main" id="{08AAE5B7-C0AD-4E55-A97B-954298771504}"/>
                </a:ext>
              </a:extLst>
            </p:cNvPr>
            <p:cNvSpPr/>
            <p:nvPr/>
          </p:nvSpPr>
          <p:spPr>
            <a:xfrm>
              <a:off x="2715932" y="998987"/>
              <a:ext cx="2657230" cy="1700946"/>
            </a:xfrm>
            <a:prstGeom prst="wedgeRectCallout">
              <a:avLst>
                <a:gd name="adj1" fmla="val 49001"/>
                <a:gd name="adj2" fmla="val 23857"/>
              </a:avLst>
            </a:prstGeom>
            <a:gradFill>
              <a:gsLst>
                <a:gs pos="68000">
                  <a:schemeClr val="accent4">
                    <a:lumMod val="10000"/>
                    <a:lumOff val="90000"/>
                  </a:schemeClr>
                </a:gs>
                <a:gs pos="100000">
                  <a:schemeClr val="accent4"/>
                </a:gs>
              </a:gsLst>
              <a:lin ang="0" scaled="1"/>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139">
              <a:extLst>
                <a:ext uri="{FF2B5EF4-FFF2-40B4-BE49-F238E27FC236}">
                  <a16:creationId xmlns:a16="http://schemas.microsoft.com/office/drawing/2014/main" id="{A1BC80C5-74E2-C964-D77F-83F04605CE3C}"/>
                </a:ext>
              </a:extLst>
            </p:cNvPr>
            <p:cNvSpPr txBox="1"/>
            <p:nvPr/>
          </p:nvSpPr>
          <p:spPr>
            <a:xfrm>
              <a:off x="2715932" y="2339933"/>
              <a:ext cx="2658100" cy="360000"/>
            </a:xfrm>
            <a:prstGeom prst="rect">
              <a:avLst/>
            </a:prstGeom>
            <a:solidFill>
              <a:schemeClr val="accent3"/>
            </a:solidFill>
          </p:spPr>
          <p:txBody>
            <a:bodyPr wrap="square" rIns="144000" rtlCol="0" anchor="ctr">
              <a:noAutofit/>
            </a:bodyPr>
            <a:lstStyle/>
            <a:p>
              <a:r>
                <a:rPr lang="en-US" b="1" dirty="0">
                  <a:solidFill>
                    <a:schemeClr val="bg1"/>
                  </a:solidFill>
                  <a:ea typeface="Roboto" panose="02000000000000000000" pitchFamily="2" charset="0"/>
                  <a:cs typeface="Lato Light" panose="020F0502020204030203" pitchFamily="34" charset="0"/>
                </a:rPr>
                <a:t>Denmark</a:t>
              </a:r>
            </a:p>
          </p:txBody>
        </p:sp>
        <p:pic>
          <p:nvPicPr>
            <p:cNvPr id="43" name="Grafik 358">
              <a:extLst>
                <a:ext uri="{FF2B5EF4-FFF2-40B4-BE49-F238E27FC236}">
                  <a16:creationId xmlns:a16="http://schemas.microsoft.com/office/drawing/2014/main" id="{A5C15441-9FF1-3435-7A8D-B9D5329E097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345131" y="1287806"/>
              <a:ext cx="770858" cy="770858"/>
            </a:xfrm>
            <a:prstGeom prst="rect">
              <a:avLst/>
            </a:prstGeom>
            <a:effectLst>
              <a:outerShdw blurRad="63500" dist="38100" dir="5400000" algn="ctr" rotWithShape="0">
                <a:prstClr val="black">
                  <a:alpha val="30000"/>
                </a:prstClr>
              </a:outerShdw>
            </a:effectLst>
          </p:spPr>
        </p:pic>
        <p:pic>
          <p:nvPicPr>
            <p:cNvPr id="44" name="Picture 4" descr="Minister of Defence (Denmark) - Wikipedia" hidden="1">
              <a:extLst>
                <a:ext uri="{FF2B5EF4-FFF2-40B4-BE49-F238E27FC236}">
                  <a16:creationId xmlns:a16="http://schemas.microsoft.com/office/drawing/2014/main" id="{15D35E0F-629E-5E9F-E1FC-4B623E76BC14}"/>
                </a:ext>
              </a:extLst>
            </p:cNvPr>
            <p:cNvPicPr preferRelativeResize="0">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97426" y="1127570"/>
              <a:ext cx="997693" cy="1123556"/>
            </a:xfrm>
            <a:prstGeom prst="rect">
              <a:avLst/>
            </a:prstGeom>
            <a:noFill/>
            <a:extLst>
              <a:ext uri="{909E8E84-426E-40DD-AFC4-6F175D3DCCD1}">
                <a14:hiddenFill xmlns:a14="http://schemas.microsoft.com/office/drawing/2010/main">
                  <a:solidFill>
                    <a:srgbClr val="FFFFFF"/>
                  </a:solidFill>
                </a14:hiddenFill>
              </a:ext>
            </a:extLst>
          </p:spPr>
        </p:pic>
        <p:pic>
          <p:nvPicPr>
            <p:cNvPr id="45" name="Grafik 3">
              <a:extLst>
                <a:ext uri="{FF2B5EF4-FFF2-40B4-BE49-F238E27FC236}">
                  <a16:creationId xmlns:a16="http://schemas.microsoft.com/office/drawing/2014/main" id="{B4D65081-7072-6E73-1E7B-B5DE2AB2CF10}"/>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078612" y="1120780"/>
              <a:ext cx="815454" cy="1127119"/>
            </a:xfrm>
            <a:prstGeom prst="rect">
              <a:avLst/>
            </a:prstGeom>
          </p:spPr>
        </p:pic>
      </p:grpSp>
      <p:grpSp>
        <p:nvGrpSpPr>
          <p:cNvPr id="46" name="Group 45">
            <a:extLst>
              <a:ext uri="{FF2B5EF4-FFF2-40B4-BE49-F238E27FC236}">
                <a16:creationId xmlns:a16="http://schemas.microsoft.com/office/drawing/2014/main" id="{AB7251AC-030D-5DCF-6BF3-1BCBE84628EE}"/>
              </a:ext>
            </a:extLst>
          </p:cNvPr>
          <p:cNvGrpSpPr/>
          <p:nvPr/>
        </p:nvGrpSpPr>
        <p:grpSpPr>
          <a:xfrm>
            <a:off x="181338" y="3905276"/>
            <a:ext cx="1490296" cy="1039217"/>
            <a:chOff x="2715932" y="4660320"/>
            <a:chExt cx="2658100" cy="1700946"/>
          </a:xfrm>
        </p:grpSpPr>
        <p:grpSp>
          <p:nvGrpSpPr>
            <p:cNvPr id="47" name="Gruppieren 13">
              <a:extLst>
                <a:ext uri="{FF2B5EF4-FFF2-40B4-BE49-F238E27FC236}">
                  <a16:creationId xmlns:a16="http://schemas.microsoft.com/office/drawing/2014/main" id="{DC47CE81-D316-6F26-DD27-0F37AF89531A}"/>
                </a:ext>
              </a:extLst>
            </p:cNvPr>
            <p:cNvGrpSpPr/>
            <p:nvPr/>
          </p:nvGrpSpPr>
          <p:grpSpPr>
            <a:xfrm>
              <a:off x="2715932" y="4660320"/>
              <a:ext cx="2658100" cy="1700946"/>
              <a:chOff x="2715932" y="4662892"/>
              <a:chExt cx="2658100" cy="1700946"/>
            </a:xfrm>
          </p:grpSpPr>
          <p:sp>
            <p:nvSpPr>
              <p:cNvPr id="50" name="Rectangle: Rounded Corners 93">
                <a:extLst>
                  <a:ext uri="{FF2B5EF4-FFF2-40B4-BE49-F238E27FC236}">
                    <a16:creationId xmlns:a16="http://schemas.microsoft.com/office/drawing/2014/main" id="{D9108B03-A084-264F-D049-347FA6F98172}"/>
                  </a:ext>
                </a:extLst>
              </p:cNvPr>
              <p:cNvSpPr/>
              <p:nvPr/>
            </p:nvSpPr>
            <p:spPr>
              <a:xfrm>
                <a:off x="2715932" y="4662892"/>
                <a:ext cx="2657230" cy="1700946"/>
              </a:xfrm>
              <a:prstGeom prst="wedgeRectCallout">
                <a:avLst>
                  <a:gd name="adj1" fmla="val 19320"/>
                  <a:gd name="adj2" fmla="val -50349"/>
                </a:avLst>
              </a:prstGeom>
              <a:gradFill>
                <a:gsLst>
                  <a:gs pos="47000">
                    <a:schemeClr val="accent4">
                      <a:lumMod val="10000"/>
                      <a:lumOff val="90000"/>
                    </a:schemeClr>
                  </a:gs>
                  <a:gs pos="100000">
                    <a:schemeClr val="accent4"/>
                  </a:gs>
                </a:gsLst>
                <a:lin ang="0" scaled="1"/>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137">
                <a:extLst>
                  <a:ext uri="{FF2B5EF4-FFF2-40B4-BE49-F238E27FC236}">
                    <a16:creationId xmlns:a16="http://schemas.microsoft.com/office/drawing/2014/main" id="{718CA26B-EE20-5F09-1E2B-3461A4F21451}"/>
                  </a:ext>
                </a:extLst>
              </p:cNvPr>
              <p:cNvSpPr txBox="1"/>
              <p:nvPr/>
            </p:nvSpPr>
            <p:spPr>
              <a:xfrm>
                <a:off x="2715932" y="6003838"/>
                <a:ext cx="2658100" cy="360000"/>
              </a:xfrm>
              <a:prstGeom prst="rect">
                <a:avLst/>
              </a:prstGeom>
              <a:solidFill>
                <a:schemeClr val="accent3"/>
              </a:solidFill>
            </p:spPr>
            <p:txBody>
              <a:bodyPr wrap="none" rIns="144000" rtlCol="0" anchor="ctr">
                <a:noAutofit/>
              </a:bodyPr>
              <a:lstStyle/>
              <a:p>
                <a:r>
                  <a:rPr lang="en-US" b="1" dirty="0">
                    <a:solidFill>
                      <a:schemeClr val="bg1"/>
                    </a:solidFill>
                    <a:ea typeface="Roboto" panose="02000000000000000000" pitchFamily="2" charset="0"/>
                    <a:cs typeface="Lato Light" panose="020F0502020204030203" pitchFamily="34" charset="0"/>
                  </a:rPr>
                  <a:t>Ukraine</a:t>
                </a:r>
              </a:p>
            </p:txBody>
          </p:sp>
        </p:grpSp>
        <p:pic>
          <p:nvPicPr>
            <p:cNvPr id="48" name="Grafik 368">
              <a:extLst>
                <a:ext uri="{FF2B5EF4-FFF2-40B4-BE49-F238E27FC236}">
                  <a16:creationId xmlns:a16="http://schemas.microsoft.com/office/drawing/2014/main" id="{54332EAB-D0DA-3A4D-A1B9-1D0EB874768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345131" y="4881147"/>
              <a:ext cx="770858" cy="770858"/>
            </a:xfrm>
            <a:prstGeom prst="rect">
              <a:avLst/>
            </a:prstGeom>
            <a:effectLst>
              <a:outerShdw blurRad="63500" dist="38100" dir="5400000" algn="ctr" rotWithShape="0">
                <a:prstClr val="black">
                  <a:alpha val="30000"/>
                </a:prstClr>
              </a:outerShdw>
            </a:effectLst>
          </p:spPr>
        </p:pic>
        <p:pic>
          <p:nvPicPr>
            <p:cNvPr id="49" name="Grafik 37">
              <a:extLst>
                <a:ext uri="{FF2B5EF4-FFF2-40B4-BE49-F238E27FC236}">
                  <a16:creationId xmlns:a16="http://schemas.microsoft.com/office/drawing/2014/main" id="{FB903C49-FC51-385E-CF2A-CE97091ACB62}"/>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094732" y="4712636"/>
              <a:ext cx="1107880" cy="1107880"/>
            </a:xfrm>
            <a:prstGeom prst="rect">
              <a:avLst/>
            </a:prstGeom>
          </p:spPr>
        </p:pic>
      </p:grpSp>
      <p:sp>
        <p:nvSpPr>
          <p:cNvPr id="52" name="AutoShape 2">
            <a:extLst>
              <a:ext uri="{FF2B5EF4-FFF2-40B4-BE49-F238E27FC236}">
                <a16:creationId xmlns:a16="http://schemas.microsoft.com/office/drawing/2014/main" id="{64CFCF37-C8F6-EFD3-8C34-2D6AA0DCA5F6}"/>
              </a:ext>
            </a:extLst>
          </p:cNvPr>
          <p:cNvSpPr>
            <a:spLocks noChangeAspect="1" noChangeArrowheads="1"/>
          </p:cNvSpPr>
          <p:nvPr/>
        </p:nvSpPr>
        <p:spPr bwMode="auto">
          <a:xfrm>
            <a:off x="2936989" y="3192333"/>
            <a:ext cx="228713" cy="2287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3" name="Group 52">
            <a:extLst>
              <a:ext uri="{FF2B5EF4-FFF2-40B4-BE49-F238E27FC236}">
                <a16:creationId xmlns:a16="http://schemas.microsoft.com/office/drawing/2014/main" id="{F9C21C5F-8159-88AD-99E0-5135ACD713D8}"/>
              </a:ext>
            </a:extLst>
          </p:cNvPr>
          <p:cNvGrpSpPr/>
          <p:nvPr/>
        </p:nvGrpSpPr>
        <p:grpSpPr>
          <a:xfrm>
            <a:off x="181338" y="2522261"/>
            <a:ext cx="1490296" cy="1039217"/>
            <a:chOff x="2715932" y="2830940"/>
            <a:chExt cx="2658100" cy="1700946"/>
          </a:xfrm>
        </p:grpSpPr>
        <p:grpSp>
          <p:nvGrpSpPr>
            <p:cNvPr id="54" name="Gruppieren 14">
              <a:extLst>
                <a:ext uri="{FF2B5EF4-FFF2-40B4-BE49-F238E27FC236}">
                  <a16:creationId xmlns:a16="http://schemas.microsoft.com/office/drawing/2014/main" id="{2A0B382B-FE44-4F35-A2B8-6087994E80A0}"/>
                </a:ext>
              </a:extLst>
            </p:cNvPr>
            <p:cNvGrpSpPr/>
            <p:nvPr/>
          </p:nvGrpSpPr>
          <p:grpSpPr>
            <a:xfrm>
              <a:off x="2715932" y="2830940"/>
              <a:ext cx="2658100" cy="1700946"/>
              <a:chOff x="2715932" y="2830940"/>
              <a:chExt cx="2658100" cy="1700946"/>
            </a:xfrm>
          </p:grpSpPr>
          <p:sp>
            <p:nvSpPr>
              <p:cNvPr id="57" name="Rectangle: Rounded Corners 93">
                <a:extLst>
                  <a:ext uri="{FF2B5EF4-FFF2-40B4-BE49-F238E27FC236}">
                    <a16:creationId xmlns:a16="http://schemas.microsoft.com/office/drawing/2014/main" id="{C1574E69-4F28-A088-CEB3-FB827AB34956}"/>
                  </a:ext>
                </a:extLst>
              </p:cNvPr>
              <p:cNvSpPr/>
              <p:nvPr/>
            </p:nvSpPr>
            <p:spPr>
              <a:xfrm>
                <a:off x="2715932" y="2830940"/>
                <a:ext cx="2657230" cy="1700946"/>
              </a:xfrm>
              <a:prstGeom prst="wedgeRectCallout">
                <a:avLst>
                  <a:gd name="adj1" fmla="val 49864"/>
                  <a:gd name="adj2" fmla="val -22537"/>
                </a:avLst>
              </a:prstGeom>
              <a:gradFill>
                <a:gsLst>
                  <a:gs pos="59000">
                    <a:schemeClr val="accent4">
                      <a:lumMod val="10000"/>
                      <a:lumOff val="90000"/>
                    </a:schemeClr>
                  </a:gs>
                  <a:gs pos="100000">
                    <a:schemeClr val="accent4"/>
                  </a:gs>
                </a:gsLst>
                <a:lin ang="0" scaled="1"/>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156">
                <a:extLst>
                  <a:ext uri="{FF2B5EF4-FFF2-40B4-BE49-F238E27FC236}">
                    <a16:creationId xmlns:a16="http://schemas.microsoft.com/office/drawing/2014/main" id="{A6030F84-81C6-EE11-8A4C-2992F6F428BE}"/>
                  </a:ext>
                </a:extLst>
              </p:cNvPr>
              <p:cNvSpPr txBox="1"/>
              <p:nvPr/>
            </p:nvSpPr>
            <p:spPr>
              <a:xfrm>
                <a:off x="2715932" y="4171886"/>
                <a:ext cx="2658100" cy="360000"/>
              </a:xfrm>
              <a:prstGeom prst="rect">
                <a:avLst/>
              </a:prstGeom>
              <a:solidFill>
                <a:schemeClr val="accent3"/>
              </a:solidFill>
            </p:spPr>
            <p:txBody>
              <a:bodyPr wrap="none" rIns="144000" rtlCol="0" anchor="ctr">
                <a:noAutofit/>
              </a:bodyPr>
              <a:lstStyle/>
              <a:p>
                <a:r>
                  <a:rPr lang="en-US" b="1" dirty="0">
                    <a:solidFill>
                      <a:schemeClr val="bg1"/>
                    </a:solidFill>
                    <a:ea typeface="Roboto" panose="02000000000000000000" pitchFamily="2" charset="0"/>
                    <a:cs typeface="Lato Light" panose="020F0502020204030203" pitchFamily="34" charset="0"/>
                  </a:rPr>
                  <a:t>Vienna</a:t>
                </a:r>
              </a:p>
            </p:txBody>
          </p:sp>
        </p:grpSp>
        <p:pic>
          <p:nvPicPr>
            <p:cNvPr id="55" name="Picture 54">
              <a:extLst>
                <a:ext uri="{FF2B5EF4-FFF2-40B4-BE49-F238E27FC236}">
                  <a16:creationId xmlns:a16="http://schemas.microsoft.com/office/drawing/2014/main" id="{E415754B-46C4-1003-3FBC-05674570593F}"/>
                </a:ext>
              </a:extLst>
            </p:cNvPr>
            <p:cNvPicPr>
              <a:picLocks noChangeAspect="1"/>
            </p:cNvPicPr>
            <p:nvPr/>
          </p:nvPicPr>
          <p:blipFill>
            <a:blip r:embed="rId17"/>
            <a:stretch>
              <a:fillRect/>
            </a:stretch>
          </p:blipFill>
          <p:spPr>
            <a:xfrm>
              <a:off x="3110413" y="3097909"/>
              <a:ext cx="741646" cy="830270"/>
            </a:xfrm>
            <a:prstGeom prst="rect">
              <a:avLst/>
            </a:prstGeom>
          </p:spPr>
        </p:pic>
        <p:pic>
          <p:nvPicPr>
            <p:cNvPr id="56" name="Picture 6" descr="austria-flag-round-icon-256 - Dawson Moving &amp; Storage">
              <a:extLst>
                <a:ext uri="{FF2B5EF4-FFF2-40B4-BE49-F238E27FC236}">
                  <a16:creationId xmlns:a16="http://schemas.microsoft.com/office/drawing/2014/main" id="{F4BFBED7-4198-357C-56AA-2D11CCCD8AF6}"/>
                </a:ext>
              </a:extLst>
            </p:cNvPr>
            <p:cNvPicPr>
              <a:picLocks noChangeAspect="1" noChangeArrowheads="1"/>
            </p:cNvPicPr>
            <p:nvPr/>
          </p:nvPicPr>
          <p:blipFill>
            <a:blip r:embed="rId18" cstate="hqprint">
              <a:extLst>
                <a:ext uri="{28A0092B-C50C-407E-A947-70E740481C1C}">
                  <a14:useLocalDpi xmlns:a14="http://schemas.microsoft.com/office/drawing/2010/main" val="0"/>
                </a:ext>
              </a:extLst>
            </a:blip>
            <a:srcRect/>
            <a:stretch>
              <a:fillRect/>
            </a:stretch>
          </p:blipFill>
          <p:spPr bwMode="auto">
            <a:xfrm>
              <a:off x="4255854" y="3139952"/>
              <a:ext cx="776183" cy="7761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uppieren 11">
            <a:extLst>
              <a:ext uri="{FF2B5EF4-FFF2-40B4-BE49-F238E27FC236}">
                <a16:creationId xmlns:a16="http://schemas.microsoft.com/office/drawing/2014/main" id="{6C836AD2-17C5-1C98-3156-42019D20014D}"/>
              </a:ext>
            </a:extLst>
          </p:cNvPr>
          <p:cNvGrpSpPr/>
          <p:nvPr/>
        </p:nvGrpSpPr>
        <p:grpSpPr>
          <a:xfrm>
            <a:off x="10540335" y="1184352"/>
            <a:ext cx="1490296" cy="1039217"/>
            <a:chOff x="9194264" y="998987"/>
            <a:chExt cx="2658100" cy="1700946"/>
          </a:xfrm>
        </p:grpSpPr>
        <p:sp>
          <p:nvSpPr>
            <p:cNvPr id="60" name="Rectangle: Rounded Corners 93">
              <a:extLst>
                <a:ext uri="{FF2B5EF4-FFF2-40B4-BE49-F238E27FC236}">
                  <a16:creationId xmlns:a16="http://schemas.microsoft.com/office/drawing/2014/main" id="{85993515-0C2B-C24C-E665-7CDF3E76ABE4}"/>
                </a:ext>
              </a:extLst>
            </p:cNvPr>
            <p:cNvSpPr/>
            <p:nvPr/>
          </p:nvSpPr>
          <p:spPr>
            <a:xfrm>
              <a:off x="9194264" y="998987"/>
              <a:ext cx="2657230" cy="1700946"/>
            </a:xfrm>
            <a:prstGeom prst="wedgeRectCallout">
              <a:avLst>
                <a:gd name="adj1" fmla="val -50345"/>
                <a:gd name="adj2" fmla="val 11265"/>
              </a:avLst>
            </a:prstGeom>
            <a:gradFill flip="none" rotWithShape="1">
              <a:gsLst>
                <a:gs pos="58000">
                  <a:schemeClr val="accent4">
                    <a:lumMod val="10000"/>
                    <a:lumOff val="90000"/>
                  </a:schemeClr>
                </a:gs>
                <a:gs pos="100000">
                  <a:schemeClr val="accent4"/>
                </a:gs>
              </a:gsLst>
              <a:lin ang="10800000" scaled="1"/>
              <a:tileRect/>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153">
              <a:extLst>
                <a:ext uri="{FF2B5EF4-FFF2-40B4-BE49-F238E27FC236}">
                  <a16:creationId xmlns:a16="http://schemas.microsoft.com/office/drawing/2014/main" id="{C933433F-8634-0420-C2A8-06751834AB1F}"/>
                </a:ext>
              </a:extLst>
            </p:cNvPr>
            <p:cNvSpPr txBox="1"/>
            <p:nvPr/>
          </p:nvSpPr>
          <p:spPr>
            <a:xfrm>
              <a:off x="9194264" y="2339933"/>
              <a:ext cx="2658100" cy="360000"/>
            </a:xfrm>
            <a:prstGeom prst="rect">
              <a:avLst/>
            </a:prstGeom>
            <a:solidFill>
              <a:schemeClr val="accent3"/>
            </a:solidFill>
          </p:spPr>
          <p:txBody>
            <a:bodyPr wrap="none" rIns="144000" rtlCol="0" anchor="ctr">
              <a:noAutofit/>
            </a:bodyPr>
            <a:lstStyle/>
            <a:p>
              <a:pPr algn="r"/>
              <a:r>
                <a:rPr lang="en-US" b="1">
                  <a:solidFill>
                    <a:schemeClr val="bg1"/>
                  </a:solidFill>
                  <a:ea typeface="Roboto" panose="02000000000000000000" pitchFamily="2" charset="0"/>
                  <a:cs typeface="Lato Light" panose="020F0502020204030203" pitchFamily="34" charset="0"/>
                </a:rPr>
                <a:t>Israel</a:t>
              </a:r>
            </a:p>
          </p:txBody>
        </p:sp>
        <p:pic>
          <p:nvPicPr>
            <p:cNvPr id="62" name="Grafik 373">
              <a:extLst>
                <a:ext uri="{FF2B5EF4-FFF2-40B4-BE49-F238E27FC236}">
                  <a16:creationId xmlns:a16="http://schemas.microsoft.com/office/drawing/2014/main" id="{7339DE0C-91D0-5271-5086-746C64DCBB87}"/>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842022" y="1307908"/>
              <a:ext cx="770858" cy="770858"/>
            </a:xfrm>
            <a:prstGeom prst="rect">
              <a:avLst/>
            </a:prstGeom>
            <a:effectLst>
              <a:outerShdw blurRad="63500" dist="38100" dir="5400000" algn="ctr" rotWithShape="0">
                <a:prstClr val="black">
                  <a:alpha val="30000"/>
                </a:prstClr>
              </a:outerShdw>
            </a:effectLst>
          </p:spPr>
        </p:pic>
        <p:pic>
          <p:nvPicPr>
            <p:cNvPr id="63" name="Grafik 34">
              <a:extLst>
                <a:ext uri="{FF2B5EF4-FFF2-40B4-BE49-F238E27FC236}">
                  <a16:creationId xmlns:a16="http://schemas.microsoft.com/office/drawing/2014/main" id="{E56ED814-A075-FE7E-32AD-037901575EA0}"/>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413912" y="1166229"/>
              <a:ext cx="1139788" cy="1054216"/>
            </a:xfrm>
            <a:prstGeom prst="rect">
              <a:avLst/>
            </a:prstGeom>
          </p:spPr>
        </p:pic>
      </p:grpSp>
      <p:grpSp>
        <p:nvGrpSpPr>
          <p:cNvPr id="512" name="Gruppieren 12">
            <a:extLst>
              <a:ext uri="{FF2B5EF4-FFF2-40B4-BE49-F238E27FC236}">
                <a16:creationId xmlns:a16="http://schemas.microsoft.com/office/drawing/2014/main" id="{4D5A2D94-6FBE-6432-8E6E-31314209FBEF}"/>
              </a:ext>
            </a:extLst>
          </p:cNvPr>
          <p:cNvGrpSpPr/>
          <p:nvPr/>
        </p:nvGrpSpPr>
        <p:grpSpPr>
          <a:xfrm>
            <a:off x="10540335" y="2522261"/>
            <a:ext cx="1490296" cy="1039217"/>
            <a:chOff x="9194264" y="2830940"/>
            <a:chExt cx="2658100" cy="1700946"/>
          </a:xfrm>
        </p:grpSpPr>
        <p:sp>
          <p:nvSpPr>
            <p:cNvPr id="513" name="Rectangle: Rounded Corners 93">
              <a:extLst>
                <a:ext uri="{FF2B5EF4-FFF2-40B4-BE49-F238E27FC236}">
                  <a16:creationId xmlns:a16="http://schemas.microsoft.com/office/drawing/2014/main" id="{0FDD3435-9E67-7AF6-1D2F-456F62A8C703}"/>
                </a:ext>
              </a:extLst>
            </p:cNvPr>
            <p:cNvSpPr/>
            <p:nvPr/>
          </p:nvSpPr>
          <p:spPr>
            <a:xfrm>
              <a:off x="9194264" y="2830940"/>
              <a:ext cx="2657230" cy="1700946"/>
            </a:xfrm>
            <a:prstGeom prst="wedgeRectCallout">
              <a:avLst>
                <a:gd name="adj1" fmla="val -48750"/>
                <a:gd name="adj2" fmla="val -26553"/>
              </a:avLst>
            </a:prstGeom>
            <a:gradFill flip="none" rotWithShape="1">
              <a:gsLst>
                <a:gs pos="84000">
                  <a:schemeClr val="accent4">
                    <a:lumMod val="10000"/>
                    <a:lumOff val="90000"/>
                  </a:schemeClr>
                </a:gs>
                <a:gs pos="100000">
                  <a:schemeClr val="accent4"/>
                </a:gs>
              </a:gsLst>
              <a:lin ang="10800000" scaled="1"/>
              <a:tileRect/>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4" name="TextBox 140">
              <a:extLst>
                <a:ext uri="{FF2B5EF4-FFF2-40B4-BE49-F238E27FC236}">
                  <a16:creationId xmlns:a16="http://schemas.microsoft.com/office/drawing/2014/main" id="{9955E7EB-4BFA-65FC-32B8-FF75C0DCDFFC}"/>
                </a:ext>
              </a:extLst>
            </p:cNvPr>
            <p:cNvSpPr txBox="1"/>
            <p:nvPr/>
          </p:nvSpPr>
          <p:spPr>
            <a:xfrm>
              <a:off x="9194264" y="4171886"/>
              <a:ext cx="2658100" cy="360000"/>
            </a:xfrm>
            <a:prstGeom prst="rect">
              <a:avLst/>
            </a:prstGeom>
            <a:solidFill>
              <a:schemeClr val="accent3"/>
            </a:solidFill>
          </p:spPr>
          <p:txBody>
            <a:bodyPr wrap="square" rIns="144000" rtlCol="0" anchor="ctr">
              <a:noAutofit/>
            </a:bodyPr>
            <a:lstStyle/>
            <a:p>
              <a:pPr algn="r"/>
              <a:r>
                <a:rPr lang="en-US" b="1">
                  <a:solidFill>
                    <a:schemeClr val="bg1"/>
                  </a:solidFill>
                  <a:ea typeface="Roboto" panose="02000000000000000000" pitchFamily="2" charset="0"/>
                  <a:cs typeface="Lato Light" panose="020F0502020204030203" pitchFamily="34" charset="0"/>
                </a:rPr>
                <a:t>India (AP)</a:t>
              </a:r>
            </a:p>
          </p:txBody>
        </p:sp>
        <p:pic>
          <p:nvPicPr>
            <p:cNvPr id="515" name="Picture 2">
              <a:extLst>
                <a:ext uri="{FF2B5EF4-FFF2-40B4-BE49-F238E27FC236}">
                  <a16:creationId xmlns:a16="http://schemas.microsoft.com/office/drawing/2014/main" id="{EBD35923-79B7-1EA8-6A13-3EBE72DA6CE9}"/>
                </a:ext>
              </a:extLst>
            </p:cNvPr>
            <p:cNvPicPr preferRelativeResize="0">
              <a:picLocks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9415770" y="2950842"/>
              <a:ext cx="1136070" cy="1125592"/>
            </a:xfrm>
            <a:prstGeom prst="rect">
              <a:avLst/>
            </a:prstGeom>
            <a:noFill/>
            <a:extLst>
              <a:ext uri="{909E8E84-426E-40DD-AFC4-6F175D3DCCD1}">
                <a14:hiddenFill xmlns:a14="http://schemas.microsoft.com/office/drawing/2010/main">
                  <a:solidFill>
                    <a:srgbClr val="FFFFFF"/>
                  </a:solidFill>
                </a14:hiddenFill>
              </a:ext>
            </a:extLst>
          </p:spPr>
        </p:pic>
        <p:pic>
          <p:nvPicPr>
            <p:cNvPr id="516" name="Grafik 378">
              <a:extLst>
                <a:ext uri="{FF2B5EF4-FFF2-40B4-BE49-F238E27FC236}">
                  <a16:creationId xmlns:a16="http://schemas.microsoft.com/office/drawing/2014/main" id="{1F24E6F2-05D7-C59D-56B4-F2D8078774F0}"/>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0842022" y="3101159"/>
              <a:ext cx="770858" cy="770858"/>
            </a:xfrm>
            <a:prstGeom prst="rect">
              <a:avLst/>
            </a:prstGeom>
            <a:effectLst>
              <a:outerShdw blurRad="63500" dist="38100" dir="5400000" algn="ctr" rotWithShape="0">
                <a:prstClr val="black">
                  <a:alpha val="30000"/>
                </a:prstClr>
              </a:outerShdw>
            </a:effectLst>
          </p:spPr>
        </p:pic>
      </p:grpSp>
      <p:grpSp>
        <p:nvGrpSpPr>
          <p:cNvPr id="517" name="Group 516">
            <a:extLst>
              <a:ext uri="{FF2B5EF4-FFF2-40B4-BE49-F238E27FC236}">
                <a16:creationId xmlns:a16="http://schemas.microsoft.com/office/drawing/2014/main" id="{45F150B8-80AB-1654-AB2D-F798D6693B61}"/>
              </a:ext>
            </a:extLst>
          </p:cNvPr>
          <p:cNvGrpSpPr/>
          <p:nvPr/>
        </p:nvGrpSpPr>
        <p:grpSpPr>
          <a:xfrm>
            <a:off x="10542488" y="3951538"/>
            <a:ext cx="1497097" cy="1039217"/>
            <a:chOff x="9194264" y="4706582"/>
            <a:chExt cx="2670230" cy="1700946"/>
          </a:xfrm>
        </p:grpSpPr>
        <p:grpSp>
          <p:nvGrpSpPr>
            <p:cNvPr id="518" name="Gruppieren 12">
              <a:extLst>
                <a:ext uri="{FF2B5EF4-FFF2-40B4-BE49-F238E27FC236}">
                  <a16:creationId xmlns:a16="http://schemas.microsoft.com/office/drawing/2014/main" id="{F0C58FFE-9351-196A-5510-BF125EE08285}"/>
                </a:ext>
              </a:extLst>
            </p:cNvPr>
            <p:cNvGrpSpPr/>
            <p:nvPr/>
          </p:nvGrpSpPr>
          <p:grpSpPr>
            <a:xfrm>
              <a:off x="9194264" y="4706582"/>
              <a:ext cx="2670230" cy="1700946"/>
              <a:chOff x="9207266" y="2842044"/>
              <a:chExt cx="2670230" cy="1700946"/>
            </a:xfrm>
          </p:grpSpPr>
          <p:sp>
            <p:nvSpPr>
              <p:cNvPr id="521" name="Rectangle: Rounded Corners 93">
                <a:extLst>
                  <a:ext uri="{FF2B5EF4-FFF2-40B4-BE49-F238E27FC236}">
                    <a16:creationId xmlns:a16="http://schemas.microsoft.com/office/drawing/2014/main" id="{869C9D46-FB3C-EFD8-EE4C-A205792CC142}"/>
                  </a:ext>
                </a:extLst>
              </p:cNvPr>
              <p:cNvSpPr/>
              <p:nvPr/>
            </p:nvSpPr>
            <p:spPr>
              <a:xfrm>
                <a:off x="9220266" y="2842044"/>
                <a:ext cx="2657230" cy="1700946"/>
              </a:xfrm>
              <a:prstGeom prst="wedgeRectCallout">
                <a:avLst>
                  <a:gd name="adj1" fmla="val -33612"/>
                  <a:gd name="adj2" fmla="val -48522"/>
                </a:avLst>
              </a:prstGeom>
              <a:gradFill flip="none" rotWithShape="1">
                <a:gsLst>
                  <a:gs pos="84000">
                    <a:schemeClr val="accent4">
                      <a:lumMod val="10000"/>
                      <a:lumOff val="90000"/>
                    </a:schemeClr>
                  </a:gs>
                  <a:gs pos="100000">
                    <a:schemeClr val="accent4"/>
                  </a:gs>
                </a:gsLst>
                <a:lin ang="10800000" scaled="1"/>
                <a:tileRect/>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2" name="TextBox 140">
                <a:extLst>
                  <a:ext uri="{FF2B5EF4-FFF2-40B4-BE49-F238E27FC236}">
                    <a16:creationId xmlns:a16="http://schemas.microsoft.com/office/drawing/2014/main" id="{0CA8B684-40DC-2D78-A40A-9A4F876491BE}"/>
                  </a:ext>
                </a:extLst>
              </p:cNvPr>
              <p:cNvSpPr txBox="1"/>
              <p:nvPr/>
            </p:nvSpPr>
            <p:spPr>
              <a:xfrm>
                <a:off x="9207266" y="4171886"/>
                <a:ext cx="2645098" cy="360000"/>
              </a:xfrm>
              <a:prstGeom prst="rect">
                <a:avLst/>
              </a:prstGeom>
              <a:solidFill>
                <a:schemeClr val="accent3"/>
              </a:solidFill>
            </p:spPr>
            <p:txBody>
              <a:bodyPr wrap="square" rIns="144000" rtlCol="0" anchor="ctr">
                <a:noAutofit/>
              </a:bodyPr>
              <a:lstStyle/>
              <a:p>
                <a:pPr algn="r"/>
                <a:r>
                  <a:rPr lang="en-US" b="1" dirty="0">
                    <a:solidFill>
                      <a:schemeClr val="bg1"/>
                    </a:solidFill>
                    <a:ea typeface="Roboto" panose="02000000000000000000" pitchFamily="2" charset="0"/>
                    <a:cs typeface="Lato Light" panose="020F0502020204030203" pitchFamily="34" charset="0"/>
                  </a:rPr>
                  <a:t>Qatar</a:t>
                </a:r>
              </a:p>
            </p:txBody>
          </p:sp>
        </p:grpSp>
        <p:pic>
          <p:nvPicPr>
            <p:cNvPr id="519" name="Grafik 205">
              <a:extLst>
                <a:ext uri="{FF2B5EF4-FFF2-40B4-BE49-F238E27FC236}">
                  <a16:creationId xmlns:a16="http://schemas.microsoft.com/office/drawing/2014/main" id="{6B9F11E3-BE05-717E-A0C7-6D24E10E74E8}"/>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503561" y="4854170"/>
              <a:ext cx="1069512" cy="1069512"/>
            </a:xfrm>
            <a:prstGeom prst="rect">
              <a:avLst/>
            </a:prstGeom>
          </p:spPr>
        </p:pic>
        <p:pic>
          <p:nvPicPr>
            <p:cNvPr id="520" name="Grafik 363">
              <a:extLst>
                <a:ext uri="{FF2B5EF4-FFF2-40B4-BE49-F238E27FC236}">
                  <a16:creationId xmlns:a16="http://schemas.microsoft.com/office/drawing/2014/main" id="{3561CC9C-024F-547C-BF55-B32745A4D731}"/>
                </a:ext>
              </a:extLst>
            </p:cNvPr>
            <p:cNvPicPr>
              <a:picLocks noChangeAspect="1"/>
            </p:cNvPicPr>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0872360" y="4980877"/>
              <a:ext cx="770858" cy="770858"/>
            </a:xfrm>
            <a:prstGeom prst="rect">
              <a:avLst/>
            </a:prstGeom>
            <a:effectLst>
              <a:outerShdw blurRad="63500" dist="38100" dir="5400000" algn="ctr" rotWithShape="0">
                <a:prstClr val="black">
                  <a:alpha val="30000"/>
                </a:prstClr>
              </a:outerShdw>
            </a:effectLst>
          </p:spPr>
        </p:pic>
      </p:grpSp>
      <p:grpSp>
        <p:nvGrpSpPr>
          <p:cNvPr id="16" name="Group 15">
            <a:extLst>
              <a:ext uri="{FF2B5EF4-FFF2-40B4-BE49-F238E27FC236}">
                <a16:creationId xmlns:a16="http://schemas.microsoft.com/office/drawing/2014/main" id="{2C1C6CD6-EC02-D935-2E35-6D82D0E22E84}"/>
              </a:ext>
            </a:extLst>
          </p:cNvPr>
          <p:cNvGrpSpPr/>
          <p:nvPr/>
        </p:nvGrpSpPr>
        <p:grpSpPr>
          <a:xfrm>
            <a:off x="181338" y="5262954"/>
            <a:ext cx="1490296" cy="1039217"/>
            <a:chOff x="2715932" y="4660320"/>
            <a:chExt cx="2658100" cy="1700946"/>
          </a:xfrm>
        </p:grpSpPr>
        <p:grpSp>
          <p:nvGrpSpPr>
            <p:cNvPr id="17" name="Gruppieren 13">
              <a:extLst>
                <a:ext uri="{FF2B5EF4-FFF2-40B4-BE49-F238E27FC236}">
                  <a16:creationId xmlns:a16="http://schemas.microsoft.com/office/drawing/2014/main" id="{221EA777-B0F0-57CF-7895-E6BF5F90CAB3}"/>
                </a:ext>
              </a:extLst>
            </p:cNvPr>
            <p:cNvGrpSpPr/>
            <p:nvPr/>
          </p:nvGrpSpPr>
          <p:grpSpPr>
            <a:xfrm>
              <a:off x="2715932" y="4660320"/>
              <a:ext cx="2658100" cy="1700946"/>
              <a:chOff x="2715932" y="4662892"/>
              <a:chExt cx="2658100" cy="1700946"/>
            </a:xfrm>
          </p:grpSpPr>
          <p:sp>
            <p:nvSpPr>
              <p:cNvPr id="20" name="Rectangle: Rounded Corners 93">
                <a:extLst>
                  <a:ext uri="{FF2B5EF4-FFF2-40B4-BE49-F238E27FC236}">
                    <a16:creationId xmlns:a16="http://schemas.microsoft.com/office/drawing/2014/main" id="{81D475CF-CAD3-7F82-DCD6-704756889399}"/>
                  </a:ext>
                </a:extLst>
              </p:cNvPr>
              <p:cNvSpPr/>
              <p:nvPr/>
            </p:nvSpPr>
            <p:spPr>
              <a:xfrm>
                <a:off x="2715932" y="4662892"/>
                <a:ext cx="2657230" cy="1700946"/>
              </a:xfrm>
              <a:prstGeom prst="wedgeRectCallout">
                <a:avLst>
                  <a:gd name="adj1" fmla="val 19320"/>
                  <a:gd name="adj2" fmla="val -50349"/>
                </a:avLst>
              </a:prstGeom>
              <a:gradFill>
                <a:gsLst>
                  <a:gs pos="47000">
                    <a:schemeClr val="accent4">
                      <a:lumMod val="10000"/>
                      <a:lumOff val="90000"/>
                    </a:schemeClr>
                  </a:gs>
                  <a:gs pos="100000">
                    <a:schemeClr val="accent4"/>
                  </a:gs>
                </a:gsLst>
                <a:lin ang="0" scaled="1"/>
              </a:gradFill>
              <a:ln>
                <a:noFill/>
              </a:ln>
              <a:effectLst>
                <a:outerShdw blurRad="63500" dist="25400" dir="5400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137">
                <a:extLst>
                  <a:ext uri="{FF2B5EF4-FFF2-40B4-BE49-F238E27FC236}">
                    <a16:creationId xmlns:a16="http://schemas.microsoft.com/office/drawing/2014/main" id="{43CDA6AE-2199-4919-C71E-66BEB34CBF01}"/>
                  </a:ext>
                </a:extLst>
              </p:cNvPr>
              <p:cNvSpPr txBox="1"/>
              <p:nvPr/>
            </p:nvSpPr>
            <p:spPr>
              <a:xfrm>
                <a:off x="2715932" y="6003838"/>
                <a:ext cx="2658100" cy="360000"/>
              </a:xfrm>
              <a:prstGeom prst="rect">
                <a:avLst/>
              </a:prstGeom>
              <a:solidFill>
                <a:schemeClr val="accent3"/>
              </a:solidFill>
            </p:spPr>
            <p:txBody>
              <a:bodyPr wrap="none" rIns="144000" rtlCol="0" anchor="ctr">
                <a:noAutofit/>
              </a:bodyPr>
              <a:lstStyle/>
              <a:p>
                <a:r>
                  <a:rPr lang="en-US" b="1" dirty="0">
                    <a:solidFill>
                      <a:schemeClr val="bg1"/>
                    </a:solidFill>
                    <a:ea typeface="Roboto" panose="02000000000000000000" pitchFamily="2" charset="0"/>
                    <a:cs typeface="Lato Light" panose="020F0502020204030203" pitchFamily="34" charset="0"/>
                  </a:rPr>
                  <a:t>Ukraine</a:t>
                </a:r>
              </a:p>
            </p:txBody>
          </p:sp>
        </p:grpSp>
        <p:pic>
          <p:nvPicPr>
            <p:cNvPr id="18" name="Grafik 368">
              <a:extLst>
                <a:ext uri="{FF2B5EF4-FFF2-40B4-BE49-F238E27FC236}">
                  <a16:creationId xmlns:a16="http://schemas.microsoft.com/office/drawing/2014/main" id="{39FC75C0-50D4-2959-9CC7-2B8752758A7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345131" y="4881147"/>
              <a:ext cx="770858" cy="770858"/>
            </a:xfrm>
            <a:prstGeom prst="rect">
              <a:avLst/>
            </a:prstGeom>
            <a:effectLst>
              <a:outerShdw blurRad="63500" dist="38100" dir="5400000" algn="ctr" rotWithShape="0">
                <a:prstClr val="black">
                  <a:alpha val="30000"/>
                </a:prstClr>
              </a:outerShdw>
            </a:effectLst>
          </p:spPr>
        </p:pic>
        <p:pic>
          <p:nvPicPr>
            <p:cNvPr id="19" name="Grafik 37">
              <a:extLst>
                <a:ext uri="{FF2B5EF4-FFF2-40B4-BE49-F238E27FC236}">
                  <a16:creationId xmlns:a16="http://schemas.microsoft.com/office/drawing/2014/main" id="{412AE46A-E4EF-2669-D58E-99BAA2590643}"/>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094732" y="4712636"/>
              <a:ext cx="1107880" cy="1107880"/>
            </a:xfrm>
            <a:prstGeom prst="rect">
              <a:avLst/>
            </a:prstGeom>
          </p:spPr>
        </p:pic>
      </p:grpSp>
      <p:sp>
        <p:nvSpPr>
          <p:cNvPr id="4" name="Rectangle 3">
            <a:extLst>
              <a:ext uri="{FF2B5EF4-FFF2-40B4-BE49-F238E27FC236}">
                <a16:creationId xmlns:a16="http://schemas.microsoft.com/office/drawing/2014/main" id="{E99BAA36-9BFB-7E6D-CA3F-EFA429476F60}"/>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247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DE93F7-6A17-8794-7C05-5ABB2605FCDA}"/>
              </a:ext>
            </a:extLst>
          </p:cNvPr>
          <p:cNvSpPr>
            <a:spLocks noGrp="1"/>
          </p:cNvSpPr>
          <p:nvPr>
            <p:ph type="title"/>
          </p:nvPr>
        </p:nvSpPr>
        <p:spPr/>
        <p:txBody>
          <a:bodyPr/>
          <a:lstStyle/>
          <a:p>
            <a:r>
              <a:rPr lang="en-US" dirty="0"/>
              <a:t>S!RENEN - project objectives and key milestones</a:t>
            </a:r>
          </a:p>
        </p:txBody>
      </p:sp>
      <p:pic>
        <p:nvPicPr>
          <p:cNvPr id="5" name="Picture 4">
            <a:extLst>
              <a:ext uri="{FF2B5EF4-FFF2-40B4-BE49-F238E27FC236}">
                <a16:creationId xmlns:a16="http://schemas.microsoft.com/office/drawing/2014/main" id="{C59F3413-6DD9-4EC5-EC46-1FF888F019D5}"/>
              </a:ext>
            </a:extLst>
          </p:cNvPr>
          <p:cNvPicPr>
            <a:picLocks noChangeAspect="1"/>
          </p:cNvPicPr>
          <p:nvPr/>
        </p:nvPicPr>
        <p:blipFill>
          <a:blip r:embed="rId3"/>
          <a:stretch>
            <a:fillRect/>
          </a:stretch>
        </p:blipFill>
        <p:spPr>
          <a:xfrm>
            <a:off x="0" y="721659"/>
            <a:ext cx="12192000" cy="5791199"/>
          </a:xfrm>
          <a:prstGeom prst="rect">
            <a:avLst/>
          </a:prstGeom>
        </p:spPr>
      </p:pic>
      <p:grpSp>
        <p:nvGrpSpPr>
          <p:cNvPr id="9" name="Group 8">
            <a:extLst>
              <a:ext uri="{FF2B5EF4-FFF2-40B4-BE49-F238E27FC236}">
                <a16:creationId xmlns:a16="http://schemas.microsoft.com/office/drawing/2014/main" id="{0C3B3472-BE24-1F49-24C8-85FF2D09D28F}"/>
              </a:ext>
            </a:extLst>
          </p:cNvPr>
          <p:cNvGrpSpPr/>
          <p:nvPr/>
        </p:nvGrpSpPr>
        <p:grpSpPr>
          <a:xfrm>
            <a:off x="6382870" y="3680013"/>
            <a:ext cx="5396753" cy="2563906"/>
            <a:chOff x="6544235" y="3697942"/>
            <a:chExt cx="5396753" cy="2563906"/>
          </a:xfrm>
        </p:grpSpPr>
        <p:sp>
          <p:nvSpPr>
            <p:cNvPr id="6" name="Rectangle 5">
              <a:extLst>
                <a:ext uri="{FF2B5EF4-FFF2-40B4-BE49-F238E27FC236}">
                  <a16:creationId xmlns:a16="http://schemas.microsoft.com/office/drawing/2014/main" id="{01191095-97A7-4E0C-CBAE-1814B730ABFF}"/>
                </a:ext>
              </a:extLst>
            </p:cNvPr>
            <p:cNvSpPr/>
            <p:nvPr/>
          </p:nvSpPr>
          <p:spPr>
            <a:xfrm>
              <a:off x="6544235" y="3697942"/>
              <a:ext cx="5396753" cy="25639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1">
              <a:extLst>
                <a:ext uri="{FF2B5EF4-FFF2-40B4-BE49-F238E27FC236}">
                  <a16:creationId xmlns:a16="http://schemas.microsoft.com/office/drawing/2014/main" id="{A21228BA-D92A-0A0A-0CC3-CC6E3F2DC761}"/>
                </a:ext>
              </a:extLst>
            </p:cNvPr>
            <p:cNvSpPr txBox="1">
              <a:spLocks/>
            </p:cNvSpPr>
            <p:nvPr/>
          </p:nvSpPr>
          <p:spPr>
            <a:xfrm>
              <a:off x="6837550" y="3913095"/>
              <a:ext cx="4874837" cy="2066365"/>
            </a:xfrm>
            <a:prstGeom prst="rect">
              <a:avLst/>
            </a:prstGeom>
            <a:effectLst/>
          </p:spPr>
          <p:txBody>
            <a:bodyPr vert="horz" lIns="0" tIns="0" rIns="0" bIns="0" rtlCol="0">
              <a:noAutofit/>
            </a:bodyPr>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4">
                    <a:extLst>
                      <a:ext uri="{96DAC541-7B7A-43D3-8B79-37D633B846F1}">
                        <asvg:svgBlip xmlns:asvg="http://schemas.microsoft.com/office/drawing/2016/SVG/main" r:embed="rId5"/>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6">
                    <a:extLst>
                      <a:ext uri="{96DAC541-7B7A-43D3-8B79-37D633B846F1}">
                        <asvg:svgBlip xmlns:asvg="http://schemas.microsoft.com/office/drawing/2016/SVG/main" r:embed="rId7"/>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Clr>
                  <a:srgbClr val="FF9999"/>
                </a:buClr>
                <a:buNone/>
              </a:pPr>
              <a:r>
                <a:rPr lang="en-US" sz="2800" dirty="0">
                  <a:solidFill>
                    <a:schemeClr val="bg1"/>
                  </a:solidFill>
                </a:rPr>
                <a:t>Key milestones</a:t>
              </a:r>
            </a:p>
            <a:p>
              <a:pPr>
                <a:spcBef>
                  <a:spcPts val="600"/>
                </a:spcBef>
                <a:buClr>
                  <a:srgbClr val="FF9999"/>
                </a:buClr>
                <a:buFont typeface="Wingdings" panose="05000000000000000000" pitchFamily="2" charset="2"/>
                <a:buChar char="§"/>
              </a:pPr>
              <a:r>
                <a:rPr lang="en-US" sz="1800" b="1" dirty="0">
                  <a:solidFill>
                    <a:schemeClr val="bg1"/>
                  </a:solidFill>
                </a:rPr>
                <a:t>2020:</a:t>
              </a:r>
              <a:r>
                <a:rPr lang="en-US" sz="1800" dirty="0">
                  <a:solidFill>
                    <a:schemeClr val="bg1"/>
                  </a:solidFill>
                </a:rPr>
                <a:t> Project officially begins</a:t>
              </a:r>
            </a:p>
            <a:p>
              <a:pPr>
                <a:spcBef>
                  <a:spcPts val="600"/>
                </a:spcBef>
                <a:buClr>
                  <a:srgbClr val="FF9999"/>
                </a:buClr>
                <a:buFont typeface="Wingdings" panose="05000000000000000000" pitchFamily="2" charset="2"/>
                <a:buChar char="§"/>
              </a:pPr>
              <a:r>
                <a:rPr lang="en-US" sz="1800" b="1" dirty="0">
                  <a:solidFill>
                    <a:schemeClr val="bg1"/>
                  </a:solidFill>
                </a:rPr>
                <a:t>2021: </a:t>
              </a:r>
              <a:r>
                <a:rPr lang="en-US" sz="1800" dirty="0">
                  <a:solidFill>
                    <a:schemeClr val="bg1"/>
                  </a:solidFill>
                </a:rPr>
                <a:t>Vendors selection; design finalizations </a:t>
              </a:r>
            </a:p>
            <a:p>
              <a:pPr>
                <a:spcBef>
                  <a:spcPts val="600"/>
                </a:spcBef>
                <a:buClr>
                  <a:srgbClr val="FF9999"/>
                </a:buClr>
                <a:buFont typeface="Wingdings" panose="05000000000000000000" pitchFamily="2" charset="2"/>
                <a:buChar char="§"/>
              </a:pPr>
              <a:r>
                <a:rPr lang="en-US" sz="1800" b="1" dirty="0">
                  <a:solidFill>
                    <a:schemeClr val="bg1"/>
                  </a:solidFill>
                </a:rPr>
                <a:t>2022:</a:t>
              </a:r>
              <a:r>
                <a:rPr lang="en-US" sz="1800" dirty="0">
                  <a:solidFill>
                    <a:schemeClr val="bg1"/>
                  </a:solidFill>
                </a:rPr>
                <a:t> Initial testing and pilots</a:t>
              </a:r>
            </a:p>
            <a:p>
              <a:pPr>
                <a:spcBef>
                  <a:spcPts val="600"/>
                </a:spcBef>
                <a:buClr>
                  <a:srgbClr val="FF9999"/>
                </a:buClr>
                <a:buFont typeface="Wingdings" panose="05000000000000000000" pitchFamily="2" charset="2"/>
                <a:buChar char="§"/>
              </a:pPr>
              <a:r>
                <a:rPr lang="en-US" sz="1800" b="1" dirty="0">
                  <a:solidFill>
                    <a:schemeClr val="bg1"/>
                  </a:solidFill>
                </a:rPr>
                <a:t>2023: </a:t>
              </a:r>
              <a:r>
                <a:rPr lang="en-US" sz="1800" dirty="0">
                  <a:solidFill>
                    <a:schemeClr val="bg1"/>
                  </a:solidFill>
                </a:rPr>
                <a:t>Service launch</a:t>
              </a:r>
            </a:p>
            <a:p>
              <a:pPr lvl="1">
                <a:spcBef>
                  <a:spcPts val="600"/>
                </a:spcBef>
                <a:spcAft>
                  <a:spcPts val="600"/>
                </a:spcAft>
                <a:buClr>
                  <a:srgbClr val="FF9999"/>
                </a:buClr>
                <a:buFont typeface="Wingdings" panose="05000000000000000000" pitchFamily="2" charset="2"/>
                <a:buChar char="§"/>
              </a:pPr>
              <a:endParaRPr lang="en-US" dirty="0">
                <a:solidFill>
                  <a:schemeClr val="bg1"/>
                </a:solidFill>
              </a:endParaRPr>
            </a:p>
          </p:txBody>
        </p:sp>
      </p:grpSp>
      <p:sp>
        <p:nvSpPr>
          <p:cNvPr id="8" name="Content Placeholder 1">
            <a:extLst>
              <a:ext uri="{FF2B5EF4-FFF2-40B4-BE49-F238E27FC236}">
                <a16:creationId xmlns:a16="http://schemas.microsoft.com/office/drawing/2014/main" id="{F6FDB4AB-46A8-AD33-C374-C64D8B4AE172}"/>
              </a:ext>
            </a:extLst>
          </p:cNvPr>
          <p:cNvSpPr txBox="1">
            <a:spLocks/>
          </p:cNvSpPr>
          <p:nvPr/>
        </p:nvSpPr>
        <p:spPr>
          <a:xfrm>
            <a:off x="378479" y="1080577"/>
            <a:ext cx="5466509" cy="3294200"/>
          </a:xfrm>
          <a:prstGeom prst="rect">
            <a:avLst/>
          </a:prstGeom>
          <a:solidFill>
            <a:schemeClr val="accent2"/>
          </a:solidFill>
        </p:spPr>
        <p:txBody>
          <a:bodyPr anchor="ctr" anchorCtr="0"/>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4">
                  <a:extLst>
                    <a:ext uri="{96DAC541-7B7A-43D3-8B79-37D633B846F1}">
                      <asvg:svgBlip xmlns:asvg="http://schemas.microsoft.com/office/drawing/2016/SVG/main" r:embed="rId5"/>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6">
                  <a:extLst>
                    <a:ext uri="{96DAC541-7B7A-43D3-8B79-37D633B846F1}">
                      <asvg:svgBlip xmlns:asvg="http://schemas.microsoft.com/office/drawing/2016/SVG/main" r:embed="rId7"/>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6">
                  <a:extLst>
                    <a:ext uri="{96DAC541-7B7A-43D3-8B79-37D633B846F1}">
                      <asvg:svgBlip xmlns:asvg="http://schemas.microsoft.com/office/drawing/2016/SVG/main" r:embed="rId7"/>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Tx/>
              <a:buNone/>
            </a:pPr>
            <a:r>
              <a:rPr lang="en-US" sz="2800" dirty="0">
                <a:solidFill>
                  <a:schemeClr val="bg1"/>
                </a:solidFill>
              </a:rPr>
              <a:t>Objectives</a:t>
            </a:r>
          </a:p>
          <a:p>
            <a:pPr>
              <a:buClr>
                <a:srgbClr val="FF9999"/>
              </a:buClr>
              <a:buFont typeface="Wingdings" panose="05000000000000000000" pitchFamily="2" charset="2"/>
              <a:buChar char="§"/>
            </a:pPr>
            <a:r>
              <a:rPr lang="en-US" sz="1800" dirty="0">
                <a:solidFill>
                  <a:schemeClr val="bg1"/>
                </a:solidFill>
              </a:rPr>
              <a:t>Establish a multi-channel, reliable, nationwide alert system</a:t>
            </a:r>
          </a:p>
          <a:p>
            <a:pPr>
              <a:buClr>
                <a:srgbClr val="FF9999"/>
              </a:buClr>
              <a:buFont typeface="Wingdings" panose="05000000000000000000" pitchFamily="2" charset="2"/>
              <a:buChar char="§"/>
            </a:pPr>
            <a:r>
              <a:rPr lang="en-US" sz="1800" dirty="0">
                <a:solidFill>
                  <a:schemeClr val="bg1"/>
                </a:solidFill>
              </a:rPr>
              <a:t>Ensure rapid communication with residents and visitors during emergencies</a:t>
            </a:r>
          </a:p>
          <a:p>
            <a:pPr lvl="1">
              <a:spcAft>
                <a:spcPts val="600"/>
              </a:spcAft>
              <a:buClr>
                <a:srgbClr val="FF9999"/>
              </a:buClr>
              <a:buFont typeface="Wingdings" panose="05000000000000000000" pitchFamily="2" charset="2"/>
              <a:buChar char="§"/>
            </a:pPr>
            <a:r>
              <a:rPr lang="en-US" sz="1600" dirty="0">
                <a:solidFill>
                  <a:schemeClr val="bg1"/>
                </a:solidFill>
              </a:rPr>
              <a:t>Severe weather conditions</a:t>
            </a:r>
          </a:p>
          <a:p>
            <a:pPr lvl="1">
              <a:spcAft>
                <a:spcPts val="600"/>
              </a:spcAft>
              <a:buClr>
                <a:srgbClr val="FF9999"/>
              </a:buClr>
              <a:buFont typeface="Wingdings" panose="05000000000000000000" pitchFamily="2" charset="2"/>
              <a:buChar char="§"/>
            </a:pPr>
            <a:r>
              <a:rPr lang="en-US" sz="1600" dirty="0">
                <a:solidFill>
                  <a:schemeClr val="bg1"/>
                </a:solidFill>
              </a:rPr>
              <a:t>Terrorist Threats and Security Incidents</a:t>
            </a:r>
          </a:p>
          <a:p>
            <a:pPr lvl="1">
              <a:spcAft>
                <a:spcPts val="600"/>
              </a:spcAft>
              <a:buClr>
                <a:srgbClr val="FF9999"/>
              </a:buClr>
              <a:buFont typeface="Wingdings" panose="05000000000000000000" pitchFamily="2" charset="2"/>
              <a:buChar char="§"/>
            </a:pPr>
            <a:r>
              <a:rPr lang="en-US" sz="1600" dirty="0">
                <a:solidFill>
                  <a:schemeClr val="bg1"/>
                </a:solidFill>
              </a:rPr>
              <a:t>Chemical or Industrial Accidents</a:t>
            </a:r>
          </a:p>
          <a:p>
            <a:pPr lvl="1">
              <a:spcAft>
                <a:spcPts val="600"/>
              </a:spcAft>
              <a:buClr>
                <a:srgbClr val="FF9999"/>
              </a:buClr>
              <a:buFont typeface="Wingdings" panose="05000000000000000000" pitchFamily="2" charset="2"/>
              <a:buChar char="§"/>
            </a:pPr>
            <a:r>
              <a:rPr lang="en-US" sz="1600" dirty="0">
                <a:solidFill>
                  <a:schemeClr val="bg1"/>
                </a:solidFill>
              </a:rPr>
              <a:t>Pandemic or Disease Outbreaks</a:t>
            </a:r>
          </a:p>
        </p:txBody>
      </p:sp>
      <p:sp>
        <p:nvSpPr>
          <p:cNvPr id="2" name="Rectangle 1">
            <a:extLst>
              <a:ext uri="{FF2B5EF4-FFF2-40B4-BE49-F238E27FC236}">
                <a16:creationId xmlns:a16="http://schemas.microsoft.com/office/drawing/2014/main" id="{E24DE87D-CE6B-FD34-526C-DA15E695A465}"/>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341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F66FB37-C8C7-687C-D7F6-842ED7830E5C}"/>
              </a:ext>
            </a:extLst>
          </p:cNvPr>
          <p:cNvSpPr>
            <a:spLocks noGrp="1"/>
          </p:cNvSpPr>
          <p:nvPr>
            <p:ph idx="13"/>
          </p:nvPr>
        </p:nvSpPr>
        <p:spPr>
          <a:xfrm>
            <a:off x="947738" y="896471"/>
            <a:ext cx="10296525" cy="5448767"/>
          </a:xfrm>
        </p:spPr>
        <p:txBody>
          <a:bodyPr/>
          <a:lstStyle/>
          <a:p>
            <a:r>
              <a:rPr lang="en-US" sz="1800" dirty="0"/>
              <a:t>DEMA gave the 3 MNOs in Denmark the freedom to select its own CBC</a:t>
            </a:r>
            <a:r>
              <a:rPr lang="en-US" sz="1800" dirty="0">
                <a:solidFill>
                  <a:srgbClr val="FF0000"/>
                </a:solidFill>
              </a:rPr>
              <a:t> </a:t>
            </a:r>
            <a:r>
              <a:rPr lang="en-US" sz="1800" dirty="0"/>
              <a:t>vendors</a:t>
            </a:r>
          </a:p>
          <a:p>
            <a:pPr marL="0" indent="0">
              <a:buNone/>
            </a:pPr>
            <a:endParaRPr lang="en-US" sz="1800" dirty="0"/>
          </a:p>
          <a:p>
            <a:r>
              <a:rPr lang="en-US" sz="1800" dirty="0"/>
              <a:t>CBE Selection process:</a:t>
            </a:r>
          </a:p>
          <a:p>
            <a:pPr lvl="1">
              <a:spcAft>
                <a:spcPts val="600"/>
              </a:spcAft>
            </a:pPr>
            <a:r>
              <a:rPr lang="en-US" sz="1600" dirty="0"/>
              <a:t>2020 - RFI</a:t>
            </a:r>
          </a:p>
          <a:p>
            <a:pPr lvl="1">
              <a:spcAft>
                <a:spcPts val="600"/>
              </a:spcAft>
            </a:pPr>
            <a:r>
              <a:rPr lang="en-US" sz="1600" dirty="0"/>
              <a:t>2021 - Pre-qualification</a:t>
            </a:r>
          </a:p>
          <a:p>
            <a:pPr lvl="1">
              <a:spcAft>
                <a:spcPts val="600"/>
              </a:spcAft>
            </a:pPr>
            <a:r>
              <a:rPr lang="en-US" sz="1600" dirty="0"/>
              <a:t>2022 - RFP (3 vendors) and award</a:t>
            </a:r>
          </a:p>
          <a:p>
            <a:pPr lvl="1"/>
            <a:endParaRPr lang="en-US" sz="1600" dirty="0"/>
          </a:p>
          <a:p>
            <a:r>
              <a:rPr lang="en-US" sz="1800" dirty="0"/>
              <a:t>Reasons for selecting Utimaco</a:t>
            </a:r>
          </a:p>
          <a:p>
            <a:pPr lvl="1">
              <a:spcAft>
                <a:spcPts val="600"/>
              </a:spcAft>
            </a:pPr>
            <a:r>
              <a:rPr lang="en-US" sz="1600" dirty="0"/>
              <a:t>Utimaco was the only vendor which actually read the tender and replied to the specifics</a:t>
            </a:r>
          </a:p>
          <a:p>
            <a:pPr lvl="1">
              <a:spcAft>
                <a:spcPts val="600"/>
              </a:spcAft>
            </a:pPr>
            <a:r>
              <a:rPr lang="en-US" sz="1600" dirty="0"/>
              <a:t>Before final selection, Utimaco began offering sane advice</a:t>
            </a:r>
          </a:p>
          <a:p>
            <a:pPr marL="0" indent="0">
              <a:buNone/>
            </a:pPr>
            <a:endParaRPr lang="en-US" sz="1800" dirty="0"/>
          </a:p>
        </p:txBody>
      </p:sp>
      <p:sp>
        <p:nvSpPr>
          <p:cNvPr id="4" name="Title 3">
            <a:extLst>
              <a:ext uri="{FF2B5EF4-FFF2-40B4-BE49-F238E27FC236}">
                <a16:creationId xmlns:a16="http://schemas.microsoft.com/office/drawing/2014/main" id="{1AC997BF-8B1D-F159-39A9-B5B1C4363D21}"/>
              </a:ext>
            </a:extLst>
          </p:cNvPr>
          <p:cNvSpPr>
            <a:spLocks noGrp="1"/>
          </p:cNvSpPr>
          <p:nvPr>
            <p:ph type="title"/>
          </p:nvPr>
        </p:nvSpPr>
        <p:spPr/>
        <p:txBody>
          <a:bodyPr/>
          <a:lstStyle/>
          <a:p>
            <a:r>
              <a:rPr lang="en-US" dirty="0"/>
              <a:t>Vendors Selection</a:t>
            </a:r>
          </a:p>
        </p:txBody>
      </p:sp>
      <p:sp>
        <p:nvSpPr>
          <p:cNvPr id="3" name="Rectangle 2">
            <a:extLst>
              <a:ext uri="{FF2B5EF4-FFF2-40B4-BE49-F238E27FC236}">
                <a16:creationId xmlns:a16="http://schemas.microsoft.com/office/drawing/2014/main" id="{B085AF0F-6DB8-6E32-159E-F9B1558DA009}"/>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46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7DC06-1731-CFC4-9E82-C9E7ECCBF9C4}"/>
              </a:ext>
            </a:extLst>
          </p:cNvPr>
          <p:cNvSpPr>
            <a:spLocks noGrp="1"/>
          </p:cNvSpPr>
          <p:nvPr>
            <p:ph type="title"/>
          </p:nvPr>
        </p:nvSpPr>
        <p:spPr/>
        <p:txBody>
          <a:bodyPr/>
          <a:lstStyle/>
          <a:p>
            <a:r>
              <a:rPr lang="en-US"/>
              <a:t>Distributed Topology</a:t>
            </a:r>
          </a:p>
        </p:txBody>
      </p:sp>
      <p:sp>
        <p:nvSpPr>
          <p:cNvPr id="105" name="Rechteck 12">
            <a:extLst>
              <a:ext uri="{FF2B5EF4-FFF2-40B4-BE49-F238E27FC236}">
                <a16:creationId xmlns:a16="http://schemas.microsoft.com/office/drawing/2014/main" id="{9A74A89B-7CC0-BD21-2C58-CC895B3E413F}"/>
              </a:ext>
            </a:extLst>
          </p:cNvPr>
          <p:cNvSpPr/>
          <p:nvPr/>
        </p:nvSpPr>
        <p:spPr>
          <a:xfrm>
            <a:off x="10931257" y="1742950"/>
            <a:ext cx="864000" cy="44149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hteck 272">
            <a:extLst>
              <a:ext uri="{FF2B5EF4-FFF2-40B4-BE49-F238E27FC236}">
                <a16:creationId xmlns:a16="http://schemas.microsoft.com/office/drawing/2014/main" id="{91B4E4AA-A83C-FA9B-9319-4609F1E21639}"/>
              </a:ext>
            </a:extLst>
          </p:cNvPr>
          <p:cNvSpPr>
            <a:spLocks/>
          </p:cNvSpPr>
          <p:nvPr/>
        </p:nvSpPr>
        <p:spPr>
          <a:xfrm>
            <a:off x="5020962" y="1729344"/>
            <a:ext cx="5672508" cy="88774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Textfeld 202">
            <a:extLst>
              <a:ext uri="{FF2B5EF4-FFF2-40B4-BE49-F238E27FC236}">
                <a16:creationId xmlns:a16="http://schemas.microsoft.com/office/drawing/2014/main" id="{39876D4D-D146-C560-E858-AA5B42A63513}"/>
              </a:ext>
            </a:extLst>
          </p:cNvPr>
          <p:cNvSpPr txBox="1">
            <a:spLocks/>
          </p:cNvSpPr>
          <p:nvPr/>
        </p:nvSpPr>
        <p:spPr>
          <a:xfrm>
            <a:off x="949962" y="1394752"/>
            <a:ext cx="1766681" cy="609450"/>
          </a:xfrm>
          <a:prstGeom prst="rect">
            <a:avLst/>
          </a:prstGeom>
          <a:solidFill>
            <a:schemeClr val="accent3"/>
          </a:solidFill>
          <a:effectLst/>
        </p:spPr>
        <p:txBody>
          <a:bodyPr vert="horz" wrap="square" lIns="144000" tIns="72000" rIns="144000" bIns="108000" rtlCol="0" anchor="t" anchorCtr="0">
            <a:noAutofit/>
          </a:bodyPr>
          <a:lstStyle/>
          <a:p>
            <a:pPr>
              <a:lnSpc>
                <a:spcPct val="100000"/>
              </a:lnSpc>
              <a:spcBef>
                <a:spcPts val="0"/>
              </a:spcBef>
              <a:spcAft>
                <a:spcPts val="600"/>
              </a:spcAft>
            </a:pPr>
            <a:r>
              <a:rPr lang="en-US" sz="1400" b="1" dirty="0">
                <a:solidFill>
                  <a:schemeClr val="bg1"/>
                </a:solidFill>
              </a:rPr>
              <a:t>CBE </a:t>
            </a:r>
            <a:br>
              <a:rPr lang="en-US" sz="1400" b="1" dirty="0">
                <a:solidFill>
                  <a:schemeClr val="bg1"/>
                </a:solidFill>
              </a:rPr>
            </a:br>
            <a:r>
              <a:rPr lang="en-US" sz="1400" b="1" dirty="0">
                <a:solidFill>
                  <a:schemeClr val="bg1"/>
                </a:solidFill>
              </a:rPr>
              <a:t>Command Post</a:t>
            </a:r>
            <a:endParaRPr lang="en-US" sz="1200" b="1" dirty="0">
              <a:solidFill>
                <a:schemeClr val="bg1"/>
              </a:solidFill>
            </a:endParaRPr>
          </a:p>
        </p:txBody>
      </p:sp>
      <p:sp>
        <p:nvSpPr>
          <p:cNvPr id="108" name="Rechteck 273">
            <a:extLst>
              <a:ext uri="{FF2B5EF4-FFF2-40B4-BE49-F238E27FC236}">
                <a16:creationId xmlns:a16="http://schemas.microsoft.com/office/drawing/2014/main" id="{4247D95A-1760-C2B7-94E8-55E7D9E9BF9F}"/>
              </a:ext>
            </a:extLst>
          </p:cNvPr>
          <p:cNvSpPr>
            <a:spLocks/>
          </p:cNvSpPr>
          <p:nvPr/>
        </p:nvSpPr>
        <p:spPr>
          <a:xfrm>
            <a:off x="5037040" y="3510366"/>
            <a:ext cx="5601136" cy="88774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Rechteck 275">
            <a:extLst>
              <a:ext uri="{FF2B5EF4-FFF2-40B4-BE49-F238E27FC236}">
                <a16:creationId xmlns:a16="http://schemas.microsoft.com/office/drawing/2014/main" id="{17F7BA5C-D13C-B716-391F-E8F92974985B}"/>
              </a:ext>
            </a:extLst>
          </p:cNvPr>
          <p:cNvSpPr>
            <a:spLocks/>
          </p:cNvSpPr>
          <p:nvPr/>
        </p:nvSpPr>
        <p:spPr>
          <a:xfrm>
            <a:off x="5059770" y="5270190"/>
            <a:ext cx="5578406" cy="88774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hteck 267">
            <a:extLst>
              <a:ext uri="{FF2B5EF4-FFF2-40B4-BE49-F238E27FC236}">
                <a16:creationId xmlns:a16="http://schemas.microsoft.com/office/drawing/2014/main" id="{6C9DECAE-4416-5C5D-C64E-3C1285B0B38B}"/>
              </a:ext>
            </a:extLst>
          </p:cNvPr>
          <p:cNvSpPr>
            <a:spLocks/>
          </p:cNvSpPr>
          <p:nvPr/>
        </p:nvSpPr>
        <p:spPr>
          <a:xfrm>
            <a:off x="2718256" y="3806444"/>
            <a:ext cx="618629" cy="28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echteck 268">
            <a:extLst>
              <a:ext uri="{FF2B5EF4-FFF2-40B4-BE49-F238E27FC236}">
                <a16:creationId xmlns:a16="http://schemas.microsoft.com/office/drawing/2014/main" id="{3D5DE969-99E9-3F8F-5DFA-B051C9BE5D30}"/>
              </a:ext>
            </a:extLst>
          </p:cNvPr>
          <p:cNvSpPr>
            <a:spLocks/>
          </p:cNvSpPr>
          <p:nvPr/>
        </p:nvSpPr>
        <p:spPr>
          <a:xfrm>
            <a:off x="3051061" y="2079650"/>
            <a:ext cx="288001" cy="37784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Pfeil: nach rechts 5">
            <a:extLst>
              <a:ext uri="{FF2B5EF4-FFF2-40B4-BE49-F238E27FC236}">
                <a16:creationId xmlns:a16="http://schemas.microsoft.com/office/drawing/2014/main" id="{B26A2704-2400-DF4D-3CFE-048E7F3A176E}"/>
              </a:ext>
            </a:extLst>
          </p:cNvPr>
          <p:cNvSpPr/>
          <p:nvPr/>
        </p:nvSpPr>
        <p:spPr>
          <a:xfrm>
            <a:off x="3051058" y="1944509"/>
            <a:ext cx="1766681" cy="484632"/>
          </a:xfrm>
          <a:prstGeom prst="rightArrow">
            <a:avLst>
              <a:gd name="adj1" fmla="val 58844"/>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Pfeil: nach rechts 278">
            <a:extLst>
              <a:ext uri="{FF2B5EF4-FFF2-40B4-BE49-F238E27FC236}">
                <a16:creationId xmlns:a16="http://schemas.microsoft.com/office/drawing/2014/main" id="{3168653F-B728-76B5-3FF4-E99DA9906487}"/>
              </a:ext>
            </a:extLst>
          </p:cNvPr>
          <p:cNvSpPr/>
          <p:nvPr/>
        </p:nvSpPr>
        <p:spPr>
          <a:xfrm>
            <a:off x="3051058" y="3711923"/>
            <a:ext cx="1766681" cy="484632"/>
          </a:xfrm>
          <a:prstGeom prst="rightArrow">
            <a:avLst>
              <a:gd name="adj1" fmla="val 58844"/>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Pfeil: nach rechts 280">
            <a:extLst>
              <a:ext uri="{FF2B5EF4-FFF2-40B4-BE49-F238E27FC236}">
                <a16:creationId xmlns:a16="http://schemas.microsoft.com/office/drawing/2014/main" id="{9F780FE3-1B47-5CAF-6773-B911824E42F9}"/>
              </a:ext>
            </a:extLst>
          </p:cNvPr>
          <p:cNvSpPr/>
          <p:nvPr/>
        </p:nvSpPr>
        <p:spPr>
          <a:xfrm>
            <a:off x="3051058" y="5471747"/>
            <a:ext cx="1766681" cy="484632"/>
          </a:xfrm>
          <a:prstGeom prst="rightArrow">
            <a:avLst>
              <a:gd name="adj1" fmla="val 58844"/>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Rechteck 8">
            <a:extLst>
              <a:ext uri="{FF2B5EF4-FFF2-40B4-BE49-F238E27FC236}">
                <a16:creationId xmlns:a16="http://schemas.microsoft.com/office/drawing/2014/main" id="{161F990C-8AE8-D819-3E28-56CAF4226553}"/>
              </a:ext>
            </a:extLst>
          </p:cNvPr>
          <p:cNvSpPr/>
          <p:nvPr/>
        </p:nvSpPr>
        <p:spPr>
          <a:xfrm>
            <a:off x="3617516" y="1934670"/>
            <a:ext cx="595312" cy="481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2" name="Grafik 388">
            <a:extLst>
              <a:ext uri="{FF2B5EF4-FFF2-40B4-BE49-F238E27FC236}">
                <a16:creationId xmlns:a16="http://schemas.microsoft.com/office/drawing/2014/main" id="{5B5351E6-DE3D-A95F-65B9-E392980CE29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0210" y="1810885"/>
            <a:ext cx="609600" cy="609600"/>
          </a:xfrm>
          <a:prstGeom prst="rect">
            <a:avLst/>
          </a:prstGeom>
        </p:spPr>
      </p:pic>
      <p:sp>
        <p:nvSpPr>
          <p:cNvPr id="123" name="Rechteck 282">
            <a:extLst>
              <a:ext uri="{FF2B5EF4-FFF2-40B4-BE49-F238E27FC236}">
                <a16:creationId xmlns:a16="http://schemas.microsoft.com/office/drawing/2014/main" id="{23758650-10B2-FC6F-1AAE-936D985BD680}"/>
              </a:ext>
            </a:extLst>
          </p:cNvPr>
          <p:cNvSpPr/>
          <p:nvPr/>
        </p:nvSpPr>
        <p:spPr>
          <a:xfrm>
            <a:off x="3617516" y="3710832"/>
            <a:ext cx="595312" cy="481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4" name="Grafik 283">
            <a:extLst>
              <a:ext uri="{FF2B5EF4-FFF2-40B4-BE49-F238E27FC236}">
                <a16:creationId xmlns:a16="http://schemas.microsoft.com/office/drawing/2014/main" id="{B5A85812-46C4-B232-D12F-C1583DB6507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0210" y="3587047"/>
            <a:ext cx="609600" cy="609600"/>
          </a:xfrm>
          <a:prstGeom prst="rect">
            <a:avLst/>
          </a:prstGeom>
        </p:spPr>
      </p:pic>
      <p:sp>
        <p:nvSpPr>
          <p:cNvPr id="127" name="Rechteck 288">
            <a:extLst>
              <a:ext uri="{FF2B5EF4-FFF2-40B4-BE49-F238E27FC236}">
                <a16:creationId xmlns:a16="http://schemas.microsoft.com/office/drawing/2014/main" id="{4FF621F1-22C9-A35F-7E33-22689A23FF9F}"/>
              </a:ext>
            </a:extLst>
          </p:cNvPr>
          <p:cNvSpPr/>
          <p:nvPr/>
        </p:nvSpPr>
        <p:spPr>
          <a:xfrm>
            <a:off x="3617516" y="5473186"/>
            <a:ext cx="595312" cy="481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8" name="Grafik 289">
            <a:extLst>
              <a:ext uri="{FF2B5EF4-FFF2-40B4-BE49-F238E27FC236}">
                <a16:creationId xmlns:a16="http://schemas.microsoft.com/office/drawing/2014/main" id="{95CB6793-BCC8-CC06-6F65-6D7BF6D2159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10210" y="5349401"/>
            <a:ext cx="609600" cy="609600"/>
          </a:xfrm>
          <a:prstGeom prst="rect">
            <a:avLst/>
          </a:prstGeom>
        </p:spPr>
      </p:pic>
      <p:sp>
        <p:nvSpPr>
          <p:cNvPr id="129" name="Textfeld 294">
            <a:extLst>
              <a:ext uri="{FF2B5EF4-FFF2-40B4-BE49-F238E27FC236}">
                <a16:creationId xmlns:a16="http://schemas.microsoft.com/office/drawing/2014/main" id="{69A2E6C3-B4D5-C3E8-AC8D-04895D5DBB86}"/>
              </a:ext>
            </a:extLst>
          </p:cNvPr>
          <p:cNvSpPr txBox="1"/>
          <p:nvPr/>
        </p:nvSpPr>
        <p:spPr>
          <a:xfrm>
            <a:off x="5900038" y="1749139"/>
            <a:ext cx="811425" cy="875372"/>
          </a:xfrm>
          <a:prstGeom prst="rect">
            <a:avLst/>
          </a:prstGeom>
          <a:effectLst/>
        </p:spPr>
        <p:txBody>
          <a:bodyPr vert="horz" wrap="square" lIns="0" tIns="0" rIns="0" bIns="0" rtlCol="0" anchor="ctr">
            <a:noAutofit/>
          </a:bodyPr>
          <a:lstStyle/>
          <a:p>
            <a:pPr>
              <a:lnSpc>
                <a:spcPct val="100000"/>
              </a:lnSpc>
              <a:spcBef>
                <a:spcPts val="0"/>
              </a:spcBef>
              <a:spcAft>
                <a:spcPts val="600"/>
              </a:spcAft>
            </a:pPr>
            <a:r>
              <a:rPr lang="en-US" sz="1400" b="1" dirty="0"/>
              <a:t>Nokia</a:t>
            </a:r>
          </a:p>
          <a:p>
            <a:pPr>
              <a:lnSpc>
                <a:spcPct val="100000"/>
              </a:lnSpc>
              <a:spcBef>
                <a:spcPts val="0"/>
              </a:spcBef>
              <a:spcAft>
                <a:spcPts val="600"/>
              </a:spcAft>
            </a:pPr>
            <a:r>
              <a:rPr lang="en-US" sz="1400" dirty="0"/>
              <a:t>CBC</a:t>
            </a:r>
          </a:p>
        </p:txBody>
      </p:sp>
      <p:sp>
        <p:nvSpPr>
          <p:cNvPr id="130" name="Textfeld 295">
            <a:extLst>
              <a:ext uri="{FF2B5EF4-FFF2-40B4-BE49-F238E27FC236}">
                <a16:creationId xmlns:a16="http://schemas.microsoft.com/office/drawing/2014/main" id="{F9D4F673-DD82-B549-E720-F05F5E49DADC}"/>
              </a:ext>
            </a:extLst>
          </p:cNvPr>
          <p:cNvSpPr txBox="1"/>
          <p:nvPr/>
        </p:nvSpPr>
        <p:spPr>
          <a:xfrm>
            <a:off x="5900038" y="3515096"/>
            <a:ext cx="811425" cy="875372"/>
          </a:xfrm>
          <a:prstGeom prst="rect">
            <a:avLst/>
          </a:prstGeom>
          <a:effectLst/>
        </p:spPr>
        <p:txBody>
          <a:bodyPr vert="horz" wrap="square" lIns="0" tIns="0" rIns="0" bIns="0" rtlCol="0" anchor="ctr">
            <a:noAutofit/>
          </a:bodyPr>
          <a:lstStyle/>
          <a:p>
            <a:pPr>
              <a:lnSpc>
                <a:spcPct val="100000"/>
              </a:lnSpc>
              <a:spcBef>
                <a:spcPts val="0"/>
              </a:spcBef>
              <a:spcAft>
                <a:spcPts val="600"/>
              </a:spcAft>
            </a:pPr>
            <a:endParaRPr lang="en-US" sz="1400" dirty="0"/>
          </a:p>
          <a:p>
            <a:pPr>
              <a:lnSpc>
                <a:spcPct val="100000"/>
              </a:lnSpc>
              <a:spcBef>
                <a:spcPts val="0"/>
              </a:spcBef>
              <a:spcAft>
                <a:spcPts val="600"/>
              </a:spcAft>
            </a:pPr>
            <a:r>
              <a:rPr lang="en-US" sz="1400" dirty="0"/>
              <a:t>CBC</a:t>
            </a:r>
          </a:p>
        </p:txBody>
      </p:sp>
      <p:sp>
        <p:nvSpPr>
          <p:cNvPr id="132" name="Textfeld 297">
            <a:extLst>
              <a:ext uri="{FF2B5EF4-FFF2-40B4-BE49-F238E27FC236}">
                <a16:creationId xmlns:a16="http://schemas.microsoft.com/office/drawing/2014/main" id="{0867DF7D-B477-3C71-00C5-9071D160822E}"/>
              </a:ext>
            </a:extLst>
          </p:cNvPr>
          <p:cNvSpPr txBox="1"/>
          <p:nvPr/>
        </p:nvSpPr>
        <p:spPr>
          <a:xfrm>
            <a:off x="5949340" y="5275129"/>
            <a:ext cx="901210" cy="875372"/>
          </a:xfrm>
          <a:prstGeom prst="rect">
            <a:avLst/>
          </a:prstGeom>
          <a:effectLst/>
        </p:spPr>
        <p:txBody>
          <a:bodyPr vert="horz" wrap="square" lIns="0" tIns="0" rIns="0" bIns="0" rtlCol="0" anchor="ctr">
            <a:noAutofit/>
          </a:bodyPr>
          <a:lstStyle/>
          <a:p>
            <a:pPr>
              <a:lnSpc>
                <a:spcPct val="100000"/>
              </a:lnSpc>
              <a:spcBef>
                <a:spcPts val="0"/>
              </a:spcBef>
              <a:spcAft>
                <a:spcPts val="600"/>
              </a:spcAft>
            </a:pPr>
            <a:r>
              <a:rPr lang="en-US" sz="1400" b="1" dirty="0"/>
              <a:t>Everbridge</a:t>
            </a:r>
          </a:p>
          <a:p>
            <a:pPr>
              <a:lnSpc>
                <a:spcPct val="100000"/>
              </a:lnSpc>
              <a:spcBef>
                <a:spcPts val="0"/>
              </a:spcBef>
              <a:spcAft>
                <a:spcPts val="600"/>
              </a:spcAft>
            </a:pPr>
            <a:r>
              <a:rPr lang="en-US" sz="1400" dirty="0"/>
              <a:t>CBC</a:t>
            </a:r>
          </a:p>
        </p:txBody>
      </p:sp>
      <p:grpSp>
        <p:nvGrpSpPr>
          <p:cNvPr id="133" name="Gruppieren 11">
            <a:extLst>
              <a:ext uri="{FF2B5EF4-FFF2-40B4-BE49-F238E27FC236}">
                <a16:creationId xmlns:a16="http://schemas.microsoft.com/office/drawing/2014/main" id="{0F64B257-C584-6641-B6B2-EF955C72DC01}"/>
              </a:ext>
            </a:extLst>
          </p:cNvPr>
          <p:cNvGrpSpPr/>
          <p:nvPr/>
        </p:nvGrpSpPr>
        <p:grpSpPr>
          <a:xfrm>
            <a:off x="6748532" y="1749139"/>
            <a:ext cx="2523433" cy="875372"/>
            <a:chOff x="6816457" y="1936439"/>
            <a:chExt cx="2523433" cy="875372"/>
          </a:xfrm>
        </p:grpSpPr>
        <p:grpSp>
          <p:nvGrpSpPr>
            <p:cNvPr id="134" name="Gruppieren 10">
              <a:extLst>
                <a:ext uri="{FF2B5EF4-FFF2-40B4-BE49-F238E27FC236}">
                  <a16:creationId xmlns:a16="http://schemas.microsoft.com/office/drawing/2014/main" id="{1015932A-36A1-2113-D663-4BD7BB448980}"/>
                </a:ext>
              </a:extLst>
            </p:cNvPr>
            <p:cNvGrpSpPr/>
            <p:nvPr/>
          </p:nvGrpSpPr>
          <p:grpSpPr>
            <a:xfrm>
              <a:off x="6816457" y="2069325"/>
              <a:ext cx="1694601" cy="609600"/>
              <a:chOff x="8311412" y="2069325"/>
              <a:chExt cx="1694601" cy="609600"/>
            </a:xfrm>
          </p:grpSpPr>
          <p:pic>
            <p:nvPicPr>
              <p:cNvPr id="136" name="Grafik 302">
                <a:extLst>
                  <a:ext uri="{FF2B5EF4-FFF2-40B4-BE49-F238E27FC236}">
                    <a16:creationId xmlns:a16="http://schemas.microsoft.com/office/drawing/2014/main" id="{7E232B1E-8A0B-6965-6C53-99968B60CE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11412" y="2069325"/>
                <a:ext cx="609600" cy="609600"/>
              </a:xfrm>
              <a:prstGeom prst="rect">
                <a:avLst/>
              </a:prstGeom>
            </p:spPr>
          </p:pic>
          <p:pic>
            <p:nvPicPr>
              <p:cNvPr id="137" name="Grafik 303">
                <a:extLst>
                  <a:ext uri="{FF2B5EF4-FFF2-40B4-BE49-F238E27FC236}">
                    <a16:creationId xmlns:a16="http://schemas.microsoft.com/office/drawing/2014/main" id="{46B4C761-56BB-57D6-B055-76B82DDBDF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73079" y="2069325"/>
                <a:ext cx="609600" cy="609600"/>
              </a:xfrm>
              <a:prstGeom prst="rect">
                <a:avLst/>
              </a:prstGeom>
            </p:spPr>
          </p:pic>
          <p:pic>
            <p:nvPicPr>
              <p:cNvPr id="138" name="Grafik 304">
                <a:extLst>
                  <a:ext uri="{FF2B5EF4-FFF2-40B4-BE49-F238E27FC236}">
                    <a16:creationId xmlns:a16="http://schemas.microsoft.com/office/drawing/2014/main" id="{8A335140-3180-F1B4-769A-035CC526BC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34746" y="2069325"/>
                <a:ext cx="609600" cy="609600"/>
              </a:xfrm>
              <a:prstGeom prst="rect">
                <a:avLst/>
              </a:prstGeom>
            </p:spPr>
          </p:pic>
          <p:pic>
            <p:nvPicPr>
              <p:cNvPr id="139" name="Grafik 305">
                <a:extLst>
                  <a:ext uri="{FF2B5EF4-FFF2-40B4-BE49-F238E27FC236}">
                    <a16:creationId xmlns:a16="http://schemas.microsoft.com/office/drawing/2014/main" id="{4CA6B30F-D00F-42EE-7BA0-77A089DEF15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6413" y="2069325"/>
                <a:ext cx="609600" cy="609600"/>
              </a:xfrm>
              <a:prstGeom prst="rect">
                <a:avLst/>
              </a:prstGeom>
            </p:spPr>
          </p:pic>
        </p:grpSp>
        <p:sp>
          <p:nvSpPr>
            <p:cNvPr id="135" name="Textfeld 298">
              <a:extLst>
                <a:ext uri="{FF2B5EF4-FFF2-40B4-BE49-F238E27FC236}">
                  <a16:creationId xmlns:a16="http://schemas.microsoft.com/office/drawing/2014/main" id="{4E14907C-8927-2F9A-7571-73C62A92B9ED}"/>
                </a:ext>
              </a:extLst>
            </p:cNvPr>
            <p:cNvSpPr txBox="1"/>
            <p:nvPr/>
          </p:nvSpPr>
          <p:spPr>
            <a:xfrm>
              <a:off x="8528465" y="1936439"/>
              <a:ext cx="811425" cy="875372"/>
            </a:xfrm>
            <a:prstGeom prst="rect">
              <a:avLst/>
            </a:prstGeom>
            <a:effectLst/>
          </p:spPr>
          <p:txBody>
            <a:bodyPr vert="horz" wrap="none" lIns="0" tIns="0" rIns="0" bIns="0" rtlCol="0" anchor="ctr">
              <a:noAutofit/>
            </a:bodyPr>
            <a:lstStyle/>
            <a:p>
              <a:pPr>
                <a:lnSpc>
                  <a:spcPct val="100000"/>
                </a:lnSpc>
                <a:spcBef>
                  <a:spcPts val="0"/>
                </a:spcBef>
                <a:spcAft>
                  <a:spcPts val="600"/>
                </a:spcAft>
              </a:pPr>
              <a:r>
                <a:rPr lang="en-US" sz="1400" b="1" dirty="0"/>
                <a:t>RAN Controllers</a:t>
              </a:r>
            </a:p>
            <a:p>
              <a:pPr>
                <a:lnSpc>
                  <a:spcPct val="100000"/>
                </a:lnSpc>
                <a:spcBef>
                  <a:spcPts val="0"/>
                </a:spcBef>
                <a:spcAft>
                  <a:spcPts val="600"/>
                </a:spcAft>
              </a:pPr>
              <a:r>
                <a:rPr lang="en-US" sz="1400" dirty="0"/>
                <a:t>4G/5G</a:t>
              </a:r>
            </a:p>
          </p:txBody>
        </p:sp>
      </p:grpSp>
      <p:grpSp>
        <p:nvGrpSpPr>
          <p:cNvPr id="140" name="Gruppieren 306">
            <a:extLst>
              <a:ext uri="{FF2B5EF4-FFF2-40B4-BE49-F238E27FC236}">
                <a16:creationId xmlns:a16="http://schemas.microsoft.com/office/drawing/2014/main" id="{EF7BBA4B-180B-F72E-5CBD-8A1409F06137}"/>
              </a:ext>
            </a:extLst>
          </p:cNvPr>
          <p:cNvGrpSpPr/>
          <p:nvPr/>
        </p:nvGrpSpPr>
        <p:grpSpPr>
          <a:xfrm>
            <a:off x="6748532" y="3512296"/>
            <a:ext cx="2523433" cy="875372"/>
            <a:chOff x="6816457" y="1936439"/>
            <a:chExt cx="2523433" cy="875372"/>
          </a:xfrm>
        </p:grpSpPr>
        <p:grpSp>
          <p:nvGrpSpPr>
            <p:cNvPr id="141" name="Gruppieren 307">
              <a:extLst>
                <a:ext uri="{FF2B5EF4-FFF2-40B4-BE49-F238E27FC236}">
                  <a16:creationId xmlns:a16="http://schemas.microsoft.com/office/drawing/2014/main" id="{E7E4BE91-DBCC-A50C-44FD-4F96288BD0BA}"/>
                </a:ext>
              </a:extLst>
            </p:cNvPr>
            <p:cNvGrpSpPr/>
            <p:nvPr/>
          </p:nvGrpSpPr>
          <p:grpSpPr>
            <a:xfrm>
              <a:off x="6816457" y="2069325"/>
              <a:ext cx="1694601" cy="609600"/>
              <a:chOff x="8311412" y="2069325"/>
              <a:chExt cx="1694601" cy="609600"/>
            </a:xfrm>
          </p:grpSpPr>
          <p:pic>
            <p:nvPicPr>
              <p:cNvPr id="143" name="Grafik 309">
                <a:extLst>
                  <a:ext uri="{FF2B5EF4-FFF2-40B4-BE49-F238E27FC236}">
                    <a16:creationId xmlns:a16="http://schemas.microsoft.com/office/drawing/2014/main" id="{85A9CAC1-0015-BA25-7719-D388B441A64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11412" y="2069325"/>
                <a:ext cx="609600" cy="609600"/>
              </a:xfrm>
              <a:prstGeom prst="rect">
                <a:avLst/>
              </a:prstGeom>
            </p:spPr>
          </p:pic>
          <p:pic>
            <p:nvPicPr>
              <p:cNvPr id="144" name="Grafik 310">
                <a:extLst>
                  <a:ext uri="{FF2B5EF4-FFF2-40B4-BE49-F238E27FC236}">
                    <a16:creationId xmlns:a16="http://schemas.microsoft.com/office/drawing/2014/main" id="{75C544FB-545A-5E62-A872-E045811FA01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73079" y="2069325"/>
                <a:ext cx="609600" cy="609600"/>
              </a:xfrm>
              <a:prstGeom prst="rect">
                <a:avLst/>
              </a:prstGeom>
            </p:spPr>
          </p:pic>
          <p:pic>
            <p:nvPicPr>
              <p:cNvPr id="145" name="Grafik 311">
                <a:extLst>
                  <a:ext uri="{FF2B5EF4-FFF2-40B4-BE49-F238E27FC236}">
                    <a16:creationId xmlns:a16="http://schemas.microsoft.com/office/drawing/2014/main" id="{068DDFC9-1784-69A9-B728-4EC38769683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34746" y="2069325"/>
                <a:ext cx="609600" cy="609600"/>
              </a:xfrm>
              <a:prstGeom prst="rect">
                <a:avLst/>
              </a:prstGeom>
            </p:spPr>
          </p:pic>
          <p:pic>
            <p:nvPicPr>
              <p:cNvPr id="146" name="Grafik 312">
                <a:extLst>
                  <a:ext uri="{FF2B5EF4-FFF2-40B4-BE49-F238E27FC236}">
                    <a16:creationId xmlns:a16="http://schemas.microsoft.com/office/drawing/2014/main" id="{938379E6-F250-913C-7D81-B7A37526CA3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6413" y="2069325"/>
                <a:ext cx="609600" cy="609600"/>
              </a:xfrm>
              <a:prstGeom prst="rect">
                <a:avLst/>
              </a:prstGeom>
            </p:spPr>
          </p:pic>
        </p:grpSp>
        <p:sp>
          <p:nvSpPr>
            <p:cNvPr id="142" name="Textfeld 308">
              <a:extLst>
                <a:ext uri="{FF2B5EF4-FFF2-40B4-BE49-F238E27FC236}">
                  <a16:creationId xmlns:a16="http://schemas.microsoft.com/office/drawing/2014/main" id="{6F842FDD-F967-1739-31A8-931CE821ACA0}"/>
                </a:ext>
              </a:extLst>
            </p:cNvPr>
            <p:cNvSpPr txBox="1"/>
            <p:nvPr/>
          </p:nvSpPr>
          <p:spPr>
            <a:xfrm>
              <a:off x="8528465" y="1936439"/>
              <a:ext cx="811425" cy="875372"/>
            </a:xfrm>
            <a:prstGeom prst="rect">
              <a:avLst/>
            </a:prstGeom>
            <a:effectLst/>
          </p:spPr>
          <p:txBody>
            <a:bodyPr vert="horz" wrap="none" lIns="0" tIns="0" rIns="0" bIns="0" rtlCol="0" anchor="ctr">
              <a:noAutofit/>
            </a:bodyPr>
            <a:lstStyle/>
            <a:p>
              <a:pPr>
                <a:lnSpc>
                  <a:spcPct val="100000"/>
                </a:lnSpc>
                <a:spcBef>
                  <a:spcPts val="0"/>
                </a:spcBef>
                <a:spcAft>
                  <a:spcPts val="600"/>
                </a:spcAft>
              </a:pPr>
              <a:r>
                <a:rPr lang="en-US" sz="1400" b="1" dirty="0"/>
                <a:t>RAN Controllers</a:t>
              </a:r>
            </a:p>
            <a:p>
              <a:pPr>
                <a:lnSpc>
                  <a:spcPct val="100000"/>
                </a:lnSpc>
                <a:spcBef>
                  <a:spcPts val="0"/>
                </a:spcBef>
                <a:spcAft>
                  <a:spcPts val="600"/>
                </a:spcAft>
              </a:pPr>
              <a:r>
                <a:rPr lang="en-US" sz="1400" dirty="0"/>
                <a:t>4G/5G</a:t>
              </a:r>
            </a:p>
          </p:txBody>
        </p:sp>
      </p:grpSp>
      <p:grpSp>
        <p:nvGrpSpPr>
          <p:cNvPr id="154" name="Gruppieren 320">
            <a:extLst>
              <a:ext uri="{FF2B5EF4-FFF2-40B4-BE49-F238E27FC236}">
                <a16:creationId xmlns:a16="http://schemas.microsoft.com/office/drawing/2014/main" id="{082E0D84-889D-EB12-2622-A14625138AE8}"/>
              </a:ext>
            </a:extLst>
          </p:cNvPr>
          <p:cNvGrpSpPr/>
          <p:nvPr/>
        </p:nvGrpSpPr>
        <p:grpSpPr>
          <a:xfrm>
            <a:off x="6748532" y="5265245"/>
            <a:ext cx="2523433" cy="875372"/>
            <a:chOff x="6816457" y="1936439"/>
            <a:chExt cx="2523433" cy="875372"/>
          </a:xfrm>
        </p:grpSpPr>
        <p:grpSp>
          <p:nvGrpSpPr>
            <p:cNvPr id="155" name="Gruppieren 321">
              <a:extLst>
                <a:ext uri="{FF2B5EF4-FFF2-40B4-BE49-F238E27FC236}">
                  <a16:creationId xmlns:a16="http://schemas.microsoft.com/office/drawing/2014/main" id="{4DDA0C21-B6AA-BAF8-A6EC-DA7ABEB4193E}"/>
                </a:ext>
              </a:extLst>
            </p:cNvPr>
            <p:cNvGrpSpPr/>
            <p:nvPr/>
          </p:nvGrpSpPr>
          <p:grpSpPr>
            <a:xfrm>
              <a:off x="6816457" y="2069325"/>
              <a:ext cx="1694601" cy="609600"/>
              <a:chOff x="8311412" y="2069325"/>
              <a:chExt cx="1694601" cy="609600"/>
            </a:xfrm>
          </p:grpSpPr>
          <p:pic>
            <p:nvPicPr>
              <p:cNvPr id="157" name="Grafik 323">
                <a:extLst>
                  <a:ext uri="{FF2B5EF4-FFF2-40B4-BE49-F238E27FC236}">
                    <a16:creationId xmlns:a16="http://schemas.microsoft.com/office/drawing/2014/main" id="{572AB4E3-1F99-5673-7A84-4C437340014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11412" y="2069325"/>
                <a:ext cx="609600" cy="609600"/>
              </a:xfrm>
              <a:prstGeom prst="rect">
                <a:avLst/>
              </a:prstGeom>
            </p:spPr>
          </p:pic>
          <p:pic>
            <p:nvPicPr>
              <p:cNvPr id="158" name="Grafik 324">
                <a:extLst>
                  <a:ext uri="{FF2B5EF4-FFF2-40B4-BE49-F238E27FC236}">
                    <a16:creationId xmlns:a16="http://schemas.microsoft.com/office/drawing/2014/main" id="{6044D91D-652E-BF6D-292D-90581F23065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73079" y="2069325"/>
                <a:ext cx="609600" cy="609600"/>
              </a:xfrm>
              <a:prstGeom prst="rect">
                <a:avLst/>
              </a:prstGeom>
            </p:spPr>
          </p:pic>
          <p:pic>
            <p:nvPicPr>
              <p:cNvPr id="159" name="Grafik 325">
                <a:extLst>
                  <a:ext uri="{FF2B5EF4-FFF2-40B4-BE49-F238E27FC236}">
                    <a16:creationId xmlns:a16="http://schemas.microsoft.com/office/drawing/2014/main" id="{FAF1C46B-76BE-081C-7AAF-3301355601A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34746" y="2069325"/>
                <a:ext cx="609600" cy="609600"/>
              </a:xfrm>
              <a:prstGeom prst="rect">
                <a:avLst/>
              </a:prstGeom>
            </p:spPr>
          </p:pic>
          <p:pic>
            <p:nvPicPr>
              <p:cNvPr id="160" name="Grafik 326">
                <a:extLst>
                  <a:ext uri="{FF2B5EF4-FFF2-40B4-BE49-F238E27FC236}">
                    <a16:creationId xmlns:a16="http://schemas.microsoft.com/office/drawing/2014/main" id="{FD8E0724-0EA3-1C2C-5C46-2F7E9EFE4F7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6413" y="2069325"/>
                <a:ext cx="609600" cy="609600"/>
              </a:xfrm>
              <a:prstGeom prst="rect">
                <a:avLst/>
              </a:prstGeom>
            </p:spPr>
          </p:pic>
        </p:grpSp>
        <p:sp>
          <p:nvSpPr>
            <p:cNvPr id="156" name="Textfeld 322">
              <a:extLst>
                <a:ext uri="{FF2B5EF4-FFF2-40B4-BE49-F238E27FC236}">
                  <a16:creationId xmlns:a16="http://schemas.microsoft.com/office/drawing/2014/main" id="{EF23ABEC-7FAB-0514-EF65-B678B600D03F}"/>
                </a:ext>
              </a:extLst>
            </p:cNvPr>
            <p:cNvSpPr txBox="1"/>
            <p:nvPr/>
          </p:nvSpPr>
          <p:spPr>
            <a:xfrm>
              <a:off x="8528465" y="1936439"/>
              <a:ext cx="811425" cy="875372"/>
            </a:xfrm>
            <a:prstGeom prst="rect">
              <a:avLst/>
            </a:prstGeom>
            <a:effectLst/>
          </p:spPr>
          <p:txBody>
            <a:bodyPr vert="horz" wrap="none" lIns="0" tIns="0" rIns="0" bIns="0" rtlCol="0" anchor="ctr">
              <a:noAutofit/>
            </a:bodyPr>
            <a:lstStyle/>
            <a:p>
              <a:pPr>
                <a:lnSpc>
                  <a:spcPct val="100000"/>
                </a:lnSpc>
                <a:spcBef>
                  <a:spcPts val="0"/>
                </a:spcBef>
                <a:spcAft>
                  <a:spcPts val="600"/>
                </a:spcAft>
              </a:pPr>
              <a:r>
                <a:rPr lang="en-US" sz="1400" b="1" dirty="0"/>
                <a:t>RAN Controllers</a:t>
              </a:r>
            </a:p>
            <a:p>
              <a:pPr>
                <a:lnSpc>
                  <a:spcPct val="100000"/>
                </a:lnSpc>
                <a:spcBef>
                  <a:spcPts val="0"/>
                </a:spcBef>
                <a:spcAft>
                  <a:spcPts val="600"/>
                </a:spcAft>
              </a:pPr>
              <a:r>
                <a:rPr lang="en-US" sz="1400" dirty="0"/>
                <a:t>4G/5G</a:t>
              </a:r>
            </a:p>
          </p:txBody>
        </p:sp>
      </p:grpSp>
      <p:pic>
        <p:nvPicPr>
          <p:cNvPr id="161" name="Grafik 327">
            <a:extLst>
              <a:ext uri="{FF2B5EF4-FFF2-40B4-BE49-F238E27FC236}">
                <a16:creationId xmlns:a16="http://schemas.microsoft.com/office/drawing/2014/main" id="{DF06D15A-70CD-DC7F-9E23-38A0C713777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70098" y="1877773"/>
            <a:ext cx="609600" cy="609600"/>
          </a:xfrm>
          <a:prstGeom prst="rect">
            <a:avLst/>
          </a:prstGeom>
        </p:spPr>
      </p:pic>
      <p:pic>
        <p:nvPicPr>
          <p:cNvPr id="162" name="Grafik 328">
            <a:extLst>
              <a:ext uri="{FF2B5EF4-FFF2-40B4-BE49-F238E27FC236}">
                <a16:creationId xmlns:a16="http://schemas.microsoft.com/office/drawing/2014/main" id="{F97A9D1A-6EFC-BB47-4438-74025079D03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70098" y="3645182"/>
            <a:ext cx="609600" cy="609600"/>
          </a:xfrm>
          <a:prstGeom prst="rect">
            <a:avLst/>
          </a:prstGeom>
        </p:spPr>
      </p:pic>
      <p:pic>
        <p:nvPicPr>
          <p:cNvPr id="164" name="Grafik 330">
            <a:extLst>
              <a:ext uri="{FF2B5EF4-FFF2-40B4-BE49-F238E27FC236}">
                <a16:creationId xmlns:a16="http://schemas.microsoft.com/office/drawing/2014/main" id="{8E674F53-DEA6-E7A5-FAC8-8A5C9919707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870098" y="5398131"/>
            <a:ext cx="609600" cy="609600"/>
          </a:xfrm>
          <a:prstGeom prst="rect">
            <a:avLst/>
          </a:prstGeom>
        </p:spPr>
      </p:pic>
      <p:pic>
        <p:nvPicPr>
          <p:cNvPr id="165" name="Grafik 331">
            <a:extLst>
              <a:ext uri="{FF2B5EF4-FFF2-40B4-BE49-F238E27FC236}">
                <a16:creationId xmlns:a16="http://schemas.microsoft.com/office/drawing/2014/main" id="{E5EC0B57-9029-9AE2-E645-ECB6575F05E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111257" y="5462063"/>
            <a:ext cx="504000" cy="504000"/>
          </a:xfrm>
          <a:prstGeom prst="rect">
            <a:avLst/>
          </a:prstGeom>
        </p:spPr>
      </p:pic>
      <p:pic>
        <p:nvPicPr>
          <p:cNvPr id="166" name="Grafik 332">
            <a:extLst>
              <a:ext uri="{FF2B5EF4-FFF2-40B4-BE49-F238E27FC236}">
                <a16:creationId xmlns:a16="http://schemas.microsoft.com/office/drawing/2014/main" id="{979F8496-6CF4-8715-1284-F4C231F08C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64820" y="1934825"/>
            <a:ext cx="196875" cy="504000"/>
          </a:xfrm>
          <a:prstGeom prst="rect">
            <a:avLst/>
          </a:prstGeom>
        </p:spPr>
      </p:pic>
      <p:pic>
        <p:nvPicPr>
          <p:cNvPr id="167" name="Grafik 333">
            <a:extLst>
              <a:ext uri="{FF2B5EF4-FFF2-40B4-BE49-F238E27FC236}">
                <a16:creationId xmlns:a16="http://schemas.microsoft.com/office/drawing/2014/main" id="{53690EF7-86CB-FABC-7D1A-9EB996E37B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17570" y="4286317"/>
            <a:ext cx="291375" cy="504000"/>
          </a:xfrm>
          <a:prstGeom prst="rect">
            <a:avLst/>
          </a:prstGeom>
        </p:spPr>
      </p:pic>
      <p:pic>
        <p:nvPicPr>
          <p:cNvPr id="168" name="Grafik 334">
            <a:extLst>
              <a:ext uri="{FF2B5EF4-FFF2-40B4-BE49-F238E27FC236}">
                <a16:creationId xmlns:a16="http://schemas.microsoft.com/office/drawing/2014/main" id="{0AD40A27-4FFE-5D1B-B0E0-850F8B24B71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241195" y="3106314"/>
            <a:ext cx="244125" cy="504000"/>
          </a:xfrm>
          <a:prstGeom prst="rect">
            <a:avLst/>
          </a:prstGeom>
        </p:spPr>
      </p:pic>
      <p:sp>
        <p:nvSpPr>
          <p:cNvPr id="169" name="Rechteck 335">
            <a:extLst>
              <a:ext uri="{FF2B5EF4-FFF2-40B4-BE49-F238E27FC236}">
                <a16:creationId xmlns:a16="http://schemas.microsoft.com/office/drawing/2014/main" id="{79C666E7-181A-0F12-FFE3-794A91E40BAE}"/>
              </a:ext>
            </a:extLst>
          </p:cNvPr>
          <p:cNvSpPr>
            <a:spLocks/>
          </p:cNvSpPr>
          <p:nvPr/>
        </p:nvSpPr>
        <p:spPr>
          <a:xfrm>
            <a:off x="950768" y="2004202"/>
            <a:ext cx="1766681" cy="441498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0" name="Gruppieren 336">
            <a:extLst>
              <a:ext uri="{FF2B5EF4-FFF2-40B4-BE49-F238E27FC236}">
                <a16:creationId xmlns:a16="http://schemas.microsoft.com/office/drawing/2014/main" id="{866A33E3-7BB1-9CEB-AA6A-ECE92217C1D7}"/>
              </a:ext>
            </a:extLst>
          </p:cNvPr>
          <p:cNvGrpSpPr/>
          <p:nvPr/>
        </p:nvGrpSpPr>
        <p:grpSpPr>
          <a:xfrm>
            <a:off x="1130756" y="2566299"/>
            <a:ext cx="1406704" cy="3290793"/>
            <a:chOff x="1130756" y="2092929"/>
            <a:chExt cx="1406704" cy="3290793"/>
          </a:xfrm>
        </p:grpSpPr>
        <p:grpSp>
          <p:nvGrpSpPr>
            <p:cNvPr id="171" name="Gruppieren 337">
              <a:extLst>
                <a:ext uri="{FF2B5EF4-FFF2-40B4-BE49-F238E27FC236}">
                  <a16:creationId xmlns:a16="http://schemas.microsoft.com/office/drawing/2014/main" id="{01B2A034-B739-8F73-E9D6-CD1C64B8A788}"/>
                </a:ext>
              </a:extLst>
            </p:cNvPr>
            <p:cNvGrpSpPr/>
            <p:nvPr/>
          </p:nvGrpSpPr>
          <p:grpSpPr>
            <a:xfrm>
              <a:off x="1130756" y="2092929"/>
              <a:ext cx="1406704" cy="1406704"/>
              <a:chOff x="5800725" y="3133725"/>
              <a:chExt cx="590550" cy="590550"/>
            </a:xfrm>
          </p:grpSpPr>
          <p:sp>
            <p:nvSpPr>
              <p:cNvPr id="206" name="Freihandform: Form 372">
                <a:extLst>
                  <a:ext uri="{FF2B5EF4-FFF2-40B4-BE49-F238E27FC236}">
                    <a16:creationId xmlns:a16="http://schemas.microsoft.com/office/drawing/2014/main" id="{34F48EB4-087C-BF53-C976-7AE8F94286F7}"/>
                  </a:ext>
                </a:extLst>
              </p:cNvPr>
              <p:cNvSpPr/>
              <p:nvPr/>
            </p:nvSpPr>
            <p:spPr>
              <a:xfrm>
                <a:off x="5800725" y="3133725"/>
                <a:ext cx="590550" cy="409575"/>
              </a:xfrm>
              <a:custGeom>
                <a:avLst/>
                <a:gdLst>
                  <a:gd name="connsiteX0" fmla="*/ 19050 w 590550"/>
                  <a:gd name="connsiteY0" fmla="*/ 0 h 409575"/>
                  <a:gd name="connsiteX1" fmla="*/ 571500 w 590550"/>
                  <a:gd name="connsiteY1" fmla="*/ 0 h 409575"/>
                  <a:gd name="connsiteX2" fmla="*/ 590550 w 590550"/>
                  <a:gd name="connsiteY2" fmla="*/ 19050 h 409575"/>
                  <a:gd name="connsiteX3" fmla="*/ 590550 w 590550"/>
                  <a:gd name="connsiteY3" fmla="*/ 389192 h 409575"/>
                  <a:gd name="connsiteX4" fmla="*/ 570167 w 590550"/>
                  <a:gd name="connsiteY4" fmla="*/ 409575 h 409575"/>
                  <a:gd name="connsiteX5" fmla="*/ 20384 w 590550"/>
                  <a:gd name="connsiteY5" fmla="*/ 409575 h 409575"/>
                  <a:gd name="connsiteX6" fmla="*/ 0 w 590550"/>
                  <a:gd name="connsiteY6" fmla="*/ 389192 h 409575"/>
                  <a:gd name="connsiteX7" fmla="*/ 0 w 590550"/>
                  <a:gd name="connsiteY7" fmla="*/ 19050 h 409575"/>
                  <a:gd name="connsiteX8" fmla="*/ 19050 w 590550"/>
                  <a:gd name="connsiteY8"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550" h="409575">
                    <a:moveTo>
                      <a:pt x="19050" y="0"/>
                    </a:moveTo>
                    <a:lnTo>
                      <a:pt x="571500" y="0"/>
                    </a:lnTo>
                    <a:cubicBezTo>
                      <a:pt x="582021" y="0"/>
                      <a:pt x="590550" y="8529"/>
                      <a:pt x="590550" y="19050"/>
                    </a:cubicBezTo>
                    <a:lnTo>
                      <a:pt x="590550" y="389192"/>
                    </a:lnTo>
                    <a:cubicBezTo>
                      <a:pt x="590550" y="400449"/>
                      <a:pt x="581424" y="409575"/>
                      <a:pt x="570167" y="409575"/>
                    </a:cubicBezTo>
                    <a:lnTo>
                      <a:pt x="20384" y="409575"/>
                    </a:lnTo>
                    <a:cubicBezTo>
                      <a:pt x="9126" y="409575"/>
                      <a:pt x="0" y="400449"/>
                      <a:pt x="0" y="389192"/>
                    </a:cubicBezTo>
                    <a:lnTo>
                      <a:pt x="0" y="19050"/>
                    </a:lnTo>
                    <a:cubicBezTo>
                      <a:pt x="0" y="8529"/>
                      <a:pt x="8529" y="0"/>
                      <a:pt x="19050" y="0"/>
                    </a:cubicBezTo>
                    <a:close/>
                  </a:path>
                </a:pathLst>
              </a:custGeom>
              <a:noFill/>
              <a:ln w="19050" cap="rnd">
                <a:solidFill>
                  <a:srgbClr val="8A9CA4"/>
                </a:solidFill>
                <a:prstDash val="solid"/>
                <a:round/>
              </a:ln>
            </p:spPr>
            <p:txBody>
              <a:bodyPr rtlCol="0" anchor="ctr"/>
              <a:lstStyle/>
              <a:p>
                <a:endParaRPr lang="en-US" dirty="0"/>
              </a:p>
            </p:txBody>
          </p:sp>
          <p:sp>
            <p:nvSpPr>
              <p:cNvPr id="207" name="Freihandform: Form 373">
                <a:extLst>
                  <a:ext uri="{FF2B5EF4-FFF2-40B4-BE49-F238E27FC236}">
                    <a16:creationId xmlns:a16="http://schemas.microsoft.com/office/drawing/2014/main" id="{DC25020A-EEC6-93BA-2B8D-C35037281B5B}"/>
                  </a:ext>
                </a:extLst>
              </p:cNvPr>
              <p:cNvSpPr/>
              <p:nvPr/>
            </p:nvSpPr>
            <p:spPr>
              <a:xfrm>
                <a:off x="5834062" y="3167062"/>
                <a:ext cx="523875" cy="342900"/>
              </a:xfrm>
              <a:custGeom>
                <a:avLst/>
                <a:gdLst>
                  <a:gd name="connsiteX0" fmla="*/ 0 w 523875"/>
                  <a:gd name="connsiteY0" fmla="*/ 0 h 342900"/>
                  <a:gd name="connsiteX1" fmla="*/ 523875 w 523875"/>
                  <a:gd name="connsiteY1" fmla="*/ 0 h 342900"/>
                  <a:gd name="connsiteX2" fmla="*/ 523875 w 523875"/>
                  <a:gd name="connsiteY2" fmla="*/ 342900 h 342900"/>
                  <a:gd name="connsiteX3" fmla="*/ 0 w 523875"/>
                  <a:gd name="connsiteY3" fmla="*/ 342900 h 342900"/>
                </a:gdLst>
                <a:ahLst/>
                <a:cxnLst>
                  <a:cxn ang="0">
                    <a:pos x="connsiteX0" y="connsiteY0"/>
                  </a:cxn>
                  <a:cxn ang="0">
                    <a:pos x="connsiteX1" y="connsiteY1"/>
                  </a:cxn>
                  <a:cxn ang="0">
                    <a:pos x="connsiteX2" y="connsiteY2"/>
                  </a:cxn>
                  <a:cxn ang="0">
                    <a:pos x="connsiteX3" y="connsiteY3"/>
                  </a:cxn>
                </a:cxnLst>
                <a:rect l="l" t="t" r="r" b="b"/>
                <a:pathLst>
                  <a:path w="523875" h="342900">
                    <a:moveTo>
                      <a:pt x="0" y="0"/>
                    </a:moveTo>
                    <a:lnTo>
                      <a:pt x="523875" y="0"/>
                    </a:lnTo>
                    <a:lnTo>
                      <a:pt x="523875" y="342900"/>
                    </a:lnTo>
                    <a:lnTo>
                      <a:pt x="0" y="342900"/>
                    </a:lnTo>
                    <a:close/>
                  </a:path>
                </a:pathLst>
              </a:custGeom>
              <a:noFill/>
              <a:ln w="19050" cap="rnd">
                <a:solidFill>
                  <a:srgbClr val="8A9CA4"/>
                </a:solidFill>
                <a:prstDash val="solid"/>
                <a:round/>
              </a:ln>
            </p:spPr>
            <p:txBody>
              <a:bodyPr rtlCol="0" anchor="ctr"/>
              <a:lstStyle/>
              <a:p>
                <a:endParaRPr lang="en-US" dirty="0"/>
              </a:p>
            </p:txBody>
          </p:sp>
          <p:sp>
            <p:nvSpPr>
              <p:cNvPr id="208" name="Freihandform: Form 374">
                <a:extLst>
                  <a:ext uri="{FF2B5EF4-FFF2-40B4-BE49-F238E27FC236}">
                    <a16:creationId xmlns:a16="http://schemas.microsoft.com/office/drawing/2014/main" id="{27AC4323-59C6-D33C-87B4-30E9B576BD23}"/>
                  </a:ext>
                </a:extLst>
              </p:cNvPr>
              <p:cNvSpPr/>
              <p:nvPr/>
            </p:nvSpPr>
            <p:spPr>
              <a:xfrm>
                <a:off x="5895975" y="3676650"/>
                <a:ext cx="400050" cy="47625"/>
              </a:xfrm>
              <a:custGeom>
                <a:avLst/>
                <a:gdLst>
                  <a:gd name="connsiteX0" fmla="*/ 28575 w 400050"/>
                  <a:gd name="connsiteY0" fmla="*/ 0 h 47625"/>
                  <a:gd name="connsiteX1" fmla="*/ 371475 w 400050"/>
                  <a:gd name="connsiteY1" fmla="*/ 0 h 47625"/>
                  <a:gd name="connsiteX2" fmla="*/ 400050 w 400050"/>
                  <a:gd name="connsiteY2" fmla="*/ 28575 h 47625"/>
                  <a:gd name="connsiteX3" fmla="*/ 400050 w 400050"/>
                  <a:gd name="connsiteY3" fmla="*/ 33623 h 47625"/>
                  <a:gd name="connsiteX4" fmla="*/ 385763 w 400050"/>
                  <a:gd name="connsiteY4" fmla="*/ 47625 h 47625"/>
                  <a:gd name="connsiteX5" fmla="*/ 14288 w 400050"/>
                  <a:gd name="connsiteY5" fmla="*/ 47625 h 47625"/>
                  <a:gd name="connsiteX6" fmla="*/ 0 w 400050"/>
                  <a:gd name="connsiteY6" fmla="*/ 33338 h 47625"/>
                  <a:gd name="connsiteX7" fmla="*/ 0 w 400050"/>
                  <a:gd name="connsiteY7" fmla="*/ 28575 h 47625"/>
                  <a:gd name="connsiteX8" fmla="*/ 28575 w 400050"/>
                  <a:gd name="connsiteY8"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050" h="47625">
                    <a:moveTo>
                      <a:pt x="28575" y="0"/>
                    </a:moveTo>
                    <a:lnTo>
                      <a:pt x="371475" y="0"/>
                    </a:lnTo>
                    <a:cubicBezTo>
                      <a:pt x="387257" y="0"/>
                      <a:pt x="400050" y="12793"/>
                      <a:pt x="400050" y="28575"/>
                    </a:cubicBezTo>
                    <a:lnTo>
                      <a:pt x="400050" y="33623"/>
                    </a:lnTo>
                    <a:cubicBezTo>
                      <a:pt x="399895" y="41402"/>
                      <a:pt x="393543" y="47627"/>
                      <a:pt x="385763" y="47625"/>
                    </a:cubicBezTo>
                    <a:lnTo>
                      <a:pt x="14288" y="47625"/>
                    </a:lnTo>
                    <a:cubicBezTo>
                      <a:pt x="6397" y="47625"/>
                      <a:pt x="0" y="41228"/>
                      <a:pt x="0" y="33338"/>
                    </a:cubicBezTo>
                    <a:lnTo>
                      <a:pt x="0" y="28575"/>
                    </a:lnTo>
                    <a:cubicBezTo>
                      <a:pt x="0" y="12793"/>
                      <a:pt x="12793" y="0"/>
                      <a:pt x="28575" y="0"/>
                    </a:cubicBezTo>
                    <a:close/>
                  </a:path>
                </a:pathLst>
              </a:custGeom>
              <a:noFill/>
              <a:ln w="19050" cap="rnd">
                <a:solidFill>
                  <a:srgbClr val="8A9CA4"/>
                </a:solidFill>
                <a:prstDash val="solid"/>
                <a:round/>
              </a:ln>
            </p:spPr>
            <p:txBody>
              <a:bodyPr rtlCol="0" anchor="ctr"/>
              <a:lstStyle/>
              <a:p>
                <a:endParaRPr lang="en-US" dirty="0"/>
              </a:p>
            </p:txBody>
          </p:sp>
          <p:sp>
            <p:nvSpPr>
              <p:cNvPr id="209" name="Freihandform: Form 375">
                <a:extLst>
                  <a:ext uri="{FF2B5EF4-FFF2-40B4-BE49-F238E27FC236}">
                    <a16:creationId xmlns:a16="http://schemas.microsoft.com/office/drawing/2014/main" id="{0F3A4F88-8AC1-4614-92EF-89FF580E4B61}"/>
                  </a:ext>
                </a:extLst>
              </p:cNvPr>
              <p:cNvSpPr/>
              <p:nvPr/>
            </p:nvSpPr>
            <p:spPr>
              <a:xfrm>
                <a:off x="6143616" y="3543300"/>
                <a:ext cx="9533" cy="133350"/>
              </a:xfrm>
              <a:custGeom>
                <a:avLst/>
                <a:gdLst>
                  <a:gd name="connsiteX0" fmla="*/ 9533 w 9533"/>
                  <a:gd name="connsiteY0" fmla="*/ 133350 h 133350"/>
                  <a:gd name="connsiteX1" fmla="*/ 8 w 9533"/>
                  <a:gd name="connsiteY1" fmla="*/ 61913 h 133350"/>
                  <a:gd name="connsiteX2" fmla="*/ 6962 w 9533"/>
                  <a:gd name="connsiteY2" fmla="*/ 0 h 133350"/>
                </a:gdLst>
                <a:ahLst/>
                <a:cxnLst>
                  <a:cxn ang="0">
                    <a:pos x="connsiteX0" y="connsiteY0"/>
                  </a:cxn>
                  <a:cxn ang="0">
                    <a:pos x="connsiteX1" y="connsiteY1"/>
                  </a:cxn>
                  <a:cxn ang="0">
                    <a:pos x="connsiteX2" y="connsiteY2"/>
                  </a:cxn>
                </a:cxnLst>
                <a:rect l="l" t="t" r="r" b="b"/>
                <a:pathLst>
                  <a:path w="9533" h="133350">
                    <a:moveTo>
                      <a:pt x="9533" y="133350"/>
                    </a:moveTo>
                    <a:cubicBezTo>
                      <a:pt x="3021" y="110102"/>
                      <a:pt x="-186" y="86054"/>
                      <a:pt x="8" y="61913"/>
                    </a:cubicBezTo>
                    <a:cubicBezTo>
                      <a:pt x="-139" y="41072"/>
                      <a:pt x="2194" y="20288"/>
                      <a:pt x="6962" y="0"/>
                    </a:cubicBezTo>
                  </a:path>
                </a:pathLst>
              </a:custGeom>
              <a:noFill/>
              <a:ln w="19050" cap="rnd">
                <a:solidFill>
                  <a:srgbClr val="8A9CA4"/>
                </a:solidFill>
                <a:prstDash val="solid"/>
                <a:round/>
              </a:ln>
            </p:spPr>
            <p:txBody>
              <a:bodyPr rtlCol="0" anchor="ctr"/>
              <a:lstStyle/>
              <a:p>
                <a:endParaRPr lang="en-US" dirty="0"/>
              </a:p>
            </p:txBody>
          </p:sp>
          <p:sp>
            <p:nvSpPr>
              <p:cNvPr id="210" name="Freihandform: Form 376">
                <a:extLst>
                  <a:ext uri="{FF2B5EF4-FFF2-40B4-BE49-F238E27FC236}">
                    <a16:creationId xmlns:a16="http://schemas.microsoft.com/office/drawing/2014/main" id="{87F2FDE9-E498-6FA9-DDE7-758E6A40D1CB}"/>
                  </a:ext>
                </a:extLst>
              </p:cNvPr>
              <p:cNvSpPr/>
              <p:nvPr/>
            </p:nvSpPr>
            <p:spPr>
              <a:xfrm>
                <a:off x="6038850" y="3543300"/>
                <a:ext cx="9533" cy="133350"/>
              </a:xfrm>
              <a:custGeom>
                <a:avLst/>
                <a:gdLst>
                  <a:gd name="connsiteX0" fmla="*/ 0 w 9533"/>
                  <a:gd name="connsiteY0" fmla="*/ 133350 h 133350"/>
                  <a:gd name="connsiteX1" fmla="*/ 9525 w 9533"/>
                  <a:gd name="connsiteY1" fmla="*/ 61913 h 133350"/>
                  <a:gd name="connsiteX2" fmla="*/ 2572 w 9533"/>
                  <a:gd name="connsiteY2" fmla="*/ 0 h 133350"/>
                </a:gdLst>
                <a:ahLst/>
                <a:cxnLst>
                  <a:cxn ang="0">
                    <a:pos x="connsiteX0" y="connsiteY0"/>
                  </a:cxn>
                  <a:cxn ang="0">
                    <a:pos x="connsiteX1" y="connsiteY1"/>
                  </a:cxn>
                  <a:cxn ang="0">
                    <a:pos x="connsiteX2" y="connsiteY2"/>
                  </a:cxn>
                </a:cxnLst>
                <a:rect l="l" t="t" r="r" b="b"/>
                <a:pathLst>
                  <a:path w="9533" h="133350">
                    <a:moveTo>
                      <a:pt x="0" y="133350"/>
                    </a:moveTo>
                    <a:cubicBezTo>
                      <a:pt x="6512" y="110102"/>
                      <a:pt x="9719" y="86054"/>
                      <a:pt x="9525" y="61913"/>
                    </a:cubicBezTo>
                    <a:cubicBezTo>
                      <a:pt x="9674" y="41072"/>
                      <a:pt x="7339" y="20288"/>
                      <a:pt x="2572" y="0"/>
                    </a:cubicBezTo>
                  </a:path>
                </a:pathLst>
              </a:custGeom>
              <a:noFill/>
              <a:ln w="19050" cap="rnd">
                <a:solidFill>
                  <a:srgbClr val="8A9CA4"/>
                </a:solidFill>
                <a:prstDash val="solid"/>
                <a:round/>
              </a:ln>
            </p:spPr>
            <p:txBody>
              <a:bodyPr rtlCol="0" anchor="ctr"/>
              <a:lstStyle/>
              <a:p>
                <a:endParaRPr lang="en-US" dirty="0"/>
              </a:p>
            </p:txBody>
          </p:sp>
        </p:grpSp>
        <p:grpSp>
          <p:nvGrpSpPr>
            <p:cNvPr id="172" name="Gruppieren 338">
              <a:extLst>
                <a:ext uri="{FF2B5EF4-FFF2-40B4-BE49-F238E27FC236}">
                  <a16:creationId xmlns:a16="http://schemas.microsoft.com/office/drawing/2014/main" id="{042E0C36-3B73-1441-1151-E0EC72757580}"/>
                </a:ext>
              </a:extLst>
            </p:cNvPr>
            <p:cNvGrpSpPr/>
            <p:nvPr/>
          </p:nvGrpSpPr>
          <p:grpSpPr>
            <a:xfrm>
              <a:off x="1133062" y="3981628"/>
              <a:ext cx="1402094" cy="1402094"/>
              <a:chOff x="-196533" y="2798077"/>
              <a:chExt cx="590550" cy="590550"/>
            </a:xfrm>
          </p:grpSpPr>
          <p:sp>
            <p:nvSpPr>
              <p:cNvPr id="182" name="Freihandform: Form 348">
                <a:extLst>
                  <a:ext uri="{FF2B5EF4-FFF2-40B4-BE49-F238E27FC236}">
                    <a16:creationId xmlns:a16="http://schemas.microsoft.com/office/drawing/2014/main" id="{54198EF9-AB41-A4B1-302F-C6FA73C6E550}"/>
                  </a:ext>
                </a:extLst>
              </p:cNvPr>
              <p:cNvSpPr/>
              <p:nvPr/>
            </p:nvSpPr>
            <p:spPr>
              <a:xfrm>
                <a:off x="-196533" y="2798077"/>
                <a:ext cx="200025" cy="590550"/>
              </a:xfrm>
              <a:custGeom>
                <a:avLst/>
                <a:gdLst>
                  <a:gd name="connsiteX0" fmla="*/ 200025 w 200025"/>
                  <a:gd name="connsiteY0" fmla="*/ 551402 h 590550"/>
                  <a:gd name="connsiteX1" fmla="*/ 160877 w 200025"/>
                  <a:gd name="connsiteY1" fmla="*/ 590550 h 590550"/>
                  <a:gd name="connsiteX2" fmla="*/ 39148 w 200025"/>
                  <a:gd name="connsiteY2" fmla="*/ 590550 h 590550"/>
                  <a:gd name="connsiteX3" fmla="*/ 0 w 200025"/>
                  <a:gd name="connsiteY3" fmla="*/ 551402 h 590550"/>
                  <a:gd name="connsiteX4" fmla="*/ 0 w 200025"/>
                  <a:gd name="connsiteY4" fmla="*/ 38100 h 590550"/>
                  <a:gd name="connsiteX5" fmla="*/ 38100 w 200025"/>
                  <a:gd name="connsiteY5" fmla="*/ 0 h 590550"/>
                  <a:gd name="connsiteX6" fmla="*/ 161925 w 200025"/>
                  <a:gd name="connsiteY6" fmla="*/ 0 h 590550"/>
                  <a:gd name="connsiteX7" fmla="*/ 200025 w 200025"/>
                  <a:gd name="connsiteY7" fmla="*/ 381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590550">
                    <a:moveTo>
                      <a:pt x="200025" y="551402"/>
                    </a:moveTo>
                    <a:cubicBezTo>
                      <a:pt x="199973" y="573001"/>
                      <a:pt x="182476" y="590498"/>
                      <a:pt x="160877" y="590550"/>
                    </a:cubicBezTo>
                    <a:lnTo>
                      <a:pt x="39148" y="590550"/>
                    </a:lnTo>
                    <a:cubicBezTo>
                      <a:pt x="17549" y="590498"/>
                      <a:pt x="52" y="573001"/>
                      <a:pt x="0" y="551402"/>
                    </a:cubicBezTo>
                    <a:lnTo>
                      <a:pt x="0" y="38100"/>
                    </a:lnTo>
                    <a:cubicBezTo>
                      <a:pt x="0" y="17058"/>
                      <a:pt x="17058" y="0"/>
                      <a:pt x="38100" y="0"/>
                    </a:cubicBezTo>
                    <a:lnTo>
                      <a:pt x="161925" y="0"/>
                    </a:lnTo>
                    <a:cubicBezTo>
                      <a:pt x="182967" y="0"/>
                      <a:pt x="200025" y="17058"/>
                      <a:pt x="200025" y="38100"/>
                    </a:cubicBezTo>
                    <a:close/>
                  </a:path>
                </a:pathLst>
              </a:custGeom>
              <a:noFill/>
              <a:ln w="19050" cap="rnd">
                <a:solidFill>
                  <a:srgbClr val="8A9CA4"/>
                </a:solidFill>
                <a:prstDash val="solid"/>
                <a:round/>
              </a:ln>
            </p:spPr>
            <p:txBody>
              <a:bodyPr rtlCol="0" anchor="ctr"/>
              <a:lstStyle/>
              <a:p>
                <a:endParaRPr lang="en-US" dirty="0"/>
              </a:p>
            </p:txBody>
          </p:sp>
          <p:sp>
            <p:nvSpPr>
              <p:cNvPr id="183" name="Freihandform: Form 349">
                <a:extLst>
                  <a:ext uri="{FF2B5EF4-FFF2-40B4-BE49-F238E27FC236}">
                    <a16:creationId xmlns:a16="http://schemas.microsoft.com/office/drawing/2014/main" id="{52787CB8-AB9D-38D3-918A-307D08391AAA}"/>
                  </a:ext>
                </a:extLst>
              </p:cNvPr>
              <p:cNvSpPr/>
              <p:nvPr/>
            </p:nvSpPr>
            <p:spPr>
              <a:xfrm>
                <a:off x="-156909" y="302667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84" name="Freihandform: Form 350">
                <a:extLst>
                  <a:ext uri="{FF2B5EF4-FFF2-40B4-BE49-F238E27FC236}">
                    <a16:creationId xmlns:a16="http://schemas.microsoft.com/office/drawing/2014/main" id="{A73F9E2D-EB9F-3234-F460-D1F54BC8449E}"/>
                  </a:ext>
                </a:extLst>
              </p:cNvPr>
              <p:cNvSpPr/>
              <p:nvPr/>
            </p:nvSpPr>
            <p:spPr>
              <a:xfrm>
                <a:off x="-156909" y="309335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85" name="Freihandform: Form 351">
                <a:extLst>
                  <a:ext uri="{FF2B5EF4-FFF2-40B4-BE49-F238E27FC236}">
                    <a16:creationId xmlns:a16="http://schemas.microsoft.com/office/drawing/2014/main" id="{D7DDEC7C-B55C-873F-70A7-8FBBE2796C69}"/>
                  </a:ext>
                </a:extLst>
              </p:cNvPr>
              <p:cNvSpPr/>
              <p:nvPr/>
            </p:nvSpPr>
            <p:spPr>
              <a:xfrm>
                <a:off x="-156909" y="296000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86" name="Freihandform: Form 352">
                <a:extLst>
                  <a:ext uri="{FF2B5EF4-FFF2-40B4-BE49-F238E27FC236}">
                    <a16:creationId xmlns:a16="http://schemas.microsoft.com/office/drawing/2014/main" id="{1558D3B1-42FC-A755-3026-A19E5E74DBCC}"/>
                  </a:ext>
                </a:extLst>
              </p:cNvPr>
              <p:cNvSpPr/>
              <p:nvPr/>
            </p:nvSpPr>
            <p:spPr>
              <a:xfrm>
                <a:off x="-156909" y="289332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87" name="Freihandform: Form 353">
                <a:extLst>
                  <a:ext uri="{FF2B5EF4-FFF2-40B4-BE49-F238E27FC236}">
                    <a16:creationId xmlns:a16="http://schemas.microsoft.com/office/drawing/2014/main" id="{F3421952-64CB-72D0-3316-E10A4D653F12}"/>
                  </a:ext>
                </a:extLst>
              </p:cNvPr>
              <p:cNvSpPr/>
              <p:nvPr/>
            </p:nvSpPr>
            <p:spPr>
              <a:xfrm>
                <a:off x="3492" y="2798077"/>
                <a:ext cx="190500" cy="590550"/>
              </a:xfrm>
              <a:custGeom>
                <a:avLst/>
                <a:gdLst>
                  <a:gd name="connsiteX0" fmla="*/ 190500 w 190500"/>
                  <a:gd name="connsiteY0" fmla="*/ 551402 h 590550"/>
                  <a:gd name="connsiteX1" fmla="*/ 151352 w 190500"/>
                  <a:gd name="connsiteY1" fmla="*/ 590550 h 590550"/>
                  <a:gd name="connsiteX2" fmla="*/ 39148 w 190500"/>
                  <a:gd name="connsiteY2" fmla="*/ 590550 h 590550"/>
                  <a:gd name="connsiteX3" fmla="*/ 0 w 190500"/>
                  <a:gd name="connsiteY3" fmla="*/ 551402 h 590550"/>
                  <a:gd name="connsiteX4" fmla="*/ 0 w 190500"/>
                  <a:gd name="connsiteY4" fmla="*/ 38100 h 590550"/>
                  <a:gd name="connsiteX5" fmla="*/ 38100 w 190500"/>
                  <a:gd name="connsiteY5" fmla="*/ 0 h 590550"/>
                  <a:gd name="connsiteX6" fmla="*/ 152400 w 190500"/>
                  <a:gd name="connsiteY6" fmla="*/ 0 h 590550"/>
                  <a:gd name="connsiteX7" fmla="*/ 190500 w 190500"/>
                  <a:gd name="connsiteY7" fmla="*/ 381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590550">
                    <a:moveTo>
                      <a:pt x="190500" y="551402"/>
                    </a:moveTo>
                    <a:cubicBezTo>
                      <a:pt x="190448" y="573001"/>
                      <a:pt x="172951" y="590498"/>
                      <a:pt x="151352" y="590550"/>
                    </a:cubicBezTo>
                    <a:lnTo>
                      <a:pt x="39148" y="590550"/>
                    </a:lnTo>
                    <a:cubicBezTo>
                      <a:pt x="17549" y="590498"/>
                      <a:pt x="52" y="573001"/>
                      <a:pt x="0" y="551402"/>
                    </a:cubicBezTo>
                    <a:lnTo>
                      <a:pt x="0" y="38100"/>
                    </a:lnTo>
                    <a:cubicBezTo>
                      <a:pt x="0" y="17058"/>
                      <a:pt x="17058" y="0"/>
                      <a:pt x="38100" y="0"/>
                    </a:cubicBezTo>
                    <a:lnTo>
                      <a:pt x="152400" y="0"/>
                    </a:lnTo>
                    <a:cubicBezTo>
                      <a:pt x="173442" y="0"/>
                      <a:pt x="190500" y="17058"/>
                      <a:pt x="190500" y="38100"/>
                    </a:cubicBezTo>
                    <a:close/>
                  </a:path>
                </a:pathLst>
              </a:custGeom>
              <a:noFill/>
              <a:ln w="19050" cap="rnd">
                <a:solidFill>
                  <a:srgbClr val="8A9CA4"/>
                </a:solidFill>
                <a:prstDash val="solid"/>
                <a:round/>
              </a:ln>
            </p:spPr>
            <p:txBody>
              <a:bodyPr rtlCol="0" anchor="ctr"/>
              <a:lstStyle/>
              <a:p>
                <a:endParaRPr lang="en-US" dirty="0"/>
              </a:p>
            </p:txBody>
          </p:sp>
          <p:sp>
            <p:nvSpPr>
              <p:cNvPr id="188" name="Freihandform: Form 354">
                <a:extLst>
                  <a:ext uri="{FF2B5EF4-FFF2-40B4-BE49-F238E27FC236}">
                    <a16:creationId xmlns:a16="http://schemas.microsoft.com/office/drawing/2014/main" id="{C0E18032-DFDB-A5FA-0DCC-2EEF49369CA9}"/>
                  </a:ext>
                </a:extLst>
              </p:cNvPr>
              <p:cNvSpPr/>
              <p:nvPr/>
            </p:nvSpPr>
            <p:spPr>
              <a:xfrm>
                <a:off x="39782" y="3026677"/>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89" name="Freihandform: Form 355">
                <a:extLst>
                  <a:ext uri="{FF2B5EF4-FFF2-40B4-BE49-F238E27FC236}">
                    <a16:creationId xmlns:a16="http://schemas.microsoft.com/office/drawing/2014/main" id="{5B91EFAF-ECA2-8D35-039D-DD2B35DCAE1E}"/>
                  </a:ext>
                </a:extLst>
              </p:cNvPr>
              <p:cNvSpPr/>
              <p:nvPr/>
            </p:nvSpPr>
            <p:spPr>
              <a:xfrm>
                <a:off x="39782" y="3093352"/>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90" name="Freihandform: Form 356">
                <a:extLst>
                  <a:ext uri="{FF2B5EF4-FFF2-40B4-BE49-F238E27FC236}">
                    <a16:creationId xmlns:a16="http://schemas.microsoft.com/office/drawing/2014/main" id="{20552BF0-71F3-463A-B2BA-0A836EC875C5}"/>
                  </a:ext>
                </a:extLst>
              </p:cNvPr>
              <p:cNvSpPr/>
              <p:nvPr/>
            </p:nvSpPr>
            <p:spPr>
              <a:xfrm>
                <a:off x="39782" y="2960002"/>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91" name="Freihandform: Form 357">
                <a:extLst>
                  <a:ext uri="{FF2B5EF4-FFF2-40B4-BE49-F238E27FC236}">
                    <a16:creationId xmlns:a16="http://schemas.microsoft.com/office/drawing/2014/main" id="{6231E6B5-4193-D864-9C22-6C89C3FF9CCC}"/>
                  </a:ext>
                </a:extLst>
              </p:cNvPr>
              <p:cNvSpPr/>
              <p:nvPr/>
            </p:nvSpPr>
            <p:spPr>
              <a:xfrm>
                <a:off x="39782" y="2893327"/>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92" name="Freihandform: Form 358">
                <a:extLst>
                  <a:ext uri="{FF2B5EF4-FFF2-40B4-BE49-F238E27FC236}">
                    <a16:creationId xmlns:a16="http://schemas.microsoft.com/office/drawing/2014/main" id="{AAD4A77F-DBA9-317F-746F-1CA391000DA9}"/>
                  </a:ext>
                </a:extLst>
              </p:cNvPr>
              <p:cNvSpPr/>
              <p:nvPr/>
            </p:nvSpPr>
            <p:spPr>
              <a:xfrm>
                <a:off x="193992" y="2798077"/>
                <a:ext cx="200025" cy="590550"/>
              </a:xfrm>
              <a:custGeom>
                <a:avLst/>
                <a:gdLst>
                  <a:gd name="connsiteX0" fmla="*/ 200025 w 200025"/>
                  <a:gd name="connsiteY0" fmla="*/ 551402 h 590550"/>
                  <a:gd name="connsiteX1" fmla="*/ 160877 w 200025"/>
                  <a:gd name="connsiteY1" fmla="*/ 590550 h 590550"/>
                  <a:gd name="connsiteX2" fmla="*/ 39148 w 200025"/>
                  <a:gd name="connsiteY2" fmla="*/ 590550 h 590550"/>
                  <a:gd name="connsiteX3" fmla="*/ 0 w 200025"/>
                  <a:gd name="connsiteY3" fmla="*/ 551402 h 590550"/>
                  <a:gd name="connsiteX4" fmla="*/ 0 w 200025"/>
                  <a:gd name="connsiteY4" fmla="*/ 38100 h 590550"/>
                  <a:gd name="connsiteX5" fmla="*/ 38100 w 200025"/>
                  <a:gd name="connsiteY5" fmla="*/ 0 h 590550"/>
                  <a:gd name="connsiteX6" fmla="*/ 161925 w 200025"/>
                  <a:gd name="connsiteY6" fmla="*/ 0 h 590550"/>
                  <a:gd name="connsiteX7" fmla="*/ 200025 w 200025"/>
                  <a:gd name="connsiteY7" fmla="*/ 381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25" h="590550">
                    <a:moveTo>
                      <a:pt x="200025" y="551402"/>
                    </a:moveTo>
                    <a:cubicBezTo>
                      <a:pt x="199973" y="573001"/>
                      <a:pt x="182476" y="590498"/>
                      <a:pt x="160877" y="590550"/>
                    </a:cubicBezTo>
                    <a:lnTo>
                      <a:pt x="39148" y="590550"/>
                    </a:lnTo>
                    <a:cubicBezTo>
                      <a:pt x="17549" y="590498"/>
                      <a:pt x="52" y="573001"/>
                      <a:pt x="0" y="551402"/>
                    </a:cubicBezTo>
                    <a:lnTo>
                      <a:pt x="0" y="38100"/>
                    </a:lnTo>
                    <a:cubicBezTo>
                      <a:pt x="0" y="17058"/>
                      <a:pt x="17058" y="0"/>
                      <a:pt x="38100" y="0"/>
                    </a:cubicBezTo>
                    <a:lnTo>
                      <a:pt x="161925" y="0"/>
                    </a:lnTo>
                    <a:cubicBezTo>
                      <a:pt x="182967" y="0"/>
                      <a:pt x="200025" y="17058"/>
                      <a:pt x="200025" y="38100"/>
                    </a:cubicBezTo>
                    <a:close/>
                  </a:path>
                </a:pathLst>
              </a:custGeom>
              <a:noFill/>
              <a:ln w="19050" cap="rnd">
                <a:solidFill>
                  <a:srgbClr val="8A9CA4"/>
                </a:solidFill>
                <a:prstDash val="solid"/>
                <a:round/>
              </a:ln>
            </p:spPr>
            <p:txBody>
              <a:bodyPr rtlCol="0" anchor="ctr"/>
              <a:lstStyle/>
              <a:p>
                <a:endParaRPr lang="en-US" dirty="0"/>
              </a:p>
            </p:txBody>
          </p:sp>
          <p:sp>
            <p:nvSpPr>
              <p:cNvPr id="193" name="Freihandform: Form 359">
                <a:extLst>
                  <a:ext uri="{FF2B5EF4-FFF2-40B4-BE49-F238E27FC236}">
                    <a16:creationId xmlns:a16="http://schemas.microsoft.com/office/drawing/2014/main" id="{2F3BFC8B-37B0-8EEA-573C-7D9A2F35628A}"/>
                  </a:ext>
                </a:extLst>
              </p:cNvPr>
              <p:cNvSpPr/>
              <p:nvPr/>
            </p:nvSpPr>
            <p:spPr>
              <a:xfrm>
                <a:off x="236378" y="302667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94" name="Freihandform: Form 360">
                <a:extLst>
                  <a:ext uri="{FF2B5EF4-FFF2-40B4-BE49-F238E27FC236}">
                    <a16:creationId xmlns:a16="http://schemas.microsoft.com/office/drawing/2014/main" id="{1EFBD4F4-A0F4-7B3F-AE69-5A500493996D}"/>
                  </a:ext>
                </a:extLst>
              </p:cNvPr>
              <p:cNvSpPr/>
              <p:nvPr/>
            </p:nvSpPr>
            <p:spPr>
              <a:xfrm>
                <a:off x="-156909" y="309335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95" name="Freihandform: Form 361">
                <a:extLst>
                  <a:ext uri="{FF2B5EF4-FFF2-40B4-BE49-F238E27FC236}">
                    <a16:creationId xmlns:a16="http://schemas.microsoft.com/office/drawing/2014/main" id="{5F8D7212-2F55-9B8A-340C-57BF35898307}"/>
                  </a:ext>
                </a:extLst>
              </p:cNvPr>
              <p:cNvSpPr/>
              <p:nvPr/>
            </p:nvSpPr>
            <p:spPr>
              <a:xfrm>
                <a:off x="39782" y="3093352"/>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96" name="Freihandform: Form 362">
                <a:extLst>
                  <a:ext uri="{FF2B5EF4-FFF2-40B4-BE49-F238E27FC236}">
                    <a16:creationId xmlns:a16="http://schemas.microsoft.com/office/drawing/2014/main" id="{34E55CB7-5478-B441-EE75-A79BE3F6A752}"/>
                  </a:ext>
                </a:extLst>
              </p:cNvPr>
              <p:cNvSpPr/>
              <p:nvPr/>
            </p:nvSpPr>
            <p:spPr>
              <a:xfrm>
                <a:off x="236378" y="309335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97" name="Freihandform: Form 363">
                <a:extLst>
                  <a:ext uri="{FF2B5EF4-FFF2-40B4-BE49-F238E27FC236}">
                    <a16:creationId xmlns:a16="http://schemas.microsoft.com/office/drawing/2014/main" id="{78ADE1D9-CD32-9CF1-4E31-A276E4C27996}"/>
                  </a:ext>
                </a:extLst>
              </p:cNvPr>
              <p:cNvSpPr/>
              <p:nvPr/>
            </p:nvSpPr>
            <p:spPr>
              <a:xfrm>
                <a:off x="-156909" y="316002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198" name="Freihandform: Form 364">
                <a:extLst>
                  <a:ext uri="{FF2B5EF4-FFF2-40B4-BE49-F238E27FC236}">
                    <a16:creationId xmlns:a16="http://schemas.microsoft.com/office/drawing/2014/main" id="{381B78EB-437C-0A91-3D4A-635A06738BF5}"/>
                  </a:ext>
                </a:extLst>
              </p:cNvPr>
              <p:cNvSpPr/>
              <p:nvPr/>
            </p:nvSpPr>
            <p:spPr>
              <a:xfrm>
                <a:off x="39782" y="3160027"/>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199" name="Freihandform: Form 365">
                <a:extLst>
                  <a:ext uri="{FF2B5EF4-FFF2-40B4-BE49-F238E27FC236}">
                    <a16:creationId xmlns:a16="http://schemas.microsoft.com/office/drawing/2014/main" id="{FA0EA432-5E1C-03F0-C4CC-24033804DEDE}"/>
                  </a:ext>
                </a:extLst>
              </p:cNvPr>
              <p:cNvSpPr/>
              <p:nvPr/>
            </p:nvSpPr>
            <p:spPr>
              <a:xfrm>
                <a:off x="236378" y="316002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200" name="Freihandform: Form 366">
                <a:extLst>
                  <a:ext uri="{FF2B5EF4-FFF2-40B4-BE49-F238E27FC236}">
                    <a16:creationId xmlns:a16="http://schemas.microsoft.com/office/drawing/2014/main" id="{36D9C113-E7AD-5423-AB06-1B2CB5462734}"/>
                  </a:ext>
                </a:extLst>
              </p:cNvPr>
              <p:cNvSpPr/>
              <p:nvPr/>
            </p:nvSpPr>
            <p:spPr>
              <a:xfrm>
                <a:off x="-156909" y="322670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201" name="Freihandform: Form 367">
                <a:extLst>
                  <a:ext uri="{FF2B5EF4-FFF2-40B4-BE49-F238E27FC236}">
                    <a16:creationId xmlns:a16="http://schemas.microsoft.com/office/drawing/2014/main" id="{3DDF777F-0812-B4E2-58AE-BF65A79171A1}"/>
                  </a:ext>
                </a:extLst>
              </p:cNvPr>
              <p:cNvSpPr/>
              <p:nvPr/>
            </p:nvSpPr>
            <p:spPr>
              <a:xfrm>
                <a:off x="39782" y="3226702"/>
                <a:ext cx="117919" cy="9525"/>
              </a:xfrm>
              <a:custGeom>
                <a:avLst/>
                <a:gdLst>
                  <a:gd name="connsiteX0" fmla="*/ 0 w 117919"/>
                  <a:gd name="connsiteY0" fmla="*/ 0 h 9525"/>
                  <a:gd name="connsiteX1" fmla="*/ 117919 w 117919"/>
                  <a:gd name="connsiteY1" fmla="*/ 0 h 9525"/>
                </a:gdLst>
                <a:ahLst/>
                <a:cxnLst>
                  <a:cxn ang="0">
                    <a:pos x="connsiteX0" y="connsiteY0"/>
                  </a:cxn>
                  <a:cxn ang="0">
                    <a:pos x="connsiteX1" y="connsiteY1"/>
                  </a:cxn>
                </a:cxnLst>
                <a:rect l="l" t="t" r="r" b="b"/>
                <a:pathLst>
                  <a:path w="117919" h="9525">
                    <a:moveTo>
                      <a:pt x="0" y="0"/>
                    </a:moveTo>
                    <a:lnTo>
                      <a:pt x="117919" y="0"/>
                    </a:lnTo>
                  </a:path>
                </a:pathLst>
              </a:custGeom>
              <a:ln w="19050" cap="rnd">
                <a:solidFill>
                  <a:srgbClr val="8A9CA4"/>
                </a:solidFill>
                <a:prstDash val="solid"/>
                <a:round/>
              </a:ln>
            </p:spPr>
            <p:txBody>
              <a:bodyPr rtlCol="0" anchor="ctr"/>
              <a:lstStyle/>
              <a:p>
                <a:endParaRPr lang="en-US" dirty="0"/>
              </a:p>
            </p:txBody>
          </p:sp>
          <p:sp>
            <p:nvSpPr>
              <p:cNvPr id="202" name="Freihandform: Form 368">
                <a:extLst>
                  <a:ext uri="{FF2B5EF4-FFF2-40B4-BE49-F238E27FC236}">
                    <a16:creationId xmlns:a16="http://schemas.microsoft.com/office/drawing/2014/main" id="{E714BC64-1654-8D11-8A83-44D380F5C90F}"/>
                  </a:ext>
                </a:extLst>
              </p:cNvPr>
              <p:cNvSpPr/>
              <p:nvPr/>
            </p:nvSpPr>
            <p:spPr>
              <a:xfrm>
                <a:off x="236378" y="322670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203" name="Freihandform: Form 369">
                <a:extLst>
                  <a:ext uri="{FF2B5EF4-FFF2-40B4-BE49-F238E27FC236}">
                    <a16:creationId xmlns:a16="http://schemas.microsoft.com/office/drawing/2014/main" id="{24198D68-2701-A488-D1BC-F61E4514F456}"/>
                  </a:ext>
                </a:extLst>
              </p:cNvPr>
              <p:cNvSpPr/>
              <p:nvPr/>
            </p:nvSpPr>
            <p:spPr>
              <a:xfrm>
                <a:off x="236378" y="309335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204" name="Freihandform: Form 370">
                <a:extLst>
                  <a:ext uri="{FF2B5EF4-FFF2-40B4-BE49-F238E27FC236}">
                    <a16:creationId xmlns:a16="http://schemas.microsoft.com/office/drawing/2014/main" id="{E1B39C30-8487-E621-9EC3-D76553C5B48D}"/>
                  </a:ext>
                </a:extLst>
              </p:cNvPr>
              <p:cNvSpPr/>
              <p:nvPr/>
            </p:nvSpPr>
            <p:spPr>
              <a:xfrm>
                <a:off x="236378" y="2960002"/>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sp>
            <p:nvSpPr>
              <p:cNvPr id="205" name="Freihandform: Form 371">
                <a:extLst>
                  <a:ext uri="{FF2B5EF4-FFF2-40B4-BE49-F238E27FC236}">
                    <a16:creationId xmlns:a16="http://schemas.microsoft.com/office/drawing/2014/main" id="{648C1910-2959-3C5A-C7C6-A2C777432D43}"/>
                  </a:ext>
                </a:extLst>
              </p:cNvPr>
              <p:cNvSpPr/>
              <p:nvPr/>
            </p:nvSpPr>
            <p:spPr>
              <a:xfrm>
                <a:off x="236378" y="2893327"/>
                <a:ext cx="118014" cy="9525"/>
              </a:xfrm>
              <a:custGeom>
                <a:avLst/>
                <a:gdLst>
                  <a:gd name="connsiteX0" fmla="*/ 0 w 118014"/>
                  <a:gd name="connsiteY0" fmla="*/ 0 h 9525"/>
                  <a:gd name="connsiteX1" fmla="*/ 118015 w 118014"/>
                  <a:gd name="connsiteY1" fmla="*/ 0 h 9525"/>
                </a:gdLst>
                <a:ahLst/>
                <a:cxnLst>
                  <a:cxn ang="0">
                    <a:pos x="connsiteX0" y="connsiteY0"/>
                  </a:cxn>
                  <a:cxn ang="0">
                    <a:pos x="connsiteX1" y="connsiteY1"/>
                  </a:cxn>
                </a:cxnLst>
                <a:rect l="l" t="t" r="r" b="b"/>
                <a:pathLst>
                  <a:path w="118014" h="9525">
                    <a:moveTo>
                      <a:pt x="0" y="0"/>
                    </a:moveTo>
                    <a:lnTo>
                      <a:pt x="118015" y="0"/>
                    </a:lnTo>
                  </a:path>
                </a:pathLst>
              </a:custGeom>
              <a:ln w="19050" cap="rnd">
                <a:solidFill>
                  <a:srgbClr val="8A9CA4"/>
                </a:solidFill>
                <a:prstDash val="solid"/>
                <a:round/>
              </a:ln>
            </p:spPr>
            <p:txBody>
              <a:bodyPr rtlCol="0" anchor="ctr"/>
              <a:lstStyle/>
              <a:p>
                <a:endParaRPr lang="en-US" dirty="0"/>
              </a:p>
            </p:txBody>
          </p:sp>
        </p:grpSp>
        <p:pic>
          <p:nvPicPr>
            <p:cNvPr id="173" name="Grafik 339">
              <a:extLst>
                <a:ext uri="{FF2B5EF4-FFF2-40B4-BE49-F238E27FC236}">
                  <a16:creationId xmlns:a16="http://schemas.microsoft.com/office/drawing/2014/main" id="{C8D5DB0F-4D0B-2D81-5662-10DC74C2FF2D}"/>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266207" y="2277030"/>
              <a:ext cx="1124650" cy="598288"/>
            </a:xfrm>
            <a:prstGeom prst="rect">
              <a:avLst/>
            </a:prstGeom>
          </p:spPr>
        </p:pic>
        <p:grpSp>
          <p:nvGrpSpPr>
            <p:cNvPr id="174" name="Gruppieren 340">
              <a:extLst>
                <a:ext uri="{FF2B5EF4-FFF2-40B4-BE49-F238E27FC236}">
                  <a16:creationId xmlns:a16="http://schemas.microsoft.com/office/drawing/2014/main" id="{02CEB8D8-10CD-EF88-10CA-6FA57C2D2052}"/>
                </a:ext>
              </a:extLst>
            </p:cNvPr>
            <p:cNvGrpSpPr/>
            <p:nvPr/>
          </p:nvGrpSpPr>
          <p:grpSpPr>
            <a:xfrm>
              <a:off x="1376578" y="2454113"/>
              <a:ext cx="150402" cy="150400"/>
              <a:chOff x="82687" y="1595438"/>
              <a:chExt cx="493425" cy="493421"/>
            </a:xfrm>
            <a:solidFill>
              <a:schemeClr val="accent2"/>
            </a:solidFill>
          </p:grpSpPr>
          <p:sp>
            <p:nvSpPr>
              <p:cNvPr id="179" name="Ellipse 345">
                <a:extLst>
                  <a:ext uri="{FF2B5EF4-FFF2-40B4-BE49-F238E27FC236}">
                    <a16:creationId xmlns:a16="http://schemas.microsoft.com/office/drawing/2014/main" id="{8FC22A63-0962-AF99-0999-39DDC8123F67}"/>
                  </a:ext>
                </a:extLst>
              </p:cNvPr>
              <p:cNvSpPr/>
              <p:nvPr/>
            </p:nvSpPr>
            <p:spPr>
              <a:xfrm>
                <a:off x="269861" y="1782610"/>
                <a:ext cx="119076" cy="1190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0" name="Kreis: nicht ausgefüllt 346">
                <a:extLst>
                  <a:ext uri="{FF2B5EF4-FFF2-40B4-BE49-F238E27FC236}">
                    <a16:creationId xmlns:a16="http://schemas.microsoft.com/office/drawing/2014/main" id="{2B5BDEB8-5FE8-B161-703C-EF2EB43C29A4}"/>
                  </a:ext>
                </a:extLst>
              </p:cNvPr>
              <p:cNvSpPr/>
              <p:nvPr/>
            </p:nvSpPr>
            <p:spPr>
              <a:xfrm>
                <a:off x="180167" y="1692917"/>
                <a:ext cx="298464" cy="298462"/>
              </a:xfrm>
              <a:prstGeom prst="donut">
                <a:avLst>
                  <a:gd name="adj" fmla="val 156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1" name="Kreis: nicht ausgefüllt 347">
                <a:extLst>
                  <a:ext uri="{FF2B5EF4-FFF2-40B4-BE49-F238E27FC236}">
                    <a16:creationId xmlns:a16="http://schemas.microsoft.com/office/drawing/2014/main" id="{872269DD-3038-E419-751F-2E44D7D9F3F8}"/>
                  </a:ext>
                </a:extLst>
              </p:cNvPr>
              <p:cNvSpPr/>
              <p:nvPr/>
            </p:nvSpPr>
            <p:spPr>
              <a:xfrm>
                <a:off x="82687" y="1595438"/>
                <a:ext cx="493425" cy="493421"/>
              </a:xfrm>
              <a:prstGeom prst="donut">
                <a:avLst>
                  <a:gd name="adj" fmla="val 1215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175" name="Gruppieren 341">
              <a:extLst>
                <a:ext uri="{FF2B5EF4-FFF2-40B4-BE49-F238E27FC236}">
                  <a16:creationId xmlns:a16="http://schemas.microsoft.com/office/drawing/2014/main" id="{99343297-F52A-7039-89C7-391C2E7EC9A6}"/>
                </a:ext>
              </a:extLst>
            </p:cNvPr>
            <p:cNvGrpSpPr/>
            <p:nvPr/>
          </p:nvGrpSpPr>
          <p:grpSpPr>
            <a:xfrm>
              <a:off x="2068923" y="2375257"/>
              <a:ext cx="150402" cy="150400"/>
              <a:chOff x="82687" y="1595438"/>
              <a:chExt cx="493425" cy="493421"/>
            </a:xfrm>
            <a:solidFill>
              <a:schemeClr val="accent2"/>
            </a:solidFill>
          </p:grpSpPr>
          <p:sp>
            <p:nvSpPr>
              <p:cNvPr id="176" name="Ellipse 342">
                <a:extLst>
                  <a:ext uri="{FF2B5EF4-FFF2-40B4-BE49-F238E27FC236}">
                    <a16:creationId xmlns:a16="http://schemas.microsoft.com/office/drawing/2014/main" id="{F5BB4056-A7DE-F046-1EF8-F0143F16D281}"/>
                  </a:ext>
                </a:extLst>
              </p:cNvPr>
              <p:cNvSpPr/>
              <p:nvPr/>
            </p:nvSpPr>
            <p:spPr>
              <a:xfrm>
                <a:off x="269861" y="1782610"/>
                <a:ext cx="119076" cy="1190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Kreis: nicht ausgefüllt 343">
                <a:extLst>
                  <a:ext uri="{FF2B5EF4-FFF2-40B4-BE49-F238E27FC236}">
                    <a16:creationId xmlns:a16="http://schemas.microsoft.com/office/drawing/2014/main" id="{9049B3D1-1968-49DD-989B-829FA346E65E}"/>
                  </a:ext>
                </a:extLst>
              </p:cNvPr>
              <p:cNvSpPr/>
              <p:nvPr/>
            </p:nvSpPr>
            <p:spPr>
              <a:xfrm>
                <a:off x="180167" y="1692917"/>
                <a:ext cx="298464" cy="298462"/>
              </a:xfrm>
              <a:prstGeom prst="donut">
                <a:avLst>
                  <a:gd name="adj" fmla="val 1560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8" name="Kreis: nicht ausgefüllt 344">
                <a:extLst>
                  <a:ext uri="{FF2B5EF4-FFF2-40B4-BE49-F238E27FC236}">
                    <a16:creationId xmlns:a16="http://schemas.microsoft.com/office/drawing/2014/main" id="{88BD52C1-9D66-B145-AEC2-3784510A6A49}"/>
                  </a:ext>
                </a:extLst>
              </p:cNvPr>
              <p:cNvSpPr/>
              <p:nvPr/>
            </p:nvSpPr>
            <p:spPr>
              <a:xfrm>
                <a:off x="82687" y="1595438"/>
                <a:ext cx="493425" cy="493421"/>
              </a:xfrm>
              <a:prstGeom prst="donut">
                <a:avLst>
                  <a:gd name="adj" fmla="val 1215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grpSp>
        <p:nvGrpSpPr>
          <p:cNvPr id="211" name="Group 210">
            <a:extLst>
              <a:ext uri="{FF2B5EF4-FFF2-40B4-BE49-F238E27FC236}">
                <a16:creationId xmlns:a16="http://schemas.microsoft.com/office/drawing/2014/main" id="{8D839350-BBD1-F9F7-5D7E-A6441DF98EAF}"/>
              </a:ext>
            </a:extLst>
          </p:cNvPr>
          <p:cNvGrpSpPr/>
          <p:nvPr/>
        </p:nvGrpSpPr>
        <p:grpSpPr>
          <a:xfrm>
            <a:off x="5239728" y="1877773"/>
            <a:ext cx="609600" cy="609600"/>
            <a:chOff x="2705354" y="2021342"/>
            <a:chExt cx="609600" cy="609600"/>
          </a:xfrm>
        </p:grpSpPr>
        <p:pic>
          <p:nvPicPr>
            <p:cNvPr id="212" name="Grafik 63">
              <a:extLst>
                <a:ext uri="{FF2B5EF4-FFF2-40B4-BE49-F238E27FC236}">
                  <a16:creationId xmlns:a16="http://schemas.microsoft.com/office/drawing/2014/main" id="{D97D29A8-642D-ECBB-39A6-FF17EDD9B4DE}"/>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705354" y="2021342"/>
              <a:ext cx="609600" cy="609600"/>
            </a:xfrm>
            <a:prstGeom prst="rect">
              <a:avLst/>
            </a:prstGeom>
          </p:spPr>
        </p:pic>
        <p:grpSp>
          <p:nvGrpSpPr>
            <p:cNvPr id="213" name="Group 212">
              <a:extLst>
                <a:ext uri="{FF2B5EF4-FFF2-40B4-BE49-F238E27FC236}">
                  <a16:creationId xmlns:a16="http://schemas.microsoft.com/office/drawing/2014/main" id="{3F363B58-8343-D0A9-FF24-F867FEDCE409}"/>
                </a:ext>
              </a:extLst>
            </p:cNvPr>
            <p:cNvGrpSpPr/>
            <p:nvPr/>
          </p:nvGrpSpPr>
          <p:grpSpPr>
            <a:xfrm>
              <a:off x="2858281" y="2177212"/>
              <a:ext cx="324000" cy="334378"/>
              <a:chOff x="5166332" y="932426"/>
              <a:chExt cx="324000" cy="334378"/>
            </a:xfrm>
          </p:grpSpPr>
          <p:pic>
            <p:nvPicPr>
              <p:cNvPr id="214" name="Graphic 213">
                <a:extLst>
                  <a:ext uri="{FF2B5EF4-FFF2-40B4-BE49-F238E27FC236}">
                    <a16:creationId xmlns:a16="http://schemas.microsoft.com/office/drawing/2014/main" id="{1B53AA56-D011-CE3F-0BC5-964905FB1B54}"/>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166332" y="942804"/>
                <a:ext cx="324000" cy="324000"/>
              </a:xfrm>
              <a:prstGeom prst="rect">
                <a:avLst/>
              </a:prstGeom>
            </p:spPr>
          </p:pic>
          <p:pic>
            <p:nvPicPr>
              <p:cNvPr id="215" name="Graphic 214">
                <a:extLst>
                  <a:ext uri="{FF2B5EF4-FFF2-40B4-BE49-F238E27FC236}">
                    <a16:creationId xmlns:a16="http://schemas.microsoft.com/office/drawing/2014/main" id="{B94AE114-ED84-3C99-C5E7-08AAF3601087}"/>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166332" y="932426"/>
                <a:ext cx="324000" cy="324000"/>
              </a:xfrm>
              <a:prstGeom prst="rect">
                <a:avLst/>
              </a:prstGeom>
            </p:spPr>
          </p:pic>
        </p:grpSp>
      </p:grpSp>
      <p:grpSp>
        <p:nvGrpSpPr>
          <p:cNvPr id="216" name="Group 215">
            <a:extLst>
              <a:ext uri="{FF2B5EF4-FFF2-40B4-BE49-F238E27FC236}">
                <a16:creationId xmlns:a16="http://schemas.microsoft.com/office/drawing/2014/main" id="{68B92E6C-1A17-DC61-F881-8A839799C551}"/>
              </a:ext>
            </a:extLst>
          </p:cNvPr>
          <p:cNvGrpSpPr/>
          <p:nvPr/>
        </p:nvGrpSpPr>
        <p:grpSpPr>
          <a:xfrm>
            <a:off x="5247311" y="3649439"/>
            <a:ext cx="609600" cy="609600"/>
            <a:chOff x="2705354" y="2021342"/>
            <a:chExt cx="609600" cy="609600"/>
          </a:xfrm>
        </p:grpSpPr>
        <p:pic>
          <p:nvPicPr>
            <p:cNvPr id="217" name="Grafik 63">
              <a:extLst>
                <a:ext uri="{FF2B5EF4-FFF2-40B4-BE49-F238E27FC236}">
                  <a16:creationId xmlns:a16="http://schemas.microsoft.com/office/drawing/2014/main" id="{9C930B60-68D5-2078-18B0-D64A20FD9816}"/>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705354" y="2021342"/>
              <a:ext cx="609600" cy="609600"/>
            </a:xfrm>
            <a:prstGeom prst="rect">
              <a:avLst/>
            </a:prstGeom>
          </p:spPr>
        </p:pic>
        <p:grpSp>
          <p:nvGrpSpPr>
            <p:cNvPr id="218" name="Group 217">
              <a:extLst>
                <a:ext uri="{FF2B5EF4-FFF2-40B4-BE49-F238E27FC236}">
                  <a16:creationId xmlns:a16="http://schemas.microsoft.com/office/drawing/2014/main" id="{9E87F68B-F3B1-5524-D9B0-E2A293CE17B6}"/>
                </a:ext>
              </a:extLst>
            </p:cNvPr>
            <p:cNvGrpSpPr/>
            <p:nvPr/>
          </p:nvGrpSpPr>
          <p:grpSpPr>
            <a:xfrm>
              <a:off x="2858281" y="2177212"/>
              <a:ext cx="324000" cy="334378"/>
              <a:chOff x="5166332" y="932426"/>
              <a:chExt cx="324000" cy="334378"/>
            </a:xfrm>
          </p:grpSpPr>
          <p:pic>
            <p:nvPicPr>
              <p:cNvPr id="219" name="Graphic 218">
                <a:extLst>
                  <a:ext uri="{FF2B5EF4-FFF2-40B4-BE49-F238E27FC236}">
                    <a16:creationId xmlns:a16="http://schemas.microsoft.com/office/drawing/2014/main" id="{B4857CB2-0B6A-089B-933B-A0ECD9375595}"/>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166332" y="942804"/>
                <a:ext cx="324000" cy="324000"/>
              </a:xfrm>
              <a:prstGeom prst="rect">
                <a:avLst/>
              </a:prstGeom>
            </p:spPr>
          </p:pic>
          <p:pic>
            <p:nvPicPr>
              <p:cNvPr id="220" name="Graphic 219">
                <a:extLst>
                  <a:ext uri="{FF2B5EF4-FFF2-40B4-BE49-F238E27FC236}">
                    <a16:creationId xmlns:a16="http://schemas.microsoft.com/office/drawing/2014/main" id="{F985EACD-79E9-23C5-CCB2-92D57A016645}"/>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166332" y="932426"/>
                <a:ext cx="324000" cy="324000"/>
              </a:xfrm>
              <a:prstGeom prst="rect">
                <a:avLst/>
              </a:prstGeom>
            </p:spPr>
          </p:pic>
        </p:grpSp>
      </p:grpSp>
      <p:grpSp>
        <p:nvGrpSpPr>
          <p:cNvPr id="226" name="Group 225">
            <a:extLst>
              <a:ext uri="{FF2B5EF4-FFF2-40B4-BE49-F238E27FC236}">
                <a16:creationId xmlns:a16="http://schemas.microsoft.com/office/drawing/2014/main" id="{DA947AB9-313E-2DDF-8644-6722C9F3C706}"/>
              </a:ext>
            </a:extLst>
          </p:cNvPr>
          <p:cNvGrpSpPr/>
          <p:nvPr/>
        </p:nvGrpSpPr>
        <p:grpSpPr>
          <a:xfrm>
            <a:off x="5307026" y="5408015"/>
            <a:ext cx="609600" cy="609600"/>
            <a:chOff x="2705354" y="2021342"/>
            <a:chExt cx="609600" cy="609600"/>
          </a:xfrm>
        </p:grpSpPr>
        <p:pic>
          <p:nvPicPr>
            <p:cNvPr id="227" name="Grafik 63">
              <a:extLst>
                <a:ext uri="{FF2B5EF4-FFF2-40B4-BE49-F238E27FC236}">
                  <a16:creationId xmlns:a16="http://schemas.microsoft.com/office/drawing/2014/main" id="{DC4A437F-4E56-2DBE-8DCF-B4A5EB13BAF6}"/>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705354" y="2021342"/>
              <a:ext cx="609600" cy="609600"/>
            </a:xfrm>
            <a:prstGeom prst="rect">
              <a:avLst/>
            </a:prstGeom>
          </p:spPr>
        </p:pic>
        <p:grpSp>
          <p:nvGrpSpPr>
            <p:cNvPr id="228" name="Group 227">
              <a:extLst>
                <a:ext uri="{FF2B5EF4-FFF2-40B4-BE49-F238E27FC236}">
                  <a16:creationId xmlns:a16="http://schemas.microsoft.com/office/drawing/2014/main" id="{06E41413-F16D-C640-A959-0A3FC2811C2B}"/>
                </a:ext>
              </a:extLst>
            </p:cNvPr>
            <p:cNvGrpSpPr/>
            <p:nvPr/>
          </p:nvGrpSpPr>
          <p:grpSpPr>
            <a:xfrm>
              <a:off x="2858281" y="2177212"/>
              <a:ext cx="324000" cy="334378"/>
              <a:chOff x="5166332" y="932426"/>
              <a:chExt cx="324000" cy="334378"/>
            </a:xfrm>
          </p:grpSpPr>
          <p:pic>
            <p:nvPicPr>
              <p:cNvPr id="229" name="Graphic 228">
                <a:extLst>
                  <a:ext uri="{FF2B5EF4-FFF2-40B4-BE49-F238E27FC236}">
                    <a16:creationId xmlns:a16="http://schemas.microsoft.com/office/drawing/2014/main" id="{7C6E2E32-FBD0-51A7-0E81-769F6D9EFDE7}"/>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166332" y="942804"/>
                <a:ext cx="324000" cy="324000"/>
              </a:xfrm>
              <a:prstGeom prst="rect">
                <a:avLst/>
              </a:prstGeom>
            </p:spPr>
          </p:pic>
          <p:pic>
            <p:nvPicPr>
              <p:cNvPr id="230" name="Graphic 229">
                <a:extLst>
                  <a:ext uri="{FF2B5EF4-FFF2-40B4-BE49-F238E27FC236}">
                    <a16:creationId xmlns:a16="http://schemas.microsoft.com/office/drawing/2014/main" id="{A2DC56CB-7618-6147-4A3D-8CCFE2AA5864}"/>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166332" y="932426"/>
                <a:ext cx="324000" cy="324000"/>
              </a:xfrm>
              <a:prstGeom prst="rect">
                <a:avLst/>
              </a:prstGeom>
            </p:spPr>
          </p:pic>
        </p:grpSp>
      </p:grpSp>
      <p:pic>
        <p:nvPicPr>
          <p:cNvPr id="2050" name="Picture 2" descr="TDC NET Holding: Interim Financial Report H1 2022">
            <a:extLst>
              <a:ext uri="{FF2B5EF4-FFF2-40B4-BE49-F238E27FC236}">
                <a16:creationId xmlns:a16="http://schemas.microsoft.com/office/drawing/2014/main" id="{6E99A3ED-C314-E846-4690-BD651882E5F5}"/>
              </a:ext>
            </a:extLst>
          </p:cNvPr>
          <p:cNvPicPr>
            <a:picLocks noChangeAspect="1" noChangeArrowheads="1"/>
          </p:cNvPicPr>
          <p:nvPr/>
        </p:nvPicPr>
        <p:blipFill>
          <a:blip r:embed="rId24" cstate="hqprint">
            <a:extLst>
              <a:ext uri="{28A0092B-C50C-407E-A947-70E740481C1C}">
                <a14:useLocalDpi xmlns:a14="http://schemas.microsoft.com/office/drawing/2010/main" val="0"/>
              </a:ext>
            </a:extLst>
          </a:blip>
          <a:srcRect/>
          <a:stretch>
            <a:fillRect/>
          </a:stretch>
        </p:blipFill>
        <p:spPr bwMode="auto">
          <a:xfrm>
            <a:off x="5029058" y="1295395"/>
            <a:ext cx="1418176" cy="40384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re | Sammenlign leverandører &amp; priser | businesswith.dk">
            <a:extLst>
              <a:ext uri="{FF2B5EF4-FFF2-40B4-BE49-F238E27FC236}">
                <a16:creationId xmlns:a16="http://schemas.microsoft.com/office/drawing/2014/main" id="{C33A0E26-C308-6C88-25A6-E7C06824E909}"/>
              </a:ext>
            </a:extLst>
          </p:cNvPr>
          <p:cNvPicPr>
            <a:picLocks noChangeAspect="1" noChangeArrowheads="1"/>
          </p:cNvPicPr>
          <p:nvPr/>
        </p:nvPicPr>
        <p:blipFill>
          <a:blip r:embed="rId25" cstate="hqprint">
            <a:extLst>
              <a:ext uri="{28A0092B-C50C-407E-A947-70E740481C1C}">
                <a14:useLocalDpi xmlns:a14="http://schemas.microsoft.com/office/drawing/2010/main" val="0"/>
              </a:ext>
            </a:extLst>
          </a:blip>
          <a:srcRect/>
          <a:stretch>
            <a:fillRect/>
          </a:stretch>
        </p:blipFill>
        <p:spPr bwMode="auto">
          <a:xfrm>
            <a:off x="4796105" y="3053397"/>
            <a:ext cx="840147" cy="42007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6529A506-3CB7-0FA2-686E-65B9BCE0C1E9}"/>
              </a:ext>
            </a:extLst>
          </p:cNvPr>
          <p:cNvPicPr>
            <a:picLocks noChangeAspect="1" noChangeArrowheads="1"/>
          </p:cNvPicPr>
          <p:nvPr/>
        </p:nvPicPr>
        <p:blipFill>
          <a:blip r:embed="rId26" cstate="hqprint">
            <a:extLst>
              <a:ext uri="{28A0092B-C50C-407E-A947-70E740481C1C}">
                <a14:useLocalDpi xmlns:a14="http://schemas.microsoft.com/office/drawing/2010/main" val="0"/>
              </a:ext>
            </a:extLst>
          </a:blip>
          <a:srcRect/>
          <a:stretch>
            <a:fillRect/>
          </a:stretch>
        </p:blipFill>
        <p:spPr bwMode="auto">
          <a:xfrm>
            <a:off x="5904433" y="3733118"/>
            <a:ext cx="815476" cy="183163"/>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TT Netværket | Netværk til hele Danmark">
            <a:extLst>
              <a:ext uri="{FF2B5EF4-FFF2-40B4-BE49-F238E27FC236}">
                <a16:creationId xmlns:a16="http://schemas.microsoft.com/office/drawing/2014/main" id="{359073D0-4461-024D-D6FB-DF7DF16A87C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052954" y="5011765"/>
            <a:ext cx="1804887" cy="189513"/>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Front page | | Danish police">
            <a:extLst>
              <a:ext uri="{FF2B5EF4-FFF2-40B4-BE49-F238E27FC236}">
                <a16:creationId xmlns:a16="http://schemas.microsoft.com/office/drawing/2014/main" id="{1CEC08C9-D796-19B7-5A60-3F60BEA1D584}"/>
              </a:ext>
            </a:extLst>
          </p:cNvPr>
          <p:cNvPicPr>
            <a:picLocks noChangeAspect="1" noChangeArrowheads="1"/>
          </p:cNvPicPr>
          <p:nvPr/>
        </p:nvPicPr>
        <p:blipFill>
          <a:blip r:embed="rId28" cstate="hqprint">
            <a:extLst>
              <a:ext uri="{28A0092B-C50C-407E-A947-70E740481C1C}">
                <a14:useLocalDpi xmlns:a14="http://schemas.microsoft.com/office/drawing/2010/main" val="0"/>
              </a:ext>
            </a:extLst>
          </a:blip>
          <a:srcRect/>
          <a:stretch>
            <a:fillRect/>
          </a:stretch>
        </p:blipFill>
        <p:spPr bwMode="auto">
          <a:xfrm>
            <a:off x="947738" y="1008039"/>
            <a:ext cx="931686" cy="3477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B247627C-3DED-EA36-D6DD-889BA6DBCED3}"/>
              </a:ext>
            </a:extLst>
          </p:cNvPr>
          <p:cNvSpPr/>
          <p:nvPr/>
        </p:nvSpPr>
        <p:spPr>
          <a:xfrm>
            <a:off x="0" y="0"/>
            <a:ext cx="177680" cy="70638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266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7DC06-1731-CFC4-9E82-C9E7ECCBF9C4}"/>
              </a:ext>
            </a:extLst>
          </p:cNvPr>
          <p:cNvSpPr>
            <a:spLocks noGrp="1"/>
          </p:cNvSpPr>
          <p:nvPr>
            <p:ph type="title"/>
          </p:nvPr>
        </p:nvSpPr>
        <p:spPr/>
        <p:txBody>
          <a:bodyPr/>
          <a:lstStyle/>
          <a:p>
            <a:r>
              <a:rPr lang="en-US" dirty="0"/>
              <a:t>u.warn Command Post (CBE)</a:t>
            </a:r>
          </a:p>
        </p:txBody>
      </p:sp>
      <p:pic>
        <p:nvPicPr>
          <p:cNvPr id="3" name="Picture 2" descr="A screen shot of a computer&#10;&#10;Description automatically generated">
            <a:extLst>
              <a:ext uri="{FF2B5EF4-FFF2-40B4-BE49-F238E27FC236}">
                <a16:creationId xmlns:a16="http://schemas.microsoft.com/office/drawing/2014/main" id="{C80DE138-006B-9578-BAC0-DCA02ECC4F5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3467100"/>
            <a:ext cx="8893320" cy="3022600"/>
          </a:xfrm>
          <a:prstGeom prst="rect">
            <a:avLst/>
          </a:prstGeom>
        </p:spPr>
      </p:pic>
      <p:sp>
        <p:nvSpPr>
          <p:cNvPr id="4" name="Content Placeholder 2">
            <a:extLst>
              <a:ext uri="{FF2B5EF4-FFF2-40B4-BE49-F238E27FC236}">
                <a16:creationId xmlns:a16="http://schemas.microsoft.com/office/drawing/2014/main" id="{41EAA40B-8024-5D90-B5F1-E2895886A261}"/>
              </a:ext>
            </a:extLst>
          </p:cNvPr>
          <p:cNvSpPr txBox="1">
            <a:spLocks/>
          </p:cNvSpPr>
          <p:nvPr/>
        </p:nvSpPr>
        <p:spPr>
          <a:xfrm>
            <a:off x="8886131" y="3467100"/>
            <a:ext cx="3305869" cy="3022600"/>
          </a:xfrm>
          <a:prstGeom prst="rect">
            <a:avLst/>
          </a:prstGeom>
          <a:solidFill>
            <a:schemeClr val="accent4">
              <a:lumMod val="40000"/>
              <a:lumOff val="60000"/>
            </a:schemeClr>
          </a:solidFill>
        </p:spPr>
        <p:txBody>
          <a:bodyPr anchor="ctr">
            <a:noAutofit/>
          </a:bodyPr>
          <a:lstStyle>
            <a:lvl1pPr marL="228600" indent="-228600" algn="l" defTabSz="914400" rtl="0" eaLnBrk="1" latinLnBrk="0" hangingPunct="1">
              <a:lnSpc>
                <a:spcPct val="100000"/>
              </a:lnSpc>
              <a:spcBef>
                <a:spcPts val="0"/>
              </a:spcBef>
              <a:spcAft>
                <a:spcPts val="1200"/>
              </a:spcAft>
              <a:buClr>
                <a:srgbClr val="0068B4"/>
              </a:buClr>
              <a:buSzPct val="100000"/>
              <a:buFont typeface="Wingdings" panose="05000000000000000000" pitchFamily="2" charset="2"/>
              <a:buChar char="§"/>
              <a:defRPr sz="2000" kern="1200">
                <a:solidFill>
                  <a:srgbClr val="3C3C3C"/>
                </a:solidFill>
                <a:latin typeface="Roboto" panose="02000000000000000000" pitchFamily="2"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600"/>
              </a:spcAft>
              <a:buClr>
                <a:srgbClr val="8A9CA4"/>
              </a:buClr>
              <a:buSzPct val="100000"/>
              <a:buFont typeface="Wingdings" panose="05000000000000000000" pitchFamily="2" charset="2"/>
              <a:buChar char="§"/>
              <a:defRPr sz="1800" kern="1200">
                <a:solidFill>
                  <a:srgbClr val="3C3C3C"/>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600"/>
              </a:spcAft>
              <a:buClr>
                <a:srgbClr val="8A9CA4"/>
              </a:buClr>
              <a:buSzPct val="100000"/>
              <a:buFont typeface="Wingdings" panose="05000000000000000000" pitchFamily="2" charset="2"/>
              <a:buChar char="§"/>
              <a:defRPr sz="1600" kern="1200">
                <a:solidFill>
                  <a:srgbClr val="3C3C3C"/>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300"/>
              </a:spcAft>
              <a:buClr>
                <a:srgbClr val="8A9CA4"/>
              </a:buClr>
              <a:buSzPct val="100000"/>
              <a:buFont typeface="Wingdings" panose="05000000000000000000" pitchFamily="2" charset="2"/>
              <a:buChar char="§"/>
              <a:defRPr sz="1400" kern="1200">
                <a:solidFill>
                  <a:srgbClr val="3C3C3C"/>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0"/>
              </a:spcAft>
              <a:buClr>
                <a:schemeClr val="bg1"/>
              </a:buClr>
              <a:buNone/>
            </a:pPr>
            <a:endParaRPr lang="en-US" sz="1100">
              <a:solidFill>
                <a:schemeClr val="bg1"/>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5" name="Inhaltsplatzhalter 2">
            <a:extLst>
              <a:ext uri="{FF2B5EF4-FFF2-40B4-BE49-F238E27FC236}">
                <a16:creationId xmlns:a16="http://schemas.microsoft.com/office/drawing/2014/main" id="{D7E1DEEF-F9B8-37B5-31DD-7A80FB1FDB00}"/>
              </a:ext>
            </a:extLst>
          </p:cNvPr>
          <p:cNvSpPr txBox="1">
            <a:spLocks/>
          </p:cNvSpPr>
          <p:nvPr/>
        </p:nvSpPr>
        <p:spPr>
          <a:xfrm>
            <a:off x="947738" y="762409"/>
            <a:ext cx="10296526" cy="427294"/>
          </a:xfrm>
          <a:prstGeom prst="rect">
            <a:avLst/>
          </a:prstGeom>
        </p:spPr>
        <p:txBody>
          <a:bodyPr/>
          <a:lstStyle>
            <a:lvl1pPr marL="265113" indent="-265113" algn="l" defTabSz="914400" rtl="0" eaLnBrk="1" latinLnBrk="0" hangingPunct="1">
              <a:lnSpc>
                <a:spcPct val="100000"/>
              </a:lnSpc>
              <a:spcBef>
                <a:spcPts val="0"/>
              </a:spcBef>
              <a:spcAft>
                <a:spcPts val="600"/>
              </a:spcAft>
              <a:buClr>
                <a:srgbClr val="0068B4"/>
              </a:buClr>
              <a:buSzPct val="100000"/>
              <a:buFontTx/>
              <a:buBlip>
                <a:blip r:embed="rId3">
                  <a:extLst>
                    <a:ext uri="{96DAC541-7B7A-43D3-8B79-37D633B846F1}">
                      <asvg:svgBlip xmlns:asvg="http://schemas.microsoft.com/office/drawing/2016/SVG/main" r:embed="rId4"/>
                    </a:ext>
                  </a:extLst>
                </a:blip>
              </a:buBlip>
              <a:defRPr sz="2000" kern="1200">
                <a:solidFill>
                  <a:schemeClr val="tx1"/>
                </a:solidFill>
                <a:latin typeface="Roboto" panose="02000000000000000000" pitchFamily="2" charset="0"/>
                <a:ea typeface="+mn-ea"/>
                <a:cs typeface="Arial" panose="020B0604020202020204" pitchFamily="34" charset="0"/>
              </a:defRPr>
            </a:lvl1pPr>
            <a:lvl2pPr marL="717550" indent="-260350" algn="l" defTabSz="914400" rtl="0" eaLnBrk="1" latinLnBrk="0" hangingPunct="1">
              <a:lnSpc>
                <a:spcPct val="100000"/>
              </a:lnSpc>
              <a:spcBef>
                <a:spcPts val="0"/>
              </a:spcBef>
              <a:spcAft>
                <a:spcPts val="400"/>
              </a:spcAft>
              <a:buClr>
                <a:srgbClr val="8A9CA4"/>
              </a:buClr>
              <a:buSzPct val="100000"/>
              <a:buFontTx/>
              <a:buBlip>
                <a:blip r:embed="rId5">
                  <a:extLst>
                    <a:ext uri="{96DAC541-7B7A-43D3-8B79-37D633B846F1}">
                      <asvg:svgBlip xmlns:asvg="http://schemas.microsoft.com/office/drawing/2016/SVG/main" r:embed="rId6"/>
                    </a:ext>
                  </a:extLst>
                </a:blip>
              </a:buBlip>
              <a:defRPr sz="1800" kern="1200">
                <a:solidFill>
                  <a:schemeClr val="tx1"/>
                </a:solidFill>
                <a:latin typeface="Roboto" panose="02000000000000000000" pitchFamily="2"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300"/>
              </a:spcAft>
              <a:buClr>
                <a:srgbClr val="8A9CA4"/>
              </a:buClr>
              <a:buSzPct val="100000"/>
              <a:buFontTx/>
              <a:buBlip>
                <a:blip r:embed="rId5">
                  <a:extLst>
                    <a:ext uri="{96DAC541-7B7A-43D3-8B79-37D633B846F1}">
                      <asvg:svgBlip xmlns:asvg="http://schemas.microsoft.com/office/drawing/2016/SVG/main" r:embed="rId6"/>
                    </a:ext>
                  </a:extLst>
                </a:blip>
              </a:buBlip>
              <a:defRPr sz="1600" kern="1200">
                <a:solidFill>
                  <a:schemeClr val="tx1"/>
                </a:solidFill>
                <a:latin typeface="Roboto" panose="02000000000000000000" pitchFamily="2"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300"/>
              </a:spcAft>
              <a:buClr>
                <a:srgbClr val="8A9CA4"/>
              </a:buClr>
              <a:buSzPct val="100000"/>
              <a:buFontTx/>
              <a:buBlip>
                <a:blip r:embed="rId5">
                  <a:extLst>
                    <a:ext uri="{96DAC541-7B7A-43D3-8B79-37D633B846F1}">
                      <asvg:svgBlip xmlns:asvg="http://schemas.microsoft.com/office/drawing/2016/SVG/main" r:embed="rId6"/>
                    </a:ext>
                  </a:extLst>
                </a:blip>
              </a:buBlip>
              <a:defRPr sz="1400" kern="1200">
                <a:solidFill>
                  <a:schemeClr val="tx1"/>
                </a:solidFill>
                <a:latin typeface="Roboto" panose="02000000000000000000" pitchFamily="2"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200"/>
              </a:spcAft>
              <a:buClr>
                <a:srgbClr val="8A9CA4"/>
              </a:buClr>
              <a:buSzPct val="100000"/>
              <a:buFontTx/>
              <a:buBlip>
                <a:blip r:embed="rId5">
                  <a:extLst>
                    <a:ext uri="{96DAC541-7B7A-43D3-8B79-37D633B846F1}">
                      <asvg:svgBlip xmlns:asvg="http://schemas.microsoft.com/office/drawing/2016/SVG/main" r:embed="rId6"/>
                    </a:ext>
                  </a:extLst>
                </a:blip>
              </a:buBlip>
              <a:defRPr sz="1400" kern="1200">
                <a:solidFill>
                  <a:schemeClr val="tx1"/>
                </a:solidFill>
                <a:latin typeface="Roboto" panose="02000000000000000000"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t>A central alert creation &amp; management tool for all delivery channels</a:t>
            </a:r>
          </a:p>
        </p:txBody>
      </p:sp>
      <p:sp>
        <p:nvSpPr>
          <p:cNvPr id="6" name="Rechteck 51">
            <a:extLst>
              <a:ext uri="{FF2B5EF4-FFF2-40B4-BE49-F238E27FC236}">
                <a16:creationId xmlns:a16="http://schemas.microsoft.com/office/drawing/2014/main" id="{D43CA830-8EBF-F872-BAE3-F00E08BD6252}"/>
              </a:ext>
            </a:extLst>
          </p:cNvPr>
          <p:cNvSpPr>
            <a:spLocks/>
          </p:cNvSpPr>
          <p:nvPr/>
        </p:nvSpPr>
        <p:spPr>
          <a:xfrm>
            <a:off x="947738" y="1332679"/>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Predefined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alert templates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and libraries </a:t>
            </a:r>
          </a:p>
        </p:txBody>
      </p:sp>
      <p:sp>
        <p:nvSpPr>
          <p:cNvPr id="7" name="Rechteck 52">
            <a:extLst>
              <a:ext uri="{FF2B5EF4-FFF2-40B4-BE49-F238E27FC236}">
                <a16:creationId xmlns:a16="http://schemas.microsoft.com/office/drawing/2014/main" id="{8F334F79-6AE4-19C2-5D1C-DAD2CDE99F24}"/>
              </a:ext>
            </a:extLst>
          </p:cNvPr>
          <p:cNvSpPr>
            <a:spLocks/>
          </p:cNvSpPr>
          <p:nvPr/>
        </p:nvSpPr>
        <p:spPr>
          <a:xfrm>
            <a:off x="3593869" y="1332679"/>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Predefined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target areas</a:t>
            </a:r>
          </a:p>
        </p:txBody>
      </p:sp>
      <p:sp>
        <p:nvSpPr>
          <p:cNvPr id="8" name="Rechteck 53">
            <a:extLst>
              <a:ext uri="{FF2B5EF4-FFF2-40B4-BE49-F238E27FC236}">
                <a16:creationId xmlns:a16="http://schemas.microsoft.com/office/drawing/2014/main" id="{BA290139-7538-F601-556E-097D52CC9E66}"/>
              </a:ext>
            </a:extLst>
          </p:cNvPr>
          <p:cNvSpPr>
            <a:spLocks/>
          </p:cNvSpPr>
          <p:nvPr/>
        </p:nvSpPr>
        <p:spPr>
          <a:xfrm>
            <a:off x="6240000" y="1332679"/>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t>Customized </a:t>
            </a:r>
            <a:b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t>workflow</a:t>
            </a:r>
          </a:p>
          <a:p>
            <a:r>
              <a:rPr lang="en-US" sz="1400" b="1" dirty="0">
                <a:solidFill>
                  <a:srgbClr val="C00000"/>
                </a:solidFill>
                <a:latin typeface="Roboto" panose="02000000000000000000" pitchFamily="2" charset="0"/>
                <a:ea typeface="Roboto" panose="02000000000000000000" pitchFamily="2" charset="0"/>
                <a:cs typeface="Lato Light" panose="020F0502020204030203" pitchFamily="34" charset="0"/>
              </a:rPr>
              <a:t>3 Levels</a:t>
            </a:r>
          </a:p>
        </p:txBody>
      </p:sp>
      <p:sp>
        <p:nvSpPr>
          <p:cNvPr id="9" name="Rechteck 54">
            <a:extLst>
              <a:ext uri="{FF2B5EF4-FFF2-40B4-BE49-F238E27FC236}">
                <a16:creationId xmlns:a16="http://schemas.microsoft.com/office/drawing/2014/main" id="{3F92B54D-2A51-4395-672A-5D59DD740ABB}"/>
              </a:ext>
            </a:extLst>
          </p:cNvPr>
          <p:cNvSpPr>
            <a:spLocks/>
          </p:cNvSpPr>
          <p:nvPr/>
        </p:nvSpPr>
        <p:spPr>
          <a:xfrm>
            <a:off x="8886131" y="1332679"/>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t>Multiple </a:t>
            </a:r>
            <a:b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dirty="0">
                <a:solidFill>
                  <a:schemeClr val="accent1"/>
                </a:solidFill>
                <a:latin typeface="Roboto" panose="02000000000000000000" pitchFamily="2" charset="0"/>
                <a:ea typeface="Roboto" panose="02000000000000000000" pitchFamily="2" charset="0"/>
                <a:cs typeface="Lato Light" panose="020F0502020204030203" pitchFamily="34" charset="0"/>
              </a:rPr>
              <a:t>alert languages</a:t>
            </a:r>
          </a:p>
          <a:p>
            <a:r>
              <a:rPr lang="en-US" sz="1400" b="1" dirty="0">
                <a:solidFill>
                  <a:srgbClr val="C00000"/>
                </a:solidFill>
                <a:latin typeface="Roboto" panose="02000000000000000000" pitchFamily="2" charset="0"/>
                <a:ea typeface="Roboto" panose="02000000000000000000" pitchFamily="2" charset="0"/>
                <a:cs typeface="Lato Light" panose="020F0502020204030203" pitchFamily="34" charset="0"/>
              </a:rPr>
              <a:t>Danish / English</a:t>
            </a:r>
          </a:p>
        </p:txBody>
      </p:sp>
      <p:sp>
        <p:nvSpPr>
          <p:cNvPr id="10" name="Rechteck 55">
            <a:extLst>
              <a:ext uri="{FF2B5EF4-FFF2-40B4-BE49-F238E27FC236}">
                <a16:creationId xmlns:a16="http://schemas.microsoft.com/office/drawing/2014/main" id="{21D3D323-73ED-5A70-3BC8-090BAF7A1075}"/>
              </a:ext>
            </a:extLst>
          </p:cNvPr>
          <p:cNvSpPr>
            <a:spLocks/>
          </p:cNvSpPr>
          <p:nvPr/>
        </p:nvSpPr>
        <p:spPr>
          <a:xfrm>
            <a:off x="947738" y="2404901"/>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Easy to use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customized GUI</a:t>
            </a:r>
          </a:p>
        </p:txBody>
      </p:sp>
      <p:sp>
        <p:nvSpPr>
          <p:cNvPr id="11" name="Rechteck 56">
            <a:extLst>
              <a:ext uri="{FF2B5EF4-FFF2-40B4-BE49-F238E27FC236}">
                <a16:creationId xmlns:a16="http://schemas.microsoft.com/office/drawing/2014/main" id="{72A3E2F2-92E2-A75A-AAB6-4E3DF6A47237}"/>
              </a:ext>
            </a:extLst>
          </p:cNvPr>
          <p:cNvSpPr>
            <a:spLocks/>
          </p:cNvSpPr>
          <p:nvPr/>
        </p:nvSpPr>
        <p:spPr>
          <a:xfrm>
            <a:off x="3593869" y="2404901"/>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Multiple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government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agencies </a:t>
            </a:r>
          </a:p>
        </p:txBody>
      </p:sp>
      <p:sp>
        <p:nvSpPr>
          <p:cNvPr id="12" name="Rechteck 57">
            <a:extLst>
              <a:ext uri="{FF2B5EF4-FFF2-40B4-BE49-F238E27FC236}">
                <a16:creationId xmlns:a16="http://schemas.microsoft.com/office/drawing/2014/main" id="{1CA468AA-777D-0535-D409-BF937DD4E340}"/>
              </a:ext>
            </a:extLst>
          </p:cNvPr>
          <p:cNvSpPr>
            <a:spLocks/>
          </p:cNvSpPr>
          <p:nvPr/>
        </p:nvSpPr>
        <p:spPr>
          <a:xfrm>
            <a:off x="6240000" y="2404901"/>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Hundreds </a:t>
            </a:r>
            <a:b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br>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of users</a:t>
            </a:r>
          </a:p>
        </p:txBody>
      </p:sp>
      <p:sp>
        <p:nvSpPr>
          <p:cNvPr id="13" name="Rechteck 58">
            <a:extLst>
              <a:ext uri="{FF2B5EF4-FFF2-40B4-BE49-F238E27FC236}">
                <a16:creationId xmlns:a16="http://schemas.microsoft.com/office/drawing/2014/main" id="{E0658992-B1DA-CEBA-6BEF-D37CBD5AB310}"/>
              </a:ext>
            </a:extLst>
          </p:cNvPr>
          <p:cNvSpPr>
            <a:spLocks/>
          </p:cNvSpPr>
          <p:nvPr/>
        </p:nvSpPr>
        <p:spPr>
          <a:xfrm>
            <a:off x="8886131" y="2404901"/>
            <a:ext cx="2358131" cy="819722"/>
          </a:xfrm>
          <a:prstGeom prst="rect">
            <a:avLst/>
          </a:prstGeom>
          <a:solidFill>
            <a:schemeClr val="accent4">
              <a:lumMod val="40000"/>
              <a:lumOff val="60000"/>
            </a:schemeClr>
          </a:solidFill>
          <a:ln w="53975">
            <a:noFill/>
          </a:ln>
        </p:spPr>
        <p:style>
          <a:lnRef idx="2">
            <a:schemeClr val="accent1">
              <a:shade val="50000"/>
            </a:schemeClr>
          </a:lnRef>
          <a:fillRef idx="1">
            <a:schemeClr val="accent1"/>
          </a:fillRef>
          <a:effectRef idx="0">
            <a:schemeClr val="accent1"/>
          </a:effectRef>
          <a:fontRef idx="minor">
            <a:schemeClr val="lt1"/>
          </a:fontRef>
        </p:style>
        <p:txBody>
          <a:bodyPr lIns="792000" tIns="0" rIns="144000" bIns="0" rtlCol="0" anchor="ctr"/>
          <a:lstStyle/>
          <a:p>
            <a:r>
              <a:rPr lang="en-US" sz="1400" b="1">
                <a:solidFill>
                  <a:schemeClr val="accent1"/>
                </a:solidFill>
                <a:latin typeface="Roboto" panose="02000000000000000000" pitchFamily="2" charset="0"/>
                <a:ea typeface="Roboto" panose="02000000000000000000" pitchFamily="2" charset="0"/>
                <a:cs typeface="Lato Light" panose="020F0502020204030203" pitchFamily="34" charset="0"/>
              </a:rPr>
              <a:t>Users’ roles and responsibilities Management </a:t>
            </a:r>
          </a:p>
        </p:txBody>
      </p:sp>
      <p:pic>
        <p:nvPicPr>
          <p:cNvPr id="14" name="Grafik 60">
            <a:extLst>
              <a:ext uri="{FF2B5EF4-FFF2-40B4-BE49-F238E27FC236}">
                <a16:creationId xmlns:a16="http://schemas.microsoft.com/office/drawing/2014/main" id="{FC20A39E-398D-1E7B-1959-3BD54C5FC48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8620" y="2598762"/>
            <a:ext cx="432000" cy="432000"/>
          </a:xfrm>
          <a:prstGeom prst="rect">
            <a:avLst/>
          </a:prstGeom>
        </p:spPr>
      </p:pic>
      <p:pic>
        <p:nvPicPr>
          <p:cNvPr id="15" name="Grafik 61">
            <a:extLst>
              <a:ext uri="{FF2B5EF4-FFF2-40B4-BE49-F238E27FC236}">
                <a16:creationId xmlns:a16="http://schemas.microsoft.com/office/drawing/2014/main" id="{0B38E5BC-5333-EB65-B3FF-8DE3EC507BC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61250" y="1526540"/>
            <a:ext cx="432000" cy="432000"/>
          </a:xfrm>
          <a:prstGeom prst="rect">
            <a:avLst/>
          </a:prstGeom>
        </p:spPr>
      </p:pic>
      <p:pic>
        <p:nvPicPr>
          <p:cNvPr id="16" name="Grafik 62">
            <a:extLst>
              <a:ext uri="{FF2B5EF4-FFF2-40B4-BE49-F238E27FC236}">
                <a16:creationId xmlns:a16="http://schemas.microsoft.com/office/drawing/2014/main" id="{B1510FD2-D4CD-CB2A-EDA2-8A3241F2923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26200" y="2598762"/>
            <a:ext cx="432000" cy="432000"/>
          </a:xfrm>
          <a:prstGeom prst="rect">
            <a:avLst/>
          </a:prstGeom>
        </p:spPr>
      </p:pic>
      <p:pic>
        <p:nvPicPr>
          <p:cNvPr id="17" name="Grafik 63">
            <a:extLst>
              <a:ext uri="{FF2B5EF4-FFF2-40B4-BE49-F238E27FC236}">
                <a16:creationId xmlns:a16="http://schemas.microsoft.com/office/drawing/2014/main" id="{5B3291AA-F9B1-BF9F-10E4-790FCB808E42}"/>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426200" y="1526540"/>
            <a:ext cx="432000" cy="432000"/>
          </a:xfrm>
          <a:prstGeom prst="rect">
            <a:avLst/>
          </a:prstGeom>
        </p:spPr>
      </p:pic>
      <p:pic>
        <p:nvPicPr>
          <p:cNvPr id="18" name="Grafik 64">
            <a:extLst>
              <a:ext uri="{FF2B5EF4-FFF2-40B4-BE49-F238E27FC236}">
                <a16:creationId xmlns:a16="http://schemas.microsoft.com/office/drawing/2014/main" id="{4D7561A4-CA84-E059-D007-94E9D7FA6B17}"/>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74875" y="2598762"/>
            <a:ext cx="432000" cy="432000"/>
          </a:xfrm>
          <a:prstGeom prst="rect">
            <a:avLst/>
          </a:prstGeom>
        </p:spPr>
      </p:pic>
      <p:pic>
        <p:nvPicPr>
          <p:cNvPr id="19" name="Grafik 65">
            <a:extLst>
              <a:ext uri="{FF2B5EF4-FFF2-40B4-BE49-F238E27FC236}">
                <a16:creationId xmlns:a16="http://schemas.microsoft.com/office/drawing/2014/main" id="{1DBD5CD6-A80D-75D9-E7A9-4BCC59C78BA0}"/>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061250" y="2598762"/>
            <a:ext cx="432000" cy="432000"/>
          </a:xfrm>
          <a:prstGeom prst="rect">
            <a:avLst/>
          </a:prstGeom>
        </p:spPr>
      </p:pic>
      <p:pic>
        <p:nvPicPr>
          <p:cNvPr id="20" name="Grafik 66">
            <a:extLst>
              <a:ext uri="{FF2B5EF4-FFF2-40B4-BE49-F238E27FC236}">
                <a16:creationId xmlns:a16="http://schemas.microsoft.com/office/drawing/2014/main" id="{2E7B8F3C-0565-28B5-6526-DCBB6723E07E}"/>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128620" y="1526540"/>
            <a:ext cx="432000" cy="432000"/>
          </a:xfrm>
          <a:prstGeom prst="rect">
            <a:avLst/>
          </a:prstGeom>
        </p:spPr>
      </p:pic>
      <p:pic>
        <p:nvPicPr>
          <p:cNvPr id="21" name="Grafik 70">
            <a:extLst>
              <a:ext uri="{FF2B5EF4-FFF2-40B4-BE49-F238E27FC236}">
                <a16:creationId xmlns:a16="http://schemas.microsoft.com/office/drawing/2014/main" id="{AC5F394C-9DDD-C00E-7F39-C37CF1BCF5F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774875" y="1523081"/>
            <a:ext cx="432000" cy="432000"/>
          </a:xfrm>
          <a:prstGeom prst="rect">
            <a:avLst/>
          </a:prstGeom>
        </p:spPr>
      </p:pic>
      <p:sp>
        <p:nvSpPr>
          <p:cNvPr id="22" name="Rechteck 279">
            <a:extLst>
              <a:ext uri="{FF2B5EF4-FFF2-40B4-BE49-F238E27FC236}">
                <a16:creationId xmlns:a16="http://schemas.microsoft.com/office/drawing/2014/main" id="{24363B5B-42E0-22EE-DA56-14904C87205E}"/>
              </a:ext>
            </a:extLst>
          </p:cNvPr>
          <p:cNvSpPr>
            <a:spLocks/>
          </p:cNvSpPr>
          <p:nvPr/>
        </p:nvSpPr>
        <p:spPr>
          <a:xfrm>
            <a:off x="9037320" y="3704528"/>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Cell broadcast</a:t>
            </a:r>
          </a:p>
        </p:txBody>
      </p:sp>
      <p:sp>
        <p:nvSpPr>
          <p:cNvPr id="23" name="Rechteck 280">
            <a:extLst>
              <a:ext uri="{FF2B5EF4-FFF2-40B4-BE49-F238E27FC236}">
                <a16:creationId xmlns:a16="http://schemas.microsoft.com/office/drawing/2014/main" id="{07B4B32A-1755-3365-8445-127F3970FAF2}"/>
              </a:ext>
            </a:extLst>
          </p:cNvPr>
          <p:cNvSpPr>
            <a:spLocks/>
          </p:cNvSpPr>
          <p:nvPr/>
        </p:nvSpPr>
        <p:spPr>
          <a:xfrm>
            <a:off x="10120707" y="3704528"/>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irens</a:t>
            </a:r>
          </a:p>
        </p:txBody>
      </p:sp>
      <p:sp>
        <p:nvSpPr>
          <p:cNvPr id="24" name="Rechteck 281">
            <a:extLst>
              <a:ext uri="{FF2B5EF4-FFF2-40B4-BE49-F238E27FC236}">
                <a16:creationId xmlns:a16="http://schemas.microsoft.com/office/drawing/2014/main" id="{E8F6C16F-1550-900C-482A-E8EC90D3071A}"/>
              </a:ext>
            </a:extLst>
          </p:cNvPr>
          <p:cNvSpPr>
            <a:spLocks/>
          </p:cNvSpPr>
          <p:nvPr/>
        </p:nvSpPr>
        <p:spPr>
          <a:xfrm>
            <a:off x="11217772" y="3704528"/>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Social media</a:t>
            </a:r>
          </a:p>
        </p:txBody>
      </p:sp>
      <p:sp>
        <p:nvSpPr>
          <p:cNvPr id="25" name="Rechteck 282">
            <a:extLst>
              <a:ext uri="{FF2B5EF4-FFF2-40B4-BE49-F238E27FC236}">
                <a16:creationId xmlns:a16="http://schemas.microsoft.com/office/drawing/2014/main" id="{DF89C46E-3F70-C64F-E7EB-E48D4F181006}"/>
              </a:ext>
            </a:extLst>
          </p:cNvPr>
          <p:cNvSpPr>
            <a:spLocks/>
          </p:cNvSpPr>
          <p:nvPr/>
        </p:nvSpPr>
        <p:spPr>
          <a:xfrm>
            <a:off x="9037320" y="4724847"/>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Galileo</a:t>
            </a:r>
          </a:p>
        </p:txBody>
      </p:sp>
      <p:sp>
        <p:nvSpPr>
          <p:cNvPr id="26" name="Rechteck 283">
            <a:extLst>
              <a:ext uri="{FF2B5EF4-FFF2-40B4-BE49-F238E27FC236}">
                <a16:creationId xmlns:a16="http://schemas.microsoft.com/office/drawing/2014/main" id="{BF94DC9E-E35B-5C2C-25C7-A228A195114E}"/>
              </a:ext>
            </a:extLst>
          </p:cNvPr>
          <p:cNvSpPr>
            <a:spLocks/>
          </p:cNvSpPr>
          <p:nvPr/>
        </p:nvSpPr>
        <p:spPr>
          <a:xfrm>
            <a:off x="10120707" y="4724847"/>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a:r>
              <a:rPr lang="en-US" sz="1100"/>
              <a:t>Emergency apps</a:t>
            </a:r>
          </a:p>
        </p:txBody>
      </p:sp>
      <p:sp>
        <p:nvSpPr>
          <p:cNvPr id="27" name="Rechteck 284">
            <a:extLst>
              <a:ext uri="{FF2B5EF4-FFF2-40B4-BE49-F238E27FC236}">
                <a16:creationId xmlns:a16="http://schemas.microsoft.com/office/drawing/2014/main" id="{EF1EE92C-6E1F-0EA6-FBEC-BCC6BBA19831}"/>
              </a:ext>
            </a:extLst>
          </p:cNvPr>
          <p:cNvSpPr>
            <a:spLocks/>
          </p:cNvSpPr>
          <p:nvPr/>
        </p:nvSpPr>
        <p:spPr>
          <a:xfrm>
            <a:off x="11217772" y="4724847"/>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V</a:t>
            </a:r>
          </a:p>
        </p:txBody>
      </p:sp>
      <p:sp>
        <p:nvSpPr>
          <p:cNvPr id="28" name="Rechteck 285">
            <a:extLst>
              <a:ext uri="{FF2B5EF4-FFF2-40B4-BE49-F238E27FC236}">
                <a16:creationId xmlns:a16="http://schemas.microsoft.com/office/drawing/2014/main" id="{A7442082-E213-BB99-2688-52A2195FECD2}"/>
              </a:ext>
            </a:extLst>
          </p:cNvPr>
          <p:cNvSpPr>
            <a:spLocks/>
          </p:cNvSpPr>
          <p:nvPr/>
        </p:nvSpPr>
        <p:spPr>
          <a:xfrm>
            <a:off x="9037320" y="5660000"/>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Radio</a:t>
            </a:r>
          </a:p>
        </p:txBody>
      </p:sp>
      <p:sp>
        <p:nvSpPr>
          <p:cNvPr id="29" name="Rechteck 286">
            <a:extLst>
              <a:ext uri="{FF2B5EF4-FFF2-40B4-BE49-F238E27FC236}">
                <a16:creationId xmlns:a16="http://schemas.microsoft.com/office/drawing/2014/main" id="{6ADE05FE-2F64-B528-20F9-E463F46D00B8}"/>
              </a:ext>
            </a:extLst>
          </p:cNvPr>
          <p:cNvSpPr>
            <a:spLocks/>
          </p:cNvSpPr>
          <p:nvPr/>
        </p:nvSpPr>
        <p:spPr>
          <a:xfrm>
            <a:off x="10146248" y="5660000"/>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Billboards</a:t>
            </a:r>
          </a:p>
        </p:txBody>
      </p:sp>
      <p:sp>
        <p:nvSpPr>
          <p:cNvPr id="31" name="Rechteck 288">
            <a:extLst>
              <a:ext uri="{FF2B5EF4-FFF2-40B4-BE49-F238E27FC236}">
                <a16:creationId xmlns:a16="http://schemas.microsoft.com/office/drawing/2014/main" id="{932A92EC-5757-3982-1D32-EE7CC776A734}"/>
              </a:ext>
            </a:extLst>
          </p:cNvPr>
          <p:cNvSpPr>
            <a:spLocks/>
          </p:cNvSpPr>
          <p:nvPr/>
        </p:nvSpPr>
        <p:spPr>
          <a:xfrm>
            <a:off x="11217772" y="5660000"/>
            <a:ext cx="843906"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t>Email</a:t>
            </a:r>
          </a:p>
        </p:txBody>
      </p:sp>
      <p:sp>
        <p:nvSpPr>
          <p:cNvPr id="30" name="Rectangle 29">
            <a:extLst>
              <a:ext uri="{FF2B5EF4-FFF2-40B4-BE49-F238E27FC236}">
                <a16:creationId xmlns:a16="http://schemas.microsoft.com/office/drawing/2014/main" id="{16733BF0-92F8-1894-596E-1935350E97C8}"/>
              </a:ext>
            </a:extLst>
          </p:cNvPr>
          <p:cNvSpPr/>
          <p:nvPr/>
        </p:nvSpPr>
        <p:spPr>
          <a:xfrm>
            <a:off x="0" y="0"/>
            <a:ext cx="177680" cy="7063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6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lSIw6hM.hVHhUnPLbdnSg"/>
</p:tagLst>
</file>

<file path=ppt/theme/theme1.xml><?xml version="1.0" encoding="utf-8"?>
<a:theme xmlns:a="http://schemas.openxmlformats.org/drawingml/2006/main" name="1_UTIMACO PPT Template 20200818">
  <a:themeElements>
    <a:clrScheme name="UTIMACO June 2020">
      <a:dk1>
        <a:srgbClr val="414042"/>
      </a:dk1>
      <a:lt1>
        <a:sysClr val="window" lastClr="FFFFFF"/>
      </a:lt1>
      <a:dk2>
        <a:srgbClr val="8A9CA4"/>
      </a:dk2>
      <a:lt2>
        <a:srgbClr val="FFFFFF"/>
      </a:lt2>
      <a:accent1>
        <a:srgbClr val="0068B4"/>
      </a:accent1>
      <a:accent2>
        <a:srgbClr val="003E77"/>
      </a:accent2>
      <a:accent3>
        <a:srgbClr val="0095D4"/>
      </a:accent3>
      <a:accent4>
        <a:srgbClr val="A2D3F3"/>
      </a:accent4>
      <a:accent5>
        <a:srgbClr val="19BADE"/>
      </a:accent5>
      <a:accent6>
        <a:srgbClr val="0096A0"/>
      </a:accent6>
      <a:hlink>
        <a:srgbClr val="0068B4"/>
      </a:hlink>
      <a:folHlink>
        <a:srgbClr val="8A9CA4"/>
      </a:folHlink>
    </a:clrScheme>
    <a:fontScheme name="Benutzerdefiniert 1">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effectLst/>
      </a:spPr>
      <a:bodyPr vert="horz" wrap="square" lIns="0" tIns="0" rIns="0" bIns="0" rtlCol="0">
        <a:noAutofit/>
      </a:bodyPr>
      <a:lstStyle>
        <a:defPPr algn="l">
          <a:lnSpc>
            <a:spcPct val="100000"/>
          </a:lnSpc>
          <a:spcBef>
            <a:spcPts val="0"/>
          </a:spcBef>
          <a:spcAft>
            <a:spcPts val="600"/>
          </a:spcAft>
          <a:defRPr sz="1400" dirty="0" smtClean="0"/>
        </a:defPPr>
      </a:lstStyle>
    </a:txDef>
  </a:objectDefaults>
  <a:extraClrSchemeLst/>
  <a:extLst>
    <a:ext uri="{05A4C25C-085E-4340-85A3-A5531E510DB2}">
      <thm15:themeFamily xmlns:thm15="http://schemas.microsoft.com/office/thememl/2012/main" name="Presentation1" id="{F12BDBF1-41F8-4B46-AF39-9355BAA33BAF}" vid="{1B397BF3-360A-41F3-8AD7-B2BFDEE9FF3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titus xmlns="http://schemas.titus.com/TitusProperties/">
  <TitusGUID xmlns="">fe435611-c2b4-4983-84aa-991c74ffed42</TitusGUID>
  <TitusMetadata xmlns="">eyJucyI6IlxcXFxmb3JzdmFyZXQuZmlpbi5ka1xcTkVUTE9HT05cXFRpdHVzXFxUSVRVU0NvbmZpZ0ZpbGUudGNwZyIsInByb3BzIjpbeyJuIjoiS2xhc3NpZmlrYXRpb24iLCJ2YWxzIjpbeyJ2YWx1ZSI6IklLS0UgS0xBU1NJRklDRVJFVCJ9XX0seyJuIjoiTWFlcmtuaW5nIiwidmFscyI6W119XX0=</TitusMetadata>
</titus>
</file>

<file path=customXml/itemProps1.xml><?xml version="1.0" encoding="utf-8"?>
<ds:datastoreItem xmlns:ds="http://schemas.openxmlformats.org/officeDocument/2006/customXml" ds:itemID="{4EFF5353-D4A7-4F06-B73C-C97B315A49E4}">
  <ds:schemaRefs>
    <ds:schemaRef ds:uri="http://schemas.titus.com/TitusProperties/"/>
    <ds:schemaRef ds:uri=""/>
  </ds:schemaRefs>
</ds:datastoreItem>
</file>

<file path=docProps/app.xml><?xml version="1.0" encoding="utf-8"?>
<Properties xmlns="http://schemas.openxmlformats.org/officeDocument/2006/extended-properties" xmlns:vt="http://schemas.openxmlformats.org/officeDocument/2006/docPropsVTypes">
  <Template>UTIMACO_PowerPoint_Template_20220530</Template>
  <TotalTime>2342</TotalTime>
  <Words>1675</Words>
  <Application>Microsoft Office PowerPoint</Application>
  <PresentationFormat>Widescreen</PresentationFormat>
  <Paragraphs>395</Paragraphs>
  <Slides>23</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ヒラギノ角ゴ Pro W3</vt:lpstr>
      <vt:lpstr>Times New Roman</vt:lpstr>
      <vt:lpstr>Wingdings</vt:lpstr>
      <vt:lpstr>Roboto</vt:lpstr>
      <vt:lpstr>Arial</vt:lpstr>
      <vt:lpstr>Roboto Light</vt:lpstr>
      <vt:lpstr>1_UTIMACO PPT Template 20200818</vt:lpstr>
      <vt:lpstr>think-cell Slide</vt:lpstr>
      <vt:lpstr>  Mitigating Disasters with Utimaco’s Public Warning systems &amp; Event Management </vt:lpstr>
      <vt:lpstr>Agenda</vt:lpstr>
      <vt:lpstr>DEMA – Danish Emergency Management Agency</vt:lpstr>
      <vt:lpstr>Utimaco</vt:lpstr>
      <vt:lpstr>85 CBE/CBC implementations worldwide</vt:lpstr>
      <vt:lpstr>S!RENEN - project objectives and key milestones</vt:lpstr>
      <vt:lpstr>Vendors Selection</vt:lpstr>
      <vt:lpstr>Distributed Topology</vt:lpstr>
      <vt:lpstr>u.warn Command Post (CBE)</vt:lpstr>
      <vt:lpstr>u.warn CBC</vt:lpstr>
      <vt:lpstr>System architecture accents</vt:lpstr>
      <vt:lpstr>High Resilience</vt:lpstr>
      <vt:lpstr>Zero Downtime – Active/Active Configuration</vt:lpstr>
      <vt:lpstr>Cooperation with the MNOs</vt:lpstr>
      <vt:lpstr>CAP customization</vt:lpstr>
      <vt:lpstr>CAP adaptation to cell broadcast - examples</vt:lpstr>
      <vt:lpstr>Working with Apple and Google</vt:lpstr>
      <vt:lpstr>Deployment challenges that we crossed together</vt:lpstr>
      <vt:lpstr>Cooperation with the Germany</vt:lpstr>
      <vt:lpstr>System activations post commissioning</vt:lpstr>
      <vt:lpstr>Beyond cell broadcast</vt:lpstr>
      <vt:lpstr>Project summary and 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C Cell Broadcast Center</dc:title>
  <dc:creator>UTIMACO</dc:creator>
  <cp:lastModifiedBy>RD</cp:lastModifiedBy>
  <cp:revision>53</cp:revision>
  <dcterms:created xsi:type="dcterms:W3CDTF">2022-07-05T19:40:08Z</dcterms:created>
  <dcterms:modified xsi:type="dcterms:W3CDTF">2024-10-31T16:0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fe435611-c2b4-4983-84aa-991c74ffed42</vt:lpwstr>
  </property>
  <property fmtid="{D5CDD505-2E9C-101B-9397-08002B2CF9AE}" pid="3" name="Klassifikation">
    <vt:lpwstr>IKKE KLASSIFICERET</vt:lpwstr>
  </property>
  <property fmtid="{D5CDD505-2E9C-101B-9397-08002B2CF9AE}" pid="4" name="Maerkning">
    <vt:lpwstr/>
  </property>
</Properties>
</file>